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68" r:id="rId4"/>
  </p:sldMasterIdLst>
  <p:notesMasterIdLst>
    <p:notesMasterId r:id="rId46"/>
  </p:notesMasterIdLst>
  <p:handoutMasterIdLst>
    <p:handoutMasterId r:id="rId47"/>
  </p:handoutMasterIdLst>
  <p:sldIdLst>
    <p:sldId id="419" r:id="rId5"/>
    <p:sldId id="1881839103" r:id="rId6"/>
    <p:sldId id="339" r:id="rId7"/>
    <p:sldId id="1881839161" r:id="rId8"/>
    <p:sldId id="1881839219" r:id="rId9"/>
    <p:sldId id="1881839197" r:id="rId10"/>
    <p:sldId id="316" r:id="rId11"/>
    <p:sldId id="1881839178" r:id="rId12"/>
    <p:sldId id="1881839159" r:id="rId13"/>
    <p:sldId id="1881839180" r:id="rId14"/>
    <p:sldId id="1881839179" r:id="rId15"/>
    <p:sldId id="1881839162" r:id="rId16"/>
    <p:sldId id="1881839170" r:id="rId17"/>
    <p:sldId id="1881839193" r:id="rId18"/>
    <p:sldId id="1881839194" r:id="rId19"/>
    <p:sldId id="1881839195" r:id="rId20"/>
    <p:sldId id="1881839196" r:id="rId21"/>
    <p:sldId id="1881839167" r:id="rId22"/>
    <p:sldId id="1881839218" r:id="rId23"/>
    <p:sldId id="1881839163" r:id="rId24"/>
    <p:sldId id="1881839181" r:id="rId25"/>
    <p:sldId id="1881839188" r:id="rId26"/>
    <p:sldId id="1881839192" r:id="rId27"/>
    <p:sldId id="1881839185" r:id="rId28"/>
    <p:sldId id="1881839186" r:id="rId29"/>
    <p:sldId id="1881839189" r:id="rId30"/>
    <p:sldId id="1881839187" r:id="rId31"/>
    <p:sldId id="1881839190" r:id="rId32"/>
    <p:sldId id="1881839216" r:id="rId33"/>
    <p:sldId id="1881839165" r:id="rId34"/>
    <p:sldId id="1881839172" r:id="rId35"/>
    <p:sldId id="1881839173" r:id="rId36"/>
    <p:sldId id="1881839198" r:id="rId37"/>
    <p:sldId id="1881839199" r:id="rId38"/>
    <p:sldId id="1881839200" r:id="rId39"/>
    <p:sldId id="1881839201" r:id="rId40"/>
    <p:sldId id="1881839164" r:id="rId41"/>
    <p:sldId id="1881839177" r:id="rId42"/>
    <p:sldId id="1881839214" r:id="rId43"/>
    <p:sldId id="1881839166" r:id="rId44"/>
    <p:sldId id="1881839136" r:id="rId45"/>
  </p:sldIdLst>
  <p:sldSz cx="12192000" cy="6858000"/>
  <p:notesSz cx="6950075" cy="9236075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8795541E-A95C-5B3B-1C98-B85ABCA40E91}" name="Anara Samambayeva" initials="AS" userId="S::Anara.Samambayeva@kz.ey.com::40372071-4642-4757-8ccf-dba3b5920c09" providerId="AD"/>
  <p188:author id="{7E458B67-C412-0511-FAB3-4B17EB321652}" name="Chris Kramer" initials="CK" userId="S::Christopher.Kramer@ey.com::91898555-a6b5-4c1b-8618-941af9b62861" providerId="AD"/>
  <p188:author id="{693CA97E-43AE-C7DB-00C4-9C9D6A49E84E}" name="Aruzhan Muratova" initials="AM" userId="S::Aruzhan.Muratova@kz.ey.com::8a294d94-a6a0-4505-af6e-1d71a99b9960" providerId="AD"/>
  <p188:author id="{BB2D8188-8A5B-BACB-CF46-FEF1DFA0E34B}" name="Kamila Salikhbaeva" initials="KS" userId="S::Kamila.Salikhbaeva@uz.ey.com::0bb3296e-98a7-4ed8-9df8-f64f069beaf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47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600"/>
    <a:srgbClr val="000000"/>
    <a:srgbClr val="E5E8ED"/>
    <a:srgbClr val="32FFFF"/>
    <a:srgbClr val="FF00FF"/>
    <a:srgbClr val="C5FD45"/>
    <a:srgbClr val="80FBFD"/>
    <a:srgbClr val="EB4F00"/>
    <a:srgbClr val="2DB757"/>
    <a:srgbClr val="922B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991BE2B-A3E7-4DB2-B967-3EF30E6FE166}" v="8117" dt="2025-07-01T12:01:07.127"/>
    <p1510:client id="{6A66B1D2-E1F5-4855-8D46-9F4EBD40756F}" v="170" dt="2025-07-01T05:01:11.971"/>
    <p1510:client id="{7748A01F-6540-4266-81B2-FED1D50AC421}" v="1100" dt="2025-07-01T14:00:08.573"/>
    <p1510:client id="{A07C9F3A-D3C2-424C-B6AD-3A39545ED130}" v="1228" dt="2025-07-02T02:52:32.919"/>
    <p1510:client id="{F0528726-7DDF-4C04-B22D-0A2DA8A745E7}" v="56" dt="2025-07-01T13:09:00.2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7231" autoAdjust="0"/>
  </p:normalViewPr>
  <p:slideViewPr>
    <p:cSldViewPr snapToGrid="0">
      <p:cViewPr>
        <p:scale>
          <a:sx n="50" d="100"/>
          <a:sy n="50" d="100"/>
        </p:scale>
        <p:origin x="1188" y="-40"/>
      </p:cViewPr>
      <p:guideLst/>
    </p:cSldViewPr>
  </p:slideViewPr>
  <p:notesTextViewPr>
    <p:cViewPr>
      <p:scale>
        <a:sx n="1" d="1"/>
        <a:sy n="1" d="1"/>
      </p:scale>
      <p:origin x="0" y="-248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55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tags" Target="tags/tag1.xml"/><Relationship Id="rId56" Type="http://schemas.microsoft.com/office/2018/10/relationships/authors" Target="authors.xml"/><Relationship Id="rId8" Type="http://schemas.openxmlformats.org/officeDocument/2006/relationships/slide" Target="slides/slide4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lya Vulf" userId="d4512d07-722c-4e06-8f9f-f61364129989" providerId="ADAL" clId="{F0528726-7DDF-4C04-B22D-0A2DA8A745E7}"/>
    <pc:docChg chg="modSld">
      <pc:chgData name="Ilya Vulf" userId="d4512d07-722c-4e06-8f9f-f61364129989" providerId="ADAL" clId="{F0528726-7DDF-4C04-B22D-0A2DA8A745E7}" dt="2025-07-01T13:09:00.212" v="55" actId="20577"/>
      <pc:docMkLst>
        <pc:docMk/>
      </pc:docMkLst>
      <pc:sldChg chg="modSp mod">
        <pc:chgData name="Ilya Vulf" userId="d4512d07-722c-4e06-8f9f-f61364129989" providerId="ADAL" clId="{F0528726-7DDF-4C04-B22D-0A2DA8A745E7}" dt="2025-07-01T13:09:00.212" v="55" actId="20577"/>
        <pc:sldMkLst>
          <pc:docMk/>
          <pc:sldMk cId="2597971102" sldId="1881839172"/>
        </pc:sldMkLst>
        <pc:spChg chg="mod">
          <ac:chgData name="Ilya Vulf" userId="d4512d07-722c-4e06-8f9f-f61364129989" providerId="ADAL" clId="{F0528726-7DDF-4C04-B22D-0A2DA8A745E7}" dt="2025-07-01T13:08:01.497" v="23" actId="20577"/>
          <ac:spMkLst>
            <pc:docMk/>
            <pc:sldMk cId="2597971102" sldId="1881839172"/>
            <ac:spMk id="52" creationId="{BC3C39D1-C69A-A93F-3E85-8045F5CECF6D}"/>
          </ac:spMkLst>
        </pc:spChg>
        <pc:spChg chg="mod">
          <ac:chgData name="Ilya Vulf" userId="d4512d07-722c-4e06-8f9f-f61364129989" providerId="ADAL" clId="{F0528726-7DDF-4C04-B22D-0A2DA8A745E7}" dt="2025-07-01T13:08:20.838" v="46" actId="20577"/>
          <ac:spMkLst>
            <pc:docMk/>
            <pc:sldMk cId="2597971102" sldId="1881839172"/>
            <ac:spMk id="68" creationId="{1B5793E1-E6DC-967F-F508-0AF948482758}"/>
          </ac:spMkLst>
        </pc:spChg>
        <pc:spChg chg="mod">
          <ac:chgData name="Ilya Vulf" userId="d4512d07-722c-4e06-8f9f-f61364129989" providerId="ADAL" clId="{F0528726-7DDF-4C04-B22D-0A2DA8A745E7}" dt="2025-07-01T13:09:00.212" v="55" actId="20577"/>
          <ac:spMkLst>
            <pc:docMk/>
            <pc:sldMk cId="2597971102" sldId="1881839172"/>
            <ac:spMk id="83" creationId="{C0A0BE05-6ADA-2EDE-DC8C-28E773EA1B6B}"/>
          </ac:spMkLst>
        </pc:spChg>
      </pc:sldChg>
    </pc:docChg>
  </pc:docChgLst>
  <pc:docChgLst>
    <pc:chgData name="Ilya Vulf" userId="S::ilya.vulf@kz.ey.com::d4512d07-722c-4e06-8f9f-f61364129989" providerId="AD" clId="Web-{A3F9EFD1-D076-D293-C270-A87B41C9F60D}"/>
    <pc:docChg chg="modSld">
      <pc:chgData name="Ilya Vulf" userId="S::ilya.vulf@kz.ey.com::d4512d07-722c-4e06-8f9f-f61364129989" providerId="AD" clId="Web-{A3F9EFD1-D076-D293-C270-A87B41C9F60D}" dt="2025-06-30T08:00:36.952" v="9" actId="20577"/>
      <pc:docMkLst>
        <pc:docMk/>
      </pc:docMkLst>
      <pc:sldChg chg="mod modShow">
        <pc:chgData name="Ilya Vulf" userId="S::ilya.vulf@kz.ey.com::d4512d07-722c-4e06-8f9f-f61364129989" providerId="AD" clId="Web-{A3F9EFD1-D076-D293-C270-A87B41C9F60D}" dt="2025-06-30T07:54:40.815" v="0"/>
        <pc:sldMkLst>
          <pc:docMk/>
          <pc:sldMk cId="3721523510" sldId="1881839150"/>
        </pc:sldMkLst>
      </pc:sldChg>
      <pc:sldChg chg="modSp">
        <pc:chgData name="Ilya Vulf" userId="S::ilya.vulf@kz.ey.com::d4512d07-722c-4e06-8f9f-f61364129989" providerId="AD" clId="Web-{A3F9EFD1-D076-D293-C270-A87B41C9F60D}" dt="2025-06-30T08:00:36.952" v="9" actId="20577"/>
        <pc:sldMkLst>
          <pc:docMk/>
          <pc:sldMk cId="543987747" sldId="1881839201"/>
        </pc:sldMkLst>
        <pc:spChg chg="mod">
          <ac:chgData name="Ilya Vulf" userId="S::ilya.vulf@kz.ey.com::d4512d07-722c-4e06-8f9f-f61364129989" providerId="AD" clId="Web-{A3F9EFD1-D076-D293-C270-A87B41C9F60D}" dt="2025-06-30T08:00:36.952" v="9" actId="20577"/>
          <ac:spMkLst>
            <pc:docMk/>
            <pc:sldMk cId="543987747" sldId="1881839201"/>
            <ac:spMk id="14" creationId="{8FA8CCD7-4741-EA0C-7D69-B8ACEB8398C2}"/>
          </ac:spMkLst>
        </pc:spChg>
      </pc:sldChg>
    </pc:docChg>
  </pc:docChgLst>
  <pc:docChgLst>
    <pc:chgData name="Iurii A Timonin" userId="137ac8ae-cb77-41fe-9a0e-e62cb974b187" providerId="ADAL" clId="{7748A01F-6540-4266-81B2-FED1D50AC421}"/>
    <pc:docChg chg="undo redo custSel addSld delSld modSld sldOrd">
      <pc:chgData name="Iurii A Timonin" userId="137ac8ae-cb77-41fe-9a0e-e62cb974b187" providerId="ADAL" clId="{7748A01F-6540-4266-81B2-FED1D50AC421}" dt="2025-07-01T14:00:08.573" v="1101" actId="179"/>
      <pc:docMkLst>
        <pc:docMk/>
      </pc:docMkLst>
      <pc:sldChg chg="modSp mod">
        <pc:chgData name="Iurii A Timonin" userId="137ac8ae-cb77-41fe-9a0e-e62cb974b187" providerId="ADAL" clId="{7748A01F-6540-4266-81B2-FED1D50AC421}" dt="2025-07-01T12:35:31.474" v="982" actId="6549"/>
        <pc:sldMkLst>
          <pc:docMk/>
          <pc:sldMk cId="3359828720" sldId="419"/>
        </pc:sldMkLst>
        <pc:spChg chg="mod">
          <ac:chgData name="Iurii A Timonin" userId="137ac8ae-cb77-41fe-9a0e-e62cb974b187" providerId="ADAL" clId="{7748A01F-6540-4266-81B2-FED1D50AC421}" dt="2025-07-01T12:35:31.474" v="982" actId="6549"/>
          <ac:spMkLst>
            <pc:docMk/>
            <pc:sldMk cId="3359828720" sldId="419"/>
            <ac:spMk id="10" creationId="{0D369242-9032-FA49-40E3-3539D4DAF7E0}"/>
          </ac:spMkLst>
        </pc:spChg>
      </pc:sldChg>
      <pc:sldChg chg="mod ord modShow">
        <pc:chgData name="Iurii A Timonin" userId="137ac8ae-cb77-41fe-9a0e-e62cb974b187" providerId="ADAL" clId="{7748A01F-6540-4266-81B2-FED1D50AC421}" dt="2025-07-01T12:48:50.560" v="986"/>
        <pc:sldMkLst>
          <pc:docMk/>
          <pc:sldMk cId="3721523510" sldId="1881839150"/>
        </pc:sldMkLst>
      </pc:sldChg>
      <pc:sldChg chg="delSp modSp mod">
        <pc:chgData name="Iurii A Timonin" userId="137ac8ae-cb77-41fe-9a0e-e62cb974b187" providerId="ADAL" clId="{7748A01F-6540-4266-81B2-FED1D50AC421}" dt="2025-07-01T10:40:59.073" v="964" actId="1035"/>
        <pc:sldMkLst>
          <pc:docMk/>
          <pc:sldMk cId="4242851952" sldId="1881839167"/>
        </pc:sldMkLst>
        <pc:spChg chg="mod">
          <ac:chgData name="Iurii A Timonin" userId="137ac8ae-cb77-41fe-9a0e-e62cb974b187" providerId="ADAL" clId="{7748A01F-6540-4266-81B2-FED1D50AC421}" dt="2025-07-01T09:21:25.363" v="351" actId="20577"/>
          <ac:spMkLst>
            <pc:docMk/>
            <pc:sldMk cId="4242851952" sldId="1881839167"/>
            <ac:spMk id="7" creationId="{A4CA236D-F2E6-2459-198A-A054FFE5BE54}"/>
          </ac:spMkLst>
        </pc:spChg>
        <pc:spChg chg="mod">
          <ac:chgData name="Iurii A Timonin" userId="137ac8ae-cb77-41fe-9a0e-e62cb974b187" providerId="ADAL" clId="{7748A01F-6540-4266-81B2-FED1D50AC421}" dt="2025-07-01T09:52:17.789" v="739" actId="14100"/>
          <ac:spMkLst>
            <pc:docMk/>
            <pc:sldMk cId="4242851952" sldId="1881839167"/>
            <ac:spMk id="238" creationId="{C0BBC13D-1016-A232-B407-5361B4064725}"/>
          </ac:spMkLst>
        </pc:spChg>
        <pc:spChg chg="mod">
          <ac:chgData name="Iurii A Timonin" userId="137ac8ae-cb77-41fe-9a0e-e62cb974b187" providerId="ADAL" clId="{7748A01F-6540-4266-81B2-FED1D50AC421}" dt="2025-07-01T09:46:48.809" v="608" actId="1035"/>
          <ac:spMkLst>
            <pc:docMk/>
            <pc:sldMk cId="4242851952" sldId="1881839167"/>
            <ac:spMk id="239" creationId="{57C74FEF-50EB-A5C2-2A8E-BE8B5E48D643}"/>
          </ac:spMkLst>
        </pc:spChg>
        <pc:spChg chg="mod">
          <ac:chgData name="Iurii A Timonin" userId="137ac8ae-cb77-41fe-9a0e-e62cb974b187" providerId="ADAL" clId="{7748A01F-6540-4266-81B2-FED1D50AC421}" dt="2025-07-01T09:52:26.843" v="740" actId="948"/>
          <ac:spMkLst>
            <pc:docMk/>
            <pc:sldMk cId="4242851952" sldId="1881839167"/>
            <ac:spMk id="240" creationId="{00A5F03D-20CC-C668-FE38-2C7757F070C5}"/>
          </ac:spMkLst>
        </pc:spChg>
        <pc:spChg chg="del">
          <ac:chgData name="Iurii A Timonin" userId="137ac8ae-cb77-41fe-9a0e-e62cb974b187" providerId="ADAL" clId="{7748A01F-6540-4266-81B2-FED1D50AC421}" dt="2025-07-01T09:25:35.787" v="397" actId="478"/>
          <ac:spMkLst>
            <pc:docMk/>
            <pc:sldMk cId="4242851952" sldId="1881839167"/>
            <ac:spMk id="241" creationId="{E15351E3-1542-DBB1-5BBB-460221FD77A0}"/>
          </ac:spMkLst>
        </pc:spChg>
        <pc:spChg chg="del mod">
          <ac:chgData name="Iurii A Timonin" userId="137ac8ae-cb77-41fe-9a0e-e62cb974b187" providerId="ADAL" clId="{7748A01F-6540-4266-81B2-FED1D50AC421}" dt="2025-07-01T09:25:35.787" v="397" actId="478"/>
          <ac:spMkLst>
            <pc:docMk/>
            <pc:sldMk cId="4242851952" sldId="1881839167"/>
            <ac:spMk id="242" creationId="{4DEE1013-C643-7A68-1BBA-82F357C780E0}"/>
          </ac:spMkLst>
        </pc:spChg>
        <pc:spChg chg="del">
          <ac:chgData name="Iurii A Timonin" userId="137ac8ae-cb77-41fe-9a0e-e62cb974b187" providerId="ADAL" clId="{7748A01F-6540-4266-81B2-FED1D50AC421}" dt="2025-07-01T09:25:35.787" v="397" actId="478"/>
          <ac:spMkLst>
            <pc:docMk/>
            <pc:sldMk cId="4242851952" sldId="1881839167"/>
            <ac:spMk id="243" creationId="{14405842-A3A8-BC7F-A637-031F33331E44}"/>
          </ac:spMkLst>
        </pc:spChg>
        <pc:spChg chg="mod">
          <ac:chgData name="Iurii A Timonin" userId="137ac8ae-cb77-41fe-9a0e-e62cb974b187" providerId="ADAL" clId="{7748A01F-6540-4266-81B2-FED1D50AC421}" dt="2025-07-01T09:52:17.789" v="739" actId="14100"/>
          <ac:spMkLst>
            <pc:docMk/>
            <pc:sldMk cId="4242851952" sldId="1881839167"/>
            <ac:spMk id="244" creationId="{824AF5B6-D0B3-5E95-5AAC-DE8ED3C95F43}"/>
          </ac:spMkLst>
        </pc:spChg>
        <pc:spChg chg="mod">
          <ac:chgData name="Iurii A Timonin" userId="137ac8ae-cb77-41fe-9a0e-e62cb974b187" providerId="ADAL" clId="{7748A01F-6540-4266-81B2-FED1D50AC421}" dt="2025-07-01T09:53:39.689" v="756"/>
          <ac:spMkLst>
            <pc:docMk/>
            <pc:sldMk cId="4242851952" sldId="1881839167"/>
            <ac:spMk id="245" creationId="{F0524F6B-2697-2113-48F8-4E6FEB38B576}"/>
          </ac:spMkLst>
        </pc:spChg>
        <pc:spChg chg="mod">
          <ac:chgData name="Iurii A Timonin" userId="137ac8ae-cb77-41fe-9a0e-e62cb974b187" providerId="ADAL" clId="{7748A01F-6540-4266-81B2-FED1D50AC421}" dt="2025-07-01T10:40:59.073" v="964" actId="1035"/>
          <ac:spMkLst>
            <pc:docMk/>
            <pc:sldMk cId="4242851952" sldId="1881839167"/>
            <ac:spMk id="246" creationId="{30296B0D-676F-CBED-ECBA-376FD288A6B8}"/>
          </ac:spMkLst>
        </pc:spChg>
        <pc:spChg chg="del">
          <ac:chgData name="Iurii A Timonin" userId="137ac8ae-cb77-41fe-9a0e-e62cb974b187" providerId="ADAL" clId="{7748A01F-6540-4266-81B2-FED1D50AC421}" dt="2025-07-01T09:25:35.787" v="397" actId="478"/>
          <ac:spMkLst>
            <pc:docMk/>
            <pc:sldMk cId="4242851952" sldId="1881839167"/>
            <ac:spMk id="247" creationId="{B56D0AE5-3D6F-3602-FA40-6E73FFC3FB3E}"/>
          </ac:spMkLst>
        </pc:spChg>
        <pc:spChg chg="del mod">
          <ac:chgData name="Iurii A Timonin" userId="137ac8ae-cb77-41fe-9a0e-e62cb974b187" providerId="ADAL" clId="{7748A01F-6540-4266-81B2-FED1D50AC421}" dt="2025-07-01T09:25:35.787" v="397" actId="478"/>
          <ac:spMkLst>
            <pc:docMk/>
            <pc:sldMk cId="4242851952" sldId="1881839167"/>
            <ac:spMk id="248" creationId="{BFEE9B2C-C998-DEC5-E433-5C0105576274}"/>
          </ac:spMkLst>
        </pc:spChg>
        <pc:spChg chg="del">
          <ac:chgData name="Iurii A Timonin" userId="137ac8ae-cb77-41fe-9a0e-e62cb974b187" providerId="ADAL" clId="{7748A01F-6540-4266-81B2-FED1D50AC421}" dt="2025-07-01T09:25:35.787" v="397" actId="478"/>
          <ac:spMkLst>
            <pc:docMk/>
            <pc:sldMk cId="4242851952" sldId="1881839167"/>
            <ac:spMk id="249" creationId="{705A599F-5828-7FF8-1A46-4D8CEF7945D9}"/>
          </ac:spMkLst>
        </pc:spChg>
      </pc:sldChg>
      <pc:sldChg chg="add">
        <pc:chgData name="Iurii A Timonin" userId="137ac8ae-cb77-41fe-9a0e-e62cb974b187" providerId="ADAL" clId="{7748A01F-6540-4266-81B2-FED1D50AC421}" dt="2025-07-01T10:42:04.762" v="970"/>
        <pc:sldMkLst>
          <pc:docMk/>
          <pc:sldMk cId="502663893" sldId="1881839170"/>
        </pc:sldMkLst>
      </pc:sldChg>
      <pc:sldChg chg="modSp del mod">
        <pc:chgData name="Iurii A Timonin" userId="137ac8ae-cb77-41fe-9a0e-e62cb974b187" providerId="ADAL" clId="{7748A01F-6540-4266-81B2-FED1D50AC421}" dt="2025-07-01T10:42:02.704" v="969" actId="2696"/>
        <pc:sldMkLst>
          <pc:docMk/>
          <pc:sldMk cId="3067046595" sldId="1881839170"/>
        </pc:sldMkLst>
        <pc:spChg chg="mod">
          <ac:chgData name="Iurii A Timonin" userId="137ac8ae-cb77-41fe-9a0e-e62cb974b187" providerId="ADAL" clId="{7748A01F-6540-4266-81B2-FED1D50AC421}" dt="2025-07-01T10:41:16.426" v="965" actId="403"/>
          <ac:spMkLst>
            <pc:docMk/>
            <pc:sldMk cId="3067046595" sldId="1881839170"/>
            <ac:spMk id="24" creationId="{18641AC3-982B-7EE9-B661-4AD335FCAE96}"/>
          </ac:spMkLst>
        </pc:spChg>
        <pc:spChg chg="mod">
          <ac:chgData name="Iurii A Timonin" userId="137ac8ae-cb77-41fe-9a0e-e62cb974b187" providerId="ADAL" clId="{7748A01F-6540-4266-81B2-FED1D50AC421}" dt="2025-07-01T10:41:18.673" v="966" actId="403"/>
          <ac:spMkLst>
            <pc:docMk/>
            <pc:sldMk cId="3067046595" sldId="1881839170"/>
            <ac:spMk id="25" creationId="{2E425BEE-D9CA-80D7-CEF3-163745E10A1B}"/>
          </ac:spMkLst>
        </pc:spChg>
        <pc:spChg chg="mod">
          <ac:chgData name="Iurii A Timonin" userId="137ac8ae-cb77-41fe-9a0e-e62cb974b187" providerId="ADAL" clId="{7748A01F-6540-4266-81B2-FED1D50AC421}" dt="2025-07-01T10:41:22.353" v="967" actId="403"/>
          <ac:spMkLst>
            <pc:docMk/>
            <pc:sldMk cId="3067046595" sldId="1881839170"/>
            <ac:spMk id="26" creationId="{5F9832EB-3EF5-049E-1CE4-133D30CA1299}"/>
          </ac:spMkLst>
        </pc:spChg>
        <pc:spChg chg="mod">
          <ac:chgData name="Iurii A Timonin" userId="137ac8ae-cb77-41fe-9a0e-e62cb974b187" providerId="ADAL" clId="{7748A01F-6540-4266-81B2-FED1D50AC421}" dt="2025-07-01T10:41:27.526" v="968" actId="403"/>
          <ac:spMkLst>
            <pc:docMk/>
            <pc:sldMk cId="3067046595" sldId="1881839170"/>
            <ac:spMk id="28" creationId="{A3BA0EC1-987F-ABA2-BC2B-97800FB8AE75}"/>
          </ac:spMkLst>
        </pc:spChg>
      </pc:sldChg>
      <pc:sldChg chg="modSp mod">
        <pc:chgData name="Iurii A Timonin" userId="137ac8ae-cb77-41fe-9a0e-e62cb974b187" providerId="ADAL" clId="{7748A01F-6540-4266-81B2-FED1D50AC421}" dt="2025-07-01T13:34:54.815" v="1096" actId="1037"/>
        <pc:sldMkLst>
          <pc:docMk/>
          <pc:sldMk cId="3081756418" sldId="1881839178"/>
        </pc:sldMkLst>
        <pc:spChg chg="mod">
          <ac:chgData name="Iurii A Timonin" userId="137ac8ae-cb77-41fe-9a0e-e62cb974b187" providerId="ADAL" clId="{7748A01F-6540-4266-81B2-FED1D50AC421}" dt="2025-07-01T13:34:54.815" v="1096" actId="1037"/>
          <ac:spMkLst>
            <pc:docMk/>
            <pc:sldMk cId="3081756418" sldId="1881839178"/>
            <ac:spMk id="27" creationId="{876C8BCD-F7D7-C8BD-E395-545CE025A881}"/>
          </ac:spMkLst>
        </pc:spChg>
        <pc:spChg chg="mod">
          <ac:chgData name="Iurii A Timonin" userId="137ac8ae-cb77-41fe-9a0e-e62cb974b187" providerId="ADAL" clId="{7748A01F-6540-4266-81B2-FED1D50AC421}" dt="2025-07-01T12:37:13.251" v="983" actId="1076"/>
          <ac:spMkLst>
            <pc:docMk/>
            <pc:sldMk cId="3081756418" sldId="1881839178"/>
            <ac:spMk id="31" creationId="{AA9ABB89-5F96-E334-AF9F-BA75AFD26F48}"/>
          </ac:spMkLst>
        </pc:spChg>
        <pc:cxnChg chg="mod">
          <ac:chgData name="Iurii A Timonin" userId="137ac8ae-cb77-41fe-9a0e-e62cb974b187" providerId="ADAL" clId="{7748A01F-6540-4266-81B2-FED1D50AC421}" dt="2025-07-01T13:34:54.815" v="1096" actId="1037"/>
          <ac:cxnSpMkLst>
            <pc:docMk/>
            <pc:sldMk cId="3081756418" sldId="1881839178"/>
            <ac:cxnSpMk id="29" creationId="{6B5B97C1-53E2-74B4-3EA3-F9DE9C39466F}"/>
          </ac:cxnSpMkLst>
        </pc:cxnChg>
      </pc:sldChg>
      <pc:sldChg chg="addSp delSp modSp mod">
        <pc:chgData name="Iurii A Timonin" userId="137ac8ae-cb77-41fe-9a0e-e62cb974b187" providerId="ADAL" clId="{7748A01F-6540-4266-81B2-FED1D50AC421}" dt="2025-07-01T07:58:34.490" v="14" actId="13926"/>
        <pc:sldMkLst>
          <pc:docMk/>
          <pc:sldMk cId="347289165" sldId="1881839189"/>
        </pc:sldMkLst>
        <pc:spChg chg="add mod">
          <ac:chgData name="Iurii A Timonin" userId="137ac8ae-cb77-41fe-9a0e-e62cb974b187" providerId="ADAL" clId="{7748A01F-6540-4266-81B2-FED1D50AC421}" dt="2025-07-01T07:56:46.892" v="9" actId="13926"/>
          <ac:spMkLst>
            <pc:docMk/>
            <pc:sldMk cId="347289165" sldId="1881839189"/>
            <ac:spMk id="2" creationId="{1818CAF2-0F90-04CF-269D-E666AD70101F}"/>
          </ac:spMkLst>
        </pc:spChg>
        <pc:spChg chg="add mod">
          <ac:chgData name="Iurii A Timonin" userId="137ac8ae-cb77-41fe-9a0e-e62cb974b187" providerId="ADAL" clId="{7748A01F-6540-4266-81B2-FED1D50AC421}" dt="2025-07-01T07:58:34.490" v="14" actId="13926"/>
          <ac:spMkLst>
            <pc:docMk/>
            <pc:sldMk cId="347289165" sldId="1881839189"/>
            <ac:spMk id="3" creationId="{F19883FE-802D-01D1-F9FD-EC70A75608FD}"/>
          </ac:spMkLst>
        </pc:spChg>
        <pc:picChg chg="del">
          <ac:chgData name="Iurii A Timonin" userId="137ac8ae-cb77-41fe-9a0e-e62cb974b187" providerId="ADAL" clId="{7748A01F-6540-4266-81B2-FED1D50AC421}" dt="2025-07-01T07:56:20.840" v="0" actId="478"/>
          <ac:picMkLst>
            <pc:docMk/>
            <pc:sldMk cId="347289165" sldId="1881839189"/>
            <ac:picMk id="42" creationId="{43158AE2-BA51-6292-E740-ADBF443F4F82}"/>
          </ac:picMkLst>
        </pc:picChg>
        <pc:picChg chg="mod">
          <ac:chgData name="Iurii A Timonin" userId="137ac8ae-cb77-41fe-9a0e-e62cb974b187" providerId="ADAL" clId="{7748A01F-6540-4266-81B2-FED1D50AC421}" dt="2025-07-01T07:56:37.891" v="6" actId="14100"/>
          <ac:picMkLst>
            <pc:docMk/>
            <pc:sldMk cId="347289165" sldId="1881839189"/>
            <ac:picMk id="44" creationId="{A053CB8E-20D4-0905-AFC1-4ADA91FA5F81}"/>
          </ac:picMkLst>
        </pc:picChg>
      </pc:sldChg>
      <pc:sldChg chg="ord">
        <pc:chgData name="Iurii A Timonin" userId="137ac8ae-cb77-41fe-9a0e-e62cb974b187" providerId="ADAL" clId="{7748A01F-6540-4266-81B2-FED1D50AC421}" dt="2025-07-01T07:58:59.606" v="16"/>
        <pc:sldMkLst>
          <pc:docMk/>
          <pc:sldMk cId="1242318544" sldId="1881839190"/>
        </pc:sldMkLst>
      </pc:sldChg>
      <pc:sldChg chg="add">
        <pc:chgData name="Iurii A Timonin" userId="137ac8ae-cb77-41fe-9a0e-e62cb974b187" providerId="ADAL" clId="{7748A01F-6540-4266-81B2-FED1D50AC421}" dt="2025-07-01T10:42:04.762" v="970"/>
        <pc:sldMkLst>
          <pc:docMk/>
          <pc:sldMk cId="3503157788" sldId="1881839193"/>
        </pc:sldMkLst>
      </pc:sldChg>
      <pc:sldChg chg="modSp del mod">
        <pc:chgData name="Iurii A Timonin" userId="137ac8ae-cb77-41fe-9a0e-e62cb974b187" providerId="ADAL" clId="{7748A01F-6540-4266-81B2-FED1D50AC421}" dt="2025-07-01T10:42:02.704" v="969" actId="2696"/>
        <pc:sldMkLst>
          <pc:docMk/>
          <pc:sldMk cId="3913324376" sldId="1881839193"/>
        </pc:sldMkLst>
        <pc:spChg chg="mod">
          <ac:chgData name="Iurii A Timonin" userId="137ac8ae-cb77-41fe-9a0e-e62cb974b187" providerId="ADAL" clId="{7748A01F-6540-4266-81B2-FED1D50AC421}" dt="2025-07-01T10:11:53.621" v="943" actId="403"/>
          <ac:spMkLst>
            <pc:docMk/>
            <pc:sldMk cId="3913324376" sldId="1881839193"/>
            <ac:spMk id="32" creationId="{11EED09D-C28C-A617-D885-33708B0CDA19}"/>
          </ac:spMkLst>
        </pc:spChg>
        <pc:spChg chg="mod">
          <ac:chgData name="Iurii A Timonin" userId="137ac8ae-cb77-41fe-9a0e-e62cb974b187" providerId="ADAL" clId="{7748A01F-6540-4266-81B2-FED1D50AC421}" dt="2025-07-01T10:11:07.764" v="939" actId="5793"/>
          <ac:spMkLst>
            <pc:docMk/>
            <pc:sldMk cId="3913324376" sldId="1881839193"/>
            <ac:spMk id="34" creationId="{C767CD9E-555F-8B1E-5C1F-ACBC636C6349}"/>
          </ac:spMkLst>
        </pc:spChg>
        <pc:spChg chg="mod">
          <ac:chgData name="Iurii A Timonin" userId="137ac8ae-cb77-41fe-9a0e-e62cb974b187" providerId="ADAL" clId="{7748A01F-6540-4266-81B2-FED1D50AC421}" dt="2025-07-01T10:11:15.033" v="942" actId="20577"/>
          <ac:spMkLst>
            <pc:docMk/>
            <pc:sldMk cId="3913324376" sldId="1881839193"/>
            <ac:spMk id="39" creationId="{52E5FB50-CECD-1AC1-B603-7736DBAAE556}"/>
          </ac:spMkLst>
        </pc:spChg>
      </pc:sldChg>
      <pc:sldChg chg="add">
        <pc:chgData name="Iurii A Timonin" userId="137ac8ae-cb77-41fe-9a0e-e62cb974b187" providerId="ADAL" clId="{7748A01F-6540-4266-81B2-FED1D50AC421}" dt="2025-07-01T10:42:04.762" v="970"/>
        <pc:sldMkLst>
          <pc:docMk/>
          <pc:sldMk cId="3372674906" sldId="1881839194"/>
        </pc:sldMkLst>
      </pc:sldChg>
      <pc:sldChg chg="modSp del mod">
        <pc:chgData name="Iurii A Timonin" userId="137ac8ae-cb77-41fe-9a0e-e62cb974b187" providerId="ADAL" clId="{7748A01F-6540-4266-81B2-FED1D50AC421}" dt="2025-07-01T10:42:02.704" v="969" actId="2696"/>
        <pc:sldMkLst>
          <pc:docMk/>
          <pc:sldMk cId="3672484751" sldId="1881839194"/>
        </pc:sldMkLst>
        <pc:spChg chg="mod">
          <ac:chgData name="Iurii A Timonin" userId="137ac8ae-cb77-41fe-9a0e-e62cb974b187" providerId="ADAL" clId="{7748A01F-6540-4266-81B2-FED1D50AC421}" dt="2025-07-01T10:12:40.997" v="944" actId="114"/>
          <ac:spMkLst>
            <pc:docMk/>
            <pc:sldMk cId="3672484751" sldId="1881839194"/>
            <ac:spMk id="57" creationId="{CFA727C7-E9C7-5543-855E-41B60C4F519C}"/>
          </ac:spMkLst>
        </pc:spChg>
      </pc:sldChg>
      <pc:sldChg chg="modSp add mod">
        <pc:chgData name="Iurii A Timonin" userId="137ac8ae-cb77-41fe-9a0e-e62cb974b187" providerId="ADAL" clId="{7748A01F-6540-4266-81B2-FED1D50AC421}" dt="2025-07-01T13:42:26.776" v="1097" actId="207"/>
        <pc:sldMkLst>
          <pc:docMk/>
          <pc:sldMk cId="1064475647" sldId="1881839195"/>
        </pc:sldMkLst>
        <pc:spChg chg="mod">
          <ac:chgData name="Iurii A Timonin" userId="137ac8ae-cb77-41fe-9a0e-e62cb974b187" providerId="ADAL" clId="{7748A01F-6540-4266-81B2-FED1D50AC421}" dt="2025-07-01T13:42:26.776" v="1097" actId="207"/>
          <ac:spMkLst>
            <pc:docMk/>
            <pc:sldMk cId="1064475647" sldId="1881839195"/>
            <ac:spMk id="12" creationId="{A197F9C8-1F49-7918-A0BC-B4C70E983E41}"/>
          </ac:spMkLst>
        </pc:spChg>
      </pc:sldChg>
      <pc:sldChg chg="modSp del mod">
        <pc:chgData name="Iurii A Timonin" userId="137ac8ae-cb77-41fe-9a0e-e62cb974b187" providerId="ADAL" clId="{7748A01F-6540-4266-81B2-FED1D50AC421}" dt="2025-07-01T10:42:02.704" v="969" actId="2696"/>
        <pc:sldMkLst>
          <pc:docMk/>
          <pc:sldMk cId="1631232436" sldId="1881839195"/>
        </pc:sldMkLst>
        <pc:spChg chg="mod">
          <ac:chgData name="Iurii A Timonin" userId="137ac8ae-cb77-41fe-9a0e-e62cb974b187" providerId="ADAL" clId="{7748A01F-6540-4266-81B2-FED1D50AC421}" dt="2025-07-01T10:13:44.795" v="948" actId="14100"/>
          <ac:spMkLst>
            <pc:docMk/>
            <pc:sldMk cId="1631232436" sldId="1881839195"/>
            <ac:spMk id="10" creationId="{5BF3AB80-29A7-2B56-CAA7-D18E6A4DCC0F}"/>
          </ac:spMkLst>
        </pc:spChg>
        <pc:spChg chg="mod">
          <ac:chgData name="Iurii A Timonin" userId="137ac8ae-cb77-41fe-9a0e-e62cb974b187" providerId="ADAL" clId="{7748A01F-6540-4266-81B2-FED1D50AC421}" dt="2025-07-01T10:13:34.641" v="945" actId="403"/>
          <ac:spMkLst>
            <pc:docMk/>
            <pc:sldMk cId="1631232436" sldId="1881839195"/>
            <ac:spMk id="12" creationId="{A197F9C8-1F49-7918-A0BC-B4C70E983E41}"/>
          </ac:spMkLst>
        </pc:spChg>
        <pc:grpChg chg="mod">
          <ac:chgData name="Iurii A Timonin" userId="137ac8ae-cb77-41fe-9a0e-e62cb974b187" providerId="ADAL" clId="{7748A01F-6540-4266-81B2-FED1D50AC421}" dt="2025-07-01T10:13:50.918" v="961" actId="1036"/>
          <ac:grpSpMkLst>
            <pc:docMk/>
            <pc:sldMk cId="1631232436" sldId="1881839195"/>
            <ac:grpSpMk id="11" creationId="{5A601BEB-2DA3-023F-F8C4-BC888B788B72}"/>
          </ac:grpSpMkLst>
        </pc:grpChg>
      </pc:sldChg>
      <pc:sldChg chg="modSp del mod">
        <pc:chgData name="Iurii A Timonin" userId="137ac8ae-cb77-41fe-9a0e-e62cb974b187" providerId="ADAL" clId="{7748A01F-6540-4266-81B2-FED1D50AC421}" dt="2025-07-01T10:42:02.704" v="969" actId="2696"/>
        <pc:sldMkLst>
          <pc:docMk/>
          <pc:sldMk cId="1741460239" sldId="1881839196"/>
        </pc:sldMkLst>
        <pc:spChg chg="mod">
          <ac:chgData name="Iurii A Timonin" userId="137ac8ae-cb77-41fe-9a0e-e62cb974b187" providerId="ADAL" clId="{7748A01F-6540-4266-81B2-FED1D50AC421}" dt="2025-07-01T10:14:32.692" v="962" actId="948"/>
          <ac:spMkLst>
            <pc:docMk/>
            <pc:sldMk cId="1741460239" sldId="1881839196"/>
            <ac:spMk id="29" creationId="{D32F7563-DACE-AA21-9D96-52C49CAB2CEF}"/>
          </ac:spMkLst>
        </pc:spChg>
      </pc:sldChg>
      <pc:sldChg chg="add">
        <pc:chgData name="Iurii A Timonin" userId="137ac8ae-cb77-41fe-9a0e-e62cb974b187" providerId="ADAL" clId="{7748A01F-6540-4266-81B2-FED1D50AC421}" dt="2025-07-01T10:42:04.762" v="970"/>
        <pc:sldMkLst>
          <pc:docMk/>
          <pc:sldMk cId="3224873960" sldId="1881839196"/>
        </pc:sldMkLst>
      </pc:sldChg>
      <pc:sldChg chg="modSp mod">
        <pc:chgData name="Iurii A Timonin" userId="137ac8ae-cb77-41fe-9a0e-e62cb974b187" providerId="ADAL" clId="{7748A01F-6540-4266-81B2-FED1D50AC421}" dt="2025-07-01T08:57:44.195" v="202" actId="20577"/>
        <pc:sldMkLst>
          <pc:docMk/>
          <pc:sldMk cId="529677055" sldId="1881839197"/>
        </pc:sldMkLst>
        <pc:spChg chg="mod">
          <ac:chgData name="Iurii A Timonin" userId="137ac8ae-cb77-41fe-9a0e-e62cb974b187" providerId="ADAL" clId="{7748A01F-6540-4266-81B2-FED1D50AC421}" dt="2025-07-01T08:57:44.195" v="202" actId="20577"/>
          <ac:spMkLst>
            <pc:docMk/>
            <pc:sldMk cId="529677055" sldId="1881839197"/>
            <ac:spMk id="26" creationId="{4C1BE49A-97A1-A87F-0AD4-06958FCAF66C}"/>
          </ac:spMkLst>
        </pc:spChg>
      </pc:sldChg>
      <pc:sldChg chg="modSp mod">
        <pc:chgData name="Iurii A Timonin" userId="137ac8ae-cb77-41fe-9a0e-e62cb974b187" providerId="ADAL" clId="{7748A01F-6540-4266-81B2-FED1D50AC421}" dt="2025-07-01T09:20:47.298" v="334" actId="404"/>
        <pc:sldMkLst>
          <pc:docMk/>
          <pc:sldMk cId="546881440" sldId="1881839198"/>
        </pc:sldMkLst>
        <pc:spChg chg="mod">
          <ac:chgData name="Iurii A Timonin" userId="137ac8ae-cb77-41fe-9a0e-e62cb974b187" providerId="ADAL" clId="{7748A01F-6540-4266-81B2-FED1D50AC421}" dt="2025-07-01T09:18:32.651" v="268" actId="1036"/>
          <ac:spMkLst>
            <pc:docMk/>
            <pc:sldMk cId="546881440" sldId="1881839198"/>
            <ac:spMk id="2" creationId="{C4EBE091-53FF-BF0A-1B68-72E32683C18F}"/>
          </ac:spMkLst>
        </pc:spChg>
        <pc:spChg chg="mod">
          <ac:chgData name="Iurii A Timonin" userId="137ac8ae-cb77-41fe-9a0e-e62cb974b187" providerId="ADAL" clId="{7748A01F-6540-4266-81B2-FED1D50AC421}" dt="2025-07-01T09:18:32.651" v="268" actId="1036"/>
          <ac:spMkLst>
            <pc:docMk/>
            <pc:sldMk cId="546881440" sldId="1881839198"/>
            <ac:spMk id="3" creationId="{FDB47392-1CB0-393F-0CD4-7C884EF3CC0C}"/>
          </ac:spMkLst>
        </pc:spChg>
        <pc:spChg chg="mod">
          <ac:chgData name="Iurii A Timonin" userId="137ac8ae-cb77-41fe-9a0e-e62cb974b187" providerId="ADAL" clId="{7748A01F-6540-4266-81B2-FED1D50AC421}" dt="2025-07-01T09:19:45.723" v="328" actId="313"/>
          <ac:spMkLst>
            <pc:docMk/>
            <pc:sldMk cId="546881440" sldId="1881839198"/>
            <ac:spMk id="4" creationId="{01C3658C-BD2C-DD76-1E44-E59820EBCBA2}"/>
          </ac:spMkLst>
        </pc:spChg>
        <pc:spChg chg="mod">
          <ac:chgData name="Iurii A Timonin" userId="137ac8ae-cb77-41fe-9a0e-e62cb974b187" providerId="ADAL" clId="{7748A01F-6540-4266-81B2-FED1D50AC421}" dt="2025-07-01T09:19:38.421" v="311" actId="1076"/>
          <ac:spMkLst>
            <pc:docMk/>
            <pc:sldMk cId="546881440" sldId="1881839198"/>
            <ac:spMk id="5" creationId="{E07AE3AE-1C2C-FFBE-0204-468834158C71}"/>
          </ac:spMkLst>
        </pc:spChg>
        <pc:spChg chg="mod">
          <ac:chgData name="Iurii A Timonin" userId="137ac8ae-cb77-41fe-9a0e-e62cb974b187" providerId="ADAL" clId="{7748A01F-6540-4266-81B2-FED1D50AC421}" dt="2025-07-01T09:18:38.022" v="273" actId="1036"/>
          <ac:spMkLst>
            <pc:docMk/>
            <pc:sldMk cId="546881440" sldId="1881839198"/>
            <ac:spMk id="6" creationId="{6CD50F12-B256-ACEE-9E9A-B755D2DB2E87}"/>
          </ac:spMkLst>
        </pc:spChg>
        <pc:spChg chg="mod">
          <ac:chgData name="Iurii A Timonin" userId="137ac8ae-cb77-41fe-9a0e-e62cb974b187" providerId="ADAL" clId="{7748A01F-6540-4266-81B2-FED1D50AC421}" dt="2025-07-01T09:18:32.651" v="268" actId="1036"/>
          <ac:spMkLst>
            <pc:docMk/>
            <pc:sldMk cId="546881440" sldId="1881839198"/>
            <ac:spMk id="10" creationId="{FD3E1650-E3A9-7544-0E6A-88AAAD878E36}"/>
          </ac:spMkLst>
        </pc:spChg>
        <pc:spChg chg="mod">
          <ac:chgData name="Iurii A Timonin" userId="137ac8ae-cb77-41fe-9a0e-e62cb974b187" providerId="ADAL" clId="{7748A01F-6540-4266-81B2-FED1D50AC421}" dt="2025-07-01T09:20:47.298" v="334" actId="404"/>
          <ac:spMkLst>
            <pc:docMk/>
            <pc:sldMk cId="546881440" sldId="1881839198"/>
            <ac:spMk id="48" creationId="{34760A1F-A4FB-C994-63B5-87C06BDA7ECD}"/>
          </ac:spMkLst>
        </pc:spChg>
        <pc:grpChg chg="mod">
          <ac:chgData name="Iurii A Timonin" userId="137ac8ae-cb77-41fe-9a0e-e62cb974b187" providerId="ADAL" clId="{7748A01F-6540-4266-81B2-FED1D50AC421}" dt="2025-07-01T09:18:32.651" v="268" actId="1036"/>
          <ac:grpSpMkLst>
            <pc:docMk/>
            <pc:sldMk cId="546881440" sldId="1881839198"/>
            <ac:grpSpMk id="7" creationId="{CB768E4C-90B7-D8F3-6339-EFA07A2FCDE0}"/>
          </ac:grpSpMkLst>
        </pc:grpChg>
      </pc:sldChg>
      <pc:sldChg chg="modSp mod">
        <pc:chgData name="Iurii A Timonin" userId="137ac8ae-cb77-41fe-9a0e-e62cb974b187" providerId="ADAL" clId="{7748A01F-6540-4266-81B2-FED1D50AC421}" dt="2025-07-01T12:50:26.351" v="988" actId="20577"/>
        <pc:sldMkLst>
          <pc:docMk/>
          <pc:sldMk cId="4192207144" sldId="1881839199"/>
        </pc:sldMkLst>
        <pc:spChg chg="mod">
          <ac:chgData name="Iurii A Timonin" userId="137ac8ae-cb77-41fe-9a0e-e62cb974b187" providerId="ADAL" clId="{7748A01F-6540-4266-81B2-FED1D50AC421}" dt="2025-07-01T12:50:26.351" v="988" actId="20577"/>
          <ac:spMkLst>
            <pc:docMk/>
            <pc:sldMk cId="4192207144" sldId="1881839199"/>
            <ac:spMk id="13" creationId="{3AFCE9A0-F171-489F-2C0F-7D4BAED949E0}"/>
          </ac:spMkLst>
        </pc:spChg>
        <pc:spChg chg="mod">
          <ac:chgData name="Iurii A Timonin" userId="137ac8ae-cb77-41fe-9a0e-e62cb974b187" providerId="ADAL" clId="{7748A01F-6540-4266-81B2-FED1D50AC421}" dt="2025-07-01T09:18:53.493" v="277" actId="948"/>
          <ac:spMkLst>
            <pc:docMk/>
            <pc:sldMk cId="4192207144" sldId="1881839199"/>
            <ac:spMk id="14" creationId="{55EFFCC3-061F-74F9-1982-DAB965C821EA}"/>
          </ac:spMkLst>
        </pc:spChg>
        <pc:spChg chg="mod">
          <ac:chgData name="Iurii A Timonin" userId="137ac8ae-cb77-41fe-9a0e-e62cb974b187" providerId="ADAL" clId="{7748A01F-6540-4266-81B2-FED1D50AC421}" dt="2025-07-01T09:19:21.689" v="297" actId="20577"/>
          <ac:spMkLst>
            <pc:docMk/>
            <pc:sldMk cId="4192207144" sldId="1881839199"/>
            <ac:spMk id="15" creationId="{496B4BAE-2306-AC0D-A73A-0BDCCAF32570}"/>
          </ac:spMkLst>
        </pc:spChg>
        <pc:spChg chg="mod">
          <ac:chgData name="Iurii A Timonin" userId="137ac8ae-cb77-41fe-9a0e-e62cb974b187" providerId="ADAL" clId="{7748A01F-6540-4266-81B2-FED1D50AC421}" dt="2025-07-01T09:20:36.445" v="332" actId="404"/>
          <ac:spMkLst>
            <pc:docMk/>
            <pc:sldMk cId="4192207144" sldId="1881839199"/>
            <ac:spMk id="48" creationId="{BFD20BB5-541D-259E-69F3-BED1E66681D1}"/>
          </ac:spMkLst>
        </pc:spChg>
      </pc:sldChg>
      <pc:sldChg chg="modSp mod">
        <pc:chgData name="Iurii A Timonin" userId="137ac8ae-cb77-41fe-9a0e-e62cb974b187" providerId="ADAL" clId="{7748A01F-6540-4266-81B2-FED1D50AC421}" dt="2025-07-01T09:20:42.580" v="333" actId="404"/>
        <pc:sldMkLst>
          <pc:docMk/>
          <pc:sldMk cId="3729098937" sldId="1881839200"/>
        </pc:sldMkLst>
        <pc:spChg chg="mod">
          <ac:chgData name="Iurii A Timonin" userId="137ac8ae-cb77-41fe-9a0e-e62cb974b187" providerId="ADAL" clId="{7748A01F-6540-4266-81B2-FED1D50AC421}" dt="2025-07-01T09:20:42.580" v="333" actId="404"/>
          <ac:spMkLst>
            <pc:docMk/>
            <pc:sldMk cId="3729098937" sldId="1881839200"/>
            <ac:spMk id="48" creationId="{F846015E-869D-FE98-A4A5-59C71195BE33}"/>
          </ac:spMkLst>
        </pc:spChg>
      </pc:sldChg>
      <pc:sldChg chg="modSp mod">
        <pc:chgData name="Iurii A Timonin" userId="137ac8ae-cb77-41fe-9a0e-e62cb974b187" providerId="ADAL" clId="{7748A01F-6540-4266-81B2-FED1D50AC421}" dt="2025-07-01T12:51:11.407" v="993" actId="20577"/>
        <pc:sldMkLst>
          <pc:docMk/>
          <pc:sldMk cId="543987747" sldId="1881839201"/>
        </pc:sldMkLst>
        <pc:spChg chg="mod">
          <ac:chgData name="Iurii A Timonin" userId="137ac8ae-cb77-41fe-9a0e-e62cb974b187" providerId="ADAL" clId="{7748A01F-6540-4266-81B2-FED1D50AC421}" dt="2025-07-01T09:20:59.063" v="340" actId="1036"/>
          <ac:spMkLst>
            <pc:docMk/>
            <pc:sldMk cId="543987747" sldId="1881839201"/>
            <ac:spMk id="11" creationId="{F224044D-0120-3DBA-CAE5-C7F25E2626F0}"/>
          </ac:spMkLst>
        </pc:spChg>
        <pc:spChg chg="mod">
          <ac:chgData name="Iurii A Timonin" userId="137ac8ae-cb77-41fe-9a0e-e62cb974b187" providerId="ADAL" clId="{7748A01F-6540-4266-81B2-FED1D50AC421}" dt="2025-07-01T09:20:59.063" v="340" actId="1036"/>
          <ac:spMkLst>
            <pc:docMk/>
            <pc:sldMk cId="543987747" sldId="1881839201"/>
            <ac:spMk id="12" creationId="{078F1F40-FCDA-2131-4511-581801C3CB7B}"/>
          </ac:spMkLst>
        </pc:spChg>
        <pc:spChg chg="mod">
          <ac:chgData name="Iurii A Timonin" userId="137ac8ae-cb77-41fe-9a0e-e62cb974b187" providerId="ADAL" clId="{7748A01F-6540-4266-81B2-FED1D50AC421}" dt="2025-07-01T09:20:59.063" v="340" actId="1036"/>
          <ac:spMkLst>
            <pc:docMk/>
            <pc:sldMk cId="543987747" sldId="1881839201"/>
            <ac:spMk id="13" creationId="{FFD11733-6923-9A37-74A5-EA2C6CFCFC36}"/>
          </ac:spMkLst>
        </pc:spChg>
        <pc:spChg chg="mod">
          <ac:chgData name="Iurii A Timonin" userId="137ac8ae-cb77-41fe-9a0e-e62cb974b187" providerId="ADAL" clId="{7748A01F-6540-4266-81B2-FED1D50AC421}" dt="2025-07-01T12:51:11.407" v="993" actId="20577"/>
          <ac:spMkLst>
            <pc:docMk/>
            <pc:sldMk cId="543987747" sldId="1881839201"/>
            <ac:spMk id="14" creationId="{8FA8CCD7-4741-EA0C-7D69-B8ACEB8398C2}"/>
          </ac:spMkLst>
        </pc:spChg>
        <pc:spChg chg="mod">
          <ac:chgData name="Iurii A Timonin" userId="137ac8ae-cb77-41fe-9a0e-e62cb974b187" providerId="ADAL" clId="{7748A01F-6540-4266-81B2-FED1D50AC421}" dt="2025-07-01T09:20:59.063" v="340" actId="1036"/>
          <ac:spMkLst>
            <pc:docMk/>
            <pc:sldMk cId="543987747" sldId="1881839201"/>
            <ac:spMk id="15" creationId="{5FF311CB-D354-556C-A1A5-94D9ABCC869E}"/>
          </ac:spMkLst>
        </pc:spChg>
        <pc:spChg chg="mod">
          <ac:chgData name="Iurii A Timonin" userId="137ac8ae-cb77-41fe-9a0e-e62cb974b187" providerId="ADAL" clId="{7748A01F-6540-4266-81B2-FED1D50AC421}" dt="2025-07-01T09:20:59.063" v="340" actId="1036"/>
          <ac:spMkLst>
            <pc:docMk/>
            <pc:sldMk cId="543987747" sldId="1881839201"/>
            <ac:spMk id="16" creationId="{D0FEDEF3-7334-3FCA-7685-E5BF5D9FA4D4}"/>
          </ac:spMkLst>
        </pc:spChg>
        <pc:spChg chg="mod">
          <ac:chgData name="Iurii A Timonin" userId="137ac8ae-cb77-41fe-9a0e-e62cb974b187" providerId="ADAL" clId="{7748A01F-6540-4266-81B2-FED1D50AC421}" dt="2025-07-01T09:20:54.281" v="336" actId="20577"/>
          <ac:spMkLst>
            <pc:docMk/>
            <pc:sldMk cId="543987747" sldId="1881839201"/>
            <ac:spMk id="48" creationId="{82DF18A3-DFBB-BE83-71BD-4B074133E411}"/>
          </ac:spMkLst>
        </pc:spChg>
        <pc:picChg chg="mod">
          <ac:chgData name="Iurii A Timonin" userId="137ac8ae-cb77-41fe-9a0e-e62cb974b187" providerId="ADAL" clId="{7748A01F-6540-4266-81B2-FED1D50AC421}" dt="2025-07-01T09:20:59.063" v="340" actId="1036"/>
          <ac:picMkLst>
            <pc:docMk/>
            <pc:sldMk cId="543987747" sldId="1881839201"/>
            <ac:picMk id="17" creationId="{B9C3A7B1-1A7C-C6C4-C7DC-8C0F1A1CB815}"/>
          </ac:picMkLst>
        </pc:picChg>
      </pc:sldChg>
      <pc:sldChg chg="modSp mod ord modShow">
        <pc:chgData name="Iurii A Timonin" userId="137ac8ae-cb77-41fe-9a0e-e62cb974b187" providerId="ADAL" clId="{7748A01F-6540-4266-81B2-FED1D50AC421}" dt="2025-07-01T13:03:59.977" v="1069" actId="729"/>
        <pc:sldMkLst>
          <pc:docMk/>
          <pc:sldMk cId="1230013452" sldId="1881839202"/>
        </pc:sldMkLst>
        <pc:picChg chg="mod">
          <ac:chgData name="Iurii A Timonin" userId="137ac8ae-cb77-41fe-9a0e-e62cb974b187" providerId="ADAL" clId="{7748A01F-6540-4266-81B2-FED1D50AC421}" dt="2025-07-01T13:03:31.100" v="1066" actId="1076"/>
          <ac:picMkLst>
            <pc:docMk/>
            <pc:sldMk cId="1230013452" sldId="1881839202"/>
            <ac:picMk id="12" creationId="{830365BD-6017-A904-0A32-07A5B5663B1C}"/>
          </ac:picMkLst>
        </pc:picChg>
      </pc:sldChg>
      <pc:sldChg chg="ord">
        <pc:chgData name="Iurii A Timonin" userId="137ac8ae-cb77-41fe-9a0e-e62cb974b187" providerId="ADAL" clId="{7748A01F-6540-4266-81B2-FED1D50AC421}" dt="2025-07-01T07:59:07.786" v="18"/>
        <pc:sldMkLst>
          <pc:docMk/>
          <pc:sldMk cId="721770319" sldId="1881839208"/>
        </pc:sldMkLst>
      </pc:sldChg>
      <pc:sldChg chg="modSp mod">
        <pc:chgData name="Iurii A Timonin" userId="137ac8ae-cb77-41fe-9a0e-e62cb974b187" providerId="ADAL" clId="{7748A01F-6540-4266-81B2-FED1D50AC421}" dt="2025-07-01T12:56:00.123" v="1064" actId="207"/>
        <pc:sldMkLst>
          <pc:docMk/>
          <pc:sldMk cId="2681823059" sldId="1881839214"/>
        </pc:sldMkLst>
        <pc:spChg chg="mod">
          <ac:chgData name="Iurii A Timonin" userId="137ac8ae-cb77-41fe-9a0e-e62cb974b187" providerId="ADAL" clId="{7748A01F-6540-4266-81B2-FED1D50AC421}" dt="2025-07-01T12:55:45.423" v="1061" actId="207"/>
          <ac:spMkLst>
            <pc:docMk/>
            <pc:sldMk cId="2681823059" sldId="1881839214"/>
            <ac:spMk id="8" creationId="{8CA4ADBB-78F4-911E-3F48-21CB249D4CB2}"/>
          </ac:spMkLst>
        </pc:spChg>
        <pc:spChg chg="mod">
          <ac:chgData name="Iurii A Timonin" userId="137ac8ae-cb77-41fe-9a0e-e62cb974b187" providerId="ADAL" clId="{7748A01F-6540-4266-81B2-FED1D50AC421}" dt="2025-07-01T12:56:00.123" v="1064" actId="207"/>
          <ac:spMkLst>
            <pc:docMk/>
            <pc:sldMk cId="2681823059" sldId="1881839214"/>
            <ac:spMk id="14" creationId="{2AA801E4-0210-CE0E-1503-757F368EAA79}"/>
          </ac:spMkLst>
        </pc:spChg>
        <pc:spChg chg="mod">
          <ac:chgData name="Iurii A Timonin" userId="137ac8ae-cb77-41fe-9a0e-e62cb974b187" providerId="ADAL" clId="{7748A01F-6540-4266-81B2-FED1D50AC421}" dt="2025-07-01T12:55:40.371" v="1059" actId="207"/>
          <ac:spMkLst>
            <pc:docMk/>
            <pc:sldMk cId="2681823059" sldId="1881839214"/>
            <ac:spMk id="36" creationId="{648E5F57-4778-492B-A7D8-0B7200677790}"/>
          </ac:spMkLst>
        </pc:spChg>
        <pc:spChg chg="mod">
          <ac:chgData name="Iurii A Timonin" userId="137ac8ae-cb77-41fe-9a0e-e62cb974b187" providerId="ADAL" clId="{7748A01F-6540-4266-81B2-FED1D50AC421}" dt="2025-07-01T12:55:47.696" v="1062" actId="207"/>
          <ac:spMkLst>
            <pc:docMk/>
            <pc:sldMk cId="2681823059" sldId="1881839214"/>
            <ac:spMk id="46" creationId="{9DE56D80-5503-0837-5C94-48EC62C8C210}"/>
          </ac:spMkLst>
        </pc:spChg>
        <pc:spChg chg="mod">
          <ac:chgData name="Iurii A Timonin" userId="137ac8ae-cb77-41fe-9a0e-e62cb974b187" providerId="ADAL" clId="{7748A01F-6540-4266-81B2-FED1D50AC421}" dt="2025-07-01T12:55:55.385" v="1063" actId="207"/>
          <ac:spMkLst>
            <pc:docMk/>
            <pc:sldMk cId="2681823059" sldId="1881839214"/>
            <ac:spMk id="57" creationId="{33A7B3EC-9668-8CD1-15DC-BF03E2D1F720}"/>
          </ac:spMkLst>
        </pc:spChg>
        <pc:cxnChg chg="mod">
          <ac:chgData name="Iurii A Timonin" userId="137ac8ae-cb77-41fe-9a0e-e62cb974b187" providerId="ADAL" clId="{7748A01F-6540-4266-81B2-FED1D50AC421}" dt="2025-07-01T12:55:05.432" v="1052" actId="1035"/>
          <ac:cxnSpMkLst>
            <pc:docMk/>
            <pc:sldMk cId="2681823059" sldId="1881839214"/>
            <ac:cxnSpMk id="7" creationId="{13ECF793-77B8-2B63-4872-E5DA2760A9E0}"/>
          </ac:cxnSpMkLst>
        </pc:cxnChg>
        <pc:cxnChg chg="mod">
          <ac:chgData name="Iurii A Timonin" userId="137ac8ae-cb77-41fe-9a0e-e62cb974b187" providerId="ADAL" clId="{7748A01F-6540-4266-81B2-FED1D50AC421}" dt="2025-07-01T12:55:08.590" v="1056" actId="1035"/>
          <ac:cxnSpMkLst>
            <pc:docMk/>
            <pc:sldMk cId="2681823059" sldId="1881839214"/>
            <ac:cxnSpMk id="9" creationId="{051AF8E7-8160-D9B7-9357-6BEC1F94C5BE}"/>
          </ac:cxnSpMkLst>
        </pc:cxnChg>
        <pc:cxnChg chg="mod">
          <ac:chgData name="Iurii A Timonin" userId="137ac8ae-cb77-41fe-9a0e-e62cb974b187" providerId="ADAL" clId="{7748A01F-6540-4266-81B2-FED1D50AC421}" dt="2025-07-01T12:53:02.659" v="995" actId="208"/>
          <ac:cxnSpMkLst>
            <pc:docMk/>
            <pc:sldMk cId="2681823059" sldId="1881839214"/>
            <ac:cxnSpMk id="13" creationId="{50DEF687-0418-9405-B098-95A3B131190A}"/>
          </ac:cxnSpMkLst>
        </pc:cxnChg>
        <pc:cxnChg chg="mod">
          <ac:chgData name="Iurii A Timonin" userId="137ac8ae-cb77-41fe-9a0e-e62cb974b187" providerId="ADAL" clId="{7748A01F-6540-4266-81B2-FED1D50AC421}" dt="2025-07-01T12:53:02.659" v="995" actId="208"/>
          <ac:cxnSpMkLst>
            <pc:docMk/>
            <pc:sldMk cId="2681823059" sldId="1881839214"/>
            <ac:cxnSpMk id="15" creationId="{71F898B4-CC0F-16DC-B696-77772281C792}"/>
          </ac:cxnSpMkLst>
        </pc:cxnChg>
        <pc:cxnChg chg="mod">
          <ac:chgData name="Iurii A Timonin" userId="137ac8ae-cb77-41fe-9a0e-e62cb974b187" providerId="ADAL" clId="{7748A01F-6540-4266-81B2-FED1D50AC421}" dt="2025-07-01T12:53:02.659" v="995" actId="208"/>
          <ac:cxnSpMkLst>
            <pc:docMk/>
            <pc:sldMk cId="2681823059" sldId="1881839214"/>
            <ac:cxnSpMk id="37" creationId="{41885F16-03D1-5491-7BE4-E91B51BF6724}"/>
          </ac:cxnSpMkLst>
        </pc:cxnChg>
        <pc:cxnChg chg="mod">
          <ac:chgData name="Iurii A Timonin" userId="137ac8ae-cb77-41fe-9a0e-e62cb974b187" providerId="ADAL" clId="{7748A01F-6540-4266-81B2-FED1D50AC421}" dt="2025-07-01T12:53:02.659" v="995" actId="208"/>
          <ac:cxnSpMkLst>
            <pc:docMk/>
            <pc:sldMk cId="2681823059" sldId="1881839214"/>
            <ac:cxnSpMk id="38" creationId="{75F29424-7784-46F1-5F42-1A26B3FA2FB5}"/>
          </ac:cxnSpMkLst>
        </pc:cxnChg>
        <pc:cxnChg chg="mod">
          <ac:chgData name="Iurii A Timonin" userId="137ac8ae-cb77-41fe-9a0e-e62cb974b187" providerId="ADAL" clId="{7748A01F-6540-4266-81B2-FED1D50AC421}" dt="2025-07-01T12:53:02.659" v="995" actId="208"/>
          <ac:cxnSpMkLst>
            <pc:docMk/>
            <pc:sldMk cId="2681823059" sldId="1881839214"/>
            <ac:cxnSpMk id="60" creationId="{57C20A0C-B6EC-EE89-69EA-B9DE3D171E50}"/>
          </ac:cxnSpMkLst>
        </pc:cxnChg>
        <pc:cxnChg chg="mod">
          <ac:chgData name="Iurii A Timonin" userId="137ac8ae-cb77-41fe-9a0e-e62cb974b187" providerId="ADAL" clId="{7748A01F-6540-4266-81B2-FED1D50AC421}" dt="2025-07-01T12:53:02.659" v="995" actId="208"/>
          <ac:cxnSpMkLst>
            <pc:docMk/>
            <pc:sldMk cId="2681823059" sldId="1881839214"/>
            <ac:cxnSpMk id="61" creationId="{5947CD76-E520-E3FA-1FF6-6DD24C847A67}"/>
          </ac:cxnSpMkLst>
        </pc:cxnChg>
        <pc:cxnChg chg="mod">
          <ac:chgData name="Iurii A Timonin" userId="137ac8ae-cb77-41fe-9a0e-e62cb974b187" providerId="ADAL" clId="{7748A01F-6540-4266-81B2-FED1D50AC421}" dt="2025-07-01T12:53:02.659" v="995" actId="208"/>
          <ac:cxnSpMkLst>
            <pc:docMk/>
            <pc:sldMk cId="2681823059" sldId="1881839214"/>
            <ac:cxnSpMk id="62" creationId="{5B524C19-E312-89E9-A1B9-F1D75A734C9C}"/>
          </ac:cxnSpMkLst>
        </pc:cxnChg>
        <pc:cxnChg chg="mod">
          <ac:chgData name="Iurii A Timonin" userId="137ac8ae-cb77-41fe-9a0e-e62cb974b187" providerId="ADAL" clId="{7748A01F-6540-4266-81B2-FED1D50AC421}" dt="2025-07-01T12:53:02.659" v="995" actId="208"/>
          <ac:cxnSpMkLst>
            <pc:docMk/>
            <pc:sldMk cId="2681823059" sldId="1881839214"/>
            <ac:cxnSpMk id="63" creationId="{5286BE29-6FB0-683F-3417-67E5EB728112}"/>
          </ac:cxnSpMkLst>
        </pc:cxnChg>
      </pc:sldChg>
      <pc:sldChg chg="delSp modSp add del mod">
        <pc:chgData name="Iurii A Timonin" userId="137ac8ae-cb77-41fe-9a0e-e62cb974b187" providerId="ADAL" clId="{7748A01F-6540-4266-81B2-FED1D50AC421}" dt="2025-07-01T09:53:44.740" v="758" actId="47"/>
        <pc:sldMkLst>
          <pc:docMk/>
          <pc:sldMk cId="1830230821" sldId="1881839217"/>
        </pc:sldMkLst>
        <pc:spChg chg="del">
          <ac:chgData name="Iurii A Timonin" userId="137ac8ae-cb77-41fe-9a0e-e62cb974b187" providerId="ADAL" clId="{7748A01F-6540-4266-81B2-FED1D50AC421}" dt="2025-07-01T09:25:39.788" v="398" actId="478"/>
          <ac:spMkLst>
            <pc:docMk/>
            <pc:sldMk cId="1830230821" sldId="1881839217"/>
            <ac:spMk id="238" creationId="{489ABE46-64EF-C020-F21C-6FC096CD2E7D}"/>
          </ac:spMkLst>
        </pc:spChg>
        <pc:spChg chg="del">
          <ac:chgData name="Iurii A Timonin" userId="137ac8ae-cb77-41fe-9a0e-e62cb974b187" providerId="ADAL" clId="{7748A01F-6540-4266-81B2-FED1D50AC421}" dt="2025-07-01T09:25:39.788" v="398" actId="478"/>
          <ac:spMkLst>
            <pc:docMk/>
            <pc:sldMk cId="1830230821" sldId="1881839217"/>
            <ac:spMk id="239" creationId="{E3158B1C-FFE8-AA54-93D8-731FFBC462F2}"/>
          </ac:spMkLst>
        </pc:spChg>
        <pc:spChg chg="del">
          <ac:chgData name="Iurii A Timonin" userId="137ac8ae-cb77-41fe-9a0e-e62cb974b187" providerId="ADAL" clId="{7748A01F-6540-4266-81B2-FED1D50AC421}" dt="2025-07-01T09:25:39.788" v="398" actId="478"/>
          <ac:spMkLst>
            <pc:docMk/>
            <pc:sldMk cId="1830230821" sldId="1881839217"/>
            <ac:spMk id="240" creationId="{3F8E7A11-587A-0220-B625-43D9819EED63}"/>
          </ac:spMkLst>
        </pc:spChg>
        <pc:spChg chg="mod">
          <ac:chgData name="Iurii A Timonin" userId="137ac8ae-cb77-41fe-9a0e-e62cb974b187" providerId="ADAL" clId="{7748A01F-6540-4266-81B2-FED1D50AC421}" dt="2025-07-01T09:26:27.802" v="475" actId="14100"/>
          <ac:spMkLst>
            <pc:docMk/>
            <pc:sldMk cId="1830230821" sldId="1881839217"/>
            <ac:spMk id="241" creationId="{40143C30-A482-6802-DFB4-4BD4E3D2A8D5}"/>
          </ac:spMkLst>
        </pc:spChg>
        <pc:spChg chg="mod">
          <ac:chgData name="Iurii A Timonin" userId="137ac8ae-cb77-41fe-9a0e-e62cb974b187" providerId="ADAL" clId="{7748A01F-6540-4266-81B2-FED1D50AC421}" dt="2025-07-01T09:26:12.252" v="472" actId="1038"/>
          <ac:spMkLst>
            <pc:docMk/>
            <pc:sldMk cId="1830230821" sldId="1881839217"/>
            <ac:spMk id="242" creationId="{569E804D-633B-F73F-C4BE-F916847A6ADD}"/>
          </ac:spMkLst>
        </pc:spChg>
        <pc:spChg chg="mod">
          <ac:chgData name="Iurii A Timonin" userId="137ac8ae-cb77-41fe-9a0e-e62cb974b187" providerId="ADAL" clId="{7748A01F-6540-4266-81B2-FED1D50AC421}" dt="2025-07-01T09:26:12.252" v="472" actId="1038"/>
          <ac:spMkLst>
            <pc:docMk/>
            <pc:sldMk cId="1830230821" sldId="1881839217"/>
            <ac:spMk id="243" creationId="{454FC8EF-1C41-25B4-EC90-BBA412492114}"/>
          </ac:spMkLst>
        </pc:spChg>
        <pc:spChg chg="del">
          <ac:chgData name="Iurii A Timonin" userId="137ac8ae-cb77-41fe-9a0e-e62cb974b187" providerId="ADAL" clId="{7748A01F-6540-4266-81B2-FED1D50AC421}" dt="2025-07-01T09:25:39.788" v="398" actId="478"/>
          <ac:spMkLst>
            <pc:docMk/>
            <pc:sldMk cId="1830230821" sldId="1881839217"/>
            <ac:spMk id="244" creationId="{91D352AC-00D3-736B-663E-45E0881C431D}"/>
          </ac:spMkLst>
        </pc:spChg>
        <pc:spChg chg="del">
          <ac:chgData name="Iurii A Timonin" userId="137ac8ae-cb77-41fe-9a0e-e62cb974b187" providerId="ADAL" clId="{7748A01F-6540-4266-81B2-FED1D50AC421}" dt="2025-07-01T09:25:39.788" v="398" actId="478"/>
          <ac:spMkLst>
            <pc:docMk/>
            <pc:sldMk cId="1830230821" sldId="1881839217"/>
            <ac:spMk id="245" creationId="{E16543AD-2F48-254C-6CA0-3803505D571B}"/>
          </ac:spMkLst>
        </pc:spChg>
        <pc:spChg chg="del">
          <ac:chgData name="Iurii A Timonin" userId="137ac8ae-cb77-41fe-9a0e-e62cb974b187" providerId="ADAL" clId="{7748A01F-6540-4266-81B2-FED1D50AC421}" dt="2025-07-01T09:25:39.788" v="398" actId="478"/>
          <ac:spMkLst>
            <pc:docMk/>
            <pc:sldMk cId="1830230821" sldId="1881839217"/>
            <ac:spMk id="246" creationId="{5CC9B3DA-01DD-306D-78AD-C89C2ED6816F}"/>
          </ac:spMkLst>
        </pc:spChg>
        <pc:spChg chg="mod">
          <ac:chgData name="Iurii A Timonin" userId="137ac8ae-cb77-41fe-9a0e-e62cb974b187" providerId="ADAL" clId="{7748A01F-6540-4266-81B2-FED1D50AC421}" dt="2025-07-01T09:26:31.130" v="476" actId="14100"/>
          <ac:spMkLst>
            <pc:docMk/>
            <pc:sldMk cId="1830230821" sldId="1881839217"/>
            <ac:spMk id="247" creationId="{527FBF03-DBF2-FB6C-F004-A3C0846641E6}"/>
          </ac:spMkLst>
        </pc:spChg>
        <pc:spChg chg="mod">
          <ac:chgData name="Iurii A Timonin" userId="137ac8ae-cb77-41fe-9a0e-e62cb974b187" providerId="ADAL" clId="{7748A01F-6540-4266-81B2-FED1D50AC421}" dt="2025-07-01T09:26:12.252" v="472" actId="1038"/>
          <ac:spMkLst>
            <pc:docMk/>
            <pc:sldMk cId="1830230821" sldId="1881839217"/>
            <ac:spMk id="248" creationId="{1665B8C0-5F8A-8604-DCCA-279E45B70241}"/>
          </ac:spMkLst>
        </pc:spChg>
        <pc:spChg chg="mod">
          <ac:chgData name="Iurii A Timonin" userId="137ac8ae-cb77-41fe-9a0e-e62cb974b187" providerId="ADAL" clId="{7748A01F-6540-4266-81B2-FED1D50AC421}" dt="2025-07-01T09:26:12.252" v="472" actId="1038"/>
          <ac:spMkLst>
            <pc:docMk/>
            <pc:sldMk cId="1830230821" sldId="1881839217"/>
            <ac:spMk id="249" creationId="{BAA6700F-2156-0D26-2E5E-A59D7EBBC9F4}"/>
          </ac:spMkLst>
        </pc:spChg>
      </pc:sldChg>
      <pc:sldChg chg="modSp add mod">
        <pc:chgData name="Iurii A Timonin" userId="137ac8ae-cb77-41fe-9a0e-e62cb974b187" providerId="ADAL" clId="{7748A01F-6540-4266-81B2-FED1D50AC421}" dt="2025-07-01T10:07:22.433" v="934"/>
        <pc:sldMkLst>
          <pc:docMk/>
          <pc:sldMk cId="647883085" sldId="1881839218"/>
        </pc:sldMkLst>
        <pc:spChg chg="mod">
          <ac:chgData name="Iurii A Timonin" userId="137ac8ae-cb77-41fe-9a0e-e62cb974b187" providerId="ADAL" clId="{7748A01F-6540-4266-81B2-FED1D50AC421}" dt="2025-07-01T09:53:55.249" v="762" actId="20577"/>
          <ac:spMkLst>
            <pc:docMk/>
            <pc:sldMk cId="647883085" sldId="1881839218"/>
            <ac:spMk id="7" creationId="{43A0C6D9-D519-A432-5C59-C9545361FA72}"/>
          </ac:spMkLst>
        </pc:spChg>
        <pc:spChg chg="mod">
          <ac:chgData name="Iurii A Timonin" userId="137ac8ae-cb77-41fe-9a0e-e62cb974b187" providerId="ADAL" clId="{7748A01F-6540-4266-81B2-FED1D50AC421}" dt="2025-07-01T09:53:31.712" v="754"/>
          <ac:spMkLst>
            <pc:docMk/>
            <pc:sldMk cId="647883085" sldId="1881839218"/>
            <ac:spMk id="239" creationId="{4D31EA11-B33E-6E7E-C479-5BFB48E59B00}"/>
          </ac:spMkLst>
        </pc:spChg>
        <pc:spChg chg="mod">
          <ac:chgData name="Iurii A Timonin" userId="137ac8ae-cb77-41fe-9a0e-e62cb974b187" providerId="ADAL" clId="{7748A01F-6540-4266-81B2-FED1D50AC421}" dt="2025-07-01T10:01:41.578" v="877" actId="20577"/>
          <ac:spMkLst>
            <pc:docMk/>
            <pc:sldMk cId="647883085" sldId="1881839218"/>
            <ac:spMk id="240" creationId="{0A70E3EC-87BA-4D7F-183D-F164183A8CC7}"/>
          </ac:spMkLst>
        </pc:spChg>
        <pc:spChg chg="mod">
          <ac:chgData name="Iurii A Timonin" userId="137ac8ae-cb77-41fe-9a0e-e62cb974b187" providerId="ADAL" clId="{7748A01F-6540-4266-81B2-FED1D50AC421}" dt="2025-07-01T09:53:42.250" v="757"/>
          <ac:spMkLst>
            <pc:docMk/>
            <pc:sldMk cId="647883085" sldId="1881839218"/>
            <ac:spMk id="245" creationId="{A3283BA3-7DCE-CDB6-7086-AA4FA14165D9}"/>
          </ac:spMkLst>
        </pc:spChg>
        <pc:spChg chg="mod">
          <ac:chgData name="Iurii A Timonin" userId="137ac8ae-cb77-41fe-9a0e-e62cb974b187" providerId="ADAL" clId="{7748A01F-6540-4266-81B2-FED1D50AC421}" dt="2025-07-01T10:07:22.433" v="934"/>
          <ac:spMkLst>
            <pc:docMk/>
            <pc:sldMk cId="647883085" sldId="1881839218"/>
            <ac:spMk id="246" creationId="{0B201130-1CBE-4717-9882-C8DA87228D1F}"/>
          </ac:spMkLst>
        </pc:spChg>
      </pc:sldChg>
      <pc:sldChg chg="modSp mod">
        <pc:chgData name="Iurii A Timonin" userId="137ac8ae-cb77-41fe-9a0e-e62cb974b187" providerId="ADAL" clId="{7748A01F-6540-4266-81B2-FED1D50AC421}" dt="2025-07-01T14:00:08.573" v="1101" actId="179"/>
        <pc:sldMkLst>
          <pc:docMk/>
          <pc:sldMk cId="3672456631" sldId="1881839219"/>
        </pc:sldMkLst>
        <pc:spChg chg="mod">
          <ac:chgData name="Iurii A Timonin" userId="137ac8ae-cb77-41fe-9a0e-e62cb974b187" providerId="ADAL" clId="{7748A01F-6540-4266-81B2-FED1D50AC421}" dt="2025-07-01T14:00:08.573" v="1101" actId="179"/>
          <ac:spMkLst>
            <pc:docMk/>
            <pc:sldMk cId="3672456631" sldId="1881839219"/>
            <ac:spMk id="9" creationId="{1529660E-F627-E415-4617-3C6B3EA7D6D5}"/>
          </ac:spMkLst>
        </pc:spChg>
      </pc:sldChg>
    </pc:docChg>
  </pc:docChgLst>
  <pc:docChgLst>
    <pc:chgData name="Anara Samambayeva" userId="40372071-4642-4757-8ccf-dba3b5920c09" providerId="ADAL" clId="{F4A4A4F0-1D6F-4344-A6C2-8AF4E18A7918}"/>
    <pc:docChg chg="undo custSel addSld delSld modSld sldOrd delSection">
      <pc:chgData name="Anara Samambayeva" userId="40372071-4642-4757-8ccf-dba3b5920c09" providerId="ADAL" clId="{F4A4A4F0-1D6F-4344-A6C2-8AF4E18A7918}" dt="2025-06-03T09:41:55.407" v="1640" actId="404"/>
      <pc:docMkLst>
        <pc:docMk/>
      </pc:docMkLst>
      <pc:sldChg chg="modSp mod">
        <pc:chgData name="Anara Samambayeva" userId="40372071-4642-4757-8ccf-dba3b5920c09" providerId="ADAL" clId="{F4A4A4F0-1D6F-4344-A6C2-8AF4E18A7918}" dt="2025-06-02T12:24:07.606" v="586" actId="20577"/>
        <pc:sldMkLst>
          <pc:docMk/>
          <pc:sldMk cId="3859523569" sldId="316"/>
        </pc:sldMkLst>
        <pc:spChg chg="mod">
          <ac:chgData name="Anara Samambayeva" userId="40372071-4642-4757-8ccf-dba3b5920c09" providerId="ADAL" clId="{F4A4A4F0-1D6F-4344-A6C2-8AF4E18A7918}" dt="2025-06-02T12:23:53.946" v="575"/>
          <ac:spMkLst>
            <pc:docMk/>
            <pc:sldMk cId="3859523569" sldId="316"/>
            <ac:spMk id="8" creationId="{01C0F2D9-589A-5443-F977-6038BD06B4BD}"/>
          </ac:spMkLst>
        </pc:spChg>
        <pc:spChg chg="mod">
          <ac:chgData name="Anara Samambayeva" userId="40372071-4642-4757-8ccf-dba3b5920c09" providerId="ADAL" clId="{F4A4A4F0-1D6F-4344-A6C2-8AF4E18A7918}" dt="2025-06-02T12:24:07.606" v="586" actId="20577"/>
          <ac:spMkLst>
            <pc:docMk/>
            <pc:sldMk cId="3859523569" sldId="316"/>
            <ac:spMk id="9" creationId="{73D1D9F3-B54E-A3B3-A03E-0531EA82513E}"/>
          </ac:spMkLst>
        </pc:spChg>
      </pc:sldChg>
      <pc:sldChg chg="addSp delSp modSp mod ord">
        <pc:chgData name="Anara Samambayeva" userId="40372071-4642-4757-8ccf-dba3b5920c09" providerId="ADAL" clId="{F4A4A4F0-1D6F-4344-A6C2-8AF4E18A7918}" dt="2025-06-03T09:22:34.009" v="1333" actId="478"/>
        <pc:sldMkLst>
          <pc:docMk/>
          <pc:sldMk cId="3349765072" sldId="339"/>
        </pc:sldMkLst>
      </pc:sldChg>
      <pc:sldChg chg="delSp modSp mod">
        <pc:chgData name="Anara Samambayeva" userId="40372071-4642-4757-8ccf-dba3b5920c09" providerId="ADAL" clId="{F4A4A4F0-1D6F-4344-A6C2-8AF4E18A7918}" dt="2025-06-02T12:09:12.333" v="59" actId="20577"/>
        <pc:sldMkLst>
          <pc:docMk/>
          <pc:sldMk cId="3359828720" sldId="419"/>
        </pc:sldMkLst>
        <pc:spChg chg="mod">
          <ac:chgData name="Anara Samambayeva" userId="40372071-4642-4757-8ccf-dba3b5920c09" providerId="ADAL" clId="{F4A4A4F0-1D6F-4344-A6C2-8AF4E18A7918}" dt="2025-06-02T12:09:12.333" v="59" actId="20577"/>
          <ac:spMkLst>
            <pc:docMk/>
            <pc:sldMk cId="3359828720" sldId="419"/>
            <ac:spMk id="6" creationId="{6785259C-D11C-3929-20C7-2AB3B378DADE}"/>
          </ac:spMkLst>
        </pc:spChg>
        <pc:spChg chg="mod">
          <ac:chgData name="Anara Samambayeva" userId="40372071-4642-4757-8ccf-dba3b5920c09" providerId="ADAL" clId="{F4A4A4F0-1D6F-4344-A6C2-8AF4E18A7918}" dt="2025-06-02T12:08:28.823" v="13" actId="20577"/>
          <ac:spMkLst>
            <pc:docMk/>
            <pc:sldMk cId="3359828720" sldId="419"/>
            <ac:spMk id="10" creationId="{0D369242-9032-FA49-40E3-3539D4DAF7E0}"/>
          </ac:spMkLst>
        </pc:spChg>
      </pc:sldChg>
      <pc:sldChg chg="del">
        <pc:chgData name="Anara Samambayeva" userId="40372071-4642-4757-8ccf-dba3b5920c09" providerId="ADAL" clId="{F4A4A4F0-1D6F-4344-A6C2-8AF4E18A7918}" dt="2025-06-02T12:26:08.730" v="674" actId="47"/>
        <pc:sldMkLst>
          <pc:docMk/>
          <pc:sldMk cId="225636079" sldId="1881838902"/>
        </pc:sldMkLst>
      </pc:sldChg>
      <pc:sldChg chg="del">
        <pc:chgData name="Anara Samambayeva" userId="40372071-4642-4757-8ccf-dba3b5920c09" providerId="ADAL" clId="{F4A4A4F0-1D6F-4344-A6C2-8AF4E18A7918}" dt="2025-06-02T12:26:12.503" v="677" actId="47"/>
        <pc:sldMkLst>
          <pc:docMk/>
          <pc:sldMk cId="421174105" sldId="1881838903"/>
        </pc:sldMkLst>
      </pc:sldChg>
      <pc:sldChg chg="del">
        <pc:chgData name="Anara Samambayeva" userId="40372071-4642-4757-8ccf-dba3b5920c09" providerId="ADAL" clId="{F4A4A4F0-1D6F-4344-A6C2-8AF4E18A7918}" dt="2025-06-02T12:26:10.003" v="675" actId="47"/>
        <pc:sldMkLst>
          <pc:docMk/>
          <pc:sldMk cId="2653259218" sldId="1881838905"/>
        </pc:sldMkLst>
      </pc:sldChg>
      <pc:sldChg chg="del">
        <pc:chgData name="Anara Samambayeva" userId="40372071-4642-4757-8ccf-dba3b5920c09" providerId="ADAL" clId="{F4A4A4F0-1D6F-4344-A6C2-8AF4E18A7918}" dt="2025-06-02T12:26:11.143" v="676" actId="47"/>
        <pc:sldMkLst>
          <pc:docMk/>
          <pc:sldMk cId="3408743658" sldId="1881838906"/>
        </pc:sldMkLst>
      </pc:sldChg>
      <pc:sldChg chg="addSp modSp mod">
        <pc:chgData name="Anara Samambayeva" userId="40372071-4642-4757-8ccf-dba3b5920c09" providerId="ADAL" clId="{F4A4A4F0-1D6F-4344-A6C2-8AF4E18A7918}" dt="2025-06-02T12:27:59.741" v="772" actId="20577"/>
        <pc:sldMkLst>
          <pc:docMk/>
          <pc:sldMk cId="3076065554" sldId="1881838982"/>
        </pc:sldMkLst>
      </pc:sldChg>
      <pc:sldChg chg="del">
        <pc:chgData name="Anara Samambayeva" userId="40372071-4642-4757-8ccf-dba3b5920c09" providerId="ADAL" clId="{F4A4A4F0-1D6F-4344-A6C2-8AF4E18A7918}" dt="2025-06-02T12:26:17.234" v="680" actId="47"/>
        <pc:sldMkLst>
          <pc:docMk/>
          <pc:sldMk cId="3928976548" sldId="1881838993"/>
        </pc:sldMkLst>
      </pc:sldChg>
      <pc:sldChg chg="del">
        <pc:chgData name="Anara Samambayeva" userId="40372071-4642-4757-8ccf-dba3b5920c09" providerId="ADAL" clId="{F4A4A4F0-1D6F-4344-A6C2-8AF4E18A7918}" dt="2025-06-02T12:47:53.598" v="1162" actId="47"/>
        <pc:sldMkLst>
          <pc:docMk/>
          <pc:sldMk cId="3869145849" sldId="1881839081"/>
        </pc:sldMkLst>
      </pc:sldChg>
      <pc:sldChg chg="del">
        <pc:chgData name="Anara Samambayeva" userId="40372071-4642-4757-8ccf-dba3b5920c09" providerId="ADAL" clId="{F4A4A4F0-1D6F-4344-A6C2-8AF4E18A7918}" dt="2025-06-02T12:47:51.332" v="1157" actId="47"/>
        <pc:sldMkLst>
          <pc:docMk/>
          <pc:sldMk cId="3924568377" sldId="1881839091"/>
        </pc:sldMkLst>
      </pc:sldChg>
      <pc:sldChg chg="del">
        <pc:chgData name="Anara Samambayeva" userId="40372071-4642-4757-8ccf-dba3b5920c09" providerId="ADAL" clId="{F4A4A4F0-1D6F-4344-A6C2-8AF4E18A7918}" dt="2025-06-02T12:47:50.614" v="1155" actId="47"/>
        <pc:sldMkLst>
          <pc:docMk/>
          <pc:sldMk cId="756071128" sldId="1881839092"/>
        </pc:sldMkLst>
      </pc:sldChg>
      <pc:sldChg chg="del">
        <pc:chgData name="Anara Samambayeva" userId="40372071-4642-4757-8ccf-dba3b5920c09" providerId="ADAL" clId="{F4A4A4F0-1D6F-4344-A6C2-8AF4E18A7918}" dt="2025-06-02T12:47:52.523" v="1160" actId="47"/>
        <pc:sldMkLst>
          <pc:docMk/>
          <pc:sldMk cId="4056794275" sldId="1881839093"/>
        </pc:sldMkLst>
      </pc:sldChg>
      <pc:sldChg chg="del">
        <pc:chgData name="Anara Samambayeva" userId="40372071-4642-4757-8ccf-dba3b5920c09" providerId="ADAL" clId="{F4A4A4F0-1D6F-4344-A6C2-8AF4E18A7918}" dt="2025-06-02T12:47:51.027" v="1156" actId="47"/>
        <pc:sldMkLst>
          <pc:docMk/>
          <pc:sldMk cId="2614352066" sldId="1881839095"/>
        </pc:sldMkLst>
      </pc:sldChg>
      <pc:sldChg chg="del">
        <pc:chgData name="Anara Samambayeva" userId="40372071-4642-4757-8ccf-dba3b5920c09" providerId="ADAL" clId="{F4A4A4F0-1D6F-4344-A6C2-8AF4E18A7918}" dt="2025-06-02T12:47:52.058" v="1159" actId="47"/>
        <pc:sldMkLst>
          <pc:docMk/>
          <pc:sldMk cId="4042870603" sldId="1881839096"/>
        </pc:sldMkLst>
      </pc:sldChg>
      <pc:sldChg chg="del">
        <pc:chgData name="Anara Samambayeva" userId="40372071-4642-4757-8ccf-dba3b5920c09" providerId="ADAL" clId="{F4A4A4F0-1D6F-4344-A6C2-8AF4E18A7918}" dt="2025-06-02T12:47:53.073" v="1161" actId="47"/>
        <pc:sldMkLst>
          <pc:docMk/>
          <pc:sldMk cId="1561000975" sldId="1881839099"/>
        </pc:sldMkLst>
      </pc:sldChg>
      <pc:sldChg chg="del">
        <pc:chgData name="Anara Samambayeva" userId="40372071-4642-4757-8ccf-dba3b5920c09" providerId="ADAL" clId="{F4A4A4F0-1D6F-4344-A6C2-8AF4E18A7918}" dt="2025-06-02T12:47:54.154" v="1163" actId="47"/>
        <pc:sldMkLst>
          <pc:docMk/>
          <pc:sldMk cId="2803436139" sldId="1881839100"/>
        </pc:sldMkLst>
      </pc:sldChg>
      <pc:sldChg chg="del">
        <pc:chgData name="Anara Samambayeva" userId="40372071-4642-4757-8ccf-dba3b5920c09" providerId="ADAL" clId="{F4A4A4F0-1D6F-4344-A6C2-8AF4E18A7918}" dt="2025-06-02T12:47:54.707" v="1164" actId="47"/>
        <pc:sldMkLst>
          <pc:docMk/>
          <pc:sldMk cId="3519989556" sldId="1881839101"/>
        </pc:sldMkLst>
      </pc:sldChg>
      <pc:sldChg chg="delSp modSp mod ord">
        <pc:chgData name="Anara Samambayeva" userId="40372071-4642-4757-8ccf-dba3b5920c09" providerId="ADAL" clId="{F4A4A4F0-1D6F-4344-A6C2-8AF4E18A7918}" dt="2025-06-03T09:32:26.295" v="1494" actId="20577"/>
        <pc:sldMkLst>
          <pc:docMk/>
          <pc:sldMk cId="2580639674" sldId="1881839103"/>
        </pc:sldMkLst>
        <pc:spChg chg="mod">
          <ac:chgData name="Anara Samambayeva" userId="40372071-4642-4757-8ccf-dba3b5920c09" providerId="ADAL" clId="{F4A4A4F0-1D6F-4344-A6C2-8AF4E18A7918}" dt="2025-06-02T12:26:51.629" v="720" actId="20577"/>
          <ac:spMkLst>
            <pc:docMk/>
            <pc:sldMk cId="2580639674" sldId="1881839103"/>
            <ac:spMk id="2" creationId="{97973CDA-A11F-F4C6-3572-B05DA0B51D75}"/>
          </ac:spMkLst>
        </pc:spChg>
        <pc:spChg chg="mod">
          <ac:chgData name="Anara Samambayeva" userId="40372071-4642-4757-8ccf-dba3b5920c09" providerId="ADAL" clId="{F4A4A4F0-1D6F-4344-A6C2-8AF4E18A7918}" dt="2025-06-03T09:29:57.601" v="1376"/>
          <ac:spMkLst>
            <pc:docMk/>
            <pc:sldMk cId="2580639674" sldId="1881839103"/>
            <ac:spMk id="54" creationId="{98B76013-4317-BBC2-2023-ECC830F61FDE}"/>
          </ac:spMkLst>
        </pc:spChg>
        <pc:spChg chg="mod">
          <ac:chgData name="Anara Samambayeva" userId="40372071-4642-4757-8ccf-dba3b5920c09" providerId="ADAL" clId="{F4A4A4F0-1D6F-4344-A6C2-8AF4E18A7918}" dt="2025-06-03T09:31:45.032" v="1458" actId="20577"/>
          <ac:spMkLst>
            <pc:docMk/>
            <pc:sldMk cId="2580639674" sldId="1881839103"/>
            <ac:spMk id="55" creationId="{C82877E3-5DE9-4EF1-69E9-35A95E40AD5C}"/>
          </ac:spMkLst>
        </pc:spChg>
        <pc:spChg chg="mod">
          <ac:chgData name="Anara Samambayeva" userId="40372071-4642-4757-8ccf-dba3b5920c09" providerId="ADAL" clId="{F4A4A4F0-1D6F-4344-A6C2-8AF4E18A7918}" dt="2025-06-03T09:30:02.873" v="1388" actId="20577"/>
          <ac:spMkLst>
            <pc:docMk/>
            <pc:sldMk cId="2580639674" sldId="1881839103"/>
            <ac:spMk id="57" creationId="{F61ED1EB-F2EB-F22C-F73A-A2CE351597EE}"/>
          </ac:spMkLst>
        </pc:spChg>
        <pc:spChg chg="mod">
          <ac:chgData name="Anara Samambayeva" userId="40372071-4642-4757-8ccf-dba3b5920c09" providerId="ADAL" clId="{F4A4A4F0-1D6F-4344-A6C2-8AF4E18A7918}" dt="2025-06-03T09:32:26.295" v="1494" actId="20577"/>
          <ac:spMkLst>
            <pc:docMk/>
            <pc:sldMk cId="2580639674" sldId="1881839103"/>
            <ac:spMk id="58" creationId="{1AABCC5D-98C8-1D23-3136-42626DDB3EBD}"/>
          </ac:spMkLst>
        </pc:spChg>
      </pc:sldChg>
      <pc:sldChg chg="del">
        <pc:chgData name="Anara Samambayeva" userId="40372071-4642-4757-8ccf-dba3b5920c09" providerId="ADAL" clId="{F4A4A4F0-1D6F-4344-A6C2-8AF4E18A7918}" dt="2025-06-02T12:47:51.508" v="1158" actId="47"/>
        <pc:sldMkLst>
          <pc:docMk/>
          <pc:sldMk cId="2279536944" sldId="1881839107"/>
        </pc:sldMkLst>
      </pc:sldChg>
      <pc:sldChg chg="del">
        <pc:chgData name="Anara Samambayeva" userId="40372071-4642-4757-8ccf-dba3b5920c09" providerId="ADAL" clId="{F4A4A4F0-1D6F-4344-A6C2-8AF4E18A7918}" dt="2025-06-02T12:26:15.885" v="679" actId="47"/>
        <pc:sldMkLst>
          <pc:docMk/>
          <pc:sldMk cId="1407002527" sldId="1881839114"/>
        </pc:sldMkLst>
      </pc:sldChg>
      <pc:sldChg chg="del">
        <pc:chgData name="Anara Samambayeva" userId="40372071-4642-4757-8ccf-dba3b5920c09" providerId="ADAL" clId="{F4A4A4F0-1D6F-4344-A6C2-8AF4E18A7918}" dt="2025-06-02T12:24:12.138" v="587" actId="47"/>
        <pc:sldMkLst>
          <pc:docMk/>
          <pc:sldMk cId="4029396505" sldId="1881839116"/>
        </pc:sldMkLst>
      </pc:sldChg>
      <pc:sldChg chg="addSp delSp modSp mod">
        <pc:chgData name="Anara Samambayeva" userId="40372071-4642-4757-8ccf-dba3b5920c09" providerId="ADAL" clId="{F4A4A4F0-1D6F-4344-A6C2-8AF4E18A7918}" dt="2025-06-02T12:25:45.714" v="673" actId="20577"/>
        <pc:sldMkLst>
          <pc:docMk/>
          <pc:sldMk cId="1053496485" sldId="1881839132"/>
        </pc:sldMkLst>
      </pc:sldChg>
      <pc:sldChg chg="new del">
        <pc:chgData name="Anara Samambayeva" userId="40372071-4642-4757-8ccf-dba3b5920c09" providerId="ADAL" clId="{F4A4A4F0-1D6F-4344-A6C2-8AF4E18A7918}" dt="2025-06-02T12:27:10.027" v="723" actId="47"/>
        <pc:sldMkLst>
          <pc:docMk/>
          <pc:sldMk cId="304064977" sldId="1881839137"/>
        </pc:sldMkLst>
      </pc:sldChg>
      <pc:sldChg chg="addSp delSp modSp add del mod">
        <pc:chgData name="Anara Samambayeva" userId="40372071-4642-4757-8ccf-dba3b5920c09" providerId="ADAL" clId="{F4A4A4F0-1D6F-4344-A6C2-8AF4E18A7918}" dt="2025-06-02T12:26:46.064" v="712" actId="47"/>
        <pc:sldMkLst>
          <pc:docMk/>
          <pc:sldMk cId="3508086695" sldId="1881839137"/>
        </pc:sldMkLst>
      </pc:sldChg>
      <pc:sldChg chg="new del">
        <pc:chgData name="Anara Samambayeva" userId="40372071-4642-4757-8ccf-dba3b5920c09" providerId="ADAL" clId="{F4A4A4F0-1D6F-4344-A6C2-8AF4E18A7918}" dt="2025-06-02T12:21:37.621" v="523" actId="47"/>
        <pc:sldMkLst>
          <pc:docMk/>
          <pc:sldMk cId="3595136410" sldId="1881839137"/>
        </pc:sldMkLst>
      </pc:sldChg>
      <pc:sldChg chg="addSp modSp new mod">
        <pc:chgData name="Anara Samambayeva" userId="40372071-4642-4757-8ccf-dba3b5920c09" providerId="ADAL" clId="{F4A4A4F0-1D6F-4344-A6C2-8AF4E18A7918}" dt="2025-06-02T12:29:01.888" v="839" actId="20577"/>
        <pc:sldMkLst>
          <pc:docMk/>
          <pc:sldMk cId="4212339550" sldId="1881839137"/>
        </pc:sldMkLst>
      </pc:sldChg>
      <pc:sldChg chg="addSp modSp new mod">
        <pc:chgData name="Anara Samambayeva" userId="40372071-4642-4757-8ccf-dba3b5920c09" providerId="ADAL" clId="{F4A4A4F0-1D6F-4344-A6C2-8AF4E18A7918}" dt="2025-06-02T12:29:39.652" v="880" actId="20577"/>
        <pc:sldMkLst>
          <pc:docMk/>
          <pc:sldMk cId="1084110289" sldId="1881839138"/>
        </pc:sldMkLst>
      </pc:sldChg>
      <pc:sldChg chg="new del">
        <pc:chgData name="Anara Samambayeva" userId="40372071-4642-4757-8ccf-dba3b5920c09" providerId="ADAL" clId="{F4A4A4F0-1D6F-4344-A6C2-8AF4E18A7918}" dt="2025-06-02T12:27:01.040" v="721" actId="47"/>
        <pc:sldMkLst>
          <pc:docMk/>
          <pc:sldMk cId="1951096236" sldId="1881839138"/>
        </pc:sldMkLst>
      </pc:sldChg>
      <pc:sldChg chg="modSp add mod">
        <pc:chgData name="Anara Samambayeva" userId="40372071-4642-4757-8ccf-dba3b5920c09" providerId="ADAL" clId="{F4A4A4F0-1D6F-4344-A6C2-8AF4E18A7918}" dt="2025-06-02T12:30:30.614" v="886" actId="20577"/>
        <pc:sldMkLst>
          <pc:docMk/>
          <pc:sldMk cId="3628021140" sldId="1881839139"/>
        </pc:sldMkLst>
      </pc:sldChg>
      <pc:sldChg chg="addSp delSp modSp new mod">
        <pc:chgData name="Anara Samambayeva" userId="40372071-4642-4757-8ccf-dba3b5920c09" providerId="ADAL" clId="{F4A4A4F0-1D6F-4344-A6C2-8AF4E18A7918}" dt="2025-06-02T12:35:20.806" v="997" actId="21"/>
        <pc:sldMkLst>
          <pc:docMk/>
          <pc:sldMk cId="3492188625" sldId="1881839140"/>
        </pc:sldMkLst>
      </pc:sldChg>
      <pc:sldChg chg="addSp delSp modSp new mod">
        <pc:chgData name="Anara Samambayeva" userId="40372071-4642-4757-8ccf-dba3b5920c09" providerId="ADAL" clId="{F4A4A4F0-1D6F-4344-A6C2-8AF4E18A7918}" dt="2025-06-02T12:54:19.974" v="1320" actId="20577"/>
        <pc:sldMkLst>
          <pc:docMk/>
          <pc:sldMk cId="2014211559" sldId="1881839141"/>
        </pc:sldMkLst>
      </pc:sldChg>
      <pc:sldChg chg="addSp delSp modSp add mod">
        <pc:chgData name="Anara Samambayeva" userId="40372071-4642-4757-8ccf-dba3b5920c09" providerId="ADAL" clId="{F4A4A4F0-1D6F-4344-A6C2-8AF4E18A7918}" dt="2025-06-02T12:54:12.314" v="1319" actId="20577"/>
        <pc:sldMkLst>
          <pc:docMk/>
          <pc:sldMk cId="3344311543" sldId="1881839142"/>
        </pc:sldMkLst>
      </pc:sldChg>
      <pc:sldChg chg="add del">
        <pc:chgData name="Anara Samambayeva" userId="40372071-4642-4757-8ccf-dba3b5920c09" providerId="ADAL" clId="{F4A4A4F0-1D6F-4344-A6C2-8AF4E18A7918}" dt="2025-06-02T12:44:28.254" v="1099" actId="47"/>
        <pc:sldMkLst>
          <pc:docMk/>
          <pc:sldMk cId="444758094" sldId="1881839143"/>
        </pc:sldMkLst>
      </pc:sldChg>
      <pc:sldChg chg="addSp modSp add mod">
        <pc:chgData name="Anara Samambayeva" userId="40372071-4642-4757-8ccf-dba3b5920c09" providerId="ADAL" clId="{F4A4A4F0-1D6F-4344-A6C2-8AF4E18A7918}" dt="2025-06-03T09:25:56.656" v="1341"/>
        <pc:sldMkLst>
          <pc:docMk/>
          <pc:sldMk cId="1441297884" sldId="1881839143"/>
        </pc:sldMkLst>
      </pc:sldChg>
      <pc:sldChg chg="addSp modSp add mod">
        <pc:chgData name="Anara Samambayeva" userId="40372071-4642-4757-8ccf-dba3b5920c09" providerId="ADAL" clId="{F4A4A4F0-1D6F-4344-A6C2-8AF4E18A7918}" dt="2025-06-03T09:26:05.935" v="1342"/>
        <pc:sldMkLst>
          <pc:docMk/>
          <pc:sldMk cId="2846112446" sldId="1881839144"/>
        </pc:sldMkLst>
      </pc:sldChg>
      <pc:sldChg chg="add del">
        <pc:chgData name="Anara Samambayeva" userId="40372071-4642-4757-8ccf-dba3b5920c09" providerId="ADAL" clId="{F4A4A4F0-1D6F-4344-A6C2-8AF4E18A7918}" dt="2025-06-02T12:44:28.789" v="1100" actId="47"/>
        <pc:sldMkLst>
          <pc:docMk/>
          <pc:sldMk cId="3113800792" sldId="1881839144"/>
        </pc:sldMkLst>
      </pc:sldChg>
      <pc:sldChg chg="modSp add mod">
        <pc:chgData name="Anara Samambayeva" userId="40372071-4642-4757-8ccf-dba3b5920c09" providerId="ADAL" clId="{F4A4A4F0-1D6F-4344-A6C2-8AF4E18A7918}" dt="2025-06-02T12:45:30.558" v="1153" actId="14100"/>
        <pc:sldMkLst>
          <pc:docMk/>
          <pc:sldMk cId="1211814473" sldId="1881839145"/>
        </pc:sldMkLst>
      </pc:sldChg>
      <pc:sldChg chg="delSp modSp add mod">
        <pc:chgData name="Anara Samambayeva" userId="40372071-4642-4757-8ccf-dba3b5920c09" providerId="ADAL" clId="{F4A4A4F0-1D6F-4344-A6C2-8AF4E18A7918}" dt="2025-06-03T09:37:10.929" v="1520" actId="478"/>
        <pc:sldMkLst>
          <pc:docMk/>
          <pc:sldMk cId="1833034411" sldId="1881839146"/>
        </pc:sldMkLst>
      </pc:sldChg>
      <pc:sldChg chg="modSp add del mod">
        <pc:chgData name="Anara Samambayeva" userId="40372071-4642-4757-8ccf-dba3b5920c09" providerId="ADAL" clId="{F4A4A4F0-1D6F-4344-A6C2-8AF4E18A7918}" dt="2025-06-03T09:27:45.022" v="1375" actId="47"/>
        <pc:sldMkLst>
          <pc:docMk/>
          <pc:sldMk cId="1258602046" sldId="1881839147"/>
        </pc:sldMkLst>
      </pc:sldChg>
      <pc:sldChg chg="addSp delSp modSp add del mod ord">
        <pc:chgData name="Anara Samambayeva" userId="40372071-4642-4757-8ccf-dba3b5920c09" providerId="ADAL" clId="{F4A4A4F0-1D6F-4344-A6C2-8AF4E18A7918}" dt="2025-06-03T09:21:50.221" v="1327" actId="47"/>
        <pc:sldMkLst>
          <pc:docMk/>
          <pc:sldMk cId="1292163727" sldId="1881839148"/>
        </pc:sldMkLst>
      </pc:sldChg>
      <pc:sldChg chg="addSp modSp new del mod ord">
        <pc:chgData name="Anara Samambayeva" userId="40372071-4642-4757-8ccf-dba3b5920c09" providerId="ADAL" clId="{F4A4A4F0-1D6F-4344-A6C2-8AF4E18A7918}" dt="2025-06-03T09:26:16.177" v="1343" actId="2696"/>
        <pc:sldMkLst>
          <pc:docMk/>
          <pc:sldMk cId="935695209" sldId="1881839149"/>
        </pc:sldMkLst>
      </pc:sldChg>
      <pc:sldChg chg="add ord">
        <pc:chgData name="Anara Samambayeva" userId="40372071-4642-4757-8ccf-dba3b5920c09" providerId="ADAL" clId="{F4A4A4F0-1D6F-4344-A6C2-8AF4E18A7918}" dt="2025-06-03T09:26:45.572" v="1346"/>
        <pc:sldMkLst>
          <pc:docMk/>
          <pc:sldMk cId="1008995479" sldId="1881839149"/>
        </pc:sldMkLst>
      </pc:sldChg>
      <pc:sldChg chg="addSp modSp new mod ord">
        <pc:chgData name="Anara Samambayeva" userId="40372071-4642-4757-8ccf-dba3b5920c09" providerId="ADAL" clId="{F4A4A4F0-1D6F-4344-A6C2-8AF4E18A7918}" dt="2025-06-03T09:27:27.381" v="1374" actId="20577"/>
        <pc:sldMkLst>
          <pc:docMk/>
          <pc:sldMk cId="3721523510" sldId="1881839150"/>
        </pc:sldMkLst>
      </pc:sldChg>
      <pc:sldChg chg="addSp modSp new del mod">
        <pc:chgData name="Anara Samambayeva" userId="40372071-4642-4757-8ccf-dba3b5920c09" providerId="ADAL" clId="{F4A4A4F0-1D6F-4344-A6C2-8AF4E18A7918}" dt="2025-06-03T09:21:54.549" v="1328" actId="47"/>
        <pc:sldMkLst>
          <pc:docMk/>
          <pc:sldMk cId="1776944470" sldId="1881839151"/>
        </pc:sldMkLst>
      </pc:sldChg>
      <pc:sldChg chg="modSp add del mod modShow">
        <pc:chgData name="Anara Samambayeva" userId="40372071-4642-4757-8ccf-dba3b5920c09" providerId="ADAL" clId="{F4A4A4F0-1D6F-4344-A6C2-8AF4E18A7918}" dt="2025-06-03T09:41:23.504" v="1620" actId="2696"/>
        <pc:sldMkLst>
          <pc:docMk/>
          <pc:sldMk cId="3586143013" sldId="1881839152"/>
        </pc:sldMkLst>
      </pc:sldChg>
      <pc:sldChg chg="modSp add mod modShow">
        <pc:chgData name="Anara Samambayeva" userId="40372071-4642-4757-8ccf-dba3b5920c09" providerId="ADAL" clId="{F4A4A4F0-1D6F-4344-A6C2-8AF4E18A7918}" dt="2025-06-03T09:41:55.407" v="1640" actId="404"/>
        <pc:sldMkLst>
          <pc:docMk/>
          <pc:sldMk cId="3701002426" sldId="1881839152"/>
        </pc:sldMkLst>
      </pc:sldChg>
      <pc:sldChg chg="addSp modSp new del mod">
        <pc:chgData name="Anara Samambayeva" userId="40372071-4642-4757-8ccf-dba3b5920c09" providerId="ADAL" clId="{F4A4A4F0-1D6F-4344-A6C2-8AF4E18A7918}" dt="2025-06-03T09:38:06.779" v="1570" actId="2696"/>
        <pc:sldMkLst>
          <pc:docMk/>
          <pc:sldMk cId="3756428063" sldId="1881839152"/>
        </pc:sldMkLst>
      </pc:sldChg>
      <pc:sldChg chg="addSp delSp modSp add mod">
        <pc:chgData name="Anara Samambayeva" userId="40372071-4642-4757-8ccf-dba3b5920c09" providerId="ADAL" clId="{F4A4A4F0-1D6F-4344-A6C2-8AF4E18A7918}" dt="2025-06-02T12:54:48.967" v="1326" actId="20577"/>
        <pc:sldMkLst>
          <pc:docMk/>
          <pc:sldMk cId="482122530" sldId="1881839153"/>
        </pc:sldMkLst>
      </pc:sldChg>
      <pc:sldChg chg="addSp delSp modSp new mod modClrScheme chgLayout">
        <pc:chgData name="Anara Samambayeva" userId="40372071-4642-4757-8ccf-dba3b5920c09" providerId="ADAL" clId="{F4A4A4F0-1D6F-4344-A6C2-8AF4E18A7918}" dt="2025-06-03T09:25:00.036" v="1340" actId="404"/>
        <pc:sldMkLst>
          <pc:docMk/>
          <pc:sldMk cId="1793374902" sldId="1881839154"/>
        </pc:sldMkLst>
      </pc:sldChg>
      <pc:sldChg chg="modSp add mod">
        <pc:chgData name="Anara Samambayeva" userId="40372071-4642-4757-8ccf-dba3b5920c09" providerId="ADAL" clId="{F4A4A4F0-1D6F-4344-A6C2-8AF4E18A7918}" dt="2025-06-03T09:37:23.949" v="1531" actId="20577"/>
        <pc:sldMkLst>
          <pc:docMk/>
          <pc:sldMk cId="371142360" sldId="1881839155"/>
        </pc:sldMkLst>
      </pc:sldChg>
      <pc:sldChg chg="modSp add mod">
        <pc:chgData name="Anara Samambayeva" userId="40372071-4642-4757-8ccf-dba3b5920c09" providerId="ADAL" clId="{F4A4A4F0-1D6F-4344-A6C2-8AF4E18A7918}" dt="2025-06-03T09:37:48.932" v="1569" actId="20577"/>
        <pc:sldMkLst>
          <pc:docMk/>
          <pc:sldMk cId="2305428712" sldId="1881839156"/>
        </pc:sldMkLst>
      </pc:sldChg>
      <pc:sldChg chg="modSp add mod">
        <pc:chgData name="Anara Samambayeva" userId="40372071-4642-4757-8ccf-dba3b5920c09" providerId="ADAL" clId="{F4A4A4F0-1D6F-4344-A6C2-8AF4E18A7918}" dt="2025-06-03T09:37:42.467" v="1559" actId="20577"/>
        <pc:sldMkLst>
          <pc:docMk/>
          <pc:sldMk cId="3122388509" sldId="1881839157"/>
        </pc:sldMkLst>
      </pc:sldChg>
      <pc:sldMasterChg chg="delSldLayout">
        <pc:chgData name="Anara Samambayeva" userId="40372071-4642-4757-8ccf-dba3b5920c09" providerId="ADAL" clId="{F4A4A4F0-1D6F-4344-A6C2-8AF4E18A7918}" dt="2025-06-02T12:47:50.614" v="1155" actId="47"/>
        <pc:sldMasterMkLst>
          <pc:docMk/>
          <pc:sldMasterMk cId="833762580" sldId="2147483968"/>
        </pc:sldMasterMkLst>
        <pc:sldLayoutChg chg="del">
          <pc:chgData name="Anara Samambayeva" userId="40372071-4642-4757-8ccf-dba3b5920c09" providerId="ADAL" clId="{F4A4A4F0-1D6F-4344-A6C2-8AF4E18A7918}" dt="2025-06-02T12:47:50.614" v="1155" actId="47"/>
          <pc:sldLayoutMkLst>
            <pc:docMk/>
            <pc:sldMasterMk cId="833762580" sldId="2147483968"/>
            <pc:sldLayoutMk cId="432436702" sldId="2147484216"/>
          </pc:sldLayoutMkLst>
        </pc:sldLayoutChg>
        <pc:sldLayoutChg chg="del">
          <pc:chgData name="Anara Samambayeva" userId="40372071-4642-4757-8ccf-dba3b5920c09" providerId="ADAL" clId="{F4A4A4F0-1D6F-4344-A6C2-8AF4E18A7918}" dt="2025-06-02T12:26:46.064" v="712" actId="47"/>
          <pc:sldLayoutMkLst>
            <pc:docMk/>
            <pc:sldMasterMk cId="833762580" sldId="2147483968"/>
            <pc:sldLayoutMk cId="3175015997" sldId="2147484235"/>
          </pc:sldLayoutMkLst>
        </pc:sldLayoutChg>
      </pc:sldMasterChg>
    </pc:docChg>
  </pc:docChgLst>
  <pc:docChgLst>
    <pc:chgData name="Kamila Salikhbaeva" userId="0bb3296e-98a7-4ed8-9df8-f64f069beafb" providerId="ADAL" clId="{14DCAF3E-7A66-4491-AD3D-7D7809314A6B}"/>
    <pc:docChg chg="undo custSel addSld delSld modSld sldOrd">
      <pc:chgData name="Kamila Salikhbaeva" userId="0bb3296e-98a7-4ed8-9df8-f64f069beafb" providerId="ADAL" clId="{14DCAF3E-7A66-4491-AD3D-7D7809314A6B}" dt="2025-06-27T04:29:23.258" v="7585" actId="14734"/>
      <pc:docMkLst>
        <pc:docMk/>
      </pc:docMkLst>
      <pc:sldChg chg="mod ord modShow">
        <pc:chgData name="Kamila Salikhbaeva" userId="0bb3296e-98a7-4ed8-9df8-f64f069beafb" providerId="ADAL" clId="{14DCAF3E-7A66-4491-AD3D-7D7809314A6B}" dt="2025-06-11T05:29:51.275" v="644"/>
        <pc:sldMkLst>
          <pc:docMk/>
          <pc:sldMk cId="2274233369" sldId="1881839168"/>
        </pc:sldMkLst>
      </pc:sldChg>
      <pc:sldChg chg="mod ord modShow">
        <pc:chgData name="Kamila Salikhbaeva" userId="0bb3296e-98a7-4ed8-9df8-f64f069beafb" providerId="ADAL" clId="{14DCAF3E-7A66-4491-AD3D-7D7809314A6B}" dt="2025-06-11T05:29:51.275" v="644"/>
        <pc:sldMkLst>
          <pc:docMk/>
          <pc:sldMk cId="1164041906" sldId="1881839169"/>
        </pc:sldMkLst>
      </pc:sldChg>
      <pc:sldChg chg="addSp delSp modSp add mod modCm">
        <pc:chgData name="Kamila Salikhbaeva" userId="0bb3296e-98a7-4ed8-9df8-f64f069beafb" providerId="ADAL" clId="{14DCAF3E-7A66-4491-AD3D-7D7809314A6B}" dt="2025-06-27T04:25:09.522" v="7495" actId="20577"/>
        <pc:sldMkLst>
          <pc:docMk/>
          <pc:sldMk cId="158839205" sldId="1881839181"/>
        </pc:sldMkLst>
        <pc:spChg chg="mod">
          <ac:chgData name="Kamila Salikhbaeva" userId="0bb3296e-98a7-4ed8-9df8-f64f069beafb" providerId="ADAL" clId="{14DCAF3E-7A66-4491-AD3D-7D7809314A6B}" dt="2025-06-11T06:39:31.346" v="1115" actId="20577"/>
          <ac:spMkLst>
            <pc:docMk/>
            <pc:sldMk cId="158839205" sldId="1881839181"/>
            <ac:spMk id="4" creationId="{5BA7EECA-6481-C75E-AB0B-1581C9254565}"/>
          </ac:spMkLst>
        </pc:spChg>
        <pc:spChg chg="mod">
          <ac:chgData name="Kamila Salikhbaeva" userId="0bb3296e-98a7-4ed8-9df8-f64f069beafb" providerId="ADAL" clId="{14DCAF3E-7A66-4491-AD3D-7D7809314A6B}" dt="2025-06-11T07:02:40.590" v="1189" actId="14100"/>
          <ac:spMkLst>
            <pc:docMk/>
            <pc:sldMk cId="158839205" sldId="1881839181"/>
            <ac:spMk id="15" creationId="{4B5959B6-F13D-A38D-4814-B48527E60955}"/>
          </ac:spMkLst>
        </pc:spChg>
        <pc:graphicFrameChg chg="add mod modGraphic">
          <ac:chgData name="Kamila Salikhbaeva" userId="0bb3296e-98a7-4ed8-9df8-f64f069beafb" providerId="ADAL" clId="{14DCAF3E-7A66-4491-AD3D-7D7809314A6B}" dt="2025-06-27T04:25:09.522" v="7495" actId="20577"/>
          <ac:graphicFrameMkLst>
            <pc:docMk/>
            <pc:sldMk cId="158839205" sldId="1881839181"/>
            <ac:graphicFrameMk id="2" creationId="{DBD97724-DBF9-DC45-8BBB-C84E7A461348}"/>
          </ac:graphicFrameMkLst>
        </pc:graphicFrameChg>
        <pc:picChg chg="add mod">
          <ac:chgData name="Kamila Salikhbaeva" userId="0bb3296e-98a7-4ed8-9df8-f64f069beafb" providerId="ADAL" clId="{14DCAF3E-7A66-4491-AD3D-7D7809314A6B}" dt="2025-06-18T06:44:09.329" v="6366" actId="1076"/>
          <ac:picMkLst>
            <pc:docMk/>
            <pc:sldMk cId="158839205" sldId="1881839181"/>
            <ac:picMk id="5" creationId="{1FB8FBE5-16E1-93BF-4F5F-3793C67F1D5A}"/>
          </ac:picMkLst>
        </pc:picChg>
        <pc:picChg chg="add mod">
          <ac:chgData name="Kamila Salikhbaeva" userId="0bb3296e-98a7-4ed8-9df8-f64f069beafb" providerId="ADAL" clId="{14DCAF3E-7A66-4491-AD3D-7D7809314A6B}" dt="2025-06-18T06:43:36.408" v="6355" actId="1035"/>
          <ac:picMkLst>
            <pc:docMk/>
            <pc:sldMk cId="158839205" sldId="1881839181"/>
            <ac:picMk id="7" creationId="{354A007B-9834-5E37-A812-F59131711A86}"/>
          </ac:picMkLst>
        </pc:picChg>
        <pc:picChg chg="add mod">
          <ac:chgData name="Kamila Salikhbaeva" userId="0bb3296e-98a7-4ed8-9df8-f64f069beafb" providerId="ADAL" clId="{14DCAF3E-7A66-4491-AD3D-7D7809314A6B}" dt="2025-06-18T06:43:53.175" v="6365" actId="1038"/>
          <ac:picMkLst>
            <pc:docMk/>
            <pc:sldMk cId="158839205" sldId="1881839181"/>
            <ac:picMk id="9" creationId="{C278E369-215E-FAD7-DF04-5F5C3153C34D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Kamila Salikhbaeva" userId="0bb3296e-98a7-4ed8-9df8-f64f069beafb" providerId="ADAL" clId="{14DCAF3E-7A66-4491-AD3D-7D7809314A6B}" dt="2025-06-27T04:25:09.522" v="7495" actId="20577"/>
              <pc2:cmMkLst xmlns:pc2="http://schemas.microsoft.com/office/powerpoint/2019/9/main/command">
                <pc:docMk/>
                <pc:sldMk cId="158839205" sldId="1881839181"/>
                <pc2:cmMk id="{289CF75F-7BA1-4A25-8C15-9FEEAD42A599}"/>
              </pc2:cmMkLst>
            </pc226:cmChg>
            <pc226:cmChg xmlns:pc226="http://schemas.microsoft.com/office/powerpoint/2022/06/main/command" chg="mod">
              <pc226:chgData name="Kamila Salikhbaeva" userId="0bb3296e-98a7-4ed8-9df8-f64f069beafb" providerId="ADAL" clId="{14DCAF3E-7A66-4491-AD3D-7D7809314A6B}" dt="2025-06-11T05:33:08.808" v="714" actId="20577"/>
              <pc2:cmMkLst xmlns:pc2="http://schemas.microsoft.com/office/powerpoint/2019/9/main/command">
                <pc:docMk/>
                <pc:sldMk cId="158839205" sldId="1881839181"/>
                <pc2:cmMk id="{DFD9E2AE-54E5-4FD8-B2D9-3B30F41561AE}"/>
              </pc2:cmMkLst>
            </pc226:cmChg>
          </p:ext>
        </pc:extLst>
      </pc:sldChg>
      <pc:sldChg chg="addSp delSp modSp add del mod">
        <pc:chgData name="Kamila Salikhbaeva" userId="0bb3296e-98a7-4ed8-9df8-f64f069beafb" providerId="ADAL" clId="{14DCAF3E-7A66-4491-AD3D-7D7809314A6B}" dt="2025-06-11T10:11:17.555" v="2372" actId="47"/>
        <pc:sldMkLst>
          <pc:docMk/>
          <pc:sldMk cId="152072807" sldId="1881839182"/>
        </pc:sldMkLst>
      </pc:sldChg>
      <pc:sldChg chg="addSp delSp modSp add del mod">
        <pc:chgData name="Kamila Salikhbaeva" userId="0bb3296e-98a7-4ed8-9df8-f64f069beafb" providerId="ADAL" clId="{14DCAF3E-7A66-4491-AD3D-7D7809314A6B}" dt="2025-06-18T03:36:27.648" v="5330" actId="47"/>
        <pc:sldMkLst>
          <pc:docMk/>
          <pc:sldMk cId="2392145223" sldId="1881839183"/>
        </pc:sldMkLst>
      </pc:sldChg>
      <pc:sldChg chg="addSp delSp modSp add mod">
        <pc:chgData name="Kamila Salikhbaeva" userId="0bb3296e-98a7-4ed8-9df8-f64f069beafb" providerId="ADAL" clId="{14DCAF3E-7A66-4491-AD3D-7D7809314A6B}" dt="2025-06-27T03:55:51.860" v="6994" actId="1037"/>
        <pc:sldMkLst>
          <pc:docMk/>
          <pc:sldMk cId="4272715703" sldId="1881839184"/>
        </pc:sldMkLst>
      </pc:sldChg>
      <pc:sldChg chg="addSp delSp modSp add mod">
        <pc:chgData name="Kamila Salikhbaeva" userId="0bb3296e-98a7-4ed8-9df8-f64f069beafb" providerId="ADAL" clId="{14DCAF3E-7A66-4491-AD3D-7D7809314A6B}" dt="2025-06-25T10:57:02.666" v="6519" actId="255"/>
        <pc:sldMkLst>
          <pc:docMk/>
          <pc:sldMk cId="2966535318" sldId="1881839185"/>
        </pc:sldMkLst>
      </pc:sldChg>
      <pc:sldChg chg="addSp delSp modSp add mod">
        <pc:chgData name="Kamila Salikhbaeva" userId="0bb3296e-98a7-4ed8-9df8-f64f069beafb" providerId="ADAL" clId="{14DCAF3E-7A66-4491-AD3D-7D7809314A6B}" dt="2025-06-27T04:29:23.258" v="7585" actId="14734"/>
        <pc:sldMkLst>
          <pc:docMk/>
          <pc:sldMk cId="2746300831" sldId="1881839186"/>
        </pc:sldMkLst>
      </pc:sldChg>
      <pc:sldChg chg="addSp delSp modSp add mod ord">
        <pc:chgData name="Kamila Salikhbaeva" userId="0bb3296e-98a7-4ed8-9df8-f64f069beafb" providerId="ADAL" clId="{14DCAF3E-7A66-4491-AD3D-7D7809314A6B}" dt="2025-06-27T03:39:25.342" v="6941" actId="255"/>
        <pc:sldMkLst>
          <pc:docMk/>
          <pc:sldMk cId="1994576737" sldId="1881839187"/>
        </pc:sldMkLst>
      </pc:sldChg>
      <pc:sldChg chg="addSp delSp modSp add mod">
        <pc:chgData name="Kamila Salikhbaeva" userId="0bb3296e-98a7-4ed8-9df8-f64f069beafb" providerId="ADAL" clId="{14DCAF3E-7A66-4491-AD3D-7D7809314A6B}" dt="2025-06-27T04:28:59.455" v="7583" actId="1037"/>
        <pc:sldMkLst>
          <pc:docMk/>
          <pc:sldMk cId="3115535368" sldId="1881839188"/>
        </pc:sldMkLst>
        <pc:spChg chg="mod">
          <ac:chgData name="Kamila Salikhbaeva" userId="0bb3296e-98a7-4ed8-9df8-f64f069beafb" providerId="ADAL" clId="{14DCAF3E-7A66-4491-AD3D-7D7809314A6B}" dt="2025-06-27T04:05:49.802" v="7126" actId="20577"/>
          <ac:spMkLst>
            <pc:docMk/>
            <pc:sldMk cId="3115535368" sldId="1881839188"/>
            <ac:spMk id="4" creationId="{591D7E39-516C-1435-EA99-158653A1C737}"/>
          </ac:spMkLst>
        </pc:spChg>
        <pc:spChg chg="mod">
          <ac:chgData name="Kamila Salikhbaeva" userId="0bb3296e-98a7-4ed8-9df8-f64f069beafb" providerId="ADAL" clId="{14DCAF3E-7A66-4491-AD3D-7D7809314A6B}" dt="2025-06-25T10:29:24.033" v="6370"/>
          <ac:spMkLst>
            <pc:docMk/>
            <pc:sldMk cId="3115535368" sldId="1881839188"/>
            <ac:spMk id="5" creationId="{4A7C8206-22C3-FAA6-E9B7-04D700DCA9AC}"/>
          </ac:spMkLst>
        </pc:spChg>
        <pc:graphicFrameChg chg="add mod modGraphic">
          <ac:chgData name="Kamila Salikhbaeva" userId="0bb3296e-98a7-4ed8-9df8-f64f069beafb" providerId="ADAL" clId="{14DCAF3E-7A66-4491-AD3D-7D7809314A6B}" dt="2025-06-27T04:25:25.825" v="7497" actId="20577"/>
          <ac:graphicFrameMkLst>
            <pc:docMk/>
            <pc:sldMk cId="3115535368" sldId="1881839188"/>
            <ac:graphicFrameMk id="2" creationId="{D534602A-79A0-2701-1165-E8EC2A972A10}"/>
          </ac:graphicFrameMkLst>
        </pc:graphicFrameChg>
        <pc:picChg chg="add mod">
          <ac:chgData name="Kamila Salikhbaeva" userId="0bb3296e-98a7-4ed8-9df8-f64f069beafb" providerId="ADAL" clId="{14DCAF3E-7A66-4491-AD3D-7D7809314A6B}" dt="2025-06-27T04:28:59.455" v="7583" actId="1037"/>
          <ac:picMkLst>
            <pc:docMk/>
            <pc:sldMk cId="3115535368" sldId="1881839188"/>
            <ac:picMk id="3" creationId="{FEF76A55-1AEF-DB5C-1C6D-E197A65DD924}"/>
          </ac:picMkLst>
        </pc:picChg>
        <pc:picChg chg="add mod">
          <ac:chgData name="Kamila Salikhbaeva" userId="0bb3296e-98a7-4ed8-9df8-f64f069beafb" providerId="ADAL" clId="{14DCAF3E-7A66-4491-AD3D-7D7809314A6B}" dt="2025-06-27T04:28:59.455" v="7583" actId="1037"/>
          <ac:picMkLst>
            <pc:docMk/>
            <pc:sldMk cId="3115535368" sldId="1881839188"/>
            <ac:picMk id="9" creationId="{E0A666A0-364A-963A-6421-042A99C62AD7}"/>
          </ac:picMkLst>
        </pc:picChg>
        <pc:picChg chg="add mod">
          <ac:chgData name="Kamila Salikhbaeva" userId="0bb3296e-98a7-4ed8-9df8-f64f069beafb" providerId="ADAL" clId="{14DCAF3E-7A66-4491-AD3D-7D7809314A6B}" dt="2025-06-27T04:28:59.455" v="7583" actId="1037"/>
          <ac:picMkLst>
            <pc:docMk/>
            <pc:sldMk cId="3115535368" sldId="1881839188"/>
            <ac:picMk id="11" creationId="{586E054E-C0F6-8B37-4DE1-C41427C7BC3E}"/>
          </ac:picMkLst>
        </pc:picChg>
      </pc:sldChg>
      <pc:sldChg chg="delSp modSp add mod modNotes modNotesTx">
        <pc:chgData name="Kamila Salikhbaeva" userId="0bb3296e-98a7-4ed8-9df8-f64f069beafb" providerId="ADAL" clId="{14DCAF3E-7A66-4491-AD3D-7D7809314A6B}" dt="2025-06-27T04:05:08.511" v="7103" actId="27636"/>
        <pc:sldMkLst>
          <pc:docMk/>
          <pc:sldMk cId="347289165" sldId="1881839189"/>
        </pc:sldMkLst>
        <pc:spChg chg="mod">
          <ac:chgData name="Kamila Salikhbaeva" userId="0bb3296e-98a7-4ed8-9df8-f64f069beafb" providerId="ADAL" clId="{14DCAF3E-7A66-4491-AD3D-7D7809314A6B}" dt="2025-06-25T11:06:14.796" v="6694"/>
          <ac:spMkLst>
            <pc:docMk/>
            <pc:sldMk cId="347289165" sldId="1881839189"/>
            <ac:spMk id="4" creationId="{051A5AD8-8808-332E-0616-41879FF02006}"/>
          </ac:spMkLst>
        </pc:spChg>
      </pc:sldChg>
      <pc:sldChg chg="addSp delSp modSp add mod ord modNotesTx">
        <pc:chgData name="Kamila Salikhbaeva" userId="0bb3296e-98a7-4ed8-9df8-f64f069beafb" providerId="ADAL" clId="{14DCAF3E-7A66-4491-AD3D-7D7809314A6B}" dt="2025-06-27T03:38:42.897" v="6935" actId="20577"/>
        <pc:sldMkLst>
          <pc:docMk/>
          <pc:sldMk cId="1242318544" sldId="1881839190"/>
        </pc:sldMkLst>
        <pc:spChg chg="mod">
          <ac:chgData name="Kamila Salikhbaeva" userId="0bb3296e-98a7-4ed8-9df8-f64f069beafb" providerId="ADAL" clId="{14DCAF3E-7A66-4491-AD3D-7D7809314A6B}" dt="2025-06-25T11:02:54.569" v="6693" actId="20577"/>
          <ac:spMkLst>
            <pc:docMk/>
            <pc:sldMk cId="1242318544" sldId="1881839190"/>
            <ac:spMk id="4" creationId="{37040363-8717-2FB3-E852-0A9450785F35}"/>
          </ac:spMkLst>
        </pc:spChg>
      </pc:sldChg>
      <pc:sldChg chg="addSp modSp add mod modCm modNotesTx">
        <pc:chgData name="Kamila Salikhbaeva" userId="0bb3296e-98a7-4ed8-9df8-f64f069beafb" providerId="ADAL" clId="{14DCAF3E-7A66-4491-AD3D-7D7809314A6B}" dt="2025-06-27T04:02:19.352" v="7101" actId="1038"/>
        <pc:sldMkLst>
          <pc:docMk/>
          <pc:sldMk cId="1077281969" sldId="188183919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Kamila Salikhbaeva" userId="0bb3296e-98a7-4ed8-9df8-f64f069beafb" providerId="ADAL" clId="{14DCAF3E-7A66-4491-AD3D-7D7809314A6B}" dt="2025-06-25T11:19:46.628" v="6704" actId="20577"/>
              <pc2:cmMkLst xmlns:pc2="http://schemas.microsoft.com/office/powerpoint/2019/9/main/command">
                <pc:docMk/>
                <pc:sldMk cId="1077281969" sldId="1881839191"/>
                <pc2:cmMk id="{DD976B3C-7772-4DC7-9155-650FC26909C3}"/>
              </pc2:cmMkLst>
            </pc226:cmChg>
          </p:ext>
        </pc:extLst>
      </pc:sldChg>
      <pc:sldChg chg="addSp delSp modSp add mod modNotes modNotesTx">
        <pc:chgData name="Kamila Salikhbaeva" userId="0bb3296e-98a7-4ed8-9df8-f64f069beafb" providerId="ADAL" clId="{14DCAF3E-7A66-4491-AD3D-7D7809314A6B}" dt="2025-06-27T04:20:17.158" v="7431"/>
        <pc:sldMkLst>
          <pc:docMk/>
          <pc:sldMk cId="2204379559" sldId="1881839192"/>
        </pc:sldMkLst>
      </pc:sldChg>
    </pc:docChg>
  </pc:docChgLst>
  <pc:docChgLst>
    <pc:chgData name="Anara Samambayeva" userId="40372071-4642-4757-8ccf-dba3b5920c09" providerId="ADAL" clId="{A07C9F3A-D3C2-424C-B6AD-3A39545ED130}"/>
    <pc:docChg chg="undo custSel delSld modSld">
      <pc:chgData name="Anara Samambayeva" userId="40372071-4642-4757-8ccf-dba3b5920c09" providerId="ADAL" clId="{A07C9F3A-D3C2-424C-B6AD-3A39545ED130}" dt="2025-07-02T02:52:35.756" v="2145" actId="20577"/>
      <pc:docMkLst>
        <pc:docMk/>
      </pc:docMkLst>
      <pc:sldChg chg="del">
        <pc:chgData name="Anara Samambayeva" userId="40372071-4642-4757-8ccf-dba3b5920c09" providerId="ADAL" clId="{A07C9F3A-D3C2-424C-B6AD-3A39545ED130}" dt="2025-07-01T13:04:11.117" v="1061" actId="47"/>
        <pc:sldMkLst>
          <pc:docMk/>
          <pc:sldMk cId="3721523510" sldId="1881839150"/>
        </pc:sldMkLst>
      </pc:sldChg>
      <pc:sldChg chg="modSp mod">
        <pc:chgData name="Anara Samambayeva" userId="40372071-4642-4757-8ccf-dba3b5920c09" providerId="ADAL" clId="{A07C9F3A-D3C2-424C-B6AD-3A39545ED130}" dt="2025-07-01T12:03:25.217" v="3" actId="14100"/>
        <pc:sldMkLst>
          <pc:docMk/>
          <pc:sldMk cId="1347234490" sldId="1881839159"/>
        </pc:sldMkLst>
        <pc:spChg chg="mod">
          <ac:chgData name="Anara Samambayeva" userId="40372071-4642-4757-8ccf-dba3b5920c09" providerId="ADAL" clId="{A07C9F3A-D3C2-424C-B6AD-3A39545ED130}" dt="2025-07-01T12:03:25.217" v="3" actId="14100"/>
          <ac:spMkLst>
            <pc:docMk/>
            <pc:sldMk cId="1347234490" sldId="1881839159"/>
            <ac:spMk id="8" creationId="{ADAE08FF-DFCE-3B1F-B6B2-69422780D68F}"/>
          </ac:spMkLst>
        </pc:spChg>
        <pc:spChg chg="mod">
          <ac:chgData name="Anara Samambayeva" userId="40372071-4642-4757-8ccf-dba3b5920c09" providerId="ADAL" clId="{A07C9F3A-D3C2-424C-B6AD-3A39545ED130}" dt="2025-07-01T12:03:02.344" v="2" actId="207"/>
          <ac:spMkLst>
            <pc:docMk/>
            <pc:sldMk cId="1347234490" sldId="1881839159"/>
            <ac:spMk id="191" creationId="{74EF038C-1801-8BFC-DD87-4911B9B3861C}"/>
          </ac:spMkLst>
        </pc:spChg>
      </pc:sldChg>
      <pc:sldChg chg="modSp mod">
        <pc:chgData name="Anara Samambayeva" userId="40372071-4642-4757-8ccf-dba3b5920c09" providerId="ADAL" clId="{A07C9F3A-D3C2-424C-B6AD-3A39545ED130}" dt="2025-07-01T12:05:45.011" v="76" actId="14100"/>
        <pc:sldMkLst>
          <pc:docMk/>
          <pc:sldMk cId="1706127935" sldId="1881839162"/>
        </pc:sldMkLst>
        <pc:spChg chg="mod">
          <ac:chgData name="Anara Samambayeva" userId="40372071-4642-4757-8ccf-dba3b5920c09" providerId="ADAL" clId="{A07C9F3A-D3C2-424C-B6AD-3A39545ED130}" dt="2025-07-01T12:05:45.011" v="76" actId="14100"/>
          <ac:spMkLst>
            <pc:docMk/>
            <pc:sldMk cId="1706127935" sldId="1881839162"/>
            <ac:spMk id="8" creationId="{8C8669EA-2AC6-64CE-81D6-299B46590266}"/>
          </ac:spMkLst>
        </pc:spChg>
      </pc:sldChg>
      <pc:sldChg chg="modSp mod">
        <pc:chgData name="Anara Samambayeva" userId="40372071-4642-4757-8ccf-dba3b5920c09" providerId="ADAL" clId="{A07C9F3A-D3C2-424C-B6AD-3A39545ED130}" dt="2025-07-01T12:18:26.001" v="512" actId="20577"/>
        <pc:sldMkLst>
          <pc:docMk/>
          <pc:sldMk cId="4242851952" sldId="1881839167"/>
        </pc:sldMkLst>
        <pc:spChg chg="mod">
          <ac:chgData name="Anara Samambayeva" userId="40372071-4642-4757-8ccf-dba3b5920c09" providerId="ADAL" clId="{A07C9F3A-D3C2-424C-B6AD-3A39545ED130}" dt="2025-07-01T12:13:43.469" v="268" actId="404"/>
          <ac:spMkLst>
            <pc:docMk/>
            <pc:sldMk cId="4242851952" sldId="1881839167"/>
            <ac:spMk id="7" creationId="{A4CA236D-F2E6-2459-198A-A054FFE5BE54}"/>
          </ac:spMkLst>
        </pc:spChg>
        <pc:spChg chg="mod">
          <ac:chgData name="Anara Samambayeva" userId="40372071-4642-4757-8ccf-dba3b5920c09" providerId="ADAL" clId="{A07C9F3A-D3C2-424C-B6AD-3A39545ED130}" dt="2025-07-01T12:15:49.312" v="424" actId="20577"/>
          <ac:spMkLst>
            <pc:docMk/>
            <pc:sldMk cId="4242851952" sldId="1881839167"/>
            <ac:spMk id="240" creationId="{00A5F03D-20CC-C668-FE38-2C7757F070C5}"/>
          </ac:spMkLst>
        </pc:spChg>
        <pc:spChg chg="mod">
          <ac:chgData name="Anara Samambayeva" userId="40372071-4642-4757-8ccf-dba3b5920c09" providerId="ADAL" clId="{A07C9F3A-D3C2-424C-B6AD-3A39545ED130}" dt="2025-07-01T12:18:26.001" v="512" actId="20577"/>
          <ac:spMkLst>
            <pc:docMk/>
            <pc:sldMk cId="4242851952" sldId="1881839167"/>
            <ac:spMk id="246" creationId="{30296B0D-676F-CBED-ECBA-376FD288A6B8}"/>
          </ac:spMkLst>
        </pc:spChg>
      </pc:sldChg>
      <pc:sldChg chg="modSp mod">
        <pc:chgData name="Anara Samambayeva" userId="40372071-4642-4757-8ccf-dba3b5920c09" providerId="ADAL" clId="{A07C9F3A-D3C2-424C-B6AD-3A39545ED130}" dt="2025-07-01T12:06:19.263" v="81" actId="1076"/>
        <pc:sldMkLst>
          <pc:docMk/>
          <pc:sldMk cId="502663893" sldId="1881839170"/>
        </pc:sldMkLst>
        <pc:spChg chg="mod">
          <ac:chgData name="Anara Samambayeva" userId="40372071-4642-4757-8ccf-dba3b5920c09" providerId="ADAL" clId="{A07C9F3A-D3C2-424C-B6AD-3A39545ED130}" dt="2025-07-01T12:05:51.723" v="80" actId="20577"/>
          <ac:spMkLst>
            <pc:docMk/>
            <pc:sldMk cId="502663893" sldId="1881839170"/>
            <ac:spMk id="2" creationId="{B1C279E5-3E91-7E36-7ADC-4FC8F426B174}"/>
          </ac:spMkLst>
        </pc:spChg>
        <pc:spChg chg="mod">
          <ac:chgData name="Anara Samambayeva" userId="40372071-4642-4757-8ccf-dba3b5920c09" providerId="ADAL" clId="{A07C9F3A-D3C2-424C-B6AD-3A39545ED130}" dt="2025-07-01T12:06:19.263" v="81" actId="1076"/>
          <ac:spMkLst>
            <pc:docMk/>
            <pc:sldMk cId="502663893" sldId="1881839170"/>
            <ac:spMk id="28" creationId="{A3BA0EC1-987F-ABA2-BC2B-97800FB8AE75}"/>
          </ac:spMkLst>
        </pc:spChg>
      </pc:sldChg>
      <pc:sldChg chg="addSp modSp mod">
        <pc:chgData name="Anara Samambayeva" userId="40372071-4642-4757-8ccf-dba3b5920c09" providerId="ADAL" clId="{A07C9F3A-D3C2-424C-B6AD-3A39545ED130}" dt="2025-07-01T13:24:02.812" v="1203" actId="14100"/>
        <pc:sldMkLst>
          <pc:docMk/>
          <pc:sldMk cId="3081756418" sldId="1881839178"/>
        </pc:sldMkLst>
        <pc:spChg chg="mod">
          <ac:chgData name="Anara Samambayeva" userId="40372071-4642-4757-8ccf-dba3b5920c09" providerId="ADAL" clId="{A07C9F3A-D3C2-424C-B6AD-3A39545ED130}" dt="2025-07-01T12:03:34.382" v="5" actId="1076"/>
          <ac:spMkLst>
            <pc:docMk/>
            <pc:sldMk cId="3081756418" sldId="1881839178"/>
            <ac:spMk id="2" creationId="{E4329954-6593-5D37-6744-B85EEFEE85EF}"/>
          </ac:spMkLst>
        </pc:spChg>
        <pc:spChg chg="mod">
          <ac:chgData name="Anara Samambayeva" userId="40372071-4642-4757-8ccf-dba3b5920c09" providerId="ADAL" clId="{A07C9F3A-D3C2-424C-B6AD-3A39545ED130}" dt="2025-07-01T12:41:37.807" v="812" actId="1037"/>
          <ac:spMkLst>
            <pc:docMk/>
            <pc:sldMk cId="3081756418" sldId="1881839178"/>
            <ac:spMk id="11" creationId="{85B66C5F-89BA-2663-95EF-FD3D6BD0606D}"/>
          </ac:spMkLst>
        </pc:spChg>
        <pc:spChg chg="mod">
          <ac:chgData name="Anara Samambayeva" userId="40372071-4642-4757-8ccf-dba3b5920c09" providerId="ADAL" clId="{A07C9F3A-D3C2-424C-B6AD-3A39545ED130}" dt="2025-07-01T12:41:37.807" v="812" actId="1037"/>
          <ac:spMkLst>
            <pc:docMk/>
            <pc:sldMk cId="3081756418" sldId="1881839178"/>
            <ac:spMk id="13" creationId="{A41E9EE8-3128-0756-2A7B-70B625D14BD2}"/>
          </ac:spMkLst>
        </pc:spChg>
        <pc:spChg chg="mod">
          <ac:chgData name="Anara Samambayeva" userId="40372071-4642-4757-8ccf-dba3b5920c09" providerId="ADAL" clId="{A07C9F3A-D3C2-424C-B6AD-3A39545ED130}" dt="2025-07-01T12:41:37.807" v="812" actId="1037"/>
          <ac:spMkLst>
            <pc:docMk/>
            <pc:sldMk cId="3081756418" sldId="1881839178"/>
            <ac:spMk id="15" creationId="{1344C0C4-E7CB-A634-BAD1-BAFA861207DA}"/>
          </ac:spMkLst>
        </pc:spChg>
        <pc:spChg chg="mod">
          <ac:chgData name="Anara Samambayeva" userId="40372071-4642-4757-8ccf-dba3b5920c09" providerId="ADAL" clId="{A07C9F3A-D3C2-424C-B6AD-3A39545ED130}" dt="2025-07-01T12:41:37.807" v="812" actId="1037"/>
          <ac:spMkLst>
            <pc:docMk/>
            <pc:sldMk cId="3081756418" sldId="1881839178"/>
            <ac:spMk id="17" creationId="{B691D63F-ECCA-B92E-FBF3-4A10C3AF0780}"/>
          </ac:spMkLst>
        </pc:spChg>
        <pc:spChg chg="mod">
          <ac:chgData name="Anara Samambayeva" userId="40372071-4642-4757-8ccf-dba3b5920c09" providerId="ADAL" clId="{A07C9F3A-D3C2-424C-B6AD-3A39545ED130}" dt="2025-07-01T12:41:37.807" v="812" actId="1037"/>
          <ac:spMkLst>
            <pc:docMk/>
            <pc:sldMk cId="3081756418" sldId="1881839178"/>
            <ac:spMk id="19" creationId="{775F95DC-48E1-D977-188A-4E8199C90C9D}"/>
          </ac:spMkLst>
        </pc:spChg>
        <pc:spChg chg="mod">
          <ac:chgData name="Anara Samambayeva" userId="40372071-4642-4757-8ccf-dba3b5920c09" providerId="ADAL" clId="{A07C9F3A-D3C2-424C-B6AD-3A39545ED130}" dt="2025-07-01T12:41:37.807" v="812" actId="1037"/>
          <ac:spMkLst>
            <pc:docMk/>
            <pc:sldMk cId="3081756418" sldId="1881839178"/>
            <ac:spMk id="22" creationId="{81AB5529-2A84-A511-011A-B1BCE859FF3E}"/>
          </ac:spMkLst>
        </pc:spChg>
        <pc:spChg chg="mod">
          <ac:chgData name="Anara Samambayeva" userId="40372071-4642-4757-8ccf-dba3b5920c09" providerId="ADAL" clId="{A07C9F3A-D3C2-424C-B6AD-3A39545ED130}" dt="2025-07-01T13:07:35.420" v="1063" actId="1076"/>
          <ac:spMkLst>
            <pc:docMk/>
            <pc:sldMk cId="3081756418" sldId="1881839178"/>
            <ac:spMk id="24" creationId="{E0CE480E-B8F7-139F-8837-EA988B8415E1}"/>
          </ac:spMkLst>
        </pc:spChg>
        <pc:spChg chg="mod">
          <ac:chgData name="Anara Samambayeva" userId="40372071-4642-4757-8ccf-dba3b5920c09" providerId="ADAL" clId="{A07C9F3A-D3C2-424C-B6AD-3A39545ED130}" dt="2025-07-01T12:41:37.807" v="812" actId="1037"/>
          <ac:spMkLst>
            <pc:docMk/>
            <pc:sldMk cId="3081756418" sldId="1881839178"/>
            <ac:spMk id="30" creationId="{A3CEBE21-27A2-251A-DEDD-CF8F7434DAE5}"/>
          </ac:spMkLst>
        </pc:spChg>
        <pc:spChg chg="mod">
          <ac:chgData name="Anara Samambayeva" userId="40372071-4642-4757-8ccf-dba3b5920c09" providerId="ADAL" clId="{A07C9F3A-D3C2-424C-B6AD-3A39545ED130}" dt="2025-07-01T12:41:37.807" v="812" actId="1037"/>
          <ac:spMkLst>
            <pc:docMk/>
            <pc:sldMk cId="3081756418" sldId="1881839178"/>
            <ac:spMk id="33" creationId="{9D67DCA0-B17B-31A7-8FB4-A47D1A0E5E8F}"/>
          </ac:spMkLst>
        </pc:spChg>
        <pc:spChg chg="add mod">
          <ac:chgData name="Anara Samambayeva" userId="40372071-4642-4757-8ccf-dba3b5920c09" providerId="ADAL" clId="{A07C9F3A-D3C2-424C-B6AD-3A39545ED130}" dt="2025-07-01T12:41:37.807" v="812" actId="1037"/>
          <ac:spMkLst>
            <pc:docMk/>
            <pc:sldMk cId="3081756418" sldId="1881839178"/>
            <ac:spMk id="35" creationId="{14DAA2BB-3B31-2F37-9B16-69F3F13F9963}"/>
          </ac:spMkLst>
        </pc:spChg>
        <pc:spChg chg="add mod">
          <ac:chgData name="Anara Samambayeva" userId="40372071-4642-4757-8ccf-dba3b5920c09" providerId="ADAL" clId="{A07C9F3A-D3C2-424C-B6AD-3A39545ED130}" dt="2025-07-01T13:16:03.223" v="1130" actId="1076"/>
          <ac:spMkLst>
            <pc:docMk/>
            <pc:sldMk cId="3081756418" sldId="1881839178"/>
            <ac:spMk id="36" creationId="{C7D1FE77-00FC-F5FF-5EFE-DF4E9AB1F2FF}"/>
          </ac:spMkLst>
        </pc:spChg>
        <pc:spChg chg="add mod">
          <ac:chgData name="Anara Samambayeva" userId="40372071-4642-4757-8ccf-dba3b5920c09" providerId="ADAL" clId="{A07C9F3A-D3C2-424C-B6AD-3A39545ED130}" dt="2025-07-01T13:24:02.812" v="1203" actId="14100"/>
          <ac:spMkLst>
            <pc:docMk/>
            <pc:sldMk cId="3081756418" sldId="1881839178"/>
            <ac:spMk id="38" creationId="{DF192FB0-C4ED-AE18-4475-35807B0C51BE}"/>
          </ac:spMkLst>
        </pc:spChg>
        <pc:cxnChg chg="add mod">
          <ac:chgData name="Anara Samambayeva" userId="40372071-4642-4757-8ccf-dba3b5920c09" providerId="ADAL" clId="{A07C9F3A-D3C2-424C-B6AD-3A39545ED130}" dt="2025-07-01T13:16:08.466" v="1144" actId="1037"/>
          <ac:cxnSpMkLst>
            <pc:docMk/>
            <pc:sldMk cId="3081756418" sldId="1881839178"/>
            <ac:cxnSpMk id="37" creationId="{E2F89400-0A5A-CB52-1B8E-A6366AD27DFE}"/>
          </ac:cxnSpMkLst>
        </pc:cxnChg>
      </pc:sldChg>
      <pc:sldChg chg="modSp mod">
        <pc:chgData name="Anara Samambayeva" userId="40372071-4642-4757-8ccf-dba3b5920c09" providerId="ADAL" clId="{A07C9F3A-D3C2-424C-B6AD-3A39545ED130}" dt="2025-07-01T12:05:23.793" v="75" actId="6549"/>
        <pc:sldMkLst>
          <pc:docMk/>
          <pc:sldMk cId="2217273124" sldId="1881839179"/>
        </pc:sldMkLst>
        <pc:spChg chg="mod">
          <ac:chgData name="Anara Samambayeva" userId="40372071-4642-4757-8ccf-dba3b5920c09" providerId="ADAL" clId="{A07C9F3A-D3C2-424C-B6AD-3A39545ED130}" dt="2025-07-01T12:05:23.793" v="75" actId="6549"/>
          <ac:spMkLst>
            <pc:docMk/>
            <pc:sldMk cId="2217273124" sldId="1881839179"/>
            <ac:spMk id="6" creationId="{BD0B2DF3-E17C-5DF2-1CFB-33929EB5CDB6}"/>
          </ac:spMkLst>
        </pc:spChg>
      </pc:sldChg>
      <pc:sldChg chg="modSp mod">
        <pc:chgData name="Anara Samambayeva" userId="40372071-4642-4757-8ccf-dba3b5920c09" providerId="ADAL" clId="{A07C9F3A-D3C2-424C-B6AD-3A39545ED130}" dt="2025-07-01T12:04:31.821" v="10" actId="20577"/>
        <pc:sldMkLst>
          <pc:docMk/>
          <pc:sldMk cId="2003548377" sldId="1881839180"/>
        </pc:sldMkLst>
        <pc:spChg chg="mod">
          <ac:chgData name="Anara Samambayeva" userId="40372071-4642-4757-8ccf-dba3b5920c09" providerId="ADAL" clId="{A07C9F3A-D3C2-424C-B6AD-3A39545ED130}" dt="2025-07-01T12:03:58.732" v="9" actId="1076"/>
          <ac:spMkLst>
            <pc:docMk/>
            <pc:sldMk cId="2003548377" sldId="1881839180"/>
            <ac:spMk id="2" creationId="{FDCF14FA-3DF7-5A65-014B-05E543EFACA3}"/>
          </ac:spMkLst>
        </pc:spChg>
        <pc:spChg chg="mod">
          <ac:chgData name="Anara Samambayeva" userId="40372071-4642-4757-8ccf-dba3b5920c09" providerId="ADAL" clId="{A07C9F3A-D3C2-424C-B6AD-3A39545ED130}" dt="2025-07-01T12:04:31.821" v="10" actId="20577"/>
          <ac:spMkLst>
            <pc:docMk/>
            <pc:sldMk cId="2003548377" sldId="1881839180"/>
            <ac:spMk id="6" creationId="{2096720B-B1DB-946B-0E12-4476CC704892}"/>
          </ac:spMkLst>
        </pc:spChg>
      </pc:sldChg>
      <pc:sldChg chg="modSp mod modNotes modNotesTx">
        <pc:chgData name="Anara Samambayeva" userId="40372071-4642-4757-8ccf-dba3b5920c09" providerId="ADAL" clId="{A07C9F3A-D3C2-424C-B6AD-3A39545ED130}" dt="2025-07-02T02:52:35.756" v="2145" actId="20577"/>
        <pc:sldMkLst>
          <pc:docMk/>
          <pc:sldMk cId="158839205" sldId="1881839181"/>
        </pc:sldMkLst>
        <pc:spChg chg="mod">
          <ac:chgData name="Anara Samambayeva" userId="40372071-4642-4757-8ccf-dba3b5920c09" providerId="ADAL" clId="{A07C9F3A-D3C2-424C-B6AD-3A39545ED130}" dt="2025-07-02T01:19:00.853" v="1405" actId="20577"/>
          <ac:spMkLst>
            <pc:docMk/>
            <pc:sldMk cId="158839205" sldId="1881839181"/>
            <ac:spMk id="4" creationId="{5BA7EECA-6481-C75E-AB0B-1581C9254565}"/>
          </ac:spMkLst>
        </pc:spChg>
        <pc:spChg chg="mod">
          <ac:chgData name="Anara Samambayeva" userId="40372071-4642-4757-8ccf-dba3b5920c09" providerId="ADAL" clId="{A07C9F3A-D3C2-424C-B6AD-3A39545ED130}" dt="2025-07-01T12:21:32.505" v="658" actId="20577"/>
          <ac:spMkLst>
            <pc:docMk/>
            <pc:sldMk cId="158839205" sldId="1881839181"/>
            <ac:spMk id="15" creationId="{4B5959B6-F13D-A38D-4814-B48527E60955}"/>
          </ac:spMkLst>
        </pc:spChg>
        <pc:graphicFrameChg chg="mod modGraphic">
          <ac:chgData name="Anara Samambayeva" userId="40372071-4642-4757-8ccf-dba3b5920c09" providerId="ADAL" clId="{A07C9F3A-D3C2-424C-B6AD-3A39545ED130}" dt="2025-07-02T02:52:35.756" v="2145" actId="20577"/>
          <ac:graphicFrameMkLst>
            <pc:docMk/>
            <pc:sldMk cId="158839205" sldId="1881839181"/>
            <ac:graphicFrameMk id="2" creationId="{DBD97724-DBF9-DC45-8BBB-C84E7A461348}"/>
          </ac:graphicFrameMkLst>
        </pc:graphicFrameChg>
      </pc:sldChg>
      <pc:sldChg chg="modSp mod modNotesTx">
        <pc:chgData name="Anara Samambayeva" userId="40372071-4642-4757-8ccf-dba3b5920c09" providerId="ADAL" clId="{A07C9F3A-D3C2-424C-B6AD-3A39545ED130}" dt="2025-07-02T02:32:18.328" v="1596" actId="20577"/>
        <pc:sldMkLst>
          <pc:docMk/>
          <pc:sldMk cId="192440773" sldId="1881839185"/>
        </pc:sldMkLst>
        <pc:graphicFrameChg chg="modGraphic">
          <ac:chgData name="Anara Samambayeva" userId="40372071-4642-4757-8ccf-dba3b5920c09" providerId="ADAL" clId="{A07C9F3A-D3C2-424C-B6AD-3A39545ED130}" dt="2025-07-02T02:32:18.328" v="1596" actId="20577"/>
          <ac:graphicFrameMkLst>
            <pc:docMk/>
            <pc:sldMk cId="192440773" sldId="1881839185"/>
            <ac:graphicFrameMk id="6" creationId="{1ACCE9C0-AA70-1B0B-3330-09749362C36C}"/>
          </ac:graphicFrameMkLst>
        </pc:graphicFrameChg>
      </pc:sldChg>
      <pc:sldChg chg="modSp mod">
        <pc:chgData name="Anara Samambayeva" userId="40372071-4642-4757-8ccf-dba3b5920c09" providerId="ADAL" clId="{A07C9F3A-D3C2-424C-B6AD-3A39545ED130}" dt="2025-07-02T02:35:36.845" v="1670" actId="20577"/>
        <pc:sldMkLst>
          <pc:docMk/>
          <pc:sldMk cId="1295325559" sldId="1881839186"/>
        </pc:sldMkLst>
        <pc:spChg chg="mod">
          <ac:chgData name="Anara Samambayeva" userId="40372071-4642-4757-8ccf-dba3b5920c09" providerId="ADAL" clId="{A07C9F3A-D3C2-424C-B6AD-3A39545ED130}" dt="2025-07-02T02:35:36.845" v="1670" actId="20577"/>
          <ac:spMkLst>
            <pc:docMk/>
            <pc:sldMk cId="1295325559" sldId="1881839186"/>
            <ac:spMk id="2" creationId="{55BA28D0-9759-51E2-439D-57AEA8E58973}"/>
          </ac:spMkLst>
        </pc:spChg>
        <pc:spChg chg="mod">
          <ac:chgData name="Anara Samambayeva" userId="40372071-4642-4757-8ccf-dba3b5920c09" providerId="ADAL" clId="{A07C9F3A-D3C2-424C-B6AD-3A39545ED130}" dt="2025-07-02T02:34:15.740" v="1640" actId="20577"/>
          <ac:spMkLst>
            <pc:docMk/>
            <pc:sldMk cId="1295325559" sldId="1881839186"/>
            <ac:spMk id="13" creationId="{E36C4ED9-0529-0EDB-D6C1-D22E59685EA8}"/>
          </ac:spMkLst>
        </pc:spChg>
        <pc:graphicFrameChg chg="modGraphic">
          <ac:chgData name="Anara Samambayeva" userId="40372071-4642-4757-8ccf-dba3b5920c09" providerId="ADAL" clId="{A07C9F3A-D3C2-424C-B6AD-3A39545ED130}" dt="2025-07-02T02:35:29.999" v="1660" actId="20577"/>
          <ac:graphicFrameMkLst>
            <pc:docMk/>
            <pc:sldMk cId="1295325559" sldId="1881839186"/>
            <ac:graphicFrameMk id="6" creationId="{DE31AF06-C94C-1F3A-246C-3381755B69F1}"/>
          </ac:graphicFrameMkLst>
        </pc:graphicFrameChg>
      </pc:sldChg>
      <pc:sldChg chg="modSp mod">
        <pc:chgData name="Anara Samambayeva" userId="40372071-4642-4757-8ccf-dba3b5920c09" providerId="ADAL" clId="{A07C9F3A-D3C2-424C-B6AD-3A39545ED130}" dt="2025-07-02T01:53:46.259" v="1549" actId="20577"/>
        <pc:sldMkLst>
          <pc:docMk/>
          <pc:sldMk cId="3428982735" sldId="1881839187"/>
        </pc:sldMkLst>
        <pc:spChg chg="mod">
          <ac:chgData name="Anara Samambayeva" userId="40372071-4642-4757-8ccf-dba3b5920c09" providerId="ADAL" clId="{A07C9F3A-D3C2-424C-B6AD-3A39545ED130}" dt="2025-07-02T01:53:46.259" v="1549" actId="20577"/>
          <ac:spMkLst>
            <pc:docMk/>
            <pc:sldMk cId="3428982735" sldId="1881839187"/>
            <ac:spMk id="18" creationId="{06406921-281B-11C7-EDCE-8EC9E0A3CB5B}"/>
          </ac:spMkLst>
        </pc:spChg>
      </pc:sldChg>
      <pc:sldChg chg="modSp mod">
        <pc:chgData name="Anara Samambayeva" userId="40372071-4642-4757-8ccf-dba3b5920c09" providerId="ADAL" clId="{A07C9F3A-D3C2-424C-B6AD-3A39545ED130}" dt="2025-07-02T02:19:37.987" v="1577" actId="6549"/>
        <pc:sldMkLst>
          <pc:docMk/>
          <pc:sldMk cId="3115535368" sldId="1881839188"/>
        </pc:sldMkLst>
        <pc:graphicFrameChg chg="modGraphic">
          <ac:chgData name="Anara Samambayeva" userId="40372071-4642-4757-8ccf-dba3b5920c09" providerId="ADAL" clId="{A07C9F3A-D3C2-424C-B6AD-3A39545ED130}" dt="2025-07-02T02:19:37.987" v="1577" actId="6549"/>
          <ac:graphicFrameMkLst>
            <pc:docMk/>
            <pc:sldMk cId="3115535368" sldId="1881839188"/>
            <ac:graphicFrameMk id="2" creationId="{D534602A-79A0-2701-1165-E8EC2A972A10}"/>
          </ac:graphicFrameMkLst>
        </pc:graphicFrameChg>
      </pc:sldChg>
      <pc:sldChg chg="modSp mod">
        <pc:chgData name="Anara Samambayeva" userId="40372071-4642-4757-8ccf-dba3b5920c09" providerId="ADAL" clId="{A07C9F3A-D3C2-424C-B6AD-3A39545ED130}" dt="2025-07-02T01:51:14.402" v="1522" actId="20577"/>
        <pc:sldMkLst>
          <pc:docMk/>
          <pc:sldMk cId="347289165" sldId="1881839189"/>
        </pc:sldMkLst>
        <pc:spChg chg="mod">
          <ac:chgData name="Anara Samambayeva" userId="40372071-4642-4757-8ccf-dba3b5920c09" providerId="ADAL" clId="{A07C9F3A-D3C2-424C-B6AD-3A39545ED130}" dt="2025-07-02T01:51:14.402" v="1522" actId="20577"/>
          <ac:spMkLst>
            <pc:docMk/>
            <pc:sldMk cId="347289165" sldId="1881839189"/>
            <ac:spMk id="2" creationId="{1818CAF2-0F90-04CF-269D-E666AD70101F}"/>
          </ac:spMkLst>
        </pc:spChg>
      </pc:sldChg>
      <pc:sldChg chg="modSp mod">
        <pc:chgData name="Anara Samambayeva" userId="40372071-4642-4757-8ccf-dba3b5920c09" providerId="ADAL" clId="{A07C9F3A-D3C2-424C-B6AD-3A39545ED130}" dt="2025-07-02T02:22:43.379" v="1578" actId="20577"/>
        <pc:sldMkLst>
          <pc:docMk/>
          <pc:sldMk cId="2204379559" sldId="1881839192"/>
        </pc:sldMkLst>
        <pc:spChg chg="mod">
          <ac:chgData name="Anara Samambayeva" userId="40372071-4642-4757-8ccf-dba3b5920c09" providerId="ADAL" clId="{A07C9F3A-D3C2-424C-B6AD-3A39545ED130}" dt="2025-07-02T01:40:29.171" v="1434" actId="20577"/>
          <ac:spMkLst>
            <pc:docMk/>
            <pc:sldMk cId="2204379559" sldId="1881839192"/>
            <ac:spMk id="21" creationId="{7951CB8E-A473-3FE3-2CC6-62D05E5884D0}"/>
          </ac:spMkLst>
        </pc:spChg>
        <pc:spChg chg="mod">
          <ac:chgData name="Anara Samambayeva" userId="40372071-4642-4757-8ccf-dba3b5920c09" providerId="ADAL" clId="{A07C9F3A-D3C2-424C-B6AD-3A39545ED130}" dt="2025-07-02T02:22:43.379" v="1578" actId="20577"/>
          <ac:spMkLst>
            <pc:docMk/>
            <pc:sldMk cId="2204379559" sldId="1881839192"/>
            <ac:spMk id="31" creationId="{778A0B30-7A98-4399-06D0-54F007568650}"/>
          </ac:spMkLst>
        </pc:spChg>
      </pc:sldChg>
      <pc:sldChg chg="modSp mod">
        <pc:chgData name="Anara Samambayeva" userId="40372071-4642-4757-8ccf-dba3b5920c09" providerId="ADAL" clId="{A07C9F3A-D3C2-424C-B6AD-3A39545ED130}" dt="2025-07-01T12:07:16.097" v="90" actId="20577"/>
        <pc:sldMkLst>
          <pc:docMk/>
          <pc:sldMk cId="3503157788" sldId="1881839193"/>
        </pc:sldMkLst>
        <pc:spChg chg="mod">
          <ac:chgData name="Anara Samambayeva" userId="40372071-4642-4757-8ccf-dba3b5920c09" providerId="ADAL" clId="{A07C9F3A-D3C2-424C-B6AD-3A39545ED130}" dt="2025-07-01T12:06:33.435" v="85" actId="20577"/>
          <ac:spMkLst>
            <pc:docMk/>
            <pc:sldMk cId="3503157788" sldId="1881839193"/>
            <ac:spMk id="32" creationId="{11EED09D-C28C-A617-D885-33708B0CDA19}"/>
          </ac:spMkLst>
        </pc:spChg>
        <pc:spChg chg="mod">
          <ac:chgData name="Anara Samambayeva" userId="40372071-4642-4757-8ccf-dba3b5920c09" providerId="ADAL" clId="{A07C9F3A-D3C2-424C-B6AD-3A39545ED130}" dt="2025-07-01T12:07:16.097" v="90" actId="20577"/>
          <ac:spMkLst>
            <pc:docMk/>
            <pc:sldMk cId="3503157788" sldId="1881839193"/>
            <ac:spMk id="34" creationId="{C767CD9E-555F-8B1E-5C1F-ACBC636C6349}"/>
          </ac:spMkLst>
        </pc:spChg>
        <pc:spChg chg="mod">
          <ac:chgData name="Anara Samambayeva" userId="40372071-4642-4757-8ccf-dba3b5920c09" providerId="ADAL" clId="{A07C9F3A-D3C2-424C-B6AD-3A39545ED130}" dt="2025-07-01T12:06:56.817" v="89" actId="20577"/>
          <ac:spMkLst>
            <pc:docMk/>
            <pc:sldMk cId="3503157788" sldId="1881839193"/>
            <ac:spMk id="39" creationId="{52E5FB50-CECD-1AC1-B603-7736DBAAE556}"/>
          </ac:spMkLst>
        </pc:spChg>
      </pc:sldChg>
      <pc:sldChg chg="delSp modSp mod">
        <pc:chgData name="Anara Samambayeva" userId="40372071-4642-4757-8ccf-dba3b5920c09" providerId="ADAL" clId="{A07C9F3A-D3C2-424C-B6AD-3A39545ED130}" dt="2025-07-01T12:09:46.261" v="139" actId="20577"/>
        <pc:sldMkLst>
          <pc:docMk/>
          <pc:sldMk cId="3372674906" sldId="1881839194"/>
        </pc:sldMkLst>
        <pc:spChg chg="del topLvl">
          <ac:chgData name="Anara Samambayeva" userId="40372071-4642-4757-8ccf-dba3b5920c09" providerId="ADAL" clId="{A07C9F3A-D3C2-424C-B6AD-3A39545ED130}" dt="2025-07-01T12:07:46.197" v="95" actId="478"/>
          <ac:spMkLst>
            <pc:docMk/>
            <pc:sldMk cId="3372674906" sldId="1881839194"/>
            <ac:spMk id="56" creationId="{46736BFE-5CD4-0EB5-5F7D-0C683D6A52D6}"/>
          </ac:spMkLst>
        </pc:spChg>
        <pc:spChg chg="mod topLvl">
          <ac:chgData name="Anara Samambayeva" userId="40372071-4642-4757-8ccf-dba3b5920c09" providerId="ADAL" clId="{A07C9F3A-D3C2-424C-B6AD-3A39545ED130}" dt="2025-07-01T12:07:54.846" v="99" actId="20577"/>
          <ac:spMkLst>
            <pc:docMk/>
            <pc:sldMk cId="3372674906" sldId="1881839194"/>
            <ac:spMk id="57" creationId="{CFA727C7-E9C7-5543-855E-41B60C4F519C}"/>
          </ac:spMkLst>
        </pc:spChg>
        <pc:spChg chg="mod">
          <ac:chgData name="Anara Samambayeva" userId="40372071-4642-4757-8ccf-dba3b5920c09" providerId="ADAL" clId="{A07C9F3A-D3C2-424C-B6AD-3A39545ED130}" dt="2025-07-01T12:09:46.261" v="139" actId="20577"/>
          <ac:spMkLst>
            <pc:docMk/>
            <pc:sldMk cId="3372674906" sldId="1881839194"/>
            <ac:spMk id="66" creationId="{EB1519AB-3CA2-595D-78DB-C9ADF03F901E}"/>
          </ac:spMkLst>
        </pc:spChg>
        <pc:spChg chg="mod">
          <ac:chgData name="Anara Samambayeva" userId="40372071-4642-4757-8ccf-dba3b5920c09" providerId="ADAL" clId="{A07C9F3A-D3C2-424C-B6AD-3A39545ED130}" dt="2025-07-01T12:07:29.398" v="94" actId="20577"/>
          <ac:spMkLst>
            <pc:docMk/>
            <pc:sldMk cId="3372674906" sldId="1881839194"/>
            <ac:spMk id="67" creationId="{F2D0A763-A55F-B4C7-9F02-C79BAC03A5AB}"/>
          </ac:spMkLst>
        </pc:spChg>
        <pc:spChg chg="mod">
          <ac:chgData name="Anara Samambayeva" userId="40372071-4642-4757-8ccf-dba3b5920c09" providerId="ADAL" clId="{A07C9F3A-D3C2-424C-B6AD-3A39545ED130}" dt="2025-07-01T12:08:12.529" v="104"/>
          <ac:spMkLst>
            <pc:docMk/>
            <pc:sldMk cId="3372674906" sldId="1881839194"/>
            <ac:spMk id="69" creationId="{92FA9094-874C-76D6-7D1A-59DE79C6C479}"/>
          </ac:spMkLst>
        </pc:spChg>
        <pc:grpChg chg="del">
          <ac:chgData name="Anara Samambayeva" userId="40372071-4642-4757-8ccf-dba3b5920c09" providerId="ADAL" clId="{A07C9F3A-D3C2-424C-B6AD-3A39545ED130}" dt="2025-07-01T12:07:46.197" v="95" actId="478"/>
          <ac:grpSpMkLst>
            <pc:docMk/>
            <pc:sldMk cId="3372674906" sldId="1881839194"/>
            <ac:grpSpMk id="55" creationId="{FD92D25E-D4DD-F5AB-FF55-D262EAAF65BC}"/>
          </ac:grpSpMkLst>
        </pc:grpChg>
      </pc:sldChg>
      <pc:sldChg chg="modSp mod">
        <pc:chgData name="Anara Samambayeva" userId="40372071-4642-4757-8ccf-dba3b5920c09" providerId="ADAL" clId="{A07C9F3A-D3C2-424C-B6AD-3A39545ED130}" dt="2025-07-01T12:10:50.703" v="151" actId="20577"/>
        <pc:sldMkLst>
          <pc:docMk/>
          <pc:sldMk cId="1064475647" sldId="1881839195"/>
        </pc:sldMkLst>
        <pc:spChg chg="mod">
          <ac:chgData name="Anara Samambayeva" userId="40372071-4642-4757-8ccf-dba3b5920c09" providerId="ADAL" clId="{A07C9F3A-D3C2-424C-B6AD-3A39545ED130}" dt="2025-07-01T12:10:50.703" v="151" actId="20577"/>
          <ac:spMkLst>
            <pc:docMk/>
            <pc:sldMk cId="1064475647" sldId="1881839195"/>
            <ac:spMk id="10" creationId="{5BF3AB80-29A7-2B56-CAA7-D18E6A4DCC0F}"/>
          </ac:spMkLst>
        </pc:spChg>
        <pc:spChg chg="mod">
          <ac:chgData name="Anara Samambayeva" userId="40372071-4642-4757-8ccf-dba3b5920c09" providerId="ADAL" clId="{A07C9F3A-D3C2-424C-B6AD-3A39545ED130}" dt="2025-07-01T12:10:11.683" v="146" actId="20577"/>
          <ac:spMkLst>
            <pc:docMk/>
            <pc:sldMk cId="1064475647" sldId="1881839195"/>
            <ac:spMk id="13" creationId="{AD35869B-F7B1-D6A6-C43F-E8323B3588FE}"/>
          </ac:spMkLst>
        </pc:spChg>
      </pc:sldChg>
      <pc:sldChg chg="modSp mod">
        <pc:chgData name="Anara Samambayeva" userId="40372071-4642-4757-8ccf-dba3b5920c09" providerId="ADAL" clId="{A07C9F3A-D3C2-424C-B6AD-3A39545ED130}" dt="2025-07-01T12:13:33.598" v="263" actId="20577"/>
        <pc:sldMkLst>
          <pc:docMk/>
          <pc:sldMk cId="3224873960" sldId="1881839196"/>
        </pc:sldMkLst>
        <pc:spChg chg="mod">
          <ac:chgData name="Anara Samambayeva" userId="40372071-4642-4757-8ccf-dba3b5920c09" providerId="ADAL" clId="{A07C9F3A-D3C2-424C-B6AD-3A39545ED130}" dt="2025-07-01T12:11:12.746" v="155" actId="20577"/>
          <ac:spMkLst>
            <pc:docMk/>
            <pc:sldMk cId="3224873960" sldId="1881839196"/>
            <ac:spMk id="25" creationId="{9974D23B-2E7C-538A-BD62-5337FAF09D47}"/>
          </ac:spMkLst>
        </pc:spChg>
        <pc:spChg chg="mod">
          <ac:chgData name="Anara Samambayeva" userId="40372071-4642-4757-8ccf-dba3b5920c09" providerId="ADAL" clId="{A07C9F3A-D3C2-424C-B6AD-3A39545ED130}" dt="2025-07-01T12:13:07.268" v="259" actId="20577"/>
          <ac:spMkLst>
            <pc:docMk/>
            <pc:sldMk cId="3224873960" sldId="1881839196"/>
            <ac:spMk id="29" creationId="{D32F7563-DACE-AA21-9D96-52C49CAB2CEF}"/>
          </ac:spMkLst>
        </pc:spChg>
        <pc:spChg chg="mod">
          <ac:chgData name="Anara Samambayeva" userId="40372071-4642-4757-8ccf-dba3b5920c09" providerId="ADAL" clId="{A07C9F3A-D3C2-424C-B6AD-3A39545ED130}" dt="2025-07-01T12:13:33.598" v="263" actId="20577"/>
          <ac:spMkLst>
            <pc:docMk/>
            <pc:sldMk cId="3224873960" sldId="1881839196"/>
            <ac:spMk id="33" creationId="{66C50335-261C-8027-6768-12B6BCE2EDAA}"/>
          </ac:spMkLst>
        </pc:spChg>
        <pc:spChg chg="mod">
          <ac:chgData name="Anara Samambayeva" userId="40372071-4642-4757-8ccf-dba3b5920c09" providerId="ADAL" clId="{A07C9F3A-D3C2-424C-B6AD-3A39545ED130}" dt="2025-07-01T12:12:12.726" v="176" actId="20577"/>
          <ac:spMkLst>
            <pc:docMk/>
            <pc:sldMk cId="3224873960" sldId="1881839196"/>
            <ac:spMk id="39" creationId="{79B70C56-741B-83DB-2FC3-23E3EC9BCD8E}"/>
          </ac:spMkLst>
        </pc:spChg>
      </pc:sldChg>
      <pc:sldChg chg="modSp mod">
        <pc:chgData name="Anara Samambayeva" userId="40372071-4642-4757-8ccf-dba3b5920c09" providerId="ADAL" clId="{A07C9F3A-D3C2-424C-B6AD-3A39545ED130}" dt="2025-07-01T13:02:08.299" v="1060" actId="14100"/>
        <pc:sldMkLst>
          <pc:docMk/>
          <pc:sldMk cId="546881440" sldId="1881839198"/>
        </pc:sldMkLst>
        <pc:spChg chg="mod">
          <ac:chgData name="Anara Samambayeva" userId="40372071-4642-4757-8ccf-dba3b5920c09" providerId="ADAL" clId="{A07C9F3A-D3C2-424C-B6AD-3A39545ED130}" dt="2025-07-01T12:55:53.402" v="936" actId="120"/>
          <ac:spMkLst>
            <pc:docMk/>
            <pc:sldMk cId="546881440" sldId="1881839198"/>
            <ac:spMk id="3" creationId="{FDB47392-1CB0-393F-0CD4-7C884EF3CC0C}"/>
          </ac:spMkLst>
        </pc:spChg>
        <pc:spChg chg="mod">
          <ac:chgData name="Anara Samambayeva" userId="40372071-4642-4757-8ccf-dba3b5920c09" providerId="ADAL" clId="{A07C9F3A-D3C2-424C-B6AD-3A39545ED130}" dt="2025-07-01T13:02:08.299" v="1060" actId="14100"/>
          <ac:spMkLst>
            <pc:docMk/>
            <pc:sldMk cId="546881440" sldId="1881839198"/>
            <ac:spMk id="4" creationId="{01C3658C-BD2C-DD76-1E44-E59820EBCBA2}"/>
          </ac:spMkLst>
        </pc:spChg>
        <pc:spChg chg="mod">
          <ac:chgData name="Anara Samambayeva" userId="40372071-4642-4757-8ccf-dba3b5920c09" providerId="ADAL" clId="{A07C9F3A-D3C2-424C-B6AD-3A39545ED130}" dt="2025-07-01T13:01:50.845" v="1058" actId="403"/>
          <ac:spMkLst>
            <pc:docMk/>
            <pc:sldMk cId="546881440" sldId="1881839198"/>
            <ac:spMk id="5" creationId="{E07AE3AE-1C2C-FFBE-0204-468834158C71}"/>
          </ac:spMkLst>
        </pc:spChg>
        <pc:spChg chg="mod">
          <ac:chgData name="Anara Samambayeva" userId="40372071-4642-4757-8ccf-dba3b5920c09" providerId="ADAL" clId="{A07C9F3A-D3C2-424C-B6AD-3A39545ED130}" dt="2025-07-01T12:55:27.093" v="935" actId="120"/>
          <ac:spMkLst>
            <pc:docMk/>
            <pc:sldMk cId="546881440" sldId="1881839198"/>
            <ac:spMk id="6" creationId="{6CD50F12-B256-ACEE-9E9A-B755D2DB2E87}"/>
          </ac:spMkLst>
        </pc:spChg>
      </pc:sldChg>
      <pc:sldChg chg="modSp mod">
        <pc:chgData name="Anara Samambayeva" userId="40372071-4642-4757-8ccf-dba3b5920c09" providerId="ADAL" clId="{A07C9F3A-D3C2-424C-B6AD-3A39545ED130}" dt="2025-07-01T12:57:46.305" v="1055" actId="404"/>
        <pc:sldMkLst>
          <pc:docMk/>
          <pc:sldMk cId="4192207144" sldId="1881839199"/>
        </pc:sldMkLst>
        <pc:spChg chg="mod">
          <ac:chgData name="Anara Samambayeva" userId="40372071-4642-4757-8ccf-dba3b5920c09" providerId="ADAL" clId="{A07C9F3A-D3C2-424C-B6AD-3A39545ED130}" dt="2025-07-01T12:57:46.305" v="1055" actId="404"/>
          <ac:spMkLst>
            <pc:docMk/>
            <pc:sldMk cId="4192207144" sldId="1881839199"/>
            <ac:spMk id="12" creationId="{03DA6001-6695-696F-95AD-633B82C70F6E}"/>
          </ac:spMkLst>
        </pc:spChg>
        <pc:spChg chg="mod">
          <ac:chgData name="Anara Samambayeva" userId="40372071-4642-4757-8ccf-dba3b5920c09" providerId="ADAL" clId="{A07C9F3A-D3C2-424C-B6AD-3A39545ED130}" dt="2025-07-01T12:55:10.069" v="933" actId="120"/>
          <ac:spMkLst>
            <pc:docMk/>
            <pc:sldMk cId="4192207144" sldId="1881839199"/>
            <ac:spMk id="15" creationId="{496B4BAE-2306-AC0D-A73A-0BDCCAF32570}"/>
          </ac:spMkLst>
        </pc:spChg>
      </pc:sldChg>
      <pc:sldChg chg="modSp mod">
        <pc:chgData name="Anara Samambayeva" userId="40372071-4642-4757-8ccf-dba3b5920c09" providerId="ADAL" clId="{A07C9F3A-D3C2-424C-B6AD-3A39545ED130}" dt="2025-07-01T13:00:05.558" v="1056" actId="404"/>
        <pc:sldMkLst>
          <pc:docMk/>
          <pc:sldMk cId="3729098937" sldId="1881839200"/>
        </pc:sldMkLst>
        <pc:spChg chg="mod">
          <ac:chgData name="Anara Samambayeva" userId="40372071-4642-4757-8ccf-dba3b5920c09" providerId="ADAL" clId="{A07C9F3A-D3C2-424C-B6AD-3A39545ED130}" dt="2025-07-01T13:00:05.558" v="1056" actId="404"/>
          <ac:spMkLst>
            <pc:docMk/>
            <pc:sldMk cId="3729098937" sldId="1881839200"/>
            <ac:spMk id="3" creationId="{C2AC34F9-EE68-AB46-24F1-225618C655D8}"/>
          </ac:spMkLst>
        </pc:spChg>
        <pc:spChg chg="mod">
          <ac:chgData name="Anara Samambayeva" userId="40372071-4642-4757-8ccf-dba3b5920c09" providerId="ADAL" clId="{A07C9F3A-D3C2-424C-B6AD-3A39545ED130}" dt="2025-07-01T12:49:57.895" v="905" actId="20577"/>
          <ac:spMkLst>
            <pc:docMk/>
            <pc:sldMk cId="3729098937" sldId="1881839200"/>
            <ac:spMk id="6" creationId="{E3BC8C80-AD73-12A1-A634-5B4E25D0D7DE}"/>
          </ac:spMkLst>
        </pc:spChg>
      </pc:sldChg>
      <pc:sldChg chg="modSp mod">
        <pc:chgData name="Anara Samambayeva" userId="40372071-4642-4757-8ccf-dba3b5920c09" providerId="ADAL" clId="{A07C9F3A-D3C2-424C-B6AD-3A39545ED130}" dt="2025-07-01T12:50:32.875" v="922" actId="20577"/>
        <pc:sldMkLst>
          <pc:docMk/>
          <pc:sldMk cId="543987747" sldId="1881839201"/>
        </pc:sldMkLst>
        <pc:spChg chg="mod">
          <ac:chgData name="Anara Samambayeva" userId="40372071-4642-4757-8ccf-dba3b5920c09" providerId="ADAL" clId="{A07C9F3A-D3C2-424C-B6AD-3A39545ED130}" dt="2025-07-01T12:50:25.985" v="918" actId="6549"/>
          <ac:spMkLst>
            <pc:docMk/>
            <pc:sldMk cId="543987747" sldId="1881839201"/>
            <ac:spMk id="13" creationId="{FFD11733-6923-9A37-74A5-EA2C6CFCFC36}"/>
          </ac:spMkLst>
        </pc:spChg>
        <pc:spChg chg="mod">
          <ac:chgData name="Anara Samambayeva" userId="40372071-4642-4757-8ccf-dba3b5920c09" providerId="ADAL" clId="{A07C9F3A-D3C2-424C-B6AD-3A39545ED130}" dt="2025-07-01T12:50:32.875" v="922" actId="20577"/>
          <ac:spMkLst>
            <pc:docMk/>
            <pc:sldMk cId="543987747" sldId="1881839201"/>
            <ac:spMk id="20" creationId="{CBD395CE-65E4-B11D-C186-3131CF2A5118}"/>
          </ac:spMkLst>
        </pc:spChg>
      </pc:sldChg>
      <pc:sldChg chg="modSp del mod">
        <pc:chgData name="Anara Samambayeva" userId="40372071-4642-4757-8ccf-dba3b5920c09" providerId="ADAL" clId="{A07C9F3A-D3C2-424C-B6AD-3A39545ED130}" dt="2025-07-01T13:04:11.778" v="1062" actId="47"/>
        <pc:sldMkLst>
          <pc:docMk/>
          <pc:sldMk cId="1230013452" sldId="1881839202"/>
        </pc:sldMkLst>
        <pc:spChg chg="mod">
          <ac:chgData name="Anara Samambayeva" userId="40372071-4642-4757-8ccf-dba3b5920c09" providerId="ADAL" clId="{A07C9F3A-D3C2-424C-B6AD-3A39545ED130}" dt="2025-07-01T12:50:55.420" v="927"/>
          <ac:spMkLst>
            <pc:docMk/>
            <pc:sldMk cId="1230013452" sldId="1881839202"/>
            <ac:spMk id="10" creationId="{8F7678DB-2878-3E62-D32B-34CA192A6E7F}"/>
          </ac:spMkLst>
        </pc:spChg>
        <pc:spChg chg="mod">
          <ac:chgData name="Anara Samambayeva" userId="40372071-4642-4757-8ccf-dba3b5920c09" providerId="ADAL" clId="{A07C9F3A-D3C2-424C-B6AD-3A39545ED130}" dt="2025-07-01T12:50:50.807" v="926" actId="20577"/>
          <ac:spMkLst>
            <pc:docMk/>
            <pc:sldMk cId="1230013452" sldId="1881839202"/>
            <ac:spMk id="13" creationId="{7D7340BA-2B2F-D9D3-AE0A-EE930789C0A7}"/>
          </ac:spMkLst>
        </pc:spChg>
        <pc:spChg chg="mod">
          <ac:chgData name="Anara Samambayeva" userId="40372071-4642-4757-8ccf-dba3b5920c09" providerId="ADAL" clId="{A07C9F3A-D3C2-424C-B6AD-3A39545ED130}" dt="2025-07-01T12:51:00.267" v="928"/>
          <ac:spMkLst>
            <pc:docMk/>
            <pc:sldMk cId="1230013452" sldId="1881839202"/>
            <ac:spMk id="17" creationId="{5D6A4612-D7F1-9929-BB0B-5691F9184C73}"/>
          </ac:spMkLst>
        </pc:spChg>
      </pc:sldChg>
      <pc:sldChg chg="modSp mod">
        <pc:chgData name="Anara Samambayeva" userId="40372071-4642-4757-8ccf-dba3b5920c09" providerId="ADAL" clId="{A07C9F3A-D3C2-424C-B6AD-3A39545ED130}" dt="2025-07-01T12:49:10.311" v="895" actId="1076"/>
        <pc:sldMkLst>
          <pc:docMk/>
          <pc:sldMk cId="2075895368" sldId="1881839216"/>
        </pc:sldMkLst>
        <pc:spChg chg="mod">
          <ac:chgData name="Anara Samambayeva" userId="40372071-4642-4757-8ccf-dba3b5920c09" providerId="ADAL" clId="{A07C9F3A-D3C2-424C-B6AD-3A39545ED130}" dt="2025-07-01T12:48:41.483" v="889" actId="1076"/>
          <ac:spMkLst>
            <pc:docMk/>
            <pc:sldMk cId="2075895368" sldId="1881839216"/>
            <ac:spMk id="16" creationId="{9977EDF7-AF92-46A6-6BC4-09F4D9810300}"/>
          </ac:spMkLst>
        </pc:spChg>
        <pc:spChg chg="mod">
          <ac:chgData name="Anara Samambayeva" userId="40372071-4642-4757-8ccf-dba3b5920c09" providerId="ADAL" clId="{A07C9F3A-D3C2-424C-B6AD-3A39545ED130}" dt="2025-07-01T12:48:57.539" v="893" actId="403"/>
          <ac:spMkLst>
            <pc:docMk/>
            <pc:sldMk cId="2075895368" sldId="1881839216"/>
            <ac:spMk id="18" creationId="{C04641CA-E031-E026-856B-BE1970B45697}"/>
          </ac:spMkLst>
        </pc:spChg>
        <pc:spChg chg="mod">
          <ac:chgData name="Anara Samambayeva" userId="40372071-4642-4757-8ccf-dba3b5920c09" providerId="ADAL" clId="{A07C9F3A-D3C2-424C-B6AD-3A39545ED130}" dt="2025-07-01T12:49:10.311" v="895" actId="1076"/>
          <ac:spMkLst>
            <pc:docMk/>
            <pc:sldMk cId="2075895368" sldId="1881839216"/>
            <ac:spMk id="19" creationId="{470D133A-0082-D152-AC9E-6E03690117C6}"/>
          </ac:spMkLst>
        </pc:spChg>
        <pc:spChg chg="mod">
          <ac:chgData name="Anara Samambayeva" userId="40372071-4642-4757-8ccf-dba3b5920c09" providerId="ADAL" clId="{A07C9F3A-D3C2-424C-B6AD-3A39545ED130}" dt="2025-07-01T12:48:49.909" v="891" actId="403"/>
          <ac:spMkLst>
            <pc:docMk/>
            <pc:sldMk cId="2075895368" sldId="1881839216"/>
            <ac:spMk id="22" creationId="{09823BE1-A3CC-B4E8-1817-25FA3222A8EA}"/>
          </ac:spMkLst>
        </pc:spChg>
      </pc:sldChg>
      <pc:sldChg chg="modSp mod">
        <pc:chgData name="Anara Samambayeva" userId="40372071-4642-4757-8ccf-dba3b5920c09" providerId="ADAL" clId="{A07C9F3A-D3C2-424C-B6AD-3A39545ED130}" dt="2025-07-01T12:20:59.444" v="636" actId="20577"/>
        <pc:sldMkLst>
          <pc:docMk/>
          <pc:sldMk cId="647883085" sldId="1881839218"/>
        </pc:sldMkLst>
        <pc:spChg chg="mod">
          <ac:chgData name="Anara Samambayeva" userId="40372071-4642-4757-8ccf-dba3b5920c09" providerId="ADAL" clId="{A07C9F3A-D3C2-424C-B6AD-3A39545ED130}" dt="2025-07-01T12:19:21.996" v="567" actId="20577"/>
          <ac:spMkLst>
            <pc:docMk/>
            <pc:sldMk cId="647883085" sldId="1881839218"/>
            <ac:spMk id="240" creationId="{0A70E3EC-87BA-4D7F-183D-F164183A8CC7}"/>
          </ac:spMkLst>
        </pc:spChg>
        <pc:spChg chg="mod">
          <ac:chgData name="Anara Samambayeva" userId="40372071-4642-4757-8ccf-dba3b5920c09" providerId="ADAL" clId="{A07C9F3A-D3C2-424C-B6AD-3A39545ED130}" dt="2025-07-01T12:20:59.444" v="636" actId="20577"/>
          <ac:spMkLst>
            <pc:docMk/>
            <pc:sldMk cId="647883085" sldId="1881839218"/>
            <ac:spMk id="246" creationId="{0B201130-1CBE-4717-9882-C8DA87228D1F}"/>
          </ac:spMkLst>
        </pc:spChg>
      </pc:sldChg>
    </pc:docChg>
  </pc:docChgLst>
  <pc:docChgLst>
    <pc:chgData name="Alibek Sembayev" userId="57550941-7423-4d73-8cb1-e50f955053c2" providerId="ADAL" clId="{5F4800C4-3937-43A0-A2EE-3ABB67967EFE}"/>
    <pc:docChg chg="undo custSel addSld delSld modSld sldOrd">
      <pc:chgData name="Alibek Sembayev" userId="57550941-7423-4d73-8cb1-e50f955053c2" providerId="ADAL" clId="{5F4800C4-3937-43A0-A2EE-3ABB67967EFE}" dt="2025-06-04T12:14:08.968" v="1330" actId="478"/>
      <pc:docMkLst>
        <pc:docMk/>
      </pc:docMkLst>
      <pc:sldChg chg="modSp mod">
        <pc:chgData name="Alibek Sembayev" userId="57550941-7423-4d73-8cb1-e50f955053c2" providerId="ADAL" clId="{5F4800C4-3937-43A0-A2EE-3ABB67967EFE}" dt="2025-06-04T10:44:17.800" v="415" actId="20577"/>
        <pc:sldMkLst>
          <pc:docMk/>
          <pc:sldMk cId="3859523569" sldId="316"/>
        </pc:sldMkLst>
        <pc:spChg chg="mod">
          <ac:chgData name="Alibek Sembayev" userId="57550941-7423-4d73-8cb1-e50f955053c2" providerId="ADAL" clId="{5F4800C4-3937-43A0-A2EE-3ABB67967EFE}" dt="2025-06-04T10:28:48.772" v="354"/>
          <ac:spMkLst>
            <pc:docMk/>
            <pc:sldMk cId="3859523569" sldId="316"/>
            <ac:spMk id="8" creationId="{01C0F2D9-589A-5443-F977-6038BD06B4BD}"/>
          </ac:spMkLst>
        </pc:spChg>
        <pc:spChg chg="mod">
          <ac:chgData name="Alibek Sembayev" userId="57550941-7423-4d73-8cb1-e50f955053c2" providerId="ADAL" clId="{5F4800C4-3937-43A0-A2EE-3ABB67967EFE}" dt="2025-06-04T10:44:17.800" v="415" actId="20577"/>
          <ac:spMkLst>
            <pc:docMk/>
            <pc:sldMk cId="3859523569" sldId="316"/>
            <ac:spMk id="9" creationId="{73D1D9F3-B54E-A3B3-A03E-0531EA82513E}"/>
          </ac:spMkLst>
        </pc:spChg>
      </pc:sldChg>
      <pc:sldChg chg="addSp modSp mod">
        <pc:chgData name="Alibek Sembayev" userId="57550941-7423-4d73-8cb1-e50f955053c2" providerId="ADAL" clId="{5F4800C4-3937-43A0-A2EE-3ABB67967EFE}" dt="2025-06-04T10:44:33.827" v="420"/>
        <pc:sldMkLst>
          <pc:docMk/>
          <pc:sldMk cId="3349765072" sldId="339"/>
        </pc:sldMkLst>
        <pc:spChg chg="add mod">
          <ac:chgData name="Alibek Sembayev" userId="57550941-7423-4d73-8cb1-e50f955053c2" providerId="ADAL" clId="{5F4800C4-3937-43A0-A2EE-3ABB67967EFE}" dt="2025-06-04T10:44:30.825" v="419" actId="21"/>
          <ac:spMkLst>
            <pc:docMk/>
            <pc:sldMk cId="3349765072" sldId="339"/>
            <ac:spMk id="3" creationId="{438536EF-F436-E7D2-A5B3-F6FF7BBBB82C}"/>
          </ac:spMkLst>
        </pc:spChg>
        <pc:spChg chg="add mod">
          <ac:chgData name="Alibek Sembayev" userId="57550941-7423-4d73-8cb1-e50f955053c2" providerId="ADAL" clId="{5F4800C4-3937-43A0-A2EE-3ABB67967EFE}" dt="2025-06-04T10:44:33.827" v="420"/>
          <ac:spMkLst>
            <pc:docMk/>
            <pc:sldMk cId="3349765072" sldId="339"/>
            <ac:spMk id="6" creationId="{AA00E964-1916-9B52-D69F-C719DD277BD3}"/>
          </ac:spMkLst>
        </pc:spChg>
        <pc:spChg chg="add mod">
          <ac:chgData name="Alibek Sembayev" userId="57550941-7423-4d73-8cb1-e50f955053c2" providerId="ADAL" clId="{5F4800C4-3937-43A0-A2EE-3ABB67967EFE}" dt="2025-06-04T10:23:42.109" v="332" actId="1076"/>
          <ac:spMkLst>
            <pc:docMk/>
            <pc:sldMk cId="3349765072" sldId="339"/>
            <ac:spMk id="7" creationId="{3846D449-B239-877E-131B-3219EE30732B}"/>
          </ac:spMkLst>
        </pc:spChg>
        <pc:spChg chg="mod">
          <ac:chgData name="Alibek Sembayev" userId="57550941-7423-4d73-8cb1-e50f955053c2" providerId="ADAL" clId="{5F4800C4-3937-43A0-A2EE-3ABB67967EFE}" dt="2025-06-04T10:16:06.786" v="247" actId="20577"/>
          <ac:spMkLst>
            <pc:docMk/>
            <pc:sldMk cId="3349765072" sldId="339"/>
            <ac:spMk id="8" creationId="{2C9EE61B-9FC0-6A9F-B636-3B330C2C3B00}"/>
          </ac:spMkLst>
        </pc:spChg>
        <pc:spChg chg="add mod">
          <ac:chgData name="Alibek Sembayev" userId="57550941-7423-4d73-8cb1-e50f955053c2" providerId="ADAL" clId="{5F4800C4-3937-43A0-A2EE-3ABB67967EFE}" dt="2025-06-04T10:23:42.109" v="332" actId="1076"/>
          <ac:spMkLst>
            <pc:docMk/>
            <pc:sldMk cId="3349765072" sldId="339"/>
            <ac:spMk id="9" creationId="{32A659F9-4016-5F9F-AB63-0EFFBFCF4F5D}"/>
          </ac:spMkLst>
        </pc:spChg>
        <pc:spChg chg="add mod">
          <ac:chgData name="Alibek Sembayev" userId="57550941-7423-4d73-8cb1-e50f955053c2" providerId="ADAL" clId="{5F4800C4-3937-43A0-A2EE-3ABB67967EFE}" dt="2025-06-04T10:23:42.109" v="332" actId="1076"/>
          <ac:spMkLst>
            <pc:docMk/>
            <pc:sldMk cId="3349765072" sldId="339"/>
            <ac:spMk id="10" creationId="{BAB653D7-D042-97A6-6702-3A8FFE1A993A}"/>
          </ac:spMkLst>
        </pc:spChg>
        <pc:spChg chg="add mod">
          <ac:chgData name="Alibek Sembayev" userId="57550941-7423-4d73-8cb1-e50f955053c2" providerId="ADAL" clId="{5F4800C4-3937-43A0-A2EE-3ABB67967EFE}" dt="2025-06-04T10:23:42.109" v="332" actId="1076"/>
          <ac:spMkLst>
            <pc:docMk/>
            <pc:sldMk cId="3349765072" sldId="339"/>
            <ac:spMk id="11" creationId="{EBBA9D52-5A20-9DC1-B2F7-1070C93CC677}"/>
          </ac:spMkLst>
        </pc:spChg>
        <pc:spChg chg="add mod">
          <ac:chgData name="Alibek Sembayev" userId="57550941-7423-4d73-8cb1-e50f955053c2" providerId="ADAL" clId="{5F4800C4-3937-43A0-A2EE-3ABB67967EFE}" dt="2025-06-04T10:23:42.109" v="332" actId="1076"/>
          <ac:spMkLst>
            <pc:docMk/>
            <pc:sldMk cId="3349765072" sldId="339"/>
            <ac:spMk id="12" creationId="{977B2DC4-C72F-137D-325F-BE565107E963}"/>
          </ac:spMkLst>
        </pc:spChg>
      </pc:sldChg>
      <pc:sldChg chg="addSp delSp modSp mod">
        <pc:chgData name="Alibek Sembayev" userId="57550941-7423-4d73-8cb1-e50f955053c2" providerId="ADAL" clId="{5F4800C4-3937-43A0-A2EE-3ABB67967EFE}" dt="2025-06-04T12:14:08.968" v="1330" actId="478"/>
        <pc:sldMkLst>
          <pc:docMk/>
          <pc:sldMk cId="3359828720" sldId="419"/>
        </pc:sldMkLst>
        <pc:spChg chg="mod">
          <ac:chgData name="Alibek Sembayev" userId="57550941-7423-4d73-8cb1-e50f955053c2" providerId="ADAL" clId="{5F4800C4-3937-43A0-A2EE-3ABB67967EFE}" dt="2025-06-04T12:13:57.503" v="1328" actId="20577"/>
          <ac:spMkLst>
            <pc:docMk/>
            <pc:sldMk cId="3359828720" sldId="419"/>
            <ac:spMk id="10" creationId="{0D369242-9032-FA49-40E3-3539D4DAF7E0}"/>
          </ac:spMkLst>
        </pc:spChg>
      </pc:sldChg>
      <pc:sldChg chg="addSp modSp mod">
        <pc:chgData name="Alibek Sembayev" userId="57550941-7423-4d73-8cb1-e50f955053c2" providerId="ADAL" clId="{5F4800C4-3937-43A0-A2EE-3ABB67967EFE}" dt="2025-06-04T11:53:55.590" v="1291" actId="404"/>
        <pc:sldMkLst>
          <pc:docMk/>
          <pc:sldMk cId="2580639674" sldId="1881839103"/>
        </pc:sldMkLst>
        <pc:spChg chg="mod">
          <ac:chgData name="Alibek Sembayev" userId="57550941-7423-4d73-8cb1-e50f955053c2" providerId="ADAL" clId="{5F4800C4-3937-43A0-A2EE-3ABB67967EFE}" dt="2025-06-04T10:11:22.062" v="6" actId="20577"/>
          <ac:spMkLst>
            <pc:docMk/>
            <pc:sldMk cId="2580639674" sldId="1881839103"/>
            <ac:spMk id="2" creationId="{97973CDA-A11F-F4C6-3572-B05DA0B51D75}"/>
          </ac:spMkLst>
        </pc:spChg>
        <pc:spChg chg="add mod">
          <ac:chgData name="Alibek Sembayev" userId="57550941-7423-4d73-8cb1-e50f955053c2" providerId="ADAL" clId="{5F4800C4-3937-43A0-A2EE-3ABB67967EFE}" dt="2025-06-04T10:15:00.788" v="237" actId="12789"/>
          <ac:spMkLst>
            <pc:docMk/>
            <pc:sldMk cId="2580639674" sldId="1881839103"/>
            <ac:spMk id="3" creationId="{C74DE865-CEE1-AA14-71FF-500B36034873}"/>
          </ac:spMkLst>
        </pc:spChg>
        <pc:spChg chg="add mod">
          <ac:chgData name="Alibek Sembayev" userId="57550941-7423-4d73-8cb1-e50f955053c2" providerId="ADAL" clId="{5F4800C4-3937-43A0-A2EE-3ABB67967EFE}" dt="2025-06-04T11:53:47.040" v="1289" actId="20577"/>
          <ac:spMkLst>
            <pc:docMk/>
            <pc:sldMk cId="2580639674" sldId="1881839103"/>
            <ac:spMk id="4" creationId="{05A94C9C-59FD-094C-E633-E57B8C41B0A5}"/>
          </ac:spMkLst>
        </pc:spChg>
        <pc:spChg chg="add mod">
          <ac:chgData name="Alibek Sembayev" userId="57550941-7423-4d73-8cb1-e50f955053c2" providerId="ADAL" clId="{5F4800C4-3937-43A0-A2EE-3ABB67967EFE}" dt="2025-06-04T10:15:00.788" v="237" actId="12789"/>
          <ac:spMkLst>
            <pc:docMk/>
            <pc:sldMk cId="2580639674" sldId="1881839103"/>
            <ac:spMk id="5" creationId="{D051B39B-4E34-8A7D-CC63-52475B6F084B}"/>
          </ac:spMkLst>
        </pc:spChg>
        <pc:spChg chg="add mod">
          <ac:chgData name="Alibek Sembayev" userId="57550941-7423-4d73-8cb1-e50f955053c2" providerId="ADAL" clId="{5F4800C4-3937-43A0-A2EE-3ABB67967EFE}" dt="2025-06-04T11:53:55.590" v="1291" actId="404"/>
          <ac:spMkLst>
            <pc:docMk/>
            <pc:sldMk cId="2580639674" sldId="1881839103"/>
            <ac:spMk id="6" creationId="{20A82463-7F9D-1896-5AB0-0D6225370B3E}"/>
          </ac:spMkLst>
        </pc:spChg>
        <pc:spChg chg="mod">
          <ac:chgData name="Alibek Sembayev" userId="57550941-7423-4d73-8cb1-e50f955053c2" providerId="ADAL" clId="{5F4800C4-3937-43A0-A2EE-3ABB67967EFE}" dt="2025-06-04T10:15:00.788" v="237" actId="12789"/>
          <ac:spMkLst>
            <pc:docMk/>
            <pc:sldMk cId="2580639674" sldId="1881839103"/>
            <ac:spMk id="54" creationId="{98B76013-4317-BBC2-2023-ECC830F61FDE}"/>
          </ac:spMkLst>
        </pc:spChg>
        <pc:spChg chg="mod">
          <ac:chgData name="Alibek Sembayev" userId="57550941-7423-4d73-8cb1-e50f955053c2" providerId="ADAL" clId="{5F4800C4-3937-43A0-A2EE-3ABB67967EFE}" dt="2025-06-04T11:53:24.115" v="1283" actId="20577"/>
          <ac:spMkLst>
            <pc:docMk/>
            <pc:sldMk cId="2580639674" sldId="1881839103"/>
            <ac:spMk id="55" creationId="{C82877E3-5DE9-4EF1-69E9-35A95E40AD5C}"/>
          </ac:spMkLst>
        </pc:spChg>
        <pc:spChg chg="mod">
          <ac:chgData name="Alibek Sembayev" userId="57550941-7423-4d73-8cb1-e50f955053c2" providerId="ADAL" clId="{5F4800C4-3937-43A0-A2EE-3ABB67967EFE}" dt="2025-06-04T10:15:00.788" v="237" actId="12789"/>
          <ac:spMkLst>
            <pc:docMk/>
            <pc:sldMk cId="2580639674" sldId="1881839103"/>
            <ac:spMk id="57" creationId="{F61ED1EB-F2EB-F22C-F73A-A2CE351597EE}"/>
          </ac:spMkLst>
        </pc:spChg>
        <pc:spChg chg="mod">
          <ac:chgData name="Alibek Sembayev" userId="57550941-7423-4d73-8cb1-e50f955053c2" providerId="ADAL" clId="{5F4800C4-3937-43A0-A2EE-3ABB67967EFE}" dt="2025-06-04T11:53:39.539" v="1286" actId="20577"/>
          <ac:spMkLst>
            <pc:docMk/>
            <pc:sldMk cId="2580639674" sldId="1881839103"/>
            <ac:spMk id="58" creationId="{1AABCC5D-98C8-1D23-3136-42626DDB3EBD}"/>
          </ac:spMkLst>
        </pc:spChg>
      </pc:sldChg>
      <pc:sldChg chg="addSp delSp modSp mod">
        <pc:chgData name="Alibek Sembayev" userId="57550941-7423-4d73-8cb1-e50f955053c2" providerId="ADAL" clId="{5F4800C4-3937-43A0-A2EE-3ABB67967EFE}" dt="2025-06-04T10:27:18.627" v="347" actId="1076"/>
        <pc:sldMkLst>
          <pc:docMk/>
          <pc:sldMk cId="1347234490" sldId="1881839159"/>
        </pc:sldMkLst>
        <pc:spChg chg="mod">
          <ac:chgData name="Alibek Sembayev" userId="57550941-7423-4d73-8cb1-e50f955053c2" providerId="ADAL" clId="{5F4800C4-3937-43A0-A2EE-3ABB67967EFE}" dt="2025-06-04T10:27:18.627" v="347" actId="1076"/>
          <ac:spMkLst>
            <pc:docMk/>
            <pc:sldMk cId="1347234490" sldId="1881839159"/>
            <ac:spMk id="8" creationId="{ADAE08FF-DFCE-3B1F-B6B2-69422780D68F}"/>
          </ac:spMkLst>
        </pc:spChg>
        <pc:spChg chg="mod">
          <ac:chgData name="Alibek Sembayev" userId="57550941-7423-4d73-8cb1-e50f955053c2" providerId="ADAL" clId="{5F4800C4-3937-43A0-A2EE-3ABB67967EFE}" dt="2025-06-04T10:26:31.493" v="342"/>
          <ac:spMkLst>
            <pc:docMk/>
            <pc:sldMk cId="1347234490" sldId="1881839159"/>
            <ac:spMk id="20" creationId="{42E9D331-FE98-432B-386F-B0F1DA8B9F7F}"/>
          </ac:spMkLst>
        </pc:spChg>
        <pc:spChg chg="mod">
          <ac:chgData name="Alibek Sembayev" userId="57550941-7423-4d73-8cb1-e50f955053c2" providerId="ADAL" clId="{5F4800C4-3937-43A0-A2EE-3ABB67967EFE}" dt="2025-06-04T10:26:31.493" v="342"/>
          <ac:spMkLst>
            <pc:docMk/>
            <pc:sldMk cId="1347234490" sldId="1881839159"/>
            <ac:spMk id="32" creationId="{44DDB9B9-D0F5-6402-5460-A3BA925AB02D}"/>
          </ac:spMkLst>
        </pc:spChg>
        <pc:spChg chg="mod">
          <ac:chgData name="Alibek Sembayev" userId="57550941-7423-4d73-8cb1-e50f955053c2" providerId="ADAL" clId="{5F4800C4-3937-43A0-A2EE-3ABB67967EFE}" dt="2025-06-04T10:26:31.493" v="342"/>
          <ac:spMkLst>
            <pc:docMk/>
            <pc:sldMk cId="1347234490" sldId="1881839159"/>
            <ac:spMk id="62" creationId="{3461230D-EF0C-EB1C-7BFE-028B29E0DBE1}"/>
          </ac:spMkLst>
        </pc:spChg>
        <pc:spChg chg="mod">
          <ac:chgData name="Alibek Sembayev" userId="57550941-7423-4d73-8cb1-e50f955053c2" providerId="ADAL" clId="{5F4800C4-3937-43A0-A2EE-3ABB67967EFE}" dt="2025-06-04T10:26:31.493" v="342"/>
          <ac:spMkLst>
            <pc:docMk/>
            <pc:sldMk cId="1347234490" sldId="1881839159"/>
            <ac:spMk id="79" creationId="{24CD691D-60EF-2B6B-257C-06482EC4758B}"/>
          </ac:spMkLst>
        </pc:spChg>
        <pc:spChg chg="mod">
          <ac:chgData name="Alibek Sembayev" userId="57550941-7423-4d73-8cb1-e50f955053c2" providerId="ADAL" clId="{5F4800C4-3937-43A0-A2EE-3ABB67967EFE}" dt="2025-06-04T10:26:31.493" v="342"/>
          <ac:spMkLst>
            <pc:docMk/>
            <pc:sldMk cId="1347234490" sldId="1881839159"/>
            <ac:spMk id="85" creationId="{58747EB5-5A99-49A3-D060-1FF10067D258}"/>
          </ac:spMkLst>
        </pc:spChg>
        <pc:spChg chg="mod">
          <ac:chgData name="Alibek Sembayev" userId="57550941-7423-4d73-8cb1-e50f955053c2" providerId="ADAL" clId="{5F4800C4-3937-43A0-A2EE-3ABB67967EFE}" dt="2025-06-04T10:26:31.493" v="342"/>
          <ac:spMkLst>
            <pc:docMk/>
            <pc:sldMk cId="1347234490" sldId="1881839159"/>
            <ac:spMk id="123" creationId="{8F07279F-B594-CD2B-3E87-C97047985FDE}"/>
          </ac:spMkLst>
        </pc:spChg>
        <pc:spChg chg="mod">
          <ac:chgData name="Alibek Sembayev" userId="57550941-7423-4d73-8cb1-e50f955053c2" providerId="ADAL" clId="{5F4800C4-3937-43A0-A2EE-3ABB67967EFE}" dt="2025-06-04T10:26:31.493" v="342"/>
          <ac:spMkLst>
            <pc:docMk/>
            <pc:sldMk cId="1347234490" sldId="1881839159"/>
            <ac:spMk id="130" creationId="{76536006-09E6-3532-CC40-E2E6382A0C9D}"/>
          </ac:spMkLst>
        </pc:spChg>
        <pc:spChg chg="mod">
          <ac:chgData name="Alibek Sembayev" userId="57550941-7423-4d73-8cb1-e50f955053c2" providerId="ADAL" clId="{5F4800C4-3937-43A0-A2EE-3ABB67967EFE}" dt="2025-06-04T10:26:31.493" v="342"/>
          <ac:spMkLst>
            <pc:docMk/>
            <pc:sldMk cId="1347234490" sldId="1881839159"/>
            <ac:spMk id="144" creationId="{90A29D60-4081-2437-2507-41E268BFE100}"/>
          </ac:spMkLst>
        </pc:spChg>
        <pc:spChg chg="mod">
          <ac:chgData name="Alibek Sembayev" userId="57550941-7423-4d73-8cb1-e50f955053c2" providerId="ADAL" clId="{5F4800C4-3937-43A0-A2EE-3ABB67967EFE}" dt="2025-06-04T10:26:52.190" v="343" actId="1076"/>
          <ac:spMkLst>
            <pc:docMk/>
            <pc:sldMk cId="1347234490" sldId="1881839159"/>
            <ac:spMk id="187" creationId="{52D16E33-071B-36B1-AD8D-4F03BC59C5AF}"/>
          </ac:spMkLst>
        </pc:spChg>
        <pc:spChg chg="mod">
          <ac:chgData name="Alibek Sembayev" userId="57550941-7423-4d73-8cb1-e50f955053c2" providerId="ADAL" clId="{5F4800C4-3937-43A0-A2EE-3ABB67967EFE}" dt="2025-06-04T10:26:52.190" v="343" actId="1076"/>
          <ac:spMkLst>
            <pc:docMk/>
            <pc:sldMk cId="1347234490" sldId="1881839159"/>
            <ac:spMk id="193" creationId="{7212B9DE-B9D6-B800-6165-4BBD50EB828B}"/>
          </ac:spMkLst>
        </pc:spChg>
        <pc:spChg chg="mod">
          <ac:chgData name="Alibek Sembayev" userId="57550941-7423-4d73-8cb1-e50f955053c2" providerId="ADAL" clId="{5F4800C4-3937-43A0-A2EE-3ABB67967EFE}" dt="2025-06-04T10:26:52.190" v="343" actId="1076"/>
          <ac:spMkLst>
            <pc:docMk/>
            <pc:sldMk cId="1347234490" sldId="1881839159"/>
            <ac:spMk id="199" creationId="{5D3B2D99-1884-8BFC-D440-F09BFD2C928C}"/>
          </ac:spMkLst>
        </pc:spChg>
        <pc:spChg chg="mod">
          <ac:chgData name="Alibek Sembayev" userId="57550941-7423-4d73-8cb1-e50f955053c2" providerId="ADAL" clId="{5F4800C4-3937-43A0-A2EE-3ABB67967EFE}" dt="2025-06-04T10:27:09.689" v="346" actId="207"/>
          <ac:spMkLst>
            <pc:docMk/>
            <pc:sldMk cId="1347234490" sldId="1881839159"/>
            <ac:spMk id="200" creationId="{BF0AC719-4F1A-C5A3-23E3-28F50D054251}"/>
          </ac:spMkLst>
        </pc:spChg>
        <pc:spChg chg="mod">
          <ac:chgData name="Alibek Sembayev" userId="57550941-7423-4d73-8cb1-e50f955053c2" providerId="ADAL" clId="{5F4800C4-3937-43A0-A2EE-3ABB67967EFE}" dt="2025-06-04T10:26:52.190" v="343" actId="1076"/>
          <ac:spMkLst>
            <pc:docMk/>
            <pc:sldMk cId="1347234490" sldId="1881839159"/>
            <ac:spMk id="203" creationId="{1CC680F7-2D38-80D5-6BA3-E5FC3734A76A}"/>
          </ac:spMkLst>
        </pc:spChg>
        <pc:spChg chg="mod">
          <ac:chgData name="Alibek Sembayev" userId="57550941-7423-4d73-8cb1-e50f955053c2" providerId="ADAL" clId="{5F4800C4-3937-43A0-A2EE-3ABB67967EFE}" dt="2025-06-04T10:26:52.190" v="343" actId="1076"/>
          <ac:spMkLst>
            <pc:docMk/>
            <pc:sldMk cId="1347234490" sldId="1881839159"/>
            <ac:spMk id="209" creationId="{C11C4A98-2BB2-161A-2D1F-35566D3ADF1B}"/>
          </ac:spMkLst>
        </pc:spChg>
        <pc:spChg chg="mod">
          <ac:chgData name="Alibek Sembayev" userId="57550941-7423-4d73-8cb1-e50f955053c2" providerId="ADAL" clId="{5F4800C4-3937-43A0-A2EE-3ABB67967EFE}" dt="2025-06-04T10:26:52.190" v="343" actId="1076"/>
          <ac:spMkLst>
            <pc:docMk/>
            <pc:sldMk cId="1347234490" sldId="1881839159"/>
            <ac:spMk id="213" creationId="{7AE4F0B8-3DA4-A7D6-E259-3B4B95A7F22A}"/>
          </ac:spMkLst>
        </pc:spChg>
        <pc:spChg chg="add mod">
          <ac:chgData name="Alibek Sembayev" userId="57550941-7423-4d73-8cb1-e50f955053c2" providerId="ADAL" clId="{5F4800C4-3937-43A0-A2EE-3ABB67967EFE}" dt="2025-06-04T10:26:31.493" v="342"/>
          <ac:spMkLst>
            <pc:docMk/>
            <pc:sldMk cId="1347234490" sldId="1881839159"/>
            <ac:spMk id="214" creationId="{FC9DB711-1D94-2E99-BEF6-046C9DBD4633}"/>
          </ac:spMkLst>
        </pc:spChg>
        <pc:spChg chg="add mod">
          <ac:chgData name="Alibek Sembayev" userId="57550941-7423-4d73-8cb1-e50f955053c2" providerId="ADAL" clId="{5F4800C4-3937-43A0-A2EE-3ABB67967EFE}" dt="2025-06-04T10:26:52.190" v="343" actId="1076"/>
          <ac:spMkLst>
            <pc:docMk/>
            <pc:sldMk cId="1347234490" sldId="1881839159"/>
            <ac:spMk id="230" creationId="{6C986D59-0899-7102-CFF3-5140D30C7506}"/>
          </ac:spMkLst>
        </pc:spChg>
        <pc:spChg chg="mod">
          <ac:chgData name="Alibek Sembayev" userId="57550941-7423-4d73-8cb1-e50f955053c2" providerId="ADAL" clId="{5F4800C4-3937-43A0-A2EE-3ABB67967EFE}" dt="2025-06-04T10:26:52.190" v="343" actId="1076"/>
          <ac:spMkLst>
            <pc:docMk/>
            <pc:sldMk cId="1347234490" sldId="1881839159"/>
            <ac:spMk id="232" creationId="{04807E40-02A3-6A2F-0379-46511E0E36DA}"/>
          </ac:spMkLst>
        </pc:spChg>
      </pc:sldChg>
      <pc:sldChg chg="addSp delSp modSp mod">
        <pc:chgData name="Alibek Sembayev" userId="57550941-7423-4d73-8cb1-e50f955053c2" providerId="ADAL" clId="{5F4800C4-3937-43A0-A2EE-3ABB67967EFE}" dt="2025-06-04T10:25:49.364" v="339" actId="207"/>
        <pc:sldMkLst>
          <pc:docMk/>
          <pc:sldMk cId="37887544" sldId="1881839160"/>
        </pc:sldMkLst>
      </pc:sldChg>
      <pc:sldChg chg="modSp add mod ord">
        <pc:chgData name="Alibek Sembayev" userId="57550941-7423-4d73-8cb1-e50f955053c2" providerId="ADAL" clId="{5F4800C4-3937-43A0-A2EE-3ABB67967EFE}" dt="2025-06-04T10:44:14.065" v="413" actId="20577"/>
        <pc:sldMkLst>
          <pc:docMk/>
          <pc:sldMk cId="956982988" sldId="1881839161"/>
        </pc:sldMkLst>
        <pc:spChg chg="mod">
          <ac:chgData name="Alibek Sembayev" userId="57550941-7423-4d73-8cb1-e50f955053c2" providerId="ADAL" clId="{5F4800C4-3937-43A0-A2EE-3ABB67967EFE}" dt="2025-06-04T10:36:34.243" v="363" actId="20577"/>
          <ac:spMkLst>
            <pc:docMk/>
            <pc:sldMk cId="956982988" sldId="1881839161"/>
            <ac:spMk id="8" creationId="{D7B68DD8-5FAA-F882-4FC2-0D2AFA767D87}"/>
          </ac:spMkLst>
        </pc:spChg>
        <pc:spChg chg="mod">
          <ac:chgData name="Alibek Sembayev" userId="57550941-7423-4d73-8cb1-e50f955053c2" providerId="ADAL" clId="{5F4800C4-3937-43A0-A2EE-3ABB67967EFE}" dt="2025-06-04T10:44:14.065" v="413" actId="20577"/>
          <ac:spMkLst>
            <pc:docMk/>
            <pc:sldMk cId="956982988" sldId="1881839161"/>
            <ac:spMk id="9" creationId="{B10D1384-639C-4324-00DC-47ADA7117FB8}"/>
          </ac:spMkLst>
        </pc:spChg>
      </pc:sldChg>
      <pc:sldChg chg="modSp add mod">
        <pc:chgData name="Alibek Sembayev" userId="57550941-7423-4d73-8cb1-e50f955053c2" providerId="ADAL" clId="{5F4800C4-3937-43A0-A2EE-3ABB67967EFE}" dt="2025-06-04T10:36:57.362" v="370" actId="20577"/>
        <pc:sldMkLst>
          <pc:docMk/>
          <pc:sldMk cId="1706127935" sldId="1881839162"/>
        </pc:sldMkLst>
        <pc:spChg chg="mod">
          <ac:chgData name="Alibek Sembayev" userId="57550941-7423-4d73-8cb1-e50f955053c2" providerId="ADAL" clId="{5F4800C4-3937-43A0-A2EE-3ABB67967EFE}" dt="2025-06-04T10:36:57.362" v="370" actId="20577"/>
          <ac:spMkLst>
            <pc:docMk/>
            <pc:sldMk cId="1706127935" sldId="1881839162"/>
            <ac:spMk id="8" creationId="{8C8669EA-2AC6-64CE-81D6-299B46590266}"/>
          </ac:spMkLst>
        </pc:spChg>
        <pc:spChg chg="mod">
          <ac:chgData name="Alibek Sembayev" userId="57550941-7423-4d73-8cb1-e50f955053c2" providerId="ADAL" clId="{5F4800C4-3937-43A0-A2EE-3ABB67967EFE}" dt="2025-06-04T10:36:46.609" v="366" actId="20577"/>
          <ac:spMkLst>
            <pc:docMk/>
            <pc:sldMk cId="1706127935" sldId="1881839162"/>
            <ac:spMk id="9" creationId="{51DE7EDF-140B-2285-C62F-E53B402F107C}"/>
          </ac:spMkLst>
        </pc:spChg>
      </pc:sldChg>
      <pc:sldChg chg="modSp add mod">
        <pc:chgData name="Alibek Sembayev" userId="57550941-7423-4d73-8cb1-e50f955053c2" providerId="ADAL" clId="{5F4800C4-3937-43A0-A2EE-3ABB67967EFE}" dt="2025-06-04T10:37:13.023" v="377" actId="20577"/>
        <pc:sldMkLst>
          <pc:docMk/>
          <pc:sldMk cId="1014885521" sldId="1881839163"/>
        </pc:sldMkLst>
        <pc:spChg chg="mod">
          <ac:chgData name="Alibek Sembayev" userId="57550941-7423-4d73-8cb1-e50f955053c2" providerId="ADAL" clId="{5F4800C4-3937-43A0-A2EE-3ABB67967EFE}" dt="2025-06-04T10:37:13.023" v="377" actId="20577"/>
          <ac:spMkLst>
            <pc:docMk/>
            <pc:sldMk cId="1014885521" sldId="1881839163"/>
            <ac:spMk id="8" creationId="{9CA6B91E-958D-84F3-E8F6-858EEC132B43}"/>
          </ac:spMkLst>
        </pc:spChg>
        <pc:spChg chg="mod">
          <ac:chgData name="Alibek Sembayev" userId="57550941-7423-4d73-8cb1-e50f955053c2" providerId="ADAL" clId="{5F4800C4-3937-43A0-A2EE-3ABB67967EFE}" dt="2025-06-04T10:37:03.495" v="373" actId="20577"/>
          <ac:spMkLst>
            <pc:docMk/>
            <pc:sldMk cId="1014885521" sldId="1881839163"/>
            <ac:spMk id="9" creationId="{314EC7AD-40DE-06F5-1780-D5E84DB242F9}"/>
          </ac:spMkLst>
        </pc:spChg>
      </pc:sldChg>
      <pc:sldChg chg="modSp add mod">
        <pc:chgData name="Alibek Sembayev" userId="57550941-7423-4d73-8cb1-e50f955053c2" providerId="ADAL" clId="{5F4800C4-3937-43A0-A2EE-3ABB67967EFE}" dt="2025-06-04T10:37:41.699" v="384" actId="20577"/>
        <pc:sldMkLst>
          <pc:docMk/>
          <pc:sldMk cId="4278392226" sldId="1881839164"/>
        </pc:sldMkLst>
        <pc:spChg chg="mod">
          <ac:chgData name="Alibek Sembayev" userId="57550941-7423-4d73-8cb1-e50f955053c2" providerId="ADAL" clId="{5F4800C4-3937-43A0-A2EE-3ABB67967EFE}" dt="2025-06-04T10:37:41.699" v="384" actId="20577"/>
          <ac:spMkLst>
            <pc:docMk/>
            <pc:sldMk cId="4278392226" sldId="1881839164"/>
            <ac:spMk id="8" creationId="{94885FE3-A62D-A363-25FF-69326CFEE007}"/>
          </ac:spMkLst>
        </pc:spChg>
        <pc:spChg chg="mod">
          <ac:chgData name="Alibek Sembayev" userId="57550941-7423-4d73-8cb1-e50f955053c2" providerId="ADAL" clId="{5F4800C4-3937-43A0-A2EE-3ABB67967EFE}" dt="2025-06-04T10:37:30.837" v="380" actId="20577"/>
          <ac:spMkLst>
            <pc:docMk/>
            <pc:sldMk cId="4278392226" sldId="1881839164"/>
            <ac:spMk id="9" creationId="{4A041520-686E-1FC1-6AC9-EC350222F4AB}"/>
          </ac:spMkLst>
        </pc:spChg>
      </pc:sldChg>
      <pc:sldChg chg="addSp delSp modSp add mod">
        <pc:chgData name="Alibek Sembayev" userId="57550941-7423-4d73-8cb1-e50f955053c2" providerId="ADAL" clId="{5F4800C4-3937-43A0-A2EE-3ABB67967EFE}" dt="2025-06-04T10:38:02.129" v="393" actId="22"/>
        <pc:sldMkLst>
          <pc:docMk/>
          <pc:sldMk cId="659217033" sldId="1881839165"/>
        </pc:sldMkLst>
        <pc:spChg chg="mod">
          <ac:chgData name="Alibek Sembayev" userId="57550941-7423-4d73-8cb1-e50f955053c2" providerId="ADAL" clId="{5F4800C4-3937-43A0-A2EE-3ABB67967EFE}" dt="2025-06-04T10:37:56.389" v="391" actId="20577"/>
          <ac:spMkLst>
            <pc:docMk/>
            <pc:sldMk cId="659217033" sldId="1881839165"/>
            <ac:spMk id="8" creationId="{E5250326-2482-1123-C41D-99C5E97645BC}"/>
          </ac:spMkLst>
        </pc:spChg>
        <pc:spChg chg="mod">
          <ac:chgData name="Alibek Sembayev" userId="57550941-7423-4d73-8cb1-e50f955053c2" providerId="ADAL" clId="{5F4800C4-3937-43A0-A2EE-3ABB67967EFE}" dt="2025-06-04T10:37:48.536" v="387" actId="20577"/>
          <ac:spMkLst>
            <pc:docMk/>
            <pc:sldMk cId="659217033" sldId="1881839165"/>
            <ac:spMk id="9" creationId="{5AF4EE7E-4828-E1F2-E073-74E6F1AF9312}"/>
          </ac:spMkLst>
        </pc:spChg>
      </pc:sldChg>
      <pc:sldChg chg="modSp add mod">
        <pc:chgData name="Alibek Sembayev" userId="57550941-7423-4d73-8cb1-e50f955053c2" providerId="ADAL" clId="{5F4800C4-3937-43A0-A2EE-3ABB67967EFE}" dt="2025-06-04T10:38:14.752" v="400" actId="20577"/>
        <pc:sldMkLst>
          <pc:docMk/>
          <pc:sldMk cId="2672051065" sldId="1881839166"/>
        </pc:sldMkLst>
        <pc:spChg chg="mod">
          <ac:chgData name="Alibek Sembayev" userId="57550941-7423-4d73-8cb1-e50f955053c2" providerId="ADAL" clId="{5F4800C4-3937-43A0-A2EE-3ABB67967EFE}" dt="2025-06-04T10:38:14.752" v="400" actId="20577"/>
          <ac:spMkLst>
            <pc:docMk/>
            <pc:sldMk cId="2672051065" sldId="1881839166"/>
            <ac:spMk id="8" creationId="{D39D9485-2065-A391-B06B-AE3C81FC8203}"/>
          </ac:spMkLst>
        </pc:spChg>
      </pc:sldChg>
      <pc:sldChg chg="addSp delSp modSp add del mod">
        <pc:chgData name="Alibek Sembayev" userId="57550941-7423-4d73-8cb1-e50f955053c2" providerId="ADAL" clId="{5F4800C4-3937-43A0-A2EE-3ABB67967EFE}" dt="2025-06-04T10:44:19.702" v="416" actId="47"/>
        <pc:sldMkLst>
          <pc:docMk/>
          <pc:sldMk cId="3134994084" sldId="1881839167"/>
        </pc:sldMkLst>
      </pc:sldChg>
      <pc:sldChg chg="new del">
        <pc:chgData name="Alibek Sembayev" userId="57550941-7423-4d73-8cb1-e50f955053c2" providerId="ADAL" clId="{5F4800C4-3937-43A0-A2EE-3ABB67967EFE}" dt="2025-06-04T10:41:24.955" v="402" actId="680"/>
        <pc:sldMkLst>
          <pc:docMk/>
          <pc:sldMk cId="3945801817" sldId="1881839167"/>
        </pc:sldMkLst>
      </pc:sldChg>
      <pc:sldChg chg="addSp delSp modSp add mod ord">
        <pc:chgData name="Alibek Sembayev" userId="57550941-7423-4d73-8cb1-e50f955053c2" providerId="ADAL" clId="{5F4800C4-3937-43A0-A2EE-3ABB67967EFE}" dt="2025-06-04T11:03:36.452" v="474"/>
        <pc:sldMkLst>
          <pc:docMk/>
          <pc:sldMk cId="4242851952" sldId="1881839167"/>
        </pc:sldMkLst>
        <pc:spChg chg="add mod">
          <ac:chgData name="Alibek Sembayev" userId="57550941-7423-4d73-8cb1-e50f955053c2" providerId="ADAL" clId="{5F4800C4-3937-43A0-A2EE-3ABB67967EFE}" dt="2025-06-04T10:46:18.680" v="424"/>
          <ac:spMkLst>
            <pc:docMk/>
            <pc:sldMk cId="4242851952" sldId="1881839167"/>
            <ac:spMk id="7" creationId="{A4CA236D-F2E6-2459-198A-A054FFE5BE54}"/>
          </ac:spMkLst>
        </pc:spChg>
        <pc:spChg chg="add mod">
          <ac:chgData name="Alibek Sembayev" userId="57550941-7423-4d73-8cb1-e50f955053c2" providerId="ADAL" clId="{5F4800C4-3937-43A0-A2EE-3ABB67967EFE}" dt="2025-06-04T10:46:18.680" v="424"/>
          <ac:spMkLst>
            <pc:docMk/>
            <pc:sldMk cId="4242851952" sldId="1881839167"/>
            <ac:spMk id="238" creationId="{C0BBC13D-1016-A232-B407-5361B4064725}"/>
          </ac:spMkLst>
        </pc:spChg>
        <pc:spChg chg="add mod">
          <ac:chgData name="Alibek Sembayev" userId="57550941-7423-4d73-8cb1-e50f955053c2" providerId="ADAL" clId="{5F4800C4-3937-43A0-A2EE-3ABB67967EFE}" dt="2025-06-04T10:46:18.680" v="424"/>
          <ac:spMkLst>
            <pc:docMk/>
            <pc:sldMk cId="4242851952" sldId="1881839167"/>
            <ac:spMk id="239" creationId="{57C74FEF-50EB-A5C2-2A8E-BE8B5E48D643}"/>
          </ac:spMkLst>
        </pc:spChg>
        <pc:spChg chg="add mod">
          <ac:chgData name="Alibek Sembayev" userId="57550941-7423-4d73-8cb1-e50f955053c2" providerId="ADAL" clId="{5F4800C4-3937-43A0-A2EE-3ABB67967EFE}" dt="2025-06-04T10:46:18.680" v="424"/>
          <ac:spMkLst>
            <pc:docMk/>
            <pc:sldMk cId="4242851952" sldId="1881839167"/>
            <ac:spMk id="244" creationId="{824AF5B6-D0B3-5E95-5AAC-DE8ED3C95F43}"/>
          </ac:spMkLst>
        </pc:spChg>
        <pc:spChg chg="add mod">
          <ac:chgData name="Alibek Sembayev" userId="57550941-7423-4d73-8cb1-e50f955053c2" providerId="ADAL" clId="{5F4800C4-3937-43A0-A2EE-3ABB67967EFE}" dt="2025-06-04T10:46:18.680" v="424"/>
          <ac:spMkLst>
            <pc:docMk/>
            <pc:sldMk cId="4242851952" sldId="1881839167"/>
            <ac:spMk id="245" creationId="{F0524F6B-2697-2113-48F8-4E6FEB38B576}"/>
          </ac:spMkLst>
        </pc:spChg>
      </pc:sldChg>
      <pc:sldChg chg="addSp delSp modSp add mod">
        <pc:chgData name="Alibek Sembayev" userId="57550941-7423-4d73-8cb1-e50f955053c2" providerId="ADAL" clId="{5F4800C4-3937-43A0-A2EE-3ABB67967EFE}" dt="2025-06-04T10:48:58.044" v="435" actId="207"/>
        <pc:sldMkLst>
          <pc:docMk/>
          <pc:sldMk cId="2274233369" sldId="1881839168"/>
        </pc:sldMkLst>
      </pc:sldChg>
      <pc:sldChg chg="addSp delSp modSp add del mod">
        <pc:chgData name="Alibek Sembayev" userId="57550941-7423-4d73-8cb1-e50f955053c2" providerId="ADAL" clId="{5F4800C4-3937-43A0-A2EE-3ABB67967EFE}" dt="2025-06-04T10:49:21.568" v="438" actId="207"/>
        <pc:sldMkLst>
          <pc:docMk/>
          <pc:sldMk cId="1164041906" sldId="1881839169"/>
        </pc:sldMkLst>
      </pc:sldChg>
      <pc:sldChg chg="addSp delSp modSp add mod">
        <pc:chgData name="Alibek Sembayev" userId="57550941-7423-4d73-8cb1-e50f955053c2" providerId="ADAL" clId="{5F4800C4-3937-43A0-A2EE-3ABB67967EFE}" dt="2025-06-04T10:52:40.752" v="444" actId="1076"/>
        <pc:sldMkLst>
          <pc:docMk/>
          <pc:sldMk cId="3067046595" sldId="1881839170"/>
        </pc:sldMkLst>
      </pc:sldChg>
      <pc:sldChg chg="addSp delSp modSp add mod ord">
        <pc:chgData name="Alibek Sembayev" userId="57550941-7423-4d73-8cb1-e50f955053c2" providerId="ADAL" clId="{5F4800C4-3937-43A0-A2EE-3ABB67967EFE}" dt="2025-06-04T11:03:32.624" v="472"/>
        <pc:sldMkLst>
          <pc:docMk/>
          <pc:sldMk cId="1747912236" sldId="1881839171"/>
        </pc:sldMkLst>
      </pc:sldChg>
      <pc:sldChg chg="addSp delSp modSp add mod">
        <pc:chgData name="Alibek Sembayev" userId="57550941-7423-4d73-8cb1-e50f955053c2" providerId="ADAL" clId="{5F4800C4-3937-43A0-A2EE-3ABB67967EFE}" dt="2025-06-04T11:02:41.276" v="464" actId="1076"/>
        <pc:sldMkLst>
          <pc:docMk/>
          <pc:sldMk cId="2597971102" sldId="1881839172"/>
        </pc:sldMkLst>
        <pc:spChg chg="add mod">
          <ac:chgData name="Alibek Sembayev" userId="57550941-7423-4d73-8cb1-e50f955053c2" providerId="ADAL" clId="{5F4800C4-3937-43A0-A2EE-3ABB67967EFE}" dt="2025-06-04T11:02:41.276" v="464" actId="1076"/>
          <ac:spMkLst>
            <pc:docMk/>
            <pc:sldMk cId="2597971102" sldId="1881839172"/>
            <ac:spMk id="48" creationId="{76F88714-41AC-1D0E-0A9B-EB20E2C6256C}"/>
          </ac:spMkLst>
        </pc:spChg>
        <pc:spChg chg="mod">
          <ac:chgData name="Alibek Sembayev" userId="57550941-7423-4d73-8cb1-e50f955053c2" providerId="ADAL" clId="{5F4800C4-3937-43A0-A2EE-3ABB67967EFE}" dt="2025-06-04T11:02:38.646" v="463" actId="1076"/>
          <ac:spMkLst>
            <pc:docMk/>
            <pc:sldMk cId="2597971102" sldId="1881839172"/>
            <ac:spMk id="49" creationId="{0580BDB5-55DE-CFE2-0858-20B9726ABCD8}"/>
          </ac:spMkLst>
        </pc:spChg>
        <pc:spChg chg="add mod">
          <ac:chgData name="Alibek Sembayev" userId="57550941-7423-4d73-8cb1-e50f955053c2" providerId="ADAL" clId="{5F4800C4-3937-43A0-A2EE-3ABB67967EFE}" dt="2025-06-04T11:02:38.646" v="463" actId="1076"/>
          <ac:spMkLst>
            <pc:docMk/>
            <pc:sldMk cId="2597971102" sldId="1881839172"/>
            <ac:spMk id="51" creationId="{2D1027A3-CCA4-9052-93C3-98C741C923B5}"/>
          </ac:spMkLst>
        </pc:spChg>
        <pc:spChg chg="add mod">
          <ac:chgData name="Alibek Sembayev" userId="57550941-7423-4d73-8cb1-e50f955053c2" providerId="ADAL" clId="{5F4800C4-3937-43A0-A2EE-3ABB67967EFE}" dt="2025-06-04T11:02:38.646" v="463" actId="1076"/>
          <ac:spMkLst>
            <pc:docMk/>
            <pc:sldMk cId="2597971102" sldId="1881839172"/>
            <ac:spMk id="52" creationId="{BC3C39D1-C69A-A93F-3E85-8045F5CECF6D}"/>
          </ac:spMkLst>
        </pc:spChg>
        <pc:spChg chg="add mod">
          <ac:chgData name="Alibek Sembayev" userId="57550941-7423-4d73-8cb1-e50f955053c2" providerId="ADAL" clId="{5F4800C4-3937-43A0-A2EE-3ABB67967EFE}" dt="2025-06-04T11:02:38.646" v="463" actId="1076"/>
          <ac:spMkLst>
            <pc:docMk/>
            <pc:sldMk cId="2597971102" sldId="1881839172"/>
            <ac:spMk id="53" creationId="{5B25A801-3945-4654-E3DD-7D5AEDB515C8}"/>
          </ac:spMkLst>
        </pc:spChg>
        <pc:spChg chg="add mod">
          <ac:chgData name="Alibek Sembayev" userId="57550941-7423-4d73-8cb1-e50f955053c2" providerId="ADAL" clId="{5F4800C4-3937-43A0-A2EE-3ABB67967EFE}" dt="2025-06-04T11:02:38.646" v="463" actId="1076"/>
          <ac:spMkLst>
            <pc:docMk/>
            <pc:sldMk cId="2597971102" sldId="1881839172"/>
            <ac:spMk id="54" creationId="{958409CC-102A-A0BF-39F0-03071700363A}"/>
          </ac:spMkLst>
        </pc:spChg>
        <pc:spChg chg="add mod">
          <ac:chgData name="Alibek Sembayev" userId="57550941-7423-4d73-8cb1-e50f955053c2" providerId="ADAL" clId="{5F4800C4-3937-43A0-A2EE-3ABB67967EFE}" dt="2025-06-04T11:02:38.646" v="463" actId="1076"/>
          <ac:spMkLst>
            <pc:docMk/>
            <pc:sldMk cId="2597971102" sldId="1881839172"/>
            <ac:spMk id="68" creationId="{1B5793E1-E6DC-967F-F508-0AF948482758}"/>
          </ac:spMkLst>
        </pc:spChg>
        <pc:spChg chg="add mod">
          <ac:chgData name="Alibek Sembayev" userId="57550941-7423-4d73-8cb1-e50f955053c2" providerId="ADAL" clId="{5F4800C4-3937-43A0-A2EE-3ABB67967EFE}" dt="2025-06-04T11:02:38.646" v="463" actId="1076"/>
          <ac:spMkLst>
            <pc:docMk/>
            <pc:sldMk cId="2597971102" sldId="1881839172"/>
            <ac:spMk id="69" creationId="{793DECA0-461A-B329-AB02-F0EFC76706FA}"/>
          </ac:spMkLst>
        </pc:spChg>
        <pc:spChg chg="mod">
          <ac:chgData name="Alibek Sembayev" userId="57550941-7423-4d73-8cb1-e50f955053c2" providerId="ADAL" clId="{5F4800C4-3937-43A0-A2EE-3ABB67967EFE}" dt="2025-06-04T11:02:34.465" v="462"/>
          <ac:spMkLst>
            <pc:docMk/>
            <pc:sldMk cId="2597971102" sldId="1881839172"/>
            <ac:spMk id="75" creationId="{0DCFC5A7-987E-78A7-95AF-C40172F55340}"/>
          </ac:spMkLst>
        </pc:spChg>
        <pc:spChg chg="add mod">
          <ac:chgData name="Alibek Sembayev" userId="57550941-7423-4d73-8cb1-e50f955053c2" providerId="ADAL" clId="{5F4800C4-3937-43A0-A2EE-3ABB67967EFE}" dt="2025-06-04T11:02:38.646" v="463" actId="1076"/>
          <ac:spMkLst>
            <pc:docMk/>
            <pc:sldMk cId="2597971102" sldId="1881839172"/>
            <ac:spMk id="81" creationId="{162B20B5-1DD3-BD6B-C75C-D4602A2DCCCA}"/>
          </ac:spMkLst>
        </pc:spChg>
        <pc:spChg chg="add mod">
          <ac:chgData name="Alibek Sembayev" userId="57550941-7423-4d73-8cb1-e50f955053c2" providerId="ADAL" clId="{5F4800C4-3937-43A0-A2EE-3ABB67967EFE}" dt="2025-06-04T11:02:38.646" v="463" actId="1076"/>
          <ac:spMkLst>
            <pc:docMk/>
            <pc:sldMk cId="2597971102" sldId="1881839172"/>
            <ac:spMk id="82" creationId="{A9DB0FC3-C369-ECFC-5E61-9F9C0F7B2461}"/>
          </ac:spMkLst>
        </pc:spChg>
      </pc:sldChg>
      <pc:sldChg chg="addSp delSp modSp add mod">
        <pc:chgData name="Alibek Sembayev" userId="57550941-7423-4d73-8cb1-e50f955053c2" providerId="ADAL" clId="{5F4800C4-3937-43A0-A2EE-3ABB67967EFE}" dt="2025-06-04T11:03:14.128" v="470" actId="20577"/>
        <pc:sldMkLst>
          <pc:docMk/>
          <pc:sldMk cId="3888941547" sldId="1881839173"/>
        </pc:sldMkLst>
        <pc:spChg chg="add mod">
          <ac:chgData name="Alibek Sembayev" userId="57550941-7423-4d73-8cb1-e50f955053c2" providerId="ADAL" clId="{5F4800C4-3937-43A0-A2EE-3ABB67967EFE}" dt="2025-06-04T11:03:14.128" v="470" actId="20577"/>
          <ac:spMkLst>
            <pc:docMk/>
            <pc:sldMk cId="3888941547" sldId="1881839173"/>
            <ac:spMk id="6" creationId="{3E4E986E-3073-3EEC-2FF6-BC94AA6F993A}"/>
          </ac:spMkLst>
        </pc:spChg>
        <pc:spChg chg="mod">
          <ac:chgData name="Alibek Sembayev" userId="57550941-7423-4d73-8cb1-e50f955053c2" providerId="ADAL" clId="{5F4800C4-3937-43A0-A2EE-3ABB67967EFE}" dt="2025-06-04T11:02:56.788" v="465"/>
          <ac:spMkLst>
            <pc:docMk/>
            <pc:sldMk cId="3888941547" sldId="1881839173"/>
            <ac:spMk id="11" creationId="{FFCCF2F3-717E-C35C-3824-800C9A149221}"/>
          </ac:spMkLst>
        </pc:spChg>
        <pc:spChg chg="mod">
          <ac:chgData name="Alibek Sembayev" userId="57550941-7423-4d73-8cb1-e50f955053c2" providerId="ADAL" clId="{5F4800C4-3937-43A0-A2EE-3ABB67967EFE}" dt="2025-06-04T11:02:56.788" v="465"/>
          <ac:spMkLst>
            <pc:docMk/>
            <pc:sldMk cId="3888941547" sldId="1881839173"/>
            <ac:spMk id="13" creationId="{7E744B2A-9C35-5C61-BBB7-05168C4C37DF}"/>
          </ac:spMkLst>
        </pc:spChg>
        <pc:spChg chg="mod">
          <ac:chgData name="Alibek Sembayev" userId="57550941-7423-4d73-8cb1-e50f955053c2" providerId="ADAL" clId="{5F4800C4-3937-43A0-A2EE-3ABB67967EFE}" dt="2025-06-04T11:02:56.788" v="465"/>
          <ac:spMkLst>
            <pc:docMk/>
            <pc:sldMk cId="3888941547" sldId="1881839173"/>
            <ac:spMk id="16" creationId="{F3A6116A-376D-2FDD-52F0-1B89A8B3E4B3}"/>
          </ac:spMkLst>
        </pc:spChg>
        <pc:spChg chg="mod">
          <ac:chgData name="Alibek Sembayev" userId="57550941-7423-4d73-8cb1-e50f955053c2" providerId="ADAL" clId="{5F4800C4-3937-43A0-A2EE-3ABB67967EFE}" dt="2025-06-04T11:02:56.788" v="465"/>
          <ac:spMkLst>
            <pc:docMk/>
            <pc:sldMk cId="3888941547" sldId="1881839173"/>
            <ac:spMk id="19" creationId="{D67892AD-E22C-E721-DC4E-77C468E4F80A}"/>
          </ac:spMkLst>
        </pc:spChg>
        <pc:spChg chg="mod">
          <ac:chgData name="Alibek Sembayev" userId="57550941-7423-4d73-8cb1-e50f955053c2" providerId="ADAL" clId="{5F4800C4-3937-43A0-A2EE-3ABB67967EFE}" dt="2025-06-04T11:03:01.627" v="466" actId="1076"/>
          <ac:spMkLst>
            <pc:docMk/>
            <pc:sldMk cId="3888941547" sldId="1881839173"/>
            <ac:spMk id="25" creationId="{4E8A34C8-F3F6-F3E4-3906-68DFA6EB8CA0}"/>
          </ac:spMkLst>
        </pc:spChg>
        <pc:spChg chg="add mod">
          <ac:chgData name="Alibek Sembayev" userId="57550941-7423-4d73-8cb1-e50f955053c2" providerId="ADAL" clId="{5F4800C4-3937-43A0-A2EE-3ABB67967EFE}" dt="2025-06-04T11:03:01.627" v="466" actId="1076"/>
          <ac:spMkLst>
            <pc:docMk/>
            <pc:sldMk cId="3888941547" sldId="1881839173"/>
            <ac:spMk id="26" creationId="{EF83DF7E-A8F6-6934-7D89-8B283F4BA2DE}"/>
          </ac:spMkLst>
        </pc:spChg>
        <pc:spChg chg="mod">
          <ac:chgData name="Alibek Sembayev" userId="57550941-7423-4d73-8cb1-e50f955053c2" providerId="ADAL" clId="{5F4800C4-3937-43A0-A2EE-3ABB67967EFE}" dt="2025-06-04T11:03:01.627" v="466" actId="1076"/>
          <ac:spMkLst>
            <pc:docMk/>
            <pc:sldMk cId="3888941547" sldId="1881839173"/>
            <ac:spMk id="27" creationId="{DD43B724-AE7F-46E9-9B33-C0B6B8843714}"/>
          </ac:spMkLst>
        </pc:spChg>
        <pc:spChg chg="mod">
          <ac:chgData name="Alibek Sembayev" userId="57550941-7423-4d73-8cb1-e50f955053c2" providerId="ADAL" clId="{5F4800C4-3937-43A0-A2EE-3ABB67967EFE}" dt="2025-06-04T11:02:56.788" v="465"/>
          <ac:spMkLst>
            <pc:docMk/>
            <pc:sldMk cId="3888941547" sldId="1881839173"/>
            <ac:spMk id="30" creationId="{ED66F101-2012-4528-83FE-98DC97C7F9BF}"/>
          </ac:spMkLst>
        </pc:spChg>
        <pc:spChg chg="add mod">
          <ac:chgData name="Alibek Sembayev" userId="57550941-7423-4d73-8cb1-e50f955053c2" providerId="ADAL" clId="{5F4800C4-3937-43A0-A2EE-3ABB67967EFE}" dt="2025-06-04T11:03:01.627" v="466" actId="1076"/>
          <ac:spMkLst>
            <pc:docMk/>
            <pc:sldMk cId="3888941547" sldId="1881839173"/>
            <ac:spMk id="31" creationId="{49E18DCB-C199-3E44-E9E9-6F29C64B5384}"/>
          </ac:spMkLst>
        </pc:spChg>
        <pc:spChg chg="add mod">
          <ac:chgData name="Alibek Sembayev" userId="57550941-7423-4d73-8cb1-e50f955053c2" providerId="ADAL" clId="{5F4800C4-3937-43A0-A2EE-3ABB67967EFE}" dt="2025-06-04T11:03:01.627" v="466" actId="1076"/>
          <ac:spMkLst>
            <pc:docMk/>
            <pc:sldMk cId="3888941547" sldId="1881839173"/>
            <ac:spMk id="32" creationId="{D85FB44B-1B41-F490-DD50-16B1E24940D4}"/>
          </ac:spMkLst>
        </pc:spChg>
        <pc:spChg chg="mod">
          <ac:chgData name="Alibek Sembayev" userId="57550941-7423-4d73-8cb1-e50f955053c2" providerId="ADAL" clId="{5F4800C4-3937-43A0-A2EE-3ABB67967EFE}" dt="2025-06-04T11:02:56.788" v="465"/>
          <ac:spMkLst>
            <pc:docMk/>
            <pc:sldMk cId="3888941547" sldId="1881839173"/>
            <ac:spMk id="38" creationId="{44A70401-7E26-ABAC-F66A-95DD1B10EC5D}"/>
          </ac:spMkLst>
        </pc:spChg>
        <pc:picChg chg="mod">
          <ac:chgData name="Alibek Sembayev" userId="57550941-7423-4d73-8cb1-e50f955053c2" providerId="ADAL" clId="{5F4800C4-3937-43A0-A2EE-3ABB67967EFE}" dt="2025-06-04T11:03:01.627" v="466" actId="1076"/>
          <ac:picMkLst>
            <pc:docMk/>
            <pc:sldMk cId="3888941547" sldId="1881839173"/>
            <ac:picMk id="20" creationId="{3863A153-F551-806C-EAF2-9BEBE99A50B8}"/>
          </ac:picMkLst>
        </pc:picChg>
        <pc:picChg chg="mod">
          <ac:chgData name="Alibek Sembayev" userId="57550941-7423-4d73-8cb1-e50f955053c2" providerId="ADAL" clId="{5F4800C4-3937-43A0-A2EE-3ABB67967EFE}" dt="2025-06-04T11:03:01.627" v="466" actId="1076"/>
          <ac:picMkLst>
            <pc:docMk/>
            <pc:sldMk cId="3888941547" sldId="1881839173"/>
            <ac:picMk id="21" creationId="{559FB253-E17B-557F-41E4-D95FA001E0DE}"/>
          </ac:picMkLst>
        </pc:picChg>
        <pc:picChg chg="mod">
          <ac:chgData name="Alibek Sembayev" userId="57550941-7423-4d73-8cb1-e50f955053c2" providerId="ADAL" clId="{5F4800C4-3937-43A0-A2EE-3ABB67967EFE}" dt="2025-06-04T11:03:01.627" v="466" actId="1076"/>
          <ac:picMkLst>
            <pc:docMk/>
            <pc:sldMk cId="3888941547" sldId="1881839173"/>
            <ac:picMk id="23" creationId="{04581421-3975-5B71-9B1F-4354FB2211D0}"/>
          </ac:picMkLst>
        </pc:picChg>
        <pc:picChg chg="mod">
          <ac:chgData name="Alibek Sembayev" userId="57550941-7423-4d73-8cb1-e50f955053c2" providerId="ADAL" clId="{5F4800C4-3937-43A0-A2EE-3ABB67967EFE}" dt="2025-06-04T11:03:01.627" v="466" actId="1076"/>
          <ac:picMkLst>
            <pc:docMk/>
            <pc:sldMk cId="3888941547" sldId="1881839173"/>
            <ac:picMk id="24" creationId="{C300D3EE-31C4-EEAB-6ED3-A082BC6F1CD4}"/>
          </ac:picMkLst>
        </pc:picChg>
      </pc:sldChg>
      <pc:sldChg chg="addSp modSp mod">
        <pc:chgData name="Alibek Sembayev" userId="57550941-7423-4d73-8cb1-e50f955053c2" providerId="ADAL" clId="{5F4800C4-3937-43A0-A2EE-3ABB67967EFE}" dt="2025-06-04T11:47:45.969" v="1280" actId="20577"/>
        <pc:sldMkLst>
          <pc:docMk/>
          <pc:sldMk cId="1157716974" sldId="1881839175"/>
        </pc:sldMkLst>
      </pc:sldChg>
      <pc:sldChg chg="addSp delSp modSp mod">
        <pc:chgData name="Alibek Sembayev" userId="57550941-7423-4d73-8cb1-e50f955053c2" providerId="ADAL" clId="{5F4800C4-3937-43A0-A2EE-3ABB67967EFE}" dt="2025-06-04T11:22:39.428" v="956" actId="20577"/>
        <pc:sldMkLst>
          <pc:docMk/>
          <pc:sldMk cId="4131748436" sldId="1881839176"/>
        </pc:sldMkLst>
      </pc:sldChg>
      <pc:sldChg chg="addSp modSp mod">
        <pc:chgData name="Alibek Sembayev" userId="57550941-7423-4d73-8cb1-e50f955053c2" providerId="ADAL" clId="{5F4800C4-3937-43A0-A2EE-3ABB67967EFE}" dt="2025-06-04T11:28:43.677" v="981" actId="20577"/>
        <pc:sldMkLst>
          <pc:docMk/>
          <pc:sldMk cId="1672454973" sldId="1881839177"/>
        </pc:sldMkLst>
        <pc:spChg chg="mod">
          <ac:chgData name="Alibek Sembayev" userId="57550941-7423-4d73-8cb1-e50f955053c2" providerId="ADAL" clId="{5F4800C4-3937-43A0-A2EE-3ABB67967EFE}" dt="2025-06-04T11:28:43.677" v="981" actId="20577"/>
          <ac:spMkLst>
            <pc:docMk/>
            <pc:sldMk cId="1672454973" sldId="1881839177"/>
            <ac:spMk id="2" creationId="{0E1CEBF3-03BF-2D9B-BE44-38130F86E725}"/>
          </ac:spMkLst>
        </pc:spChg>
        <pc:spChg chg="add mod">
          <ac:chgData name="Alibek Sembayev" userId="57550941-7423-4d73-8cb1-e50f955053c2" providerId="ADAL" clId="{5F4800C4-3937-43A0-A2EE-3ABB67967EFE}" dt="2025-06-04T11:28:26.391" v="979"/>
          <ac:spMkLst>
            <pc:docMk/>
            <pc:sldMk cId="1672454973" sldId="1881839177"/>
            <ac:spMk id="6" creationId="{130358C6-ADEE-2354-41B4-7A6EE91A0DFE}"/>
          </ac:spMkLst>
        </pc:spChg>
      </pc:sldChg>
    </pc:docChg>
  </pc:docChgLst>
  <pc:docChgLst>
    <pc:chgData name="Sabina Aubakirova" userId="dab0509b-7727-4875-a1a2-83975f87a095" providerId="ADAL" clId="{6A66B1D2-E1F5-4855-8D46-9F4EBD40756F}"/>
    <pc:docChg chg="undo redo custSel modSld">
      <pc:chgData name="Sabina Aubakirova" userId="dab0509b-7727-4875-a1a2-83975f87a095" providerId="ADAL" clId="{6A66B1D2-E1F5-4855-8D46-9F4EBD40756F}" dt="2025-07-01T05:01:11.971" v="169" actId="1076"/>
      <pc:docMkLst>
        <pc:docMk/>
      </pc:docMkLst>
      <pc:sldChg chg="modSp mod">
        <pc:chgData name="Sabina Aubakirova" userId="dab0509b-7727-4875-a1a2-83975f87a095" providerId="ADAL" clId="{6A66B1D2-E1F5-4855-8D46-9F4EBD40756F}" dt="2025-07-01T04:42:53.813" v="128" actId="404"/>
        <pc:sldMkLst>
          <pc:docMk/>
          <pc:sldMk cId="3721523510" sldId="1881839150"/>
        </pc:sldMkLst>
        <pc:spChg chg="mod">
          <ac:chgData name="Sabina Aubakirova" userId="dab0509b-7727-4875-a1a2-83975f87a095" providerId="ADAL" clId="{6A66B1D2-E1F5-4855-8D46-9F4EBD40756F}" dt="2025-07-01T04:42:53.813" v="128" actId="404"/>
          <ac:spMkLst>
            <pc:docMk/>
            <pc:sldMk cId="3721523510" sldId="1881839150"/>
            <ac:spMk id="2" creationId="{28A5F5BF-BBBA-9C76-6F0A-E93CB91932B6}"/>
          </ac:spMkLst>
        </pc:spChg>
      </pc:sldChg>
      <pc:sldChg chg="modSp mod">
        <pc:chgData name="Sabina Aubakirova" userId="dab0509b-7727-4875-a1a2-83975f87a095" providerId="ADAL" clId="{6A66B1D2-E1F5-4855-8D46-9F4EBD40756F}" dt="2025-07-01T04:25:27.523" v="8" actId="1076"/>
        <pc:sldMkLst>
          <pc:docMk/>
          <pc:sldMk cId="1347234490" sldId="1881839159"/>
        </pc:sldMkLst>
        <pc:spChg chg="mod">
          <ac:chgData name="Sabina Aubakirova" userId="dab0509b-7727-4875-a1a2-83975f87a095" providerId="ADAL" clId="{6A66B1D2-E1F5-4855-8D46-9F4EBD40756F}" dt="2025-07-01T04:25:27.523" v="8" actId="1076"/>
          <ac:spMkLst>
            <pc:docMk/>
            <pc:sldMk cId="1347234490" sldId="1881839159"/>
            <ac:spMk id="8" creationId="{ADAE08FF-DFCE-3B1F-B6B2-69422780D68F}"/>
          </ac:spMkLst>
        </pc:spChg>
      </pc:sldChg>
      <pc:sldChg chg="modSp mod">
        <pc:chgData name="Sabina Aubakirova" userId="dab0509b-7727-4875-a1a2-83975f87a095" providerId="ADAL" clId="{6A66B1D2-E1F5-4855-8D46-9F4EBD40756F}" dt="2025-07-01T04:53:26.693" v="148" actId="403"/>
        <pc:sldMkLst>
          <pc:docMk/>
          <pc:sldMk cId="956982988" sldId="1881839161"/>
        </pc:sldMkLst>
        <pc:spChg chg="mod">
          <ac:chgData name="Sabina Aubakirova" userId="dab0509b-7727-4875-a1a2-83975f87a095" providerId="ADAL" clId="{6A66B1D2-E1F5-4855-8D46-9F4EBD40756F}" dt="2025-07-01T04:53:26.693" v="148" actId="403"/>
          <ac:spMkLst>
            <pc:docMk/>
            <pc:sldMk cId="956982988" sldId="1881839161"/>
            <ac:spMk id="8" creationId="{D7B68DD8-5FAA-F882-4FC2-0D2AFA767D87}"/>
          </ac:spMkLst>
        </pc:spChg>
      </pc:sldChg>
      <pc:sldChg chg="modSp mod">
        <pc:chgData name="Sabina Aubakirova" userId="dab0509b-7727-4875-a1a2-83975f87a095" providerId="ADAL" clId="{6A66B1D2-E1F5-4855-8D46-9F4EBD40756F}" dt="2025-07-01T04:44:40.521" v="135" actId="403"/>
        <pc:sldMkLst>
          <pc:docMk/>
          <pc:sldMk cId="1672454973" sldId="1881839177"/>
        </pc:sldMkLst>
        <pc:spChg chg="mod">
          <ac:chgData name="Sabina Aubakirova" userId="dab0509b-7727-4875-a1a2-83975f87a095" providerId="ADAL" clId="{6A66B1D2-E1F5-4855-8D46-9F4EBD40756F}" dt="2025-07-01T04:44:40.521" v="135" actId="403"/>
          <ac:spMkLst>
            <pc:docMk/>
            <pc:sldMk cId="1672454973" sldId="1881839177"/>
            <ac:spMk id="2" creationId="{0E1CEBF3-03BF-2D9B-BE44-38130F86E725}"/>
          </ac:spMkLst>
        </pc:spChg>
      </pc:sldChg>
      <pc:sldChg chg="modSp mod">
        <pc:chgData name="Sabina Aubakirova" userId="dab0509b-7727-4875-a1a2-83975f87a095" providerId="ADAL" clId="{6A66B1D2-E1F5-4855-8D46-9F4EBD40756F}" dt="2025-07-01T04:24:28.256" v="2" actId="1076"/>
        <pc:sldMkLst>
          <pc:docMk/>
          <pc:sldMk cId="3081756418" sldId="1881839178"/>
        </pc:sldMkLst>
        <pc:spChg chg="mod">
          <ac:chgData name="Sabina Aubakirova" userId="dab0509b-7727-4875-a1a2-83975f87a095" providerId="ADAL" clId="{6A66B1D2-E1F5-4855-8D46-9F4EBD40756F}" dt="2025-07-01T04:24:28.256" v="2" actId="1076"/>
          <ac:spMkLst>
            <pc:docMk/>
            <pc:sldMk cId="3081756418" sldId="1881839178"/>
            <ac:spMk id="2" creationId="{E4329954-6593-5D37-6744-B85EEFEE85EF}"/>
          </ac:spMkLst>
        </pc:spChg>
      </pc:sldChg>
      <pc:sldChg chg="modSp mod">
        <pc:chgData name="Sabina Aubakirova" userId="dab0509b-7727-4875-a1a2-83975f87a095" providerId="ADAL" clId="{6A66B1D2-E1F5-4855-8D46-9F4EBD40756F}" dt="2025-07-01T04:26:42.936" v="21" actId="1076"/>
        <pc:sldMkLst>
          <pc:docMk/>
          <pc:sldMk cId="2003548377" sldId="1881839180"/>
        </pc:sldMkLst>
        <pc:spChg chg="mod">
          <ac:chgData name="Sabina Aubakirova" userId="dab0509b-7727-4875-a1a2-83975f87a095" providerId="ADAL" clId="{6A66B1D2-E1F5-4855-8D46-9F4EBD40756F}" dt="2025-07-01T04:26:42.936" v="21" actId="1076"/>
          <ac:spMkLst>
            <pc:docMk/>
            <pc:sldMk cId="2003548377" sldId="1881839180"/>
            <ac:spMk id="2" creationId="{FDCF14FA-3DF7-5A65-014B-05E543EFACA3}"/>
          </ac:spMkLst>
        </pc:spChg>
      </pc:sldChg>
      <pc:sldChg chg="modSp mod">
        <pc:chgData name="Sabina Aubakirova" userId="dab0509b-7727-4875-a1a2-83975f87a095" providerId="ADAL" clId="{6A66B1D2-E1F5-4855-8D46-9F4EBD40756F}" dt="2025-07-01T04:28:38.362" v="30" actId="1076"/>
        <pc:sldMkLst>
          <pc:docMk/>
          <pc:sldMk cId="158839205" sldId="1881839181"/>
        </pc:sldMkLst>
        <pc:spChg chg="mod">
          <ac:chgData name="Sabina Aubakirova" userId="dab0509b-7727-4875-a1a2-83975f87a095" providerId="ADAL" clId="{6A66B1D2-E1F5-4855-8D46-9F4EBD40756F}" dt="2025-07-01T04:28:38.362" v="30" actId="1076"/>
          <ac:spMkLst>
            <pc:docMk/>
            <pc:sldMk cId="158839205" sldId="1881839181"/>
            <ac:spMk id="4" creationId="{5BA7EECA-6481-C75E-AB0B-1581C9254565}"/>
          </ac:spMkLst>
        </pc:spChg>
        <pc:spChg chg="mod">
          <ac:chgData name="Sabina Aubakirova" userId="dab0509b-7727-4875-a1a2-83975f87a095" providerId="ADAL" clId="{6A66B1D2-E1F5-4855-8D46-9F4EBD40756F}" dt="2025-07-01T04:28:24.882" v="29" actId="1076"/>
          <ac:spMkLst>
            <pc:docMk/>
            <pc:sldMk cId="158839205" sldId="1881839181"/>
            <ac:spMk id="15" creationId="{4B5959B6-F13D-A38D-4814-B48527E60955}"/>
          </ac:spMkLst>
        </pc:spChg>
      </pc:sldChg>
      <pc:sldChg chg="modSp mod">
        <pc:chgData name="Sabina Aubakirova" userId="dab0509b-7727-4875-a1a2-83975f87a095" providerId="ADAL" clId="{6A66B1D2-E1F5-4855-8D46-9F4EBD40756F}" dt="2025-07-01T04:42:04.443" v="122" actId="1076"/>
        <pc:sldMkLst>
          <pc:docMk/>
          <pc:sldMk cId="4272715703" sldId="1881839184"/>
        </pc:sldMkLst>
        <pc:spChg chg="mod">
          <ac:chgData name="Sabina Aubakirova" userId="dab0509b-7727-4875-a1a2-83975f87a095" providerId="ADAL" clId="{6A66B1D2-E1F5-4855-8D46-9F4EBD40756F}" dt="2025-07-01T04:41:53.038" v="121" actId="1076"/>
          <ac:spMkLst>
            <pc:docMk/>
            <pc:sldMk cId="4272715703" sldId="1881839184"/>
            <ac:spMk id="4" creationId="{905B03DA-391C-69EF-18DC-315107AF6BAC}"/>
          </ac:spMkLst>
        </pc:spChg>
        <pc:spChg chg="mod">
          <ac:chgData name="Sabina Aubakirova" userId="dab0509b-7727-4875-a1a2-83975f87a095" providerId="ADAL" clId="{6A66B1D2-E1F5-4855-8D46-9F4EBD40756F}" dt="2025-07-01T04:41:46.888" v="120" actId="1076"/>
          <ac:spMkLst>
            <pc:docMk/>
            <pc:sldMk cId="4272715703" sldId="1881839184"/>
            <ac:spMk id="23" creationId="{C4DDE023-228E-3004-44D4-DFD5FA756DFE}"/>
          </ac:spMkLst>
        </pc:spChg>
        <pc:spChg chg="mod">
          <ac:chgData name="Sabina Aubakirova" userId="dab0509b-7727-4875-a1a2-83975f87a095" providerId="ADAL" clId="{6A66B1D2-E1F5-4855-8D46-9F4EBD40756F}" dt="2025-07-01T04:41:46.888" v="120" actId="1076"/>
          <ac:spMkLst>
            <pc:docMk/>
            <pc:sldMk cId="4272715703" sldId="1881839184"/>
            <ac:spMk id="24" creationId="{580AF30C-870A-783D-096E-EDBD57F5EACE}"/>
          </ac:spMkLst>
        </pc:spChg>
        <pc:spChg chg="mod">
          <ac:chgData name="Sabina Aubakirova" userId="dab0509b-7727-4875-a1a2-83975f87a095" providerId="ADAL" clId="{6A66B1D2-E1F5-4855-8D46-9F4EBD40756F}" dt="2025-07-01T04:41:32.256" v="119" actId="1076"/>
          <ac:spMkLst>
            <pc:docMk/>
            <pc:sldMk cId="4272715703" sldId="1881839184"/>
            <ac:spMk id="25" creationId="{14D01671-9469-B6CC-C20B-E12E7144ADE5}"/>
          </ac:spMkLst>
        </pc:spChg>
        <pc:graphicFrameChg chg="mod">
          <ac:chgData name="Sabina Aubakirova" userId="dab0509b-7727-4875-a1a2-83975f87a095" providerId="ADAL" clId="{6A66B1D2-E1F5-4855-8D46-9F4EBD40756F}" dt="2025-07-01T04:42:04.443" v="122" actId="1076"/>
          <ac:graphicFrameMkLst>
            <pc:docMk/>
            <pc:sldMk cId="4272715703" sldId="1881839184"/>
            <ac:graphicFrameMk id="5" creationId="{AA2AF86E-AA4E-4CFE-49B4-27680B11F065}"/>
          </ac:graphicFrameMkLst>
        </pc:graphicFrameChg>
      </pc:sldChg>
      <pc:sldChg chg="modSp mod">
        <pc:chgData name="Sabina Aubakirova" userId="dab0509b-7727-4875-a1a2-83975f87a095" providerId="ADAL" clId="{6A66B1D2-E1F5-4855-8D46-9F4EBD40756F}" dt="2025-07-01T04:36:01.233" v="83" actId="1076"/>
        <pc:sldMkLst>
          <pc:docMk/>
          <pc:sldMk cId="2966535318" sldId="1881839185"/>
        </pc:sldMkLst>
        <pc:spChg chg="mod">
          <ac:chgData name="Sabina Aubakirova" userId="dab0509b-7727-4875-a1a2-83975f87a095" providerId="ADAL" clId="{6A66B1D2-E1F5-4855-8D46-9F4EBD40756F}" dt="2025-07-01T04:35:57.199" v="82" actId="1076"/>
          <ac:spMkLst>
            <pc:docMk/>
            <pc:sldMk cId="2966535318" sldId="1881839185"/>
            <ac:spMk id="4" creationId="{75F8B74A-C717-5A26-DEE2-95CA7AD8DD40}"/>
          </ac:spMkLst>
        </pc:spChg>
        <pc:spChg chg="mod">
          <ac:chgData name="Sabina Aubakirova" userId="dab0509b-7727-4875-a1a2-83975f87a095" providerId="ADAL" clId="{6A66B1D2-E1F5-4855-8D46-9F4EBD40756F}" dt="2025-07-01T04:36:01.233" v="83" actId="1076"/>
          <ac:spMkLst>
            <pc:docMk/>
            <pc:sldMk cId="2966535318" sldId="1881839185"/>
            <ac:spMk id="5" creationId="{7639D709-D3CE-72C2-D4F0-B4EA0A4DDF91}"/>
          </ac:spMkLst>
        </pc:spChg>
        <pc:spChg chg="mod">
          <ac:chgData name="Sabina Aubakirova" userId="dab0509b-7727-4875-a1a2-83975f87a095" providerId="ADAL" clId="{6A66B1D2-E1F5-4855-8D46-9F4EBD40756F}" dt="2025-07-01T04:35:51.596" v="81" actId="1076"/>
          <ac:spMkLst>
            <pc:docMk/>
            <pc:sldMk cId="2966535318" sldId="1881839185"/>
            <ac:spMk id="7" creationId="{2048F44E-37D8-9105-D345-8CE3BA90974A}"/>
          </ac:spMkLst>
        </pc:spChg>
        <pc:spChg chg="mod">
          <ac:chgData name="Sabina Aubakirova" userId="dab0509b-7727-4875-a1a2-83975f87a095" providerId="ADAL" clId="{6A66B1D2-E1F5-4855-8D46-9F4EBD40756F}" dt="2025-07-01T04:35:51.596" v="81" actId="1076"/>
          <ac:spMkLst>
            <pc:docMk/>
            <pc:sldMk cId="2966535318" sldId="1881839185"/>
            <ac:spMk id="8" creationId="{95C53188-B638-6AB2-9B54-D31078A4994E}"/>
          </ac:spMkLst>
        </pc:spChg>
      </pc:sldChg>
      <pc:sldChg chg="modSp mod">
        <pc:chgData name="Sabina Aubakirova" userId="dab0509b-7727-4875-a1a2-83975f87a095" providerId="ADAL" clId="{6A66B1D2-E1F5-4855-8D46-9F4EBD40756F}" dt="2025-07-01T04:38:38.810" v="96" actId="1076"/>
        <pc:sldMkLst>
          <pc:docMk/>
          <pc:sldMk cId="2746300831" sldId="1881839186"/>
        </pc:sldMkLst>
        <pc:spChg chg="mod">
          <ac:chgData name="Sabina Aubakirova" userId="dab0509b-7727-4875-a1a2-83975f87a095" providerId="ADAL" clId="{6A66B1D2-E1F5-4855-8D46-9F4EBD40756F}" dt="2025-07-01T04:37:55.516" v="91" actId="1076"/>
          <ac:spMkLst>
            <pc:docMk/>
            <pc:sldMk cId="2746300831" sldId="1881839186"/>
            <ac:spMk id="4" creationId="{4140BDC3-E55E-F1C2-3E8A-55BF671E701F}"/>
          </ac:spMkLst>
        </pc:spChg>
        <pc:spChg chg="mod">
          <ac:chgData name="Sabina Aubakirova" userId="dab0509b-7727-4875-a1a2-83975f87a095" providerId="ADAL" clId="{6A66B1D2-E1F5-4855-8D46-9F4EBD40756F}" dt="2025-07-01T04:38:38.810" v="96" actId="1076"/>
          <ac:spMkLst>
            <pc:docMk/>
            <pc:sldMk cId="2746300831" sldId="1881839186"/>
            <ac:spMk id="10" creationId="{51C89295-1368-D36F-DE17-B7AB433767A7}"/>
          </ac:spMkLst>
        </pc:spChg>
        <pc:spChg chg="mod">
          <ac:chgData name="Sabina Aubakirova" userId="dab0509b-7727-4875-a1a2-83975f87a095" providerId="ADAL" clId="{6A66B1D2-E1F5-4855-8D46-9F4EBD40756F}" dt="2025-07-01T04:38:38.810" v="96" actId="1076"/>
          <ac:spMkLst>
            <pc:docMk/>
            <pc:sldMk cId="2746300831" sldId="1881839186"/>
            <ac:spMk id="11" creationId="{1E07FF69-2338-8E40-A71A-6D786D0493C6}"/>
          </ac:spMkLst>
        </pc:spChg>
        <pc:spChg chg="mod">
          <ac:chgData name="Sabina Aubakirova" userId="dab0509b-7727-4875-a1a2-83975f87a095" providerId="ADAL" clId="{6A66B1D2-E1F5-4855-8D46-9F4EBD40756F}" dt="2025-07-01T04:38:30.582" v="95" actId="1076"/>
          <ac:spMkLst>
            <pc:docMk/>
            <pc:sldMk cId="2746300831" sldId="1881839186"/>
            <ac:spMk id="12" creationId="{38F11E3B-4D42-EAC3-9053-AB13707D13F4}"/>
          </ac:spMkLst>
        </pc:spChg>
        <pc:graphicFrameChg chg="mod">
          <ac:chgData name="Sabina Aubakirova" userId="dab0509b-7727-4875-a1a2-83975f87a095" providerId="ADAL" clId="{6A66B1D2-E1F5-4855-8D46-9F4EBD40756F}" dt="2025-07-01T04:38:08.396" v="92" actId="1076"/>
          <ac:graphicFrameMkLst>
            <pc:docMk/>
            <pc:sldMk cId="2746300831" sldId="1881839186"/>
            <ac:graphicFrameMk id="6" creationId="{DE31AF06-C94C-1F3A-246C-3381755B69F1}"/>
          </ac:graphicFrameMkLst>
        </pc:graphicFrameChg>
        <pc:picChg chg="mod">
          <ac:chgData name="Sabina Aubakirova" userId="dab0509b-7727-4875-a1a2-83975f87a095" providerId="ADAL" clId="{6A66B1D2-E1F5-4855-8D46-9F4EBD40756F}" dt="2025-07-01T04:38:22.205" v="94" actId="1076"/>
          <ac:picMkLst>
            <pc:docMk/>
            <pc:sldMk cId="2746300831" sldId="1881839186"/>
            <ac:picMk id="9" creationId="{A516F863-25AF-E4B8-1636-8C3DC1FB72B5}"/>
          </ac:picMkLst>
        </pc:picChg>
      </pc:sldChg>
      <pc:sldChg chg="modSp mod">
        <pc:chgData name="Sabina Aubakirova" userId="dab0509b-7727-4875-a1a2-83975f87a095" providerId="ADAL" clId="{6A66B1D2-E1F5-4855-8D46-9F4EBD40756F}" dt="2025-07-01T04:40:19.754" v="109" actId="14100"/>
        <pc:sldMkLst>
          <pc:docMk/>
          <pc:sldMk cId="1994576737" sldId="1881839187"/>
        </pc:sldMkLst>
        <pc:spChg chg="mod">
          <ac:chgData name="Sabina Aubakirova" userId="dab0509b-7727-4875-a1a2-83975f87a095" providerId="ADAL" clId="{6A66B1D2-E1F5-4855-8D46-9F4EBD40756F}" dt="2025-07-01T04:40:19.754" v="109" actId="14100"/>
          <ac:spMkLst>
            <pc:docMk/>
            <pc:sldMk cId="1994576737" sldId="1881839187"/>
            <ac:spMk id="4" creationId="{98AC2B4B-BFC3-29B4-3367-67D4CA35C41D}"/>
          </ac:spMkLst>
        </pc:spChg>
        <pc:spChg chg="mod">
          <ac:chgData name="Sabina Aubakirova" userId="dab0509b-7727-4875-a1a2-83975f87a095" providerId="ADAL" clId="{6A66B1D2-E1F5-4855-8D46-9F4EBD40756F}" dt="2025-07-01T04:40:05.341" v="106" actId="1076"/>
          <ac:spMkLst>
            <pc:docMk/>
            <pc:sldMk cId="1994576737" sldId="1881839187"/>
            <ac:spMk id="6" creationId="{7BD5D106-41C9-36AF-F3A1-8AD9F5BB4662}"/>
          </ac:spMkLst>
        </pc:spChg>
        <pc:spChg chg="mod">
          <ac:chgData name="Sabina Aubakirova" userId="dab0509b-7727-4875-a1a2-83975f87a095" providerId="ADAL" clId="{6A66B1D2-E1F5-4855-8D46-9F4EBD40756F}" dt="2025-07-01T04:40:05.341" v="106" actId="1076"/>
          <ac:spMkLst>
            <pc:docMk/>
            <pc:sldMk cId="1994576737" sldId="1881839187"/>
            <ac:spMk id="8" creationId="{E4E7B989-7A8D-CDA8-39D7-8FDD3CAB5B7D}"/>
          </ac:spMkLst>
        </pc:spChg>
        <pc:spChg chg="mod">
          <ac:chgData name="Sabina Aubakirova" userId="dab0509b-7727-4875-a1a2-83975f87a095" providerId="ADAL" clId="{6A66B1D2-E1F5-4855-8D46-9F4EBD40756F}" dt="2025-07-01T04:39:56.150" v="105" actId="1076"/>
          <ac:spMkLst>
            <pc:docMk/>
            <pc:sldMk cId="1994576737" sldId="1881839187"/>
            <ac:spMk id="10" creationId="{AAE6FC2E-0977-FBDB-0A9A-18F5423DF4DE}"/>
          </ac:spMkLst>
        </pc:spChg>
        <pc:graphicFrameChg chg="mod">
          <ac:chgData name="Sabina Aubakirova" userId="dab0509b-7727-4875-a1a2-83975f87a095" providerId="ADAL" clId="{6A66B1D2-E1F5-4855-8D46-9F4EBD40756F}" dt="2025-07-01T04:39:31.454" v="102" actId="1076"/>
          <ac:graphicFrameMkLst>
            <pc:docMk/>
            <pc:sldMk cId="1994576737" sldId="1881839187"/>
            <ac:graphicFrameMk id="7" creationId="{63581929-C1BE-0B8F-67DA-B77D51F79EBE}"/>
          </ac:graphicFrameMkLst>
        </pc:graphicFrameChg>
        <pc:picChg chg="mod">
          <ac:chgData name="Sabina Aubakirova" userId="dab0509b-7727-4875-a1a2-83975f87a095" providerId="ADAL" clId="{6A66B1D2-E1F5-4855-8D46-9F4EBD40756F}" dt="2025-07-01T04:39:40.452" v="104" actId="1076"/>
          <ac:picMkLst>
            <pc:docMk/>
            <pc:sldMk cId="1994576737" sldId="1881839187"/>
            <ac:picMk id="9" creationId="{67B22DD2-8476-AEF4-4714-F4273C1BBE49}"/>
          </ac:picMkLst>
        </pc:picChg>
        <pc:picChg chg="mod">
          <ac:chgData name="Sabina Aubakirova" userId="dab0509b-7727-4875-a1a2-83975f87a095" providerId="ADAL" clId="{6A66B1D2-E1F5-4855-8D46-9F4EBD40756F}" dt="2025-07-01T04:39:36.759" v="103" actId="1076"/>
          <ac:picMkLst>
            <pc:docMk/>
            <pc:sldMk cId="1994576737" sldId="1881839187"/>
            <ac:picMk id="11" creationId="{99CECE95-9153-FABE-87F3-D133D011596C}"/>
          </ac:picMkLst>
        </pc:picChg>
      </pc:sldChg>
      <pc:sldChg chg="modSp mod">
        <pc:chgData name="Sabina Aubakirova" userId="dab0509b-7727-4875-a1a2-83975f87a095" providerId="ADAL" clId="{6A66B1D2-E1F5-4855-8D46-9F4EBD40756F}" dt="2025-07-01T04:58:21.840" v="156" actId="14100"/>
        <pc:sldMkLst>
          <pc:docMk/>
          <pc:sldMk cId="3115535368" sldId="1881839188"/>
        </pc:sldMkLst>
        <pc:spChg chg="mod">
          <ac:chgData name="Sabina Aubakirova" userId="dab0509b-7727-4875-a1a2-83975f87a095" providerId="ADAL" clId="{6A66B1D2-E1F5-4855-8D46-9F4EBD40756F}" dt="2025-07-01T04:58:21.840" v="156" actId="14100"/>
          <ac:spMkLst>
            <pc:docMk/>
            <pc:sldMk cId="3115535368" sldId="1881839188"/>
            <ac:spMk id="4" creationId="{591D7E39-516C-1435-EA99-158653A1C737}"/>
          </ac:spMkLst>
        </pc:spChg>
        <pc:spChg chg="mod">
          <ac:chgData name="Sabina Aubakirova" userId="dab0509b-7727-4875-a1a2-83975f87a095" providerId="ADAL" clId="{6A66B1D2-E1F5-4855-8D46-9F4EBD40756F}" dt="2025-07-01T04:58:02.983" v="153" actId="1076"/>
          <ac:spMkLst>
            <pc:docMk/>
            <pc:sldMk cId="3115535368" sldId="1881839188"/>
            <ac:spMk id="5" creationId="{4A7C8206-22C3-FAA6-E9B7-04D700DCA9AC}"/>
          </ac:spMkLst>
        </pc:spChg>
        <pc:spChg chg="mod">
          <ac:chgData name="Sabina Aubakirova" userId="dab0509b-7727-4875-a1a2-83975f87a095" providerId="ADAL" clId="{6A66B1D2-E1F5-4855-8D46-9F4EBD40756F}" dt="2025-07-01T04:58:12.816" v="154" actId="1076"/>
          <ac:spMkLst>
            <pc:docMk/>
            <pc:sldMk cId="3115535368" sldId="1881839188"/>
            <ac:spMk id="7" creationId="{8BE38044-98E2-DE80-8571-0ACB999953FE}"/>
          </ac:spMkLst>
        </pc:spChg>
        <pc:spChg chg="mod">
          <ac:chgData name="Sabina Aubakirova" userId="dab0509b-7727-4875-a1a2-83975f87a095" providerId="ADAL" clId="{6A66B1D2-E1F5-4855-8D46-9F4EBD40756F}" dt="2025-07-01T04:58:12.816" v="154" actId="1076"/>
          <ac:spMkLst>
            <pc:docMk/>
            <pc:sldMk cId="3115535368" sldId="1881839188"/>
            <ac:spMk id="8" creationId="{BFE7AA34-5974-1A75-F8B9-351898426ACF}"/>
          </ac:spMkLst>
        </pc:spChg>
        <pc:graphicFrameChg chg="mod">
          <ac:chgData name="Sabina Aubakirova" userId="dab0509b-7727-4875-a1a2-83975f87a095" providerId="ADAL" clId="{6A66B1D2-E1F5-4855-8D46-9F4EBD40756F}" dt="2025-07-01T04:57:48.548" v="152" actId="1076"/>
          <ac:graphicFrameMkLst>
            <pc:docMk/>
            <pc:sldMk cId="3115535368" sldId="1881839188"/>
            <ac:graphicFrameMk id="2" creationId="{D534602A-79A0-2701-1165-E8EC2A972A10}"/>
          </ac:graphicFrameMkLst>
        </pc:graphicFrameChg>
      </pc:sldChg>
      <pc:sldChg chg="modSp mod">
        <pc:chgData name="Sabina Aubakirova" userId="dab0509b-7727-4875-a1a2-83975f87a095" providerId="ADAL" clId="{6A66B1D2-E1F5-4855-8D46-9F4EBD40756F}" dt="2025-07-01T04:37:09.823" v="86" actId="1076"/>
        <pc:sldMkLst>
          <pc:docMk/>
          <pc:sldMk cId="347289165" sldId="1881839189"/>
        </pc:sldMkLst>
        <pc:spChg chg="mod">
          <ac:chgData name="Sabina Aubakirova" userId="dab0509b-7727-4875-a1a2-83975f87a095" providerId="ADAL" clId="{6A66B1D2-E1F5-4855-8D46-9F4EBD40756F}" dt="2025-07-01T04:37:09.823" v="86" actId="1076"/>
          <ac:spMkLst>
            <pc:docMk/>
            <pc:sldMk cId="347289165" sldId="1881839189"/>
            <ac:spMk id="4" creationId="{051A5AD8-8808-332E-0616-41879FF02006}"/>
          </ac:spMkLst>
        </pc:spChg>
      </pc:sldChg>
      <pc:sldChg chg="modSp mod">
        <pc:chgData name="Sabina Aubakirova" userId="dab0509b-7727-4875-a1a2-83975f87a095" providerId="ADAL" clId="{6A66B1D2-E1F5-4855-8D46-9F4EBD40756F}" dt="2025-07-01T04:40:46.601" v="113" actId="1076"/>
        <pc:sldMkLst>
          <pc:docMk/>
          <pc:sldMk cId="1242318544" sldId="1881839190"/>
        </pc:sldMkLst>
        <pc:spChg chg="mod">
          <ac:chgData name="Sabina Aubakirova" userId="dab0509b-7727-4875-a1a2-83975f87a095" providerId="ADAL" clId="{6A66B1D2-E1F5-4855-8D46-9F4EBD40756F}" dt="2025-07-01T04:40:46.601" v="113" actId="1076"/>
          <ac:spMkLst>
            <pc:docMk/>
            <pc:sldMk cId="1242318544" sldId="1881839190"/>
            <ac:spMk id="4" creationId="{37040363-8717-2FB3-E852-0A9450785F35}"/>
          </ac:spMkLst>
        </pc:spChg>
      </pc:sldChg>
      <pc:sldChg chg="modSp mod">
        <pc:chgData name="Sabina Aubakirova" userId="dab0509b-7727-4875-a1a2-83975f87a095" providerId="ADAL" clId="{6A66B1D2-E1F5-4855-8D46-9F4EBD40756F}" dt="2025-07-01T04:42:24.187" v="125" actId="1076"/>
        <pc:sldMkLst>
          <pc:docMk/>
          <pc:sldMk cId="1077281969" sldId="1881839191"/>
        </pc:sldMkLst>
        <pc:spChg chg="mod">
          <ac:chgData name="Sabina Aubakirova" userId="dab0509b-7727-4875-a1a2-83975f87a095" providerId="ADAL" clId="{6A66B1D2-E1F5-4855-8D46-9F4EBD40756F}" dt="2025-07-01T04:42:24.187" v="125" actId="1076"/>
          <ac:spMkLst>
            <pc:docMk/>
            <pc:sldMk cId="1077281969" sldId="1881839191"/>
            <ac:spMk id="4" creationId="{EE29CD2A-FBF8-CB86-89F4-91F12D8D17EF}"/>
          </ac:spMkLst>
        </pc:spChg>
      </pc:sldChg>
      <pc:sldChg chg="modSp mod">
        <pc:chgData name="Sabina Aubakirova" userId="dab0509b-7727-4875-a1a2-83975f87a095" providerId="ADAL" clId="{6A66B1D2-E1F5-4855-8D46-9F4EBD40756F}" dt="2025-07-01T04:33:48.625" v="60" actId="14100"/>
        <pc:sldMkLst>
          <pc:docMk/>
          <pc:sldMk cId="2204379559" sldId="1881839192"/>
        </pc:sldMkLst>
        <pc:spChg chg="mod">
          <ac:chgData name="Sabina Aubakirova" userId="dab0509b-7727-4875-a1a2-83975f87a095" providerId="ADAL" clId="{6A66B1D2-E1F5-4855-8D46-9F4EBD40756F}" dt="2025-07-01T04:33:48.625" v="60" actId="14100"/>
          <ac:spMkLst>
            <pc:docMk/>
            <pc:sldMk cId="2204379559" sldId="1881839192"/>
            <ac:spMk id="4" creationId="{19ED37AD-D072-39D7-3FAB-76C1CD0EE9F2}"/>
          </ac:spMkLst>
        </pc:spChg>
      </pc:sldChg>
      <pc:sldChg chg="modSp mod">
        <pc:chgData name="Sabina Aubakirova" userId="dab0509b-7727-4875-a1a2-83975f87a095" providerId="ADAL" clId="{6A66B1D2-E1F5-4855-8D46-9F4EBD40756F}" dt="2025-07-01T04:56:35.526" v="149" actId="14100"/>
        <pc:sldMkLst>
          <pc:docMk/>
          <pc:sldMk cId="546881440" sldId="1881839198"/>
        </pc:sldMkLst>
        <pc:spChg chg="mod">
          <ac:chgData name="Sabina Aubakirova" userId="dab0509b-7727-4875-a1a2-83975f87a095" providerId="ADAL" clId="{6A66B1D2-E1F5-4855-8D46-9F4EBD40756F}" dt="2025-07-01T04:56:35.526" v="149" actId="14100"/>
          <ac:spMkLst>
            <pc:docMk/>
            <pc:sldMk cId="546881440" sldId="1881839198"/>
            <ac:spMk id="48" creationId="{34760A1F-A4FB-C994-63B5-87C06BDA7ECD}"/>
          </ac:spMkLst>
        </pc:spChg>
      </pc:sldChg>
      <pc:sldChg chg="modSp mod">
        <pc:chgData name="Sabina Aubakirova" userId="dab0509b-7727-4875-a1a2-83975f87a095" providerId="ADAL" clId="{6A66B1D2-E1F5-4855-8D46-9F4EBD40756F}" dt="2025-07-01T04:59:35.490" v="157" actId="14100"/>
        <pc:sldMkLst>
          <pc:docMk/>
          <pc:sldMk cId="4192207144" sldId="1881839199"/>
        </pc:sldMkLst>
        <pc:spChg chg="mod">
          <ac:chgData name="Sabina Aubakirova" userId="dab0509b-7727-4875-a1a2-83975f87a095" providerId="ADAL" clId="{6A66B1D2-E1F5-4855-8D46-9F4EBD40756F}" dt="2025-07-01T04:59:35.490" v="157" actId="14100"/>
          <ac:spMkLst>
            <pc:docMk/>
            <pc:sldMk cId="4192207144" sldId="1881839199"/>
            <ac:spMk id="48" creationId="{BFD20BB5-541D-259E-69F3-BED1E66681D1}"/>
          </ac:spMkLst>
        </pc:spChg>
      </pc:sldChg>
      <pc:sldChg chg="modSp mod">
        <pc:chgData name="Sabina Aubakirova" userId="dab0509b-7727-4875-a1a2-83975f87a095" providerId="ADAL" clId="{6A66B1D2-E1F5-4855-8D46-9F4EBD40756F}" dt="2025-07-01T05:01:11.971" v="169" actId="1076"/>
        <pc:sldMkLst>
          <pc:docMk/>
          <pc:sldMk cId="3729098937" sldId="1881839200"/>
        </pc:sldMkLst>
        <pc:spChg chg="mod">
          <ac:chgData name="Sabina Aubakirova" userId="dab0509b-7727-4875-a1a2-83975f87a095" providerId="ADAL" clId="{6A66B1D2-E1F5-4855-8D46-9F4EBD40756F}" dt="2025-07-01T05:00:56.256" v="166" actId="1076"/>
          <ac:spMkLst>
            <pc:docMk/>
            <pc:sldMk cId="3729098937" sldId="1881839200"/>
            <ac:spMk id="2" creationId="{A5EA9A1D-DF9A-B766-AE9A-32DD3FBABA3F}"/>
          </ac:spMkLst>
        </pc:spChg>
        <pc:spChg chg="mod">
          <ac:chgData name="Sabina Aubakirova" userId="dab0509b-7727-4875-a1a2-83975f87a095" providerId="ADAL" clId="{6A66B1D2-E1F5-4855-8D46-9F4EBD40756F}" dt="2025-07-01T05:01:11.971" v="169" actId="1076"/>
          <ac:spMkLst>
            <pc:docMk/>
            <pc:sldMk cId="3729098937" sldId="1881839200"/>
            <ac:spMk id="3" creationId="{C2AC34F9-EE68-AB46-24F1-225618C655D8}"/>
          </ac:spMkLst>
        </pc:spChg>
        <pc:spChg chg="mod">
          <ac:chgData name="Sabina Aubakirova" userId="dab0509b-7727-4875-a1a2-83975f87a095" providerId="ADAL" clId="{6A66B1D2-E1F5-4855-8D46-9F4EBD40756F}" dt="2025-07-01T05:00:47.026" v="164" actId="1076"/>
          <ac:spMkLst>
            <pc:docMk/>
            <pc:sldMk cId="3729098937" sldId="1881839200"/>
            <ac:spMk id="4" creationId="{E58E7AA8-CBCE-A066-618B-71F9DB997D54}"/>
          </ac:spMkLst>
        </pc:spChg>
        <pc:spChg chg="mod">
          <ac:chgData name="Sabina Aubakirova" userId="dab0509b-7727-4875-a1a2-83975f87a095" providerId="ADAL" clId="{6A66B1D2-E1F5-4855-8D46-9F4EBD40756F}" dt="2025-07-01T05:01:01.677" v="167" actId="1076"/>
          <ac:spMkLst>
            <pc:docMk/>
            <pc:sldMk cId="3729098937" sldId="1881839200"/>
            <ac:spMk id="5" creationId="{D69358FB-8D8F-7B9C-398F-694AE3A18D86}"/>
          </ac:spMkLst>
        </pc:spChg>
        <pc:spChg chg="mod">
          <ac:chgData name="Sabina Aubakirova" userId="dab0509b-7727-4875-a1a2-83975f87a095" providerId="ADAL" clId="{6A66B1D2-E1F5-4855-8D46-9F4EBD40756F}" dt="2025-07-01T05:00:42.652" v="163" actId="1076"/>
          <ac:spMkLst>
            <pc:docMk/>
            <pc:sldMk cId="3729098937" sldId="1881839200"/>
            <ac:spMk id="6" creationId="{E3BC8C80-AD73-12A1-A634-5B4E25D0D7DE}"/>
          </ac:spMkLst>
        </pc:spChg>
        <pc:spChg chg="mod">
          <ac:chgData name="Sabina Aubakirova" userId="dab0509b-7727-4875-a1a2-83975f87a095" providerId="ADAL" clId="{6A66B1D2-E1F5-4855-8D46-9F4EBD40756F}" dt="2025-07-01T05:01:06.888" v="168" actId="1076"/>
          <ac:spMkLst>
            <pc:docMk/>
            <pc:sldMk cId="3729098937" sldId="1881839200"/>
            <ac:spMk id="7" creationId="{4BB22B6A-DF72-7A0D-C23F-04FD8F043184}"/>
          </ac:spMkLst>
        </pc:spChg>
        <pc:spChg chg="mod">
          <ac:chgData name="Sabina Aubakirova" userId="dab0509b-7727-4875-a1a2-83975f87a095" providerId="ADAL" clId="{6A66B1D2-E1F5-4855-8D46-9F4EBD40756F}" dt="2025-07-01T04:53:01.236" v="146" actId="403"/>
          <ac:spMkLst>
            <pc:docMk/>
            <pc:sldMk cId="3729098937" sldId="1881839200"/>
            <ac:spMk id="48" creationId="{F846015E-869D-FE98-A4A5-59C71195BE33}"/>
          </ac:spMkLst>
        </pc:spChg>
        <pc:grpChg chg="mod">
          <ac:chgData name="Sabina Aubakirova" userId="dab0509b-7727-4875-a1a2-83975f87a095" providerId="ADAL" clId="{6A66B1D2-E1F5-4855-8D46-9F4EBD40756F}" dt="2025-07-01T05:00:51.550" v="165" actId="1076"/>
          <ac:grpSpMkLst>
            <pc:docMk/>
            <pc:sldMk cId="3729098937" sldId="1881839200"/>
            <ac:grpSpMk id="8" creationId="{3DF7C73E-2259-4A7D-30E1-BCC664522892}"/>
          </ac:grpSpMkLst>
        </pc:grpChg>
      </pc:sldChg>
      <pc:sldChg chg="modSp mod">
        <pc:chgData name="Sabina Aubakirova" userId="dab0509b-7727-4875-a1a2-83975f87a095" providerId="ADAL" clId="{6A66B1D2-E1F5-4855-8D46-9F4EBD40756F}" dt="2025-07-01T05:00:08.016" v="162" actId="14100"/>
        <pc:sldMkLst>
          <pc:docMk/>
          <pc:sldMk cId="543987747" sldId="1881839201"/>
        </pc:sldMkLst>
        <pc:spChg chg="mod">
          <ac:chgData name="Sabina Aubakirova" userId="dab0509b-7727-4875-a1a2-83975f87a095" providerId="ADAL" clId="{6A66B1D2-E1F5-4855-8D46-9F4EBD40756F}" dt="2025-07-01T05:00:02.552" v="161" actId="14100"/>
          <ac:spMkLst>
            <pc:docMk/>
            <pc:sldMk cId="543987747" sldId="1881839201"/>
            <ac:spMk id="14" creationId="{8FA8CCD7-4741-EA0C-7D69-B8ACEB8398C2}"/>
          </ac:spMkLst>
        </pc:spChg>
        <pc:spChg chg="mod">
          <ac:chgData name="Sabina Aubakirova" userId="dab0509b-7727-4875-a1a2-83975f87a095" providerId="ADAL" clId="{6A66B1D2-E1F5-4855-8D46-9F4EBD40756F}" dt="2025-07-01T05:00:08.016" v="162" actId="14100"/>
          <ac:spMkLst>
            <pc:docMk/>
            <pc:sldMk cId="543987747" sldId="1881839201"/>
            <ac:spMk id="48" creationId="{82DF18A3-DFBB-BE83-71BD-4B074133E411}"/>
          </ac:spMkLst>
        </pc:spChg>
      </pc:sldChg>
      <pc:sldChg chg="modSp mod">
        <pc:chgData name="Sabina Aubakirova" userId="dab0509b-7727-4875-a1a2-83975f87a095" providerId="ADAL" clId="{6A66B1D2-E1F5-4855-8D46-9F4EBD40756F}" dt="2025-07-01T04:33:25.184" v="56" actId="403"/>
        <pc:sldMkLst>
          <pc:docMk/>
          <pc:sldMk cId="2603973423" sldId="1881839203"/>
        </pc:sldMkLst>
        <pc:spChg chg="mod">
          <ac:chgData name="Sabina Aubakirova" userId="dab0509b-7727-4875-a1a2-83975f87a095" providerId="ADAL" clId="{6A66B1D2-E1F5-4855-8D46-9F4EBD40756F}" dt="2025-07-01T04:33:25.184" v="56" actId="403"/>
          <ac:spMkLst>
            <pc:docMk/>
            <pc:sldMk cId="2603973423" sldId="1881839203"/>
            <ac:spMk id="4" creationId="{C8DCDE2E-BCED-97F9-54C4-2F7E4AE5928C}"/>
          </ac:spMkLst>
        </pc:spChg>
      </pc:sldChg>
      <pc:sldChg chg="modSp mod">
        <pc:chgData name="Sabina Aubakirova" userId="dab0509b-7727-4875-a1a2-83975f87a095" providerId="ADAL" clId="{6A66B1D2-E1F5-4855-8D46-9F4EBD40756F}" dt="2025-07-01T04:33:14.069" v="51" actId="2711"/>
        <pc:sldMkLst>
          <pc:docMk/>
          <pc:sldMk cId="4183451159" sldId="1881839204"/>
        </pc:sldMkLst>
        <pc:spChg chg="mod">
          <ac:chgData name="Sabina Aubakirova" userId="dab0509b-7727-4875-a1a2-83975f87a095" providerId="ADAL" clId="{6A66B1D2-E1F5-4855-8D46-9F4EBD40756F}" dt="2025-07-01T04:33:14.069" v="51" actId="2711"/>
          <ac:spMkLst>
            <pc:docMk/>
            <pc:sldMk cId="4183451159" sldId="1881839204"/>
            <ac:spMk id="4" creationId="{807466C2-B391-A47F-FEB0-A5C8D1F2839E}"/>
          </ac:spMkLst>
        </pc:spChg>
      </pc:sldChg>
      <pc:sldChg chg="modSp mod">
        <pc:chgData name="Sabina Aubakirova" userId="dab0509b-7727-4875-a1a2-83975f87a095" providerId="ADAL" clId="{6A66B1D2-E1F5-4855-8D46-9F4EBD40756F}" dt="2025-07-01T04:32:49.128" v="46" actId="1076"/>
        <pc:sldMkLst>
          <pc:docMk/>
          <pc:sldMk cId="2311077836" sldId="1881839205"/>
        </pc:sldMkLst>
        <pc:spChg chg="mod">
          <ac:chgData name="Sabina Aubakirova" userId="dab0509b-7727-4875-a1a2-83975f87a095" providerId="ADAL" clId="{6A66B1D2-E1F5-4855-8D46-9F4EBD40756F}" dt="2025-07-01T04:32:49.128" v="46" actId="1076"/>
          <ac:spMkLst>
            <pc:docMk/>
            <pc:sldMk cId="2311077836" sldId="1881839205"/>
            <ac:spMk id="4" creationId="{EB4DC01E-0652-67BB-9421-1BFE1F48D161}"/>
          </ac:spMkLst>
        </pc:spChg>
      </pc:sldChg>
      <pc:sldChg chg="modSp mod">
        <pc:chgData name="Sabina Aubakirova" userId="dab0509b-7727-4875-a1a2-83975f87a095" providerId="ADAL" clId="{6A66B1D2-E1F5-4855-8D46-9F4EBD40756F}" dt="2025-07-01T04:34:38.821" v="65" actId="207"/>
        <pc:sldMkLst>
          <pc:docMk/>
          <pc:sldMk cId="1166611422" sldId="1881839206"/>
        </pc:sldMkLst>
        <pc:spChg chg="mod">
          <ac:chgData name="Sabina Aubakirova" userId="dab0509b-7727-4875-a1a2-83975f87a095" providerId="ADAL" clId="{6A66B1D2-E1F5-4855-8D46-9F4EBD40756F}" dt="2025-07-01T04:34:22.679" v="64" actId="1076"/>
          <ac:spMkLst>
            <pc:docMk/>
            <pc:sldMk cId="1166611422" sldId="1881839206"/>
            <ac:spMk id="2" creationId="{53852C9A-9B0F-E2B0-74DA-0DB0F3688B9C}"/>
          </ac:spMkLst>
        </pc:spChg>
        <pc:spChg chg="mod">
          <ac:chgData name="Sabina Aubakirova" userId="dab0509b-7727-4875-a1a2-83975f87a095" providerId="ADAL" clId="{6A66B1D2-E1F5-4855-8D46-9F4EBD40756F}" dt="2025-07-01T04:34:38.821" v="65" actId="207"/>
          <ac:spMkLst>
            <pc:docMk/>
            <pc:sldMk cId="1166611422" sldId="1881839206"/>
            <ac:spMk id="6" creationId="{11312065-EAB3-0917-A24E-8F0E7A221B3C}"/>
          </ac:spMkLst>
        </pc:spChg>
      </pc:sldChg>
      <pc:sldChg chg="modSp mod">
        <pc:chgData name="Sabina Aubakirova" userId="dab0509b-7727-4875-a1a2-83975f87a095" providerId="ADAL" clId="{6A66B1D2-E1F5-4855-8D46-9F4EBD40756F}" dt="2025-07-01T04:34:54.873" v="69" actId="1076"/>
        <pc:sldMkLst>
          <pc:docMk/>
          <pc:sldMk cId="2005298751" sldId="1881839207"/>
        </pc:sldMkLst>
        <pc:spChg chg="mod">
          <ac:chgData name="Sabina Aubakirova" userId="dab0509b-7727-4875-a1a2-83975f87a095" providerId="ADAL" clId="{6A66B1D2-E1F5-4855-8D46-9F4EBD40756F}" dt="2025-07-01T04:34:54.873" v="69" actId="1076"/>
          <ac:spMkLst>
            <pc:docMk/>
            <pc:sldMk cId="2005298751" sldId="1881839207"/>
            <ac:spMk id="2" creationId="{4778A588-FAB2-376D-8E30-8E8BC8297E24}"/>
          </ac:spMkLst>
        </pc:spChg>
      </pc:sldChg>
      <pc:sldChg chg="modSp mod">
        <pc:chgData name="Sabina Aubakirova" userId="dab0509b-7727-4875-a1a2-83975f87a095" providerId="ADAL" clId="{6A66B1D2-E1F5-4855-8D46-9F4EBD40756F}" dt="2025-07-01T04:35:19.974" v="74" actId="1076"/>
        <pc:sldMkLst>
          <pc:docMk/>
          <pc:sldMk cId="721770319" sldId="1881839208"/>
        </pc:sldMkLst>
        <pc:spChg chg="mod">
          <ac:chgData name="Sabina Aubakirova" userId="dab0509b-7727-4875-a1a2-83975f87a095" providerId="ADAL" clId="{6A66B1D2-E1F5-4855-8D46-9F4EBD40756F}" dt="2025-07-01T04:35:19.974" v="74" actId="1076"/>
          <ac:spMkLst>
            <pc:docMk/>
            <pc:sldMk cId="721770319" sldId="1881839208"/>
            <ac:spMk id="2" creationId="{A6D5B5E4-25C6-3126-7121-79F5835EBA97}"/>
          </ac:spMkLst>
        </pc:spChg>
      </pc:sldChg>
      <pc:sldChg chg="modSp mod">
        <pc:chgData name="Sabina Aubakirova" userId="dab0509b-7727-4875-a1a2-83975f87a095" providerId="ADAL" clId="{6A66B1D2-E1F5-4855-8D46-9F4EBD40756F}" dt="2025-07-01T04:44:59.166" v="137" actId="1076"/>
        <pc:sldMkLst>
          <pc:docMk/>
          <pc:sldMk cId="2681823059" sldId="1881839214"/>
        </pc:sldMkLst>
        <pc:spChg chg="mod">
          <ac:chgData name="Sabina Aubakirova" userId="dab0509b-7727-4875-a1a2-83975f87a095" providerId="ADAL" clId="{6A66B1D2-E1F5-4855-8D46-9F4EBD40756F}" dt="2025-07-01T04:44:59.166" v="137" actId="1076"/>
          <ac:spMkLst>
            <pc:docMk/>
            <pc:sldMk cId="2681823059" sldId="1881839214"/>
            <ac:spMk id="2" creationId="{B188F393-3C0D-015F-A517-A1939C44C721}"/>
          </ac:spMkLst>
        </pc:spChg>
      </pc:sldChg>
    </pc:docChg>
  </pc:docChgLst>
  <pc:docChgLst>
    <pc:chgData name="Sabina Aubakirova" userId="dab0509b-7727-4875-a1a2-83975f87a095" providerId="ADAL" clId="{281E8ECD-BD5D-4A8C-8920-E42276E6A16C}"/>
    <pc:docChg chg="undo redo custSel modSld modMainMaster">
      <pc:chgData name="Sabina Aubakirova" userId="dab0509b-7727-4875-a1a2-83975f87a095" providerId="ADAL" clId="{281E8ECD-BD5D-4A8C-8920-E42276E6A16C}" dt="2025-06-30T16:50:39.307" v="9733" actId="1076"/>
      <pc:docMkLst>
        <pc:docMk/>
      </pc:docMkLst>
      <pc:sldChg chg="modSp mod">
        <pc:chgData name="Sabina Aubakirova" userId="dab0509b-7727-4875-a1a2-83975f87a095" providerId="ADAL" clId="{281E8ECD-BD5D-4A8C-8920-E42276E6A16C}" dt="2025-06-30T16:35:22.541" v="9707" actId="20577"/>
        <pc:sldMkLst>
          <pc:docMk/>
          <pc:sldMk cId="2580639674" sldId="1881839103"/>
        </pc:sldMkLst>
        <pc:spChg chg="mod">
          <ac:chgData name="Sabina Aubakirova" userId="dab0509b-7727-4875-a1a2-83975f87a095" providerId="ADAL" clId="{281E8ECD-BD5D-4A8C-8920-E42276E6A16C}" dt="2025-06-30T16:35:22.541" v="9707" actId="20577"/>
          <ac:spMkLst>
            <pc:docMk/>
            <pc:sldMk cId="2580639674" sldId="1881839103"/>
            <ac:spMk id="15" creationId="{B3D7B829-9626-7CE7-3B53-46C9F0040645}"/>
          </ac:spMkLst>
        </pc:spChg>
      </pc:sldChg>
      <pc:sldChg chg="modSp mod">
        <pc:chgData name="Sabina Aubakirova" userId="dab0509b-7727-4875-a1a2-83975f87a095" providerId="ADAL" clId="{281E8ECD-BD5D-4A8C-8920-E42276E6A16C}" dt="2025-06-30T07:30:25.482" v="25" actId="20577"/>
        <pc:sldMkLst>
          <pc:docMk/>
          <pc:sldMk cId="3721523510" sldId="1881839150"/>
        </pc:sldMkLst>
      </pc:sldChg>
      <pc:sldChg chg="addSp modSp mod">
        <pc:chgData name="Sabina Aubakirova" userId="dab0509b-7727-4875-a1a2-83975f87a095" providerId="ADAL" clId="{281E8ECD-BD5D-4A8C-8920-E42276E6A16C}" dt="2025-06-30T12:39:50.659" v="9351" actId="14100"/>
        <pc:sldMkLst>
          <pc:docMk/>
          <pc:sldMk cId="37887544" sldId="1881839160"/>
        </pc:sldMkLst>
      </pc:sldChg>
      <pc:sldChg chg="addSp delSp modSp mod modNotes modNotesTx">
        <pc:chgData name="Sabina Aubakirova" userId="dab0509b-7727-4875-a1a2-83975f87a095" providerId="ADAL" clId="{281E8ECD-BD5D-4A8C-8920-E42276E6A16C}" dt="2025-06-30T12:42:57.420" v="9366" actId="14100"/>
        <pc:sldMkLst>
          <pc:docMk/>
          <pc:sldMk cId="1157716974" sldId="1881839175"/>
        </pc:sldMkLst>
      </pc:sldChg>
      <pc:sldChg chg="mod modShow">
        <pc:chgData name="Sabina Aubakirova" userId="dab0509b-7727-4875-a1a2-83975f87a095" providerId="ADAL" clId="{281E8ECD-BD5D-4A8C-8920-E42276E6A16C}" dt="2025-06-30T12:32:44.440" v="9350" actId="729"/>
        <pc:sldMkLst>
          <pc:docMk/>
          <pc:sldMk cId="4131748436" sldId="1881839176"/>
        </pc:sldMkLst>
      </pc:sldChg>
      <pc:sldChg chg="modSp mod">
        <pc:chgData name="Sabina Aubakirova" userId="dab0509b-7727-4875-a1a2-83975f87a095" providerId="ADAL" clId="{281E8ECD-BD5D-4A8C-8920-E42276E6A16C}" dt="2025-06-30T08:09:27.324" v="1157" actId="20577"/>
        <pc:sldMkLst>
          <pc:docMk/>
          <pc:sldMk cId="529677055" sldId="1881839197"/>
        </pc:sldMkLst>
        <pc:spChg chg="mod">
          <ac:chgData name="Sabina Aubakirova" userId="dab0509b-7727-4875-a1a2-83975f87a095" providerId="ADAL" clId="{281E8ECD-BD5D-4A8C-8920-E42276E6A16C}" dt="2025-06-30T07:54:46.724" v="471" actId="122"/>
          <ac:spMkLst>
            <pc:docMk/>
            <pc:sldMk cId="529677055" sldId="1881839197"/>
            <ac:spMk id="5" creationId="{B2C36D4B-B832-8171-F0DF-A8A2C4B05F84}"/>
          </ac:spMkLst>
        </pc:spChg>
      </pc:sldChg>
      <pc:sldChg chg="modSp mod">
        <pc:chgData name="Sabina Aubakirova" userId="dab0509b-7727-4875-a1a2-83975f87a095" providerId="ADAL" clId="{281E8ECD-BD5D-4A8C-8920-E42276E6A16C}" dt="2025-06-30T16:48:34.136" v="9718" actId="1076"/>
        <pc:sldMkLst>
          <pc:docMk/>
          <pc:sldMk cId="546881440" sldId="1881839198"/>
        </pc:sldMkLst>
        <pc:spChg chg="mod">
          <ac:chgData name="Sabina Aubakirova" userId="dab0509b-7727-4875-a1a2-83975f87a095" providerId="ADAL" clId="{281E8ECD-BD5D-4A8C-8920-E42276E6A16C}" dt="2025-06-30T16:48:20.028" v="9715" actId="1076"/>
          <ac:spMkLst>
            <pc:docMk/>
            <pc:sldMk cId="546881440" sldId="1881839198"/>
            <ac:spMk id="2" creationId="{C4EBE091-53FF-BF0A-1B68-72E32683C18F}"/>
          </ac:spMkLst>
        </pc:spChg>
        <pc:spChg chg="mod">
          <ac:chgData name="Sabina Aubakirova" userId="dab0509b-7727-4875-a1a2-83975f87a095" providerId="ADAL" clId="{281E8ECD-BD5D-4A8C-8920-E42276E6A16C}" dt="2025-06-30T16:48:34.136" v="9718" actId="1076"/>
          <ac:spMkLst>
            <pc:docMk/>
            <pc:sldMk cId="546881440" sldId="1881839198"/>
            <ac:spMk id="3" creationId="{FDB47392-1CB0-393F-0CD4-7C884EF3CC0C}"/>
          </ac:spMkLst>
        </pc:spChg>
        <pc:spChg chg="mod">
          <ac:chgData name="Sabina Aubakirova" userId="dab0509b-7727-4875-a1a2-83975f87a095" providerId="ADAL" clId="{281E8ECD-BD5D-4A8C-8920-E42276E6A16C}" dt="2025-06-30T16:48:12.174" v="9713" actId="1076"/>
          <ac:spMkLst>
            <pc:docMk/>
            <pc:sldMk cId="546881440" sldId="1881839198"/>
            <ac:spMk id="4" creationId="{01C3658C-BD2C-DD76-1E44-E59820EBCBA2}"/>
          </ac:spMkLst>
        </pc:spChg>
        <pc:spChg chg="mod">
          <ac:chgData name="Sabina Aubakirova" userId="dab0509b-7727-4875-a1a2-83975f87a095" providerId="ADAL" clId="{281E8ECD-BD5D-4A8C-8920-E42276E6A16C}" dt="2025-06-30T16:48:25.319" v="9716" actId="1076"/>
          <ac:spMkLst>
            <pc:docMk/>
            <pc:sldMk cId="546881440" sldId="1881839198"/>
            <ac:spMk id="5" creationId="{E07AE3AE-1C2C-FFBE-0204-468834158C71}"/>
          </ac:spMkLst>
        </pc:spChg>
        <pc:spChg chg="mod">
          <ac:chgData name="Sabina Aubakirova" userId="dab0509b-7727-4875-a1a2-83975f87a095" providerId="ADAL" clId="{281E8ECD-BD5D-4A8C-8920-E42276E6A16C}" dt="2025-06-30T16:48:08.329" v="9712" actId="1076"/>
          <ac:spMkLst>
            <pc:docMk/>
            <pc:sldMk cId="546881440" sldId="1881839198"/>
            <ac:spMk id="6" creationId="{6CD50F12-B256-ACEE-9E9A-B755D2DB2E87}"/>
          </ac:spMkLst>
        </pc:spChg>
        <pc:spChg chg="mod">
          <ac:chgData name="Sabina Aubakirova" userId="dab0509b-7727-4875-a1a2-83975f87a095" providerId="ADAL" clId="{281E8ECD-BD5D-4A8C-8920-E42276E6A16C}" dt="2025-06-30T16:48:29.314" v="9717" actId="1076"/>
          <ac:spMkLst>
            <pc:docMk/>
            <pc:sldMk cId="546881440" sldId="1881839198"/>
            <ac:spMk id="10" creationId="{FD3E1650-E3A9-7544-0E6A-88AAAD878E36}"/>
          </ac:spMkLst>
        </pc:spChg>
        <pc:spChg chg="mod">
          <ac:chgData name="Sabina Aubakirova" userId="dab0509b-7727-4875-a1a2-83975f87a095" providerId="ADAL" clId="{281E8ECD-BD5D-4A8C-8920-E42276E6A16C}" dt="2025-06-30T10:32:51.653" v="5314" actId="14100"/>
          <ac:spMkLst>
            <pc:docMk/>
            <pc:sldMk cId="546881440" sldId="1881839198"/>
            <ac:spMk id="48" creationId="{34760A1F-A4FB-C994-63B5-87C06BDA7ECD}"/>
          </ac:spMkLst>
        </pc:spChg>
        <pc:grpChg chg="mod">
          <ac:chgData name="Sabina Aubakirova" userId="dab0509b-7727-4875-a1a2-83975f87a095" providerId="ADAL" clId="{281E8ECD-BD5D-4A8C-8920-E42276E6A16C}" dt="2025-06-30T16:48:15.676" v="9714" actId="1076"/>
          <ac:grpSpMkLst>
            <pc:docMk/>
            <pc:sldMk cId="546881440" sldId="1881839198"/>
            <ac:grpSpMk id="7" creationId="{CB768E4C-90B7-D8F3-6339-EFA07A2FCDE0}"/>
          </ac:grpSpMkLst>
        </pc:grpChg>
      </pc:sldChg>
      <pc:sldChg chg="modSp mod">
        <pc:chgData name="Sabina Aubakirova" userId="dab0509b-7727-4875-a1a2-83975f87a095" providerId="ADAL" clId="{281E8ECD-BD5D-4A8C-8920-E42276E6A16C}" dt="2025-06-30T16:49:52.291" v="9725" actId="1076"/>
        <pc:sldMkLst>
          <pc:docMk/>
          <pc:sldMk cId="4192207144" sldId="1881839199"/>
        </pc:sldMkLst>
        <pc:spChg chg="mod">
          <ac:chgData name="Sabina Aubakirova" userId="dab0509b-7727-4875-a1a2-83975f87a095" providerId="ADAL" clId="{281E8ECD-BD5D-4A8C-8920-E42276E6A16C}" dt="2025-06-30T16:49:35.201" v="9722" actId="1076"/>
          <ac:spMkLst>
            <pc:docMk/>
            <pc:sldMk cId="4192207144" sldId="1881839199"/>
            <ac:spMk id="11" creationId="{2F38336E-9D65-AABC-0F86-34352A177B4D}"/>
          </ac:spMkLst>
        </pc:spChg>
        <pc:spChg chg="mod">
          <ac:chgData name="Sabina Aubakirova" userId="dab0509b-7727-4875-a1a2-83975f87a095" providerId="ADAL" clId="{281E8ECD-BD5D-4A8C-8920-E42276E6A16C}" dt="2025-06-30T16:49:52.291" v="9725" actId="1076"/>
          <ac:spMkLst>
            <pc:docMk/>
            <pc:sldMk cId="4192207144" sldId="1881839199"/>
            <ac:spMk id="12" creationId="{03DA6001-6695-696F-95AD-633B82C70F6E}"/>
          </ac:spMkLst>
        </pc:spChg>
        <pc:spChg chg="mod">
          <ac:chgData name="Sabina Aubakirova" userId="dab0509b-7727-4875-a1a2-83975f87a095" providerId="ADAL" clId="{281E8ECD-BD5D-4A8C-8920-E42276E6A16C}" dt="2025-06-30T16:49:24.948" v="9720" actId="1076"/>
          <ac:spMkLst>
            <pc:docMk/>
            <pc:sldMk cId="4192207144" sldId="1881839199"/>
            <ac:spMk id="13" creationId="{3AFCE9A0-F171-489F-2C0F-7D4BAED949E0}"/>
          </ac:spMkLst>
        </pc:spChg>
        <pc:spChg chg="mod">
          <ac:chgData name="Sabina Aubakirova" userId="dab0509b-7727-4875-a1a2-83975f87a095" providerId="ADAL" clId="{281E8ECD-BD5D-4A8C-8920-E42276E6A16C}" dt="2025-06-30T16:49:41.645" v="9723" actId="1076"/>
          <ac:spMkLst>
            <pc:docMk/>
            <pc:sldMk cId="4192207144" sldId="1881839199"/>
            <ac:spMk id="14" creationId="{55EFFCC3-061F-74F9-1982-DAB965C821EA}"/>
          </ac:spMkLst>
        </pc:spChg>
        <pc:spChg chg="mod">
          <ac:chgData name="Sabina Aubakirova" userId="dab0509b-7727-4875-a1a2-83975f87a095" providerId="ADAL" clId="{281E8ECD-BD5D-4A8C-8920-E42276E6A16C}" dt="2025-06-30T16:49:21.133" v="9719" actId="1076"/>
          <ac:spMkLst>
            <pc:docMk/>
            <pc:sldMk cId="4192207144" sldId="1881839199"/>
            <ac:spMk id="15" creationId="{496B4BAE-2306-AC0D-A73A-0BDCCAF32570}"/>
          </ac:spMkLst>
        </pc:spChg>
        <pc:spChg chg="mod">
          <ac:chgData name="Sabina Aubakirova" userId="dab0509b-7727-4875-a1a2-83975f87a095" providerId="ADAL" clId="{281E8ECD-BD5D-4A8C-8920-E42276E6A16C}" dt="2025-06-30T16:49:47.499" v="9724" actId="1076"/>
          <ac:spMkLst>
            <pc:docMk/>
            <pc:sldMk cId="4192207144" sldId="1881839199"/>
            <ac:spMk id="16" creationId="{73F1A217-72E5-15ED-62C2-2551F64B635F}"/>
          </ac:spMkLst>
        </pc:spChg>
        <pc:spChg chg="mod">
          <ac:chgData name="Sabina Aubakirova" userId="dab0509b-7727-4875-a1a2-83975f87a095" providerId="ADAL" clId="{281E8ECD-BD5D-4A8C-8920-E42276E6A16C}" dt="2025-06-30T10:32:47.066" v="5313" actId="14100"/>
          <ac:spMkLst>
            <pc:docMk/>
            <pc:sldMk cId="4192207144" sldId="1881839199"/>
            <ac:spMk id="48" creationId="{BFD20BB5-541D-259E-69F3-BED1E66681D1}"/>
          </ac:spMkLst>
        </pc:spChg>
        <pc:grpChg chg="mod">
          <ac:chgData name="Sabina Aubakirova" userId="dab0509b-7727-4875-a1a2-83975f87a095" providerId="ADAL" clId="{281E8ECD-BD5D-4A8C-8920-E42276E6A16C}" dt="2025-06-30T16:49:30.279" v="9721" actId="1076"/>
          <ac:grpSpMkLst>
            <pc:docMk/>
            <pc:sldMk cId="4192207144" sldId="1881839199"/>
            <ac:grpSpMk id="17" creationId="{7872F8FE-F225-2363-F290-467EB7ED4925}"/>
          </ac:grpSpMkLst>
        </pc:grpChg>
      </pc:sldChg>
      <pc:sldChg chg="modSp mod">
        <pc:chgData name="Sabina Aubakirova" userId="dab0509b-7727-4875-a1a2-83975f87a095" providerId="ADAL" clId="{281E8ECD-BD5D-4A8C-8920-E42276E6A16C}" dt="2025-06-30T10:50:30.127" v="6977" actId="20577"/>
        <pc:sldMkLst>
          <pc:docMk/>
          <pc:sldMk cId="3729098937" sldId="1881839200"/>
        </pc:sldMkLst>
        <pc:spChg chg="mod">
          <ac:chgData name="Sabina Aubakirova" userId="dab0509b-7727-4875-a1a2-83975f87a095" providerId="ADAL" clId="{281E8ECD-BD5D-4A8C-8920-E42276E6A16C}" dt="2025-06-30T10:43:27.973" v="6293" actId="1076"/>
          <ac:spMkLst>
            <pc:docMk/>
            <pc:sldMk cId="3729098937" sldId="1881839200"/>
            <ac:spMk id="2" creationId="{A5EA9A1D-DF9A-B766-AE9A-32DD3FBABA3F}"/>
          </ac:spMkLst>
        </pc:spChg>
        <pc:spChg chg="mod">
          <ac:chgData name="Sabina Aubakirova" userId="dab0509b-7727-4875-a1a2-83975f87a095" providerId="ADAL" clId="{281E8ECD-BD5D-4A8C-8920-E42276E6A16C}" dt="2025-06-30T10:50:30.127" v="6977" actId="20577"/>
          <ac:spMkLst>
            <pc:docMk/>
            <pc:sldMk cId="3729098937" sldId="1881839200"/>
            <ac:spMk id="3" creationId="{C2AC34F9-EE68-AB46-24F1-225618C655D8}"/>
          </ac:spMkLst>
        </pc:spChg>
        <pc:spChg chg="mod">
          <ac:chgData name="Sabina Aubakirova" userId="dab0509b-7727-4875-a1a2-83975f87a095" providerId="ADAL" clId="{281E8ECD-BD5D-4A8C-8920-E42276E6A16C}" dt="2025-06-30T10:43:39.323" v="6295" actId="1076"/>
          <ac:spMkLst>
            <pc:docMk/>
            <pc:sldMk cId="3729098937" sldId="1881839200"/>
            <ac:spMk id="4" creationId="{E58E7AA8-CBCE-A066-618B-71F9DB997D54}"/>
          </ac:spMkLst>
        </pc:spChg>
        <pc:spChg chg="mod">
          <ac:chgData name="Sabina Aubakirova" userId="dab0509b-7727-4875-a1a2-83975f87a095" providerId="ADAL" clId="{281E8ECD-BD5D-4A8C-8920-E42276E6A16C}" dt="2025-06-30T10:43:20.596" v="6292" actId="20577"/>
          <ac:spMkLst>
            <pc:docMk/>
            <pc:sldMk cId="3729098937" sldId="1881839200"/>
            <ac:spMk id="5" creationId="{D69358FB-8D8F-7B9C-398F-694AE3A18D86}"/>
          </ac:spMkLst>
        </pc:spChg>
        <pc:spChg chg="mod">
          <ac:chgData name="Sabina Aubakirova" userId="dab0509b-7727-4875-a1a2-83975f87a095" providerId="ADAL" clId="{281E8ECD-BD5D-4A8C-8920-E42276E6A16C}" dt="2025-06-30T10:38:16.819" v="5870" actId="20577"/>
          <ac:spMkLst>
            <pc:docMk/>
            <pc:sldMk cId="3729098937" sldId="1881839200"/>
            <ac:spMk id="6" creationId="{E3BC8C80-AD73-12A1-A634-5B4E25D0D7DE}"/>
          </ac:spMkLst>
        </pc:spChg>
        <pc:spChg chg="mod">
          <ac:chgData name="Sabina Aubakirova" userId="dab0509b-7727-4875-a1a2-83975f87a095" providerId="ADAL" clId="{281E8ECD-BD5D-4A8C-8920-E42276E6A16C}" dt="2025-06-30T10:44:17.958" v="6341" actId="20577"/>
          <ac:spMkLst>
            <pc:docMk/>
            <pc:sldMk cId="3729098937" sldId="1881839200"/>
            <ac:spMk id="7" creationId="{4BB22B6A-DF72-7A0D-C23F-04FD8F043184}"/>
          </ac:spMkLst>
        </pc:spChg>
        <pc:spChg chg="mod">
          <ac:chgData name="Sabina Aubakirova" userId="dab0509b-7727-4875-a1a2-83975f87a095" providerId="ADAL" clId="{281E8ECD-BD5D-4A8C-8920-E42276E6A16C}" dt="2025-06-30T10:32:39.959" v="5312" actId="14100"/>
          <ac:spMkLst>
            <pc:docMk/>
            <pc:sldMk cId="3729098937" sldId="1881839200"/>
            <ac:spMk id="48" creationId="{F846015E-869D-FE98-A4A5-59C71195BE33}"/>
          </ac:spMkLst>
        </pc:spChg>
        <pc:grpChg chg="mod">
          <ac:chgData name="Sabina Aubakirova" userId="dab0509b-7727-4875-a1a2-83975f87a095" providerId="ADAL" clId="{281E8ECD-BD5D-4A8C-8920-E42276E6A16C}" dt="2025-06-30T10:43:43.517" v="6296" actId="1076"/>
          <ac:grpSpMkLst>
            <pc:docMk/>
            <pc:sldMk cId="3729098937" sldId="1881839200"/>
            <ac:grpSpMk id="8" creationId="{3DF7C73E-2259-4A7D-30E1-BCC664522892}"/>
          </ac:grpSpMkLst>
        </pc:grpChg>
      </pc:sldChg>
      <pc:sldChg chg="modSp mod">
        <pc:chgData name="Sabina Aubakirova" userId="dab0509b-7727-4875-a1a2-83975f87a095" providerId="ADAL" clId="{281E8ECD-BD5D-4A8C-8920-E42276E6A16C}" dt="2025-06-30T16:50:39.307" v="9733" actId="1076"/>
        <pc:sldMkLst>
          <pc:docMk/>
          <pc:sldMk cId="543987747" sldId="1881839201"/>
        </pc:sldMkLst>
        <pc:spChg chg="mod">
          <ac:chgData name="Sabina Aubakirova" userId="dab0509b-7727-4875-a1a2-83975f87a095" providerId="ADAL" clId="{281E8ECD-BD5D-4A8C-8920-E42276E6A16C}" dt="2025-06-30T16:50:25.732" v="9730" actId="1076"/>
          <ac:spMkLst>
            <pc:docMk/>
            <pc:sldMk cId="543987747" sldId="1881839201"/>
            <ac:spMk id="11" creationId="{F224044D-0120-3DBA-CAE5-C7F25E2626F0}"/>
          </ac:spMkLst>
        </pc:spChg>
        <pc:spChg chg="mod">
          <ac:chgData name="Sabina Aubakirova" userId="dab0509b-7727-4875-a1a2-83975f87a095" providerId="ADAL" clId="{281E8ECD-BD5D-4A8C-8920-E42276E6A16C}" dt="2025-06-30T16:50:11.539" v="9727" actId="1076"/>
          <ac:spMkLst>
            <pc:docMk/>
            <pc:sldMk cId="543987747" sldId="1881839201"/>
            <ac:spMk id="12" creationId="{078F1F40-FCDA-2131-4511-581801C3CB7B}"/>
          </ac:spMkLst>
        </pc:spChg>
        <pc:spChg chg="mod">
          <ac:chgData name="Sabina Aubakirova" userId="dab0509b-7727-4875-a1a2-83975f87a095" providerId="ADAL" clId="{281E8ECD-BD5D-4A8C-8920-E42276E6A16C}" dt="2025-06-30T16:50:31.877" v="9731" actId="1076"/>
          <ac:spMkLst>
            <pc:docMk/>
            <pc:sldMk cId="543987747" sldId="1881839201"/>
            <ac:spMk id="13" creationId="{FFD11733-6923-9A37-74A5-EA2C6CFCFC36}"/>
          </ac:spMkLst>
        </pc:spChg>
        <pc:spChg chg="mod">
          <ac:chgData name="Sabina Aubakirova" userId="dab0509b-7727-4875-a1a2-83975f87a095" providerId="ADAL" clId="{281E8ECD-BD5D-4A8C-8920-E42276E6A16C}" dt="2025-06-30T16:50:07.533" v="9726" actId="1076"/>
          <ac:spMkLst>
            <pc:docMk/>
            <pc:sldMk cId="543987747" sldId="1881839201"/>
            <ac:spMk id="14" creationId="{8FA8CCD7-4741-EA0C-7D69-B8ACEB8398C2}"/>
          </ac:spMkLst>
        </pc:spChg>
        <pc:spChg chg="mod">
          <ac:chgData name="Sabina Aubakirova" userId="dab0509b-7727-4875-a1a2-83975f87a095" providerId="ADAL" clId="{281E8ECD-BD5D-4A8C-8920-E42276E6A16C}" dt="2025-06-30T16:50:36.009" v="9732" actId="1076"/>
          <ac:spMkLst>
            <pc:docMk/>
            <pc:sldMk cId="543987747" sldId="1881839201"/>
            <ac:spMk id="15" creationId="{5FF311CB-D354-556C-A1A5-94D9ABCC869E}"/>
          </ac:spMkLst>
        </pc:spChg>
        <pc:spChg chg="mod">
          <ac:chgData name="Sabina Aubakirova" userId="dab0509b-7727-4875-a1a2-83975f87a095" providerId="ADAL" clId="{281E8ECD-BD5D-4A8C-8920-E42276E6A16C}" dt="2025-06-30T16:50:14.694" v="9728" actId="1076"/>
          <ac:spMkLst>
            <pc:docMk/>
            <pc:sldMk cId="543987747" sldId="1881839201"/>
            <ac:spMk id="16" creationId="{D0FEDEF3-7334-3FCA-7685-E5BF5D9FA4D4}"/>
          </ac:spMkLst>
        </pc:spChg>
        <pc:spChg chg="mod">
          <ac:chgData name="Sabina Aubakirova" userId="dab0509b-7727-4875-a1a2-83975f87a095" providerId="ADAL" clId="{281E8ECD-BD5D-4A8C-8920-E42276E6A16C}" dt="2025-06-30T16:50:39.307" v="9733" actId="1076"/>
          <ac:spMkLst>
            <pc:docMk/>
            <pc:sldMk cId="543987747" sldId="1881839201"/>
            <ac:spMk id="20" creationId="{CBD395CE-65E4-B11D-C186-3131CF2A5118}"/>
          </ac:spMkLst>
        </pc:spChg>
        <pc:spChg chg="mod">
          <ac:chgData name="Sabina Aubakirova" userId="dab0509b-7727-4875-a1a2-83975f87a095" providerId="ADAL" clId="{281E8ECD-BD5D-4A8C-8920-E42276E6A16C}" dt="2025-06-30T11:07:46.146" v="7624" actId="20577"/>
          <ac:spMkLst>
            <pc:docMk/>
            <pc:sldMk cId="543987747" sldId="1881839201"/>
            <ac:spMk id="48" creationId="{82DF18A3-DFBB-BE83-71BD-4B074133E411}"/>
          </ac:spMkLst>
        </pc:spChg>
        <pc:picChg chg="mod">
          <ac:chgData name="Sabina Aubakirova" userId="dab0509b-7727-4875-a1a2-83975f87a095" providerId="ADAL" clId="{281E8ECD-BD5D-4A8C-8920-E42276E6A16C}" dt="2025-06-30T16:50:20.048" v="9729" actId="1076"/>
          <ac:picMkLst>
            <pc:docMk/>
            <pc:sldMk cId="543987747" sldId="1881839201"/>
            <ac:picMk id="17" creationId="{B9C3A7B1-1A7C-C6C4-C7DC-8C0F1A1CB815}"/>
          </ac:picMkLst>
        </pc:picChg>
      </pc:sldChg>
      <pc:sldChg chg="addSp modSp mod">
        <pc:chgData name="Sabina Aubakirova" userId="dab0509b-7727-4875-a1a2-83975f87a095" providerId="ADAL" clId="{281E8ECD-BD5D-4A8C-8920-E42276E6A16C}" dt="2025-06-30T12:59:01.774" v="9434" actId="20577"/>
        <pc:sldMkLst>
          <pc:docMk/>
          <pc:sldMk cId="2311077836" sldId="1881839205"/>
        </pc:sldMkLst>
      </pc:sldChg>
      <pc:sldChg chg="addSp modSp mod">
        <pc:chgData name="Sabina Aubakirova" userId="dab0509b-7727-4875-a1a2-83975f87a095" providerId="ADAL" clId="{281E8ECD-BD5D-4A8C-8920-E42276E6A16C}" dt="2025-06-30T13:13:56.075" v="9583"/>
        <pc:sldMkLst>
          <pc:docMk/>
          <pc:sldMk cId="1166611422" sldId="1881839206"/>
        </pc:sldMkLst>
      </pc:sldChg>
      <pc:sldChg chg="addSp modSp mod">
        <pc:chgData name="Sabina Aubakirova" userId="dab0509b-7727-4875-a1a2-83975f87a095" providerId="ADAL" clId="{281E8ECD-BD5D-4A8C-8920-E42276E6A16C}" dt="2025-06-30T13:15:25.520" v="9591" actId="1076"/>
        <pc:sldMkLst>
          <pc:docMk/>
          <pc:sldMk cId="2005298751" sldId="1881839207"/>
        </pc:sldMkLst>
      </pc:sldChg>
      <pc:sldChg chg="addSp delSp modSp mod">
        <pc:chgData name="Sabina Aubakirova" userId="dab0509b-7727-4875-a1a2-83975f87a095" providerId="ADAL" clId="{281E8ECD-BD5D-4A8C-8920-E42276E6A16C}" dt="2025-06-30T13:18:18.676" v="9684" actId="20577"/>
        <pc:sldMkLst>
          <pc:docMk/>
          <pc:sldMk cId="721770319" sldId="1881839208"/>
        </pc:sldMkLst>
      </pc:sldChg>
      <pc:sldMasterChg chg="modSldLayout">
        <pc:chgData name="Sabina Aubakirova" userId="dab0509b-7727-4875-a1a2-83975f87a095" providerId="ADAL" clId="{281E8ECD-BD5D-4A8C-8920-E42276E6A16C}" dt="2025-06-30T16:46:43.483" v="9711"/>
        <pc:sldMasterMkLst>
          <pc:docMk/>
          <pc:sldMasterMk cId="833762580" sldId="2147483968"/>
        </pc:sldMasterMkLst>
        <pc:sldLayoutChg chg="addSp delSp modSp">
          <pc:chgData name="Sabina Aubakirova" userId="dab0509b-7727-4875-a1a2-83975f87a095" providerId="ADAL" clId="{281E8ECD-BD5D-4A8C-8920-E42276E6A16C}" dt="2025-06-30T16:46:43.483" v="9711"/>
          <pc:sldLayoutMkLst>
            <pc:docMk/>
            <pc:sldMasterMk cId="833762580" sldId="2147483968"/>
            <pc:sldLayoutMk cId="1159891909" sldId="2147484000"/>
          </pc:sldLayoutMkLst>
          <pc:spChg chg="add mod">
            <ac:chgData name="Sabina Aubakirova" userId="dab0509b-7727-4875-a1a2-83975f87a095" providerId="ADAL" clId="{281E8ECD-BD5D-4A8C-8920-E42276E6A16C}" dt="2025-06-30T16:46:29.864" v="9709"/>
            <ac:spMkLst>
              <pc:docMk/>
              <pc:sldMasterMk cId="833762580" sldId="2147483968"/>
              <pc:sldLayoutMk cId="1159891909" sldId="2147484000"/>
              <ac:spMk id="3" creationId="{79B32CA5-1BC5-3FF7-099C-DA4C771C1007}"/>
            </ac:spMkLst>
          </pc:spChg>
          <pc:spChg chg="add mod">
            <ac:chgData name="Sabina Aubakirova" userId="dab0509b-7727-4875-a1a2-83975f87a095" providerId="ADAL" clId="{281E8ECD-BD5D-4A8C-8920-E42276E6A16C}" dt="2025-06-30T16:46:29.864" v="9709"/>
            <ac:spMkLst>
              <pc:docMk/>
              <pc:sldMasterMk cId="833762580" sldId="2147483968"/>
              <pc:sldLayoutMk cId="1159891909" sldId="2147484000"/>
              <ac:spMk id="15" creationId="{4C9312FC-90AF-9A91-05C1-69A91063BFB4}"/>
            </ac:spMkLst>
          </pc:spChg>
          <pc:spChg chg="add mod">
            <ac:chgData name="Sabina Aubakirova" userId="dab0509b-7727-4875-a1a2-83975f87a095" providerId="ADAL" clId="{281E8ECD-BD5D-4A8C-8920-E42276E6A16C}" dt="2025-06-30T16:46:29.864" v="9709"/>
            <ac:spMkLst>
              <pc:docMk/>
              <pc:sldMasterMk cId="833762580" sldId="2147483968"/>
              <pc:sldLayoutMk cId="1159891909" sldId="2147484000"/>
              <ac:spMk id="16" creationId="{9AFB6F02-4842-F815-426C-05859572DD7D}"/>
            </ac:spMkLst>
          </pc:spChg>
          <pc:spChg chg="add mod">
            <ac:chgData name="Sabina Aubakirova" userId="dab0509b-7727-4875-a1a2-83975f87a095" providerId="ADAL" clId="{281E8ECD-BD5D-4A8C-8920-E42276E6A16C}" dt="2025-06-30T16:46:43.483" v="9711"/>
            <ac:spMkLst>
              <pc:docMk/>
              <pc:sldMasterMk cId="833762580" sldId="2147483968"/>
              <pc:sldLayoutMk cId="1159891909" sldId="2147484000"/>
              <ac:spMk id="17" creationId="{697A6C48-34B0-B12A-4486-E5017F82FC20}"/>
            </ac:spMkLst>
          </pc:spChg>
        </pc:sldLayoutChg>
        <pc:sldLayoutChg chg="modSp mod">
          <pc:chgData name="Sabina Aubakirova" userId="dab0509b-7727-4875-a1a2-83975f87a095" providerId="ADAL" clId="{281E8ECD-BD5D-4A8C-8920-E42276E6A16C}" dt="2025-06-30T16:34:36.561" v="9692" actId="20577"/>
          <pc:sldLayoutMkLst>
            <pc:docMk/>
            <pc:sldMasterMk cId="833762580" sldId="2147483968"/>
            <pc:sldLayoutMk cId="3604170533" sldId="2147484161"/>
          </pc:sldLayoutMkLst>
          <pc:spChg chg="mod">
            <ac:chgData name="Sabina Aubakirova" userId="dab0509b-7727-4875-a1a2-83975f87a095" providerId="ADAL" clId="{281E8ECD-BD5D-4A8C-8920-E42276E6A16C}" dt="2025-06-30T16:34:36.561" v="9692" actId="20577"/>
            <ac:spMkLst>
              <pc:docMk/>
              <pc:sldMasterMk cId="833762580" sldId="2147483968"/>
              <pc:sldLayoutMk cId="3604170533" sldId="2147484161"/>
              <ac:spMk id="4" creationId="{6DECAE16-1D46-ECE2-67B1-B4055F385487}"/>
            </ac:spMkLst>
          </pc:spChg>
        </pc:sldLayoutChg>
      </pc:sldMasterChg>
    </pc:docChg>
  </pc:docChgLst>
  <pc:docChgLst>
    <pc:chgData name="Angelina Ten" userId="94d13c25-2080-4130-805c-56edf11e49ba" providerId="ADAL" clId="{C0F04AB0-1822-4B0C-A710-57409042C0DF}"/>
    <pc:docChg chg="undo custSel addSld delSld modSld">
      <pc:chgData name="Angelina Ten" userId="94d13c25-2080-4130-805c-56edf11e49ba" providerId="ADAL" clId="{C0F04AB0-1822-4B0C-A710-57409042C0DF}" dt="2025-06-04T09:44:27.714" v="259" actId="20577"/>
      <pc:docMkLst>
        <pc:docMk/>
      </pc:docMkLst>
      <pc:sldChg chg="addSp delSp modSp mod">
        <pc:chgData name="Angelina Ten" userId="94d13c25-2080-4130-805c-56edf11e49ba" providerId="ADAL" clId="{C0F04AB0-1822-4B0C-A710-57409042C0DF}" dt="2025-06-04T09:44:27.714" v="259" actId="20577"/>
        <pc:sldMkLst>
          <pc:docMk/>
          <pc:sldMk cId="1833034411" sldId="1881839146"/>
        </pc:sldMkLst>
      </pc:sldChg>
      <pc:sldChg chg="addSp modSp mod">
        <pc:chgData name="Angelina Ten" userId="94d13c25-2080-4130-805c-56edf11e49ba" providerId="ADAL" clId="{C0F04AB0-1822-4B0C-A710-57409042C0DF}" dt="2025-06-04T09:32:48.219" v="5" actId="207"/>
        <pc:sldMkLst>
          <pc:docMk/>
          <pc:sldMk cId="371142360" sldId="1881839155"/>
        </pc:sldMkLst>
      </pc:sldChg>
      <pc:sldChg chg="addSp modSp mod">
        <pc:chgData name="Angelina Ten" userId="94d13c25-2080-4130-805c-56edf11e49ba" providerId="ADAL" clId="{C0F04AB0-1822-4B0C-A710-57409042C0DF}" dt="2025-06-04T09:34:28.621" v="11" actId="207"/>
        <pc:sldMkLst>
          <pc:docMk/>
          <pc:sldMk cId="2305428712" sldId="1881839156"/>
        </pc:sldMkLst>
      </pc:sldChg>
      <pc:sldChg chg="new">
        <pc:chgData name="Angelina Ten" userId="94d13c25-2080-4130-805c-56edf11e49ba" providerId="ADAL" clId="{C0F04AB0-1822-4B0C-A710-57409042C0DF}" dt="2025-06-04T09:41:31.609" v="177" actId="680"/>
        <pc:sldMkLst>
          <pc:docMk/>
          <pc:sldMk cId="2856891735" sldId="1881839158"/>
        </pc:sldMkLst>
      </pc:sldChg>
      <pc:sldChg chg="add del">
        <pc:chgData name="Angelina Ten" userId="94d13c25-2080-4130-805c-56edf11e49ba" providerId="ADAL" clId="{C0F04AB0-1822-4B0C-A710-57409042C0DF}" dt="2025-06-04T09:36:52.665" v="55" actId="47"/>
        <pc:sldMkLst>
          <pc:docMk/>
          <pc:sldMk cId="3533586246" sldId="1881839158"/>
        </pc:sldMkLst>
      </pc:sldChg>
    </pc:docChg>
  </pc:docChgLst>
  <pc:docChgLst>
    <pc:chgData name="Anara Samambayeva" userId="40372071-4642-4757-8ccf-dba3b5920c09" providerId="ADAL" clId="{6991BE2B-A3E7-4DB2-B967-3EF30E6FE166}"/>
    <pc:docChg chg="undo redo custSel addSld delSld modSld sldOrd">
      <pc:chgData name="Anara Samambayeva" userId="40372071-4642-4757-8ccf-dba3b5920c09" providerId="ADAL" clId="{6991BE2B-A3E7-4DB2-B967-3EF30E6FE166}" dt="2025-07-01T12:01:07.127" v="12059" actId="404"/>
      <pc:docMkLst>
        <pc:docMk/>
      </pc:docMkLst>
      <pc:sldChg chg="modSp mod">
        <pc:chgData name="Anara Samambayeva" userId="40372071-4642-4757-8ccf-dba3b5920c09" providerId="ADAL" clId="{6991BE2B-A3E7-4DB2-B967-3EF30E6FE166}" dt="2025-07-01T11:37:44.760" v="11444" actId="14100"/>
        <pc:sldMkLst>
          <pc:docMk/>
          <pc:sldMk cId="3859523569" sldId="316"/>
        </pc:sldMkLst>
        <pc:spChg chg="mod">
          <ac:chgData name="Anara Samambayeva" userId="40372071-4642-4757-8ccf-dba3b5920c09" providerId="ADAL" clId="{6991BE2B-A3E7-4DB2-B967-3EF30E6FE166}" dt="2025-07-01T11:37:44.760" v="11444" actId="14100"/>
          <ac:spMkLst>
            <pc:docMk/>
            <pc:sldMk cId="3859523569" sldId="316"/>
            <ac:spMk id="8" creationId="{01C0F2D9-589A-5443-F977-6038BD06B4BD}"/>
          </ac:spMkLst>
        </pc:spChg>
      </pc:sldChg>
      <pc:sldChg chg="addSp delSp modSp mod">
        <pc:chgData name="Anara Samambayeva" userId="40372071-4642-4757-8ccf-dba3b5920c09" providerId="ADAL" clId="{6991BE2B-A3E7-4DB2-B967-3EF30E6FE166}" dt="2025-07-01T11:40:29.097" v="11457" actId="20577"/>
        <pc:sldMkLst>
          <pc:docMk/>
          <pc:sldMk cId="3349765072" sldId="339"/>
        </pc:sldMkLst>
        <pc:spChg chg="mod">
          <ac:chgData name="Anara Samambayeva" userId="40372071-4642-4757-8ccf-dba3b5920c09" providerId="ADAL" clId="{6991BE2B-A3E7-4DB2-B967-3EF30E6FE166}" dt="2025-07-01T11:30:53.711" v="11438" actId="20577"/>
          <ac:spMkLst>
            <pc:docMk/>
            <pc:sldMk cId="3349765072" sldId="339"/>
            <ac:spMk id="8" creationId="{2C9EE61B-9FC0-6A9F-B636-3B330C2C3B00}"/>
          </ac:spMkLst>
        </pc:spChg>
        <pc:spChg chg="mod">
          <ac:chgData name="Anara Samambayeva" userId="40372071-4642-4757-8ccf-dba3b5920c09" providerId="ADAL" clId="{6991BE2B-A3E7-4DB2-B967-3EF30E6FE166}" dt="2025-06-04T12:23:51.218" v="1943" actId="21"/>
          <ac:spMkLst>
            <pc:docMk/>
            <pc:sldMk cId="3349765072" sldId="339"/>
            <ac:spMk id="10" creationId="{BAB653D7-D042-97A6-6702-3A8FFE1A993A}"/>
          </ac:spMkLst>
        </pc:spChg>
        <pc:spChg chg="mod">
          <ac:chgData name="Anara Samambayeva" userId="40372071-4642-4757-8ccf-dba3b5920c09" providerId="ADAL" clId="{6991BE2B-A3E7-4DB2-B967-3EF30E6FE166}" dt="2025-06-04T12:23:59.343" v="1946" actId="21"/>
          <ac:spMkLst>
            <pc:docMk/>
            <pc:sldMk cId="3349765072" sldId="339"/>
            <ac:spMk id="11" creationId="{EBBA9D52-5A20-9DC1-B2F7-1070C93CC677}"/>
          </ac:spMkLst>
        </pc:spChg>
        <pc:spChg chg="add del mod">
          <ac:chgData name="Anara Samambayeva" userId="40372071-4642-4757-8ccf-dba3b5920c09" providerId="ADAL" clId="{6991BE2B-A3E7-4DB2-B967-3EF30E6FE166}" dt="2025-07-01T11:35:35.259" v="11441" actId="478"/>
          <ac:spMkLst>
            <pc:docMk/>
            <pc:sldMk cId="3349765072" sldId="339"/>
            <ac:spMk id="13" creationId="{0429572C-3817-554F-5478-2175C5356902}"/>
          </ac:spMkLst>
        </pc:spChg>
        <pc:spChg chg="add mod">
          <ac:chgData name="Anara Samambayeva" userId="40372071-4642-4757-8ccf-dba3b5920c09" providerId="ADAL" clId="{6991BE2B-A3E7-4DB2-B967-3EF30E6FE166}" dt="2025-07-01T11:40:29.097" v="11457" actId="20577"/>
          <ac:spMkLst>
            <pc:docMk/>
            <pc:sldMk cId="3349765072" sldId="339"/>
            <ac:spMk id="14" creationId="{8487B29E-0339-F12C-51D8-055BF9E100AD}"/>
          </ac:spMkLst>
        </pc:spChg>
        <pc:spChg chg="add mod">
          <ac:chgData name="Anara Samambayeva" userId="40372071-4642-4757-8ccf-dba3b5920c09" providerId="ADAL" clId="{6991BE2B-A3E7-4DB2-B967-3EF30E6FE166}" dt="2025-07-01T11:35:16.672" v="11439"/>
          <ac:spMkLst>
            <pc:docMk/>
            <pc:sldMk cId="3349765072" sldId="339"/>
            <ac:spMk id="15" creationId="{81A15BF3-D210-C0B3-5E5D-FE9FBF9EE155}"/>
          </ac:spMkLst>
        </pc:spChg>
        <pc:spChg chg="mod">
          <ac:chgData name="Anara Samambayeva" userId="40372071-4642-4757-8ccf-dba3b5920c09" providerId="ADAL" clId="{6991BE2B-A3E7-4DB2-B967-3EF30E6FE166}" dt="2025-07-01T11:35:16.672" v="11439"/>
          <ac:spMkLst>
            <pc:docMk/>
            <pc:sldMk cId="3349765072" sldId="339"/>
            <ac:spMk id="18" creationId="{3EC645E6-481A-CB83-B10D-AA0B1BD12D43}"/>
          </ac:spMkLst>
        </pc:spChg>
        <pc:spChg chg="mod">
          <ac:chgData name="Anara Samambayeva" userId="40372071-4642-4757-8ccf-dba3b5920c09" providerId="ADAL" clId="{6991BE2B-A3E7-4DB2-B967-3EF30E6FE166}" dt="2025-07-01T11:35:16.672" v="11439"/>
          <ac:spMkLst>
            <pc:docMk/>
            <pc:sldMk cId="3349765072" sldId="339"/>
            <ac:spMk id="20" creationId="{AC9ED53F-D2DF-6676-B9F2-4E92875AD6AB}"/>
          </ac:spMkLst>
        </pc:spChg>
        <pc:spChg chg="mod">
          <ac:chgData name="Anara Samambayeva" userId="40372071-4642-4757-8ccf-dba3b5920c09" providerId="ADAL" clId="{6991BE2B-A3E7-4DB2-B967-3EF30E6FE166}" dt="2025-07-01T11:35:16.672" v="11439"/>
          <ac:spMkLst>
            <pc:docMk/>
            <pc:sldMk cId="3349765072" sldId="339"/>
            <ac:spMk id="22" creationId="{D929DD9E-2E83-04C2-A29B-E0AB8AC146B2}"/>
          </ac:spMkLst>
        </pc:spChg>
        <pc:spChg chg="mod">
          <ac:chgData name="Anara Samambayeva" userId="40372071-4642-4757-8ccf-dba3b5920c09" providerId="ADAL" clId="{6991BE2B-A3E7-4DB2-B967-3EF30E6FE166}" dt="2025-07-01T11:35:16.672" v="11439"/>
          <ac:spMkLst>
            <pc:docMk/>
            <pc:sldMk cId="3349765072" sldId="339"/>
            <ac:spMk id="24" creationId="{9937E751-1B2F-1FD0-DE63-FDCB2BEE4533}"/>
          </ac:spMkLst>
        </pc:spChg>
        <pc:spChg chg="mod">
          <ac:chgData name="Anara Samambayeva" userId="40372071-4642-4757-8ccf-dba3b5920c09" providerId="ADAL" clId="{6991BE2B-A3E7-4DB2-B967-3EF30E6FE166}" dt="2025-07-01T11:35:16.672" v="11439"/>
          <ac:spMkLst>
            <pc:docMk/>
            <pc:sldMk cId="3349765072" sldId="339"/>
            <ac:spMk id="26" creationId="{5DEBE112-D6E0-DBA6-C6CA-F431C5C973D1}"/>
          </ac:spMkLst>
        </pc:spChg>
        <pc:spChg chg="mod">
          <ac:chgData name="Anara Samambayeva" userId="40372071-4642-4757-8ccf-dba3b5920c09" providerId="ADAL" clId="{6991BE2B-A3E7-4DB2-B967-3EF30E6FE166}" dt="2025-07-01T11:35:16.672" v="11439"/>
          <ac:spMkLst>
            <pc:docMk/>
            <pc:sldMk cId="3349765072" sldId="339"/>
            <ac:spMk id="30" creationId="{FF409CA7-F97F-402F-4632-41A395F1FDEC}"/>
          </ac:spMkLst>
        </pc:spChg>
        <pc:spChg chg="mod">
          <ac:chgData name="Anara Samambayeva" userId="40372071-4642-4757-8ccf-dba3b5920c09" providerId="ADAL" clId="{6991BE2B-A3E7-4DB2-B967-3EF30E6FE166}" dt="2025-07-01T11:35:16.672" v="11439"/>
          <ac:spMkLst>
            <pc:docMk/>
            <pc:sldMk cId="3349765072" sldId="339"/>
            <ac:spMk id="32" creationId="{BFDD054D-07F1-A123-6B37-C4D0FC777939}"/>
          </ac:spMkLst>
        </pc:spChg>
        <pc:spChg chg="mod">
          <ac:chgData name="Anara Samambayeva" userId="40372071-4642-4757-8ccf-dba3b5920c09" providerId="ADAL" clId="{6991BE2B-A3E7-4DB2-B967-3EF30E6FE166}" dt="2025-07-01T11:35:16.672" v="11439"/>
          <ac:spMkLst>
            <pc:docMk/>
            <pc:sldMk cId="3349765072" sldId="339"/>
            <ac:spMk id="36" creationId="{3CE9D1B0-92D0-9E88-F789-110D5F8EDAE3}"/>
          </ac:spMkLst>
        </pc:spChg>
      </pc:sldChg>
      <pc:sldChg chg="modSp mod">
        <pc:chgData name="Anara Samambayeva" userId="40372071-4642-4757-8ccf-dba3b5920c09" providerId="ADAL" clId="{6991BE2B-A3E7-4DB2-B967-3EF30E6FE166}" dt="2025-07-01T11:43:00.894" v="11506" actId="20577"/>
        <pc:sldMkLst>
          <pc:docMk/>
          <pc:sldMk cId="3359828720" sldId="419"/>
        </pc:sldMkLst>
        <pc:spChg chg="mod">
          <ac:chgData name="Anara Samambayeva" userId="40372071-4642-4757-8ccf-dba3b5920c09" providerId="ADAL" clId="{6991BE2B-A3E7-4DB2-B967-3EF30E6FE166}" dt="2025-06-04T09:54:12.821" v="74" actId="20577"/>
          <ac:spMkLst>
            <pc:docMk/>
            <pc:sldMk cId="3359828720" sldId="419"/>
            <ac:spMk id="6" creationId="{6785259C-D11C-3929-20C7-2AB3B378DADE}"/>
          </ac:spMkLst>
        </pc:spChg>
        <pc:spChg chg="mod">
          <ac:chgData name="Anara Samambayeva" userId="40372071-4642-4757-8ccf-dba3b5920c09" providerId="ADAL" clId="{6991BE2B-A3E7-4DB2-B967-3EF30E6FE166}" dt="2025-07-01T11:43:00.894" v="11506" actId="20577"/>
          <ac:spMkLst>
            <pc:docMk/>
            <pc:sldMk cId="3359828720" sldId="419"/>
            <ac:spMk id="10" creationId="{0D369242-9032-FA49-40E3-3539D4DAF7E0}"/>
          </ac:spMkLst>
        </pc:spChg>
      </pc:sldChg>
      <pc:sldChg chg="del">
        <pc:chgData name="Anara Samambayeva" userId="40372071-4642-4757-8ccf-dba3b5920c09" providerId="ADAL" clId="{6991BE2B-A3E7-4DB2-B967-3EF30E6FE166}" dt="2025-06-04T10:57:17.124" v="143" actId="47"/>
        <pc:sldMkLst>
          <pc:docMk/>
          <pc:sldMk cId="3076065554" sldId="1881838982"/>
        </pc:sldMkLst>
      </pc:sldChg>
      <pc:sldChg chg="addSp delSp modSp mod">
        <pc:chgData name="Anara Samambayeva" userId="40372071-4642-4757-8ccf-dba3b5920c09" providerId="ADAL" clId="{6991BE2B-A3E7-4DB2-B967-3EF30E6FE166}" dt="2025-06-30T06:22:47.305" v="1996" actId="20577"/>
        <pc:sldMkLst>
          <pc:docMk/>
          <pc:sldMk cId="2580639674" sldId="1881839103"/>
        </pc:sldMkLst>
        <pc:spChg chg="mod">
          <ac:chgData name="Anara Samambayeva" userId="40372071-4642-4757-8ccf-dba3b5920c09" providerId="ADAL" clId="{6991BE2B-A3E7-4DB2-B967-3EF30E6FE166}" dt="2025-06-04T11:48:12.585" v="1805" actId="20577"/>
          <ac:spMkLst>
            <pc:docMk/>
            <pc:sldMk cId="2580639674" sldId="1881839103"/>
            <ac:spMk id="3" creationId="{C74DE865-CEE1-AA14-71FF-500B36034873}"/>
          </ac:spMkLst>
        </pc:spChg>
        <pc:spChg chg="mod">
          <ac:chgData name="Anara Samambayeva" userId="40372071-4642-4757-8ccf-dba3b5920c09" providerId="ADAL" clId="{6991BE2B-A3E7-4DB2-B967-3EF30E6FE166}" dt="2025-06-30T06:22:47.305" v="1996" actId="20577"/>
          <ac:spMkLst>
            <pc:docMk/>
            <pc:sldMk cId="2580639674" sldId="1881839103"/>
            <ac:spMk id="6" creationId="{20A82463-7F9D-1896-5AB0-0D6225370B3E}"/>
          </ac:spMkLst>
        </pc:spChg>
        <pc:spChg chg="mod">
          <ac:chgData name="Anara Samambayeva" userId="40372071-4642-4757-8ccf-dba3b5920c09" providerId="ADAL" clId="{6991BE2B-A3E7-4DB2-B967-3EF30E6FE166}" dt="2025-06-04T11:48:56.251" v="1825" actId="404"/>
          <ac:spMkLst>
            <pc:docMk/>
            <pc:sldMk cId="2580639674" sldId="1881839103"/>
            <ac:spMk id="55" creationId="{C82877E3-5DE9-4EF1-69E9-35A95E40AD5C}"/>
          </ac:spMkLst>
        </pc:spChg>
        <pc:picChg chg="add mod">
          <ac:chgData name="Anara Samambayeva" userId="40372071-4642-4757-8ccf-dba3b5920c09" providerId="ADAL" clId="{6991BE2B-A3E7-4DB2-B967-3EF30E6FE166}" dt="2025-06-30T06:22:30.143" v="1992" actId="14826"/>
          <ac:picMkLst>
            <pc:docMk/>
            <pc:sldMk cId="2580639674" sldId="1881839103"/>
            <ac:picMk id="9" creationId="{8255E804-16D1-6635-FCC2-13D7568939F0}"/>
          </ac:picMkLst>
        </pc:picChg>
        <pc:picChg chg="add mod">
          <ac:chgData name="Anara Samambayeva" userId="40372071-4642-4757-8ccf-dba3b5920c09" providerId="ADAL" clId="{6991BE2B-A3E7-4DB2-B967-3EF30E6FE166}" dt="2025-06-30T06:18:44.522" v="1979"/>
          <ac:picMkLst>
            <pc:docMk/>
            <pc:sldMk cId="2580639674" sldId="1881839103"/>
            <ac:picMk id="10" creationId="{BEC1D672-A6C1-AEFB-5A54-E8FB2B464095}"/>
          </ac:picMkLst>
        </pc:picChg>
        <pc:picChg chg="add mod">
          <ac:chgData name="Anara Samambayeva" userId="40372071-4642-4757-8ccf-dba3b5920c09" providerId="ADAL" clId="{6991BE2B-A3E7-4DB2-B967-3EF30E6FE166}" dt="2025-06-30T06:22:02.958" v="1990" actId="1076"/>
          <ac:picMkLst>
            <pc:docMk/>
            <pc:sldMk cId="2580639674" sldId="1881839103"/>
            <ac:picMk id="12" creationId="{532002B1-AA24-130F-96C2-33BCC6A05BD1}"/>
          </ac:picMkLst>
        </pc:picChg>
      </pc:sldChg>
      <pc:sldChg chg="del">
        <pc:chgData name="Anara Samambayeva" userId="40372071-4642-4757-8ccf-dba3b5920c09" providerId="ADAL" clId="{6991BE2B-A3E7-4DB2-B967-3EF30E6FE166}" dt="2025-06-04T10:57:16.560" v="142" actId="47"/>
        <pc:sldMkLst>
          <pc:docMk/>
          <pc:sldMk cId="1053496485" sldId="1881839132"/>
        </pc:sldMkLst>
      </pc:sldChg>
      <pc:sldChg chg="addSp delSp modSp mod">
        <pc:chgData name="Anara Samambayeva" userId="40372071-4642-4757-8ccf-dba3b5920c09" providerId="ADAL" clId="{6991BE2B-A3E7-4DB2-B967-3EF30E6FE166}" dt="2025-07-01T11:41:59.867" v="11489" actId="313"/>
        <pc:sldMkLst>
          <pc:docMk/>
          <pc:sldMk cId="303880481" sldId="1881839136"/>
        </pc:sldMkLst>
        <pc:spChg chg="add mod">
          <ac:chgData name="Anara Samambayeva" userId="40372071-4642-4757-8ccf-dba3b5920c09" providerId="ADAL" clId="{6991BE2B-A3E7-4DB2-B967-3EF30E6FE166}" dt="2025-06-30T08:42:45.665" v="2004"/>
          <ac:spMkLst>
            <pc:docMk/>
            <pc:sldMk cId="303880481" sldId="1881839136"/>
            <ac:spMk id="3" creationId="{13CBEE6C-38E6-3FF3-2A3B-602AD601C438}"/>
          </ac:spMkLst>
        </pc:spChg>
        <pc:spChg chg="add mod">
          <ac:chgData name="Anara Samambayeva" userId="40372071-4642-4757-8ccf-dba3b5920c09" providerId="ADAL" clId="{6991BE2B-A3E7-4DB2-B967-3EF30E6FE166}" dt="2025-07-01T11:41:59.867" v="11489" actId="313"/>
          <ac:spMkLst>
            <pc:docMk/>
            <pc:sldMk cId="303880481" sldId="1881839136"/>
            <ac:spMk id="4" creationId="{01F4EFDC-0E07-D948-24A8-CA5ADEA32943}"/>
          </ac:spMkLst>
        </pc:spChg>
      </pc:sldChg>
      <pc:sldChg chg="del">
        <pc:chgData name="Anara Samambayeva" userId="40372071-4642-4757-8ccf-dba3b5920c09" providerId="ADAL" clId="{6991BE2B-A3E7-4DB2-B967-3EF30E6FE166}" dt="2025-06-04T10:57:17.682" v="144" actId="47"/>
        <pc:sldMkLst>
          <pc:docMk/>
          <pc:sldMk cId="4212339550" sldId="1881839137"/>
        </pc:sldMkLst>
      </pc:sldChg>
      <pc:sldChg chg="del">
        <pc:chgData name="Anara Samambayeva" userId="40372071-4642-4757-8ccf-dba3b5920c09" providerId="ADAL" clId="{6991BE2B-A3E7-4DB2-B967-3EF30E6FE166}" dt="2025-06-04T10:57:18.293" v="145" actId="47"/>
        <pc:sldMkLst>
          <pc:docMk/>
          <pc:sldMk cId="1084110289" sldId="1881839138"/>
        </pc:sldMkLst>
      </pc:sldChg>
      <pc:sldChg chg="del">
        <pc:chgData name="Anara Samambayeva" userId="40372071-4642-4757-8ccf-dba3b5920c09" providerId="ADAL" clId="{6991BE2B-A3E7-4DB2-B967-3EF30E6FE166}" dt="2025-06-04T10:57:19.440" v="146" actId="47"/>
        <pc:sldMkLst>
          <pc:docMk/>
          <pc:sldMk cId="3628021140" sldId="1881839139"/>
        </pc:sldMkLst>
      </pc:sldChg>
      <pc:sldChg chg="del">
        <pc:chgData name="Anara Samambayeva" userId="40372071-4642-4757-8ccf-dba3b5920c09" providerId="ADAL" clId="{6991BE2B-A3E7-4DB2-B967-3EF30E6FE166}" dt="2025-06-04T10:57:20.194" v="147" actId="47"/>
        <pc:sldMkLst>
          <pc:docMk/>
          <pc:sldMk cId="3492188625" sldId="1881839140"/>
        </pc:sldMkLst>
      </pc:sldChg>
      <pc:sldChg chg="del">
        <pc:chgData name="Anara Samambayeva" userId="40372071-4642-4757-8ccf-dba3b5920c09" providerId="ADAL" clId="{6991BE2B-A3E7-4DB2-B967-3EF30E6FE166}" dt="2025-06-04T10:57:21.288" v="148" actId="47"/>
        <pc:sldMkLst>
          <pc:docMk/>
          <pc:sldMk cId="2014211559" sldId="1881839141"/>
        </pc:sldMkLst>
      </pc:sldChg>
      <pc:sldChg chg="del">
        <pc:chgData name="Anara Samambayeva" userId="40372071-4642-4757-8ccf-dba3b5920c09" providerId="ADAL" clId="{6991BE2B-A3E7-4DB2-B967-3EF30E6FE166}" dt="2025-06-04T10:57:21.836" v="149" actId="47"/>
        <pc:sldMkLst>
          <pc:docMk/>
          <pc:sldMk cId="3344311543" sldId="1881839142"/>
        </pc:sldMkLst>
      </pc:sldChg>
      <pc:sldChg chg="del">
        <pc:chgData name="Anara Samambayeva" userId="40372071-4642-4757-8ccf-dba3b5920c09" providerId="ADAL" clId="{6991BE2B-A3E7-4DB2-B967-3EF30E6FE166}" dt="2025-06-04T10:57:22.570" v="150" actId="47"/>
        <pc:sldMkLst>
          <pc:docMk/>
          <pc:sldMk cId="1441297884" sldId="1881839143"/>
        </pc:sldMkLst>
      </pc:sldChg>
      <pc:sldChg chg="del">
        <pc:chgData name="Anara Samambayeva" userId="40372071-4642-4757-8ccf-dba3b5920c09" providerId="ADAL" clId="{6991BE2B-A3E7-4DB2-B967-3EF30E6FE166}" dt="2025-06-04T10:57:24.459" v="152" actId="47"/>
        <pc:sldMkLst>
          <pc:docMk/>
          <pc:sldMk cId="2846112446" sldId="1881839144"/>
        </pc:sldMkLst>
      </pc:sldChg>
      <pc:sldChg chg="del">
        <pc:chgData name="Anara Samambayeva" userId="40372071-4642-4757-8ccf-dba3b5920c09" providerId="ADAL" clId="{6991BE2B-A3E7-4DB2-B967-3EF30E6FE166}" dt="2025-06-04T10:57:56.042" v="155" actId="47"/>
        <pc:sldMkLst>
          <pc:docMk/>
          <pc:sldMk cId="1211814473" sldId="1881839145"/>
        </pc:sldMkLst>
      </pc:sldChg>
      <pc:sldChg chg="del">
        <pc:chgData name="Anara Samambayeva" userId="40372071-4642-4757-8ccf-dba3b5920c09" providerId="ADAL" clId="{6991BE2B-A3E7-4DB2-B967-3EF30E6FE166}" dt="2025-06-04T10:57:56.761" v="156" actId="47"/>
        <pc:sldMkLst>
          <pc:docMk/>
          <pc:sldMk cId="1833034411" sldId="1881839146"/>
        </pc:sldMkLst>
      </pc:sldChg>
      <pc:sldChg chg="del">
        <pc:chgData name="Anara Samambayeva" userId="40372071-4642-4757-8ccf-dba3b5920c09" providerId="ADAL" clId="{6991BE2B-A3E7-4DB2-B967-3EF30E6FE166}" dt="2025-06-04T10:57:23.338" v="151" actId="47"/>
        <pc:sldMkLst>
          <pc:docMk/>
          <pc:sldMk cId="1008995479" sldId="1881839149"/>
        </pc:sldMkLst>
      </pc:sldChg>
      <pc:sldChg chg="mod ord modShow">
        <pc:chgData name="Anara Samambayeva" userId="40372071-4642-4757-8ccf-dba3b5920c09" providerId="ADAL" clId="{6991BE2B-A3E7-4DB2-B967-3EF30E6FE166}" dt="2025-06-30T12:47:31.410" v="2232" actId="729"/>
        <pc:sldMkLst>
          <pc:docMk/>
          <pc:sldMk cId="3721523510" sldId="1881839150"/>
        </pc:sldMkLst>
      </pc:sldChg>
      <pc:sldChg chg="ord">
        <pc:chgData name="Anara Samambayeva" userId="40372071-4642-4757-8ccf-dba3b5920c09" providerId="ADAL" clId="{6991BE2B-A3E7-4DB2-B967-3EF30E6FE166}" dt="2025-06-04T10:58:12.405" v="165"/>
        <pc:sldMkLst>
          <pc:docMk/>
          <pc:sldMk cId="3701002426" sldId="1881839152"/>
        </pc:sldMkLst>
      </pc:sldChg>
      <pc:sldChg chg="del">
        <pc:chgData name="Anara Samambayeva" userId="40372071-4642-4757-8ccf-dba3b5920c09" providerId="ADAL" clId="{6991BE2B-A3E7-4DB2-B967-3EF30E6FE166}" dt="2025-06-30T08:41:53.513" v="2001" actId="47"/>
        <pc:sldMkLst>
          <pc:docMk/>
          <pc:sldMk cId="3810579740" sldId="1881839152"/>
        </pc:sldMkLst>
      </pc:sldChg>
      <pc:sldChg chg="del">
        <pc:chgData name="Anara Samambayeva" userId="40372071-4642-4757-8ccf-dba3b5920c09" providerId="ADAL" clId="{6991BE2B-A3E7-4DB2-B967-3EF30E6FE166}" dt="2025-06-04T10:58:06.084" v="161" actId="47"/>
        <pc:sldMkLst>
          <pc:docMk/>
          <pc:sldMk cId="482122530" sldId="1881839153"/>
        </pc:sldMkLst>
      </pc:sldChg>
      <pc:sldChg chg="del">
        <pc:chgData name="Anara Samambayeva" userId="40372071-4642-4757-8ccf-dba3b5920c09" providerId="ADAL" clId="{6991BE2B-A3E7-4DB2-B967-3EF30E6FE166}" dt="2025-06-04T10:57:15.794" v="141" actId="47"/>
        <pc:sldMkLst>
          <pc:docMk/>
          <pc:sldMk cId="1793374902" sldId="1881839154"/>
        </pc:sldMkLst>
      </pc:sldChg>
      <pc:sldChg chg="del">
        <pc:chgData name="Anara Samambayeva" userId="40372071-4642-4757-8ccf-dba3b5920c09" providerId="ADAL" clId="{6991BE2B-A3E7-4DB2-B967-3EF30E6FE166}" dt="2025-06-04T10:57:59.529" v="158" actId="47"/>
        <pc:sldMkLst>
          <pc:docMk/>
          <pc:sldMk cId="371142360" sldId="1881839155"/>
        </pc:sldMkLst>
      </pc:sldChg>
      <pc:sldChg chg="del">
        <pc:chgData name="Anara Samambayeva" userId="40372071-4642-4757-8ccf-dba3b5920c09" providerId="ADAL" clId="{6991BE2B-A3E7-4DB2-B967-3EF30E6FE166}" dt="2025-06-04T10:58:00.393" v="159" actId="47"/>
        <pc:sldMkLst>
          <pc:docMk/>
          <pc:sldMk cId="2305428712" sldId="1881839156"/>
        </pc:sldMkLst>
      </pc:sldChg>
      <pc:sldChg chg="del">
        <pc:chgData name="Anara Samambayeva" userId="40372071-4642-4757-8ccf-dba3b5920c09" providerId="ADAL" clId="{6991BE2B-A3E7-4DB2-B967-3EF30E6FE166}" dt="2025-06-04T10:58:02.250" v="160" actId="47"/>
        <pc:sldMkLst>
          <pc:docMk/>
          <pc:sldMk cId="3122388509" sldId="1881839157"/>
        </pc:sldMkLst>
      </pc:sldChg>
      <pc:sldChg chg="del">
        <pc:chgData name="Anara Samambayeva" userId="40372071-4642-4757-8ccf-dba3b5920c09" providerId="ADAL" clId="{6991BE2B-A3E7-4DB2-B967-3EF30E6FE166}" dt="2025-06-04T10:57:57.644" v="157" actId="47"/>
        <pc:sldMkLst>
          <pc:docMk/>
          <pc:sldMk cId="2856891735" sldId="1881839158"/>
        </pc:sldMkLst>
      </pc:sldChg>
      <pc:sldChg chg="modSp new mod ord">
        <pc:chgData name="Anara Samambayeva" userId="40372071-4642-4757-8ccf-dba3b5920c09" providerId="ADAL" clId="{6991BE2B-A3E7-4DB2-B967-3EF30E6FE166}" dt="2025-07-01T12:01:07.127" v="12059" actId="404"/>
        <pc:sldMkLst>
          <pc:docMk/>
          <pc:sldMk cId="1347234490" sldId="1881839159"/>
        </pc:sldMkLst>
        <pc:spChg chg="mod">
          <ac:chgData name="Anara Samambayeva" userId="40372071-4642-4757-8ccf-dba3b5920c09" providerId="ADAL" clId="{6991BE2B-A3E7-4DB2-B967-3EF30E6FE166}" dt="2025-07-01T12:01:07.127" v="12059" actId="404"/>
          <ac:spMkLst>
            <pc:docMk/>
            <pc:sldMk cId="1347234490" sldId="1881839159"/>
            <ac:spMk id="8" creationId="{ADAE08FF-DFCE-3B1F-B6B2-69422780D68F}"/>
          </ac:spMkLst>
        </pc:spChg>
        <pc:spChg chg="mod">
          <ac:chgData name="Anara Samambayeva" userId="40372071-4642-4757-8ccf-dba3b5920c09" providerId="ADAL" clId="{6991BE2B-A3E7-4DB2-B967-3EF30E6FE166}" dt="2025-06-04T12:09:22.936" v="1845" actId="207"/>
          <ac:spMkLst>
            <pc:docMk/>
            <pc:sldMk cId="1347234490" sldId="1881839159"/>
            <ac:spMk id="211" creationId="{CAB885CA-58F6-9106-FEBF-341761C0C45D}"/>
          </ac:spMkLst>
        </pc:spChg>
        <pc:spChg chg="mod">
          <ac:chgData name="Anara Samambayeva" userId="40372071-4642-4757-8ccf-dba3b5920c09" providerId="ADAL" clId="{6991BE2B-A3E7-4DB2-B967-3EF30E6FE166}" dt="2025-06-04T12:09:12.373" v="1843" actId="207"/>
          <ac:spMkLst>
            <pc:docMk/>
            <pc:sldMk cId="1347234490" sldId="1881839159"/>
            <ac:spMk id="214" creationId="{FC9DB711-1D94-2E99-BEF6-046C9DBD4633}"/>
          </ac:spMkLst>
        </pc:spChg>
        <pc:spChg chg="mod">
          <ac:chgData name="Anara Samambayeva" userId="40372071-4642-4757-8ccf-dba3b5920c09" providerId="ADAL" clId="{6991BE2B-A3E7-4DB2-B967-3EF30E6FE166}" dt="2025-06-04T12:09:12.373" v="1843" actId="207"/>
          <ac:spMkLst>
            <pc:docMk/>
            <pc:sldMk cId="1347234490" sldId="1881839159"/>
            <ac:spMk id="227" creationId="{B38041A4-ADEE-996E-CA19-D40E4761D428}"/>
          </ac:spMkLst>
        </pc:spChg>
      </pc:sldChg>
      <pc:sldChg chg="addSp delSp modSp new del mod modClrScheme chgLayout">
        <pc:chgData name="Anara Samambayeva" userId="40372071-4642-4757-8ccf-dba3b5920c09" providerId="ADAL" clId="{6991BE2B-A3E7-4DB2-B967-3EF30E6FE166}" dt="2025-07-01T11:07:57.180" v="11138" actId="47"/>
        <pc:sldMkLst>
          <pc:docMk/>
          <pc:sldMk cId="37887544" sldId="1881839160"/>
        </pc:sldMkLst>
        <pc:spChg chg="del mod">
          <ac:chgData name="Anara Samambayeva" userId="40372071-4642-4757-8ccf-dba3b5920c09" providerId="ADAL" clId="{6991BE2B-A3E7-4DB2-B967-3EF30E6FE166}" dt="2025-07-01T10:35:24.119" v="10960" actId="478"/>
          <ac:spMkLst>
            <pc:docMk/>
            <pc:sldMk cId="37887544" sldId="1881839160"/>
            <ac:spMk id="4" creationId="{C652BF0C-309C-9373-4B69-8D6931BD9EE0}"/>
          </ac:spMkLst>
        </pc:spChg>
        <pc:spChg chg="mod">
          <ac:chgData name="Anara Samambayeva" userId="40372071-4642-4757-8ccf-dba3b5920c09" providerId="ADAL" clId="{6991BE2B-A3E7-4DB2-B967-3EF30E6FE166}" dt="2025-07-01T10:34:27.689" v="10935" actId="20577"/>
          <ac:spMkLst>
            <pc:docMk/>
            <pc:sldMk cId="37887544" sldId="1881839160"/>
            <ac:spMk id="5" creationId="{13666074-9EC8-F254-B203-53DE9588C9F6}"/>
          </ac:spMkLst>
        </pc:spChg>
        <pc:spChg chg="del mod">
          <ac:chgData name="Anara Samambayeva" userId="40372071-4642-4757-8ccf-dba3b5920c09" providerId="ADAL" clId="{6991BE2B-A3E7-4DB2-B967-3EF30E6FE166}" dt="2025-07-01T10:35:32.096" v="10962" actId="478"/>
          <ac:spMkLst>
            <pc:docMk/>
            <pc:sldMk cId="37887544" sldId="1881839160"/>
            <ac:spMk id="6" creationId="{A4BE4F18-B5F3-B88D-3A15-F2DDA1B23BDF}"/>
          </ac:spMkLst>
        </pc:spChg>
        <pc:spChg chg="mod">
          <ac:chgData name="Anara Samambayeva" userId="40372071-4642-4757-8ccf-dba3b5920c09" providerId="ADAL" clId="{6991BE2B-A3E7-4DB2-B967-3EF30E6FE166}" dt="2025-07-01T10:34:24.433" v="10931" actId="1076"/>
          <ac:spMkLst>
            <pc:docMk/>
            <pc:sldMk cId="37887544" sldId="1881839160"/>
            <ac:spMk id="7" creationId="{10FD22F8-F27B-F33F-81B8-33C77BD3C03F}"/>
          </ac:spMkLst>
        </pc:spChg>
        <pc:spChg chg="mod">
          <ac:chgData name="Anara Samambayeva" userId="40372071-4642-4757-8ccf-dba3b5920c09" providerId="ADAL" clId="{6991BE2B-A3E7-4DB2-B967-3EF30E6FE166}" dt="2025-07-01T10:34:16.354" v="10928" actId="1076"/>
          <ac:spMkLst>
            <pc:docMk/>
            <pc:sldMk cId="37887544" sldId="1881839160"/>
            <ac:spMk id="8" creationId="{2BDF1331-DAB6-DCAE-DC09-D33468A586B9}"/>
          </ac:spMkLst>
        </pc:spChg>
        <pc:spChg chg="del mod">
          <ac:chgData name="Anara Samambayeva" userId="40372071-4642-4757-8ccf-dba3b5920c09" providerId="ADAL" clId="{6991BE2B-A3E7-4DB2-B967-3EF30E6FE166}" dt="2025-07-01T10:35:18.173" v="10958" actId="478"/>
          <ac:spMkLst>
            <pc:docMk/>
            <pc:sldMk cId="37887544" sldId="1881839160"/>
            <ac:spMk id="9" creationId="{20C1551F-88D8-C8AD-5CA1-1D823752844D}"/>
          </ac:spMkLst>
        </pc:spChg>
        <pc:spChg chg="del">
          <ac:chgData name="Anara Samambayeva" userId="40372071-4642-4757-8ccf-dba3b5920c09" providerId="ADAL" clId="{6991BE2B-A3E7-4DB2-B967-3EF30E6FE166}" dt="2025-07-01T10:58:38.468" v="11002" actId="478"/>
          <ac:spMkLst>
            <pc:docMk/>
            <pc:sldMk cId="37887544" sldId="1881839160"/>
            <ac:spMk id="20" creationId="{90570558-E44E-3BDF-710D-0831ABC0EFD8}"/>
          </ac:spMkLst>
        </pc:spChg>
        <pc:spChg chg="del">
          <ac:chgData name="Anara Samambayeva" userId="40372071-4642-4757-8ccf-dba3b5920c09" providerId="ADAL" clId="{6991BE2B-A3E7-4DB2-B967-3EF30E6FE166}" dt="2025-07-01T10:58:36.562" v="11001" actId="478"/>
          <ac:spMkLst>
            <pc:docMk/>
            <pc:sldMk cId="37887544" sldId="1881839160"/>
            <ac:spMk id="23" creationId="{DEC37435-B65D-6763-E979-7F2E2E9502DA}"/>
          </ac:spMkLst>
        </pc:spChg>
        <pc:spChg chg="del">
          <ac:chgData name="Anara Samambayeva" userId="40372071-4642-4757-8ccf-dba3b5920c09" providerId="ADAL" clId="{6991BE2B-A3E7-4DB2-B967-3EF30E6FE166}" dt="2025-07-01T10:58:40.780" v="11003" actId="478"/>
          <ac:spMkLst>
            <pc:docMk/>
            <pc:sldMk cId="37887544" sldId="1881839160"/>
            <ac:spMk id="24" creationId="{A8BC1C80-32F3-A731-A253-6E2E04A498B9}"/>
          </ac:spMkLst>
        </pc:spChg>
        <pc:spChg chg="del mod">
          <ac:chgData name="Anara Samambayeva" userId="40372071-4642-4757-8ccf-dba3b5920c09" providerId="ADAL" clId="{6991BE2B-A3E7-4DB2-B967-3EF30E6FE166}" dt="2025-07-01T10:37:45.559" v="10982"/>
          <ac:spMkLst>
            <pc:docMk/>
            <pc:sldMk cId="37887544" sldId="1881839160"/>
            <ac:spMk id="25" creationId="{1FA1FCF1-1644-F7BB-91DF-D8B65723B58C}"/>
          </ac:spMkLst>
        </pc:spChg>
        <pc:spChg chg="mod">
          <ac:chgData name="Anara Samambayeva" userId="40372071-4642-4757-8ccf-dba3b5920c09" providerId="ADAL" clId="{6991BE2B-A3E7-4DB2-B967-3EF30E6FE166}" dt="2025-07-01T11:02:08.628" v="11055" actId="20577"/>
          <ac:spMkLst>
            <pc:docMk/>
            <pc:sldMk cId="37887544" sldId="1881839160"/>
            <ac:spMk id="26" creationId="{B47E1736-8195-0394-6759-AFEB1DFB4B65}"/>
          </ac:spMkLst>
        </pc:spChg>
        <pc:spChg chg="mod">
          <ac:chgData name="Anara Samambayeva" userId="40372071-4642-4757-8ccf-dba3b5920c09" providerId="ADAL" clId="{6991BE2B-A3E7-4DB2-B967-3EF30E6FE166}" dt="2025-07-01T10:56:53.554" v="10984" actId="1076"/>
          <ac:spMkLst>
            <pc:docMk/>
            <pc:sldMk cId="37887544" sldId="1881839160"/>
            <ac:spMk id="29" creationId="{B256D0B7-8AB1-C328-33D7-1C3EB4BABA24}"/>
          </ac:spMkLst>
        </pc:spChg>
        <pc:spChg chg="mod">
          <ac:chgData name="Anara Samambayeva" userId="40372071-4642-4757-8ccf-dba3b5920c09" providerId="ADAL" clId="{6991BE2B-A3E7-4DB2-B967-3EF30E6FE166}" dt="2025-07-01T10:57:14.501" v="10987" actId="1076"/>
          <ac:spMkLst>
            <pc:docMk/>
            <pc:sldMk cId="37887544" sldId="1881839160"/>
            <ac:spMk id="30" creationId="{1D8B1996-B414-6B7D-9D9D-87B50BA1E57E}"/>
          </ac:spMkLst>
        </pc:spChg>
        <pc:spChg chg="mod">
          <ac:chgData name="Anara Samambayeva" userId="40372071-4642-4757-8ccf-dba3b5920c09" providerId="ADAL" clId="{6991BE2B-A3E7-4DB2-B967-3EF30E6FE166}" dt="2025-07-01T11:01:51.037" v="11051" actId="1076"/>
          <ac:spMkLst>
            <pc:docMk/>
            <pc:sldMk cId="37887544" sldId="1881839160"/>
            <ac:spMk id="31" creationId="{AA321418-8A4F-306B-D6BA-F2D696204268}"/>
          </ac:spMkLst>
        </pc:spChg>
        <pc:spChg chg="mod">
          <ac:chgData name="Anara Samambayeva" userId="40372071-4642-4757-8ccf-dba3b5920c09" providerId="ADAL" clId="{6991BE2B-A3E7-4DB2-B967-3EF30E6FE166}" dt="2025-07-01T11:01:59.169" v="11053" actId="1076"/>
          <ac:spMkLst>
            <pc:docMk/>
            <pc:sldMk cId="37887544" sldId="1881839160"/>
            <ac:spMk id="37" creationId="{663FD8FE-60C4-F453-A6DD-A722454BA8FC}"/>
          </ac:spMkLst>
        </pc:spChg>
        <pc:grpChg chg="del">
          <ac:chgData name="Anara Samambayeva" userId="40372071-4642-4757-8ccf-dba3b5920c09" providerId="ADAL" clId="{6991BE2B-A3E7-4DB2-B967-3EF30E6FE166}" dt="2025-07-01T10:35:29.914" v="10961" actId="478"/>
          <ac:grpSpMkLst>
            <pc:docMk/>
            <pc:sldMk cId="37887544" sldId="1881839160"/>
            <ac:grpSpMk id="10" creationId="{EF69C5D0-676C-EF98-10F5-F67C4A6C2AFD}"/>
          </ac:grpSpMkLst>
        </pc:grpChg>
        <pc:grpChg chg="del">
          <ac:chgData name="Anara Samambayeva" userId="40372071-4642-4757-8ccf-dba3b5920c09" providerId="ADAL" clId="{6991BE2B-A3E7-4DB2-B967-3EF30E6FE166}" dt="2025-07-01T10:35:29.914" v="10961" actId="478"/>
          <ac:grpSpMkLst>
            <pc:docMk/>
            <pc:sldMk cId="37887544" sldId="1881839160"/>
            <ac:grpSpMk id="13" creationId="{ABBB4192-BB8E-0BB8-0646-90F1445AC5E7}"/>
          </ac:grpSpMkLst>
        </pc:grpChg>
        <pc:grpChg chg="del">
          <ac:chgData name="Anara Samambayeva" userId="40372071-4642-4757-8ccf-dba3b5920c09" providerId="ADAL" clId="{6991BE2B-A3E7-4DB2-B967-3EF30E6FE166}" dt="2025-07-01T10:35:29.914" v="10961" actId="478"/>
          <ac:grpSpMkLst>
            <pc:docMk/>
            <pc:sldMk cId="37887544" sldId="1881839160"/>
            <ac:grpSpMk id="16" creationId="{1E518921-5727-146D-F4C5-01F4D01B905B}"/>
          </ac:grpSpMkLst>
        </pc:grpChg>
        <pc:graphicFrameChg chg="add mod modGraphic">
          <ac:chgData name="Anara Samambayeva" userId="40372071-4642-4757-8ccf-dba3b5920c09" providerId="ADAL" clId="{6991BE2B-A3E7-4DB2-B967-3EF30E6FE166}" dt="2025-07-01T11:01:46.411" v="11050" actId="167"/>
          <ac:graphicFrameMkLst>
            <pc:docMk/>
            <pc:sldMk cId="37887544" sldId="1881839160"/>
            <ac:graphicFrameMk id="2" creationId="{D3207AA4-8B38-9679-3A96-CEB276470860}"/>
          </ac:graphicFrameMkLst>
        </pc:graphicFrameChg>
        <pc:cxnChg chg="mod">
          <ac:chgData name="Anara Samambayeva" userId="40372071-4642-4757-8ccf-dba3b5920c09" providerId="ADAL" clId="{6991BE2B-A3E7-4DB2-B967-3EF30E6FE166}" dt="2025-07-01T10:57:57.350" v="10995" actId="1076"/>
          <ac:cxnSpMkLst>
            <pc:docMk/>
            <pc:sldMk cId="37887544" sldId="1881839160"/>
            <ac:cxnSpMk id="28" creationId="{C27B358F-E775-1661-F406-6654FD2404B8}"/>
          </ac:cxnSpMkLst>
        </pc:cxnChg>
        <pc:cxnChg chg="mod">
          <ac:chgData name="Anara Samambayeva" userId="40372071-4642-4757-8ccf-dba3b5920c09" providerId="ADAL" clId="{6991BE2B-A3E7-4DB2-B967-3EF30E6FE166}" dt="2025-07-01T11:01:22.529" v="11045" actId="1076"/>
          <ac:cxnSpMkLst>
            <pc:docMk/>
            <pc:sldMk cId="37887544" sldId="1881839160"/>
            <ac:cxnSpMk id="33" creationId="{075F7C69-0703-BF6D-C382-B6B43AF1B2F5}"/>
          </ac:cxnSpMkLst>
        </pc:cxnChg>
        <pc:cxnChg chg="mod">
          <ac:chgData name="Anara Samambayeva" userId="40372071-4642-4757-8ccf-dba3b5920c09" providerId="ADAL" clId="{6991BE2B-A3E7-4DB2-B967-3EF30E6FE166}" dt="2025-07-01T10:58:30.835" v="11000" actId="1582"/>
          <ac:cxnSpMkLst>
            <pc:docMk/>
            <pc:sldMk cId="37887544" sldId="1881839160"/>
            <ac:cxnSpMk id="34" creationId="{ED8B25FA-30CD-4102-88CC-3DBE9AB8124E}"/>
          </ac:cxnSpMkLst>
        </pc:cxnChg>
      </pc:sldChg>
      <pc:sldChg chg="modSp mod">
        <pc:chgData name="Anara Samambayeva" userId="40372071-4642-4757-8ccf-dba3b5920c09" providerId="ADAL" clId="{6991BE2B-A3E7-4DB2-B967-3EF30E6FE166}" dt="2025-07-01T11:37:27.670" v="11443" actId="14100"/>
        <pc:sldMkLst>
          <pc:docMk/>
          <pc:sldMk cId="956982988" sldId="1881839161"/>
        </pc:sldMkLst>
        <pc:spChg chg="mod">
          <ac:chgData name="Anara Samambayeva" userId="40372071-4642-4757-8ccf-dba3b5920c09" providerId="ADAL" clId="{6991BE2B-A3E7-4DB2-B967-3EF30E6FE166}" dt="2025-07-01T11:37:27.670" v="11443" actId="14100"/>
          <ac:spMkLst>
            <pc:docMk/>
            <pc:sldMk cId="956982988" sldId="1881839161"/>
            <ac:spMk id="8" creationId="{D7B68DD8-5FAA-F882-4FC2-0D2AFA767D87}"/>
          </ac:spMkLst>
        </pc:spChg>
      </pc:sldChg>
      <pc:sldChg chg="modSp mod">
        <pc:chgData name="Anara Samambayeva" userId="40372071-4642-4757-8ccf-dba3b5920c09" providerId="ADAL" clId="{6991BE2B-A3E7-4DB2-B967-3EF30E6FE166}" dt="2025-07-01T11:40:05.389" v="11454" actId="14100"/>
        <pc:sldMkLst>
          <pc:docMk/>
          <pc:sldMk cId="1014885521" sldId="1881839163"/>
        </pc:sldMkLst>
        <pc:spChg chg="mod">
          <ac:chgData name="Anara Samambayeva" userId="40372071-4642-4757-8ccf-dba3b5920c09" providerId="ADAL" clId="{6991BE2B-A3E7-4DB2-B967-3EF30E6FE166}" dt="2025-07-01T11:40:05.389" v="11454" actId="14100"/>
          <ac:spMkLst>
            <pc:docMk/>
            <pc:sldMk cId="1014885521" sldId="1881839163"/>
            <ac:spMk id="8" creationId="{9CA6B91E-958D-84F3-E8F6-858EEC132B43}"/>
          </ac:spMkLst>
        </pc:spChg>
      </pc:sldChg>
      <pc:sldChg chg="modSp mod ord">
        <pc:chgData name="Anara Samambayeva" userId="40372071-4642-4757-8ccf-dba3b5920c09" providerId="ADAL" clId="{6991BE2B-A3E7-4DB2-B967-3EF30E6FE166}" dt="2025-07-01T11:40:51.004" v="11461" actId="14100"/>
        <pc:sldMkLst>
          <pc:docMk/>
          <pc:sldMk cId="4278392226" sldId="1881839164"/>
        </pc:sldMkLst>
        <pc:spChg chg="mod">
          <ac:chgData name="Anara Samambayeva" userId="40372071-4642-4757-8ccf-dba3b5920c09" providerId="ADAL" clId="{6991BE2B-A3E7-4DB2-B967-3EF30E6FE166}" dt="2025-07-01T11:40:51.004" v="11461" actId="14100"/>
          <ac:spMkLst>
            <pc:docMk/>
            <pc:sldMk cId="4278392226" sldId="1881839164"/>
            <ac:spMk id="8" creationId="{94885FE3-A62D-A363-25FF-69326CFEE007}"/>
          </ac:spMkLst>
        </pc:spChg>
        <pc:spChg chg="mod">
          <ac:chgData name="Anara Samambayeva" userId="40372071-4642-4757-8ccf-dba3b5920c09" providerId="ADAL" clId="{6991BE2B-A3E7-4DB2-B967-3EF30E6FE166}" dt="2025-06-05T12:38:01.811" v="1960" actId="20577"/>
          <ac:spMkLst>
            <pc:docMk/>
            <pc:sldMk cId="4278392226" sldId="1881839164"/>
            <ac:spMk id="9" creationId="{4A041520-686E-1FC1-6AC9-EC350222F4AB}"/>
          </ac:spMkLst>
        </pc:spChg>
      </pc:sldChg>
      <pc:sldChg chg="modSp mod">
        <pc:chgData name="Anara Samambayeva" userId="40372071-4642-4757-8ccf-dba3b5920c09" providerId="ADAL" clId="{6991BE2B-A3E7-4DB2-B967-3EF30E6FE166}" dt="2025-06-05T12:38:08.578" v="1962" actId="20577"/>
        <pc:sldMkLst>
          <pc:docMk/>
          <pc:sldMk cId="659217033" sldId="1881839165"/>
        </pc:sldMkLst>
        <pc:spChg chg="mod">
          <ac:chgData name="Anara Samambayeva" userId="40372071-4642-4757-8ccf-dba3b5920c09" providerId="ADAL" clId="{6991BE2B-A3E7-4DB2-B967-3EF30E6FE166}" dt="2025-06-05T12:38:08.578" v="1962" actId="20577"/>
          <ac:spMkLst>
            <pc:docMk/>
            <pc:sldMk cId="659217033" sldId="1881839165"/>
            <ac:spMk id="9" creationId="{5AF4EE7E-4828-E1F2-E073-74E6F1AF9312}"/>
          </ac:spMkLst>
        </pc:spChg>
      </pc:sldChg>
      <pc:sldChg chg="addSp delSp modSp mod">
        <pc:chgData name="Anara Samambayeva" userId="40372071-4642-4757-8ccf-dba3b5920c09" providerId="ADAL" clId="{6991BE2B-A3E7-4DB2-B967-3EF30E6FE166}" dt="2025-07-01T11:41:12.115" v="11462"/>
        <pc:sldMkLst>
          <pc:docMk/>
          <pc:sldMk cId="2672051065" sldId="1881839166"/>
        </pc:sldMkLst>
        <pc:spChg chg="mod">
          <ac:chgData name="Anara Samambayeva" userId="40372071-4642-4757-8ccf-dba3b5920c09" providerId="ADAL" clId="{6991BE2B-A3E7-4DB2-B967-3EF30E6FE166}" dt="2025-07-01T11:41:12.115" v="11462"/>
          <ac:spMkLst>
            <pc:docMk/>
            <pc:sldMk cId="2672051065" sldId="1881839166"/>
            <ac:spMk id="8" creationId="{D39D9485-2065-A391-B06B-AE3C81FC8203}"/>
          </ac:spMkLst>
        </pc:spChg>
      </pc:sldChg>
      <pc:sldChg chg="del">
        <pc:chgData name="Anara Samambayeva" userId="40372071-4642-4757-8ccf-dba3b5920c09" providerId="ADAL" clId="{6991BE2B-A3E7-4DB2-B967-3EF30E6FE166}" dt="2025-06-30T08:41:51.259" v="1998" actId="47"/>
        <pc:sldMkLst>
          <pc:docMk/>
          <pc:sldMk cId="3781492662" sldId="1881839168"/>
        </pc:sldMkLst>
      </pc:sldChg>
      <pc:sldChg chg="del">
        <pc:chgData name="Anara Samambayeva" userId="40372071-4642-4757-8ccf-dba3b5920c09" providerId="ADAL" clId="{6991BE2B-A3E7-4DB2-B967-3EF30E6FE166}" dt="2025-06-30T08:41:52.064" v="1999" actId="47"/>
        <pc:sldMkLst>
          <pc:docMk/>
          <pc:sldMk cId="2940153880" sldId="1881839169"/>
        </pc:sldMkLst>
      </pc:sldChg>
      <pc:sldChg chg="ord">
        <pc:chgData name="Anara Samambayeva" userId="40372071-4642-4757-8ccf-dba3b5920c09" providerId="ADAL" clId="{6991BE2B-A3E7-4DB2-B967-3EF30E6FE166}" dt="2025-06-04T10:57:45.985" v="154"/>
        <pc:sldMkLst>
          <pc:docMk/>
          <pc:sldMk cId="3067046595" sldId="1881839170"/>
        </pc:sldMkLst>
      </pc:sldChg>
      <pc:sldChg chg="del ord">
        <pc:chgData name="Anara Samambayeva" userId="40372071-4642-4757-8ccf-dba3b5920c09" providerId="ADAL" clId="{6991BE2B-A3E7-4DB2-B967-3EF30E6FE166}" dt="2025-06-04T12:32:48.880" v="1952" actId="2696"/>
        <pc:sldMkLst>
          <pc:docMk/>
          <pc:sldMk cId="1747912236" sldId="1881839171"/>
        </pc:sldMkLst>
      </pc:sldChg>
      <pc:sldChg chg="add">
        <pc:chgData name="Anara Samambayeva" userId="40372071-4642-4757-8ccf-dba3b5920c09" providerId="ADAL" clId="{6991BE2B-A3E7-4DB2-B967-3EF30E6FE166}" dt="2025-06-04T12:32:54.311" v="1953"/>
        <pc:sldMkLst>
          <pc:docMk/>
          <pc:sldMk cId="2910564422" sldId="1881839171"/>
        </pc:sldMkLst>
      </pc:sldChg>
      <pc:sldChg chg="del">
        <pc:chgData name="Anara Samambayeva" userId="40372071-4642-4757-8ccf-dba3b5920c09" providerId="ADAL" clId="{6991BE2B-A3E7-4DB2-B967-3EF30E6FE166}" dt="2025-06-30T08:41:52.834" v="2000" actId="47"/>
        <pc:sldMkLst>
          <pc:docMk/>
          <pc:sldMk cId="3878977229" sldId="1881839171"/>
        </pc:sldMkLst>
      </pc:sldChg>
      <pc:sldChg chg="addSp modSp new del mod">
        <pc:chgData name="Anara Samambayeva" userId="40372071-4642-4757-8ccf-dba3b5920c09" providerId="ADAL" clId="{6991BE2B-A3E7-4DB2-B967-3EF30E6FE166}" dt="2025-06-04T11:38:02.911" v="1131" actId="47"/>
        <pc:sldMkLst>
          <pc:docMk/>
          <pc:sldMk cId="3297015502" sldId="1881839174"/>
        </pc:sldMkLst>
      </pc:sldChg>
      <pc:sldChg chg="modSp new del mod ord modNotes">
        <pc:chgData name="Anara Samambayeva" userId="40372071-4642-4757-8ccf-dba3b5920c09" providerId="ADAL" clId="{6991BE2B-A3E7-4DB2-B967-3EF30E6FE166}" dt="2025-07-01T03:59:00.286" v="4495" actId="47"/>
        <pc:sldMkLst>
          <pc:docMk/>
          <pc:sldMk cId="1157716974" sldId="1881839175"/>
        </pc:sldMkLst>
      </pc:sldChg>
      <pc:sldChg chg="addSp delSp modSp new del mod ord">
        <pc:chgData name="Anara Samambayeva" userId="40372071-4642-4757-8ccf-dba3b5920c09" providerId="ADAL" clId="{6991BE2B-A3E7-4DB2-B967-3EF30E6FE166}" dt="2025-06-30T12:48:30.530" v="2233" actId="47"/>
        <pc:sldMkLst>
          <pc:docMk/>
          <pc:sldMk cId="4131748436" sldId="1881839176"/>
        </pc:sldMkLst>
      </pc:sldChg>
      <pc:sldChg chg="modSp new mod ord">
        <pc:chgData name="Anara Samambayeva" userId="40372071-4642-4757-8ccf-dba3b5920c09" providerId="ADAL" clId="{6991BE2B-A3E7-4DB2-B967-3EF30E6FE166}" dt="2025-06-05T12:37:50.914" v="1958"/>
        <pc:sldMkLst>
          <pc:docMk/>
          <pc:sldMk cId="1672454973" sldId="1881839177"/>
        </pc:sldMkLst>
        <pc:spChg chg="mod">
          <ac:chgData name="Anara Samambayeva" userId="40372071-4642-4757-8ccf-dba3b5920c09" providerId="ADAL" clId="{6991BE2B-A3E7-4DB2-B967-3EF30E6FE166}" dt="2025-06-04T11:23:51.749" v="717" actId="404"/>
          <ac:spMkLst>
            <pc:docMk/>
            <pc:sldMk cId="1672454973" sldId="1881839177"/>
            <ac:spMk id="2" creationId="{0E1CEBF3-03BF-2D9B-BE44-38130F86E725}"/>
          </ac:spMkLst>
        </pc:spChg>
      </pc:sldChg>
      <pc:sldChg chg="addSp modSp new mod">
        <pc:chgData name="Anara Samambayeva" userId="40372071-4642-4757-8ccf-dba3b5920c09" providerId="ADAL" clId="{6991BE2B-A3E7-4DB2-B967-3EF30E6FE166}" dt="2025-06-04T11:32:59.405" v="1110" actId="404"/>
        <pc:sldMkLst>
          <pc:docMk/>
          <pc:sldMk cId="3081756418" sldId="1881839178"/>
        </pc:sldMkLst>
        <pc:spChg chg="mod">
          <ac:chgData name="Anara Samambayeva" userId="40372071-4642-4757-8ccf-dba3b5920c09" providerId="ADAL" clId="{6991BE2B-A3E7-4DB2-B967-3EF30E6FE166}" dt="2025-06-04T11:32:59.405" v="1110" actId="404"/>
          <ac:spMkLst>
            <pc:docMk/>
            <pc:sldMk cId="3081756418" sldId="1881839178"/>
            <ac:spMk id="2" creationId="{E4329954-6593-5D37-6744-B85EEFEE85EF}"/>
          </ac:spMkLst>
        </pc:spChg>
        <pc:spChg chg="add mod">
          <ac:chgData name="Anara Samambayeva" userId="40372071-4642-4757-8ccf-dba3b5920c09" providerId="ADAL" clId="{6991BE2B-A3E7-4DB2-B967-3EF30E6FE166}" dt="2025-06-04T11:32:44.292" v="1108"/>
          <ac:spMkLst>
            <pc:docMk/>
            <pc:sldMk cId="3081756418" sldId="1881839178"/>
            <ac:spMk id="6" creationId="{492A61EC-6ED0-7060-1CAD-4FE20FCDDFB4}"/>
          </ac:spMkLst>
        </pc:spChg>
        <pc:spChg chg="add mod">
          <ac:chgData name="Anara Samambayeva" userId="40372071-4642-4757-8ccf-dba3b5920c09" providerId="ADAL" clId="{6991BE2B-A3E7-4DB2-B967-3EF30E6FE166}" dt="2025-06-04T11:32:44.292" v="1108"/>
          <ac:spMkLst>
            <pc:docMk/>
            <pc:sldMk cId="3081756418" sldId="1881839178"/>
            <ac:spMk id="11" creationId="{85B66C5F-89BA-2663-95EF-FD3D6BD0606D}"/>
          </ac:spMkLst>
        </pc:spChg>
        <pc:spChg chg="add mod">
          <ac:chgData name="Anara Samambayeva" userId="40372071-4642-4757-8ccf-dba3b5920c09" providerId="ADAL" clId="{6991BE2B-A3E7-4DB2-B967-3EF30E6FE166}" dt="2025-06-04T11:32:44.292" v="1108"/>
          <ac:spMkLst>
            <pc:docMk/>
            <pc:sldMk cId="3081756418" sldId="1881839178"/>
            <ac:spMk id="13" creationId="{A41E9EE8-3128-0756-2A7B-70B625D14BD2}"/>
          </ac:spMkLst>
        </pc:spChg>
        <pc:spChg chg="add mod">
          <ac:chgData name="Anara Samambayeva" userId="40372071-4642-4757-8ccf-dba3b5920c09" providerId="ADAL" clId="{6991BE2B-A3E7-4DB2-B967-3EF30E6FE166}" dt="2025-06-04T11:32:44.292" v="1108"/>
          <ac:spMkLst>
            <pc:docMk/>
            <pc:sldMk cId="3081756418" sldId="1881839178"/>
            <ac:spMk id="17" creationId="{B691D63F-ECCA-B92E-FBF3-4A10C3AF0780}"/>
          </ac:spMkLst>
        </pc:spChg>
        <pc:spChg chg="add mod">
          <ac:chgData name="Anara Samambayeva" userId="40372071-4642-4757-8ccf-dba3b5920c09" providerId="ADAL" clId="{6991BE2B-A3E7-4DB2-B967-3EF30E6FE166}" dt="2025-06-04T11:32:44.292" v="1108"/>
          <ac:spMkLst>
            <pc:docMk/>
            <pc:sldMk cId="3081756418" sldId="1881839178"/>
            <ac:spMk id="18" creationId="{E11373BA-D588-978F-1AFA-CF95AA71F4AF}"/>
          </ac:spMkLst>
        </pc:spChg>
        <pc:spChg chg="add mod">
          <ac:chgData name="Anara Samambayeva" userId="40372071-4642-4757-8ccf-dba3b5920c09" providerId="ADAL" clId="{6991BE2B-A3E7-4DB2-B967-3EF30E6FE166}" dt="2025-06-04T11:32:44.292" v="1108"/>
          <ac:spMkLst>
            <pc:docMk/>
            <pc:sldMk cId="3081756418" sldId="1881839178"/>
            <ac:spMk id="19" creationId="{775F95DC-48E1-D977-188A-4E8199C90C9D}"/>
          </ac:spMkLst>
        </pc:spChg>
        <pc:spChg chg="add mod">
          <ac:chgData name="Anara Samambayeva" userId="40372071-4642-4757-8ccf-dba3b5920c09" providerId="ADAL" clId="{6991BE2B-A3E7-4DB2-B967-3EF30E6FE166}" dt="2025-06-04T11:32:44.292" v="1108"/>
          <ac:spMkLst>
            <pc:docMk/>
            <pc:sldMk cId="3081756418" sldId="1881839178"/>
            <ac:spMk id="22" creationId="{81AB5529-2A84-A511-011A-B1BCE859FF3E}"/>
          </ac:spMkLst>
        </pc:spChg>
        <pc:spChg chg="add mod">
          <ac:chgData name="Anara Samambayeva" userId="40372071-4642-4757-8ccf-dba3b5920c09" providerId="ADAL" clId="{6991BE2B-A3E7-4DB2-B967-3EF30E6FE166}" dt="2025-06-04T11:32:44.292" v="1108"/>
          <ac:spMkLst>
            <pc:docMk/>
            <pc:sldMk cId="3081756418" sldId="1881839178"/>
            <ac:spMk id="30" creationId="{A3CEBE21-27A2-251A-DEDD-CF8F7434DAE5}"/>
          </ac:spMkLst>
        </pc:spChg>
        <pc:spChg chg="add mod">
          <ac:chgData name="Anara Samambayeva" userId="40372071-4642-4757-8ccf-dba3b5920c09" providerId="ADAL" clId="{6991BE2B-A3E7-4DB2-B967-3EF30E6FE166}" dt="2025-06-04T11:32:44.292" v="1108"/>
          <ac:spMkLst>
            <pc:docMk/>
            <pc:sldMk cId="3081756418" sldId="1881839178"/>
            <ac:spMk id="32" creationId="{B5072046-CFAD-2EF5-D8A0-E9796CCFA28E}"/>
          </ac:spMkLst>
        </pc:spChg>
        <pc:spChg chg="add mod">
          <ac:chgData name="Anara Samambayeva" userId="40372071-4642-4757-8ccf-dba3b5920c09" providerId="ADAL" clId="{6991BE2B-A3E7-4DB2-B967-3EF30E6FE166}" dt="2025-06-04T11:32:44.292" v="1108"/>
          <ac:spMkLst>
            <pc:docMk/>
            <pc:sldMk cId="3081756418" sldId="1881839178"/>
            <ac:spMk id="34" creationId="{F8D4C22F-91AF-93A6-5926-F42C0068B646}"/>
          </ac:spMkLst>
        </pc:spChg>
      </pc:sldChg>
      <pc:sldChg chg="addSp modSp new mod">
        <pc:chgData name="Anara Samambayeva" userId="40372071-4642-4757-8ccf-dba3b5920c09" providerId="ADAL" clId="{6991BE2B-A3E7-4DB2-B967-3EF30E6FE166}" dt="2025-06-04T11:37:24.912" v="1119"/>
        <pc:sldMkLst>
          <pc:docMk/>
          <pc:sldMk cId="2217273124" sldId="1881839179"/>
        </pc:sldMkLst>
        <pc:spChg chg="mod">
          <ac:chgData name="Anara Samambayeva" userId="40372071-4642-4757-8ccf-dba3b5920c09" providerId="ADAL" clId="{6991BE2B-A3E7-4DB2-B967-3EF30E6FE166}" dt="2025-06-04T11:37:24.912" v="1119"/>
          <ac:spMkLst>
            <pc:docMk/>
            <pc:sldMk cId="2217273124" sldId="1881839179"/>
            <ac:spMk id="2" creationId="{F51BE043-C0CC-E0C9-2911-BE56890AC836}"/>
          </ac:spMkLst>
        </pc:spChg>
        <pc:spChg chg="mod">
          <ac:chgData name="Anara Samambayeva" userId="40372071-4642-4757-8ccf-dba3b5920c09" providerId="ADAL" clId="{6991BE2B-A3E7-4DB2-B967-3EF30E6FE166}" dt="2025-06-04T11:37:12.142" v="1118"/>
          <ac:spMkLst>
            <pc:docMk/>
            <pc:sldMk cId="2217273124" sldId="1881839179"/>
            <ac:spMk id="37" creationId="{01FDAFAB-143E-5998-6A99-EB5A83B5768E}"/>
          </ac:spMkLst>
        </pc:spChg>
        <pc:spChg chg="mod">
          <ac:chgData name="Anara Samambayeva" userId="40372071-4642-4757-8ccf-dba3b5920c09" providerId="ADAL" clId="{6991BE2B-A3E7-4DB2-B967-3EF30E6FE166}" dt="2025-06-04T11:37:12.142" v="1118"/>
          <ac:spMkLst>
            <pc:docMk/>
            <pc:sldMk cId="2217273124" sldId="1881839179"/>
            <ac:spMk id="47" creationId="{5A7B665E-7238-809B-445F-43A45EF6FA8B}"/>
          </ac:spMkLst>
        </pc:spChg>
        <pc:spChg chg="mod">
          <ac:chgData name="Anara Samambayeva" userId="40372071-4642-4757-8ccf-dba3b5920c09" providerId="ADAL" clId="{6991BE2B-A3E7-4DB2-B967-3EF30E6FE166}" dt="2025-06-04T11:37:12.142" v="1118"/>
          <ac:spMkLst>
            <pc:docMk/>
            <pc:sldMk cId="2217273124" sldId="1881839179"/>
            <ac:spMk id="76" creationId="{F6CEC997-A833-BF17-86A1-28928916309C}"/>
          </ac:spMkLst>
        </pc:spChg>
        <pc:spChg chg="mod">
          <ac:chgData name="Anara Samambayeva" userId="40372071-4642-4757-8ccf-dba3b5920c09" providerId="ADAL" clId="{6991BE2B-A3E7-4DB2-B967-3EF30E6FE166}" dt="2025-06-04T11:37:12.142" v="1118"/>
          <ac:spMkLst>
            <pc:docMk/>
            <pc:sldMk cId="2217273124" sldId="1881839179"/>
            <ac:spMk id="78" creationId="{56D12853-8B06-A546-C640-ACC5A5A3E76E}"/>
          </ac:spMkLst>
        </pc:spChg>
        <pc:spChg chg="mod">
          <ac:chgData name="Anara Samambayeva" userId="40372071-4642-4757-8ccf-dba3b5920c09" providerId="ADAL" clId="{6991BE2B-A3E7-4DB2-B967-3EF30E6FE166}" dt="2025-06-04T11:37:12.142" v="1118"/>
          <ac:spMkLst>
            <pc:docMk/>
            <pc:sldMk cId="2217273124" sldId="1881839179"/>
            <ac:spMk id="93" creationId="{1052B51F-112E-A3C5-1F6F-9003CF36FE8A}"/>
          </ac:spMkLst>
        </pc:spChg>
        <pc:spChg chg="mod">
          <ac:chgData name="Anara Samambayeva" userId="40372071-4642-4757-8ccf-dba3b5920c09" providerId="ADAL" clId="{6991BE2B-A3E7-4DB2-B967-3EF30E6FE166}" dt="2025-06-04T11:37:12.142" v="1118"/>
          <ac:spMkLst>
            <pc:docMk/>
            <pc:sldMk cId="2217273124" sldId="1881839179"/>
            <ac:spMk id="100" creationId="{A3185A7A-811A-F183-BCA4-5F8FE822C739}"/>
          </ac:spMkLst>
        </pc:spChg>
        <pc:spChg chg="mod">
          <ac:chgData name="Anara Samambayeva" userId="40372071-4642-4757-8ccf-dba3b5920c09" providerId="ADAL" clId="{6991BE2B-A3E7-4DB2-B967-3EF30E6FE166}" dt="2025-06-04T11:37:12.142" v="1118"/>
          <ac:spMkLst>
            <pc:docMk/>
            <pc:sldMk cId="2217273124" sldId="1881839179"/>
            <ac:spMk id="109" creationId="{DEADE2FC-8935-6EB5-31A7-734D6C60C79D}"/>
          </ac:spMkLst>
        </pc:spChg>
        <pc:spChg chg="mod">
          <ac:chgData name="Anara Samambayeva" userId="40372071-4642-4757-8ccf-dba3b5920c09" providerId="ADAL" clId="{6991BE2B-A3E7-4DB2-B967-3EF30E6FE166}" dt="2025-06-04T11:37:12.142" v="1118"/>
          <ac:spMkLst>
            <pc:docMk/>
            <pc:sldMk cId="2217273124" sldId="1881839179"/>
            <ac:spMk id="112" creationId="{81280F1F-21D8-5C83-2464-378C0E551B08}"/>
          </ac:spMkLst>
        </pc:spChg>
        <pc:spChg chg="mod">
          <ac:chgData name="Anara Samambayeva" userId="40372071-4642-4757-8ccf-dba3b5920c09" providerId="ADAL" clId="{6991BE2B-A3E7-4DB2-B967-3EF30E6FE166}" dt="2025-06-04T11:37:12.142" v="1118"/>
          <ac:spMkLst>
            <pc:docMk/>
            <pc:sldMk cId="2217273124" sldId="1881839179"/>
            <ac:spMk id="176" creationId="{0B0BCEB3-A932-DA43-5DB9-42513B9FAD88}"/>
          </ac:spMkLst>
        </pc:spChg>
        <pc:spChg chg="mod">
          <ac:chgData name="Anara Samambayeva" userId="40372071-4642-4757-8ccf-dba3b5920c09" providerId="ADAL" clId="{6991BE2B-A3E7-4DB2-B967-3EF30E6FE166}" dt="2025-06-04T11:37:12.142" v="1118"/>
          <ac:spMkLst>
            <pc:docMk/>
            <pc:sldMk cId="2217273124" sldId="1881839179"/>
            <ac:spMk id="177" creationId="{C791B086-7CEE-7F5E-4F1C-5B1269DB14CC}"/>
          </ac:spMkLst>
        </pc:spChg>
      </pc:sldChg>
      <pc:sldChg chg="addSp modSp new mod ord">
        <pc:chgData name="Anara Samambayeva" userId="40372071-4642-4757-8ccf-dba3b5920c09" providerId="ADAL" clId="{6991BE2B-A3E7-4DB2-B967-3EF30E6FE166}" dt="2025-06-04T12:14:26.149" v="1941" actId="6549"/>
        <pc:sldMkLst>
          <pc:docMk/>
          <pc:sldMk cId="2003548377" sldId="1881839180"/>
        </pc:sldMkLst>
        <pc:spChg chg="mod">
          <ac:chgData name="Anara Samambayeva" userId="40372071-4642-4757-8ccf-dba3b5920c09" providerId="ADAL" clId="{6991BE2B-A3E7-4DB2-B967-3EF30E6FE166}" dt="2025-06-04T11:36:49.769" v="1115" actId="404"/>
          <ac:spMkLst>
            <pc:docMk/>
            <pc:sldMk cId="2003548377" sldId="1881839180"/>
            <ac:spMk id="2" creationId="{FDCF14FA-3DF7-5A65-014B-05E543EFACA3}"/>
          </ac:spMkLst>
        </pc:spChg>
        <pc:spChg chg="mod">
          <ac:chgData name="Anara Samambayeva" userId="40372071-4642-4757-8ccf-dba3b5920c09" providerId="ADAL" clId="{6991BE2B-A3E7-4DB2-B967-3EF30E6FE166}" dt="2025-06-04T12:14:26.149" v="1941" actId="6549"/>
          <ac:spMkLst>
            <pc:docMk/>
            <pc:sldMk cId="2003548377" sldId="1881839180"/>
            <ac:spMk id="6" creationId="{2096720B-B1DB-946B-0E12-4476CC704892}"/>
          </ac:spMkLst>
        </pc:spChg>
        <pc:spChg chg="mod">
          <ac:chgData name="Anara Samambayeva" userId="40372071-4642-4757-8ccf-dba3b5920c09" providerId="ADAL" clId="{6991BE2B-A3E7-4DB2-B967-3EF30E6FE166}" dt="2025-06-04T11:36:27.508" v="1113"/>
          <ac:spMkLst>
            <pc:docMk/>
            <pc:sldMk cId="2003548377" sldId="1881839180"/>
            <ac:spMk id="28" creationId="{2E1404AA-4A09-AC3F-3A7F-6F2931498444}"/>
          </ac:spMkLst>
        </pc:spChg>
        <pc:spChg chg="mod">
          <ac:chgData name="Anara Samambayeva" userId="40372071-4642-4757-8ccf-dba3b5920c09" providerId="ADAL" clId="{6991BE2B-A3E7-4DB2-B967-3EF30E6FE166}" dt="2025-06-04T11:36:27.508" v="1113"/>
          <ac:spMkLst>
            <pc:docMk/>
            <pc:sldMk cId="2003548377" sldId="1881839180"/>
            <ac:spMk id="61" creationId="{BAB0945C-74F6-6AED-0FD3-6B604945895A}"/>
          </ac:spMkLst>
        </pc:spChg>
        <pc:spChg chg="mod">
          <ac:chgData name="Anara Samambayeva" userId="40372071-4642-4757-8ccf-dba3b5920c09" providerId="ADAL" clId="{6991BE2B-A3E7-4DB2-B967-3EF30E6FE166}" dt="2025-06-04T11:36:27.508" v="1113"/>
          <ac:spMkLst>
            <pc:docMk/>
            <pc:sldMk cId="2003548377" sldId="1881839180"/>
            <ac:spMk id="65" creationId="{D560AFC2-899E-EBBF-D0D6-10D4D877B8E2}"/>
          </ac:spMkLst>
        </pc:spChg>
        <pc:spChg chg="mod">
          <ac:chgData name="Anara Samambayeva" userId="40372071-4642-4757-8ccf-dba3b5920c09" providerId="ADAL" clId="{6991BE2B-A3E7-4DB2-B967-3EF30E6FE166}" dt="2025-06-04T11:36:27.508" v="1113"/>
          <ac:spMkLst>
            <pc:docMk/>
            <pc:sldMk cId="2003548377" sldId="1881839180"/>
            <ac:spMk id="66" creationId="{968A202E-AF57-7D94-5CB5-BDF35ADAC906}"/>
          </ac:spMkLst>
        </pc:spChg>
        <pc:spChg chg="mod">
          <ac:chgData name="Anara Samambayeva" userId="40372071-4642-4757-8ccf-dba3b5920c09" providerId="ADAL" clId="{6991BE2B-A3E7-4DB2-B967-3EF30E6FE166}" dt="2025-06-04T11:36:27.508" v="1113"/>
          <ac:spMkLst>
            <pc:docMk/>
            <pc:sldMk cId="2003548377" sldId="1881839180"/>
            <ac:spMk id="105" creationId="{C704B162-C5E2-0949-1BDD-AE1057F3539D}"/>
          </ac:spMkLst>
        </pc:spChg>
        <pc:spChg chg="mod">
          <ac:chgData name="Anara Samambayeva" userId="40372071-4642-4757-8ccf-dba3b5920c09" providerId="ADAL" clId="{6991BE2B-A3E7-4DB2-B967-3EF30E6FE166}" dt="2025-06-04T11:36:27.508" v="1113"/>
          <ac:spMkLst>
            <pc:docMk/>
            <pc:sldMk cId="2003548377" sldId="1881839180"/>
            <ac:spMk id="129" creationId="{C6D3098E-8625-BE48-645E-549928D08649}"/>
          </ac:spMkLst>
        </pc:spChg>
        <pc:spChg chg="mod">
          <ac:chgData name="Anara Samambayeva" userId="40372071-4642-4757-8ccf-dba3b5920c09" providerId="ADAL" clId="{6991BE2B-A3E7-4DB2-B967-3EF30E6FE166}" dt="2025-06-04T11:36:27.508" v="1113"/>
          <ac:spMkLst>
            <pc:docMk/>
            <pc:sldMk cId="2003548377" sldId="1881839180"/>
            <ac:spMk id="142" creationId="{83F4DAE1-D0B6-4F75-EB30-356E206A552D}"/>
          </ac:spMkLst>
        </pc:spChg>
        <pc:spChg chg="mod">
          <ac:chgData name="Anara Samambayeva" userId="40372071-4642-4757-8ccf-dba3b5920c09" providerId="ADAL" clId="{6991BE2B-A3E7-4DB2-B967-3EF30E6FE166}" dt="2025-06-04T11:36:27.508" v="1113"/>
          <ac:spMkLst>
            <pc:docMk/>
            <pc:sldMk cId="2003548377" sldId="1881839180"/>
            <ac:spMk id="160" creationId="{803BBDE0-157A-398A-B2F9-81D20AA423C4}"/>
          </ac:spMkLst>
        </pc:spChg>
        <pc:spChg chg="mod">
          <ac:chgData name="Anara Samambayeva" userId="40372071-4642-4757-8ccf-dba3b5920c09" providerId="ADAL" clId="{6991BE2B-A3E7-4DB2-B967-3EF30E6FE166}" dt="2025-06-04T11:36:27.508" v="1113"/>
          <ac:spMkLst>
            <pc:docMk/>
            <pc:sldMk cId="2003548377" sldId="1881839180"/>
            <ac:spMk id="167" creationId="{6E64110E-00C8-EFBB-5FC2-5BB069924BB3}"/>
          </ac:spMkLst>
        </pc:spChg>
        <pc:spChg chg="mod">
          <ac:chgData name="Anara Samambayeva" userId="40372071-4642-4757-8ccf-dba3b5920c09" providerId="ADAL" clId="{6991BE2B-A3E7-4DB2-B967-3EF30E6FE166}" dt="2025-06-04T11:36:27.508" v="1113"/>
          <ac:spMkLst>
            <pc:docMk/>
            <pc:sldMk cId="2003548377" sldId="1881839180"/>
            <ac:spMk id="172" creationId="{E2C27CF3-8AE1-6AE8-0228-82AA1A40E06C}"/>
          </ac:spMkLst>
        </pc:spChg>
      </pc:sldChg>
      <pc:sldChg chg="addSp delSp modSp mod modCm modNotesTx">
        <pc:chgData name="Anara Samambayeva" userId="40372071-4642-4757-8ccf-dba3b5920c09" providerId="ADAL" clId="{6991BE2B-A3E7-4DB2-B967-3EF30E6FE166}" dt="2025-07-01T10:33:25.908" v="10926" actId="14734"/>
        <pc:sldMkLst>
          <pc:docMk/>
          <pc:sldMk cId="158839205" sldId="1881839181"/>
        </pc:sldMkLst>
        <pc:spChg chg="mod">
          <ac:chgData name="Anara Samambayeva" userId="40372071-4642-4757-8ccf-dba3b5920c09" providerId="ADAL" clId="{6991BE2B-A3E7-4DB2-B967-3EF30E6FE166}" dt="2025-07-01T05:23:51.426" v="5789" actId="403"/>
          <ac:spMkLst>
            <pc:docMk/>
            <pc:sldMk cId="158839205" sldId="1881839181"/>
            <ac:spMk id="4" creationId="{5BA7EECA-6481-C75E-AB0B-1581C9254565}"/>
          </ac:spMkLst>
        </pc:spChg>
        <pc:spChg chg="mod">
          <ac:chgData name="Anara Samambayeva" userId="40372071-4642-4757-8ccf-dba3b5920c09" providerId="ADAL" clId="{6991BE2B-A3E7-4DB2-B967-3EF30E6FE166}" dt="2025-07-01T05:25:39.039" v="5798" actId="114"/>
          <ac:spMkLst>
            <pc:docMk/>
            <pc:sldMk cId="158839205" sldId="1881839181"/>
            <ac:spMk id="15" creationId="{4B5959B6-F13D-A38D-4814-B48527E60955}"/>
          </ac:spMkLst>
        </pc:spChg>
        <pc:grpChg chg="add mod">
          <ac:chgData name="Anara Samambayeva" userId="40372071-4642-4757-8ccf-dba3b5920c09" providerId="ADAL" clId="{6991BE2B-A3E7-4DB2-B967-3EF30E6FE166}" dt="2025-07-01T05:26:18.507" v="5801" actId="1076"/>
          <ac:grpSpMkLst>
            <pc:docMk/>
            <pc:sldMk cId="158839205" sldId="1881839181"/>
            <ac:grpSpMk id="3" creationId="{E035A1DF-7348-46E9-DB3D-556C0DC3A966}"/>
          </ac:grpSpMkLst>
        </pc:grpChg>
        <pc:graphicFrameChg chg="add del mod modGraphic">
          <ac:chgData name="Anara Samambayeva" userId="40372071-4642-4757-8ccf-dba3b5920c09" providerId="ADAL" clId="{6991BE2B-A3E7-4DB2-B967-3EF30E6FE166}" dt="2025-07-01T10:33:25.908" v="10926" actId="14734"/>
          <ac:graphicFrameMkLst>
            <pc:docMk/>
            <pc:sldMk cId="158839205" sldId="1881839181"/>
            <ac:graphicFrameMk id="2" creationId="{DBD97724-DBF9-DC45-8BBB-C84E7A461348}"/>
          </ac:graphicFrameMkLst>
        </pc:graphicFrameChg>
        <pc:picChg chg="mod">
          <ac:chgData name="Anara Samambayeva" userId="40372071-4642-4757-8ccf-dba3b5920c09" providerId="ADAL" clId="{6991BE2B-A3E7-4DB2-B967-3EF30E6FE166}" dt="2025-07-01T05:24:29.531" v="5790" actId="1076"/>
          <ac:picMkLst>
            <pc:docMk/>
            <pc:sldMk cId="158839205" sldId="1881839181"/>
            <ac:picMk id="5" creationId="{1FB8FBE5-16E1-93BF-4F5F-3793C67F1D5A}"/>
          </ac:picMkLst>
        </pc:picChg>
        <pc:picChg chg="mod">
          <ac:chgData name="Anara Samambayeva" userId="40372071-4642-4757-8ccf-dba3b5920c09" providerId="ADAL" clId="{6991BE2B-A3E7-4DB2-B967-3EF30E6FE166}" dt="2025-07-01T05:26:07.184" v="5800" actId="164"/>
          <ac:picMkLst>
            <pc:docMk/>
            <pc:sldMk cId="158839205" sldId="1881839181"/>
            <ac:picMk id="7" creationId="{354A007B-9834-5E37-A812-F59131711A86}"/>
          </ac:picMkLst>
        </pc:picChg>
        <pc:picChg chg="mod">
          <ac:chgData name="Anara Samambayeva" userId="40372071-4642-4757-8ccf-dba3b5920c09" providerId="ADAL" clId="{6991BE2B-A3E7-4DB2-B967-3EF30E6FE166}" dt="2025-07-01T05:26:07.184" v="5800" actId="164"/>
          <ac:picMkLst>
            <pc:docMk/>
            <pc:sldMk cId="158839205" sldId="1881839181"/>
            <ac:picMk id="9" creationId="{C278E369-215E-FAD7-DF04-5F5C3153C34D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nara Samambayeva" userId="40372071-4642-4757-8ccf-dba3b5920c09" providerId="ADAL" clId="{6991BE2B-A3E7-4DB2-B967-3EF30E6FE166}" dt="2025-07-01T05:29:07.879" v="5828" actId="20577"/>
              <pc2:cmMkLst xmlns:pc2="http://schemas.microsoft.com/office/powerpoint/2019/9/main/command">
                <pc:docMk/>
                <pc:sldMk cId="158839205" sldId="1881839181"/>
                <pc2:cmMk id="{289CF75F-7BA1-4A25-8C15-9FEEAD42A599}"/>
              </pc2:cmMkLst>
            </pc226:cmChg>
          </p:ext>
        </pc:extLst>
      </pc:sldChg>
      <pc:sldChg chg="add del">
        <pc:chgData name="Anara Samambayeva" userId="40372071-4642-4757-8ccf-dba3b5920c09" providerId="ADAL" clId="{6991BE2B-A3E7-4DB2-B967-3EF30E6FE166}" dt="2025-07-01T10:18:46.831" v="10710" actId="47"/>
        <pc:sldMkLst>
          <pc:docMk/>
          <pc:sldMk cId="450485945" sldId="1881839184"/>
        </pc:sldMkLst>
      </pc:sldChg>
      <pc:sldChg chg="addSp delSp modSp del mod modShow">
        <pc:chgData name="Anara Samambayeva" userId="40372071-4642-4757-8ccf-dba3b5920c09" providerId="ADAL" clId="{6991BE2B-A3E7-4DB2-B967-3EF30E6FE166}" dt="2025-07-01T10:18:20.517" v="10705" actId="2696"/>
        <pc:sldMkLst>
          <pc:docMk/>
          <pc:sldMk cId="4272715703" sldId="1881839184"/>
        </pc:sldMkLst>
        <pc:spChg chg="mod">
          <ac:chgData name="Anara Samambayeva" userId="40372071-4642-4757-8ccf-dba3b5920c09" providerId="ADAL" clId="{6991BE2B-A3E7-4DB2-B967-3EF30E6FE166}" dt="2025-07-01T10:12:21.131" v="10696"/>
          <ac:spMkLst>
            <pc:docMk/>
            <pc:sldMk cId="4272715703" sldId="1881839184"/>
            <ac:spMk id="3" creationId="{341B6E9D-0D64-E13B-E700-90BFD81A65DA}"/>
          </ac:spMkLst>
        </pc:spChg>
        <pc:spChg chg="mod">
          <ac:chgData name="Anara Samambayeva" userId="40372071-4642-4757-8ccf-dba3b5920c09" providerId="ADAL" clId="{6991BE2B-A3E7-4DB2-B967-3EF30E6FE166}" dt="2025-07-01T10:12:46.180" v="10703" actId="1076"/>
          <ac:spMkLst>
            <pc:docMk/>
            <pc:sldMk cId="4272715703" sldId="1881839184"/>
            <ac:spMk id="4" creationId="{905B03DA-391C-69EF-18DC-315107AF6BAC}"/>
          </ac:spMkLst>
        </pc:spChg>
        <pc:spChg chg="mod">
          <ac:chgData name="Anara Samambayeva" userId="40372071-4642-4757-8ccf-dba3b5920c09" providerId="ADAL" clId="{6991BE2B-A3E7-4DB2-B967-3EF30E6FE166}" dt="2025-07-01T10:12:30.582" v="10699"/>
          <ac:spMkLst>
            <pc:docMk/>
            <pc:sldMk cId="4272715703" sldId="1881839184"/>
            <ac:spMk id="6" creationId="{79A5C450-FA04-64E6-A532-0C0CDAC53CB0}"/>
          </ac:spMkLst>
        </pc:spChg>
        <pc:spChg chg="mod">
          <ac:chgData name="Anara Samambayeva" userId="40372071-4642-4757-8ccf-dba3b5920c09" providerId="ADAL" clId="{6991BE2B-A3E7-4DB2-B967-3EF30E6FE166}" dt="2025-07-01T10:12:21.131" v="10696"/>
          <ac:spMkLst>
            <pc:docMk/>
            <pc:sldMk cId="4272715703" sldId="1881839184"/>
            <ac:spMk id="10" creationId="{5B4808E9-532D-6116-6A48-228CDC131D25}"/>
          </ac:spMkLst>
        </pc:spChg>
        <pc:spChg chg="del">
          <ac:chgData name="Anara Samambayeva" userId="40372071-4642-4757-8ccf-dba3b5920c09" providerId="ADAL" clId="{6991BE2B-A3E7-4DB2-B967-3EF30E6FE166}" dt="2025-07-01T10:12:39.841" v="10702" actId="478"/>
          <ac:spMkLst>
            <pc:docMk/>
            <pc:sldMk cId="4272715703" sldId="1881839184"/>
            <ac:spMk id="23" creationId="{C4DDE023-228E-3004-44D4-DFD5FA756DFE}"/>
          </ac:spMkLst>
        </pc:spChg>
        <pc:spChg chg="del">
          <ac:chgData name="Anara Samambayeva" userId="40372071-4642-4757-8ccf-dba3b5920c09" providerId="ADAL" clId="{6991BE2B-A3E7-4DB2-B967-3EF30E6FE166}" dt="2025-07-01T10:12:33.913" v="10700" actId="478"/>
          <ac:spMkLst>
            <pc:docMk/>
            <pc:sldMk cId="4272715703" sldId="1881839184"/>
            <ac:spMk id="24" creationId="{580AF30C-870A-783D-096E-EDBD57F5EACE}"/>
          </ac:spMkLst>
        </pc:spChg>
        <pc:spChg chg="del">
          <ac:chgData name="Anara Samambayeva" userId="40372071-4642-4757-8ccf-dba3b5920c09" providerId="ADAL" clId="{6991BE2B-A3E7-4DB2-B967-3EF30E6FE166}" dt="2025-07-01T10:12:37.904" v="10701" actId="478"/>
          <ac:spMkLst>
            <pc:docMk/>
            <pc:sldMk cId="4272715703" sldId="1881839184"/>
            <ac:spMk id="25" creationId="{14D01671-9469-B6CC-C20B-E12E7144ADE5}"/>
          </ac:spMkLst>
        </pc:spChg>
        <pc:grpChg chg="add mod">
          <ac:chgData name="Anara Samambayeva" userId="40372071-4642-4757-8ccf-dba3b5920c09" providerId="ADAL" clId="{6991BE2B-A3E7-4DB2-B967-3EF30E6FE166}" dt="2025-07-01T10:12:21.131" v="10696"/>
          <ac:grpSpMkLst>
            <pc:docMk/>
            <pc:sldMk cId="4272715703" sldId="1881839184"/>
            <ac:grpSpMk id="2" creationId="{546D4012-7C0B-5EAF-FA35-325ADA1CBE4E}"/>
          </ac:grpSpMkLst>
        </pc:grpChg>
      </pc:sldChg>
      <pc:sldChg chg="addSp delSp modSp add mod">
        <pc:chgData name="Anara Samambayeva" userId="40372071-4642-4757-8ccf-dba3b5920c09" providerId="ADAL" clId="{6991BE2B-A3E7-4DB2-B967-3EF30E6FE166}" dt="2025-07-01T07:06:13.955" v="8154"/>
        <pc:sldMkLst>
          <pc:docMk/>
          <pc:sldMk cId="192440773" sldId="1881839185"/>
        </pc:sldMkLst>
        <pc:spChg chg="mod">
          <ac:chgData name="Anara Samambayeva" userId="40372071-4642-4757-8ccf-dba3b5920c09" providerId="ADAL" clId="{6991BE2B-A3E7-4DB2-B967-3EF30E6FE166}" dt="2025-07-01T06:32:59.452" v="7199"/>
          <ac:spMkLst>
            <pc:docMk/>
            <pc:sldMk cId="192440773" sldId="1881839185"/>
            <ac:spMk id="3" creationId="{B03E5B65-8746-7B4B-2195-932B2994C58E}"/>
          </ac:spMkLst>
        </pc:spChg>
        <pc:spChg chg="mod">
          <ac:chgData name="Anara Samambayeva" userId="40372071-4642-4757-8ccf-dba3b5920c09" providerId="ADAL" clId="{6991BE2B-A3E7-4DB2-B967-3EF30E6FE166}" dt="2025-07-01T06:34:19.265" v="7311" actId="404"/>
          <ac:spMkLst>
            <pc:docMk/>
            <pc:sldMk cId="192440773" sldId="1881839185"/>
            <ac:spMk id="4" creationId="{75F8B74A-C717-5A26-DEE2-95CA7AD8DD40}"/>
          </ac:spMkLst>
        </pc:spChg>
        <pc:spChg chg="del mod">
          <ac:chgData name="Anara Samambayeva" userId="40372071-4642-4757-8ccf-dba3b5920c09" providerId="ADAL" clId="{6991BE2B-A3E7-4DB2-B967-3EF30E6FE166}" dt="2025-07-01T06:33:10.807" v="7203"/>
          <ac:spMkLst>
            <pc:docMk/>
            <pc:sldMk cId="192440773" sldId="1881839185"/>
            <ac:spMk id="5" creationId="{7639D709-D3CE-72C2-D4F0-B4EA0A4DDF91}"/>
          </ac:spMkLst>
        </pc:spChg>
        <pc:spChg chg="del">
          <ac:chgData name="Anara Samambayeva" userId="40372071-4642-4757-8ccf-dba3b5920c09" providerId="ADAL" clId="{6991BE2B-A3E7-4DB2-B967-3EF30E6FE166}" dt="2025-07-01T06:33:19.466" v="7206" actId="478"/>
          <ac:spMkLst>
            <pc:docMk/>
            <pc:sldMk cId="192440773" sldId="1881839185"/>
            <ac:spMk id="7" creationId="{2048F44E-37D8-9105-D345-8CE3BA90974A}"/>
          </ac:spMkLst>
        </pc:spChg>
        <pc:spChg chg="del">
          <ac:chgData name="Anara Samambayeva" userId="40372071-4642-4757-8ccf-dba3b5920c09" providerId="ADAL" clId="{6991BE2B-A3E7-4DB2-B967-3EF30E6FE166}" dt="2025-07-01T06:33:17" v="7205" actId="478"/>
          <ac:spMkLst>
            <pc:docMk/>
            <pc:sldMk cId="192440773" sldId="1881839185"/>
            <ac:spMk id="8" creationId="{95C53188-B638-6AB2-9B54-D31078A4994E}"/>
          </ac:spMkLst>
        </pc:spChg>
        <pc:spChg chg="mod">
          <ac:chgData name="Anara Samambayeva" userId="40372071-4642-4757-8ccf-dba3b5920c09" providerId="ADAL" clId="{6991BE2B-A3E7-4DB2-B967-3EF30E6FE166}" dt="2025-07-01T06:33:09.568" v="7201"/>
          <ac:spMkLst>
            <pc:docMk/>
            <pc:sldMk cId="192440773" sldId="1881839185"/>
            <ac:spMk id="9" creationId="{932080B9-3D61-A7A6-DA88-E1D247E8A1AE}"/>
          </ac:spMkLst>
        </pc:spChg>
        <pc:spChg chg="mod">
          <ac:chgData name="Anara Samambayeva" userId="40372071-4642-4757-8ccf-dba3b5920c09" providerId="ADAL" clId="{6991BE2B-A3E7-4DB2-B967-3EF30E6FE166}" dt="2025-07-01T06:32:59.452" v="7199"/>
          <ac:spMkLst>
            <pc:docMk/>
            <pc:sldMk cId="192440773" sldId="1881839185"/>
            <ac:spMk id="16" creationId="{02F0C2A7-57FF-3628-9D82-A4FE4F368DD8}"/>
          </ac:spMkLst>
        </pc:spChg>
        <pc:grpChg chg="add mod">
          <ac:chgData name="Anara Samambayeva" userId="40372071-4642-4757-8ccf-dba3b5920c09" providerId="ADAL" clId="{6991BE2B-A3E7-4DB2-B967-3EF30E6FE166}" dt="2025-07-01T06:32:59.452" v="7199"/>
          <ac:grpSpMkLst>
            <pc:docMk/>
            <pc:sldMk cId="192440773" sldId="1881839185"/>
            <ac:grpSpMk id="2" creationId="{FF680F04-D560-D110-F708-423B71B4A4DA}"/>
          </ac:grpSpMkLst>
        </pc:grpChg>
        <pc:grpChg chg="add mod">
          <ac:chgData name="Anara Samambayeva" userId="40372071-4642-4757-8ccf-dba3b5920c09" providerId="ADAL" clId="{6991BE2B-A3E7-4DB2-B967-3EF30E6FE166}" dt="2025-07-01T07:04:20.477" v="8086" actId="1076"/>
          <ac:grpSpMkLst>
            <pc:docMk/>
            <pc:sldMk cId="192440773" sldId="1881839185"/>
            <ac:grpSpMk id="18" creationId="{2641920B-5E15-DDCE-3877-E118A67E133E}"/>
          </ac:grpSpMkLst>
        </pc:grpChg>
        <pc:graphicFrameChg chg="mod modGraphic">
          <ac:chgData name="Anara Samambayeva" userId="40372071-4642-4757-8ccf-dba3b5920c09" providerId="ADAL" clId="{6991BE2B-A3E7-4DB2-B967-3EF30E6FE166}" dt="2025-07-01T07:06:13.955" v="8154"/>
          <ac:graphicFrameMkLst>
            <pc:docMk/>
            <pc:sldMk cId="192440773" sldId="1881839185"/>
            <ac:graphicFrameMk id="6" creationId="{1ACCE9C0-AA70-1B0B-3330-09749362C36C}"/>
          </ac:graphicFrameMkLst>
        </pc:graphicFrameChg>
        <pc:picChg chg="mod">
          <ac:chgData name="Anara Samambayeva" userId="40372071-4642-4757-8ccf-dba3b5920c09" providerId="ADAL" clId="{6991BE2B-A3E7-4DB2-B967-3EF30E6FE166}" dt="2025-07-01T07:04:20.999" v="8087" actId="1076"/>
          <ac:picMkLst>
            <pc:docMk/>
            <pc:sldMk cId="192440773" sldId="1881839185"/>
            <ac:picMk id="12" creationId="{10A71B90-A02F-7428-EA88-C92E4F0F8F44}"/>
          </ac:picMkLst>
        </pc:picChg>
        <pc:picChg chg="mod">
          <ac:chgData name="Anara Samambayeva" userId="40372071-4642-4757-8ccf-dba3b5920c09" providerId="ADAL" clId="{6991BE2B-A3E7-4DB2-B967-3EF30E6FE166}" dt="2025-07-01T06:56:11.667" v="7610" actId="164"/>
          <ac:picMkLst>
            <pc:docMk/>
            <pc:sldMk cId="192440773" sldId="1881839185"/>
            <ac:picMk id="14" creationId="{673FDA7C-7E7F-18E1-6144-06D5A152FCE6}"/>
          </ac:picMkLst>
        </pc:picChg>
        <pc:picChg chg="mod">
          <ac:chgData name="Anara Samambayeva" userId="40372071-4642-4757-8ccf-dba3b5920c09" providerId="ADAL" clId="{6991BE2B-A3E7-4DB2-B967-3EF30E6FE166}" dt="2025-07-01T06:56:11.667" v="7610" actId="164"/>
          <ac:picMkLst>
            <pc:docMk/>
            <pc:sldMk cId="192440773" sldId="1881839185"/>
            <ac:picMk id="17" creationId="{6EC595AE-4FE4-1AD7-B3DC-77F5CF7E913F}"/>
          </ac:picMkLst>
        </pc:picChg>
      </pc:sldChg>
      <pc:sldChg chg="del">
        <pc:chgData name="Anara Samambayeva" userId="40372071-4642-4757-8ccf-dba3b5920c09" providerId="ADAL" clId="{6991BE2B-A3E7-4DB2-B967-3EF30E6FE166}" dt="2025-07-01T06:26:23.711" v="7195" actId="2696"/>
        <pc:sldMkLst>
          <pc:docMk/>
          <pc:sldMk cId="2966535318" sldId="1881839185"/>
        </pc:sldMkLst>
      </pc:sldChg>
      <pc:sldChg chg="addSp delSp modSp add mod ord">
        <pc:chgData name="Anara Samambayeva" userId="40372071-4642-4757-8ccf-dba3b5920c09" providerId="ADAL" clId="{6991BE2B-A3E7-4DB2-B967-3EF30E6FE166}" dt="2025-07-01T08:33:29.718" v="9637" actId="20577"/>
        <pc:sldMkLst>
          <pc:docMk/>
          <pc:sldMk cId="1295325559" sldId="1881839186"/>
        </pc:sldMkLst>
        <pc:spChg chg="add mod">
          <ac:chgData name="Anara Samambayeva" userId="40372071-4642-4757-8ccf-dba3b5920c09" providerId="ADAL" clId="{6991BE2B-A3E7-4DB2-B967-3EF30E6FE166}" dt="2025-07-01T07:05:26.532" v="8153" actId="20577"/>
          <ac:spMkLst>
            <pc:docMk/>
            <pc:sldMk cId="1295325559" sldId="1881839186"/>
            <ac:spMk id="2" creationId="{55BA28D0-9759-51E2-439D-57AEA8E58973}"/>
          </ac:spMkLst>
        </pc:spChg>
        <pc:spChg chg="del mod">
          <ac:chgData name="Anara Samambayeva" userId="40372071-4642-4757-8ccf-dba3b5920c09" providerId="ADAL" clId="{6991BE2B-A3E7-4DB2-B967-3EF30E6FE166}" dt="2025-07-01T07:04:46.299" v="8097" actId="478"/>
          <ac:spMkLst>
            <pc:docMk/>
            <pc:sldMk cId="1295325559" sldId="1881839186"/>
            <ac:spMk id="4" creationId="{4140BDC3-E55E-F1C2-3E8A-55BF671E701F}"/>
          </ac:spMkLst>
        </pc:spChg>
        <pc:spChg chg="mod">
          <ac:chgData name="Anara Samambayeva" userId="40372071-4642-4757-8ccf-dba3b5920c09" providerId="ADAL" clId="{6991BE2B-A3E7-4DB2-B967-3EF30E6FE166}" dt="2025-07-01T07:03:49.541" v="8064"/>
          <ac:spMkLst>
            <pc:docMk/>
            <pc:sldMk cId="1295325559" sldId="1881839186"/>
            <ac:spMk id="8" creationId="{17F17DE8-2290-EBAF-9570-E34A2330B0AF}"/>
          </ac:spMkLst>
        </pc:spChg>
        <pc:spChg chg="add del">
          <ac:chgData name="Anara Samambayeva" userId="40372071-4642-4757-8ccf-dba3b5920c09" providerId="ADAL" clId="{6991BE2B-A3E7-4DB2-B967-3EF30E6FE166}" dt="2025-07-01T07:04:25.445" v="8092" actId="478"/>
          <ac:spMkLst>
            <pc:docMk/>
            <pc:sldMk cId="1295325559" sldId="1881839186"/>
            <ac:spMk id="10" creationId="{51C89295-1368-D36F-DE17-B7AB433767A7}"/>
          </ac:spMkLst>
        </pc:spChg>
        <pc:spChg chg="add del">
          <ac:chgData name="Anara Samambayeva" userId="40372071-4642-4757-8ccf-dba3b5920c09" providerId="ADAL" clId="{6991BE2B-A3E7-4DB2-B967-3EF30E6FE166}" dt="2025-07-01T07:04:23.641" v="8090" actId="478"/>
          <ac:spMkLst>
            <pc:docMk/>
            <pc:sldMk cId="1295325559" sldId="1881839186"/>
            <ac:spMk id="11" creationId="{1E07FF69-2338-8E40-A71A-6D786D0493C6}"/>
          </ac:spMkLst>
        </pc:spChg>
        <pc:spChg chg="add del">
          <ac:chgData name="Anara Samambayeva" userId="40372071-4642-4757-8ccf-dba3b5920c09" providerId="ADAL" clId="{6991BE2B-A3E7-4DB2-B967-3EF30E6FE166}" dt="2025-07-01T07:04:24.841" v="8091" actId="478"/>
          <ac:spMkLst>
            <pc:docMk/>
            <pc:sldMk cId="1295325559" sldId="1881839186"/>
            <ac:spMk id="12" creationId="{38F11E3B-4D42-EAC3-9053-AB13707D13F4}"/>
          </ac:spMkLst>
        </pc:spChg>
        <pc:spChg chg="mod">
          <ac:chgData name="Anara Samambayeva" userId="40372071-4642-4757-8ccf-dba3b5920c09" providerId="ADAL" clId="{6991BE2B-A3E7-4DB2-B967-3EF30E6FE166}" dt="2025-07-01T07:03:49.541" v="8064"/>
          <ac:spMkLst>
            <pc:docMk/>
            <pc:sldMk cId="1295325559" sldId="1881839186"/>
            <ac:spMk id="17" creationId="{EDD0808D-9482-B082-4BB7-06D0F5CF8F90}"/>
          </ac:spMkLst>
        </pc:spChg>
        <pc:spChg chg="mod">
          <ac:chgData name="Anara Samambayeva" userId="40372071-4642-4757-8ccf-dba3b5920c09" providerId="ADAL" clId="{6991BE2B-A3E7-4DB2-B967-3EF30E6FE166}" dt="2025-07-01T07:03:49.541" v="8064"/>
          <ac:spMkLst>
            <pc:docMk/>
            <pc:sldMk cId="1295325559" sldId="1881839186"/>
            <ac:spMk id="18" creationId="{28C1A46C-F404-35CC-AFEE-A03950605BC6}"/>
          </ac:spMkLst>
        </pc:spChg>
        <pc:grpChg chg="add mod">
          <ac:chgData name="Anara Samambayeva" userId="40372071-4642-4757-8ccf-dba3b5920c09" providerId="ADAL" clId="{6991BE2B-A3E7-4DB2-B967-3EF30E6FE166}" dt="2025-07-01T07:03:49.541" v="8064"/>
          <ac:grpSpMkLst>
            <pc:docMk/>
            <pc:sldMk cId="1295325559" sldId="1881839186"/>
            <ac:grpSpMk id="5" creationId="{9BC96CE7-20E5-0118-7D30-41615EFC606B}"/>
          </ac:grpSpMkLst>
        </pc:grpChg>
        <pc:graphicFrameChg chg="mod modGraphic">
          <ac:chgData name="Anara Samambayeva" userId="40372071-4642-4757-8ccf-dba3b5920c09" providerId="ADAL" clId="{6991BE2B-A3E7-4DB2-B967-3EF30E6FE166}" dt="2025-07-01T08:33:29.718" v="9637" actId="20577"/>
          <ac:graphicFrameMkLst>
            <pc:docMk/>
            <pc:sldMk cId="1295325559" sldId="1881839186"/>
            <ac:graphicFrameMk id="6" creationId="{DE31AF06-C94C-1F3A-246C-3381755B69F1}"/>
          </ac:graphicFrameMkLst>
        </pc:graphicFrameChg>
      </pc:sldChg>
      <pc:sldChg chg="del">
        <pc:chgData name="Anara Samambayeva" userId="40372071-4642-4757-8ccf-dba3b5920c09" providerId="ADAL" clId="{6991BE2B-A3E7-4DB2-B967-3EF30E6FE166}" dt="2025-07-01T06:20:33.723" v="7184" actId="2696"/>
        <pc:sldMkLst>
          <pc:docMk/>
          <pc:sldMk cId="2746300831" sldId="1881839186"/>
        </pc:sldMkLst>
      </pc:sldChg>
      <pc:sldChg chg="del">
        <pc:chgData name="Anara Samambayeva" userId="40372071-4642-4757-8ccf-dba3b5920c09" providerId="ADAL" clId="{6991BE2B-A3E7-4DB2-B967-3EF30E6FE166}" dt="2025-07-01T06:20:33.723" v="7184" actId="2696"/>
        <pc:sldMkLst>
          <pc:docMk/>
          <pc:sldMk cId="1994576737" sldId="1881839187"/>
        </pc:sldMkLst>
      </pc:sldChg>
      <pc:sldChg chg="addSp delSp modSp add mod ord">
        <pc:chgData name="Anara Samambayeva" userId="40372071-4642-4757-8ccf-dba3b5920c09" providerId="ADAL" clId="{6991BE2B-A3E7-4DB2-B967-3EF30E6FE166}" dt="2025-07-01T10:20:21.494" v="10724" actId="20577"/>
        <pc:sldMkLst>
          <pc:docMk/>
          <pc:sldMk cId="3428982735" sldId="1881839187"/>
        </pc:sldMkLst>
        <pc:spChg chg="mod">
          <ac:chgData name="Anara Samambayeva" userId="40372071-4642-4757-8ccf-dba3b5920c09" providerId="ADAL" clId="{6991BE2B-A3E7-4DB2-B967-3EF30E6FE166}" dt="2025-07-01T09:01:14.825" v="10397"/>
          <ac:spMkLst>
            <pc:docMk/>
            <pc:sldMk cId="3428982735" sldId="1881839187"/>
            <ac:spMk id="3" creationId="{A2ACB910-40DF-1CC6-089E-59ADB705D8D1}"/>
          </ac:spMkLst>
        </pc:spChg>
        <pc:spChg chg="mod">
          <ac:chgData name="Anara Samambayeva" userId="40372071-4642-4757-8ccf-dba3b5920c09" providerId="ADAL" clId="{6991BE2B-A3E7-4DB2-B967-3EF30E6FE166}" dt="2025-07-01T09:22:56.849" v="10515" actId="20577"/>
          <ac:spMkLst>
            <pc:docMk/>
            <pc:sldMk cId="3428982735" sldId="1881839187"/>
            <ac:spMk id="4" creationId="{98AC2B4B-BFC3-29B4-3367-67D4CA35C41D}"/>
          </ac:spMkLst>
        </pc:spChg>
        <pc:spChg chg="mod">
          <ac:chgData name="Anara Samambayeva" userId="40372071-4642-4757-8ccf-dba3b5920c09" providerId="ADAL" clId="{6991BE2B-A3E7-4DB2-B967-3EF30E6FE166}" dt="2025-07-01T09:01:34.150" v="10398"/>
          <ac:spMkLst>
            <pc:docMk/>
            <pc:sldMk cId="3428982735" sldId="1881839187"/>
            <ac:spMk id="5" creationId="{3DF4DADC-7CF4-BCA5-9858-F97E030F82C1}"/>
          </ac:spMkLst>
        </pc:spChg>
        <pc:spChg chg="del">
          <ac:chgData name="Anara Samambayeva" userId="40372071-4642-4757-8ccf-dba3b5920c09" providerId="ADAL" clId="{6991BE2B-A3E7-4DB2-B967-3EF30E6FE166}" dt="2025-07-01T09:01:05.504" v="10395" actId="478"/>
          <ac:spMkLst>
            <pc:docMk/>
            <pc:sldMk cId="3428982735" sldId="1881839187"/>
            <ac:spMk id="6" creationId="{7BD5D106-41C9-36AF-F3A1-8AD9F5BB4662}"/>
          </ac:spMkLst>
        </pc:spChg>
        <pc:spChg chg="del">
          <ac:chgData name="Anara Samambayeva" userId="40372071-4642-4757-8ccf-dba3b5920c09" providerId="ADAL" clId="{6991BE2B-A3E7-4DB2-B967-3EF30E6FE166}" dt="2025-07-01T09:01:03.405" v="10394" actId="478"/>
          <ac:spMkLst>
            <pc:docMk/>
            <pc:sldMk cId="3428982735" sldId="1881839187"/>
            <ac:spMk id="8" creationId="{E4E7B989-7A8D-CDA8-39D7-8FDD3CAB5B7D}"/>
          </ac:spMkLst>
        </pc:spChg>
        <pc:spChg chg="del">
          <ac:chgData name="Anara Samambayeva" userId="40372071-4642-4757-8ccf-dba3b5920c09" providerId="ADAL" clId="{6991BE2B-A3E7-4DB2-B967-3EF30E6FE166}" dt="2025-07-01T09:01:02.238" v="10393" actId="478"/>
          <ac:spMkLst>
            <pc:docMk/>
            <pc:sldMk cId="3428982735" sldId="1881839187"/>
            <ac:spMk id="10" creationId="{AAE6FC2E-0977-FBDB-0A9A-18F5423DF4DE}"/>
          </ac:spMkLst>
        </pc:spChg>
        <pc:spChg chg="mod">
          <ac:chgData name="Anara Samambayeva" userId="40372071-4642-4757-8ccf-dba3b5920c09" providerId="ADAL" clId="{6991BE2B-A3E7-4DB2-B967-3EF30E6FE166}" dt="2025-07-01T09:01:14.825" v="10397"/>
          <ac:spMkLst>
            <pc:docMk/>
            <pc:sldMk cId="3428982735" sldId="1881839187"/>
            <ac:spMk id="16" creationId="{68A0AB95-A621-3FE6-028F-1A0B236282E7}"/>
          </ac:spMkLst>
        </pc:spChg>
        <pc:spChg chg="add mod">
          <ac:chgData name="Anara Samambayeva" userId="40372071-4642-4757-8ccf-dba3b5920c09" providerId="ADAL" clId="{6991BE2B-A3E7-4DB2-B967-3EF30E6FE166}" dt="2025-07-01T09:10:55.230" v="10413"/>
          <ac:spMkLst>
            <pc:docMk/>
            <pc:sldMk cId="3428982735" sldId="1881839187"/>
            <ac:spMk id="17" creationId="{160522C4-5D86-28E5-13EC-FD26354E55BA}"/>
          </ac:spMkLst>
        </pc:spChg>
        <pc:spChg chg="add mod">
          <ac:chgData name="Anara Samambayeva" userId="40372071-4642-4757-8ccf-dba3b5920c09" providerId="ADAL" clId="{6991BE2B-A3E7-4DB2-B967-3EF30E6FE166}" dt="2025-07-01T09:10:55.230" v="10413"/>
          <ac:spMkLst>
            <pc:docMk/>
            <pc:sldMk cId="3428982735" sldId="1881839187"/>
            <ac:spMk id="18" creationId="{06406921-281B-11C7-EDCE-8EC9E0A3CB5B}"/>
          </ac:spMkLst>
        </pc:spChg>
        <pc:spChg chg="add mod">
          <ac:chgData name="Anara Samambayeva" userId="40372071-4642-4757-8ccf-dba3b5920c09" providerId="ADAL" clId="{6991BE2B-A3E7-4DB2-B967-3EF30E6FE166}" dt="2025-07-01T09:10:55.230" v="10413"/>
          <ac:spMkLst>
            <pc:docMk/>
            <pc:sldMk cId="3428982735" sldId="1881839187"/>
            <ac:spMk id="19" creationId="{C2747D89-6F74-74A9-F475-22DBD685264F}"/>
          </ac:spMkLst>
        </pc:spChg>
        <pc:spChg chg="add mod">
          <ac:chgData name="Anara Samambayeva" userId="40372071-4642-4757-8ccf-dba3b5920c09" providerId="ADAL" clId="{6991BE2B-A3E7-4DB2-B967-3EF30E6FE166}" dt="2025-07-01T09:10:55.230" v="10413"/>
          <ac:spMkLst>
            <pc:docMk/>
            <pc:sldMk cId="3428982735" sldId="1881839187"/>
            <ac:spMk id="20" creationId="{E73BC5EA-1FDF-37BC-9FC4-E535992D6DB5}"/>
          </ac:spMkLst>
        </pc:spChg>
        <pc:spChg chg="add mod">
          <ac:chgData name="Anara Samambayeva" userId="40372071-4642-4757-8ccf-dba3b5920c09" providerId="ADAL" clId="{6991BE2B-A3E7-4DB2-B967-3EF30E6FE166}" dt="2025-07-01T09:10:55.230" v="10413"/>
          <ac:spMkLst>
            <pc:docMk/>
            <pc:sldMk cId="3428982735" sldId="1881839187"/>
            <ac:spMk id="21" creationId="{7AF44006-0145-C69D-4AA7-0F58AE846108}"/>
          </ac:spMkLst>
        </pc:spChg>
        <pc:spChg chg="add mod">
          <ac:chgData name="Anara Samambayeva" userId="40372071-4642-4757-8ccf-dba3b5920c09" providerId="ADAL" clId="{6991BE2B-A3E7-4DB2-B967-3EF30E6FE166}" dt="2025-07-01T09:10:55.230" v="10413"/>
          <ac:spMkLst>
            <pc:docMk/>
            <pc:sldMk cId="3428982735" sldId="1881839187"/>
            <ac:spMk id="22" creationId="{E922815B-86CB-BEDB-C638-49AD8738B310}"/>
          </ac:spMkLst>
        </pc:spChg>
        <pc:spChg chg="add mod">
          <ac:chgData name="Anara Samambayeva" userId="40372071-4642-4757-8ccf-dba3b5920c09" providerId="ADAL" clId="{6991BE2B-A3E7-4DB2-B967-3EF30E6FE166}" dt="2025-07-01T09:10:55.230" v="10413"/>
          <ac:spMkLst>
            <pc:docMk/>
            <pc:sldMk cId="3428982735" sldId="1881839187"/>
            <ac:spMk id="23" creationId="{BF159CBE-5784-0BB2-E383-02F0BE9C92FD}"/>
          </ac:spMkLst>
        </pc:spChg>
        <pc:spChg chg="add mod">
          <ac:chgData name="Anara Samambayeva" userId="40372071-4642-4757-8ccf-dba3b5920c09" providerId="ADAL" clId="{6991BE2B-A3E7-4DB2-B967-3EF30E6FE166}" dt="2025-07-01T09:10:55.230" v="10413"/>
          <ac:spMkLst>
            <pc:docMk/>
            <pc:sldMk cId="3428982735" sldId="1881839187"/>
            <ac:spMk id="24" creationId="{F0267AA1-00A8-D5F0-9EE0-205485FCC332}"/>
          </ac:spMkLst>
        </pc:spChg>
        <pc:spChg chg="add mod">
          <ac:chgData name="Anara Samambayeva" userId="40372071-4642-4757-8ccf-dba3b5920c09" providerId="ADAL" clId="{6991BE2B-A3E7-4DB2-B967-3EF30E6FE166}" dt="2025-07-01T09:10:55.230" v="10413"/>
          <ac:spMkLst>
            <pc:docMk/>
            <pc:sldMk cId="3428982735" sldId="1881839187"/>
            <ac:spMk id="25" creationId="{DA3D0732-C2A6-AAB5-BD24-09F6FAB44A48}"/>
          </ac:spMkLst>
        </pc:spChg>
        <pc:spChg chg="add mod">
          <ac:chgData name="Anara Samambayeva" userId="40372071-4642-4757-8ccf-dba3b5920c09" providerId="ADAL" clId="{6991BE2B-A3E7-4DB2-B967-3EF30E6FE166}" dt="2025-07-01T10:20:21.494" v="10724" actId="20577"/>
          <ac:spMkLst>
            <pc:docMk/>
            <pc:sldMk cId="3428982735" sldId="1881839187"/>
            <ac:spMk id="26" creationId="{BD500F54-BAC0-34DB-9C11-1FFBE77C176F}"/>
          </ac:spMkLst>
        </pc:spChg>
        <pc:grpChg chg="add mod">
          <ac:chgData name="Anara Samambayeva" userId="40372071-4642-4757-8ccf-dba3b5920c09" providerId="ADAL" clId="{6991BE2B-A3E7-4DB2-B967-3EF30E6FE166}" dt="2025-07-01T09:01:14.825" v="10397"/>
          <ac:grpSpMkLst>
            <pc:docMk/>
            <pc:sldMk cId="3428982735" sldId="1881839187"/>
            <ac:grpSpMk id="2" creationId="{E8F8084B-C527-3A83-AFDC-F54D490F00EA}"/>
          </ac:grpSpMkLst>
        </pc:grpChg>
        <pc:graphicFrameChg chg="del">
          <ac:chgData name="Anara Samambayeva" userId="40372071-4642-4757-8ccf-dba3b5920c09" providerId="ADAL" clId="{6991BE2B-A3E7-4DB2-B967-3EF30E6FE166}" dt="2025-07-01T09:10:33.799" v="10411" actId="478"/>
          <ac:graphicFrameMkLst>
            <pc:docMk/>
            <pc:sldMk cId="3428982735" sldId="1881839187"/>
            <ac:graphicFrameMk id="7" creationId="{63581929-C1BE-0B8F-67DA-B77D51F79EBE}"/>
          </ac:graphicFrameMkLst>
        </pc:graphicFrameChg>
        <pc:picChg chg="del">
          <ac:chgData name="Anara Samambayeva" userId="40372071-4642-4757-8ccf-dba3b5920c09" providerId="ADAL" clId="{6991BE2B-A3E7-4DB2-B967-3EF30E6FE166}" dt="2025-07-01T09:10:36.507" v="10412" actId="478"/>
          <ac:picMkLst>
            <pc:docMk/>
            <pc:sldMk cId="3428982735" sldId="1881839187"/>
            <ac:picMk id="9" creationId="{67B22DD2-8476-AEF4-4714-F4273C1BBE49}"/>
          </ac:picMkLst>
        </pc:picChg>
        <pc:picChg chg="del">
          <ac:chgData name="Anara Samambayeva" userId="40372071-4642-4757-8ccf-dba3b5920c09" providerId="ADAL" clId="{6991BE2B-A3E7-4DB2-B967-3EF30E6FE166}" dt="2025-07-01T09:10:36.507" v="10412" actId="478"/>
          <ac:picMkLst>
            <pc:docMk/>
            <pc:sldMk cId="3428982735" sldId="1881839187"/>
            <ac:picMk id="11" creationId="{99CECE95-9153-FABE-87F3-D133D011596C}"/>
          </ac:picMkLst>
        </pc:picChg>
      </pc:sldChg>
      <pc:sldChg chg="addSp delSp modSp mod modNotes modNotesTx">
        <pc:chgData name="Anara Samambayeva" userId="40372071-4642-4757-8ccf-dba3b5920c09" providerId="ADAL" clId="{6991BE2B-A3E7-4DB2-B967-3EF30E6FE166}" dt="2025-07-01T06:39:42.086" v="7314"/>
        <pc:sldMkLst>
          <pc:docMk/>
          <pc:sldMk cId="3115535368" sldId="1881839188"/>
        </pc:sldMkLst>
        <pc:spChg chg="mod">
          <ac:chgData name="Anara Samambayeva" userId="40372071-4642-4757-8ccf-dba3b5920c09" providerId="ADAL" clId="{6991BE2B-A3E7-4DB2-B967-3EF30E6FE166}" dt="2025-07-01T06:22:49.607" v="7194" actId="14100"/>
          <ac:spMkLst>
            <pc:docMk/>
            <pc:sldMk cId="3115535368" sldId="1881839188"/>
            <ac:spMk id="4" creationId="{591D7E39-516C-1435-EA99-158653A1C737}"/>
          </ac:spMkLst>
        </pc:spChg>
        <pc:spChg chg="add del mod topLvl">
          <ac:chgData name="Anara Samambayeva" userId="40372071-4642-4757-8ccf-dba3b5920c09" providerId="ADAL" clId="{6991BE2B-A3E7-4DB2-B967-3EF30E6FE166}" dt="2025-07-01T06:18:32.541" v="7140" actId="164"/>
          <ac:spMkLst>
            <pc:docMk/>
            <pc:sldMk cId="3115535368" sldId="1881839188"/>
            <ac:spMk id="5" creationId="{4A7C8206-22C3-FAA6-E9B7-04D700DCA9AC}"/>
          </ac:spMkLst>
        </pc:spChg>
        <pc:spChg chg="add del mod topLvl">
          <ac:chgData name="Anara Samambayeva" userId="40372071-4642-4757-8ccf-dba3b5920c09" providerId="ADAL" clId="{6991BE2B-A3E7-4DB2-B967-3EF30E6FE166}" dt="2025-07-01T06:18:32.541" v="7140" actId="164"/>
          <ac:spMkLst>
            <pc:docMk/>
            <pc:sldMk cId="3115535368" sldId="1881839188"/>
            <ac:spMk id="7" creationId="{8BE38044-98E2-DE80-8571-0ACB999953FE}"/>
          </ac:spMkLst>
        </pc:spChg>
        <pc:spChg chg="mod topLvl">
          <ac:chgData name="Anara Samambayeva" userId="40372071-4642-4757-8ccf-dba3b5920c09" providerId="ADAL" clId="{6991BE2B-A3E7-4DB2-B967-3EF30E6FE166}" dt="2025-07-01T06:18:32.541" v="7140" actId="164"/>
          <ac:spMkLst>
            <pc:docMk/>
            <pc:sldMk cId="3115535368" sldId="1881839188"/>
            <ac:spMk id="8" creationId="{BFE7AA34-5974-1A75-F8B9-351898426ACF}"/>
          </ac:spMkLst>
        </pc:spChg>
        <pc:grpChg chg="add del mod">
          <ac:chgData name="Anara Samambayeva" userId="40372071-4642-4757-8ccf-dba3b5920c09" providerId="ADAL" clId="{6991BE2B-A3E7-4DB2-B967-3EF30E6FE166}" dt="2025-07-01T06:18:18.469" v="7138" actId="165"/>
          <ac:grpSpMkLst>
            <pc:docMk/>
            <pc:sldMk cId="3115535368" sldId="1881839188"/>
            <ac:grpSpMk id="6" creationId="{B976482B-83DC-590D-0686-7DC2972D1523}"/>
          </ac:grpSpMkLst>
        </pc:grpChg>
        <pc:grpChg chg="add mod">
          <ac:chgData name="Anara Samambayeva" userId="40372071-4642-4757-8ccf-dba3b5920c09" providerId="ADAL" clId="{6991BE2B-A3E7-4DB2-B967-3EF30E6FE166}" dt="2025-07-01T06:18:32.541" v="7140" actId="164"/>
          <ac:grpSpMkLst>
            <pc:docMk/>
            <pc:sldMk cId="3115535368" sldId="1881839188"/>
            <ac:grpSpMk id="10" creationId="{060785B8-8614-2063-3293-2E5B6DD7767D}"/>
          </ac:grpSpMkLst>
        </pc:grpChg>
        <pc:graphicFrameChg chg="mod modGraphic">
          <ac:chgData name="Anara Samambayeva" userId="40372071-4642-4757-8ccf-dba3b5920c09" providerId="ADAL" clId="{6991BE2B-A3E7-4DB2-B967-3EF30E6FE166}" dt="2025-07-01T06:39:42.086" v="7314"/>
          <ac:graphicFrameMkLst>
            <pc:docMk/>
            <pc:sldMk cId="3115535368" sldId="1881839188"/>
            <ac:graphicFrameMk id="2" creationId="{D534602A-79A0-2701-1165-E8EC2A972A10}"/>
          </ac:graphicFrameMkLst>
        </pc:graphicFrameChg>
        <pc:picChg chg="mod">
          <ac:chgData name="Anara Samambayeva" userId="40372071-4642-4757-8ccf-dba3b5920c09" providerId="ADAL" clId="{6991BE2B-A3E7-4DB2-B967-3EF30E6FE166}" dt="2025-07-01T06:04:50.875" v="6456" actId="1076"/>
          <ac:picMkLst>
            <pc:docMk/>
            <pc:sldMk cId="3115535368" sldId="1881839188"/>
            <ac:picMk id="3" creationId="{FEF76A55-1AEF-DB5C-1C6D-E197A65DD924}"/>
          </ac:picMkLst>
        </pc:picChg>
        <pc:picChg chg="mod">
          <ac:chgData name="Anara Samambayeva" userId="40372071-4642-4757-8ccf-dba3b5920c09" providerId="ADAL" clId="{6991BE2B-A3E7-4DB2-B967-3EF30E6FE166}" dt="2025-07-01T06:04:55.088" v="6457" actId="1076"/>
          <ac:picMkLst>
            <pc:docMk/>
            <pc:sldMk cId="3115535368" sldId="1881839188"/>
            <ac:picMk id="9" creationId="{E0A666A0-364A-963A-6421-042A99C62AD7}"/>
          </ac:picMkLst>
        </pc:picChg>
        <pc:picChg chg="mod">
          <ac:chgData name="Anara Samambayeva" userId="40372071-4642-4757-8ccf-dba3b5920c09" providerId="ADAL" clId="{6991BE2B-A3E7-4DB2-B967-3EF30E6FE166}" dt="2025-07-01T06:05:04.582" v="6458" actId="1076"/>
          <ac:picMkLst>
            <pc:docMk/>
            <pc:sldMk cId="3115535368" sldId="1881839188"/>
            <ac:picMk id="11" creationId="{586E054E-C0F6-8B37-4DE1-C41427C7BC3E}"/>
          </ac:picMkLst>
        </pc:picChg>
      </pc:sldChg>
      <pc:sldChg chg="addSp delSp modSp mod ord modNotesTx">
        <pc:chgData name="Anara Samambayeva" userId="40372071-4642-4757-8ccf-dba3b5920c09" providerId="ADAL" clId="{6991BE2B-A3E7-4DB2-B967-3EF30E6FE166}" dt="2025-07-01T09:00:40.262" v="10392" actId="20577"/>
        <pc:sldMkLst>
          <pc:docMk/>
          <pc:sldMk cId="347289165" sldId="1881839189"/>
        </pc:sldMkLst>
        <pc:spChg chg="mod">
          <ac:chgData name="Anara Samambayeva" userId="40372071-4642-4757-8ccf-dba3b5920c09" providerId="ADAL" clId="{6991BE2B-A3E7-4DB2-B967-3EF30E6FE166}" dt="2025-07-01T09:00:01.723" v="10373"/>
          <ac:spMkLst>
            <pc:docMk/>
            <pc:sldMk cId="347289165" sldId="1881839189"/>
            <ac:spMk id="2" creationId="{1818CAF2-0F90-04CF-269D-E666AD70101F}"/>
          </ac:spMkLst>
        </pc:spChg>
        <pc:spChg chg="mod">
          <ac:chgData name="Anara Samambayeva" userId="40372071-4642-4757-8ccf-dba3b5920c09" providerId="ADAL" clId="{6991BE2B-A3E7-4DB2-B967-3EF30E6FE166}" dt="2025-07-01T07:08:40.029" v="8217"/>
          <ac:spMkLst>
            <pc:docMk/>
            <pc:sldMk cId="347289165" sldId="1881839189"/>
            <ac:spMk id="3" creationId="{9AFAC758-5C93-D9D4-E422-AC78E8436EC1}"/>
          </ac:spMkLst>
        </pc:spChg>
        <pc:spChg chg="del">
          <ac:chgData name="Anara Samambayeva" userId="40372071-4642-4757-8ccf-dba3b5920c09" providerId="ADAL" clId="{6991BE2B-A3E7-4DB2-B967-3EF30E6FE166}" dt="2025-07-01T08:51:42.225" v="10190" actId="478"/>
          <ac:spMkLst>
            <pc:docMk/>
            <pc:sldMk cId="347289165" sldId="1881839189"/>
            <ac:spMk id="3" creationId="{F19883FE-802D-01D1-F9FD-EC70A75608FD}"/>
          </ac:spMkLst>
        </pc:spChg>
        <pc:spChg chg="mod">
          <ac:chgData name="Anara Samambayeva" userId="40372071-4642-4757-8ccf-dba3b5920c09" providerId="ADAL" clId="{6991BE2B-A3E7-4DB2-B967-3EF30E6FE166}" dt="2025-07-01T08:39:49.805" v="9812" actId="404"/>
          <ac:spMkLst>
            <pc:docMk/>
            <pc:sldMk cId="347289165" sldId="1881839189"/>
            <ac:spMk id="4" creationId="{051A5AD8-8808-332E-0616-41879FF02006}"/>
          </ac:spMkLst>
        </pc:spChg>
        <pc:spChg chg="del">
          <ac:chgData name="Anara Samambayeva" userId="40372071-4642-4757-8ccf-dba3b5920c09" providerId="ADAL" clId="{6991BE2B-A3E7-4DB2-B967-3EF30E6FE166}" dt="2025-07-01T07:08:24.960" v="8214" actId="478"/>
          <ac:spMkLst>
            <pc:docMk/>
            <pc:sldMk cId="347289165" sldId="1881839189"/>
            <ac:spMk id="5" creationId="{45F58C09-D6D7-75A8-DEBD-4AE55745C619}"/>
          </ac:spMkLst>
        </pc:spChg>
        <pc:spChg chg="mod">
          <ac:chgData name="Anara Samambayeva" userId="40372071-4642-4757-8ccf-dba3b5920c09" providerId="ADAL" clId="{6991BE2B-A3E7-4DB2-B967-3EF30E6FE166}" dt="2025-07-01T07:08:40.029" v="8217"/>
          <ac:spMkLst>
            <pc:docMk/>
            <pc:sldMk cId="347289165" sldId="1881839189"/>
            <ac:spMk id="6" creationId="{ED2E4A47-975C-B4DE-5805-09CDB6126393}"/>
          </ac:spMkLst>
        </pc:spChg>
        <pc:spChg chg="del">
          <ac:chgData name="Anara Samambayeva" userId="40372071-4642-4757-8ccf-dba3b5920c09" providerId="ADAL" clId="{6991BE2B-A3E7-4DB2-B967-3EF30E6FE166}" dt="2025-07-01T07:08:28.043" v="8216" actId="478"/>
          <ac:spMkLst>
            <pc:docMk/>
            <pc:sldMk cId="347289165" sldId="1881839189"/>
            <ac:spMk id="7" creationId="{CF47324C-C859-83C6-BAF7-ED4D01D3CD6B}"/>
          </ac:spMkLst>
        </pc:spChg>
        <pc:spChg chg="del">
          <ac:chgData name="Anara Samambayeva" userId="40372071-4642-4757-8ccf-dba3b5920c09" providerId="ADAL" clId="{6991BE2B-A3E7-4DB2-B967-3EF30E6FE166}" dt="2025-07-01T07:08:26.198" v="8215" actId="478"/>
          <ac:spMkLst>
            <pc:docMk/>
            <pc:sldMk cId="347289165" sldId="1881839189"/>
            <ac:spMk id="8" creationId="{D518793F-4855-AA8C-5E74-F4085FE168E3}"/>
          </ac:spMkLst>
        </pc:spChg>
        <pc:spChg chg="mod">
          <ac:chgData name="Anara Samambayeva" userId="40372071-4642-4757-8ccf-dba3b5920c09" providerId="ADAL" clId="{6991BE2B-A3E7-4DB2-B967-3EF30E6FE166}" dt="2025-07-01T07:08:40.029" v="8217"/>
          <ac:spMkLst>
            <pc:docMk/>
            <pc:sldMk cId="347289165" sldId="1881839189"/>
            <ac:spMk id="12" creationId="{F625E87F-6EBD-B455-E9B3-A72920DF41B8}"/>
          </ac:spMkLst>
        </pc:spChg>
        <pc:spChg chg="mod">
          <ac:chgData name="Anara Samambayeva" userId="40372071-4642-4757-8ccf-dba3b5920c09" providerId="ADAL" clId="{6991BE2B-A3E7-4DB2-B967-3EF30E6FE166}" dt="2025-07-01T07:08:47.275" v="8219"/>
          <ac:spMkLst>
            <pc:docMk/>
            <pc:sldMk cId="347289165" sldId="1881839189"/>
            <ac:spMk id="14" creationId="{F67227E7-6176-137B-A680-39AE02DFF519}"/>
          </ac:spMkLst>
        </pc:spChg>
        <pc:spChg chg="mod">
          <ac:chgData name="Anara Samambayeva" userId="40372071-4642-4757-8ccf-dba3b5920c09" providerId="ADAL" clId="{6991BE2B-A3E7-4DB2-B967-3EF30E6FE166}" dt="2025-07-01T07:08:47.275" v="8219"/>
          <ac:spMkLst>
            <pc:docMk/>
            <pc:sldMk cId="347289165" sldId="1881839189"/>
            <ac:spMk id="15" creationId="{76E234DA-A088-DCC8-DE78-B9CB752F7694}"/>
          </ac:spMkLst>
        </pc:spChg>
        <pc:spChg chg="mod">
          <ac:chgData name="Anara Samambayeva" userId="40372071-4642-4757-8ccf-dba3b5920c09" providerId="ADAL" clId="{6991BE2B-A3E7-4DB2-B967-3EF30E6FE166}" dt="2025-07-01T07:08:47.275" v="8219"/>
          <ac:spMkLst>
            <pc:docMk/>
            <pc:sldMk cId="347289165" sldId="1881839189"/>
            <ac:spMk id="16" creationId="{8CE6AE0B-12FE-2CE6-6DEE-C62B13D02CFC}"/>
          </ac:spMkLst>
        </pc:spChg>
        <pc:spChg chg="add mod">
          <ac:chgData name="Anara Samambayeva" userId="40372071-4642-4757-8ccf-dba3b5920c09" providerId="ADAL" clId="{6991BE2B-A3E7-4DB2-B967-3EF30E6FE166}" dt="2025-07-01T09:00:40.262" v="10392" actId="20577"/>
          <ac:spMkLst>
            <pc:docMk/>
            <pc:sldMk cId="347289165" sldId="1881839189"/>
            <ac:spMk id="19" creationId="{B744E094-E7D0-60F2-DAA1-106EA7E13056}"/>
          </ac:spMkLst>
        </pc:spChg>
        <pc:grpChg chg="add del mod">
          <ac:chgData name="Anara Samambayeva" userId="40372071-4642-4757-8ccf-dba3b5920c09" providerId="ADAL" clId="{6991BE2B-A3E7-4DB2-B967-3EF30E6FE166}" dt="2025-07-01T07:08:42.697" v="8218" actId="478"/>
          <ac:grpSpMkLst>
            <pc:docMk/>
            <pc:sldMk cId="347289165" sldId="1881839189"/>
            <ac:grpSpMk id="2" creationId="{B1CE2727-0DF3-0654-8FDB-BB13E13F49E4}"/>
          </ac:grpSpMkLst>
        </pc:grpChg>
        <pc:grpChg chg="add mod">
          <ac:chgData name="Anara Samambayeva" userId="40372071-4642-4757-8ccf-dba3b5920c09" providerId="ADAL" clId="{6991BE2B-A3E7-4DB2-B967-3EF30E6FE166}" dt="2025-07-01T07:08:47.275" v="8219"/>
          <ac:grpSpMkLst>
            <pc:docMk/>
            <pc:sldMk cId="347289165" sldId="1881839189"/>
            <ac:grpSpMk id="13" creationId="{DED6AA5B-24DE-7040-3116-6E8E3123C681}"/>
          </ac:grpSpMkLst>
        </pc:grpChg>
        <pc:picChg chg="add mod">
          <ac:chgData name="Anara Samambayeva" userId="40372071-4642-4757-8ccf-dba3b5920c09" providerId="ADAL" clId="{6991BE2B-A3E7-4DB2-B967-3EF30E6FE166}" dt="2025-07-01T08:55:15.477" v="10225" actId="14100"/>
          <ac:picMkLst>
            <pc:docMk/>
            <pc:sldMk cId="347289165" sldId="1881839189"/>
            <ac:picMk id="18" creationId="{EA03EDE2-B4A7-52AF-12F9-C6DE41C00160}"/>
          </ac:picMkLst>
        </pc:picChg>
        <pc:picChg chg="del">
          <ac:chgData name="Anara Samambayeva" userId="40372071-4642-4757-8ccf-dba3b5920c09" providerId="ADAL" clId="{6991BE2B-A3E7-4DB2-B967-3EF30E6FE166}" dt="2025-07-01T08:37:42.866" v="9765" actId="478"/>
          <ac:picMkLst>
            <pc:docMk/>
            <pc:sldMk cId="347289165" sldId="1881839189"/>
            <ac:picMk id="44" creationId="{A053CB8E-20D4-0905-AFC1-4ADA91FA5F81}"/>
          </ac:picMkLst>
        </pc:picChg>
      </pc:sldChg>
      <pc:sldChg chg="addSp delSp modSp mod ord">
        <pc:chgData name="Anara Samambayeva" userId="40372071-4642-4757-8ccf-dba3b5920c09" providerId="ADAL" clId="{6991BE2B-A3E7-4DB2-B967-3EF30E6FE166}" dt="2025-07-01T10:10:58.902" v="10691" actId="20577"/>
        <pc:sldMkLst>
          <pc:docMk/>
          <pc:sldMk cId="1242318544" sldId="1881839190"/>
        </pc:sldMkLst>
        <pc:spChg chg="mod">
          <ac:chgData name="Anara Samambayeva" userId="40372071-4642-4757-8ccf-dba3b5920c09" providerId="ADAL" clId="{6991BE2B-A3E7-4DB2-B967-3EF30E6FE166}" dt="2025-07-01T09:53:08.253" v="10550" actId="404"/>
          <ac:spMkLst>
            <pc:docMk/>
            <pc:sldMk cId="1242318544" sldId="1881839190"/>
            <ac:spMk id="4" creationId="{37040363-8717-2FB3-E852-0A9450785F35}"/>
          </ac:spMkLst>
        </pc:spChg>
        <pc:spChg chg="mod">
          <ac:chgData name="Anara Samambayeva" userId="40372071-4642-4757-8ccf-dba3b5920c09" providerId="ADAL" clId="{6991BE2B-A3E7-4DB2-B967-3EF30E6FE166}" dt="2025-07-01T09:02:05.115" v="10401"/>
          <ac:spMkLst>
            <pc:docMk/>
            <pc:sldMk cId="1242318544" sldId="1881839190"/>
            <ac:spMk id="6" creationId="{5BA74E7A-C3B1-721B-FF6A-FEE6AF428117}"/>
          </ac:spMkLst>
        </pc:spChg>
        <pc:spChg chg="mod">
          <ac:chgData name="Anara Samambayeva" userId="40372071-4642-4757-8ccf-dba3b5920c09" providerId="ADAL" clId="{6991BE2B-A3E7-4DB2-B967-3EF30E6FE166}" dt="2025-07-01T09:02:05.115" v="10401"/>
          <ac:spMkLst>
            <pc:docMk/>
            <pc:sldMk cId="1242318544" sldId="1881839190"/>
            <ac:spMk id="7" creationId="{846B898A-4D9E-4187-5CF8-DDE9E11CA31D}"/>
          </ac:spMkLst>
        </pc:spChg>
        <pc:spChg chg="del">
          <ac:chgData name="Anara Samambayeva" userId="40372071-4642-4757-8ccf-dba3b5920c09" providerId="ADAL" clId="{6991BE2B-A3E7-4DB2-B967-3EF30E6FE166}" dt="2025-07-01T09:02:12.298" v="10404" actId="478"/>
          <ac:spMkLst>
            <pc:docMk/>
            <pc:sldMk cId="1242318544" sldId="1881839190"/>
            <ac:spMk id="10" creationId="{D58CC416-9240-7729-BFBD-567A174724A3}"/>
          </ac:spMkLst>
        </pc:spChg>
        <pc:spChg chg="del">
          <ac:chgData name="Anara Samambayeva" userId="40372071-4642-4757-8ccf-dba3b5920c09" providerId="ADAL" clId="{6991BE2B-A3E7-4DB2-B967-3EF30E6FE166}" dt="2025-07-01T09:02:10.404" v="10403" actId="478"/>
          <ac:spMkLst>
            <pc:docMk/>
            <pc:sldMk cId="1242318544" sldId="1881839190"/>
            <ac:spMk id="11" creationId="{0C9E6345-31DD-FA47-29DD-B109A67F25FD}"/>
          </ac:spMkLst>
        </pc:spChg>
        <pc:spChg chg="del">
          <ac:chgData name="Anara Samambayeva" userId="40372071-4642-4757-8ccf-dba3b5920c09" providerId="ADAL" clId="{6991BE2B-A3E7-4DB2-B967-3EF30E6FE166}" dt="2025-07-01T09:02:08.360" v="10402" actId="478"/>
          <ac:spMkLst>
            <pc:docMk/>
            <pc:sldMk cId="1242318544" sldId="1881839190"/>
            <ac:spMk id="12" creationId="{CB51E387-76F2-90FA-142B-476FF9396BB4}"/>
          </ac:spMkLst>
        </pc:spChg>
        <pc:spChg chg="mod">
          <ac:chgData name="Anara Samambayeva" userId="40372071-4642-4757-8ccf-dba3b5920c09" providerId="ADAL" clId="{6991BE2B-A3E7-4DB2-B967-3EF30E6FE166}" dt="2025-07-01T09:02:05.115" v="10401"/>
          <ac:spMkLst>
            <pc:docMk/>
            <pc:sldMk cId="1242318544" sldId="1881839190"/>
            <ac:spMk id="15" creationId="{E9EFF63C-10D8-5017-8E6A-8DE0E2C678EC}"/>
          </ac:spMkLst>
        </pc:spChg>
        <pc:spChg chg="add mod">
          <ac:chgData name="Anara Samambayeva" userId="40372071-4642-4757-8ccf-dba3b5920c09" providerId="ADAL" clId="{6991BE2B-A3E7-4DB2-B967-3EF30E6FE166}" dt="2025-07-01T10:10:58.902" v="10691" actId="20577"/>
          <ac:spMkLst>
            <pc:docMk/>
            <pc:sldMk cId="1242318544" sldId="1881839190"/>
            <ac:spMk id="20" creationId="{6008AEA2-8507-0CD6-3458-D4D825E62DB6}"/>
          </ac:spMkLst>
        </pc:spChg>
        <pc:spChg chg="add mod">
          <ac:chgData name="Anara Samambayeva" userId="40372071-4642-4757-8ccf-dba3b5920c09" providerId="ADAL" clId="{6991BE2B-A3E7-4DB2-B967-3EF30E6FE166}" dt="2025-07-01T09:55:07.962" v="10620"/>
          <ac:spMkLst>
            <pc:docMk/>
            <pc:sldMk cId="1242318544" sldId="1881839190"/>
            <ac:spMk id="21" creationId="{D0F3DCFE-DFBC-F455-8771-BC623F90CCCB}"/>
          </ac:spMkLst>
        </pc:spChg>
        <pc:grpChg chg="add mod">
          <ac:chgData name="Anara Samambayeva" userId="40372071-4642-4757-8ccf-dba3b5920c09" providerId="ADAL" clId="{6991BE2B-A3E7-4DB2-B967-3EF30E6FE166}" dt="2025-07-01T09:02:05.115" v="10401"/>
          <ac:grpSpMkLst>
            <pc:docMk/>
            <pc:sldMk cId="1242318544" sldId="1881839190"/>
            <ac:grpSpMk id="2" creationId="{2B317B8D-BC1F-925B-A297-C68701502017}"/>
          </ac:grpSpMkLst>
        </pc:grpChg>
        <pc:picChg chg="del">
          <ac:chgData name="Anara Samambayeva" userId="40372071-4642-4757-8ccf-dba3b5920c09" providerId="ADAL" clId="{6991BE2B-A3E7-4DB2-B967-3EF30E6FE166}" dt="2025-07-01T09:24:29.001" v="10518" actId="478"/>
          <ac:picMkLst>
            <pc:docMk/>
            <pc:sldMk cId="1242318544" sldId="1881839190"/>
            <ac:picMk id="3" creationId="{E69F81D0-1C9E-CC73-8113-6B8C9F81BA89}"/>
          </ac:picMkLst>
        </pc:picChg>
        <pc:picChg chg="del">
          <ac:chgData name="Anara Samambayeva" userId="40372071-4642-4757-8ccf-dba3b5920c09" providerId="ADAL" clId="{6991BE2B-A3E7-4DB2-B967-3EF30E6FE166}" dt="2025-07-01T09:40:36.436" v="10520" actId="478"/>
          <ac:picMkLst>
            <pc:docMk/>
            <pc:sldMk cId="1242318544" sldId="1881839190"/>
            <ac:picMk id="5" creationId="{4627E4AD-6972-4937-546D-048FFFADCFE7}"/>
          </ac:picMkLst>
        </pc:picChg>
        <pc:picChg chg="del">
          <ac:chgData name="Anara Samambayeva" userId="40372071-4642-4757-8ccf-dba3b5920c09" providerId="ADAL" clId="{6991BE2B-A3E7-4DB2-B967-3EF30E6FE166}" dt="2025-07-01T09:40:35.237" v="10519" actId="478"/>
          <ac:picMkLst>
            <pc:docMk/>
            <pc:sldMk cId="1242318544" sldId="1881839190"/>
            <ac:picMk id="14" creationId="{77D80D19-DDB6-DBC8-8544-CD3D25C9AF4C}"/>
          </ac:picMkLst>
        </pc:picChg>
        <pc:picChg chg="add del mod">
          <ac:chgData name="Anara Samambayeva" userId="40372071-4642-4757-8ccf-dba3b5920c09" providerId="ADAL" clId="{6991BE2B-A3E7-4DB2-B967-3EF30E6FE166}" dt="2025-07-01T09:51:46.722" v="10524" actId="478"/>
          <ac:picMkLst>
            <pc:docMk/>
            <pc:sldMk cId="1242318544" sldId="1881839190"/>
            <ac:picMk id="17" creationId="{55A0F222-D432-24B0-BEF8-37CA8F570551}"/>
          </ac:picMkLst>
        </pc:picChg>
        <pc:picChg chg="add mod">
          <ac:chgData name="Anara Samambayeva" userId="40372071-4642-4757-8ccf-dba3b5920c09" providerId="ADAL" clId="{6991BE2B-A3E7-4DB2-B967-3EF30E6FE166}" dt="2025-07-01T09:53:31.878" v="10552" actId="14100"/>
          <ac:picMkLst>
            <pc:docMk/>
            <pc:sldMk cId="1242318544" sldId="1881839190"/>
            <ac:picMk id="19" creationId="{A07963DD-FA4E-6CC9-A95C-133656138764}"/>
          </ac:picMkLst>
        </pc:picChg>
      </pc:sldChg>
      <pc:sldChg chg="del mod modShow">
        <pc:chgData name="Anara Samambayeva" userId="40372071-4642-4757-8ccf-dba3b5920c09" providerId="ADAL" clId="{6991BE2B-A3E7-4DB2-B967-3EF30E6FE166}" dt="2025-07-01T10:18:20.517" v="10705" actId="2696"/>
        <pc:sldMkLst>
          <pc:docMk/>
          <pc:sldMk cId="1077281969" sldId="1881839191"/>
        </pc:sldMkLst>
      </pc:sldChg>
      <pc:sldChg chg="add del">
        <pc:chgData name="Anara Samambayeva" userId="40372071-4642-4757-8ccf-dba3b5920c09" providerId="ADAL" clId="{6991BE2B-A3E7-4DB2-B967-3EF30E6FE166}" dt="2025-07-01T10:18:49.030" v="10712" actId="47"/>
        <pc:sldMkLst>
          <pc:docMk/>
          <pc:sldMk cId="2207270344" sldId="1881839191"/>
        </pc:sldMkLst>
      </pc:sldChg>
      <pc:sldChg chg="addSp delSp modSp mod modNotes modNotesTx">
        <pc:chgData name="Anara Samambayeva" userId="40372071-4642-4757-8ccf-dba3b5920c09" providerId="ADAL" clId="{6991BE2B-A3E7-4DB2-B967-3EF30E6FE166}" dt="2025-07-01T08:35:57.810" v="9719" actId="20577"/>
        <pc:sldMkLst>
          <pc:docMk/>
          <pc:sldMk cId="2204379559" sldId="1881839192"/>
        </pc:sldMkLst>
        <pc:spChg chg="add mod">
          <ac:chgData name="Anara Samambayeva" userId="40372071-4642-4757-8ccf-dba3b5920c09" providerId="ADAL" clId="{6991BE2B-A3E7-4DB2-B967-3EF30E6FE166}" dt="2025-07-01T06:19:38.967" v="7182" actId="1076"/>
          <ac:spMkLst>
            <pc:docMk/>
            <pc:sldMk cId="2204379559" sldId="1881839192"/>
            <ac:spMk id="2" creationId="{0C440281-1468-69B4-1CD7-734D7801E9ED}"/>
          </ac:spMkLst>
        </pc:spChg>
        <pc:spChg chg="mod">
          <ac:chgData name="Anara Samambayeva" userId="40372071-4642-4757-8ccf-dba3b5920c09" providerId="ADAL" clId="{6991BE2B-A3E7-4DB2-B967-3EF30E6FE166}" dt="2025-07-01T08:35:57.810" v="9719" actId="20577"/>
          <ac:spMkLst>
            <pc:docMk/>
            <pc:sldMk cId="2204379559" sldId="1881839192"/>
            <ac:spMk id="4" creationId="{19ED37AD-D072-39D7-3FAB-76C1CD0EE9F2}"/>
          </ac:spMkLst>
        </pc:spChg>
        <pc:spChg chg="add del mod">
          <ac:chgData name="Anara Samambayeva" userId="40372071-4642-4757-8ccf-dba3b5920c09" providerId="ADAL" clId="{6991BE2B-A3E7-4DB2-B967-3EF30E6FE166}" dt="2025-07-01T04:24:44.151" v="4745" actId="478"/>
          <ac:spMkLst>
            <pc:docMk/>
            <pc:sldMk cId="2204379559" sldId="1881839192"/>
            <ac:spMk id="5" creationId="{E3663046-3681-E1A4-164E-7E9F60C3CF20}"/>
          </ac:spMkLst>
        </pc:spChg>
        <pc:spChg chg="del">
          <ac:chgData name="Anara Samambayeva" userId="40372071-4642-4757-8ccf-dba3b5920c09" providerId="ADAL" clId="{6991BE2B-A3E7-4DB2-B967-3EF30E6FE166}" dt="2025-07-01T04:27:56.625" v="4753" actId="478"/>
          <ac:spMkLst>
            <pc:docMk/>
            <pc:sldMk cId="2204379559" sldId="1881839192"/>
            <ac:spMk id="7" creationId="{978D37F1-FA3B-286C-4A4E-3D2B6B36D997}"/>
          </ac:spMkLst>
        </pc:spChg>
        <pc:spChg chg="del">
          <ac:chgData name="Anara Samambayeva" userId="40372071-4642-4757-8ccf-dba3b5920c09" providerId="ADAL" clId="{6991BE2B-A3E7-4DB2-B967-3EF30E6FE166}" dt="2025-07-01T04:27:54.481" v="4752" actId="478"/>
          <ac:spMkLst>
            <pc:docMk/>
            <pc:sldMk cId="2204379559" sldId="1881839192"/>
            <ac:spMk id="8" creationId="{F1B686E4-746B-2BD8-BAEC-FDF98625EF5E}"/>
          </ac:spMkLst>
        </pc:spChg>
        <pc:spChg chg="add del mod">
          <ac:chgData name="Anara Samambayeva" userId="40372071-4642-4757-8ccf-dba3b5920c09" providerId="ADAL" clId="{6991BE2B-A3E7-4DB2-B967-3EF30E6FE166}" dt="2025-07-01T04:34:13.716" v="4862" actId="478"/>
          <ac:spMkLst>
            <pc:docMk/>
            <pc:sldMk cId="2204379559" sldId="1881839192"/>
            <ac:spMk id="13" creationId="{2B02F8DB-3A0D-E164-424A-15C6D2D7A8CF}"/>
          </ac:spMkLst>
        </pc:spChg>
        <pc:spChg chg="add del mod">
          <ac:chgData name="Anara Samambayeva" userId="40372071-4642-4757-8ccf-dba3b5920c09" providerId="ADAL" clId="{6991BE2B-A3E7-4DB2-B967-3EF30E6FE166}" dt="2025-07-01T04:30:52.344" v="4761" actId="478"/>
          <ac:spMkLst>
            <pc:docMk/>
            <pc:sldMk cId="2204379559" sldId="1881839192"/>
            <ac:spMk id="14" creationId="{4206CC9F-487F-04A7-BFD3-5E696DF046C3}"/>
          </ac:spMkLst>
        </pc:spChg>
        <pc:spChg chg="add del mod">
          <ac:chgData name="Anara Samambayeva" userId="40372071-4642-4757-8ccf-dba3b5920c09" providerId="ADAL" clId="{6991BE2B-A3E7-4DB2-B967-3EF30E6FE166}" dt="2025-07-01T04:35:27.488" v="4873" actId="478"/>
          <ac:spMkLst>
            <pc:docMk/>
            <pc:sldMk cId="2204379559" sldId="1881839192"/>
            <ac:spMk id="19" creationId="{C27C4AC3-C8CD-FB73-46C1-0AACBF0356D5}"/>
          </ac:spMkLst>
        </pc:spChg>
        <pc:spChg chg="add mod">
          <ac:chgData name="Anara Samambayeva" userId="40372071-4642-4757-8ccf-dba3b5920c09" providerId="ADAL" clId="{6991BE2B-A3E7-4DB2-B967-3EF30E6FE166}" dt="2025-07-01T06:19:16.925" v="7179" actId="1036"/>
          <ac:spMkLst>
            <pc:docMk/>
            <pc:sldMk cId="2204379559" sldId="1881839192"/>
            <ac:spMk id="21" creationId="{7951CB8E-A473-3FE3-2CC6-62D05E5884D0}"/>
          </ac:spMkLst>
        </pc:spChg>
        <pc:spChg chg="add mod">
          <ac:chgData name="Anara Samambayeva" userId="40372071-4642-4757-8ccf-dba3b5920c09" providerId="ADAL" clId="{6991BE2B-A3E7-4DB2-B967-3EF30E6FE166}" dt="2025-07-01T06:19:45.384" v="7183" actId="1076"/>
          <ac:spMkLst>
            <pc:docMk/>
            <pc:sldMk cId="2204379559" sldId="1881839192"/>
            <ac:spMk id="30" creationId="{E0DF632E-B561-51EF-28AD-64BF056598A5}"/>
          </ac:spMkLst>
        </pc:spChg>
        <pc:spChg chg="add mod">
          <ac:chgData name="Anara Samambayeva" userId="40372071-4642-4757-8ccf-dba3b5920c09" providerId="ADAL" clId="{6991BE2B-A3E7-4DB2-B967-3EF30E6FE166}" dt="2025-07-01T06:19:26.812" v="7180" actId="1076"/>
          <ac:spMkLst>
            <pc:docMk/>
            <pc:sldMk cId="2204379559" sldId="1881839192"/>
            <ac:spMk id="31" creationId="{778A0B30-7A98-4399-06D0-54F007568650}"/>
          </ac:spMkLst>
        </pc:spChg>
        <pc:spChg chg="mod">
          <ac:chgData name="Anara Samambayeva" userId="40372071-4642-4757-8ccf-dba3b5920c09" providerId="ADAL" clId="{6991BE2B-A3E7-4DB2-B967-3EF30E6FE166}" dt="2025-07-01T06:16:07.082" v="7021"/>
          <ac:spMkLst>
            <pc:docMk/>
            <pc:sldMk cId="2204379559" sldId="1881839192"/>
            <ac:spMk id="33" creationId="{97C26CAB-F3F2-9158-9F7F-8BC4CED9344D}"/>
          </ac:spMkLst>
        </pc:spChg>
        <pc:spChg chg="del mod">
          <ac:chgData name="Anara Samambayeva" userId="40372071-4642-4757-8ccf-dba3b5920c09" providerId="ADAL" clId="{6991BE2B-A3E7-4DB2-B967-3EF30E6FE166}" dt="2025-07-01T06:18:37.084" v="7141" actId="478"/>
          <ac:spMkLst>
            <pc:docMk/>
            <pc:sldMk cId="2204379559" sldId="1881839192"/>
            <ac:spMk id="34" creationId="{AE42DE29-E147-B08C-8A8F-25F4C724119B}"/>
          </ac:spMkLst>
        </pc:spChg>
        <pc:spChg chg="mod">
          <ac:chgData name="Anara Samambayeva" userId="40372071-4642-4757-8ccf-dba3b5920c09" providerId="ADAL" clId="{6991BE2B-A3E7-4DB2-B967-3EF30E6FE166}" dt="2025-07-01T06:16:07.082" v="7021"/>
          <ac:spMkLst>
            <pc:docMk/>
            <pc:sldMk cId="2204379559" sldId="1881839192"/>
            <ac:spMk id="35" creationId="{9ABEB518-5DE8-5E0D-E34D-EF6D78B1650D}"/>
          </ac:spMkLst>
        </pc:spChg>
        <pc:spChg chg="mod">
          <ac:chgData name="Anara Samambayeva" userId="40372071-4642-4757-8ccf-dba3b5920c09" providerId="ADAL" clId="{6991BE2B-A3E7-4DB2-B967-3EF30E6FE166}" dt="2025-07-01T06:18:43.625" v="7143"/>
          <ac:spMkLst>
            <pc:docMk/>
            <pc:sldMk cId="2204379559" sldId="1881839192"/>
            <ac:spMk id="37" creationId="{2E0E6DC1-231B-D48F-E150-2B13D52F1500}"/>
          </ac:spMkLst>
        </pc:spChg>
        <pc:spChg chg="mod">
          <ac:chgData name="Anara Samambayeva" userId="40372071-4642-4757-8ccf-dba3b5920c09" providerId="ADAL" clId="{6991BE2B-A3E7-4DB2-B967-3EF30E6FE166}" dt="2025-07-01T06:18:43.625" v="7143"/>
          <ac:spMkLst>
            <pc:docMk/>
            <pc:sldMk cId="2204379559" sldId="1881839192"/>
            <ac:spMk id="38" creationId="{30E94A40-A6B3-617D-AD98-D39650A41116}"/>
          </ac:spMkLst>
        </pc:spChg>
        <pc:spChg chg="mod">
          <ac:chgData name="Anara Samambayeva" userId="40372071-4642-4757-8ccf-dba3b5920c09" providerId="ADAL" clId="{6991BE2B-A3E7-4DB2-B967-3EF30E6FE166}" dt="2025-07-01T06:18:43.625" v="7143"/>
          <ac:spMkLst>
            <pc:docMk/>
            <pc:sldMk cId="2204379559" sldId="1881839192"/>
            <ac:spMk id="39" creationId="{B64FA994-3148-4A46-EE7C-C5A0967C6CBA}"/>
          </ac:spMkLst>
        </pc:spChg>
        <pc:grpChg chg="add del mod">
          <ac:chgData name="Anara Samambayeva" userId="40372071-4642-4757-8ccf-dba3b5920c09" providerId="ADAL" clId="{6991BE2B-A3E7-4DB2-B967-3EF30E6FE166}" dt="2025-07-01T06:18:38.623" v="7142" actId="478"/>
          <ac:grpSpMkLst>
            <pc:docMk/>
            <pc:sldMk cId="2204379559" sldId="1881839192"/>
            <ac:grpSpMk id="32" creationId="{CFDE6C1C-0BF9-FE1C-AB7E-90CAC233FF18}"/>
          </ac:grpSpMkLst>
        </pc:grpChg>
        <pc:grpChg chg="add mod">
          <ac:chgData name="Anara Samambayeva" userId="40372071-4642-4757-8ccf-dba3b5920c09" providerId="ADAL" clId="{6991BE2B-A3E7-4DB2-B967-3EF30E6FE166}" dt="2025-07-01T06:18:43.625" v="7143"/>
          <ac:grpSpMkLst>
            <pc:docMk/>
            <pc:sldMk cId="2204379559" sldId="1881839192"/>
            <ac:grpSpMk id="36" creationId="{1DD936EC-C1E4-3951-D6E3-AFDA16BB1C70}"/>
          </ac:grpSpMkLst>
        </pc:grpChg>
        <pc:graphicFrameChg chg="add del mod">
          <ac:chgData name="Anara Samambayeva" userId="40372071-4642-4757-8ccf-dba3b5920c09" providerId="ADAL" clId="{6991BE2B-A3E7-4DB2-B967-3EF30E6FE166}" dt="2025-07-01T04:35:30.785" v="4874" actId="478"/>
          <ac:graphicFrameMkLst>
            <pc:docMk/>
            <pc:sldMk cId="2204379559" sldId="1881839192"/>
            <ac:graphicFrameMk id="15" creationId="{FB9C1843-5993-A602-862C-A9D827958FE4}"/>
          </ac:graphicFrameMkLst>
        </pc:graphicFrameChg>
        <pc:picChg chg="del">
          <ac:chgData name="Anara Samambayeva" userId="40372071-4642-4757-8ccf-dba3b5920c09" providerId="ADAL" clId="{6991BE2B-A3E7-4DB2-B967-3EF30E6FE166}" dt="2025-07-01T04:21:25.203" v="4740" actId="478"/>
          <ac:picMkLst>
            <pc:docMk/>
            <pc:sldMk cId="2204379559" sldId="1881839192"/>
            <ac:picMk id="3" creationId="{D2B5004A-2508-725F-03E4-82B020A371E7}"/>
          </ac:picMkLst>
        </pc:picChg>
        <pc:picChg chg="add del mod">
          <ac:chgData name="Anara Samambayeva" userId="40372071-4642-4757-8ccf-dba3b5920c09" providerId="ADAL" clId="{6991BE2B-A3E7-4DB2-B967-3EF30E6FE166}" dt="2025-07-01T04:30:53.694" v="4762" actId="478"/>
          <ac:picMkLst>
            <pc:docMk/>
            <pc:sldMk cId="2204379559" sldId="1881839192"/>
            <ac:picMk id="6" creationId="{F34DBCBA-D4DC-0F02-D167-3B99176632CC}"/>
          </ac:picMkLst>
        </pc:picChg>
        <pc:picChg chg="add del mod">
          <ac:chgData name="Anara Samambayeva" userId="40372071-4642-4757-8ccf-dba3b5920c09" providerId="ADAL" clId="{6991BE2B-A3E7-4DB2-B967-3EF30E6FE166}" dt="2025-07-01T04:27:50.507" v="4751" actId="478"/>
          <ac:picMkLst>
            <pc:docMk/>
            <pc:sldMk cId="2204379559" sldId="1881839192"/>
            <ac:picMk id="9" creationId="{C1CCF279-5D21-0F5F-E5F4-8703B78607AF}"/>
          </ac:picMkLst>
        </pc:picChg>
        <pc:picChg chg="add del mod">
          <ac:chgData name="Anara Samambayeva" userId="40372071-4642-4757-8ccf-dba3b5920c09" providerId="ADAL" clId="{6991BE2B-A3E7-4DB2-B967-3EF30E6FE166}" dt="2025-07-01T04:41:07.948" v="4977" actId="478"/>
          <ac:picMkLst>
            <pc:docMk/>
            <pc:sldMk cId="2204379559" sldId="1881839192"/>
            <ac:picMk id="17" creationId="{079B5802-7E59-DE6C-961B-BD9A743BE939}"/>
          </ac:picMkLst>
        </pc:picChg>
        <pc:picChg chg="add del mod">
          <ac:chgData name="Anara Samambayeva" userId="40372071-4642-4757-8ccf-dba3b5920c09" providerId="ADAL" clId="{6991BE2B-A3E7-4DB2-B967-3EF30E6FE166}" dt="2025-07-01T04:52:51.180" v="5154" actId="478"/>
          <ac:picMkLst>
            <pc:docMk/>
            <pc:sldMk cId="2204379559" sldId="1881839192"/>
            <ac:picMk id="23" creationId="{F404B040-19D9-3A52-BAC5-7D64B086B70F}"/>
          </ac:picMkLst>
        </pc:picChg>
        <pc:picChg chg="add mod">
          <ac:chgData name="Anara Samambayeva" userId="40372071-4642-4757-8ccf-dba3b5920c09" providerId="ADAL" clId="{6991BE2B-A3E7-4DB2-B967-3EF30E6FE166}" dt="2025-07-01T06:19:16.925" v="7179" actId="1036"/>
          <ac:picMkLst>
            <pc:docMk/>
            <pc:sldMk cId="2204379559" sldId="1881839192"/>
            <ac:picMk id="25" creationId="{8AFB0972-52D1-553A-0A4E-E1877546E89B}"/>
          </ac:picMkLst>
        </pc:picChg>
        <pc:picChg chg="add del mod">
          <ac:chgData name="Anara Samambayeva" userId="40372071-4642-4757-8ccf-dba3b5920c09" providerId="ADAL" clId="{6991BE2B-A3E7-4DB2-B967-3EF30E6FE166}" dt="2025-07-01T05:03:09.655" v="5362" actId="478"/>
          <ac:picMkLst>
            <pc:docMk/>
            <pc:sldMk cId="2204379559" sldId="1881839192"/>
            <ac:picMk id="27" creationId="{72EDB096-D391-6865-EDDD-EF1F6294CEC2}"/>
          </ac:picMkLst>
        </pc:picChg>
        <pc:picChg chg="add mod">
          <ac:chgData name="Anara Samambayeva" userId="40372071-4642-4757-8ccf-dba3b5920c09" providerId="ADAL" clId="{6991BE2B-A3E7-4DB2-B967-3EF30E6FE166}" dt="2025-07-01T05:12:05.938" v="5511" actId="14100"/>
          <ac:picMkLst>
            <pc:docMk/>
            <pc:sldMk cId="2204379559" sldId="1881839192"/>
            <ac:picMk id="29" creationId="{CB5A4856-A781-62DD-4C25-7BB675E9B7E3}"/>
          </ac:picMkLst>
        </pc:picChg>
      </pc:sldChg>
      <pc:sldChg chg="addSp delSp modSp mod">
        <pc:chgData name="Anara Samambayeva" userId="40372071-4642-4757-8ccf-dba3b5920c09" providerId="ADAL" clId="{6991BE2B-A3E7-4DB2-B967-3EF30E6FE166}" dt="2025-07-01T11:59:44.241" v="12056" actId="1076"/>
        <pc:sldMkLst>
          <pc:docMk/>
          <pc:sldMk cId="529677055" sldId="1881839197"/>
        </pc:sldMkLst>
        <pc:spChg chg="mod">
          <ac:chgData name="Anara Samambayeva" userId="40372071-4642-4757-8ccf-dba3b5920c09" providerId="ADAL" clId="{6991BE2B-A3E7-4DB2-B967-3EF30E6FE166}" dt="2025-07-01T11:48:00.645" v="11633" actId="20577"/>
          <ac:spMkLst>
            <pc:docMk/>
            <pc:sldMk cId="529677055" sldId="1881839197"/>
            <ac:spMk id="5" creationId="{B2C36D4B-B832-8171-F0DF-A8A2C4B05F84}"/>
          </ac:spMkLst>
        </pc:spChg>
        <pc:spChg chg="add del mod">
          <ac:chgData name="Anara Samambayeva" userId="40372071-4642-4757-8ccf-dba3b5920c09" providerId="ADAL" clId="{6991BE2B-A3E7-4DB2-B967-3EF30E6FE166}" dt="2025-07-01T11:08:32.789" v="11145" actId="478"/>
          <ac:spMkLst>
            <pc:docMk/>
            <pc:sldMk cId="529677055" sldId="1881839197"/>
            <ac:spMk id="6" creationId="{A767A045-B6A4-53EC-2F26-9EF2F3BC411D}"/>
          </ac:spMkLst>
        </pc:spChg>
        <pc:spChg chg="add del mod">
          <ac:chgData name="Anara Samambayeva" userId="40372071-4642-4757-8ccf-dba3b5920c09" providerId="ADAL" clId="{6991BE2B-A3E7-4DB2-B967-3EF30E6FE166}" dt="2025-07-01T11:08:32.789" v="11145" actId="478"/>
          <ac:spMkLst>
            <pc:docMk/>
            <pc:sldMk cId="529677055" sldId="1881839197"/>
            <ac:spMk id="8" creationId="{7148DEA5-7304-5D2E-6366-7AF2FDBD25BC}"/>
          </ac:spMkLst>
        </pc:spChg>
        <pc:spChg chg="add mod">
          <ac:chgData name="Anara Samambayeva" userId="40372071-4642-4757-8ccf-dba3b5920c09" providerId="ADAL" clId="{6991BE2B-A3E7-4DB2-B967-3EF30E6FE166}" dt="2025-07-01T11:07:42.195" v="11137" actId="1076"/>
          <ac:spMkLst>
            <pc:docMk/>
            <pc:sldMk cId="529677055" sldId="1881839197"/>
            <ac:spMk id="9" creationId="{2F6B82AD-5211-5625-FE91-6BAECB702C75}"/>
          </ac:spMkLst>
        </pc:spChg>
        <pc:spChg chg="add mod">
          <ac:chgData name="Anara Samambayeva" userId="40372071-4642-4757-8ccf-dba3b5920c09" providerId="ADAL" clId="{6991BE2B-A3E7-4DB2-B967-3EF30E6FE166}" dt="2025-07-01T11:06:54.966" v="11132"/>
          <ac:spMkLst>
            <pc:docMk/>
            <pc:sldMk cId="529677055" sldId="1881839197"/>
            <ac:spMk id="12" creationId="{6FD77E95-FAAC-83FF-A05E-D20E76C519E6}"/>
          </ac:spMkLst>
        </pc:spChg>
        <pc:spChg chg="add del mod">
          <ac:chgData name="Anara Samambayeva" userId="40372071-4642-4757-8ccf-dba3b5920c09" providerId="ADAL" clId="{6991BE2B-A3E7-4DB2-B967-3EF30E6FE166}" dt="2025-07-01T11:08:32.789" v="11145" actId="478"/>
          <ac:spMkLst>
            <pc:docMk/>
            <pc:sldMk cId="529677055" sldId="1881839197"/>
            <ac:spMk id="13" creationId="{38EADAC4-EBB6-41EF-4BC8-B9ED786F663E}"/>
          </ac:spMkLst>
        </pc:spChg>
        <pc:spChg chg="mod">
          <ac:chgData name="Anara Samambayeva" userId="40372071-4642-4757-8ccf-dba3b5920c09" providerId="ADAL" clId="{6991BE2B-A3E7-4DB2-B967-3EF30E6FE166}" dt="2025-07-01T11:59:05.657" v="12052" actId="207"/>
          <ac:spMkLst>
            <pc:docMk/>
            <pc:sldMk cId="529677055" sldId="1881839197"/>
            <ac:spMk id="16" creationId="{8B8D46DB-7DE5-C6F4-2F73-9B903DBE0F98}"/>
          </ac:spMkLst>
        </pc:spChg>
        <pc:spChg chg="mod">
          <ac:chgData name="Anara Samambayeva" userId="40372071-4642-4757-8ccf-dba3b5920c09" providerId="ADAL" clId="{6991BE2B-A3E7-4DB2-B967-3EF30E6FE166}" dt="2025-07-01T11:59:05.657" v="12052" actId="207"/>
          <ac:spMkLst>
            <pc:docMk/>
            <pc:sldMk cId="529677055" sldId="1881839197"/>
            <ac:spMk id="21" creationId="{9221177F-57C6-5038-E299-E0C141232A25}"/>
          </ac:spMkLst>
        </pc:spChg>
        <pc:spChg chg="add mod">
          <ac:chgData name="Anara Samambayeva" userId="40372071-4642-4757-8ccf-dba3b5920c09" providerId="ADAL" clId="{6991BE2B-A3E7-4DB2-B967-3EF30E6FE166}" dt="2025-07-01T11:49:51.468" v="11725" actId="1036"/>
          <ac:spMkLst>
            <pc:docMk/>
            <pc:sldMk cId="529677055" sldId="1881839197"/>
            <ac:spMk id="22" creationId="{D02E93EF-12EA-E3CB-7880-58FD35507D48}"/>
          </ac:spMkLst>
        </pc:spChg>
        <pc:spChg chg="mod">
          <ac:chgData name="Anara Samambayeva" userId="40372071-4642-4757-8ccf-dba3b5920c09" providerId="ADAL" clId="{6991BE2B-A3E7-4DB2-B967-3EF30E6FE166}" dt="2025-07-01T11:06:44.842" v="11131" actId="1076"/>
          <ac:spMkLst>
            <pc:docMk/>
            <pc:sldMk cId="529677055" sldId="1881839197"/>
            <ac:spMk id="23" creationId="{FBC68235-8628-C853-2989-DDB41123579C}"/>
          </ac:spMkLst>
        </pc:spChg>
        <pc:spChg chg="del mod">
          <ac:chgData name="Anara Samambayeva" userId="40372071-4642-4757-8ccf-dba3b5920c09" providerId="ADAL" clId="{6991BE2B-A3E7-4DB2-B967-3EF30E6FE166}" dt="2025-07-01T11:08:32.789" v="11145" actId="478"/>
          <ac:spMkLst>
            <pc:docMk/>
            <pc:sldMk cId="529677055" sldId="1881839197"/>
            <ac:spMk id="24" creationId="{5977CED1-3AD8-6747-9F6B-181B6E43B542}"/>
          </ac:spMkLst>
        </pc:spChg>
        <pc:spChg chg="del mod">
          <ac:chgData name="Anara Samambayeva" userId="40372071-4642-4757-8ccf-dba3b5920c09" providerId="ADAL" clId="{6991BE2B-A3E7-4DB2-B967-3EF30E6FE166}" dt="2025-07-01T11:08:32.789" v="11145" actId="478"/>
          <ac:spMkLst>
            <pc:docMk/>
            <pc:sldMk cId="529677055" sldId="1881839197"/>
            <ac:spMk id="25" creationId="{74F3F360-840A-1F87-38D7-20100CE7E0B6}"/>
          </ac:spMkLst>
        </pc:spChg>
        <pc:spChg chg="del mod">
          <ac:chgData name="Anara Samambayeva" userId="40372071-4642-4757-8ccf-dba3b5920c09" providerId="ADAL" clId="{6991BE2B-A3E7-4DB2-B967-3EF30E6FE166}" dt="2025-07-01T11:08:32.789" v="11145" actId="478"/>
          <ac:spMkLst>
            <pc:docMk/>
            <pc:sldMk cId="529677055" sldId="1881839197"/>
            <ac:spMk id="26" creationId="{4C1BE49A-97A1-A87F-0AD4-06958FCAF66C}"/>
          </ac:spMkLst>
        </pc:spChg>
        <pc:spChg chg="del mod">
          <ac:chgData name="Anara Samambayeva" userId="40372071-4642-4757-8ccf-dba3b5920c09" providerId="ADAL" clId="{6991BE2B-A3E7-4DB2-B967-3EF30E6FE166}" dt="2025-07-01T11:08:32.789" v="11145" actId="478"/>
          <ac:spMkLst>
            <pc:docMk/>
            <pc:sldMk cId="529677055" sldId="1881839197"/>
            <ac:spMk id="27" creationId="{4EE82DA4-7DB3-B9C1-1A02-56FFB560EE27}"/>
          </ac:spMkLst>
        </pc:spChg>
        <pc:spChg chg="del">
          <ac:chgData name="Anara Samambayeva" userId="40372071-4642-4757-8ccf-dba3b5920c09" providerId="ADAL" clId="{6991BE2B-A3E7-4DB2-B967-3EF30E6FE166}" dt="2025-07-01T11:08:32.789" v="11145" actId="478"/>
          <ac:spMkLst>
            <pc:docMk/>
            <pc:sldMk cId="529677055" sldId="1881839197"/>
            <ac:spMk id="29" creationId="{DD7ED28E-8039-E635-00EB-280AA4746A9C}"/>
          </ac:spMkLst>
        </pc:spChg>
        <pc:spChg chg="mod">
          <ac:chgData name="Anara Samambayeva" userId="40372071-4642-4757-8ccf-dba3b5920c09" providerId="ADAL" clId="{6991BE2B-A3E7-4DB2-B967-3EF30E6FE166}" dt="2025-07-01T11:06:34.446" v="11127" actId="1076"/>
          <ac:spMkLst>
            <pc:docMk/>
            <pc:sldMk cId="529677055" sldId="1881839197"/>
            <ac:spMk id="30" creationId="{EF0662A0-632E-FFE6-7DB3-D2018C03D26A}"/>
          </ac:spMkLst>
        </pc:spChg>
        <pc:spChg chg="del mod">
          <ac:chgData name="Anara Samambayeva" userId="40372071-4642-4757-8ccf-dba3b5920c09" providerId="ADAL" clId="{6991BE2B-A3E7-4DB2-B967-3EF30E6FE166}" dt="2025-07-01T11:08:32.789" v="11145" actId="478"/>
          <ac:spMkLst>
            <pc:docMk/>
            <pc:sldMk cId="529677055" sldId="1881839197"/>
            <ac:spMk id="31" creationId="{D59AA15C-21CC-AA5A-8E07-5F5A44C9D6D3}"/>
          </ac:spMkLst>
        </pc:spChg>
        <pc:spChg chg="del mod">
          <ac:chgData name="Anara Samambayeva" userId="40372071-4642-4757-8ccf-dba3b5920c09" providerId="ADAL" clId="{6991BE2B-A3E7-4DB2-B967-3EF30E6FE166}" dt="2025-07-01T11:08:32.789" v="11145" actId="478"/>
          <ac:spMkLst>
            <pc:docMk/>
            <pc:sldMk cId="529677055" sldId="1881839197"/>
            <ac:spMk id="32" creationId="{8C20C9F7-A62D-CA79-5A5E-0C80F78F1154}"/>
          </ac:spMkLst>
        </pc:spChg>
        <pc:spChg chg="mod">
          <ac:chgData name="Anara Samambayeva" userId="40372071-4642-4757-8ccf-dba3b5920c09" providerId="ADAL" clId="{6991BE2B-A3E7-4DB2-B967-3EF30E6FE166}" dt="2025-07-01T11:06:17.361" v="11124" actId="1076"/>
          <ac:spMkLst>
            <pc:docMk/>
            <pc:sldMk cId="529677055" sldId="1881839197"/>
            <ac:spMk id="33" creationId="{FB915B2E-B9B3-56EA-BA19-B1A11B11B870}"/>
          </ac:spMkLst>
        </pc:spChg>
        <pc:spChg chg="add mod">
          <ac:chgData name="Anara Samambayeva" userId="40372071-4642-4757-8ccf-dba3b5920c09" providerId="ADAL" clId="{6991BE2B-A3E7-4DB2-B967-3EF30E6FE166}" dt="2025-07-01T11:49:51.468" v="11725" actId="1036"/>
          <ac:spMkLst>
            <pc:docMk/>
            <pc:sldMk cId="529677055" sldId="1881839197"/>
            <ac:spMk id="34" creationId="{8EC32EC7-9503-3B7B-9E1E-DD19F06312C7}"/>
          </ac:spMkLst>
        </pc:spChg>
        <pc:spChg chg="add mod">
          <ac:chgData name="Anara Samambayeva" userId="40372071-4642-4757-8ccf-dba3b5920c09" providerId="ADAL" clId="{6991BE2B-A3E7-4DB2-B967-3EF30E6FE166}" dt="2025-07-01T11:49:51.468" v="11725" actId="1036"/>
          <ac:spMkLst>
            <pc:docMk/>
            <pc:sldMk cId="529677055" sldId="1881839197"/>
            <ac:spMk id="35" creationId="{F74A5EC8-3DA2-8888-E238-8B66FB1B275B}"/>
          </ac:spMkLst>
        </pc:spChg>
        <pc:spChg chg="add mod">
          <ac:chgData name="Anara Samambayeva" userId="40372071-4642-4757-8ccf-dba3b5920c09" providerId="ADAL" clId="{6991BE2B-A3E7-4DB2-B967-3EF30E6FE166}" dt="2025-07-01T11:49:51.468" v="11725" actId="1036"/>
          <ac:spMkLst>
            <pc:docMk/>
            <pc:sldMk cId="529677055" sldId="1881839197"/>
            <ac:spMk id="36" creationId="{E04701C5-C4F0-3946-7BCC-8DDACF086E4B}"/>
          </ac:spMkLst>
        </pc:spChg>
        <pc:spChg chg="add mod">
          <ac:chgData name="Anara Samambayeva" userId="40372071-4642-4757-8ccf-dba3b5920c09" providerId="ADAL" clId="{6991BE2B-A3E7-4DB2-B967-3EF30E6FE166}" dt="2025-07-01T11:59:29.932" v="12053" actId="20577"/>
          <ac:spMkLst>
            <pc:docMk/>
            <pc:sldMk cId="529677055" sldId="1881839197"/>
            <ac:spMk id="37" creationId="{F9D3FF4A-3AEF-B7A6-196F-003C4E74D058}"/>
          </ac:spMkLst>
        </pc:spChg>
        <pc:spChg chg="add mod">
          <ac:chgData name="Anara Samambayeva" userId="40372071-4642-4757-8ccf-dba3b5920c09" providerId="ADAL" clId="{6991BE2B-A3E7-4DB2-B967-3EF30E6FE166}" dt="2025-07-01T11:49:43.273" v="11718" actId="14100"/>
          <ac:spMkLst>
            <pc:docMk/>
            <pc:sldMk cId="529677055" sldId="1881839197"/>
            <ac:spMk id="49" creationId="{BB84A38B-8A32-9BFE-59EA-43408E96131D}"/>
          </ac:spMkLst>
        </pc:spChg>
        <pc:spChg chg="add mod">
          <ac:chgData name="Anara Samambayeva" userId="40372071-4642-4757-8ccf-dba3b5920c09" providerId="ADAL" clId="{6991BE2B-A3E7-4DB2-B967-3EF30E6FE166}" dt="2025-07-01T11:51:37.386" v="11758" actId="20577"/>
          <ac:spMkLst>
            <pc:docMk/>
            <pc:sldMk cId="529677055" sldId="1881839197"/>
            <ac:spMk id="50" creationId="{7BD078DB-7606-CF5F-DB4A-BE5C7E7386CE}"/>
          </ac:spMkLst>
        </pc:spChg>
        <pc:grpChg chg="mod">
          <ac:chgData name="Anara Samambayeva" userId="40372071-4642-4757-8ccf-dba3b5920c09" providerId="ADAL" clId="{6991BE2B-A3E7-4DB2-B967-3EF30E6FE166}" dt="2025-07-01T11:59:05.657" v="12052" actId="207"/>
          <ac:grpSpMkLst>
            <pc:docMk/>
            <pc:sldMk cId="529677055" sldId="1881839197"/>
            <ac:grpSpMk id="15" creationId="{2DC0F0F7-6E3A-CB1E-A1A9-61DDF063044A}"/>
          </ac:grpSpMkLst>
        </pc:grpChg>
        <pc:graphicFrameChg chg="add del mod modGraphic">
          <ac:chgData name="Anara Samambayeva" userId="40372071-4642-4757-8ccf-dba3b5920c09" providerId="ADAL" clId="{6991BE2B-A3E7-4DB2-B967-3EF30E6FE166}" dt="2025-07-01T11:09:54.163" v="11158" actId="18245"/>
          <ac:graphicFrameMkLst>
            <pc:docMk/>
            <pc:sldMk cId="529677055" sldId="1881839197"/>
            <ac:graphicFrameMk id="4" creationId="{C4097056-4BBF-F813-5E00-E136D5423F90}"/>
          </ac:graphicFrameMkLst>
        </pc:graphicFrameChg>
        <pc:graphicFrameChg chg="add del mod modGraphic">
          <ac:chgData name="Anara Samambayeva" userId="40372071-4642-4757-8ccf-dba3b5920c09" providerId="ADAL" clId="{6991BE2B-A3E7-4DB2-B967-3EF30E6FE166}" dt="2025-07-01T11:09:42.581" v="11152" actId="1032"/>
          <ac:graphicFrameMkLst>
            <pc:docMk/>
            <pc:sldMk cId="529677055" sldId="1881839197"/>
            <ac:graphicFrameMk id="14" creationId="{9EEC28E2-3FA9-6E11-F6E4-F078DEFE1FF9}"/>
          </ac:graphicFrameMkLst>
        </pc:graphicFrameChg>
        <pc:graphicFrameChg chg="add mod modGraphic">
          <ac:chgData name="Anara Samambayeva" userId="40372071-4642-4757-8ccf-dba3b5920c09" providerId="ADAL" clId="{6991BE2B-A3E7-4DB2-B967-3EF30E6FE166}" dt="2025-07-01T11:58:46.573" v="12050" actId="1036"/>
          <ac:graphicFrameMkLst>
            <pc:docMk/>
            <pc:sldMk cId="529677055" sldId="1881839197"/>
            <ac:graphicFrameMk id="43" creationId="{44E8EAFC-A1FB-B3F0-793B-8A3664B6946A}"/>
          </ac:graphicFrameMkLst>
        </pc:graphicFrameChg>
        <pc:picChg chg="mod">
          <ac:chgData name="Anara Samambayeva" userId="40372071-4642-4757-8ccf-dba3b5920c09" providerId="ADAL" clId="{6991BE2B-A3E7-4DB2-B967-3EF30E6FE166}" dt="2025-07-01T11:04:25.090" v="11115" actId="14100"/>
          <ac:picMkLst>
            <pc:docMk/>
            <pc:sldMk cId="529677055" sldId="1881839197"/>
            <ac:picMk id="2" creationId="{DE23C2FA-A22D-5A2A-BF2D-14042C8CAD78}"/>
          </ac:picMkLst>
        </pc:picChg>
        <pc:picChg chg="mod">
          <ac:chgData name="Anara Samambayeva" userId="40372071-4642-4757-8ccf-dba3b5920c09" providerId="ADAL" clId="{6991BE2B-A3E7-4DB2-B967-3EF30E6FE166}" dt="2025-07-01T11:04:25.090" v="11115" actId="14100"/>
          <ac:picMkLst>
            <pc:docMk/>
            <pc:sldMk cId="529677055" sldId="1881839197"/>
            <ac:picMk id="3" creationId="{18A21A46-116D-3199-72B0-2B43338FDD71}"/>
          </ac:picMkLst>
        </pc:picChg>
        <pc:picChg chg="mod">
          <ac:chgData name="Anara Samambayeva" userId="40372071-4642-4757-8ccf-dba3b5920c09" providerId="ADAL" clId="{6991BE2B-A3E7-4DB2-B967-3EF30E6FE166}" dt="2025-07-01T11:04:25.090" v="11115" actId="14100"/>
          <ac:picMkLst>
            <pc:docMk/>
            <pc:sldMk cId="529677055" sldId="1881839197"/>
            <ac:picMk id="20" creationId="{280C98CC-9620-09DB-FED8-429381E67334}"/>
          </ac:picMkLst>
        </pc:picChg>
        <pc:picChg chg="mod">
          <ac:chgData name="Anara Samambayeva" userId="40372071-4642-4757-8ccf-dba3b5920c09" providerId="ADAL" clId="{6991BE2B-A3E7-4DB2-B967-3EF30E6FE166}" dt="2025-07-01T11:04:35.461" v="11117" actId="1076"/>
          <ac:picMkLst>
            <pc:docMk/>
            <pc:sldMk cId="529677055" sldId="1881839197"/>
            <ac:picMk id="28" creationId="{6113E127-8FC1-556C-A101-CFFEFF1F0317}"/>
          </ac:picMkLst>
        </pc:picChg>
        <pc:picChg chg="add del mod">
          <ac:chgData name="Anara Samambayeva" userId="40372071-4642-4757-8ccf-dba3b5920c09" providerId="ADAL" clId="{6991BE2B-A3E7-4DB2-B967-3EF30E6FE166}" dt="2025-07-01T11:20:38.242" v="11272" actId="478"/>
          <ac:picMkLst>
            <pc:docMk/>
            <pc:sldMk cId="529677055" sldId="1881839197"/>
            <ac:picMk id="44" creationId="{D2F1E448-7A26-F2D0-F7E8-2D118D161182}"/>
          </ac:picMkLst>
        </pc:picChg>
        <pc:picChg chg="add mod">
          <ac:chgData name="Anara Samambayeva" userId="40372071-4642-4757-8ccf-dba3b5920c09" providerId="ADAL" clId="{6991BE2B-A3E7-4DB2-B967-3EF30E6FE166}" dt="2025-07-01T11:58:46.573" v="12050" actId="1036"/>
          <ac:picMkLst>
            <pc:docMk/>
            <pc:sldMk cId="529677055" sldId="1881839197"/>
            <ac:picMk id="45" creationId="{02FF4E0B-18F1-0411-521D-3759D8758574}"/>
          </ac:picMkLst>
        </pc:picChg>
        <pc:picChg chg="add mod">
          <ac:chgData name="Anara Samambayeva" userId="40372071-4642-4757-8ccf-dba3b5920c09" providerId="ADAL" clId="{6991BE2B-A3E7-4DB2-B967-3EF30E6FE166}" dt="2025-07-01T11:58:46.573" v="12050" actId="1036"/>
          <ac:picMkLst>
            <pc:docMk/>
            <pc:sldMk cId="529677055" sldId="1881839197"/>
            <ac:picMk id="46" creationId="{B92CF48A-6308-9CBB-C8A8-AF95972E25D2}"/>
          </ac:picMkLst>
        </pc:picChg>
        <pc:picChg chg="add mod">
          <ac:chgData name="Anara Samambayeva" userId="40372071-4642-4757-8ccf-dba3b5920c09" providerId="ADAL" clId="{6991BE2B-A3E7-4DB2-B967-3EF30E6FE166}" dt="2025-07-01T11:58:46.573" v="12050" actId="1036"/>
          <ac:picMkLst>
            <pc:docMk/>
            <pc:sldMk cId="529677055" sldId="1881839197"/>
            <ac:picMk id="47" creationId="{66071AED-9E41-5E70-4ABB-F4481BA7CEF5}"/>
          </ac:picMkLst>
        </pc:picChg>
        <pc:picChg chg="add mod">
          <ac:chgData name="Anara Samambayeva" userId="40372071-4642-4757-8ccf-dba3b5920c09" providerId="ADAL" clId="{6991BE2B-A3E7-4DB2-B967-3EF30E6FE166}" dt="2025-07-01T11:58:46.573" v="12050" actId="1036"/>
          <ac:picMkLst>
            <pc:docMk/>
            <pc:sldMk cId="529677055" sldId="1881839197"/>
            <ac:picMk id="48" creationId="{BA9B15C9-9FE8-0430-2A30-897093F6425B}"/>
          </ac:picMkLst>
        </pc:picChg>
        <pc:cxnChg chg="add mod">
          <ac:chgData name="Anara Samambayeva" userId="40372071-4642-4757-8ccf-dba3b5920c09" providerId="ADAL" clId="{6991BE2B-A3E7-4DB2-B967-3EF30E6FE166}" dt="2025-07-01T11:06:54.966" v="11132"/>
          <ac:cxnSpMkLst>
            <pc:docMk/>
            <pc:sldMk cId="529677055" sldId="1881839197"/>
            <ac:cxnSpMk id="7" creationId="{5D8C4A5D-22AD-0163-6F5C-58AFDDB888BD}"/>
          </ac:cxnSpMkLst>
        </pc:cxnChg>
        <pc:cxnChg chg="add mod">
          <ac:chgData name="Anara Samambayeva" userId="40372071-4642-4757-8ccf-dba3b5920c09" providerId="ADAL" clId="{6991BE2B-A3E7-4DB2-B967-3EF30E6FE166}" dt="2025-07-01T11:06:54.966" v="11132"/>
          <ac:cxnSpMkLst>
            <pc:docMk/>
            <pc:sldMk cId="529677055" sldId="1881839197"/>
            <ac:cxnSpMk id="10" creationId="{B30B7E79-2D1F-7493-EF93-255B2BE8FE24}"/>
          </ac:cxnSpMkLst>
        </pc:cxnChg>
        <pc:cxnChg chg="add mod">
          <ac:chgData name="Anara Samambayeva" userId="40372071-4642-4757-8ccf-dba3b5920c09" providerId="ADAL" clId="{6991BE2B-A3E7-4DB2-B967-3EF30E6FE166}" dt="2025-07-01T11:06:54.966" v="11132"/>
          <ac:cxnSpMkLst>
            <pc:docMk/>
            <pc:sldMk cId="529677055" sldId="1881839197"/>
            <ac:cxnSpMk id="11" creationId="{60919062-C034-B271-E001-9EB174EC64D2}"/>
          </ac:cxnSpMkLst>
        </pc:cxnChg>
        <pc:cxnChg chg="add del mod">
          <ac:chgData name="Anara Samambayeva" userId="40372071-4642-4757-8ccf-dba3b5920c09" providerId="ADAL" clId="{6991BE2B-A3E7-4DB2-B967-3EF30E6FE166}" dt="2025-07-01T11:13:57.127" v="11196" actId="478"/>
          <ac:cxnSpMkLst>
            <pc:docMk/>
            <pc:sldMk cId="529677055" sldId="1881839197"/>
            <ac:cxnSpMk id="38" creationId="{3CF465A1-28B7-3042-EAD0-9BABA27C5A6B}"/>
          </ac:cxnSpMkLst>
        </pc:cxnChg>
        <pc:cxnChg chg="add del mod">
          <ac:chgData name="Anara Samambayeva" userId="40372071-4642-4757-8ccf-dba3b5920c09" providerId="ADAL" clId="{6991BE2B-A3E7-4DB2-B967-3EF30E6FE166}" dt="2025-07-01T11:59:38.463" v="12054" actId="478"/>
          <ac:cxnSpMkLst>
            <pc:docMk/>
            <pc:sldMk cId="529677055" sldId="1881839197"/>
            <ac:cxnSpMk id="39" creationId="{487767E5-A81E-A609-ADA9-DB91641BBE41}"/>
          </ac:cxnSpMkLst>
        </pc:cxnChg>
        <pc:cxnChg chg="add mod">
          <ac:chgData name="Anara Samambayeva" userId="40372071-4642-4757-8ccf-dba3b5920c09" providerId="ADAL" clId="{6991BE2B-A3E7-4DB2-B967-3EF30E6FE166}" dt="2025-07-01T11:49:51.468" v="11725" actId="1036"/>
          <ac:cxnSpMkLst>
            <pc:docMk/>
            <pc:sldMk cId="529677055" sldId="1881839197"/>
            <ac:cxnSpMk id="41" creationId="{3A72E7E0-D92F-1157-6923-C87D42587C80}"/>
          </ac:cxnSpMkLst>
        </pc:cxnChg>
        <pc:cxnChg chg="add mod">
          <ac:chgData name="Anara Samambayeva" userId="40372071-4642-4757-8ccf-dba3b5920c09" providerId="ADAL" clId="{6991BE2B-A3E7-4DB2-B967-3EF30E6FE166}" dt="2025-07-01T11:49:51.468" v="11725" actId="1036"/>
          <ac:cxnSpMkLst>
            <pc:docMk/>
            <pc:sldMk cId="529677055" sldId="1881839197"/>
            <ac:cxnSpMk id="42" creationId="{4213FEAA-03C3-A1B8-11DF-7CC1764D15A2}"/>
          </ac:cxnSpMkLst>
        </pc:cxnChg>
        <pc:cxnChg chg="add mod">
          <ac:chgData name="Anara Samambayeva" userId="40372071-4642-4757-8ccf-dba3b5920c09" providerId="ADAL" clId="{6991BE2B-A3E7-4DB2-B967-3EF30E6FE166}" dt="2025-07-01T11:59:44.241" v="12056" actId="1076"/>
          <ac:cxnSpMkLst>
            <pc:docMk/>
            <pc:sldMk cId="529677055" sldId="1881839197"/>
            <ac:cxnSpMk id="51" creationId="{35FA3770-51DC-7C84-AE7B-E98A3A4C9CC4}"/>
          </ac:cxnSpMkLst>
        </pc:cxnChg>
      </pc:sldChg>
      <pc:sldChg chg="addSp modSp mod">
        <pc:chgData name="Anara Samambayeva" userId="40372071-4642-4757-8ccf-dba3b5920c09" providerId="ADAL" clId="{6991BE2B-A3E7-4DB2-B967-3EF30E6FE166}" dt="2025-07-01T03:36:48.362" v="2359" actId="20577"/>
        <pc:sldMkLst>
          <pc:docMk/>
          <pc:sldMk cId="1230013452" sldId="1881839202"/>
        </pc:sldMkLst>
        <pc:spChg chg="add mod">
          <ac:chgData name="Anara Samambayeva" userId="40372071-4642-4757-8ccf-dba3b5920c09" providerId="ADAL" clId="{6991BE2B-A3E7-4DB2-B967-3EF30E6FE166}" dt="2025-07-01T03:36:48.362" v="2359" actId="20577"/>
          <ac:spMkLst>
            <pc:docMk/>
            <pc:sldMk cId="1230013452" sldId="1881839202"/>
            <ac:spMk id="9" creationId="{815CF59D-F722-68C5-43A4-292729BCF1DB}"/>
          </ac:spMkLst>
        </pc:spChg>
      </pc:sldChg>
      <pc:sldChg chg="del">
        <pc:chgData name="Anara Samambayeva" userId="40372071-4642-4757-8ccf-dba3b5920c09" providerId="ADAL" clId="{6991BE2B-A3E7-4DB2-B967-3EF30E6FE166}" dt="2025-07-01T04:35:59.800" v="4878" actId="47"/>
        <pc:sldMkLst>
          <pc:docMk/>
          <pc:sldMk cId="2603973423" sldId="1881839203"/>
        </pc:sldMkLst>
      </pc:sldChg>
      <pc:sldChg chg="del">
        <pc:chgData name="Anara Samambayeva" userId="40372071-4642-4757-8ccf-dba3b5920c09" providerId="ADAL" clId="{6991BE2B-A3E7-4DB2-B967-3EF30E6FE166}" dt="2025-07-01T05:19:34.200" v="5743" actId="47"/>
        <pc:sldMkLst>
          <pc:docMk/>
          <pc:sldMk cId="4183451159" sldId="1881839204"/>
        </pc:sldMkLst>
      </pc:sldChg>
      <pc:sldChg chg="modSp del mod">
        <pc:chgData name="Anara Samambayeva" userId="40372071-4642-4757-8ccf-dba3b5920c09" providerId="ADAL" clId="{6991BE2B-A3E7-4DB2-B967-3EF30E6FE166}" dt="2025-07-01T05:23:06.473" v="5785" actId="47"/>
        <pc:sldMkLst>
          <pc:docMk/>
          <pc:sldMk cId="2311077836" sldId="1881839205"/>
        </pc:sldMkLst>
        <pc:spChg chg="mod">
          <ac:chgData name="Anara Samambayeva" userId="40372071-4642-4757-8ccf-dba3b5920c09" providerId="ADAL" clId="{6991BE2B-A3E7-4DB2-B967-3EF30E6FE166}" dt="2025-07-01T04:21:14.294" v="4739" actId="21"/>
          <ac:spMkLst>
            <pc:docMk/>
            <pc:sldMk cId="2311077836" sldId="1881839205"/>
            <ac:spMk id="2" creationId="{74423A31-EC39-C4EB-25F5-D86A1B118045}"/>
          </ac:spMkLst>
        </pc:spChg>
      </pc:sldChg>
      <pc:sldChg chg="new add del ord">
        <pc:chgData name="Anara Samambayeva" userId="40372071-4642-4757-8ccf-dba3b5920c09" providerId="ADAL" clId="{6991BE2B-A3E7-4DB2-B967-3EF30E6FE166}" dt="2025-07-01T07:04:21.482" v="8088" actId="47"/>
        <pc:sldMkLst>
          <pc:docMk/>
          <pc:sldMk cId="1166611422" sldId="1881839206"/>
        </pc:sldMkLst>
      </pc:sldChg>
      <pc:sldChg chg="new del">
        <pc:chgData name="Anara Samambayeva" userId="40372071-4642-4757-8ccf-dba3b5920c09" providerId="ADAL" clId="{6991BE2B-A3E7-4DB2-B967-3EF30E6FE166}" dt="2025-07-01T10:11:53.227" v="10692" actId="47"/>
        <pc:sldMkLst>
          <pc:docMk/>
          <pc:sldMk cId="2005298751" sldId="1881839207"/>
        </pc:sldMkLst>
      </pc:sldChg>
      <pc:sldChg chg="new del mod modShow">
        <pc:chgData name="Anara Samambayeva" userId="40372071-4642-4757-8ccf-dba3b5920c09" providerId="ADAL" clId="{6991BE2B-A3E7-4DB2-B967-3EF30E6FE166}" dt="2025-07-01T10:18:20.517" v="10705" actId="2696"/>
        <pc:sldMkLst>
          <pc:docMk/>
          <pc:sldMk cId="721770319" sldId="1881839208"/>
        </pc:sldMkLst>
      </pc:sldChg>
      <pc:sldChg chg="add del">
        <pc:chgData name="Anara Samambayeva" userId="40372071-4642-4757-8ccf-dba3b5920c09" providerId="ADAL" clId="{6991BE2B-A3E7-4DB2-B967-3EF30E6FE166}" dt="2025-07-01T10:18:48.027" v="10711" actId="47"/>
        <pc:sldMkLst>
          <pc:docMk/>
          <pc:sldMk cId="2888516403" sldId="1881839208"/>
        </pc:sldMkLst>
      </pc:sldChg>
      <pc:sldChg chg="add del">
        <pc:chgData name="Anara Samambayeva" userId="40372071-4642-4757-8ccf-dba3b5920c09" providerId="ADAL" clId="{6991BE2B-A3E7-4DB2-B967-3EF30E6FE166}" dt="2025-07-01T03:38:01.143" v="2361"/>
        <pc:sldMkLst>
          <pc:docMk/>
          <pc:sldMk cId="3199567108" sldId="1881839209"/>
        </pc:sldMkLst>
      </pc:sldChg>
      <pc:sldChg chg="addSp modSp new del mod ord">
        <pc:chgData name="Anara Samambayeva" userId="40372071-4642-4757-8ccf-dba3b5920c09" providerId="ADAL" clId="{6991BE2B-A3E7-4DB2-B967-3EF30E6FE166}" dt="2025-07-01T03:56:40.907" v="4473" actId="47"/>
        <pc:sldMkLst>
          <pc:docMk/>
          <pc:sldMk cId="3241173387" sldId="1881839209"/>
        </pc:sldMkLst>
        <pc:spChg chg="mod">
          <ac:chgData name="Anara Samambayeva" userId="40372071-4642-4757-8ccf-dba3b5920c09" providerId="ADAL" clId="{6991BE2B-A3E7-4DB2-B967-3EF30E6FE166}" dt="2025-07-01T03:42:29.321" v="2794" actId="20577"/>
          <ac:spMkLst>
            <pc:docMk/>
            <pc:sldMk cId="3241173387" sldId="1881839209"/>
            <ac:spMk id="2" creationId="{9BAEE992-9CA7-A2E5-C362-1408BDAEA905}"/>
          </ac:spMkLst>
        </pc:spChg>
        <pc:spChg chg="add mod">
          <ac:chgData name="Anara Samambayeva" userId="40372071-4642-4757-8ccf-dba3b5920c09" providerId="ADAL" clId="{6991BE2B-A3E7-4DB2-B967-3EF30E6FE166}" dt="2025-07-01T03:43:13.429" v="2796"/>
          <ac:spMkLst>
            <pc:docMk/>
            <pc:sldMk cId="3241173387" sldId="1881839209"/>
            <ac:spMk id="6" creationId="{47E52B10-462A-12CF-FC47-2DA3CB259C26}"/>
          </ac:spMkLst>
        </pc:spChg>
        <pc:spChg chg="add mod">
          <ac:chgData name="Anara Samambayeva" userId="40372071-4642-4757-8ccf-dba3b5920c09" providerId="ADAL" clId="{6991BE2B-A3E7-4DB2-B967-3EF30E6FE166}" dt="2025-07-01T03:42:10.911" v="2754"/>
          <ac:spMkLst>
            <pc:docMk/>
            <pc:sldMk cId="3241173387" sldId="1881839209"/>
            <ac:spMk id="7" creationId="{ED1EAC45-9BFD-6D66-CF07-9D1E545BC7BC}"/>
          </ac:spMkLst>
        </pc:spChg>
        <pc:spChg chg="add mod">
          <ac:chgData name="Anara Samambayeva" userId="40372071-4642-4757-8ccf-dba3b5920c09" providerId="ADAL" clId="{6991BE2B-A3E7-4DB2-B967-3EF30E6FE166}" dt="2025-07-01T03:42:10.911" v="2754"/>
          <ac:spMkLst>
            <pc:docMk/>
            <pc:sldMk cId="3241173387" sldId="1881839209"/>
            <ac:spMk id="8" creationId="{C56067E7-A69F-60EC-EBC4-1D55DF45C059}"/>
          </ac:spMkLst>
        </pc:spChg>
        <pc:spChg chg="add mod">
          <ac:chgData name="Anara Samambayeva" userId="40372071-4642-4757-8ccf-dba3b5920c09" providerId="ADAL" clId="{6991BE2B-A3E7-4DB2-B967-3EF30E6FE166}" dt="2025-07-01T03:42:10.911" v="2754"/>
          <ac:spMkLst>
            <pc:docMk/>
            <pc:sldMk cId="3241173387" sldId="1881839209"/>
            <ac:spMk id="9" creationId="{2C57EB8C-F2B2-B2DF-D7D4-6C0193656D67}"/>
          </ac:spMkLst>
        </pc:spChg>
        <pc:spChg chg="add mod">
          <ac:chgData name="Anara Samambayeva" userId="40372071-4642-4757-8ccf-dba3b5920c09" providerId="ADAL" clId="{6991BE2B-A3E7-4DB2-B967-3EF30E6FE166}" dt="2025-07-01T03:42:10.911" v="2754"/>
          <ac:spMkLst>
            <pc:docMk/>
            <pc:sldMk cId="3241173387" sldId="1881839209"/>
            <ac:spMk id="10" creationId="{B08D80CA-9F44-F99A-72FB-697AA113F245}"/>
          </ac:spMkLst>
        </pc:spChg>
        <pc:spChg chg="add mod">
          <ac:chgData name="Anara Samambayeva" userId="40372071-4642-4757-8ccf-dba3b5920c09" providerId="ADAL" clId="{6991BE2B-A3E7-4DB2-B967-3EF30E6FE166}" dt="2025-07-01T03:42:10.911" v="2754"/>
          <ac:spMkLst>
            <pc:docMk/>
            <pc:sldMk cId="3241173387" sldId="1881839209"/>
            <ac:spMk id="11" creationId="{35CA6D75-4499-D477-5F13-73C038F477F2}"/>
          </ac:spMkLst>
        </pc:spChg>
        <pc:spChg chg="add mod">
          <ac:chgData name="Anara Samambayeva" userId="40372071-4642-4757-8ccf-dba3b5920c09" providerId="ADAL" clId="{6991BE2B-A3E7-4DB2-B967-3EF30E6FE166}" dt="2025-07-01T03:42:10.911" v="2754"/>
          <ac:spMkLst>
            <pc:docMk/>
            <pc:sldMk cId="3241173387" sldId="1881839209"/>
            <ac:spMk id="12" creationId="{2E11457D-E7AF-75E6-43E0-2FFEBABC749A}"/>
          </ac:spMkLst>
        </pc:spChg>
        <pc:spChg chg="add mod">
          <ac:chgData name="Anara Samambayeva" userId="40372071-4642-4757-8ccf-dba3b5920c09" providerId="ADAL" clId="{6991BE2B-A3E7-4DB2-B967-3EF30E6FE166}" dt="2025-07-01T03:42:10.911" v="2754"/>
          <ac:spMkLst>
            <pc:docMk/>
            <pc:sldMk cId="3241173387" sldId="1881839209"/>
            <ac:spMk id="13" creationId="{B9E924A8-7D2E-E74C-59CE-C225C8C91F3F}"/>
          </ac:spMkLst>
        </pc:spChg>
        <pc:spChg chg="add mod">
          <ac:chgData name="Anara Samambayeva" userId="40372071-4642-4757-8ccf-dba3b5920c09" providerId="ADAL" clId="{6991BE2B-A3E7-4DB2-B967-3EF30E6FE166}" dt="2025-07-01T03:42:10.911" v="2754"/>
          <ac:spMkLst>
            <pc:docMk/>
            <pc:sldMk cId="3241173387" sldId="1881839209"/>
            <ac:spMk id="14" creationId="{941B5454-054E-8A6A-02C8-E85792FFFB3C}"/>
          </ac:spMkLst>
        </pc:spChg>
        <pc:spChg chg="add mod">
          <ac:chgData name="Anara Samambayeva" userId="40372071-4642-4757-8ccf-dba3b5920c09" providerId="ADAL" clId="{6991BE2B-A3E7-4DB2-B967-3EF30E6FE166}" dt="2025-07-01T03:42:10.911" v="2754"/>
          <ac:spMkLst>
            <pc:docMk/>
            <pc:sldMk cId="3241173387" sldId="1881839209"/>
            <ac:spMk id="15" creationId="{E10766B5-687A-BEAB-D528-9DA3C0415C9E}"/>
          </ac:spMkLst>
        </pc:spChg>
      </pc:sldChg>
      <pc:sldChg chg="addSp modSp add del mod">
        <pc:chgData name="Anara Samambayeva" userId="40372071-4642-4757-8ccf-dba3b5920c09" providerId="ADAL" clId="{6991BE2B-A3E7-4DB2-B967-3EF30E6FE166}" dt="2025-07-01T03:56:41.412" v="4474" actId="47"/>
        <pc:sldMkLst>
          <pc:docMk/>
          <pc:sldMk cId="685986113" sldId="1881839210"/>
        </pc:sldMkLst>
        <pc:spChg chg="mod">
          <ac:chgData name="Anara Samambayeva" userId="40372071-4642-4757-8ccf-dba3b5920c09" providerId="ADAL" clId="{6991BE2B-A3E7-4DB2-B967-3EF30E6FE166}" dt="2025-07-01T03:43:56.230" v="2798"/>
          <ac:spMkLst>
            <pc:docMk/>
            <pc:sldMk cId="685986113" sldId="1881839210"/>
            <ac:spMk id="7" creationId="{3C94B095-87FB-04E0-EB3A-57306F5F7162}"/>
          </ac:spMkLst>
        </pc:spChg>
        <pc:spChg chg="mod">
          <ac:chgData name="Anara Samambayeva" userId="40372071-4642-4757-8ccf-dba3b5920c09" providerId="ADAL" clId="{6991BE2B-A3E7-4DB2-B967-3EF30E6FE166}" dt="2025-07-01T03:43:56.230" v="2798"/>
          <ac:spMkLst>
            <pc:docMk/>
            <pc:sldMk cId="685986113" sldId="1881839210"/>
            <ac:spMk id="8" creationId="{1977AEBB-FEE0-F49E-EF24-58E50EFFEA97}"/>
          </ac:spMkLst>
        </pc:spChg>
        <pc:spChg chg="mod">
          <ac:chgData name="Anara Samambayeva" userId="40372071-4642-4757-8ccf-dba3b5920c09" providerId="ADAL" clId="{6991BE2B-A3E7-4DB2-B967-3EF30E6FE166}" dt="2025-07-01T03:43:56.233" v="2799"/>
          <ac:spMkLst>
            <pc:docMk/>
            <pc:sldMk cId="685986113" sldId="1881839210"/>
            <ac:spMk id="10" creationId="{B6CB6140-0143-D138-427B-63D2DAA8A7F2}"/>
          </ac:spMkLst>
        </pc:spChg>
        <pc:spChg chg="mod">
          <ac:chgData name="Anara Samambayeva" userId="40372071-4642-4757-8ccf-dba3b5920c09" providerId="ADAL" clId="{6991BE2B-A3E7-4DB2-B967-3EF30E6FE166}" dt="2025-07-01T03:43:56.233" v="2799"/>
          <ac:spMkLst>
            <pc:docMk/>
            <pc:sldMk cId="685986113" sldId="1881839210"/>
            <ac:spMk id="11" creationId="{636AFFAC-78C9-18EE-4A16-D9ECC89B33D5}"/>
          </ac:spMkLst>
        </pc:spChg>
        <pc:spChg chg="mod">
          <ac:chgData name="Anara Samambayeva" userId="40372071-4642-4757-8ccf-dba3b5920c09" providerId="ADAL" clId="{6991BE2B-A3E7-4DB2-B967-3EF30E6FE166}" dt="2025-07-01T03:43:56.233" v="2800"/>
          <ac:spMkLst>
            <pc:docMk/>
            <pc:sldMk cId="685986113" sldId="1881839210"/>
            <ac:spMk id="13" creationId="{9791D8DE-E333-8D4F-3806-7FDF5C6445D5}"/>
          </ac:spMkLst>
        </pc:spChg>
        <pc:spChg chg="mod">
          <ac:chgData name="Anara Samambayeva" userId="40372071-4642-4757-8ccf-dba3b5920c09" providerId="ADAL" clId="{6991BE2B-A3E7-4DB2-B967-3EF30E6FE166}" dt="2025-07-01T03:43:56.233" v="2800"/>
          <ac:spMkLst>
            <pc:docMk/>
            <pc:sldMk cId="685986113" sldId="1881839210"/>
            <ac:spMk id="14" creationId="{9162E7AC-2304-B9CD-0F8F-5D298FCED561}"/>
          </ac:spMkLst>
        </pc:spChg>
        <pc:spChg chg="add mod">
          <ac:chgData name="Anara Samambayeva" userId="40372071-4642-4757-8ccf-dba3b5920c09" providerId="ADAL" clId="{6991BE2B-A3E7-4DB2-B967-3EF30E6FE166}" dt="2025-07-01T03:43:56.278" v="2822" actId="14"/>
          <ac:spMkLst>
            <pc:docMk/>
            <pc:sldMk cId="685986113" sldId="1881839210"/>
            <ac:spMk id="15" creationId="{DC2A22AB-9508-D6A4-5C51-28362B0205AF}"/>
          </ac:spMkLst>
        </pc:spChg>
        <pc:spChg chg="add mod">
          <ac:chgData name="Anara Samambayeva" userId="40372071-4642-4757-8ccf-dba3b5920c09" providerId="ADAL" clId="{6991BE2B-A3E7-4DB2-B967-3EF30E6FE166}" dt="2025-07-01T03:43:56.293" v="2842" actId="14"/>
          <ac:spMkLst>
            <pc:docMk/>
            <pc:sldMk cId="685986113" sldId="1881839210"/>
            <ac:spMk id="16" creationId="{14CC35E6-72A8-0617-69BF-60791A9F5460}"/>
          </ac:spMkLst>
        </pc:spChg>
        <pc:spChg chg="add mod">
          <ac:chgData name="Anara Samambayeva" userId="40372071-4642-4757-8ccf-dba3b5920c09" providerId="ADAL" clId="{6991BE2B-A3E7-4DB2-B967-3EF30E6FE166}" dt="2025-07-01T03:43:56.333" v="2862" actId="14"/>
          <ac:spMkLst>
            <pc:docMk/>
            <pc:sldMk cId="685986113" sldId="1881839210"/>
            <ac:spMk id="17" creationId="{E1DE36F0-56C8-8581-FA2D-5B9F9F73AB9B}"/>
          </ac:spMkLst>
        </pc:spChg>
        <pc:spChg chg="add mod">
          <ac:chgData name="Anara Samambayeva" userId="40372071-4642-4757-8ccf-dba3b5920c09" providerId="ADAL" clId="{6991BE2B-A3E7-4DB2-B967-3EF30E6FE166}" dt="2025-07-01T03:43:56.356" v="2882" actId="14"/>
          <ac:spMkLst>
            <pc:docMk/>
            <pc:sldMk cId="685986113" sldId="1881839210"/>
            <ac:spMk id="18" creationId="{68CC1ADD-2D27-BD68-8639-78037C654BD5}"/>
          </ac:spMkLst>
        </pc:spChg>
        <pc:grpChg chg="add mod">
          <ac:chgData name="Anara Samambayeva" userId="40372071-4642-4757-8ccf-dba3b5920c09" providerId="ADAL" clId="{6991BE2B-A3E7-4DB2-B967-3EF30E6FE166}" dt="2025-07-01T03:43:56.230" v="2798"/>
          <ac:grpSpMkLst>
            <pc:docMk/>
            <pc:sldMk cId="685986113" sldId="1881839210"/>
            <ac:grpSpMk id="6" creationId="{E23C0757-5CFB-95A6-2673-2822694320D5}"/>
          </ac:grpSpMkLst>
        </pc:grpChg>
        <pc:grpChg chg="add mod">
          <ac:chgData name="Anara Samambayeva" userId="40372071-4642-4757-8ccf-dba3b5920c09" providerId="ADAL" clId="{6991BE2B-A3E7-4DB2-B967-3EF30E6FE166}" dt="2025-07-01T03:43:56.233" v="2799"/>
          <ac:grpSpMkLst>
            <pc:docMk/>
            <pc:sldMk cId="685986113" sldId="1881839210"/>
            <ac:grpSpMk id="9" creationId="{F0738527-FFF2-BD91-771A-7200D3515FB5}"/>
          </ac:grpSpMkLst>
        </pc:grpChg>
        <pc:grpChg chg="add mod">
          <ac:chgData name="Anara Samambayeva" userId="40372071-4642-4757-8ccf-dba3b5920c09" providerId="ADAL" clId="{6991BE2B-A3E7-4DB2-B967-3EF30E6FE166}" dt="2025-07-01T03:43:56.233" v="2800"/>
          <ac:grpSpMkLst>
            <pc:docMk/>
            <pc:sldMk cId="685986113" sldId="1881839210"/>
            <ac:grpSpMk id="12" creationId="{5696E477-BEA2-161C-1AC1-7DA5470B5064}"/>
          </ac:grpSpMkLst>
        </pc:grpChg>
      </pc:sldChg>
      <pc:sldChg chg="addSp modSp add del mod">
        <pc:chgData name="Anara Samambayeva" userId="40372071-4642-4757-8ccf-dba3b5920c09" providerId="ADAL" clId="{6991BE2B-A3E7-4DB2-B967-3EF30E6FE166}" dt="2025-07-01T03:42:32.885" v="2795" actId="47"/>
        <pc:sldMkLst>
          <pc:docMk/>
          <pc:sldMk cId="1684787017" sldId="1881839210"/>
        </pc:sldMkLst>
        <pc:spChg chg="add mod">
          <ac:chgData name="Anara Samambayeva" userId="40372071-4642-4757-8ccf-dba3b5920c09" providerId="ADAL" clId="{6991BE2B-A3E7-4DB2-B967-3EF30E6FE166}" dt="2025-07-01T03:41:58.655" v="2457" actId="14"/>
          <ac:spMkLst>
            <pc:docMk/>
            <pc:sldMk cId="1684787017" sldId="1881839210"/>
            <ac:spMk id="6" creationId="{F77157A5-92C6-1EFE-0C03-D2E61F89FCD7}"/>
          </ac:spMkLst>
        </pc:spChg>
        <pc:spChg chg="add mod">
          <ac:chgData name="Anara Samambayeva" userId="40372071-4642-4757-8ccf-dba3b5920c09" providerId="ADAL" clId="{6991BE2B-A3E7-4DB2-B967-3EF30E6FE166}" dt="2025-07-01T03:41:58.686" v="2477" actId="14"/>
          <ac:spMkLst>
            <pc:docMk/>
            <pc:sldMk cId="1684787017" sldId="1881839210"/>
            <ac:spMk id="7" creationId="{3CB6A301-8522-D1C4-57F1-2252EB1A154B}"/>
          </ac:spMkLst>
        </pc:spChg>
        <pc:spChg chg="add mod">
          <ac:chgData name="Anara Samambayeva" userId="40372071-4642-4757-8ccf-dba3b5920c09" providerId="ADAL" clId="{6991BE2B-A3E7-4DB2-B967-3EF30E6FE166}" dt="2025-07-01T03:41:58.765" v="2521" actId="14"/>
          <ac:spMkLst>
            <pc:docMk/>
            <pc:sldMk cId="1684787017" sldId="1881839210"/>
            <ac:spMk id="8" creationId="{62E5B7AB-4392-5353-94BF-2A38185A9D54}"/>
          </ac:spMkLst>
        </pc:spChg>
        <pc:spChg chg="add mod">
          <ac:chgData name="Anara Samambayeva" userId="40372071-4642-4757-8ccf-dba3b5920c09" providerId="ADAL" clId="{6991BE2B-A3E7-4DB2-B967-3EF30E6FE166}" dt="2025-07-01T03:41:58.796" v="2541" actId="14"/>
          <ac:spMkLst>
            <pc:docMk/>
            <pc:sldMk cId="1684787017" sldId="1881839210"/>
            <ac:spMk id="9" creationId="{41B89E09-BD89-0C9D-1570-EB7F9D582C41}"/>
          </ac:spMkLst>
        </pc:spChg>
        <pc:spChg chg="add mod">
          <ac:chgData name="Anara Samambayeva" userId="40372071-4642-4757-8ccf-dba3b5920c09" providerId="ADAL" clId="{6991BE2B-A3E7-4DB2-B967-3EF30E6FE166}" dt="2025-07-01T03:41:58.874" v="2585" actId="14"/>
          <ac:spMkLst>
            <pc:docMk/>
            <pc:sldMk cId="1684787017" sldId="1881839210"/>
            <ac:spMk id="10" creationId="{CD50C914-6712-792C-83A9-FF09943C88B3}"/>
          </ac:spMkLst>
        </pc:spChg>
        <pc:spChg chg="add mod">
          <ac:chgData name="Anara Samambayeva" userId="40372071-4642-4757-8ccf-dba3b5920c09" providerId="ADAL" clId="{6991BE2B-A3E7-4DB2-B967-3EF30E6FE166}" dt="2025-07-01T03:41:58.894" v="2605" actId="14"/>
          <ac:spMkLst>
            <pc:docMk/>
            <pc:sldMk cId="1684787017" sldId="1881839210"/>
            <ac:spMk id="11" creationId="{3B8C20F0-05A3-7C71-A426-07EBA9B6C331}"/>
          </ac:spMkLst>
        </pc:spChg>
        <pc:spChg chg="add mod">
          <ac:chgData name="Anara Samambayeva" userId="40372071-4642-4757-8ccf-dba3b5920c09" providerId="ADAL" clId="{6991BE2B-A3E7-4DB2-B967-3EF30E6FE166}" dt="2025-07-01T03:41:58.968" v="2649" actId="14"/>
          <ac:spMkLst>
            <pc:docMk/>
            <pc:sldMk cId="1684787017" sldId="1881839210"/>
            <ac:spMk id="12" creationId="{1C5D6AB5-8DD4-7964-26C6-C3ADEA1A623C}"/>
          </ac:spMkLst>
        </pc:spChg>
        <pc:spChg chg="add mod">
          <ac:chgData name="Anara Samambayeva" userId="40372071-4642-4757-8ccf-dba3b5920c09" providerId="ADAL" clId="{6991BE2B-A3E7-4DB2-B967-3EF30E6FE166}" dt="2025-07-01T03:41:59.047" v="2693" actId="14"/>
          <ac:spMkLst>
            <pc:docMk/>
            <pc:sldMk cId="1684787017" sldId="1881839210"/>
            <ac:spMk id="13" creationId="{DCE8E99C-F839-8E37-20EC-CD79AAB0CE38}"/>
          </ac:spMkLst>
        </pc:spChg>
        <pc:spChg chg="add mod">
          <ac:chgData name="Anara Samambayeva" userId="40372071-4642-4757-8ccf-dba3b5920c09" providerId="ADAL" clId="{6991BE2B-A3E7-4DB2-B967-3EF30E6FE166}" dt="2025-07-01T03:41:59.078" v="2713" actId="14"/>
          <ac:spMkLst>
            <pc:docMk/>
            <pc:sldMk cId="1684787017" sldId="1881839210"/>
            <ac:spMk id="14" creationId="{EA3373F6-32A1-54A5-26F1-FECCD2E58223}"/>
          </ac:spMkLst>
        </pc:spChg>
        <pc:spChg chg="add mod">
          <ac:chgData name="Anara Samambayeva" userId="40372071-4642-4757-8ccf-dba3b5920c09" providerId="ADAL" clId="{6991BE2B-A3E7-4DB2-B967-3EF30E6FE166}" dt="2025-07-01T03:41:59.110" v="2733" actId="14"/>
          <ac:spMkLst>
            <pc:docMk/>
            <pc:sldMk cId="1684787017" sldId="1881839210"/>
            <ac:spMk id="15" creationId="{015FEF36-A193-1462-C322-07B713D2D436}"/>
          </ac:spMkLst>
        </pc:spChg>
        <pc:spChg chg="add mod">
          <ac:chgData name="Anara Samambayeva" userId="40372071-4642-4757-8ccf-dba3b5920c09" providerId="ADAL" clId="{6991BE2B-A3E7-4DB2-B967-3EF30E6FE166}" dt="2025-07-01T03:41:59.126" v="2753" actId="14"/>
          <ac:spMkLst>
            <pc:docMk/>
            <pc:sldMk cId="1684787017" sldId="1881839210"/>
            <ac:spMk id="16" creationId="{5D919E30-B56D-A251-E562-86228F648E59}"/>
          </ac:spMkLst>
        </pc:spChg>
      </pc:sldChg>
      <pc:sldChg chg="addSp modSp add del mod">
        <pc:chgData name="Anara Samambayeva" userId="40372071-4642-4757-8ccf-dba3b5920c09" providerId="ADAL" clId="{6991BE2B-A3E7-4DB2-B967-3EF30E6FE166}" dt="2025-07-01T03:56:41.869" v="4475" actId="47"/>
        <pc:sldMkLst>
          <pc:docMk/>
          <pc:sldMk cId="980404419" sldId="1881839211"/>
        </pc:sldMkLst>
        <pc:spChg chg="add mod">
          <ac:chgData name="Anara Samambayeva" userId="40372071-4642-4757-8ccf-dba3b5920c09" providerId="ADAL" clId="{6991BE2B-A3E7-4DB2-B967-3EF30E6FE166}" dt="2025-07-01T03:44:07.690" v="2905" actId="14"/>
          <ac:spMkLst>
            <pc:docMk/>
            <pc:sldMk cId="980404419" sldId="1881839211"/>
            <ac:spMk id="6" creationId="{5A4A5E40-7D20-EC0F-8BB2-297FFF640036}"/>
          </ac:spMkLst>
        </pc:spChg>
        <pc:spChg chg="add mod">
          <ac:chgData name="Anara Samambayeva" userId="40372071-4642-4757-8ccf-dba3b5920c09" providerId="ADAL" clId="{6991BE2B-A3E7-4DB2-B967-3EF30E6FE166}" dt="2025-07-01T03:44:07.772" v="2949" actId="14"/>
          <ac:spMkLst>
            <pc:docMk/>
            <pc:sldMk cId="980404419" sldId="1881839211"/>
            <ac:spMk id="7" creationId="{A4B6D8A2-EF43-05A8-9593-00DE62014136}"/>
          </ac:spMkLst>
        </pc:spChg>
        <pc:spChg chg="add mod">
          <ac:chgData name="Anara Samambayeva" userId="40372071-4642-4757-8ccf-dba3b5920c09" providerId="ADAL" clId="{6991BE2B-A3E7-4DB2-B967-3EF30E6FE166}" dt="2025-07-01T03:44:07.800" v="2969" actId="14"/>
          <ac:spMkLst>
            <pc:docMk/>
            <pc:sldMk cId="980404419" sldId="1881839211"/>
            <ac:spMk id="8" creationId="{45FF79ED-09F1-7971-F83A-2BC78E1227F6}"/>
          </ac:spMkLst>
        </pc:spChg>
        <pc:spChg chg="add mod">
          <ac:chgData name="Anara Samambayeva" userId="40372071-4642-4757-8ccf-dba3b5920c09" providerId="ADAL" clId="{6991BE2B-A3E7-4DB2-B967-3EF30E6FE166}" dt="2025-07-01T03:44:07.894" v="3013" actId="14"/>
          <ac:spMkLst>
            <pc:docMk/>
            <pc:sldMk cId="980404419" sldId="1881839211"/>
            <ac:spMk id="9" creationId="{CA034392-75BD-637C-D229-6762FB29CFCD}"/>
          </ac:spMkLst>
        </pc:spChg>
        <pc:spChg chg="add mod">
          <ac:chgData name="Anara Samambayeva" userId="40372071-4642-4757-8ccf-dba3b5920c09" providerId="ADAL" clId="{6991BE2B-A3E7-4DB2-B967-3EF30E6FE166}" dt="2025-07-01T03:44:07.925" v="3033" actId="14"/>
          <ac:spMkLst>
            <pc:docMk/>
            <pc:sldMk cId="980404419" sldId="1881839211"/>
            <ac:spMk id="10" creationId="{A436928D-9266-D7D4-0FF4-9C97D5BFEE30}"/>
          </ac:spMkLst>
        </pc:spChg>
        <pc:spChg chg="add mod">
          <ac:chgData name="Anara Samambayeva" userId="40372071-4642-4757-8ccf-dba3b5920c09" providerId="ADAL" clId="{6991BE2B-A3E7-4DB2-B967-3EF30E6FE166}" dt="2025-07-01T03:44:07.988" v="3077" actId="14"/>
          <ac:spMkLst>
            <pc:docMk/>
            <pc:sldMk cId="980404419" sldId="1881839211"/>
            <ac:spMk id="11" creationId="{18B0A63B-EF28-5ABD-DB64-0A20C8C9678D}"/>
          </ac:spMkLst>
        </pc:spChg>
        <pc:spChg chg="add mod">
          <ac:chgData name="Anara Samambayeva" userId="40372071-4642-4757-8ccf-dba3b5920c09" providerId="ADAL" clId="{6991BE2B-A3E7-4DB2-B967-3EF30E6FE166}" dt="2025-07-01T03:44:08.019" v="3097" actId="14"/>
          <ac:spMkLst>
            <pc:docMk/>
            <pc:sldMk cId="980404419" sldId="1881839211"/>
            <ac:spMk id="12" creationId="{265BFB15-04B2-A8B0-7488-E4E2EFD54954}"/>
          </ac:spMkLst>
        </pc:spChg>
        <pc:spChg chg="add mod">
          <ac:chgData name="Anara Samambayeva" userId="40372071-4642-4757-8ccf-dba3b5920c09" providerId="ADAL" clId="{6991BE2B-A3E7-4DB2-B967-3EF30E6FE166}" dt="2025-07-01T03:44:08.097" v="3141" actId="14"/>
          <ac:spMkLst>
            <pc:docMk/>
            <pc:sldMk cId="980404419" sldId="1881839211"/>
            <ac:spMk id="13" creationId="{D01B41BB-B6BB-522F-A102-C8A4B18C3650}"/>
          </ac:spMkLst>
        </pc:spChg>
        <pc:spChg chg="add mod">
          <ac:chgData name="Anara Samambayeva" userId="40372071-4642-4757-8ccf-dba3b5920c09" providerId="ADAL" clId="{6991BE2B-A3E7-4DB2-B967-3EF30E6FE166}" dt="2025-07-01T03:44:08.113" v="3161" actId="14"/>
          <ac:spMkLst>
            <pc:docMk/>
            <pc:sldMk cId="980404419" sldId="1881839211"/>
            <ac:spMk id="14" creationId="{EC0A8D3B-026C-559E-A00D-DCF29CC832ED}"/>
          </ac:spMkLst>
        </pc:spChg>
        <pc:spChg chg="add mod">
          <ac:chgData name="Anara Samambayeva" userId="40372071-4642-4757-8ccf-dba3b5920c09" providerId="ADAL" clId="{6991BE2B-A3E7-4DB2-B967-3EF30E6FE166}" dt="2025-07-01T03:44:08.129" v="3169" actId="948"/>
          <ac:spMkLst>
            <pc:docMk/>
            <pc:sldMk cId="980404419" sldId="1881839211"/>
            <ac:spMk id="15" creationId="{66A9557E-2A60-ADAE-F321-BD0B8F8A1F26}"/>
          </ac:spMkLst>
        </pc:spChg>
        <pc:spChg chg="add mod">
          <ac:chgData name="Anara Samambayeva" userId="40372071-4642-4757-8ccf-dba3b5920c09" providerId="ADAL" clId="{6991BE2B-A3E7-4DB2-B967-3EF30E6FE166}" dt="2025-07-01T03:44:08.144" v="3177" actId="948"/>
          <ac:spMkLst>
            <pc:docMk/>
            <pc:sldMk cId="980404419" sldId="1881839211"/>
            <ac:spMk id="16" creationId="{FA13F4F1-4772-7600-216E-D8E77B5C77B1}"/>
          </ac:spMkLst>
        </pc:spChg>
        <pc:spChg chg="add mod">
          <ac:chgData name="Anara Samambayeva" userId="40372071-4642-4757-8ccf-dba3b5920c09" providerId="ADAL" clId="{6991BE2B-A3E7-4DB2-B967-3EF30E6FE166}" dt="2025-07-01T03:44:08.160" v="3185" actId="948"/>
          <ac:spMkLst>
            <pc:docMk/>
            <pc:sldMk cId="980404419" sldId="1881839211"/>
            <ac:spMk id="17" creationId="{7E22C5A5-76C2-4B4D-463C-D39DE2753B50}"/>
          </ac:spMkLst>
        </pc:spChg>
        <pc:spChg chg="add mod">
          <ac:chgData name="Anara Samambayeva" userId="40372071-4642-4757-8ccf-dba3b5920c09" providerId="ADAL" clId="{6991BE2B-A3E7-4DB2-B967-3EF30E6FE166}" dt="2025-07-01T03:44:08.172" v="3193" actId="948"/>
          <ac:spMkLst>
            <pc:docMk/>
            <pc:sldMk cId="980404419" sldId="1881839211"/>
            <ac:spMk id="18" creationId="{8A73743A-5F38-39F7-98BE-1526C15DF2A4}"/>
          </ac:spMkLst>
        </pc:spChg>
      </pc:sldChg>
      <pc:sldChg chg="addSp modSp add del mod">
        <pc:chgData name="Anara Samambayeva" userId="40372071-4642-4757-8ccf-dba3b5920c09" providerId="ADAL" clId="{6991BE2B-A3E7-4DB2-B967-3EF30E6FE166}" dt="2025-07-01T03:56:42.375" v="4476" actId="47"/>
        <pc:sldMkLst>
          <pc:docMk/>
          <pc:sldMk cId="2355483063" sldId="1881839212"/>
        </pc:sldMkLst>
        <pc:spChg chg="add mod">
          <ac:chgData name="Anara Samambayeva" userId="40372071-4642-4757-8ccf-dba3b5920c09" providerId="ADAL" clId="{6991BE2B-A3E7-4DB2-B967-3EF30E6FE166}" dt="2025-07-01T03:44:20.378" v="3214" actId="14"/>
          <ac:spMkLst>
            <pc:docMk/>
            <pc:sldMk cId="2355483063" sldId="1881839212"/>
            <ac:spMk id="6" creationId="{BD979FB4-8C3F-E594-755B-5E6774ADA133}"/>
          </ac:spMkLst>
        </pc:spChg>
        <pc:spChg chg="add mod">
          <ac:chgData name="Anara Samambayeva" userId="40372071-4642-4757-8ccf-dba3b5920c09" providerId="ADAL" clId="{6991BE2B-A3E7-4DB2-B967-3EF30E6FE166}" dt="2025-07-01T03:44:20.535" v="3297" actId="948"/>
          <ac:spMkLst>
            <pc:docMk/>
            <pc:sldMk cId="2355483063" sldId="1881839212"/>
            <ac:spMk id="7" creationId="{006AA40C-2C91-E452-5AD4-F9F764A0BB9A}"/>
          </ac:spMkLst>
        </pc:spChg>
        <pc:spChg chg="add mod">
          <ac:chgData name="Anara Samambayeva" userId="40372071-4642-4757-8ccf-dba3b5920c09" providerId="ADAL" clId="{6991BE2B-A3E7-4DB2-B967-3EF30E6FE166}" dt="2025-07-01T03:44:20.550" v="3305" actId="948"/>
          <ac:spMkLst>
            <pc:docMk/>
            <pc:sldMk cId="2355483063" sldId="1881839212"/>
            <ac:spMk id="8" creationId="{92E8634C-6651-3C2B-ABA5-1C65029BC433}"/>
          </ac:spMkLst>
        </pc:spChg>
        <pc:spChg chg="add mod">
          <ac:chgData name="Anara Samambayeva" userId="40372071-4642-4757-8ccf-dba3b5920c09" providerId="ADAL" clId="{6991BE2B-A3E7-4DB2-B967-3EF30E6FE166}" dt="2025-07-01T03:44:20.582" v="3325" actId="14"/>
          <ac:spMkLst>
            <pc:docMk/>
            <pc:sldMk cId="2355483063" sldId="1881839212"/>
            <ac:spMk id="9" creationId="{4D58718F-4D4C-75ED-AE2B-C9A8E6DD8E3E}"/>
          </ac:spMkLst>
        </pc:spChg>
        <pc:spChg chg="add mod">
          <ac:chgData name="Anara Samambayeva" userId="40372071-4642-4757-8ccf-dba3b5920c09" providerId="ADAL" clId="{6991BE2B-A3E7-4DB2-B967-3EF30E6FE166}" dt="2025-07-01T03:44:20.613" v="3345" actId="14"/>
          <ac:spMkLst>
            <pc:docMk/>
            <pc:sldMk cId="2355483063" sldId="1881839212"/>
            <ac:spMk id="10" creationId="{B9C3711A-9BF5-08DE-F6D5-ADD0BD474F90}"/>
          </ac:spMkLst>
        </pc:spChg>
        <pc:spChg chg="add mod">
          <ac:chgData name="Anara Samambayeva" userId="40372071-4642-4757-8ccf-dba3b5920c09" providerId="ADAL" clId="{6991BE2B-A3E7-4DB2-B967-3EF30E6FE166}" dt="2025-07-01T03:44:20.786" v="3428" actId="948"/>
          <ac:spMkLst>
            <pc:docMk/>
            <pc:sldMk cId="2355483063" sldId="1881839212"/>
            <ac:spMk id="11" creationId="{31DE73C8-4B3F-D897-5ED6-C4862DA5212F}"/>
          </ac:spMkLst>
        </pc:spChg>
        <pc:spChg chg="add mod">
          <ac:chgData name="Anara Samambayeva" userId="40372071-4642-4757-8ccf-dba3b5920c09" providerId="ADAL" clId="{6991BE2B-A3E7-4DB2-B967-3EF30E6FE166}" dt="2025-07-01T03:44:20.801" v="3436" actId="948"/>
          <ac:spMkLst>
            <pc:docMk/>
            <pc:sldMk cId="2355483063" sldId="1881839212"/>
            <ac:spMk id="12" creationId="{9E519A0F-0A9E-D223-D806-1F20EB04AE3A}"/>
          </ac:spMkLst>
        </pc:spChg>
        <pc:spChg chg="add mod">
          <ac:chgData name="Anara Samambayeva" userId="40372071-4642-4757-8ccf-dba3b5920c09" providerId="ADAL" clId="{6991BE2B-A3E7-4DB2-B967-3EF30E6FE166}" dt="2025-07-01T03:44:20.833" v="3456" actId="14"/>
          <ac:spMkLst>
            <pc:docMk/>
            <pc:sldMk cId="2355483063" sldId="1881839212"/>
            <ac:spMk id="13" creationId="{0A4E7A78-1B36-2C99-FB97-0394A4A5FAF7}"/>
          </ac:spMkLst>
        </pc:spChg>
        <pc:spChg chg="add mod">
          <ac:chgData name="Anara Samambayeva" userId="40372071-4642-4757-8ccf-dba3b5920c09" providerId="ADAL" clId="{6991BE2B-A3E7-4DB2-B967-3EF30E6FE166}" dt="2025-07-01T03:44:20.849" v="3476" actId="14"/>
          <ac:spMkLst>
            <pc:docMk/>
            <pc:sldMk cId="2355483063" sldId="1881839212"/>
            <ac:spMk id="14" creationId="{11181C2F-9551-469D-BB8C-A7AB2BE95C84}"/>
          </ac:spMkLst>
        </pc:spChg>
        <pc:spChg chg="add mod">
          <ac:chgData name="Anara Samambayeva" userId="40372071-4642-4757-8ccf-dba3b5920c09" providerId="ADAL" clId="{6991BE2B-A3E7-4DB2-B967-3EF30E6FE166}" dt="2025-07-01T03:44:21.037" v="3559" actId="948"/>
          <ac:spMkLst>
            <pc:docMk/>
            <pc:sldMk cId="2355483063" sldId="1881839212"/>
            <ac:spMk id="15" creationId="{9B5D4171-7793-6654-46A6-953DFB9688E7}"/>
          </ac:spMkLst>
        </pc:spChg>
        <pc:spChg chg="add mod">
          <ac:chgData name="Anara Samambayeva" userId="40372071-4642-4757-8ccf-dba3b5920c09" providerId="ADAL" clId="{6991BE2B-A3E7-4DB2-B967-3EF30E6FE166}" dt="2025-07-01T03:44:21.053" v="3567" actId="948"/>
          <ac:spMkLst>
            <pc:docMk/>
            <pc:sldMk cId="2355483063" sldId="1881839212"/>
            <ac:spMk id="16" creationId="{C66D21CB-2104-A326-DED0-20BF5B995263}"/>
          </ac:spMkLst>
        </pc:spChg>
        <pc:spChg chg="add mod">
          <ac:chgData name="Anara Samambayeva" userId="40372071-4642-4757-8ccf-dba3b5920c09" providerId="ADAL" clId="{6991BE2B-A3E7-4DB2-B967-3EF30E6FE166}" dt="2025-07-01T03:44:21.069" v="3587" actId="14"/>
          <ac:spMkLst>
            <pc:docMk/>
            <pc:sldMk cId="2355483063" sldId="1881839212"/>
            <ac:spMk id="17" creationId="{7FAD0163-E20A-9632-58D0-9D2821028B8A}"/>
          </ac:spMkLst>
        </pc:spChg>
        <pc:spChg chg="add mod">
          <ac:chgData name="Anara Samambayeva" userId="40372071-4642-4757-8ccf-dba3b5920c09" providerId="ADAL" clId="{6991BE2B-A3E7-4DB2-B967-3EF30E6FE166}" dt="2025-07-01T03:44:21.100" v="3607" actId="14"/>
          <ac:spMkLst>
            <pc:docMk/>
            <pc:sldMk cId="2355483063" sldId="1881839212"/>
            <ac:spMk id="18" creationId="{1FBE8DEA-607E-6226-9781-6855D3C4DA89}"/>
          </ac:spMkLst>
        </pc:spChg>
        <pc:spChg chg="add mod">
          <ac:chgData name="Anara Samambayeva" userId="40372071-4642-4757-8ccf-dba3b5920c09" providerId="ADAL" clId="{6991BE2B-A3E7-4DB2-B967-3EF30E6FE166}" dt="2025-07-01T03:44:21.273" v="3690" actId="948"/>
          <ac:spMkLst>
            <pc:docMk/>
            <pc:sldMk cId="2355483063" sldId="1881839212"/>
            <ac:spMk id="19" creationId="{714BC569-2F2D-93C0-DB4F-4A6CC1DEB7DA}"/>
          </ac:spMkLst>
        </pc:spChg>
        <pc:spChg chg="add mod">
          <ac:chgData name="Anara Samambayeva" userId="40372071-4642-4757-8ccf-dba3b5920c09" providerId="ADAL" clId="{6991BE2B-A3E7-4DB2-B967-3EF30E6FE166}" dt="2025-07-01T03:44:21.288" v="3698" actId="948"/>
          <ac:spMkLst>
            <pc:docMk/>
            <pc:sldMk cId="2355483063" sldId="1881839212"/>
            <ac:spMk id="20" creationId="{10AE1BFA-695B-C55C-1EFD-806CF638A89F}"/>
          </ac:spMkLst>
        </pc:spChg>
        <pc:spChg chg="add mod">
          <ac:chgData name="Anara Samambayeva" userId="40372071-4642-4757-8ccf-dba3b5920c09" providerId="ADAL" clId="{6991BE2B-A3E7-4DB2-B967-3EF30E6FE166}" dt="2025-07-01T03:44:21.319" v="3718" actId="14"/>
          <ac:spMkLst>
            <pc:docMk/>
            <pc:sldMk cId="2355483063" sldId="1881839212"/>
            <ac:spMk id="21" creationId="{D366870C-2503-5475-0613-6942876D716F}"/>
          </ac:spMkLst>
        </pc:spChg>
        <pc:spChg chg="add mod">
          <ac:chgData name="Anara Samambayeva" userId="40372071-4642-4757-8ccf-dba3b5920c09" providerId="ADAL" clId="{6991BE2B-A3E7-4DB2-B967-3EF30E6FE166}" dt="2025-07-01T03:44:21.351" v="3740" actId="14"/>
          <ac:spMkLst>
            <pc:docMk/>
            <pc:sldMk cId="2355483063" sldId="1881839212"/>
            <ac:spMk id="22" creationId="{5A2ED8F6-80EE-8753-F0EC-61D0AA7F329D}"/>
          </ac:spMkLst>
        </pc:spChg>
      </pc:sldChg>
      <pc:sldChg chg="addSp modSp add del mod modAnim">
        <pc:chgData name="Anara Samambayeva" userId="40372071-4642-4757-8ccf-dba3b5920c09" providerId="ADAL" clId="{6991BE2B-A3E7-4DB2-B967-3EF30E6FE166}" dt="2025-07-01T03:56:43.207" v="4477" actId="47"/>
        <pc:sldMkLst>
          <pc:docMk/>
          <pc:sldMk cId="4214926536" sldId="1881839213"/>
        </pc:sldMkLst>
        <pc:spChg chg="mod">
          <ac:chgData name="Anara Samambayeva" userId="40372071-4642-4757-8ccf-dba3b5920c09" providerId="ADAL" clId="{6991BE2B-A3E7-4DB2-B967-3EF30E6FE166}" dt="2025-07-01T03:44:31.371" v="3742" actId="20577"/>
          <ac:spMkLst>
            <pc:docMk/>
            <pc:sldMk cId="4214926536" sldId="1881839213"/>
            <ac:spMk id="2" creationId="{FF4A43D2-B39B-7FAF-F46D-5AB1E8BF2D97}"/>
          </ac:spMkLst>
        </pc:spChg>
        <pc:spChg chg="add mod">
          <ac:chgData name="Anara Samambayeva" userId="40372071-4642-4757-8ccf-dba3b5920c09" providerId="ADAL" clId="{6991BE2B-A3E7-4DB2-B967-3EF30E6FE166}" dt="2025-07-01T03:44:31.418" v="3764" actId="14"/>
          <ac:spMkLst>
            <pc:docMk/>
            <pc:sldMk cId="4214926536" sldId="1881839213"/>
            <ac:spMk id="6" creationId="{DA3E2621-8EA2-4C75-C619-C59E59B35CE0}"/>
          </ac:spMkLst>
        </pc:spChg>
        <pc:spChg chg="add mod">
          <ac:chgData name="Anara Samambayeva" userId="40372071-4642-4757-8ccf-dba3b5920c09" providerId="ADAL" clId="{6991BE2B-A3E7-4DB2-B967-3EF30E6FE166}" dt="2025-07-01T03:44:31.433" v="3772" actId="948"/>
          <ac:spMkLst>
            <pc:docMk/>
            <pc:sldMk cId="4214926536" sldId="1881839213"/>
            <ac:spMk id="7" creationId="{4B1BD72E-3C70-A6E4-8B08-619F0350DAE3}"/>
          </ac:spMkLst>
        </pc:spChg>
        <pc:spChg chg="add mod">
          <ac:chgData name="Anara Samambayeva" userId="40372071-4642-4757-8ccf-dba3b5920c09" providerId="ADAL" clId="{6991BE2B-A3E7-4DB2-B967-3EF30E6FE166}" dt="2025-07-01T03:44:31.465" v="3821"/>
          <ac:spMkLst>
            <pc:docMk/>
            <pc:sldMk cId="4214926536" sldId="1881839213"/>
            <ac:spMk id="12" creationId="{21D2B99A-4152-6F4E-F4BC-2D7FC625F280}"/>
          </ac:spMkLst>
        </pc:spChg>
        <pc:spChg chg="add mod">
          <ac:chgData name="Anara Samambayeva" userId="40372071-4642-4757-8ccf-dba3b5920c09" providerId="ADAL" clId="{6991BE2B-A3E7-4DB2-B967-3EF30E6FE166}" dt="2025-07-01T03:44:31.481" v="3841"/>
          <ac:spMkLst>
            <pc:docMk/>
            <pc:sldMk cId="4214926536" sldId="1881839213"/>
            <ac:spMk id="13" creationId="{27157F71-79B2-5887-522B-2BB9E285F56C}"/>
          </ac:spMkLst>
        </pc:spChg>
        <pc:spChg chg="add mod">
          <ac:chgData name="Anara Samambayeva" userId="40372071-4642-4757-8ccf-dba3b5920c09" providerId="ADAL" clId="{6991BE2B-A3E7-4DB2-B967-3EF30E6FE166}" dt="2025-07-01T03:44:31.496" v="3861"/>
          <ac:spMkLst>
            <pc:docMk/>
            <pc:sldMk cId="4214926536" sldId="1881839213"/>
            <ac:spMk id="14" creationId="{58BE27C6-002A-BC72-B179-3D4696F6266B}"/>
          </ac:spMkLst>
        </pc:spChg>
        <pc:spChg chg="add mod">
          <ac:chgData name="Anara Samambayeva" userId="40372071-4642-4757-8ccf-dba3b5920c09" providerId="ADAL" clId="{6991BE2B-A3E7-4DB2-B967-3EF30E6FE166}" dt="2025-07-01T03:44:31.512" v="3881"/>
          <ac:spMkLst>
            <pc:docMk/>
            <pc:sldMk cId="4214926536" sldId="1881839213"/>
            <ac:spMk id="15" creationId="{7E545D04-18D0-40E4-15DB-94054BBFE17F}"/>
          </ac:spMkLst>
        </pc:spChg>
        <pc:spChg chg="add mod">
          <ac:chgData name="Anara Samambayeva" userId="40372071-4642-4757-8ccf-dba3b5920c09" providerId="ADAL" clId="{6991BE2B-A3E7-4DB2-B967-3EF30E6FE166}" dt="2025-07-01T03:44:31.528" v="3901"/>
          <ac:spMkLst>
            <pc:docMk/>
            <pc:sldMk cId="4214926536" sldId="1881839213"/>
            <ac:spMk id="16" creationId="{4D4D0934-D3CE-3B61-2F73-A75ABD9460C6}"/>
          </ac:spMkLst>
        </pc:spChg>
        <pc:spChg chg="add mod">
          <ac:chgData name="Anara Samambayeva" userId="40372071-4642-4757-8ccf-dba3b5920c09" providerId="ADAL" clId="{6991BE2B-A3E7-4DB2-B967-3EF30E6FE166}" dt="2025-07-01T03:44:31.546" v="3946"/>
          <ac:spMkLst>
            <pc:docMk/>
            <pc:sldMk cId="4214926536" sldId="1881839213"/>
            <ac:spMk id="17" creationId="{A9A75328-3BD8-91F3-3B54-758CFD0AB28B}"/>
          </ac:spMkLst>
        </pc:spChg>
        <pc:spChg chg="add mod">
          <ac:chgData name="Anara Samambayeva" userId="40372071-4642-4757-8ccf-dba3b5920c09" providerId="ADAL" clId="{6991BE2B-A3E7-4DB2-B967-3EF30E6FE166}" dt="2025-07-01T03:44:31.575" v="3991"/>
          <ac:spMkLst>
            <pc:docMk/>
            <pc:sldMk cId="4214926536" sldId="1881839213"/>
            <ac:spMk id="18" creationId="{A2062943-D459-B545-463D-75B3B7B3BBBB}"/>
          </ac:spMkLst>
        </pc:spChg>
        <pc:spChg chg="add mod">
          <ac:chgData name="Anara Samambayeva" userId="40372071-4642-4757-8ccf-dba3b5920c09" providerId="ADAL" clId="{6991BE2B-A3E7-4DB2-B967-3EF30E6FE166}" dt="2025-07-01T03:44:31.590" v="4036"/>
          <ac:spMkLst>
            <pc:docMk/>
            <pc:sldMk cId="4214926536" sldId="1881839213"/>
            <ac:spMk id="19" creationId="{B94955A5-EF3E-C28A-C035-AD22103D95B5}"/>
          </ac:spMkLst>
        </pc:spChg>
        <pc:cxnChg chg="add mod">
          <ac:chgData name="Anara Samambayeva" userId="40372071-4642-4757-8ccf-dba3b5920c09" providerId="ADAL" clId="{6991BE2B-A3E7-4DB2-B967-3EF30E6FE166}" dt="2025-07-01T03:44:31.433" v="3773"/>
          <ac:cxnSpMkLst>
            <pc:docMk/>
            <pc:sldMk cId="4214926536" sldId="1881839213"/>
            <ac:cxnSpMk id="8" creationId="{AD7A1BAA-97AF-36AF-9D3D-1BA1ABEAEB1E}"/>
          </ac:cxnSpMkLst>
        </pc:cxnChg>
        <pc:cxnChg chg="add mod">
          <ac:chgData name="Anara Samambayeva" userId="40372071-4642-4757-8ccf-dba3b5920c09" providerId="ADAL" clId="{6991BE2B-A3E7-4DB2-B967-3EF30E6FE166}" dt="2025-07-01T03:44:31.433" v="3774"/>
          <ac:cxnSpMkLst>
            <pc:docMk/>
            <pc:sldMk cId="4214926536" sldId="1881839213"/>
            <ac:cxnSpMk id="9" creationId="{A115825E-F6D0-F56D-2A4F-6E3B9F092036}"/>
          </ac:cxnSpMkLst>
        </pc:cxnChg>
        <pc:cxnChg chg="add mod">
          <ac:chgData name="Anara Samambayeva" userId="40372071-4642-4757-8ccf-dba3b5920c09" providerId="ADAL" clId="{6991BE2B-A3E7-4DB2-B967-3EF30E6FE166}" dt="2025-07-01T03:44:31.446" v="3775"/>
          <ac:cxnSpMkLst>
            <pc:docMk/>
            <pc:sldMk cId="4214926536" sldId="1881839213"/>
            <ac:cxnSpMk id="10" creationId="{92929A64-7993-A0E9-8383-4BCB824A7718}"/>
          </ac:cxnSpMkLst>
        </pc:cxnChg>
        <pc:cxnChg chg="add mod">
          <ac:chgData name="Anara Samambayeva" userId="40372071-4642-4757-8ccf-dba3b5920c09" providerId="ADAL" clId="{6991BE2B-A3E7-4DB2-B967-3EF30E6FE166}" dt="2025-07-01T03:44:31.449" v="3776"/>
          <ac:cxnSpMkLst>
            <pc:docMk/>
            <pc:sldMk cId="4214926536" sldId="1881839213"/>
            <ac:cxnSpMk id="11" creationId="{4796C73A-C45B-62A2-7C80-A1E1B9C54E6E}"/>
          </ac:cxnSpMkLst>
        </pc:cxnChg>
      </pc:sldChg>
      <pc:sldChg chg="addSp delSp modSp add mod ord modTransition delAnim modAnim modNotes modNotesTx">
        <pc:chgData name="Anara Samambayeva" userId="40372071-4642-4757-8ccf-dba3b5920c09" providerId="ADAL" clId="{6991BE2B-A3E7-4DB2-B967-3EF30E6FE166}" dt="2025-07-01T04:07:39.593" v="4636"/>
        <pc:sldMkLst>
          <pc:docMk/>
          <pc:sldMk cId="2681823059" sldId="1881839214"/>
        </pc:sldMkLst>
        <pc:spChg chg="mod">
          <ac:chgData name="Anara Samambayeva" userId="40372071-4642-4757-8ccf-dba3b5920c09" providerId="ADAL" clId="{6991BE2B-A3E7-4DB2-B967-3EF30E6FE166}" dt="2025-07-01T04:03:29.373" v="4554" actId="404"/>
          <ac:spMkLst>
            <pc:docMk/>
            <pc:sldMk cId="2681823059" sldId="1881839214"/>
            <ac:spMk id="2" creationId="{B188F393-3C0D-015F-A517-A1939C44C721}"/>
          </ac:spMkLst>
        </pc:spChg>
        <pc:spChg chg="add mod">
          <ac:chgData name="Anara Samambayeva" userId="40372071-4642-4757-8ccf-dba3b5920c09" providerId="ADAL" clId="{6991BE2B-A3E7-4DB2-B967-3EF30E6FE166}" dt="2025-07-01T04:00:04.409" v="4503" actId="14100"/>
          <ac:spMkLst>
            <pc:docMk/>
            <pc:sldMk cId="2681823059" sldId="1881839214"/>
            <ac:spMk id="8" creationId="{8CA4ADBB-78F4-911E-3F48-21CB249D4CB2}"/>
          </ac:spMkLst>
        </pc:spChg>
        <pc:spChg chg="add del mod">
          <ac:chgData name="Anara Samambayeva" userId="40372071-4642-4757-8ccf-dba3b5920c09" providerId="ADAL" clId="{6991BE2B-A3E7-4DB2-B967-3EF30E6FE166}" dt="2025-07-01T03:49:16.656" v="4215"/>
          <ac:spMkLst>
            <pc:docMk/>
            <pc:sldMk cId="2681823059" sldId="1881839214"/>
            <ac:spMk id="11" creationId="{F58040FC-2529-BEA0-6CFF-8E64A0315400}"/>
          </ac:spMkLst>
        </pc:spChg>
        <pc:spChg chg="add mod">
          <ac:chgData name="Anara Samambayeva" userId="40372071-4642-4757-8ccf-dba3b5920c09" providerId="ADAL" clId="{6991BE2B-A3E7-4DB2-B967-3EF30E6FE166}" dt="2025-07-01T04:02:15.959" v="4535" actId="1036"/>
          <ac:spMkLst>
            <pc:docMk/>
            <pc:sldMk cId="2681823059" sldId="1881839214"/>
            <ac:spMk id="14" creationId="{2AA801E4-0210-CE0E-1503-757F368EAA79}"/>
          </ac:spMkLst>
        </pc:spChg>
        <pc:spChg chg="mod">
          <ac:chgData name="Anara Samambayeva" userId="40372071-4642-4757-8ccf-dba3b5920c09" providerId="ADAL" clId="{6991BE2B-A3E7-4DB2-B967-3EF30E6FE166}" dt="2025-07-01T03:45:36.817" v="4178"/>
          <ac:spMkLst>
            <pc:docMk/>
            <pc:sldMk cId="2681823059" sldId="1881839214"/>
            <ac:spMk id="17" creationId="{8747C0F2-2B96-D0F3-07DB-9C5B9904B1D6}"/>
          </ac:spMkLst>
        </pc:spChg>
        <pc:spChg chg="mod">
          <ac:chgData name="Anara Samambayeva" userId="40372071-4642-4757-8ccf-dba3b5920c09" providerId="ADAL" clId="{6991BE2B-A3E7-4DB2-B967-3EF30E6FE166}" dt="2025-07-01T03:45:36.817" v="4178"/>
          <ac:spMkLst>
            <pc:docMk/>
            <pc:sldMk cId="2681823059" sldId="1881839214"/>
            <ac:spMk id="19" creationId="{D29477B7-2D18-84AE-D4FA-C4D5307EC069}"/>
          </ac:spMkLst>
        </pc:spChg>
        <pc:spChg chg="mod">
          <ac:chgData name="Anara Samambayeva" userId="40372071-4642-4757-8ccf-dba3b5920c09" providerId="ADAL" clId="{6991BE2B-A3E7-4DB2-B967-3EF30E6FE166}" dt="2025-07-01T03:45:36.817" v="4178"/>
          <ac:spMkLst>
            <pc:docMk/>
            <pc:sldMk cId="2681823059" sldId="1881839214"/>
            <ac:spMk id="20" creationId="{8523911D-D795-044A-4F7D-793581B306E9}"/>
          </ac:spMkLst>
        </pc:spChg>
        <pc:spChg chg="mod">
          <ac:chgData name="Anara Samambayeva" userId="40372071-4642-4757-8ccf-dba3b5920c09" providerId="ADAL" clId="{6991BE2B-A3E7-4DB2-B967-3EF30E6FE166}" dt="2025-07-01T03:45:36.817" v="4178"/>
          <ac:spMkLst>
            <pc:docMk/>
            <pc:sldMk cId="2681823059" sldId="1881839214"/>
            <ac:spMk id="21" creationId="{C14D87C9-E0B7-EDBA-5666-DC5BAAB6510D}"/>
          </ac:spMkLst>
        </pc:spChg>
        <pc:spChg chg="mod">
          <ac:chgData name="Anara Samambayeva" userId="40372071-4642-4757-8ccf-dba3b5920c09" providerId="ADAL" clId="{6991BE2B-A3E7-4DB2-B967-3EF30E6FE166}" dt="2025-07-01T03:54:48.005" v="4401" actId="6549"/>
          <ac:spMkLst>
            <pc:docMk/>
            <pc:sldMk cId="2681823059" sldId="1881839214"/>
            <ac:spMk id="22" creationId="{AD2C53F2-27C7-A1D1-738F-2678C4347207}"/>
          </ac:spMkLst>
        </pc:spChg>
        <pc:spChg chg="mod">
          <ac:chgData name="Anara Samambayeva" userId="40372071-4642-4757-8ccf-dba3b5920c09" providerId="ADAL" clId="{6991BE2B-A3E7-4DB2-B967-3EF30E6FE166}" dt="2025-07-01T03:45:36.817" v="4179"/>
          <ac:spMkLst>
            <pc:docMk/>
            <pc:sldMk cId="2681823059" sldId="1881839214"/>
            <ac:spMk id="25" creationId="{540D3A24-9B0B-4C36-551A-DE0BAC674FFA}"/>
          </ac:spMkLst>
        </pc:spChg>
        <pc:spChg chg="mod">
          <ac:chgData name="Anara Samambayeva" userId="40372071-4642-4757-8ccf-dba3b5920c09" providerId="ADAL" clId="{6991BE2B-A3E7-4DB2-B967-3EF30E6FE166}" dt="2025-07-01T03:45:36.817" v="4179"/>
          <ac:spMkLst>
            <pc:docMk/>
            <pc:sldMk cId="2681823059" sldId="1881839214"/>
            <ac:spMk id="26" creationId="{B7322559-2794-E688-6D5B-9185B522F9DA}"/>
          </ac:spMkLst>
        </pc:spChg>
        <pc:spChg chg="mod">
          <ac:chgData name="Anara Samambayeva" userId="40372071-4642-4757-8ccf-dba3b5920c09" providerId="ADAL" clId="{6991BE2B-A3E7-4DB2-B967-3EF30E6FE166}" dt="2025-07-01T03:45:36.817" v="4179"/>
          <ac:spMkLst>
            <pc:docMk/>
            <pc:sldMk cId="2681823059" sldId="1881839214"/>
            <ac:spMk id="27" creationId="{7C7E2EDD-EF0F-1ABE-34B4-9F794F445627}"/>
          </ac:spMkLst>
        </pc:spChg>
        <pc:spChg chg="mod">
          <ac:chgData name="Anara Samambayeva" userId="40372071-4642-4757-8ccf-dba3b5920c09" providerId="ADAL" clId="{6991BE2B-A3E7-4DB2-B967-3EF30E6FE166}" dt="2025-07-01T03:52:33.582" v="4335" actId="6549"/>
          <ac:spMkLst>
            <pc:docMk/>
            <pc:sldMk cId="2681823059" sldId="1881839214"/>
            <ac:spMk id="28" creationId="{F70234B5-F7F3-22CA-25B8-C2C268AB07F2}"/>
          </ac:spMkLst>
        </pc:spChg>
        <pc:spChg chg="mod">
          <ac:chgData name="Anara Samambayeva" userId="40372071-4642-4757-8ccf-dba3b5920c09" providerId="ADAL" clId="{6991BE2B-A3E7-4DB2-B967-3EF30E6FE166}" dt="2025-07-01T03:45:36.817" v="4180"/>
          <ac:spMkLst>
            <pc:docMk/>
            <pc:sldMk cId="2681823059" sldId="1881839214"/>
            <ac:spMk id="30" creationId="{1784CF07-90FD-6F11-E00B-00322A6858BA}"/>
          </ac:spMkLst>
        </pc:spChg>
        <pc:spChg chg="mod">
          <ac:chgData name="Anara Samambayeva" userId="40372071-4642-4757-8ccf-dba3b5920c09" providerId="ADAL" clId="{6991BE2B-A3E7-4DB2-B967-3EF30E6FE166}" dt="2025-07-01T03:45:36.817" v="4180"/>
          <ac:spMkLst>
            <pc:docMk/>
            <pc:sldMk cId="2681823059" sldId="1881839214"/>
            <ac:spMk id="32" creationId="{83712339-B16E-B0BD-0806-23CC4C7DA526}"/>
          </ac:spMkLst>
        </pc:spChg>
        <pc:spChg chg="mod">
          <ac:chgData name="Anara Samambayeva" userId="40372071-4642-4757-8ccf-dba3b5920c09" providerId="ADAL" clId="{6991BE2B-A3E7-4DB2-B967-3EF30E6FE166}" dt="2025-07-01T03:45:36.817" v="4180"/>
          <ac:spMkLst>
            <pc:docMk/>
            <pc:sldMk cId="2681823059" sldId="1881839214"/>
            <ac:spMk id="33" creationId="{9BC1314B-44E0-507E-CC1D-D1167C17179F}"/>
          </ac:spMkLst>
        </pc:spChg>
        <pc:spChg chg="mod">
          <ac:chgData name="Anara Samambayeva" userId="40372071-4642-4757-8ccf-dba3b5920c09" providerId="ADAL" clId="{6991BE2B-A3E7-4DB2-B967-3EF30E6FE166}" dt="2025-07-01T03:45:36.817" v="4180"/>
          <ac:spMkLst>
            <pc:docMk/>
            <pc:sldMk cId="2681823059" sldId="1881839214"/>
            <ac:spMk id="34" creationId="{05C1BC41-9390-4331-DE0F-05E0C79732D2}"/>
          </ac:spMkLst>
        </pc:spChg>
        <pc:spChg chg="mod">
          <ac:chgData name="Anara Samambayeva" userId="40372071-4642-4757-8ccf-dba3b5920c09" providerId="ADAL" clId="{6991BE2B-A3E7-4DB2-B967-3EF30E6FE166}" dt="2025-07-01T03:55:33.067" v="4411" actId="20577"/>
          <ac:spMkLst>
            <pc:docMk/>
            <pc:sldMk cId="2681823059" sldId="1881839214"/>
            <ac:spMk id="35" creationId="{4B8E3C4D-3775-9C3A-1AA0-3457A1491FD3}"/>
          </ac:spMkLst>
        </pc:spChg>
        <pc:spChg chg="add mod">
          <ac:chgData name="Anara Samambayeva" userId="40372071-4642-4757-8ccf-dba3b5920c09" providerId="ADAL" clId="{6991BE2B-A3E7-4DB2-B967-3EF30E6FE166}" dt="2025-07-01T04:02:05.441" v="4528" actId="14100"/>
          <ac:spMkLst>
            <pc:docMk/>
            <pc:sldMk cId="2681823059" sldId="1881839214"/>
            <ac:spMk id="36" creationId="{648E5F57-4778-492B-A7D8-0B7200677790}"/>
          </ac:spMkLst>
        </pc:spChg>
        <pc:spChg chg="mod">
          <ac:chgData name="Anara Samambayeva" userId="40372071-4642-4757-8ccf-dba3b5920c09" providerId="ADAL" clId="{6991BE2B-A3E7-4DB2-B967-3EF30E6FE166}" dt="2025-07-01T03:51:45.537" v="4303" actId="403"/>
          <ac:spMkLst>
            <pc:docMk/>
            <pc:sldMk cId="2681823059" sldId="1881839214"/>
            <ac:spMk id="40" creationId="{6862036A-2233-9FDD-273C-F01D0A3F5A95}"/>
          </ac:spMkLst>
        </pc:spChg>
        <pc:spChg chg="mod">
          <ac:chgData name="Anara Samambayeva" userId="40372071-4642-4757-8ccf-dba3b5920c09" providerId="ADAL" clId="{6991BE2B-A3E7-4DB2-B967-3EF30E6FE166}" dt="2025-07-01T03:51:45.537" v="4303" actId="403"/>
          <ac:spMkLst>
            <pc:docMk/>
            <pc:sldMk cId="2681823059" sldId="1881839214"/>
            <ac:spMk id="42" creationId="{61EB25A1-CAB2-941A-E9EA-7F15542F5F7B}"/>
          </ac:spMkLst>
        </pc:spChg>
        <pc:spChg chg="mod">
          <ac:chgData name="Anara Samambayeva" userId="40372071-4642-4757-8ccf-dba3b5920c09" providerId="ADAL" clId="{6991BE2B-A3E7-4DB2-B967-3EF30E6FE166}" dt="2025-07-01T03:51:45.537" v="4303" actId="403"/>
          <ac:spMkLst>
            <pc:docMk/>
            <pc:sldMk cId="2681823059" sldId="1881839214"/>
            <ac:spMk id="43" creationId="{8D6321F7-881F-039D-070B-1D1CE686B6D6}"/>
          </ac:spMkLst>
        </pc:spChg>
        <pc:spChg chg="mod">
          <ac:chgData name="Anara Samambayeva" userId="40372071-4642-4757-8ccf-dba3b5920c09" providerId="ADAL" clId="{6991BE2B-A3E7-4DB2-B967-3EF30E6FE166}" dt="2025-07-01T03:51:45.537" v="4303" actId="403"/>
          <ac:spMkLst>
            <pc:docMk/>
            <pc:sldMk cId="2681823059" sldId="1881839214"/>
            <ac:spMk id="44" creationId="{9BCF4AA4-C908-3FBE-F26C-C1252F73129C}"/>
          </ac:spMkLst>
        </pc:spChg>
        <pc:spChg chg="mod">
          <ac:chgData name="Anara Samambayeva" userId="40372071-4642-4757-8ccf-dba3b5920c09" providerId="ADAL" clId="{6991BE2B-A3E7-4DB2-B967-3EF30E6FE166}" dt="2025-07-01T03:52:42.299" v="4349" actId="403"/>
          <ac:spMkLst>
            <pc:docMk/>
            <pc:sldMk cId="2681823059" sldId="1881839214"/>
            <ac:spMk id="45" creationId="{5AAB5DC1-F608-AC8E-1DB2-ADA988BF314E}"/>
          </ac:spMkLst>
        </pc:spChg>
        <pc:spChg chg="add mod">
          <ac:chgData name="Anara Samambayeva" userId="40372071-4642-4757-8ccf-dba3b5920c09" providerId="ADAL" clId="{6991BE2B-A3E7-4DB2-B967-3EF30E6FE166}" dt="2025-07-01T04:03:53.148" v="4555" actId="1076"/>
          <ac:spMkLst>
            <pc:docMk/>
            <pc:sldMk cId="2681823059" sldId="1881839214"/>
            <ac:spMk id="46" creationId="{9DE56D80-5503-0837-5C94-48EC62C8C210}"/>
          </ac:spMkLst>
        </pc:spChg>
        <pc:spChg chg="mod">
          <ac:chgData name="Anara Samambayeva" userId="40372071-4642-4757-8ccf-dba3b5920c09" providerId="ADAL" clId="{6991BE2B-A3E7-4DB2-B967-3EF30E6FE166}" dt="2025-07-01T03:56:13.163" v="4467"/>
          <ac:spMkLst>
            <pc:docMk/>
            <pc:sldMk cId="2681823059" sldId="1881839214"/>
            <ac:spMk id="51" creationId="{ACFB9D44-FF4A-755A-C914-0BD5180A68CC}"/>
          </ac:spMkLst>
        </pc:spChg>
        <pc:spChg chg="mod">
          <ac:chgData name="Anara Samambayeva" userId="40372071-4642-4757-8ccf-dba3b5920c09" providerId="ADAL" clId="{6991BE2B-A3E7-4DB2-B967-3EF30E6FE166}" dt="2025-07-01T03:56:13.163" v="4467"/>
          <ac:spMkLst>
            <pc:docMk/>
            <pc:sldMk cId="2681823059" sldId="1881839214"/>
            <ac:spMk id="53" creationId="{19DE3695-EAE3-B137-D12A-C46D91A2298C}"/>
          </ac:spMkLst>
        </pc:spChg>
        <pc:spChg chg="mod">
          <ac:chgData name="Anara Samambayeva" userId="40372071-4642-4757-8ccf-dba3b5920c09" providerId="ADAL" clId="{6991BE2B-A3E7-4DB2-B967-3EF30E6FE166}" dt="2025-07-01T03:56:13.163" v="4467"/>
          <ac:spMkLst>
            <pc:docMk/>
            <pc:sldMk cId="2681823059" sldId="1881839214"/>
            <ac:spMk id="54" creationId="{6551E6F0-B44F-1861-13FD-2E99DAF2DE20}"/>
          </ac:spMkLst>
        </pc:spChg>
        <pc:spChg chg="mod">
          <ac:chgData name="Anara Samambayeva" userId="40372071-4642-4757-8ccf-dba3b5920c09" providerId="ADAL" clId="{6991BE2B-A3E7-4DB2-B967-3EF30E6FE166}" dt="2025-07-01T03:56:13.163" v="4467"/>
          <ac:spMkLst>
            <pc:docMk/>
            <pc:sldMk cId="2681823059" sldId="1881839214"/>
            <ac:spMk id="55" creationId="{3F6D479D-1476-2417-2AB0-51FD045165AF}"/>
          </ac:spMkLst>
        </pc:spChg>
        <pc:spChg chg="mod">
          <ac:chgData name="Anara Samambayeva" userId="40372071-4642-4757-8ccf-dba3b5920c09" providerId="ADAL" clId="{6991BE2B-A3E7-4DB2-B967-3EF30E6FE166}" dt="2025-07-01T03:56:26.188" v="4470" actId="20577"/>
          <ac:spMkLst>
            <pc:docMk/>
            <pc:sldMk cId="2681823059" sldId="1881839214"/>
            <ac:spMk id="56" creationId="{02A37D85-D714-9357-CCE7-6CFA5F0F5273}"/>
          </ac:spMkLst>
        </pc:spChg>
        <pc:spChg chg="add mod">
          <ac:chgData name="Anara Samambayeva" userId="40372071-4642-4757-8ccf-dba3b5920c09" providerId="ADAL" clId="{6991BE2B-A3E7-4DB2-B967-3EF30E6FE166}" dt="2025-07-01T04:01:15.711" v="4524" actId="14100"/>
          <ac:spMkLst>
            <pc:docMk/>
            <pc:sldMk cId="2681823059" sldId="1881839214"/>
            <ac:spMk id="57" creationId="{33A7B3EC-9668-8CD1-15DC-BF03E2D1F720}"/>
          </ac:spMkLst>
        </pc:spChg>
        <pc:spChg chg="mod">
          <ac:chgData name="Anara Samambayeva" userId="40372071-4642-4757-8ccf-dba3b5920c09" providerId="ADAL" clId="{6991BE2B-A3E7-4DB2-B967-3EF30E6FE166}" dt="2025-07-01T04:02:51.685" v="4542"/>
          <ac:spMkLst>
            <pc:docMk/>
            <pc:sldMk cId="2681823059" sldId="1881839214"/>
            <ac:spMk id="66" creationId="{18EA961B-FBCA-0275-6AA0-FA648C84FE9E}"/>
          </ac:spMkLst>
        </pc:spChg>
        <pc:spChg chg="mod">
          <ac:chgData name="Anara Samambayeva" userId="40372071-4642-4757-8ccf-dba3b5920c09" providerId="ADAL" clId="{6991BE2B-A3E7-4DB2-B967-3EF30E6FE166}" dt="2025-07-01T04:02:51.685" v="4542"/>
          <ac:spMkLst>
            <pc:docMk/>
            <pc:sldMk cId="2681823059" sldId="1881839214"/>
            <ac:spMk id="68" creationId="{001C0B97-61B8-6E56-0785-9019458AB0FC}"/>
          </ac:spMkLst>
        </pc:spChg>
        <pc:spChg chg="mod">
          <ac:chgData name="Anara Samambayeva" userId="40372071-4642-4757-8ccf-dba3b5920c09" providerId="ADAL" clId="{6991BE2B-A3E7-4DB2-B967-3EF30E6FE166}" dt="2025-07-01T04:02:51.685" v="4542"/>
          <ac:spMkLst>
            <pc:docMk/>
            <pc:sldMk cId="2681823059" sldId="1881839214"/>
            <ac:spMk id="69" creationId="{E73F1B8B-57D3-1DF3-52AC-1730F05C0529}"/>
          </ac:spMkLst>
        </pc:spChg>
        <pc:spChg chg="mod">
          <ac:chgData name="Anara Samambayeva" userId="40372071-4642-4757-8ccf-dba3b5920c09" providerId="ADAL" clId="{6991BE2B-A3E7-4DB2-B967-3EF30E6FE166}" dt="2025-07-01T04:02:51.685" v="4542"/>
          <ac:spMkLst>
            <pc:docMk/>
            <pc:sldMk cId="2681823059" sldId="1881839214"/>
            <ac:spMk id="70" creationId="{CC870512-BED2-1742-25F8-D8FA38CC41E6}"/>
          </ac:spMkLst>
        </pc:spChg>
        <pc:spChg chg="mod">
          <ac:chgData name="Anara Samambayeva" userId="40372071-4642-4757-8ccf-dba3b5920c09" providerId="ADAL" clId="{6991BE2B-A3E7-4DB2-B967-3EF30E6FE166}" dt="2025-07-01T04:02:51.685" v="4542"/>
          <ac:spMkLst>
            <pc:docMk/>
            <pc:sldMk cId="2681823059" sldId="1881839214"/>
            <ac:spMk id="71" creationId="{7135818E-9FCC-7D82-72C2-AFE58AEF05B3}"/>
          </ac:spMkLst>
        </pc:spChg>
        <pc:spChg chg="add mod">
          <ac:chgData name="Anara Samambayeva" userId="40372071-4642-4757-8ccf-dba3b5920c09" providerId="ADAL" clId="{6991BE2B-A3E7-4DB2-B967-3EF30E6FE166}" dt="2025-07-01T04:02:59.169" v="4546" actId="1076"/>
          <ac:spMkLst>
            <pc:docMk/>
            <pc:sldMk cId="2681823059" sldId="1881839214"/>
            <ac:spMk id="72" creationId="{89048B30-1991-2333-8A74-FA6DB965EB61}"/>
          </ac:spMkLst>
        </pc:spChg>
        <pc:spChg chg="mod">
          <ac:chgData name="Anara Samambayeva" userId="40372071-4642-4757-8ccf-dba3b5920c09" providerId="ADAL" clId="{6991BE2B-A3E7-4DB2-B967-3EF30E6FE166}" dt="2025-07-01T04:03:10.978" v="4548"/>
          <ac:spMkLst>
            <pc:docMk/>
            <pc:sldMk cId="2681823059" sldId="1881839214"/>
            <ac:spMk id="74" creationId="{93AD59B0-3008-9E60-45B3-6B47722AA4C7}"/>
          </ac:spMkLst>
        </pc:spChg>
        <pc:spChg chg="mod">
          <ac:chgData name="Anara Samambayeva" userId="40372071-4642-4757-8ccf-dba3b5920c09" providerId="ADAL" clId="{6991BE2B-A3E7-4DB2-B967-3EF30E6FE166}" dt="2025-07-01T04:03:10.978" v="4548"/>
          <ac:spMkLst>
            <pc:docMk/>
            <pc:sldMk cId="2681823059" sldId="1881839214"/>
            <ac:spMk id="76" creationId="{C54789B3-B099-FB08-9362-1B2FC2051609}"/>
          </ac:spMkLst>
        </pc:spChg>
        <pc:spChg chg="mod">
          <ac:chgData name="Anara Samambayeva" userId="40372071-4642-4757-8ccf-dba3b5920c09" providerId="ADAL" clId="{6991BE2B-A3E7-4DB2-B967-3EF30E6FE166}" dt="2025-07-01T04:03:10.978" v="4548"/>
          <ac:spMkLst>
            <pc:docMk/>
            <pc:sldMk cId="2681823059" sldId="1881839214"/>
            <ac:spMk id="77" creationId="{C248EE91-7C6E-DC3B-365C-FD827B928826}"/>
          </ac:spMkLst>
        </pc:spChg>
        <pc:spChg chg="mod">
          <ac:chgData name="Anara Samambayeva" userId="40372071-4642-4757-8ccf-dba3b5920c09" providerId="ADAL" clId="{6991BE2B-A3E7-4DB2-B967-3EF30E6FE166}" dt="2025-07-01T04:03:10.978" v="4548"/>
          <ac:spMkLst>
            <pc:docMk/>
            <pc:sldMk cId="2681823059" sldId="1881839214"/>
            <ac:spMk id="78" creationId="{84D99008-93D8-CB81-667F-F3539301C803}"/>
          </ac:spMkLst>
        </pc:spChg>
        <pc:spChg chg="mod">
          <ac:chgData name="Anara Samambayeva" userId="40372071-4642-4757-8ccf-dba3b5920c09" providerId="ADAL" clId="{6991BE2B-A3E7-4DB2-B967-3EF30E6FE166}" dt="2025-07-01T04:03:23.390" v="4553" actId="20577"/>
          <ac:spMkLst>
            <pc:docMk/>
            <pc:sldMk cId="2681823059" sldId="1881839214"/>
            <ac:spMk id="79" creationId="{1763BE62-0FA8-D9FD-6BFA-38AAC8D7074F}"/>
          </ac:spMkLst>
        </pc:spChg>
        <pc:spChg chg="mod">
          <ac:chgData name="Anara Samambayeva" userId="40372071-4642-4757-8ccf-dba3b5920c09" providerId="ADAL" clId="{6991BE2B-A3E7-4DB2-B967-3EF30E6FE166}" dt="2025-07-01T04:04:30.160" v="4612"/>
          <ac:spMkLst>
            <pc:docMk/>
            <pc:sldMk cId="2681823059" sldId="1881839214"/>
            <ac:spMk id="81" creationId="{14186128-50CF-19BF-870A-C2937E82299E}"/>
          </ac:spMkLst>
        </pc:spChg>
        <pc:spChg chg="mod">
          <ac:chgData name="Anara Samambayeva" userId="40372071-4642-4757-8ccf-dba3b5920c09" providerId="ADAL" clId="{6991BE2B-A3E7-4DB2-B967-3EF30E6FE166}" dt="2025-07-01T04:04:30.160" v="4612"/>
          <ac:spMkLst>
            <pc:docMk/>
            <pc:sldMk cId="2681823059" sldId="1881839214"/>
            <ac:spMk id="83" creationId="{86BAC033-A199-DD12-F0B4-110DDA348FEC}"/>
          </ac:spMkLst>
        </pc:spChg>
        <pc:spChg chg="mod">
          <ac:chgData name="Anara Samambayeva" userId="40372071-4642-4757-8ccf-dba3b5920c09" providerId="ADAL" clId="{6991BE2B-A3E7-4DB2-B967-3EF30E6FE166}" dt="2025-07-01T04:04:30.160" v="4612"/>
          <ac:spMkLst>
            <pc:docMk/>
            <pc:sldMk cId="2681823059" sldId="1881839214"/>
            <ac:spMk id="84" creationId="{09C8AA7B-0C09-51AB-844E-BC3B21AED541}"/>
          </ac:spMkLst>
        </pc:spChg>
        <pc:spChg chg="mod">
          <ac:chgData name="Anara Samambayeva" userId="40372071-4642-4757-8ccf-dba3b5920c09" providerId="ADAL" clId="{6991BE2B-A3E7-4DB2-B967-3EF30E6FE166}" dt="2025-07-01T04:04:30.160" v="4612"/>
          <ac:spMkLst>
            <pc:docMk/>
            <pc:sldMk cId="2681823059" sldId="1881839214"/>
            <ac:spMk id="85" creationId="{9FD01995-E1A3-0161-D0C1-9AB8C17DF99A}"/>
          </ac:spMkLst>
        </pc:spChg>
        <pc:spChg chg="mod">
          <ac:chgData name="Anara Samambayeva" userId="40372071-4642-4757-8ccf-dba3b5920c09" providerId="ADAL" clId="{6991BE2B-A3E7-4DB2-B967-3EF30E6FE166}" dt="2025-07-01T04:04:38.089" v="4616" actId="20577"/>
          <ac:spMkLst>
            <pc:docMk/>
            <pc:sldMk cId="2681823059" sldId="1881839214"/>
            <ac:spMk id="86" creationId="{2C63C0C0-7205-2009-3DF9-B0467ED310E9}"/>
          </ac:spMkLst>
        </pc:spChg>
        <pc:grpChg chg="add mod">
          <ac:chgData name="Anara Samambayeva" userId="40372071-4642-4757-8ccf-dba3b5920c09" providerId="ADAL" clId="{6991BE2B-A3E7-4DB2-B967-3EF30E6FE166}" dt="2025-07-01T03:55:51.159" v="4465" actId="1038"/>
          <ac:grpSpMkLst>
            <pc:docMk/>
            <pc:sldMk cId="2681823059" sldId="1881839214"/>
            <ac:grpSpMk id="16" creationId="{E58C84C2-7816-A36E-7CE4-81BE92A90B12}"/>
          </ac:grpSpMkLst>
        </pc:grpChg>
        <pc:grpChg chg="mod">
          <ac:chgData name="Anara Samambayeva" userId="40372071-4642-4757-8ccf-dba3b5920c09" providerId="ADAL" clId="{6991BE2B-A3E7-4DB2-B967-3EF30E6FE166}" dt="2025-07-01T03:45:36.817" v="4178"/>
          <ac:grpSpMkLst>
            <pc:docMk/>
            <pc:sldMk cId="2681823059" sldId="1881839214"/>
            <ac:grpSpMk id="18" creationId="{0D6D4762-6241-6AA6-90BD-0A4AE1D85B3F}"/>
          </ac:grpSpMkLst>
        </pc:grpChg>
        <pc:grpChg chg="add mod">
          <ac:chgData name="Anara Samambayeva" userId="40372071-4642-4757-8ccf-dba3b5920c09" providerId="ADAL" clId="{6991BE2B-A3E7-4DB2-B967-3EF30E6FE166}" dt="2025-07-01T03:45:36.817" v="4179"/>
          <ac:grpSpMkLst>
            <pc:docMk/>
            <pc:sldMk cId="2681823059" sldId="1881839214"/>
            <ac:grpSpMk id="23" creationId="{78C389E8-34FF-EE9E-87FB-38A036D31761}"/>
          </ac:grpSpMkLst>
        </pc:grpChg>
        <pc:grpChg chg="mod">
          <ac:chgData name="Anara Samambayeva" userId="40372071-4642-4757-8ccf-dba3b5920c09" providerId="ADAL" clId="{6991BE2B-A3E7-4DB2-B967-3EF30E6FE166}" dt="2025-07-01T03:45:36.817" v="4179"/>
          <ac:grpSpMkLst>
            <pc:docMk/>
            <pc:sldMk cId="2681823059" sldId="1881839214"/>
            <ac:grpSpMk id="24" creationId="{EE0C2C80-AE0B-84C9-8AFE-90BA041629ED}"/>
          </ac:grpSpMkLst>
        </pc:grpChg>
        <pc:grpChg chg="add mod">
          <ac:chgData name="Anara Samambayeva" userId="40372071-4642-4757-8ccf-dba3b5920c09" providerId="ADAL" clId="{6991BE2B-A3E7-4DB2-B967-3EF30E6FE166}" dt="2025-07-01T04:03:01.622" v="4547" actId="1076"/>
          <ac:grpSpMkLst>
            <pc:docMk/>
            <pc:sldMk cId="2681823059" sldId="1881839214"/>
            <ac:grpSpMk id="29" creationId="{EC216874-2585-0C47-5543-94B9C1C716C6}"/>
          </ac:grpSpMkLst>
        </pc:grpChg>
        <pc:grpChg chg="mod">
          <ac:chgData name="Anara Samambayeva" userId="40372071-4642-4757-8ccf-dba3b5920c09" providerId="ADAL" clId="{6991BE2B-A3E7-4DB2-B967-3EF30E6FE166}" dt="2025-07-01T03:45:36.817" v="4180"/>
          <ac:grpSpMkLst>
            <pc:docMk/>
            <pc:sldMk cId="2681823059" sldId="1881839214"/>
            <ac:grpSpMk id="31" creationId="{C37305EA-0AD0-C7A6-DD58-B0780D045108}"/>
          </ac:grpSpMkLst>
        </pc:grpChg>
        <pc:grpChg chg="add del mod">
          <ac:chgData name="Anara Samambayeva" userId="40372071-4642-4757-8ccf-dba3b5920c09" providerId="ADAL" clId="{6991BE2B-A3E7-4DB2-B967-3EF30E6FE166}" dt="2025-07-01T04:04:35.258" v="4614" actId="478"/>
          <ac:grpSpMkLst>
            <pc:docMk/>
            <pc:sldMk cId="2681823059" sldId="1881839214"/>
            <ac:grpSpMk id="39" creationId="{14FDEF6C-7EAD-0571-00E3-150851DE4F5D}"/>
          </ac:grpSpMkLst>
        </pc:grpChg>
        <pc:grpChg chg="mod">
          <ac:chgData name="Anara Samambayeva" userId="40372071-4642-4757-8ccf-dba3b5920c09" providerId="ADAL" clId="{6991BE2B-A3E7-4DB2-B967-3EF30E6FE166}" dt="2025-07-01T03:51:27.861" v="4232"/>
          <ac:grpSpMkLst>
            <pc:docMk/>
            <pc:sldMk cId="2681823059" sldId="1881839214"/>
            <ac:grpSpMk id="41" creationId="{4718ED85-6A26-7770-9CDB-8EAF2C507F56}"/>
          </ac:grpSpMkLst>
        </pc:grpChg>
        <pc:grpChg chg="add del mod">
          <ac:chgData name="Anara Samambayeva" userId="40372071-4642-4757-8ccf-dba3b5920c09" providerId="ADAL" clId="{6991BE2B-A3E7-4DB2-B967-3EF30E6FE166}" dt="2025-07-01T04:02:49.011" v="4541" actId="478"/>
          <ac:grpSpMkLst>
            <pc:docMk/>
            <pc:sldMk cId="2681823059" sldId="1881839214"/>
            <ac:grpSpMk id="50" creationId="{2BA9C77C-3568-9FD8-461E-41BE3AB851B0}"/>
          </ac:grpSpMkLst>
        </pc:grpChg>
        <pc:grpChg chg="mod">
          <ac:chgData name="Anara Samambayeva" userId="40372071-4642-4757-8ccf-dba3b5920c09" providerId="ADAL" clId="{6991BE2B-A3E7-4DB2-B967-3EF30E6FE166}" dt="2025-07-01T03:56:13.163" v="4467"/>
          <ac:grpSpMkLst>
            <pc:docMk/>
            <pc:sldMk cId="2681823059" sldId="1881839214"/>
            <ac:grpSpMk id="52" creationId="{A85B6C46-0CAF-D067-3309-9089C60120F3}"/>
          </ac:grpSpMkLst>
        </pc:grpChg>
        <pc:grpChg chg="add mod">
          <ac:chgData name="Anara Samambayeva" userId="40372071-4642-4757-8ccf-dba3b5920c09" providerId="ADAL" clId="{6991BE2B-A3E7-4DB2-B967-3EF30E6FE166}" dt="2025-07-01T04:02:51.685" v="4542"/>
          <ac:grpSpMkLst>
            <pc:docMk/>
            <pc:sldMk cId="2681823059" sldId="1881839214"/>
            <ac:grpSpMk id="65" creationId="{FCC2054A-79C7-59CD-17A0-397CBF2A85A5}"/>
          </ac:grpSpMkLst>
        </pc:grpChg>
        <pc:grpChg chg="mod">
          <ac:chgData name="Anara Samambayeva" userId="40372071-4642-4757-8ccf-dba3b5920c09" providerId="ADAL" clId="{6991BE2B-A3E7-4DB2-B967-3EF30E6FE166}" dt="2025-07-01T04:02:51.685" v="4542"/>
          <ac:grpSpMkLst>
            <pc:docMk/>
            <pc:sldMk cId="2681823059" sldId="1881839214"/>
            <ac:grpSpMk id="67" creationId="{DBCF9953-FADF-8507-0F2D-1FDF6A5A4F5D}"/>
          </ac:grpSpMkLst>
        </pc:grpChg>
        <pc:grpChg chg="add mod">
          <ac:chgData name="Anara Samambayeva" userId="40372071-4642-4757-8ccf-dba3b5920c09" providerId="ADAL" clId="{6991BE2B-A3E7-4DB2-B967-3EF30E6FE166}" dt="2025-07-01T04:03:21.154" v="4551" actId="1076"/>
          <ac:grpSpMkLst>
            <pc:docMk/>
            <pc:sldMk cId="2681823059" sldId="1881839214"/>
            <ac:grpSpMk id="73" creationId="{EFBD0BC4-E22A-F368-1B16-C50383D84A7E}"/>
          </ac:grpSpMkLst>
        </pc:grpChg>
        <pc:grpChg chg="mod">
          <ac:chgData name="Anara Samambayeva" userId="40372071-4642-4757-8ccf-dba3b5920c09" providerId="ADAL" clId="{6991BE2B-A3E7-4DB2-B967-3EF30E6FE166}" dt="2025-07-01T04:03:10.978" v="4548"/>
          <ac:grpSpMkLst>
            <pc:docMk/>
            <pc:sldMk cId="2681823059" sldId="1881839214"/>
            <ac:grpSpMk id="75" creationId="{21ECC8FC-64D5-2E08-CF7A-73E23C167AE8}"/>
          </ac:grpSpMkLst>
        </pc:grpChg>
        <pc:grpChg chg="add mod">
          <ac:chgData name="Anara Samambayeva" userId="40372071-4642-4757-8ccf-dba3b5920c09" providerId="ADAL" clId="{6991BE2B-A3E7-4DB2-B967-3EF30E6FE166}" dt="2025-07-01T04:04:51.822" v="4626" actId="1036"/>
          <ac:grpSpMkLst>
            <pc:docMk/>
            <pc:sldMk cId="2681823059" sldId="1881839214"/>
            <ac:grpSpMk id="80" creationId="{53F1B814-B05C-3123-EE31-445AA28F74EA}"/>
          </ac:grpSpMkLst>
        </pc:grpChg>
        <pc:grpChg chg="mod">
          <ac:chgData name="Anara Samambayeva" userId="40372071-4642-4757-8ccf-dba3b5920c09" providerId="ADAL" clId="{6991BE2B-A3E7-4DB2-B967-3EF30E6FE166}" dt="2025-07-01T04:04:30.160" v="4612"/>
          <ac:grpSpMkLst>
            <pc:docMk/>
            <pc:sldMk cId="2681823059" sldId="1881839214"/>
            <ac:grpSpMk id="82" creationId="{A5AFD283-8528-6DEE-2706-30B66D92436B}"/>
          </ac:grpSpMkLst>
        </pc:grpChg>
        <pc:picChg chg="add mod">
          <ac:chgData name="Anara Samambayeva" userId="40372071-4642-4757-8ccf-dba3b5920c09" providerId="ADAL" clId="{6991BE2B-A3E7-4DB2-B967-3EF30E6FE166}" dt="2025-07-01T03:45:36.676" v="4039"/>
          <ac:picMkLst>
            <pc:docMk/>
            <pc:sldMk cId="2681823059" sldId="1881839214"/>
            <ac:picMk id="6" creationId="{48C53088-7A63-3134-F499-13A0049F20AE}"/>
          </ac:picMkLst>
        </pc:picChg>
        <pc:cxnChg chg="add mod">
          <ac:chgData name="Anara Samambayeva" userId="40372071-4642-4757-8ccf-dba3b5920c09" providerId="ADAL" clId="{6991BE2B-A3E7-4DB2-B967-3EF30E6FE166}" dt="2025-07-01T03:45:36.676" v="4040"/>
          <ac:cxnSpMkLst>
            <pc:docMk/>
            <pc:sldMk cId="2681823059" sldId="1881839214"/>
            <ac:cxnSpMk id="7" creationId="{13ECF793-77B8-2B63-4872-E5DA2760A9E0}"/>
          </ac:cxnSpMkLst>
        </pc:cxnChg>
        <pc:cxnChg chg="add mod">
          <ac:chgData name="Anara Samambayeva" userId="40372071-4642-4757-8ccf-dba3b5920c09" providerId="ADAL" clId="{6991BE2B-A3E7-4DB2-B967-3EF30E6FE166}" dt="2025-07-01T03:45:36.723" v="4085"/>
          <ac:cxnSpMkLst>
            <pc:docMk/>
            <pc:sldMk cId="2681823059" sldId="1881839214"/>
            <ac:cxnSpMk id="9" creationId="{051AF8E7-8160-D9B7-9357-6BEC1F94C5BE}"/>
          </ac:cxnSpMkLst>
        </pc:cxnChg>
        <pc:cxnChg chg="add del mod">
          <ac:chgData name="Anara Samambayeva" userId="40372071-4642-4757-8ccf-dba3b5920c09" providerId="ADAL" clId="{6991BE2B-A3E7-4DB2-B967-3EF30E6FE166}" dt="2025-07-01T04:02:33.790" v="4538" actId="478"/>
          <ac:cxnSpMkLst>
            <pc:docMk/>
            <pc:sldMk cId="2681823059" sldId="1881839214"/>
            <ac:cxnSpMk id="10" creationId="{DAB2664B-52FF-4FE6-E6E0-12122E6939B0}"/>
          </ac:cxnSpMkLst>
        </pc:cxnChg>
        <pc:cxnChg chg="add del mod">
          <ac:chgData name="Anara Samambayeva" userId="40372071-4642-4757-8ccf-dba3b5920c09" providerId="ADAL" clId="{6991BE2B-A3E7-4DB2-B967-3EF30E6FE166}" dt="2025-07-01T04:02:35.566" v="4539" actId="478"/>
          <ac:cxnSpMkLst>
            <pc:docMk/>
            <pc:sldMk cId="2681823059" sldId="1881839214"/>
            <ac:cxnSpMk id="12" creationId="{EAA7D16B-C690-03D0-AEE1-5410B8168FD9}"/>
          </ac:cxnSpMkLst>
        </pc:cxnChg>
        <pc:cxnChg chg="add mod">
          <ac:chgData name="Anara Samambayeva" userId="40372071-4642-4757-8ccf-dba3b5920c09" providerId="ADAL" clId="{6991BE2B-A3E7-4DB2-B967-3EF30E6FE166}" dt="2025-07-01T03:45:36.770" v="4132"/>
          <ac:cxnSpMkLst>
            <pc:docMk/>
            <pc:sldMk cId="2681823059" sldId="1881839214"/>
            <ac:cxnSpMk id="13" creationId="{50DEF687-0418-9405-B098-95A3B131190A}"/>
          </ac:cxnSpMkLst>
        </pc:cxnChg>
        <pc:cxnChg chg="add mod">
          <ac:chgData name="Anara Samambayeva" userId="40372071-4642-4757-8ccf-dba3b5920c09" providerId="ADAL" clId="{6991BE2B-A3E7-4DB2-B967-3EF30E6FE166}" dt="2025-07-01T04:00:37.084" v="4518" actId="14100"/>
          <ac:cxnSpMkLst>
            <pc:docMk/>
            <pc:sldMk cId="2681823059" sldId="1881839214"/>
            <ac:cxnSpMk id="15" creationId="{71F898B4-CC0F-16DC-B696-77772281C792}"/>
          </ac:cxnSpMkLst>
        </pc:cxnChg>
        <pc:cxnChg chg="add mod">
          <ac:chgData name="Anara Samambayeva" userId="40372071-4642-4757-8ccf-dba3b5920c09" providerId="ADAL" clId="{6991BE2B-A3E7-4DB2-B967-3EF30E6FE166}" dt="2025-07-01T04:04:35.258" v="4614" actId="478"/>
          <ac:cxnSpMkLst>
            <pc:docMk/>
            <pc:sldMk cId="2681823059" sldId="1881839214"/>
            <ac:cxnSpMk id="37" creationId="{41885F16-03D1-5491-7BE4-E91B51BF6724}"/>
          </ac:cxnSpMkLst>
        </pc:cxnChg>
        <pc:cxnChg chg="add mod">
          <ac:chgData name="Anara Samambayeva" userId="40372071-4642-4757-8ccf-dba3b5920c09" providerId="ADAL" clId="{6991BE2B-A3E7-4DB2-B967-3EF30E6FE166}" dt="2025-07-01T04:04:15.228" v="4611" actId="1035"/>
          <ac:cxnSpMkLst>
            <pc:docMk/>
            <pc:sldMk cId="2681823059" sldId="1881839214"/>
            <ac:cxnSpMk id="38" creationId="{75F29424-7784-46F1-5F42-1A26B3FA2FB5}"/>
          </ac:cxnSpMkLst>
        </pc:cxnChg>
        <pc:cxnChg chg="add mod">
          <ac:chgData name="Anara Samambayeva" userId="40372071-4642-4757-8ccf-dba3b5920c09" providerId="ADAL" clId="{6991BE2B-A3E7-4DB2-B967-3EF30E6FE166}" dt="2025-07-01T04:01:30.703" v="4526" actId="1076"/>
          <ac:cxnSpMkLst>
            <pc:docMk/>
            <pc:sldMk cId="2681823059" sldId="1881839214"/>
            <ac:cxnSpMk id="60" creationId="{57C20A0C-B6EC-EE89-69EA-B9DE3D171E50}"/>
          </ac:cxnSpMkLst>
        </pc:cxnChg>
        <pc:cxnChg chg="add mod">
          <ac:chgData name="Anara Samambayeva" userId="40372071-4642-4757-8ccf-dba3b5920c09" providerId="ADAL" clId="{6991BE2B-A3E7-4DB2-B967-3EF30E6FE166}" dt="2025-07-01T04:01:30.703" v="4526" actId="1076"/>
          <ac:cxnSpMkLst>
            <pc:docMk/>
            <pc:sldMk cId="2681823059" sldId="1881839214"/>
            <ac:cxnSpMk id="61" creationId="{5947CD76-E520-E3FA-1FF6-6DD24C847A67}"/>
          </ac:cxnSpMkLst>
        </pc:cxnChg>
        <pc:cxnChg chg="add mod">
          <ac:chgData name="Anara Samambayeva" userId="40372071-4642-4757-8ccf-dba3b5920c09" providerId="ADAL" clId="{6991BE2B-A3E7-4DB2-B967-3EF30E6FE166}" dt="2025-07-01T04:02:40.041" v="4540" actId="14100"/>
          <ac:cxnSpMkLst>
            <pc:docMk/>
            <pc:sldMk cId="2681823059" sldId="1881839214"/>
            <ac:cxnSpMk id="62" creationId="{5B524C19-E312-89E9-A1B9-F1D75A734C9C}"/>
          </ac:cxnSpMkLst>
        </pc:cxnChg>
        <pc:cxnChg chg="add mod">
          <ac:chgData name="Anara Samambayeva" userId="40372071-4642-4757-8ccf-dba3b5920c09" providerId="ADAL" clId="{6991BE2B-A3E7-4DB2-B967-3EF30E6FE166}" dt="2025-07-01T04:02:29.715" v="4537" actId="1076"/>
          <ac:cxnSpMkLst>
            <pc:docMk/>
            <pc:sldMk cId="2681823059" sldId="1881839214"/>
            <ac:cxnSpMk id="63" creationId="{5286BE29-6FB0-683F-3417-67E5EB728112}"/>
          </ac:cxnSpMkLst>
        </pc:cxnChg>
      </pc:sldChg>
      <pc:sldChg chg="add del">
        <pc:chgData name="Anara Samambayeva" userId="40372071-4642-4757-8ccf-dba3b5920c09" providerId="ADAL" clId="{6991BE2B-A3E7-4DB2-B967-3EF30E6FE166}" dt="2025-07-01T10:18:46.340" v="10709" actId="47"/>
        <pc:sldMkLst>
          <pc:docMk/>
          <pc:sldMk cId="678874670" sldId="1881839215"/>
        </pc:sldMkLst>
      </pc:sldChg>
      <pc:sldChg chg="addSp modSp new del modAnim">
        <pc:chgData name="Anara Samambayeva" userId="40372071-4642-4757-8ccf-dba3b5920c09" providerId="ADAL" clId="{6991BE2B-A3E7-4DB2-B967-3EF30E6FE166}" dt="2025-07-01T03:46:26.708" v="4185" actId="47"/>
        <pc:sldMkLst>
          <pc:docMk/>
          <pc:sldMk cId="845150981" sldId="1881839215"/>
        </pc:sldMkLst>
        <pc:spChg chg="add mod">
          <ac:chgData name="Anara Samambayeva" userId="40372071-4642-4757-8ccf-dba3b5920c09" providerId="ADAL" clId="{6991BE2B-A3E7-4DB2-B967-3EF30E6FE166}" dt="2025-07-01T03:46:02.261" v="4182"/>
          <ac:spMkLst>
            <pc:docMk/>
            <pc:sldMk cId="845150981" sldId="1881839215"/>
            <ac:spMk id="8" creationId="{D7957173-3050-6BA7-73AC-19B392B95E1A}"/>
          </ac:spMkLst>
        </pc:spChg>
        <pc:spChg chg="mod">
          <ac:chgData name="Anara Samambayeva" userId="40372071-4642-4757-8ccf-dba3b5920c09" providerId="ADAL" clId="{6991BE2B-A3E7-4DB2-B967-3EF30E6FE166}" dt="2025-07-01T03:46:02.261" v="4182"/>
          <ac:spMkLst>
            <pc:docMk/>
            <pc:sldMk cId="845150981" sldId="1881839215"/>
            <ac:spMk id="17" creationId="{DA0914E1-405E-382E-BDB2-C8A90A9DF4AB}"/>
          </ac:spMkLst>
        </pc:spChg>
        <pc:spChg chg="mod">
          <ac:chgData name="Anara Samambayeva" userId="40372071-4642-4757-8ccf-dba3b5920c09" providerId="ADAL" clId="{6991BE2B-A3E7-4DB2-B967-3EF30E6FE166}" dt="2025-07-01T03:46:02.261" v="4182"/>
          <ac:spMkLst>
            <pc:docMk/>
            <pc:sldMk cId="845150981" sldId="1881839215"/>
            <ac:spMk id="19" creationId="{5C37D65E-A40B-FA15-7524-BD2C07204F05}"/>
          </ac:spMkLst>
        </pc:spChg>
        <pc:spChg chg="mod">
          <ac:chgData name="Anara Samambayeva" userId="40372071-4642-4757-8ccf-dba3b5920c09" providerId="ADAL" clId="{6991BE2B-A3E7-4DB2-B967-3EF30E6FE166}" dt="2025-07-01T03:46:02.261" v="4182"/>
          <ac:spMkLst>
            <pc:docMk/>
            <pc:sldMk cId="845150981" sldId="1881839215"/>
            <ac:spMk id="20" creationId="{44983E8E-19BD-6D0D-CF58-DBC62ADD4C51}"/>
          </ac:spMkLst>
        </pc:spChg>
        <pc:spChg chg="mod">
          <ac:chgData name="Anara Samambayeva" userId="40372071-4642-4757-8ccf-dba3b5920c09" providerId="ADAL" clId="{6991BE2B-A3E7-4DB2-B967-3EF30E6FE166}" dt="2025-07-01T03:46:02.261" v="4182"/>
          <ac:spMkLst>
            <pc:docMk/>
            <pc:sldMk cId="845150981" sldId="1881839215"/>
            <ac:spMk id="21" creationId="{55ABBD49-93E1-6295-8E8A-01023909A53A}"/>
          </ac:spMkLst>
        </pc:spChg>
        <pc:spChg chg="mod">
          <ac:chgData name="Anara Samambayeva" userId="40372071-4642-4757-8ccf-dba3b5920c09" providerId="ADAL" clId="{6991BE2B-A3E7-4DB2-B967-3EF30E6FE166}" dt="2025-07-01T03:46:02.261" v="4182"/>
          <ac:spMkLst>
            <pc:docMk/>
            <pc:sldMk cId="845150981" sldId="1881839215"/>
            <ac:spMk id="24" creationId="{45ED3991-5D98-C0AB-5BD1-34E1EF5421C5}"/>
          </ac:spMkLst>
        </pc:spChg>
        <pc:spChg chg="mod">
          <ac:chgData name="Anara Samambayeva" userId="40372071-4642-4757-8ccf-dba3b5920c09" providerId="ADAL" clId="{6991BE2B-A3E7-4DB2-B967-3EF30E6FE166}" dt="2025-07-01T03:46:02.261" v="4182"/>
          <ac:spMkLst>
            <pc:docMk/>
            <pc:sldMk cId="845150981" sldId="1881839215"/>
            <ac:spMk id="26" creationId="{A30E994D-BA38-2E12-0E67-3F514E3340C1}"/>
          </ac:spMkLst>
        </pc:spChg>
        <pc:spChg chg="mod">
          <ac:chgData name="Anara Samambayeva" userId="40372071-4642-4757-8ccf-dba3b5920c09" providerId="ADAL" clId="{6991BE2B-A3E7-4DB2-B967-3EF30E6FE166}" dt="2025-07-01T03:46:02.261" v="4182"/>
          <ac:spMkLst>
            <pc:docMk/>
            <pc:sldMk cId="845150981" sldId="1881839215"/>
            <ac:spMk id="27" creationId="{6F637323-B44F-FE29-8511-CD3A3F7759A9}"/>
          </ac:spMkLst>
        </pc:spChg>
        <pc:spChg chg="mod">
          <ac:chgData name="Anara Samambayeva" userId="40372071-4642-4757-8ccf-dba3b5920c09" providerId="ADAL" clId="{6991BE2B-A3E7-4DB2-B967-3EF30E6FE166}" dt="2025-07-01T03:46:02.261" v="4182"/>
          <ac:spMkLst>
            <pc:docMk/>
            <pc:sldMk cId="845150981" sldId="1881839215"/>
            <ac:spMk id="28" creationId="{78F058C0-9082-4905-669D-D92C9DC8D2EB}"/>
          </ac:spMkLst>
        </pc:spChg>
        <pc:spChg chg="mod">
          <ac:chgData name="Anara Samambayeva" userId="40372071-4642-4757-8ccf-dba3b5920c09" providerId="ADAL" clId="{6991BE2B-A3E7-4DB2-B967-3EF30E6FE166}" dt="2025-07-01T03:46:02.261" v="4182"/>
          <ac:spMkLst>
            <pc:docMk/>
            <pc:sldMk cId="845150981" sldId="1881839215"/>
            <ac:spMk id="29" creationId="{C63E8C41-4DF9-129D-2209-F86CEBB572EB}"/>
          </ac:spMkLst>
        </pc:spChg>
      </pc:sldChg>
      <pc:sldChg chg="add del mod modShow">
        <pc:chgData name="Anara Samambayeva" userId="40372071-4642-4757-8ccf-dba3b5920c09" providerId="ADAL" clId="{6991BE2B-A3E7-4DB2-B967-3EF30E6FE166}" dt="2025-07-01T05:18:41.844" v="5740" actId="2696"/>
        <pc:sldMkLst>
          <pc:docMk/>
          <pc:sldMk cId="1385785069" sldId="1881839215"/>
        </pc:sldMkLst>
      </pc:sldChg>
      <pc:sldChg chg="addSp delSp modSp new mod">
        <pc:chgData name="Anara Samambayeva" userId="40372071-4642-4757-8ccf-dba3b5920c09" providerId="ADAL" clId="{6991BE2B-A3E7-4DB2-B967-3EF30E6FE166}" dt="2025-07-01T10:23:02.070" v="10754" actId="1076"/>
        <pc:sldMkLst>
          <pc:docMk/>
          <pc:sldMk cId="2075895368" sldId="1881839216"/>
        </pc:sldMkLst>
        <pc:spChg chg="mod">
          <ac:chgData name="Anara Samambayeva" userId="40372071-4642-4757-8ccf-dba3b5920c09" providerId="ADAL" clId="{6991BE2B-A3E7-4DB2-B967-3EF30E6FE166}" dt="2025-07-01T08:19:05.198" v="8646" actId="20577"/>
          <ac:spMkLst>
            <pc:docMk/>
            <pc:sldMk cId="2075895368" sldId="1881839216"/>
            <ac:spMk id="2" creationId="{6DA6B80D-F752-A9FF-FBD4-21F047674FA9}"/>
          </ac:spMkLst>
        </pc:spChg>
        <pc:spChg chg="add del">
          <ac:chgData name="Anara Samambayeva" userId="40372071-4642-4757-8ccf-dba3b5920c09" providerId="ADAL" clId="{6991BE2B-A3E7-4DB2-B967-3EF30E6FE166}" dt="2025-07-01T08:18:48.035" v="8640" actId="22"/>
          <ac:spMkLst>
            <pc:docMk/>
            <pc:sldMk cId="2075895368" sldId="1881839216"/>
            <ac:spMk id="7" creationId="{79D21E38-88CF-3608-4CBA-90DADB133A79}"/>
          </ac:spMkLst>
        </pc:spChg>
        <pc:spChg chg="add del mod">
          <ac:chgData name="Anara Samambayeva" userId="40372071-4642-4757-8ccf-dba3b5920c09" providerId="ADAL" clId="{6991BE2B-A3E7-4DB2-B967-3EF30E6FE166}" dt="2025-07-01T08:32:15.027" v="9632" actId="478"/>
          <ac:spMkLst>
            <pc:docMk/>
            <pc:sldMk cId="2075895368" sldId="1881839216"/>
            <ac:spMk id="9" creationId="{A11F3BE8-E539-B541-B714-23B1784622D6}"/>
          </ac:spMkLst>
        </pc:spChg>
        <pc:spChg chg="add mod">
          <ac:chgData name="Anara Samambayeva" userId="40372071-4642-4757-8ccf-dba3b5920c09" providerId="ADAL" clId="{6991BE2B-A3E7-4DB2-B967-3EF30E6FE166}" dt="2025-07-01T08:20:52.405" v="9169"/>
          <ac:spMkLst>
            <pc:docMk/>
            <pc:sldMk cId="2075895368" sldId="1881839216"/>
            <ac:spMk id="10" creationId="{2F6DFD38-0A37-4629-023A-0BCE4D465D6A}"/>
          </ac:spMkLst>
        </pc:spChg>
        <pc:spChg chg="add mod">
          <ac:chgData name="Anara Samambayeva" userId="40372071-4642-4757-8ccf-dba3b5920c09" providerId="ADAL" clId="{6991BE2B-A3E7-4DB2-B967-3EF30E6FE166}" dt="2025-07-01T08:20:52.405" v="9169"/>
          <ac:spMkLst>
            <pc:docMk/>
            <pc:sldMk cId="2075895368" sldId="1881839216"/>
            <ac:spMk id="11" creationId="{FB8BB647-5D43-E70D-1B85-CC43C5B15314}"/>
          </ac:spMkLst>
        </pc:spChg>
        <pc:spChg chg="add mod">
          <ac:chgData name="Anara Samambayeva" userId="40372071-4642-4757-8ccf-dba3b5920c09" providerId="ADAL" clId="{6991BE2B-A3E7-4DB2-B967-3EF30E6FE166}" dt="2025-07-01T08:20:52.405" v="9169"/>
          <ac:spMkLst>
            <pc:docMk/>
            <pc:sldMk cId="2075895368" sldId="1881839216"/>
            <ac:spMk id="12" creationId="{48E88663-CE93-4E76-F660-4D5240BD1491}"/>
          </ac:spMkLst>
        </pc:spChg>
        <pc:spChg chg="add mod">
          <ac:chgData name="Anara Samambayeva" userId="40372071-4642-4757-8ccf-dba3b5920c09" providerId="ADAL" clId="{6991BE2B-A3E7-4DB2-B967-3EF30E6FE166}" dt="2025-07-01T08:20:52.405" v="9169"/>
          <ac:spMkLst>
            <pc:docMk/>
            <pc:sldMk cId="2075895368" sldId="1881839216"/>
            <ac:spMk id="13" creationId="{8094079C-7275-BA62-A09A-B625CD7558E9}"/>
          </ac:spMkLst>
        </pc:spChg>
        <pc:spChg chg="add mod">
          <ac:chgData name="Anara Samambayeva" userId="40372071-4642-4757-8ccf-dba3b5920c09" providerId="ADAL" clId="{6991BE2B-A3E7-4DB2-B967-3EF30E6FE166}" dt="2025-07-01T08:20:52.405" v="9169"/>
          <ac:spMkLst>
            <pc:docMk/>
            <pc:sldMk cId="2075895368" sldId="1881839216"/>
            <ac:spMk id="14" creationId="{06A955D2-C976-37AE-6C8C-0EEF5C89347C}"/>
          </ac:spMkLst>
        </pc:spChg>
        <pc:spChg chg="add mod">
          <ac:chgData name="Anara Samambayeva" userId="40372071-4642-4757-8ccf-dba3b5920c09" providerId="ADAL" clId="{6991BE2B-A3E7-4DB2-B967-3EF30E6FE166}" dt="2025-07-01T08:20:52.405" v="9169"/>
          <ac:spMkLst>
            <pc:docMk/>
            <pc:sldMk cId="2075895368" sldId="1881839216"/>
            <ac:spMk id="15" creationId="{A11915EF-92BC-8CCD-73E4-FAC0728767EC}"/>
          </ac:spMkLst>
        </pc:spChg>
        <pc:spChg chg="add mod">
          <ac:chgData name="Anara Samambayeva" userId="40372071-4642-4757-8ccf-dba3b5920c09" providerId="ADAL" clId="{6991BE2B-A3E7-4DB2-B967-3EF30E6FE166}" dt="2025-07-01T10:22:25.469" v="10731" actId="1076"/>
          <ac:spMkLst>
            <pc:docMk/>
            <pc:sldMk cId="2075895368" sldId="1881839216"/>
            <ac:spMk id="16" creationId="{9977EDF7-AF92-46A6-6BC4-09F4D9810300}"/>
          </ac:spMkLst>
        </pc:spChg>
        <pc:spChg chg="add del mod">
          <ac:chgData name="Anara Samambayeva" userId="40372071-4642-4757-8ccf-dba3b5920c09" providerId="ADAL" clId="{6991BE2B-A3E7-4DB2-B967-3EF30E6FE166}" dt="2025-07-01T08:23:00.985" v="9320" actId="478"/>
          <ac:spMkLst>
            <pc:docMk/>
            <pc:sldMk cId="2075895368" sldId="1881839216"/>
            <ac:spMk id="17" creationId="{4AB341C7-68C1-6962-E59C-207072073502}"/>
          </ac:spMkLst>
        </pc:spChg>
        <pc:spChg chg="add mod">
          <ac:chgData name="Anara Samambayeva" userId="40372071-4642-4757-8ccf-dba3b5920c09" providerId="ADAL" clId="{6991BE2B-A3E7-4DB2-B967-3EF30E6FE166}" dt="2025-07-01T10:22:43.081" v="10752" actId="1076"/>
          <ac:spMkLst>
            <pc:docMk/>
            <pc:sldMk cId="2075895368" sldId="1881839216"/>
            <ac:spMk id="18" creationId="{C04641CA-E031-E026-856B-BE1970B45697}"/>
          </ac:spMkLst>
        </pc:spChg>
        <pc:spChg chg="add mod">
          <ac:chgData name="Anara Samambayeva" userId="40372071-4642-4757-8ccf-dba3b5920c09" providerId="ADAL" clId="{6991BE2B-A3E7-4DB2-B967-3EF30E6FE166}" dt="2025-07-01T08:20:59.338" v="9171"/>
          <ac:spMkLst>
            <pc:docMk/>
            <pc:sldMk cId="2075895368" sldId="1881839216"/>
            <ac:spMk id="19" creationId="{470D133A-0082-D152-AC9E-6E03690117C6}"/>
          </ac:spMkLst>
        </pc:spChg>
        <pc:spChg chg="add mod">
          <ac:chgData name="Anara Samambayeva" userId="40372071-4642-4757-8ccf-dba3b5920c09" providerId="ADAL" clId="{6991BE2B-A3E7-4DB2-B967-3EF30E6FE166}" dt="2025-07-01T10:23:02.070" v="10754" actId="1076"/>
          <ac:spMkLst>
            <pc:docMk/>
            <pc:sldMk cId="2075895368" sldId="1881839216"/>
            <ac:spMk id="20" creationId="{0BCA0A81-50EE-BF28-A245-8F70763B60DC}"/>
          </ac:spMkLst>
        </pc:spChg>
        <pc:spChg chg="add mod">
          <ac:chgData name="Anara Samambayeva" userId="40372071-4642-4757-8ccf-dba3b5920c09" providerId="ADAL" clId="{6991BE2B-A3E7-4DB2-B967-3EF30E6FE166}" dt="2025-07-01T10:22:54.919" v="10753" actId="1076"/>
          <ac:spMkLst>
            <pc:docMk/>
            <pc:sldMk cId="2075895368" sldId="1881839216"/>
            <ac:spMk id="21" creationId="{FA1EEFDF-5202-3F23-5AA7-CDDB82DE754F}"/>
          </ac:spMkLst>
        </pc:spChg>
        <pc:spChg chg="add mod ord">
          <ac:chgData name="Anara Samambayeva" userId="40372071-4642-4757-8ccf-dba3b5920c09" providerId="ADAL" clId="{6991BE2B-A3E7-4DB2-B967-3EF30E6FE166}" dt="2025-07-01T10:22:37.875" v="10751" actId="1076"/>
          <ac:spMkLst>
            <pc:docMk/>
            <pc:sldMk cId="2075895368" sldId="1881839216"/>
            <ac:spMk id="22" creationId="{09823BE1-A3CC-B4E8-1817-25FA3222A8EA}"/>
          </ac:spMkLst>
        </pc:spChg>
      </pc:sldChg>
      <pc:sldChg chg="modSp add del">
        <pc:chgData name="Anara Samambayeva" userId="40372071-4642-4757-8ccf-dba3b5920c09" providerId="ADAL" clId="{6991BE2B-A3E7-4DB2-B967-3EF30E6FE166}" dt="2025-07-01T09:24:13.987" v="10517" actId="47"/>
        <pc:sldMkLst>
          <pc:docMk/>
          <pc:sldMk cId="526787569" sldId="1881839217"/>
        </pc:sldMkLst>
        <pc:graphicFrameChg chg="mod">
          <ac:chgData name="Anara Samambayeva" userId="40372071-4642-4757-8ccf-dba3b5920c09" providerId="ADAL" clId="{6991BE2B-A3E7-4DB2-B967-3EF30E6FE166}" dt="2025-07-01T09:23:39.612" v="10516" actId="21"/>
          <ac:graphicFrameMkLst>
            <pc:docMk/>
            <pc:sldMk cId="526787569" sldId="1881839217"/>
            <ac:graphicFrameMk id="7" creationId="{51DD0D49-B72D-75D6-38BC-25EF20262596}"/>
          </ac:graphicFrameMkLst>
        </pc:graphicFrameChg>
      </pc:sldChg>
      <pc:sldChg chg="addSp modSp add del mod">
        <pc:chgData name="Anara Samambayeva" userId="40372071-4642-4757-8ccf-dba3b5920c09" providerId="ADAL" clId="{6991BE2B-A3E7-4DB2-B967-3EF30E6FE166}" dt="2025-07-01T08:20:18.556" v="8984" actId="47"/>
        <pc:sldMkLst>
          <pc:docMk/>
          <pc:sldMk cId="1613384052" sldId="1881839217"/>
        </pc:sldMkLst>
        <pc:spChg chg="mod">
          <ac:chgData name="Anara Samambayeva" userId="40372071-4642-4757-8ccf-dba3b5920c09" providerId="ADAL" clId="{6991BE2B-A3E7-4DB2-B967-3EF30E6FE166}" dt="2025-07-01T08:19:42.133" v="8648"/>
          <ac:spMkLst>
            <pc:docMk/>
            <pc:sldMk cId="1613384052" sldId="1881839217"/>
            <ac:spMk id="7" creationId="{51742195-BD54-2032-C1A5-3F2C7569A2A4}"/>
          </ac:spMkLst>
        </pc:spChg>
        <pc:spChg chg="mod">
          <ac:chgData name="Anara Samambayeva" userId="40372071-4642-4757-8ccf-dba3b5920c09" providerId="ADAL" clId="{6991BE2B-A3E7-4DB2-B967-3EF30E6FE166}" dt="2025-07-01T08:19:42.133" v="8648"/>
          <ac:spMkLst>
            <pc:docMk/>
            <pc:sldMk cId="1613384052" sldId="1881839217"/>
            <ac:spMk id="8" creationId="{C1346299-667A-1292-F4E5-6415516C3D91}"/>
          </ac:spMkLst>
        </pc:spChg>
        <pc:spChg chg="mod">
          <ac:chgData name="Anara Samambayeva" userId="40372071-4642-4757-8ccf-dba3b5920c09" providerId="ADAL" clId="{6991BE2B-A3E7-4DB2-B967-3EF30E6FE166}" dt="2025-07-01T08:19:42.140" v="8649"/>
          <ac:spMkLst>
            <pc:docMk/>
            <pc:sldMk cId="1613384052" sldId="1881839217"/>
            <ac:spMk id="10" creationId="{4866016C-BC16-E1AD-3D64-4919ECD37E0B}"/>
          </ac:spMkLst>
        </pc:spChg>
        <pc:spChg chg="mod">
          <ac:chgData name="Anara Samambayeva" userId="40372071-4642-4757-8ccf-dba3b5920c09" providerId="ADAL" clId="{6991BE2B-A3E7-4DB2-B967-3EF30E6FE166}" dt="2025-07-01T08:19:42.140" v="8649"/>
          <ac:spMkLst>
            <pc:docMk/>
            <pc:sldMk cId="1613384052" sldId="1881839217"/>
            <ac:spMk id="11" creationId="{A4329CA9-3C57-4ADD-80FF-11F24827D6F0}"/>
          </ac:spMkLst>
        </pc:spChg>
        <pc:spChg chg="mod">
          <ac:chgData name="Anara Samambayeva" userId="40372071-4642-4757-8ccf-dba3b5920c09" providerId="ADAL" clId="{6991BE2B-A3E7-4DB2-B967-3EF30E6FE166}" dt="2025-07-01T08:19:42.147" v="8650"/>
          <ac:spMkLst>
            <pc:docMk/>
            <pc:sldMk cId="1613384052" sldId="1881839217"/>
            <ac:spMk id="13" creationId="{4AAA9D5E-2224-C22C-8235-5EF5C03BC32F}"/>
          </ac:spMkLst>
        </pc:spChg>
        <pc:spChg chg="mod">
          <ac:chgData name="Anara Samambayeva" userId="40372071-4642-4757-8ccf-dba3b5920c09" providerId="ADAL" clId="{6991BE2B-A3E7-4DB2-B967-3EF30E6FE166}" dt="2025-07-01T08:19:42.147" v="8650"/>
          <ac:spMkLst>
            <pc:docMk/>
            <pc:sldMk cId="1613384052" sldId="1881839217"/>
            <ac:spMk id="14" creationId="{1EF0CCFF-B422-23A4-2CC8-F42336D34E7D}"/>
          </ac:spMkLst>
        </pc:spChg>
        <pc:spChg chg="add mod">
          <ac:chgData name="Anara Samambayeva" userId="40372071-4642-4757-8ccf-dba3b5920c09" providerId="ADAL" clId="{6991BE2B-A3E7-4DB2-B967-3EF30E6FE166}" dt="2025-07-01T08:19:42.199" v="8672" actId="14"/>
          <ac:spMkLst>
            <pc:docMk/>
            <pc:sldMk cId="1613384052" sldId="1881839217"/>
            <ac:spMk id="15" creationId="{D5A6751D-950D-58E3-F991-1AC0C45A4C27}"/>
          </ac:spMkLst>
        </pc:spChg>
        <pc:spChg chg="add mod">
          <ac:chgData name="Anara Samambayeva" userId="40372071-4642-4757-8ccf-dba3b5920c09" providerId="ADAL" clId="{6991BE2B-A3E7-4DB2-B967-3EF30E6FE166}" dt="2025-07-01T08:19:42.229" v="8692" actId="14"/>
          <ac:spMkLst>
            <pc:docMk/>
            <pc:sldMk cId="1613384052" sldId="1881839217"/>
            <ac:spMk id="16" creationId="{DAAA9C06-EF03-EA6C-53CE-68CB732E77B1}"/>
          </ac:spMkLst>
        </pc:spChg>
        <pc:spChg chg="add mod">
          <ac:chgData name="Anara Samambayeva" userId="40372071-4642-4757-8ccf-dba3b5920c09" providerId="ADAL" clId="{6991BE2B-A3E7-4DB2-B967-3EF30E6FE166}" dt="2025-07-01T08:19:42.268" v="8712" actId="14"/>
          <ac:spMkLst>
            <pc:docMk/>
            <pc:sldMk cId="1613384052" sldId="1881839217"/>
            <ac:spMk id="17" creationId="{89DA497E-83F6-0E3D-C05F-3F308678D00B}"/>
          </ac:spMkLst>
        </pc:spChg>
        <pc:spChg chg="add mod">
          <ac:chgData name="Anara Samambayeva" userId="40372071-4642-4757-8ccf-dba3b5920c09" providerId="ADAL" clId="{6991BE2B-A3E7-4DB2-B967-3EF30E6FE166}" dt="2025-07-01T08:19:42.302" v="8732" actId="14"/>
          <ac:spMkLst>
            <pc:docMk/>
            <pc:sldMk cId="1613384052" sldId="1881839217"/>
            <ac:spMk id="18" creationId="{4CF74933-2C2B-5779-1CE7-6BBA9856D2E4}"/>
          </ac:spMkLst>
        </pc:spChg>
        <pc:grpChg chg="add mod">
          <ac:chgData name="Anara Samambayeva" userId="40372071-4642-4757-8ccf-dba3b5920c09" providerId="ADAL" clId="{6991BE2B-A3E7-4DB2-B967-3EF30E6FE166}" dt="2025-07-01T08:19:42.133" v="8648"/>
          <ac:grpSpMkLst>
            <pc:docMk/>
            <pc:sldMk cId="1613384052" sldId="1881839217"/>
            <ac:grpSpMk id="6" creationId="{AC892D20-B223-8A8E-BB79-CC3E8C1602C7}"/>
          </ac:grpSpMkLst>
        </pc:grpChg>
        <pc:grpChg chg="add mod">
          <ac:chgData name="Anara Samambayeva" userId="40372071-4642-4757-8ccf-dba3b5920c09" providerId="ADAL" clId="{6991BE2B-A3E7-4DB2-B967-3EF30E6FE166}" dt="2025-07-01T08:19:42.140" v="8649"/>
          <ac:grpSpMkLst>
            <pc:docMk/>
            <pc:sldMk cId="1613384052" sldId="1881839217"/>
            <ac:grpSpMk id="9" creationId="{2898DCE6-4E2D-B79E-F7BB-C674BF6D3E39}"/>
          </ac:grpSpMkLst>
        </pc:grpChg>
        <pc:grpChg chg="add mod">
          <ac:chgData name="Anara Samambayeva" userId="40372071-4642-4757-8ccf-dba3b5920c09" providerId="ADAL" clId="{6991BE2B-A3E7-4DB2-B967-3EF30E6FE166}" dt="2025-07-01T08:19:42.147" v="8650"/>
          <ac:grpSpMkLst>
            <pc:docMk/>
            <pc:sldMk cId="1613384052" sldId="1881839217"/>
            <ac:grpSpMk id="12" creationId="{64CC2EBA-534F-BDEE-E687-1B10C96A8855}"/>
          </ac:grpSpMkLst>
        </pc:grpChg>
      </pc:sldChg>
      <pc:sldChg chg="addSp modSp add del mod">
        <pc:chgData name="Anara Samambayeva" userId="40372071-4642-4757-8ccf-dba3b5920c09" providerId="ADAL" clId="{6991BE2B-A3E7-4DB2-B967-3EF30E6FE166}" dt="2025-07-01T08:32:46.663" v="9634" actId="47"/>
        <pc:sldMkLst>
          <pc:docMk/>
          <pc:sldMk cId="3845180170" sldId="1881839218"/>
        </pc:sldMkLst>
        <pc:spChg chg="add mod">
          <ac:chgData name="Anara Samambayeva" userId="40372071-4642-4757-8ccf-dba3b5920c09" providerId="ADAL" clId="{6991BE2B-A3E7-4DB2-B967-3EF30E6FE166}" dt="2025-07-01T08:20:11.405" v="8755" actId="14"/>
          <ac:spMkLst>
            <pc:docMk/>
            <pc:sldMk cId="3845180170" sldId="1881839218"/>
            <ac:spMk id="6" creationId="{11D0F4F4-829A-B5F4-DE40-54D1604C2392}"/>
          </ac:spMkLst>
        </pc:spChg>
        <pc:spChg chg="add mod">
          <ac:chgData name="Anara Samambayeva" userId="40372071-4642-4757-8ccf-dba3b5920c09" providerId="ADAL" clId="{6991BE2B-A3E7-4DB2-B967-3EF30E6FE166}" dt="2025-07-01T08:20:11.421" v="8763" actId="948"/>
          <ac:spMkLst>
            <pc:docMk/>
            <pc:sldMk cId="3845180170" sldId="1881839218"/>
            <ac:spMk id="7" creationId="{1F3338FE-3011-E881-1B97-461D15AAE3DA}"/>
          </ac:spMkLst>
        </pc:spChg>
        <pc:spChg chg="add mod">
          <ac:chgData name="Anara Samambayeva" userId="40372071-4642-4757-8ccf-dba3b5920c09" providerId="ADAL" clId="{6991BE2B-A3E7-4DB2-B967-3EF30E6FE166}" dt="2025-07-01T08:20:11.432" v="8771" actId="948"/>
          <ac:spMkLst>
            <pc:docMk/>
            <pc:sldMk cId="3845180170" sldId="1881839218"/>
            <ac:spMk id="8" creationId="{F9615E90-B631-0082-854F-D688D4F2D716}"/>
          </ac:spMkLst>
        </pc:spChg>
        <pc:spChg chg="add mod">
          <ac:chgData name="Anara Samambayeva" userId="40372071-4642-4757-8ccf-dba3b5920c09" providerId="ADAL" clId="{6991BE2B-A3E7-4DB2-B967-3EF30E6FE166}" dt="2025-07-01T08:20:11.447" v="8779" actId="948"/>
          <ac:spMkLst>
            <pc:docMk/>
            <pc:sldMk cId="3845180170" sldId="1881839218"/>
            <ac:spMk id="9" creationId="{A5500853-1B91-0B1E-BD29-2093016002E6}"/>
          </ac:spMkLst>
        </pc:spChg>
        <pc:spChg chg="add mod">
          <ac:chgData name="Anara Samambayeva" userId="40372071-4642-4757-8ccf-dba3b5920c09" providerId="ADAL" clId="{6991BE2B-A3E7-4DB2-B967-3EF30E6FE166}" dt="2025-07-01T08:20:11.459" v="8787" actId="948"/>
          <ac:spMkLst>
            <pc:docMk/>
            <pc:sldMk cId="3845180170" sldId="1881839218"/>
            <ac:spMk id="10" creationId="{659A3E76-0E41-D101-8E21-94AA4914ECBE}"/>
          </ac:spMkLst>
        </pc:spChg>
        <pc:spChg chg="add mod">
          <ac:chgData name="Anara Samambayeva" userId="40372071-4642-4757-8ccf-dba3b5920c09" providerId="ADAL" clId="{6991BE2B-A3E7-4DB2-B967-3EF30E6FE166}" dt="2025-07-01T08:20:11.468" v="8795" actId="948"/>
          <ac:spMkLst>
            <pc:docMk/>
            <pc:sldMk cId="3845180170" sldId="1881839218"/>
            <ac:spMk id="11" creationId="{18A24961-536E-76E5-63B3-D0A019C7B450}"/>
          </ac:spMkLst>
        </pc:spChg>
        <pc:spChg chg="add mod">
          <ac:chgData name="Anara Samambayeva" userId="40372071-4642-4757-8ccf-dba3b5920c09" providerId="ADAL" clId="{6991BE2B-A3E7-4DB2-B967-3EF30E6FE166}" dt="2025-07-01T08:20:11.485" v="8803" actId="948"/>
          <ac:spMkLst>
            <pc:docMk/>
            <pc:sldMk cId="3845180170" sldId="1881839218"/>
            <ac:spMk id="12" creationId="{00AF5D99-DE6C-ACBA-27DE-0923A444CD70}"/>
          </ac:spMkLst>
        </pc:spChg>
        <pc:spChg chg="add mod">
          <ac:chgData name="Anara Samambayeva" userId="40372071-4642-4757-8ccf-dba3b5920c09" providerId="ADAL" clId="{6991BE2B-A3E7-4DB2-B967-3EF30E6FE166}" dt="2025-07-01T08:20:11.498" v="8811" actId="948"/>
          <ac:spMkLst>
            <pc:docMk/>
            <pc:sldMk cId="3845180170" sldId="1881839218"/>
            <ac:spMk id="13" creationId="{DD05BCA9-5E5D-5EE1-F459-1B7600D5A77F}"/>
          </ac:spMkLst>
        </pc:spChg>
        <pc:spChg chg="add mod">
          <ac:chgData name="Anara Samambayeva" userId="40372071-4642-4757-8ccf-dba3b5920c09" providerId="ADAL" clId="{6991BE2B-A3E7-4DB2-B967-3EF30E6FE166}" dt="2025-07-01T08:20:11.511" v="8819" actId="948"/>
          <ac:spMkLst>
            <pc:docMk/>
            <pc:sldMk cId="3845180170" sldId="1881839218"/>
            <ac:spMk id="14" creationId="{EE30B256-6478-76A3-3CEC-1CC1D5B325FC}"/>
          </ac:spMkLst>
        </pc:spChg>
        <pc:spChg chg="add mod">
          <ac:chgData name="Anara Samambayeva" userId="40372071-4642-4757-8ccf-dba3b5920c09" providerId="ADAL" clId="{6991BE2B-A3E7-4DB2-B967-3EF30E6FE166}" dt="2025-07-01T08:20:11.523" v="8827" actId="948"/>
          <ac:spMkLst>
            <pc:docMk/>
            <pc:sldMk cId="3845180170" sldId="1881839218"/>
            <ac:spMk id="15" creationId="{2101FAAE-A99D-8869-B2C6-FBB81E1FC3EB}"/>
          </ac:spMkLst>
        </pc:spChg>
        <pc:spChg chg="add mod">
          <ac:chgData name="Anara Samambayeva" userId="40372071-4642-4757-8ccf-dba3b5920c09" providerId="ADAL" clId="{6991BE2B-A3E7-4DB2-B967-3EF30E6FE166}" dt="2025-07-01T08:20:11.548" v="8847" actId="14"/>
          <ac:spMkLst>
            <pc:docMk/>
            <pc:sldMk cId="3845180170" sldId="1881839218"/>
            <ac:spMk id="16" creationId="{0274C0CB-D28B-FED4-2477-2C63A4420738}"/>
          </ac:spMkLst>
        </pc:spChg>
        <pc:spChg chg="add mod">
          <ac:chgData name="Anara Samambayeva" userId="40372071-4642-4757-8ccf-dba3b5920c09" providerId="ADAL" clId="{6991BE2B-A3E7-4DB2-B967-3EF30E6FE166}" dt="2025-07-01T08:20:11.576" v="8867" actId="14"/>
          <ac:spMkLst>
            <pc:docMk/>
            <pc:sldMk cId="3845180170" sldId="1881839218"/>
            <ac:spMk id="17" creationId="{A6AE529B-CB67-8DAD-7CDB-8B0D42FB9217}"/>
          </ac:spMkLst>
        </pc:spChg>
        <pc:spChg chg="add mod">
          <ac:chgData name="Anara Samambayeva" userId="40372071-4642-4757-8ccf-dba3b5920c09" providerId="ADAL" clId="{6991BE2B-A3E7-4DB2-B967-3EF30E6FE166}" dt="2025-07-01T08:20:11.610" v="8887" actId="14"/>
          <ac:spMkLst>
            <pc:docMk/>
            <pc:sldMk cId="3845180170" sldId="1881839218"/>
            <ac:spMk id="18" creationId="{E23273AB-8C00-1D18-82AA-41E4A9C29741}"/>
          </ac:spMkLst>
        </pc:spChg>
        <pc:spChg chg="add mod">
          <ac:chgData name="Anara Samambayeva" userId="40372071-4642-4757-8ccf-dba3b5920c09" providerId="ADAL" clId="{6991BE2B-A3E7-4DB2-B967-3EF30E6FE166}" dt="2025-07-01T08:20:11.659" v="8919" actId="14"/>
          <ac:spMkLst>
            <pc:docMk/>
            <pc:sldMk cId="3845180170" sldId="1881839218"/>
            <ac:spMk id="19" creationId="{AAC9E0CE-1DE3-FF70-88F6-C0C45F49EDB9}"/>
          </ac:spMkLst>
        </pc:spChg>
        <pc:spChg chg="add mod">
          <ac:chgData name="Anara Samambayeva" userId="40372071-4642-4757-8ccf-dba3b5920c09" providerId="ADAL" clId="{6991BE2B-A3E7-4DB2-B967-3EF30E6FE166}" dt="2025-07-01T08:20:11.703" v="8951" actId="14"/>
          <ac:spMkLst>
            <pc:docMk/>
            <pc:sldMk cId="3845180170" sldId="1881839218"/>
            <ac:spMk id="20" creationId="{91AF4F35-244B-B3E0-4DCE-005F718D8C03}"/>
          </ac:spMkLst>
        </pc:spChg>
        <pc:spChg chg="add mod">
          <ac:chgData name="Anara Samambayeva" userId="40372071-4642-4757-8ccf-dba3b5920c09" providerId="ADAL" clId="{6991BE2B-A3E7-4DB2-B967-3EF30E6FE166}" dt="2025-07-01T08:20:11.756" v="8983" actId="14"/>
          <ac:spMkLst>
            <pc:docMk/>
            <pc:sldMk cId="3845180170" sldId="1881839218"/>
            <ac:spMk id="21" creationId="{4A517C12-CE96-4B41-25BF-79579C18D3C5}"/>
          </ac:spMkLst>
        </pc:spChg>
      </pc:sldChg>
      <pc:sldChg chg="add del mod modShow">
        <pc:chgData name="Anara Samambayeva" userId="40372071-4642-4757-8ccf-dba3b5920c09" providerId="ADAL" clId="{6991BE2B-A3E7-4DB2-B967-3EF30E6FE166}" dt="2025-07-01T10:18:49.803" v="10713" actId="47"/>
        <pc:sldMkLst>
          <pc:docMk/>
          <pc:sldMk cId="2653211562" sldId="1881839219"/>
        </pc:sldMkLst>
      </pc:sldChg>
      <pc:sldChg chg="addSp delSp modSp add del mod">
        <pc:chgData name="Anara Samambayeva" userId="40372071-4642-4757-8ccf-dba3b5920c09" providerId="ADAL" clId="{6991BE2B-A3E7-4DB2-B967-3EF30E6FE166}" dt="2025-07-01T08:32:47.874" v="9635" actId="47"/>
        <pc:sldMkLst>
          <pc:docMk/>
          <pc:sldMk cId="2820373506" sldId="1881839219"/>
        </pc:sldMkLst>
        <pc:spChg chg="add del mod">
          <ac:chgData name="Anara Samambayeva" userId="40372071-4642-4757-8ccf-dba3b5920c09" providerId="ADAL" clId="{6991BE2B-A3E7-4DB2-B967-3EF30E6FE166}" dt="2025-07-01T08:20:50.350" v="9168" actId="21"/>
          <ac:spMkLst>
            <pc:docMk/>
            <pc:sldMk cId="2820373506" sldId="1881839219"/>
            <ac:spMk id="6" creationId="{2F6DFD38-0A37-4629-023A-0BCE4D465D6A}"/>
          </ac:spMkLst>
        </pc:spChg>
        <pc:spChg chg="add del mod">
          <ac:chgData name="Anara Samambayeva" userId="40372071-4642-4757-8ccf-dba3b5920c09" providerId="ADAL" clId="{6991BE2B-A3E7-4DB2-B967-3EF30E6FE166}" dt="2025-07-01T08:20:50.350" v="9168" actId="21"/>
          <ac:spMkLst>
            <pc:docMk/>
            <pc:sldMk cId="2820373506" sldId="1881839219"/>
            <ac:spMk id="7" creationId="{FB8BB647-5D43-E70D-1B85-CC43C5B15314}"/>
          </ac:spMkLst>
        </pc:spChg>
        <pc:spChg chg="add del mod">
          <ac:chgData name="Anara Samambayeva" userId="40372071-4642-4757-8ccf-dba3b5920c09" providerId="ADAL" clId="{6991BE2B-A3E7-4DB2-B967-3EF30E6FE166}" dt="2025-07-01T08:20:50.350" v="9168" actId="21"/>
          <ac:spMkLst>
            <pc:docMk/>
            <pc:sldMk cId="2820373506" sldId="1881839219"/>
            <ac:spMk id="8" creationId="{48E88663-CE93-4E76-F660-4D5240BD1491}"/>
          </ac:spMkLst>
        </pc:spChg>
        <pc:spChg chg="add mod">
          <ac:chgData name="Anara Samambayeva" userId="40372071-4642-4757-8ccf-dba3b5920c09" providerId="ADAL" clId="{6991BE2B-A3E7-4DB2-B967-3EF30E6FE166}" dt="2025-07-01T08:20:32.933" v="9103" actId="14"/>
          <ac:spMkLst>
            <pc:docMk/>
            <pc:sldMk cId="2820373506" sldId="1881839219"/>
            <ac:spMk id="9" creationId="{5D2F02CE-C368-EC34-1CB1-C0FDD92B4DD0}"/>
          </ac:spMkLst>
        </pc:spChg>
        <pc:spChg chg="add del mod">
          <ac:chgData name="Anara Samambayeva" userId="40372071-4642-4757-8ccf-dba3b5920c09" providerId="ADAL" clId="{6991BE2B-A3E7-4DB2-B967-3EF30E6FE166}" dt="2025-07-01T08:20:50.350" v="9168" actId="21"/>
          <ac:spMkLst>
            <pc:docMk/>
            <pc:sldMk cId="2820373506" sldId="1881839219"/>
            <ac:spMk id="10" creationId="{8094079C-7275-BA62-A09A-B625CD7558E9}"/>
          </ac:spMkLst>
        </pc:spChg>
        <pc:spChg chg="add del mod">
          <ac:chgData name="Anara Samambayeva" userId="40372071-4642-4757-8ccf-dba3b5920c09" providerId="ADAL" clId="{6991BE2B-A3E7-4DB2-B967-3EF30E6FE166}" dt="2025-07-01T08:20:50.350" v="9168" actId="21"/>
          <ac:spMkLst>
            <pc:docMk/>
            <pc:sldMk cId="2820373506" sldId="1881839219"/>
            <ac:spMk id="11" creationId="{06A955D2-C976-37AE-6C8C-0EEF5C89347C}"/>
          </ac:spMkLst>
        </pc:spChg>
        <pc:spChg chg="add del mod">
          <ac:chgData name="Anara Samambayeva" userId="40372071-4642-4757-8ccf-dba3b5920c09" providerId="ADAL" clId="{6991BE2B-A3E7-4DB2-B967-3EF30E6FE166}" dt="2025-07-01T08:20:50.350" v="9168" actId="21"/>
          <ac:spMkLst>
            <pc:docMk/>
            <pc:sldMk cId="2820373506" sldId="1881839219"/>
            <ac:spMk id="12" creationId="{A11915EF-92BC-8CCD-73E4-FAC0728767EC}"/>
          </ac:spMkLst>
        </pc:spChg>
      </pc:sldChg>
      <pc:sldChg chg="delSp modSp add mod">
        <pc:chgData name="Anara Samambayeva" userId="40372071-4642-4757-8ccf-dba3b5920c09" providerId="ADAL" clId="{6991BE2B-A3E7-4DB2-B967-3EF30E6FE166}" dt="2025-07-01T11:46:09.590" v="11629" actId="1076"/>
        <pc:sldMkLst>
          <pc:docMk/>
          <pc:sldMk cId="3672456631" sldId="1881839219"/>
        </pc:sldMkLst>
        <pc:spChg chg="mod">
          <ac:chgData name="Anara Samambayeva" userId="40372071-4642-4757-8ccf-dba3b5920c09" providerId="ADAL" clId="{6991BE2B-A3E7-4DB2-B967-3EF30E6FE166}" dt="2025-07-01T11:44:47.939" v="11510" actId="20577"/>
          <ac:spMkLst>
            <pc:docMk/>
            <pc:sldMk cId="3672456631" sldId="1881839219"/>
            <ac:spMk id="5" creationId="{BCB9EB11-3C7C-A330-F08F-6B5FDBC74AEF}"/>
          </ac:spMkLst>
        </pc:spChg>
        <pc:spChg chg="mod">
          <ac:chgData name="Anara Samambayeva" userId="40372071-4642-4757-8ccf-dba3b5920c09" providerId="ADAL" clId="{6991BE2B-A3E7-4DB2-B967-3EF30E6FE166}" dt="2025-07-01T11:44:51.697" v="11514" actId="20577"/>
          <ac:spMkLst>
            <pc:docMk/>
            <pc:sldMk cId="3672456631" sldId="1881839219"/>
            <ac:spMk id="6" creationId="{2CA21184-E471-F84A-DC86-80244BCD3848}"/>
          </ac:spMkLst>
        </pc:spChg>
        <pc:spChg chg="mod">
          <ac:chgData name="Anara Samambayeva" userId="40372071-4642-4757-8ccf-dba3b5920c09" providerId="ADAL" clId="{6991BE2B-A3E7-4DB2-B967-3EF30E6FE166}" dt="2025-07-01T11:46:09.590" v="11629" actId="1076"/>
          <ac:spMkLst>
            <pc:docMk/>
            <pc:sldMk cId="3672456631" sldId="1881839219"/>
            <ac:spMk id="7" creationId="{EE6B3FEC-D249-9D98-75DC-3FD3C5CF9A8D}"/>
          </ac:spMkLst>
        </pc:spChg>
        <pc:spChg chg="mod">
          <ac:chgData name="Anara Samambayeva" userId="40372071-4642-4757-8ccf-dba3b5920c09" providerId="ADAL" clId="{6991BE2B-A3E7-4DB2-B967-3EF30E6FE166}" dt="2025-07-01T11:46:05.062" v="11628" actId="1076"/>
          <ac:spMkLst>
            <pc:docMk/>
            <pc:sldMk cId="3672456631" sldId="1881839219"/>
            <ac:spMk id="8" creationId="{96843EBA-43F7-07AB-95C8-AB9363F9941F}"/>
          </ac:spMkLst>
        </pc:spChg>
        <pc:spChg chg="mod">
          <ac:chgData name="Anara Samambayeva" userId="40372071-4642-4757-8ccf-dba3b5920c09" providerId="ADAL" clId="{6991BE2B-A3E7-4DB2-B967-3EF30E6FE166}" dt="2025-07-01T11:45:37.792" v="11627" actId="20577"/>
          <ac:spMkLst>
            <pc:docMk/>
            <pc:sldMk cId="3672456631" sldId="1881839219"/>
            <ac:spMk id="9" creationId="{1529660E-F627-E415-4617-3C6B3EA7D6D5}"/>
          </ac:spMkLst>
        </pc:spChg>
        <pc:spChg chg="del">
          <ac:chgData name="Anara Samambayeva" userId="40372071-4642-4757-8ccf-dba3b5920c09" providerId="ADAL" clId="{6991BE2B-A3E7-4DB2-B967-3EF30E6FE166}" dt="2025-07-01T11:08:10.737" v="11141" actId="478"/>
          <ac:spMkLst>
            <pc:docMk/>
            <pc:sldMk cId="3672456631" sldId="1881839219"/>
            <ac:spMk id="20" creationId="{23E22649-D866-B190-CBE6-E891A53F8275}"/>
          </ac:spMkLst>
        </pc:spChg>
        <pc:spChg chg="del">
          <ac:chgData name="Anara Samambayeva" userId="40372071-4642-4757-8ccf-dba3b5920c09" providerId="ADAL" clId="{6991BE2B-A3E7-4DB2-B967-3EF30E6FE166}" dt="2025-07-01T11:08:10.737" v="11141" actId="478"/>
          <ac:spMkLst>
            <pc:docMk/>
            <pc:sldMk cId="3672456631" sldId="1881839219"/>
            <ac:spMk id="23" creationId="{F5863859-FA75-4AAC-8002-EC6F17A311E7}"/>
          </ac:spMkLst>
        </pc:spChg>
        <pc:spChg chg="del">
          <ac:chgData name="Anara Samambayeva" userId="40372071-4642-4757-8ccf-dba3b5920c09" providerId="ADAL" clId="{6991BE2B-A3E7-4DB2-B967-3EF30E6FE166}" dt="2025-07-01T11:08:10.737" v="11141" actId="478"/>
          <ac:spMkLst>
            <pc:docMk/>
            <pc:sldMk cId="3672456631" sldId="1881839219"/>
            <ac:spMk id="24" creationId="{11F69594-AD94-5C4B-64FB-D0B7129013FC}"/>
          </ac:spMkLst>
        </pc:spChg>
        <pc:spChg chg="del">
          <ac:chgData name="Anara Samambayeva" userId="40372071-4642-4757-8ccf-dba3b5920c09" providerId="ADAL" clId="{6991BE2B-A3E7-4DB2-B967-3EF30E6FE166}" dt="2025-07-01T11:08:10.737" v="11141" actId="478"/>
          <ac:spMkLst>
            <pc:docMk/>
            <pc:sldMk cId="3672456631" sldId="1881839219"/>
            <ac:spMk id="25" creationId="{238B92F1-6E8F-3C05-A9A6-546032ABD57C}"/>
          </ac:spMkLst>
        </pc:spChg>
        <pc:spChg chg="del">
          <ac:chgData name="Anara Samambayeva" userId="40372071-4642-4757-8ccf-dba3b5920c09" providerId="ADAL" clId="{6991BE2B-A3E7-4DB2-B967-3EF30E6FE166}" dt="2025-07-01T11:08:07.814" v="11140" actId="478"/>
          <ac:spMkLst>
            <pc:docMk/>
            <pc:sldMk cId="3672456631" sldId="1881839219"/>
            <ac:spMk id="26" creationId="{F3818AA0-0762-F5A2-4D97-7B29131596C6}"/>
          </ac:spMkLst>
        </pc:spChg>
        <pc:spChg chg="del">
          <ac:chgData name="Anara Samambayeva" userId="40372071-4642-4757-8ccf-dba3b5920c09" providerId="ADAL" clId="{6991BE2B-A3E7-4DB2-B967-3EF30E6FE166}" dt="2025-07-01T11:08:04.837" v="11139" actId="478"/>
          <ac:spMkLst>
            <pc:docMk/>
            <pc:sldMk cId="3672456631" sldId="1881839219"/>
            <ac:spMk id="29" creationId="{B8C8E754-E8F8-D207-7A27-2BAB2F21F54D}"/>
          </ac:spMkLst>
        </pc:spChg>
        <pc:spChg chg="del">
          <ac:chgData name="Anara Samambayeva" userId="40372071-4642-4757-8ccf-dba3b5920c09" providerId="ADAL" clId="{6991BE2B-A3E7-4DB2-B967-3EF30E6FE166}" dt="2025-07-01T11:08:04.837" v="11139" actId="478"/>
          <ac:spMkLst>
            <pc:docMk/>
            <pc:sldMk cId="3672456631" sldId="1881839219"/>
            <ac:spMk id="30" creationId="{7C2D3E7F-8C73-A5C9-B530-E84463583E03}"/>
          </ac:spMkLst>
        </pc:spChg>
        <pc:spChg chg="del">
          <ac:chgData name="Anara Samambayeva" userId="40372071-4642-4757-8ccf-dba3b5920c09" providerId="ADAL" clId="{6991BE2B-A3E7-4DB2-B967-3EF30E6FE166}" dt="2025-07-01T11:08:04.837" v="11139" actId="478"/>
          <ac:spMkLst>
            <pc:docMk/>
            <pc:sldMk cId="3672456631" sldId="1881839219"/>
            <ac:spMk id="31" creationId="{75A0F4A1-AA3B-69A2-8606-9760A1FF0FD5}"/>
          </ac:spMkLst>
        </pc:spChg>
        <pc:spChg chg="del">
          <ac:chgData name="Anara Samambayeva" userId="40372071-4642-4757-8ccf-dba3b5920c09" providerId="ADAL" clId="{6991BE2B-A3E7-4DB2-B967-3EF30E6FE166}" dt="2025-07-01T11:08:04.837" v="11139" actId="478"/>
          <ac:spMkLst>
            <pc:docMk/>
            <pc:sldMk cId="3672456631" sldId="1881839219"/>
            <ac:spMk id="37" creationId="{A436C478-4553-904F-4304-74E53D3612D8}"/>
          </ac:spMkLst>
        </pc:spChg>
        <pc:cxnChg chg="del">
          <ac:chgData name="Anara Samambayeva" userId="40372071-4642-4757-8ccf-dba3b5920c09" providerId="ADAL" clId="{6991BE2B-A3E7-4DB2-B967-3EF30E6FE166}" dt="2025-07-01T11:08:10.737" v="11141" actId="478"/>
          <ac:cxnSpMkLst>
            <pc:docMk/>
            <pc:sldMk cId="3672456631" sldId="1881839219"/>
            <ac:cxnSpMk id="28" creationId="{8CD7F1A5-D402-63BF-5920-253DA951427A}"/>
          </ac:cxnSpMkLst>
        </pc:cxnChg>
        <pc:cxnChg chg="del">
          <ac:chgData name="Anara Samambayeva" userId="40372071-4642-4757-8ccf-dba3b5920c09" providerId="ADAL" clId="{6991BE2B-A3E7-4DB2-B967-3EF30E6FE166}" dt="2025-07-01T11:08:10.737" v="11141" actId="478"/>
          <ac:cxnSpMkLst>
            <pc:docMk/>
            <pc:sldMk cId="3672456631" sldId="1881839219"/>
            <ac:cxnSpMk id="33" creationId="{A31F7AF6-A1D4-2F1D-3257-3F5F3C67F9E2}"/>
          </ac:cxnSpMkLst>
        </pc:cxnChg>
        <pc:cxnChg chg="del">
          <ac:chgData name="Anara Samambayeva" userId="40372071-4642-4757-8ccf-dba3b5920c09" providerId="ADAL" clId="{6991BE2B-A3E7-4DB2-B967-3EF30E6FE166}" dt="2025-07-01T11:08:10.737" v="11141" actId="478"/>
          <ac:cxnSpMkLst>
            <pc:docMk/>
            <pc:sldMk cId="3672456631" sldId="1881839219"/>
            <ac:cxnSpMk id="34" creationId="{805E3520-807F-683E-350F-B4B51C547E24}"/>
          </ac:cxnSpMkLst>
        </pc:cxnChg>
      </pc:sldChg>
      <pc:sldChg chg="delSp modSp add del mod">
        <pc:chgData name="Anara Samambayeva" userId="40372071-4642-4757-8ccf-dba3b5920c09" providerId="ADAL" clId="{6991BE2B-A3E7-4DB2-B967-3EF30E6FE166}" dt="2025-07-01T11:20:53.108" v="11273" actId="47"/>
        <pc:sldMkLst>
          <pc:docMk/>
          <pc:sldMk cId="2921303286" sldId="1881839220"/>
        </pc:sldMkLst>
        <pc:spChg chg="del">
          <ac:chgData name="Anara Samambayeva" userId="40372071-4642-4757-8ccf-dba3b5920c09" providerId="ADAL" clId="{6991BE2B-A3E7-4DB2-B967-3EF30E6FE166}" dt="2025-07-01T11:11:14.008" v="11174" actId="21"/>
          <ac:spMkLst>
            <pc:docMk/>
            <pc:sldMk cId="2921303286" sldId="1881839220"/>
            <ac:spMk id="6" creationId="{F9D3FF4A-3AEF-B7A6-196F-003C4E74D058}"/>
          </ac:spMkLst>
        </pc:spChg>
        <pc:spChg chg="del">
          <ac:chgData name="Anara Samambayeva" userId="40372071-4642-4757-8ccf-dba3b5920c09" providerId="ADAL" clId="{6991BE2B-A3E7-4DB2-B967-3EF30E6FE166}" dt="2025-07-01T11:10:26.312" v="11168" actId="21"/>
          <ac:spMkLst>
            <pc:docMk/>
            <pc:sldMk cId="2921303286" sldId="1881839220"/>
            <ac:spMk id="8" creationId="{D02E93EF-12EA-E3CB-7880-58FD35507D48}"/>
          </ac:spMkLst>
        </pc:spChg>
        <pc:spChg chg="del">
          <ac:chgData name="Anara Samambayeva" userId="40372071-4642-4757-8ccf-dba3b5920c09" providerId="ADAL" clId="{6991BE2B-A3E7-4DB2-B967-3EF30E6FE166}" dt="2025-07-01T11:10:52.074" v="11171" actId="21"/>
          <ac:spMkLst>
            <pc:docMk/>
            <pc:sldMk cId="2921303286" sldId="1881839220"/>
            <ac:spMk id="9" creationId="{F74A5EC8-3DA2-8888-E238-8B66FB1B275B}"/>
          </ac:spMkLst>
        </pc:spChg>
        <pc:spChg chg="del">
          <ac:chgData name="Anara Samambayeva" userId="40372071-4642-4757-8ccf-dba3b5920c09" providerId="ADAL" clId="{6991BE2B-A3E7-4DB2-B967-3EF30E6FE166}" dt="2025-07-01T11:10:26.312" v="11168" actId="21"/>
          <ac:spMkLst>
            <pc:docMk/>
            <pc:sldMk cId="2921303286" sldId="1881839220"/>
            <ac:spMk id="12" creationId="{8EC32EC7-9503-3B7B-9E1E-DD19F06312C7}"/>
          </ac:spMkLst>
        </pc:spChg>
        <pc:spChg chg="del">
          <ac:chgData name="Anara Samambayeva" userId="40372071-4642-4757-8ccf-dba3b5920c09" providerId="ADAL" clId="{6991BE2B-A3E7-4DB2-B967-3EF30E6FE166}" dt="2025-07-01T11:10:52.074" v="11171" actId="21"/>
          <ac:spMkLst>
            <pc:docMk/>
            <pc:sldMk cId="2921303286" sldId="1881839220"/>
            <ac:spMk id="13" creationId="{E04701C5-C4F0-3946-7BCC-8DDACF086E4B}"/>
          </ac:spMkLst>
        </pc:spChg>
        <pc:spChg chg="mod">
          <ac:chgData name="Anara Samambayeva" userId="40372071-4642-4757-8ccf-dba3b5920c09" providerId="ADAL" clId="{6991BE2B-A3E7-4DB2-B967-3EF30E6FE166}" dt="2025-07-01T11:16:26.447" v="11213" actId="21"/>
          <ac:spMkLst>
            <pc:docMk/>
            <pc:sldMk cId="2921303286" sldId="1881839220"/>
            <ac:spMk id="26" creationId="{8CC32748-F13E-E142-8095-4997E4C00FBA}"/>
          </ac:spMkLst>
        </pc:spChg>
        <pc:spChg chg="mod">
          <ac:chgData name="Anara Samambayeva" userId="40372071-4642-4757-8ccf-dba3b5920c09" providerId="ADAL" clId="{6991BE2B-A3E7-4DB2-B967-3EF30E6FE166}" dt="2025-07-01T11:18:06.439" v="11245" actId="6549"/>
          <ac:spMkLst>
            <pc:docMk/>
            <pc:sldMk cId="2921303286" sldId="1881839220"/>
            <ac:spMk id="30" creationId="{342F1D70-15EA-3E81-D0FB-6C7DA15BABF8}"/>
          </ac:spMkLst>
        </pc:spChg>
        <pc:spChg chg="mod">
          <ac:chgData name="Anara Samambayeva" userId="40372071-4642-4757-8ccf-dba3b5920c09" providerId="ADAL" clId="{6991BE2B-A3E7-4DB2-B967-3EF30E6FE166}" dt="2025-07-01T11:17:18.945" v="11232" actId="21"/>
          <ac:spMkLst>
            <pc:docMk/>
            <pc:sldMk cId="2921303286" sldId="1881839220"/>
            <ac:spMk id="31" creationId="{F655039C-C273-9BF5-6B8E-75D1D5713E09}"/>
          </ac:spMkLst>
        </pc:spChg>
        <pc:spChg chg="mod">
          <ac:chgData name="Anara Samambayeva" userId="40372071-4642-4757-8ccf-dba3b5920c09" providerId="ADAL" clId="{6991BE2B-A3E7-4DB2-B967-3EF30E6FE166}" dt="2025-07-01T11:17:36.290" v="11239" actId="21"/>
          <ac:spMkLst>
            <pc:docMk/>
            <pc:sldMk cId="2921303286" sldId="1881839220"/>
            <ac:spMk id="32" creationId="{CBE572D4-663E-4EB7-32CC-AC029FFCAF20}"/>
          </ac:spMkLst>
        </pc:spChg>
        <pc:spChg chg="mod">
          <ac:chgData name="Anara Samambayeva" userId="40372071-4642-4757-8ccf-dba3b5920c09" providerId="ADAL" clId="{6991BE2B-A3E7-4DB2-B967-3EF30E6FE166}" dt="2025-07-01T11:17:50.186" v="11242" actId="21"/>
          <ac:spMkLst>
            <pc:docMk/>
            <pc:sldMk cId="2921303286" sldId="1881839220"/>
            <ac:spMk id="33" creationId="{3AD2C83B-BD95-069D-AA62-D19F09F05F2B}"/>
          </ac:spMkLst>
        </pc:spChg>
      </pc:sldChg>
    </pc:docChg>
  </pc:docChgLst>
  <pc:docChgLst>
    <pc:chgData name="Iurii A Timonin" userId="137ac8ae-cb77-41fe-9a0e-e62cb974b187" providerId="ADAL" clId="{97205E10-F37E-43D9-8A89-2C704460036C}"/>
    <pc:docChg chg="undo custSel addSld delSld modSld sldOrd">
      <pc:chgData name="Iurii A Timonin" userId="137ac8ae-cb77-41fe-9a0e-e62cb974b187" providerId="ADAL" clId="{97205E10-F37E-43D9-8A89-2C704460036C}" dt="2025-06-30T12:35:05.369" v="314" actId="20577"/>
      <pc:docMkLst>
        <pc:docMk/>
      </pc:docMkLst>
      <pc:sldChg chg="modSp mod">
        <pc:chgData name="Iurii A Timonin" userId="137ac8ae-cb77-41fe-9a0e-e62cb974b187" providerId="ADAL" clId="{97205E10-F37E-43D9-8A89-2C704460036C}" dt="2025-06-30T04:43:14.584" v="106" actId="14100"/>
        <pc:sldMkLst>
          <pc:docMk/>
          <pc:sldMk cId="3349765072" sldId="339"/>
        </pc:sldMkLst>
        <pc:spChg chg="mod">
          <ac:chgData name="Iurii A Timonin" userId="137ac8ae-cb77-41fe-9a0e-e62cb974b187" providerId="ADAL" clId="{97205E10-F37E-43D9-8A89-2C704460036C}" dt="2025-06-30T04:43:14.584" v="106" actId="14100"/>
          <ac:spMkLst>
            <pc:docMk/>
            <pc:sldMk cId="3349765072" sldId="339"/>
            <ac:spMk id="14" creationId="{8487B29E-0339-F12C-51D8-055BF9E100AD}"/>
          </ac:spMkLst>
        </pc:spChg>
      </pc:sldChg>
      <pc:sldChg chg="addSp delSp modSp mod">
        <pc:chgData name="Iurii A Timonin" userId="137ac8ae-cb77-41fe-9a0e-e62cb974b187" providerId="ADAL" clId="{97205E10-F37E-43D9-8A89-2C704460036C}" dt="2025-06-30T04:24:18.919" v="4" actId="1076"/>
        <pc:sldMkLst>
          <pc:docMk/>
          <pc:sldMk cId="2580639674" sldId="1881839103"/>
        </pc:sldMkLst>
        <pc:picChg chg="add mod">
          <ac:chgData name="Iurii A Timonin" userId="137ac8ae-cb77-41fe-9a0e-e62cb974b187" providerId="ADAL" clId="{97205E10-F37E-43D9-8A89-2C704460036C}" dt="2025-06-30T04:24:18.919" v="4" actId="1076"/>
          <ac:picMkLst>
            <pc:docMk/>
            <pc:sldMk cId="2580639674" sldId="1881839103"/>
            <ac:picMk id="7" creationId="{82D88FE4-56FF-41C5-DA59-A7C612FE990B}"/>
          </ac:picMkLst>
        </pc:picChg>
      </pc:sldChg>
      <pc:sldChg chg="del mod modShow">
        <pc:chgData name="Iurii A Timonin" userId="137ac8ae-cb77-41fe-9a0e-e62cb974b187" providerId="ADAL" clId="{97205E10-F37E-43D9-8A89-2C704460036C}" dt="2025-06-30T04:36:34.162" v="42" actId="2696"/>
        <pc:sldMkLst>
          <pc:docMk/>
          <pc:sldMk cId="3701002426" sldId="1881839152"/>
        </pc:sldMkLst>
      </pc:sldChg>
      <pc:sldChg chg="add">
        <pc:chgData name="Iurii A Timonin" userId="137ac8ae-cb77-41fe-9a0e-e62cb974b187" providerId="ADAL" clId="{97205E10-F37E-43D9-8A89-2C704460036C}" dt="2025-06-30T04:36:37.067" v="43"/>
        <pc:sldMkLst>
          <pc:docMk/>
          <pc:sldMk cId="3810579740" sldId="1881839152"/>
        </pc:sldMkLst>
      </pc:sldChg>
      <pc:sldChg chg="modSp mod">
        <pc:chgData name="Iurii A Timonin" userId="137ac8ae-cb77-41fe-9a0e-e62cb974b187" providerId="ADAL" clId="{97205E10-F37E-43D9-8A89-2C704460036C}" dt="2025-06-30T05:44:08.965" v="181" actId="404"/>
        <pc:sldMkLst>
          <pc:docMk/>
          <pc:sldMk cId="956982988" sldId="1881839161"/>
        </pc:sldMkLst>
        <pc:spChg chg="mod">
          <ac:chgData name="Iurii A Timonin" userId="137ac8ae-cb77-41fe-9a0e-e62cb974b187" providerId="ADAL" clId="{97205E10-F37E-43D9-8A89-2C704460036C}" dt="2025-06-30T05:44:08.965" v="181" actId="404"/>
          <ac:spMkLst>
            <pc:docMk/>
            <pc:sldMk cId="956982988" sldId="1881839161"/>
            <ac:spMk id="8" creationId="{D7B68DD8-5FAA-F882-4FC2-0D2AFA767D87}"/>
          </ac:spMkLst>
        </pc:spChg>
      </pc:sldChg>
      <pc:sldChg chg="modSp mod">
        <pc:chgData name="Iurii A Timonin" userId="137ac8ae-cb77-41fe-9a0e-e62cb974b187" providerId="ADAL" clId="{97205E10-F37E-43D9-8A89-2C704460036C}" dt="2025-06-30T04:42:11.174" v="82" actId="20577"/>
        <pc:sldMkLst>
          <pc:docMk/>
          <pc:sldMk cId="4278392226" sldId="1881839164"/>
        </pc:sldMkLst>
        <pc:spChg chg="mod">
          <ac:chgData name="Iurii A Timonin" userId="137ac8ae-cb77-41fe-9a0e-e62cb974b187" providerId="ADAL" clId="{97205E10-F37E-43D9-8A89-2C704460036C}" dt="2025-06-30T04:42:11.174" v="82" actId="20577"/>
          <ac:spMkLst>
            <pc:docMk/>
            <pc:sldMk cId="4278392226" sldId="1881839164"/>
            <ac:spMk id="8" creationId="{94885FE3-A62D-A363-25FF-69326CFEE007}"/>
          </ac:spMkLst>
        </pc:spChg>
      </pc:sldChg>
      <pc:sldChg chg="del">
        <pc:chgData name="Iurii A Timonin" userId="137ac8ae-cb77-41fe-9a0e-e62cb974b187" providerId="ADAL" clId="{97205E10-F37E-43D9-8A89-2C704460036C}" dt="2025-06-30T04:34:30.239" v="36" actId="2696"/>
        <pc:sldMkLst>
          <pc:docMk/>
          <pc:sldMk cId="2274233369" sldId="1881839168"/>
        </pc:sldMkLst>
      </pc:sldChg>
      <pc:sldChg chg="add">
        <pc:chgData name="Iurii A Timonin" userId="137ac8ae-cb77-41fe-9a0e-e62cb974b187" providerId="ADAL" clId="{97205E10-F37E-43D9-8A89-2C704460036C}" dt="2025-06-30T04:34:33.327" v="37"/>
        <pc:sldMkLst>
          <pc:docMk/>
          <pc:sldMk cId="3781492662" sldId="1881839168"/>
        </pc:sldMkLst>
      </pc:sldChg>
      <pc:sldChg chg="del">
        <pc:chgData name="Iurii A Timonin" userId="137ac8ae-cb77-41fe-9a0e-e62cb974b187" providerId="ADAL" clId="{97205E10-F37E-43D9-8A89-2C704460036C}" dt="2025-06-30T04:34:30.239" v="36" actId="2696"/>
        <pc:sldMkLst>
          <pc:docMk/>
          <pc:sldMk cId="1164041906" sldId="1881839169"/>
        </pc:sldMkLst>
      </pc:sldChg>
      <pc:sldChg chg="add">
        <pc:chgData name="Iurii A Timonin" userId="137ac8ae-cb77-41fe-9a0e-e62cb974b187" providerId="ADAL" clId="{97205E10-F37E-43D9-8A89-2C704460036C}" dt="2025-06-30T04:34:33.327" v="37"/>
        <pc:sldMkLst>
          <pc:docMk/>
          <pc:sldMk cId="2940153880" sldId="1881839169"/>
        </pc:sldMkLst>
      </pc:sldChg>
      <pc:sldChg chg="del mod modShow">
        <pc:chgData name="Iurii A Timonin" userId="137ac8ae-cb77-41fe-9a0e-e62cb974b187" providerId="ADAL" clId="{97205E10-F37E-43D9-8A89-2C704460036C}" dt="2025-06-30T04:36:34.162" v="42" actId="2696"/>
        <pc:sldMkLst>
          <pc:docMk/>
          <pc:sldMk cId="2910564422" sldId="1881839171"/>
        </pc:sldMkLst>
      </pc:sldChg>
      <pc:sldChg chg="add">
        <pc:chgData name="Iurii A Timonin" userId="137ac8ae-cb77-41fe-9a0e-e62cb974b187" providerId="ADAL" clId="{97205E10-F37E-43D9-8A89-2C704460036C}" dt="2025-06-30T04:36:37.067" v="43"/>
        <pc:sldMkLst>
          <pc:docMk/>
          <pc:sldMk cId="3878977229" sldId="1881839171"/>
        </pc:sldMkLst>
      </pc:sldChg>
      <pc:sldChg chg="modSp mod">
        <pc:chgData name="Iurii A Timonin" userId="137ac8ae-cb77-41fe-9a0e-e62cb974b187" providerId="ADAL" clId="{97205E10-F37E-43D9-8A89-2C704460036C}" dt="2025-06-30T04:35:55.553" v="40" actId="1076"/>
        <pc:sldMkLst>
          <pc:docMk/>
          <pc:sldMk cId="3888941547" sldId="1881839173"/>
        </pc:sldMkLst>
        <pc:spChg chg="mod">
          <ac:chgData name="Iurii A Timonin" userId="137ac8ae-cb77-41fe-9a0e-e62cb974b187" providerId="ADAL" clId="{97205E10-F37E-43D9-8A89-2C704460036C}" dt="2025-06-30T04:35:55.553" v="40" actId="1076"/>
          <ac:spMkLst>
            <pc:docMk/>
            <pc:sldMk cId="3888941547" sldId="1881839173"/>
            <ac:spMk id="27" creationId="{DD43B724-AE7F-46E9-9B33-C0B6B8843714}"/>
          </ac:spMkLst>
        </pc:spChg>
      </pc:sldChg>
      <pc:sldChg chg="ord">
        <pc:chgData name="Iurii A Timonin" userId="137ac8ae-cb77-41fe-9a0e-e62cb974b187" providerId="ADAL" clId="{97205E10-F37E-43D9-8A89-2C704460036C}" dt="2025-06-30T04:25:05.390" v="6"/>
        <pc:sldMkLst>
          <pc:docMk/>
          <pc:sldMk cId="3081756418" sldId="1881839178"/>
        </pc:sldMkLst>
      </pc:sldChg>
      <pc:sldChg chg="modSp mod">
        <pc:chgData name="Iurii A Timonin" userId="137ac8ae-cb77-41fe-9a0e-e62cb974b187" providerId="ADAL" clId="{97205E10-F37E-43D9-8A89-2C704460036C}" dt="2025-06-30T11:21:01.595" v="186" actId="1076"/>
        <pc:sldMkLst>
          <pc:docMk/>
          <pc:sldMk cId="158839205" sldId="1881839181"/>
        </pc:sldMkLst>
        <pc:spChg chg="mod">
          <ac:chgData name="Iurii A Timonin" userId="137ac8ae-cb77-41fe-9a0e-e62cb974b187" providerId="ADAL" clId="{97205E10-F37E-43D9-8A89-2C704460036C}" dt="2025-06-30T11:20:48.460" v="185" actId="1076"/>
          <ac:spMkLst>
            <pc:docMk/>
            <pc:sldMk cId="158839205" sldId="1881839181"/>
            <ac:spMk id="4" creationId="{5BA7EECA-6481-C75E-AB0B-1581C9254565}"/>
          </ac:spMkLst>
        </pc:spChg>
        <pc:spChg chg="mod">
          <ac:chgData name="Iurii A Timonin" userId="137ac8ae-cb77-41fe-9a0e-e62cb974b187" providerId="ADAL" clId="{97205E10-F37E-43D9-8A89-2C704460036C}" dt="2025-06-30T11:21:01.595" v="186" actId="1076"/>
          <ac:spMkLst>
            <pc:docMk/>
            <pc:sldMk cId="158839205" sldId="1881839181"/>
            <ac:spMk id="15" creationId="{4B5959B6-F13D-A38D-4814-B48527E60955}"/>
          </ac:spMkLst>
        </pc:spChg>
        <pc:graphicFrameChg chg="modGraphic">
          <ac:chgData name="Iurii A Timonin" userId="137ac8ae-cb77-41fe-9a0e-e62cb974b187" providerId="ADAL" clId="{97205E10-F37E-43D9-8A89-2C704460036C}" dt="2025-06-30T11:19:53.948" v="183" actId="207"/>
          <ac:graphicFrameMkLst>
            <pc:docMk/>
            <pc:sldMk cId="158839205" sldId="1881839181"/>
            <ac:graphicFrameMk id="2" creationId="{DBD97724-DBF9-DC45-8BBB-C84E7A461348}"/>
          </ac:graphicFrameMkLst>
        </pc:graphicFrameChg>
      </pc:sldChg>
      <pc:sldChg chg="modSp mod modNotesTx">
        <pc:chgData name="Iurii A Timonin" userId="137ac8ae-cb77-41fe-9a0e-e62cb974b187" providerId="ADAL" clId="{97205E10-F37E-43D9-8A89-2C704460036C}" dt="2025-06-30T12:23:15.136" v="257"/>
        <pc:sldMkLst>
          <pc:docMk/>
          <pc:sldMk cId="3115535368" sldId="1881839188"/>
        </pc:sldMkLst>
        <pc:graphicFrameChg chg="mod modGraphic">
          <ac:chgData name="Iurii A Timonin" userId="137ac8ae-cb77-41fe-9a0e-e62cb974b187" providerId="ADAL" clId="{97205E10-F37E-43D9-8A89-2C704460036C}" dt="2025-06-30T12:21:42.146" v="239" actId="21"/>
          <ac:graphicFrameMkLst>
            <pc:docMk/>
            <pc:sldMk cId="3115535368" sldId="1881839188"/>
            <ac:graphicFrameMk id="2" creationId="{D534602A-79A0-2701-1165-E8EC2A972A10}"/>
          </ac:graphicFrameMkLst>
        </pc:graphicFrameChg>
      </pc:sldChg>
      <pc:sldChg chg="delSp modSp mod">
        <pc:chgData name="Iurii A Timonin" userId="137ac8ae-cb77-41fe-9a0e-e62cb974b187" providerId="ADAL" clId="{97205E10-F37E-43D9-8A89-2C704460036C}" dt="2025-06-30T12:14:46.060" v="237" actId="14100"/>
        <pc:sldMkLst>
          <pc:docMk/>
          <pc:sldMk cId="2204379559" sldId="1881839192"/>
        </pc:sldMkLst>
      </pc:sldChg>
      <pc:sldChg chg="addSp delSp modSp add mod">
        <pc:chgData name="Iurii A Timonin" userId="137ac8ae-cb77-41fe-9a0e-e62cb974b187" providerId="ADAL" clId="{97205E10-F37E-43D9-8A89-2C704460036C}" dt="2025-06-30T04:30:36.415" v="16"/>
        <pc:sldMkLst>
          <pc:docMk/>
          <pc:sldMk cId="3913324376" sldId="1881839193"/>
        </pc:sldMkLst>
      </pc:sldChg>
      <pc:sldChg chg="addSp delSp modSp add mod">
        <pc:chgData name="Iurii A Timonin" userId="137ac8ae-cb77-41fe-9a0e-e62cb974b187" providerId="ADAL" clId="{97205E10-F37E-43D9-8A89-2C704460036C}" dt="2025-06-30T04:31:27.916" v="25"/>
        <pc:sldMkLst>
          <pc:docMk/>
          <pc:sldMk cId="3672484751" sldId="1881839194"/>
        </pc:sldMkLst>
      </pc:sldChg>
      <pc:sldChg chg="addSp delSp modSp add mod">
        <pc:chgData name="Iurii A Timonin" userId="137ac8ae-cb77-41fe-9a0e-e62cb974b187" providerId="ADAL" clId="{97205E10-F37E-43D9-8A89-2C704460036C}" dt="2025-06-30T04:31:58.581" v="30"/>
        <pc:sldMkLst>
          <pc:docMk/>
          <pc:sldMk cId="1631232436" sldId="1881839195"/>
        </pc:sldMkLst>
      </pc:sldChg>
      <pc:sldChg chg="addSp delSp modSp add mod">
        <pc:chgData name="Iurii A Timonin" userId="137ac8ae-cb77-41fe-9a0e-e62cb974b187" providerId="ADAL" clId="{97205E10-F37E-43D9-8A89-2C704460036C}" dt="2025-06-30T04:32:18.858" v="35"/>
        <pc:sldMkLst>
          <pc:docMk/>
          <pc:sldMk cId="1741460239" sldId="1881839196"/>
        </pc:sldMkLst>
      </pc:sldChg>
      <pc:sldChg chg="addSp delSp modSp add mod">
        <pc:chgData name="Iurii A Timonin" userId="137ac8ae-cb77-41fe-9a0e-e62cb974b187" providerId="ADAL" clId="{97205E10-F37E-43D9-8A89-2C704460036C}" dt="2025-06-30T04:38:24.569" v="49"/>
        <pc:sldMkLst>
          <pc:docMk/>
          <pc:sldMk cId="529677055" sldId="1881839197"/>
        </pc:sldMkLst>
        <pc:spChg chg="mod">
          <ac:chgData name="Iurii A Timonin" userId="137ac8ae-cb77-41fe-9a0e-e62cb974b187" providerId="ADAL" clId="{97205E10-F37E-43D9-8A89-2C704460036C}" dt="2025-06-30T04:38:24.569" v="49"/>
          <ac:spMkLst>
            <pc:docMk/>
            <pc:sldMk cId="529677055" sldId="1881839197"/>
            <ac:spMk id="5" creationId="{B2C36D4B-B832-8171-F0DF-A8A2C4B05F84}"/>
          </ac:spMkLst>
        </pc:spChg>
      </pc:sldChg>
      <pc:sldChg chg="add del">
        <pc:chgData name="Iurii A Timonin" userId="137ac8ae-cb77-41fe-9a0e-e62cb974b187" providerId="ADAL" clId="{97205E10-F37E-43D9-8A89-2C704460036C}" dt="2025-06-30T04:37:53.225" v="45"/>
        <pc:sldMkLst>
          <pc:docMk/>
          <pc:sldMk cId="740848057" sldId="1881839197"/>
        </pc:sldMkLst>
      </pc:sldChg>
      <pc:sldChg chg="addSp delSp modSp add mod">
        <pc:chgData name="Iurii A Timonin" userId="137ac8ae-cb77-41fe-9a0e-e62cb974b187" providerId="ADAL" clId="{97205E10-F37E-43D9-8A89-2C704460036C}" dt="2025-06-30T04:39:52.944" v="55" actId="404"/>
        <pc:sldMkLst>
          <pc:docMk/>
          <pc:sldMk cId="546881440" sldId="1881839198"/>
        </pc:sldMkLst>
        <pc:spChg chg="add mod">
          <ac:chgData name="Iurii A Timonin" userId="137ac8ae-cb77-41fe-9a0e-e62cb974b187" providerId="ADAL" clId="{97205E10-F37E-43D9-8A89-2C704460036C}" dt="2025-06-30T04:39:34.768" v="52"/>
          <ac:spMkLst>
            <pc:docMk/>
            <pc:sldMk cId="546881440" sldId="1881839198"/>
            <ac:spMk id="2" creationId="{C4EBE091-53FF-BF0A-1B68-72E32683C18F}"/>
          </ac:spMkLst>
        </pc:spChg>
        <pc:spChg chg="add mod">
          <ac:chgData name="Iurii A Timonin" userId="137ac8ae-cb77-41fe-9a0e-e62cb974b187" providerId="ADAL" clId="{97205E10-F37E-43D9-8A89-2C704460036C}" dt="2025-06-30T04:39:34.768" v="52"/>
          <ac:spMkLst>
            <pc:docMk/>
            <pc:sldMk cId="546881440" sldId="1881839198"/>
            <ac:spMk id="3" creationId="{FDB47392-1CB0-393F-0CD4-7C884EF3CC0C}"/>
          </ac:spMkLst>
        </pc:spChg>
        <pc:spChg chg="add mod">
          <ac:chgData name="Iurii A Timonin" userId="137ac8ae-cb77-41fe-9a0e-e62cb974b187" providerId="ADAL" clId="{97205E10-F37E-43D9-8A89-2C704460036C}" dt="2025-06-30T04:39:34.768" v="52"/>
          <ac:spMkLst>
            <pc:docMk/>
            <pc:sldMk cId="546881440" sldId="1881839198"/>
            <ac:spMk id="4" creationId="{01C3658C-BD2C-DD76-1E44-E59820EBCBA2}"/>
          </ac:spMkLst>
        </pc:spChg>
        <pc:spChg chg="add mod">
          <ac:chgData name="Iurii A Timonin" userId="137ac8ae-cb77-41fe-9a0e-e62cb974b187" providerId="ADAL" clId="{97205E10-F37E-43D9-8A89-2C704460036C}" dt="2025-06-30T04:39:34.768" v="52"/>
          <ac:spMkLst>
            <pc:docMk/>
            <pc:sldMk cId="546881440" sldId="1881839198"/>
            <ac:spMk id="5" creationId="{E07AE3AE-1C2C-FFBE-0204-468834158C71}"/>
          </ac:spMkLst>
        </pc:spChg>
        <pc:spChg chg="add mod">
          <ac:chgData name="Iurii A Timonin" userId="137ac8ae-cb77-41fe-9a0e-e62cb974b187" providerId="ADAL" clId="{97205E10-F37E-43D9-8A89-2C704460036C}" dt="2025-06-30T04:39:34.768" v="52"/>
          <ac:spMkLst>
            <pc:docMk/>
            <pc:sldMk cId="546881440" sldId="1881839198"/>
            <ac:spMk id="6" creationId="{6CD50F12-B256-ACEE-9E9A-B755D2DB2E87}"/>
          </ac:spMkLst>
        </pc:spChg>
        <pc:spChg chg="mod">
          <ac:chgData name="Iurii A Timonin" userId="137ac8ae-cb77-41fe-9a0e-e62cb974b187" providerId="ADAL" clId="{97205E10-F37E-43D9-8A89-2C704460036C}" dt="2025-06-30T04:39:34.768" v="52"/>
          <ac:spMkLst>
            <pc:docMk/>
            <pc:sldMk cId="546881440" sldId="1881839198"/>
            <ac:spMk id="8" creationId="{DD93678F-52FB-B4A3-E4DE-029DE5211B6D}"/>
          </ac:spMkLst>
        </pc:spChg>
        <pc:spChg chg="add mod">
          <ac:chgData name="Iurii A Timonin" userId="137ac8ae-cb77-41fe-9a0e-e62cb974b187" providerId="ADAL" clId="{97205E10-F37E-43D9-8A89-2C704460036C}" dt="2025-06-30T04:39:34.768" v="52"/>
          <ac:spMkLst>
            <pc:docMk/>
            <pc:sldMk cId="546881440" sldId="1881839198"/>
            <ac:spMk id="10" creationId="{FD3E1650-E3A9-7544-0E6A-88AAAD878E36}"/>
          </ac:spMkLst>
        </pc:spChg>
        <pc:spChg chg="mod">
          <ac:chgData name="Iurii A Timonin" userId="137ac8ae-cb77-41fe-9a0e-e62cb974b187" providerId="ADAL" clId="{97205E10-F37E-43D9-8A89-2C704460036C}" dt="2025-06-30T04:39:52.944" v="55" actId="404"/>
          <ac:spMkLst>
            <pc:docMk/>
            <pc:sldMk cId="546881440" sldId="1881839198"/>
            <ac:spMk id="48" creationId="{34760A1F-A4FB-C994-63B5-87C06BDA7ECD}"/>
          </ac:spMkLst>
        </pc:spChg>
        <pc:grpChg chg="add mod">
          <ac:chgData name="Iurii A Timonin" userId="137ac8ae-cb77-41fe-9a0e-e62cb974b187" providerId="ADAL" clId="{97205E10-F37E-43D9-8A89-2C704460036C}" dt="2025-06-30T04:39:34.768" v="52"/>
          <ac:grpSpMkLst>
            <pc:docMk/>
            <pc:sldMk cId="546881440" sldId="1881839198"/>
            <ac:grpSpMk id="7" creationId="{CB768E4C-90B7-D8F3-6339-EFA07A2FCDE0}"/>
          </ac:grpSpMkLst>
        </pc:grpChg>
        <pc:picChg chg="mod">
          <ac:chgData name="Iurii A Timonin" userId="137ac8ae-cb77-41fe-9a0e-e62cb974b187" providerId="ADAL" clId="{97205E10-F37E-43D9-8A89-2C704460036C}" dt="2025-06-30T04:39:34.768" v="52"/>
          <ac:picMkLst>
            <pc:docMk/>
            <pc:sldMk cId="546881440" sldId="1881839198"/>
            <ac:picMk id="9" creationId="{5F463E06-CD1C-ABB7-38A9-F05907F72B48}"/>
          </ac:picMkLst>
        </pc:picChg>
      </pc:sldChg>
      <pc:sldChg chg="add del">
        <pc:chgData name="Iurii A Timonin" userId="137ac8ae-cb77-41fe-9a0e-e62cb974b187" providerId="ADAL" clId="{97205E10-F37E-43D9-8A89-2C704460036C}" dt="2025-06-30T04:37:53.225" v="45"/>
        <pc:sldMkLst>
          <pc:docMk/>
          <pc:sldMk cId="2248359916" sldId="1881839198"/>
        </pc:sldMkLst>
      </pc:sldChg>
      <pc:sldChg chg="addSp delSp modSp add mod">
        <pc:chgData name="Iurii A Timonin" userId="137ac8ae-cb77-41fe-9a0e-e62cb974b187" providerId="ADAL" clId="{97205E10-F37E-43D9-8A89-2C704460036C}" dt="2025-06-30T04:40:29.778" v="59"/>
        <pc:sldMkLst>
          <pc:docMk/>
          <pc:sldMk cId="4192207144" sldId="1881839199"/>
        </pc:sldMkLst>
        <pc:spChg chg="add mod">
          <ac:chgData name="Iurii A Timonin" userId="137ac8ae-cb77-41fe-9a0e-e62cb974b187" providerId="ADAL" clId="{97205E10-F37E-43D9-8A89-2C704460036C}" dt="2025-06-30T04:40:15.077" v="58"/>
          <ac:spMkLst>
            <pc:docMk/>
            <pc:sldMk cId="4192207144" sldId="1881839199"/>
            <ac:spMk id="11" creationId="{2F38336E-9D65-AABC-0F86-34352A177B4D}"/>
          </ac:spMkLst>
        </pc:spChg>
        <pc:spChg chg="add mod">
          <ac:chgData name="Iurii A Timonin" userId="137ac8ae-cb77-41fe-9a0e-e62cb974b187" providerId="ADAL" clId="{97205E10-F37E-43D9-8A89-2C704460036C}" dt="2025-06-30T04:40:15.077" v="58"/>
          <ac:spMkLst>
            <pc:docMk/>
            <pc:sldMk cId="4192207144" sldId="1881839199"/>
            <ac:spMk id="12" creationId="{03DA6001-6695-696F-95AD-633B82C70F6E}"/>
          </ac:spMkLst>
        </pc:spChg>
        <pc:spChg chg="add mod">
          <ac:chgData name="Iurii A Timonin" userId="137ac8ae-cb77-41fe-9a0e-e62cb974b187" providerId="ADAL" clId="{97205E10-F37E-43D9-8A89-2C704460036C}" dt="2025-06-30T04:40:15.077" v="58"/>
          <ac:spMkLst>
            <pc:docMk/>
            <pc:sldMk cId="4192207144" sldId="1881839199"/>
            <ac:spMk id="13" creationId="{3AFCE9A0-F171-489F-2C0F-7D4BAED949E0}"/>
          </ac:spMkLst>
        </pc:spChg>
        <pc:spChg chg="add mod">
          <ac:chgData name="Iurii A Timonin" userId="137ac8ae-cb77-41fe-9a0e-e62cb974b187" providerId="ADAL" clId="{97205E10-F37E-43D9-8A89-2C704460036C}" dt="2025-06-30T04:40:15.077" v="58"/>
          <ac:spMkLst>
            <pc:docMk/>
            <pc:sldMk cId="4192207144" sldId="1881839199"/>
            <ac:spMk id="14" creationId="{55EFFCC3-061F-74F9-1982-DAB965C821EA}"/>
          </ac:spMkLst>
        </pc:spChg>
        <pc:spChg chg="add mod">
          <ac:chgData name="Iurii A Timonin" userId="137ac8ae-cb77-41fe-9a0e-e62cb974b187" providerId="ADAL" clId="{97205E10-F37E-43D9-8A89-2C704460036C}" dt="2025-06-30T04:40:15.077" v="58"/>
          <ac:spMkLst>
            <pc:docMk/>
            <pc:sldMk cId="4192207144" sldId="1881839199"/>
            <ac:spMk id="15" creationId="{496B4BAE-2306-AC0D-A73A-0BDCCAF32570}"/>
          </ac:spMkLst>
        </pc:spChg>
        <pc:spChg chg="add mod">
          <ac:chgData name="Iurii A Timonin" userId="137ac8ae-cb77-41fe-9a0e-e62cb974b187" providerId="ADAL" clId="{97205E10-F37E-43D9-8A89-2C704460036C}" dt="2025-06-30T04:40:15.077" v="58"/>
          <ac:spMkLst>
            <pc:docMk/>
            <pc:sldMk cId="4192207144" sldId="1881839199"/>
            <ac:spMk id="16" creationId="{73F1A217-72E5-15ED-62C2-2551F64B635F}"/>
          </ac:spMkLst>
        </pc:spChg>
        <pc:spChg chg="mod">
          <ac:chgData name="Iurii A Timonin" userId="137ac8ae-cb77-41fe-9a0e-e62cb974b187" providerId="ADAL" clId="{97205E10-F37E-43D9-8A89-2C704460036C}" dt="2025-06-30T04:40:15.077" v="58"/>
          <ac:spMkLst>
            <pc:docMk/>
            <pc:sldMk cId="4192207144" sldId="1881839199"/>
            <ac:spMk id="18" creationId="{04F58031-80A5-02FF-3733-FAD3037739A6}"/>
          </ac:spMkLst>
        </pc:spChg>
        <pc:spChg chg="mod">
          <ac:chgData name="Iurii A Timonin" userId="137ac8ae-cb77-41fe-9a0e-e62cb974b187" providerId="ADAL" clId="{97205E10-F37E-43D9-8A89-2C704460036C}" dt="2025-06-30T04:40:29.778" v="59"/>
          <ac:spMkLst>
            <pc:docMk/>
            <pc:sldMk cId="4192207144" sldId="1881839199"/>
            <ac:spMk id="48" creationId="{BFD20BB5-541D-259E-69F3-BED1E66681D1}"/>
          </ac:spMkLst>
        </pc:spChg>
        <pc:grpChg chg="add mod">
          <ac:chgData name="Iurii A Timonin" userId="137ac8ae-cb77-41fe-9a0e-e62cb974b187" providerId="ADAL" clId="{97205E10-F37E-43D9-8A89-2C704460036C}" dt="2025-06-30T04:40:15.077" v="58"/>
          <ac:grpSpMkLst>
            <pc:docMk/>
            <pc:sldMk cId="4192207144" sldId="1881839199"/>
            <ac:grpSpMk id="17" creationId="{7872F8FE-F225-2363-F290-467EB7ED4925}"/>
          </ac:grpSpMkLst>
        </pc:grpChg>
        <pc:picChg chg="mod">
          <ac:chgData name="Iurii A Timonin" userId="137ac8ae-cb77-41fe-9a0e-e62cb974b187" providerId="ADAL" clId="{97205E10-F37E-43D9-8A89-2C704460036C}" dt="2025-06-30T04:40:15.077" v="58"/>
          <ac:picMkLst>
            <pc:docMk/>
            <pc:sldMk cId="4192207144" sldId="1881839199"/>
            <ac:picMk id="19" creationId="{58EBA1A2-9150-264C-3489-426C93A6FBE0}"/>
          </ac:picMkLst>
        </pc:picChg>
      </pc:sldChg>
      <pc:sldChg chg="addSp delSp modSp add mod">
        <pc:chgData name="Iurii A Timonin" userId="137ac8ae-cb77-41fe-9a0e-e62cb974b187" providerId="ADAL" clId="{97205E10-F37E-43D9-8A89-2C704460036C}" dt="2025-06-30T04:40:54.737" v="63"/>
        <pc:sldMkLst>
          <pc:docMk/>
          <pc:sldMk cId="3729098937" sldId="1881839200"/>
        </pc:sldMkLst>
        <pc:spChg chg="add mod">
          <ac:chgData name="Iurii A Timonin" userId="137ac8ae-cb77-41fe-9a0e-e62cb974b187" providerId="ADAL" clId="{97205E10-F37E-43D9-8A89-2C704460036C}" dt="2025-06-30T04:40:44.704" v="62"/>
          <ac:spMkLst>
            <pc:docMk/>
            <pc:sldMk cId="3729098937" sldId="1881839200"/>
            <ac:spMk id="2" creationId="{A5EA9A1D-DF9A-B766-AE9A-32DD3FBABA3F}"/>
          </ac:spMkLst>
        </pc:spChg>
        <pc:spChg chg="add mod">
          <ac:chgData name="Iurii A Timonin" userId="137ac8ae-cb77-41fe-9a0e-e62cb974b187" providerId="ADAL" clId="{97205E10-F37E-43D9-8A89-2C704460036C}" dt="2025-06-30T04:40:44.704" v="62"/>
          <ac:spMkLst>
            <pc:docMk/>
            <pc:sldMk cId="3729098937" sldId="1881839200"/>
            <ac:spMk id="3" creationId="{C2AC34F9-EE68-AB46-24F1-225618C655D8}"/>
          </ac:spMkLst>
        </pc:spChg>
        <pc:spChg chg="add mod">
          <ac:chgData name="Iurii A Timonin" userId="137ac8ae-cb77-41fe-9a0e-e62cb974b187" providerId="ADAL" clId="{97205E10-F37E-43D9-8A89-2C704460036C}" dt="2025-06-30T04:40:44.704" v="62"/>
          <ac:spMkLst>
            <pc:docMk/>
            <pc:sldMk cId="3729098937" sldId="1881839200"/>
            <ac:spMk id="4" creationId="{E58E7AA8-CBCE-A066-618B-71F9DB997D54}"/>
          </ac:spMkLst>
        </pc:spChg>
        <pc:spChg chg="add mod">
          <ac:chgData name="Iurii A Timonin" userId="137ac8ae-cb77-41fe-9a0e-e62cb974b187" providerId="ADAL" clId="{97205E10-F37E-43D9-8A89-2C704460036C}" dt="2025-06-30T04:40:44.704" v="62"/>
          <ac:spMkLst>
            <pc:docMk/>
            <pc:sldMk cId="3729098937" sldId="1881839200"/>
            <ac:spMk id="5" creationId="{D69358FB-8D8F-7B9C-398F-694AE3A18D86}"/>
          </ac:spMkLst>
        </pc:spChg>
        <pc:spChg chg="add mod">
          <ac:chgData name="Iurii A Timonin" userId="137ac8ae-cb77-41fe-9a0e-e62cb974b187" providerId="ADAL" clId="{97205E10-F37E-43D9-8A89-2C704460036C}" dt="2025-06-30T04:40:44.704" v="62"/>
          <ac:spMkLst>
            <pc:docMk/>
            <pc:sldMk cId="3729098937" sldId="1881839200"/>
            <ac:spMk id="6" creationId="{E3BC8C80-AD73-12A1-A634-5B4E25D0D7DE}"/>
          </ac:spMkLst>
        </pc:spChg>
        <pc:spChg chg="add mod">
          <ac:chgData name="Iurii A Timonin" userId="137ac8ae-cb77-41fe-9a0e-e62cb974b187" providerId="ADAL" clId="{97205E10-F37E-43D9-8A89-2C704460036C}" dt="2025-06-30T04:40:44.704" v="62"/>
          <ac:spMkLst>
            <pc:docMk/>
            <pc:sldMk cId="3729098937" sldId="1881839200"/>
            <ac:spMk id="7" creationId="{4BB22B6A-DF72-7A0D-C23F-04FD8F043184}"/>
          </ac:spMkLst>
        </pc:spChg>
        <pc:spChg chg="mod">
          <ac:chgData name="Iurii A Timonin" userId="137ac8ae-cb77-41fe-9a0e-e62cb974b187" providerId="ADAL" clId="{97205E10-F37E-43D9-8A89-2C704460036C}" dt="2025-06-30T04:40:44.704" v="62"/>
          <ac:spMkLst>
            <pc:docMk/>
            <pc:sldMk cId="3729098937" sldId="1881839200"/>
            <ac:spMk id="9" creationId="{2A0FFE0F-1EFC-0DA0-3843-3204C1DAEC3D}"/>
          </ac:spMkLst>
        </pc:spChg>
        <pc:spChg chg="mod">
          <ac:chgData name="Iurii A Timonin" userId="137ac8ae-cb77-41fe-9a0e-e62cb974b187" providerId="ADAL" clId="{97205E10-F37E-43D9-8A89-2C704460036C}" dt="2025-06-30T04:40:54.737" v="63"/>
          <ac:spMkLst>
            <pc:docMk/>
            <pc:sldMk cId="3729098937" sldId="1881839200"/>
            <ac:spMk id="48" creationId="{F846015E-869D-FE98-A4A5-59C71195BE33}"/>
          </ac:spMkLst>
        </pc:spChg>
        <pc:grpChg chg="add mod">
          <ac:chgData name="Iurii A Timonin" userId="137ac8ae-cb77-41fe-9a0e-e62cb974b187" providerId="ADAL" clId="{97205E10-F37E-43D9-8A89-2C704460036C}" dt="2025-06-30T04:40:44.704" v="62"/>
          <ac:grpSpMkLst>
            <pc:docMk/>
            <pc:sldMk cId="3729098937" sldId="1881839200"/>
            <ac:grpSpMk id="8" creationId="{3DF7C73E-2259-4A7D-30E1-BCC664522892}"/>
          </ac:grpSpMkLst>
        </pc:grpChg>
        <pc:picChg chg="mod">
          <ac:chgData name="Iurii A Timonin" userId="137ac8ae-cb77-41fe-9a0e-e62cb974b187" providerId="ADAL" clId="{97205E10-F37E-43D9-8A89-2C704460036C}" dt="2025-06-30T04:40:44.704" v="62"/>
          <ac:picMkLst>
            <pc:docMk/>
            <pc:sldMk cId="3729098937" sldId="1881839200"/>
            <ac:picMk id="10" creationId="{37494B59-D3B6-6082-6299-592DEE8969C3}"/>
          </ac:picMkLst>
        </pc:picChg>
      </pc:sldChg>
      <pc:sldChg chg="addSp delSp modSp add mod">
        <pc:chgData name="Iurii A Timonin" userId="137ac8ae-cb77-41fe-9a0e-e62cb974b187" providerId="ADAL" clId="{97205E10-F37E-43D9-8A89-2C704460036C}" dt="2025-06-30T04:41:46.653" v="71"/>
        <pc:sldMkLst>
          <pc:docMk/>
          <pc:sldMk cId="543987747" sldId="1881839201"/>
        </pc:sldMkLst>
        <pc:spChg chg="add mod">
          <ac:chgData name="Iurii A Timonin" userId="137ac8ae-cb77-41fe-9a0e-e62cb974b187" providerId="ADAL" clId="{97205E10-F37E-43D9-8A89-2C704460036C}" dt="2025-06-30T04:41:21.943" v="67"/>
          <ac:spMkLst>
            <pc:docMk/>
            <pc:sldMk cId="543987747" sldId="1881839201"/>
            <ac:spMk id="11" creationId="{F224044D-0120-3DBA-CAE5-C7F25E2626F0}"/>
          </ac:spMkLst>
        </pc:spChg>
        <pc:spChg chg="add mod">
          <ac:chgData name="Iurii A Timonin" userId="137ac8ae-cb77-41fe-9a0e-e62cb974b187" providerId="ADAL" clId="{97205E10-F37E-43D9-8A89-2C704460036C}" dt="2025-06-30T04:41:21.943" v="67"/>
          <ac:spMkLst>
            <pc:docMk/>
            <pc:sldMk cId="543987747" sldId="1881839201"/>
            <ac:spMk id="12" creationId="{078F1F40-FCDA-2131-4511-581801C3CB7B}"/>
          </ac:spMkLst>
        </pc:spChg>
        <pc:spChg chg="add mod">
          <ac:chgData name="Iurii A Timonin" userId="137ac8ae-cb77-41fe-9a0e-e62cb974b187" providerId="ADAL" clId="{97205E10-F37E-43D9-8A89-2C704460036C}" dt="2025-06-30T04:41:21.943" v="67"/>
          <ac:spMkLst>
            <pc:docMk/>
            <pc:sldMk cId="543987747" sldId="1881839201"/>
            <ac:spMk id="13" creationId="{FFD11733-6923-9A37-74A5-EA2C6CFCFC36}"/>
          </ac:spMkLst>
        </pc:spChg>
        <pc:spChg chg="add mod">
          <ac:chgData name="Iurii A Timonin" userId="137ac8ae-cb77-41fe-9a0e-e62cb974b187" providerId="ADAL" clId="{97205E10-F37E-43D9-8A89-2C704460036C}" dt="2025-06-30T04:41:21.943" v="67"/>
          <ac:spMkLst>
            <pc:docMk/>
            <pc:sldMk cId="543987747" sldId="1881839201"/>
            <ac:spMk id="14" creationId="{8FA8CCD7-4741-EA0C-7D69-B8ACEB8398C2}"/>
          </ac:spMkLst>
        </pc:spChg>
        <pc:spChg chg="add mod">
          <ac:chgData name="Iurii A Timonin" userId="137ac8ae-cb77-41fe-9a0e-e62cb974b187" providerId="ADAL" clId="{97205E10-F37E-43D9-8A89-2C704460036C}" dt="2025-06-30T04:41:21.943" v="67"/>
          <ac:spMkLst>
            <pc:docMk/>
            <pc:sldMk cId="543987747" sldId="1881839201"/>
            <ac:spMk id="15" creationId="{5FF311CB-D354-556C-A1A5-94D9ABCC869E}"/>
          </ac:spMkLst>
        </pc:spChg>
        <pc:spChg chg="add mod">
          <ac:chgData name="Iurii A Timonin" userId="137ac8ae-cb77-41fe-9a0e-e62cb974b187" providerId="ADAL" clId="{97205E10-F37E-43D9-8A89-2C704460036C}" dt="2025-06-30T04:41:21.943" v="67"/>
          <ac:spMkLst>
            <pc:docMk/>
            <pc:sldMk cId="543987747" sldId="1881839201"/>
            <ac:spMk id="16" creationId="{D0FEDEF3-7334-3FCA-7685-E5BF5D9FA4D4}"/>
          </ac:spMkLst>
        </pc:spChg>
        <pc:spChg chg="add mod">
          <ac:chgData name="Iurii A Timonin" userId="137ac8ae-cb77-41fe-9a0e-e62cb974b187" providerId="ADAL" clId="{97205E10-F37E-43D9-8A89-2C704460036C}" dt="2025-06-30T04:41:46.653" v="71"/>
          <ac:spMkLst>
            <pc:docMk/>
            <pc:sldMk cId="543987747" sldId="1881839201"/>
            <ac:spMk id="20" creationId="{CBD395CE-65E4-B11D-C186-3131CF2A5118}"/>
          </ac:spMkLst>
        </pc:spChg>
        <pc:spChg chg="mod">
          <ac:chgData name="Iurii A Timonin" userId="137ac8ae-cb77-41fe-9a0e-e62cb974b187" providerId="ADAL" clId="{97205E10-F37E-43D9-8A89-2C704460036C}" dt="2025-06-30T04:41:33.443" v="68"/>
          <ac:spMkLst>
            <pc:docMk/>
            <pc:sldMk cId="543987747" sldId="1881839201"/>
            <ac:spMk id="48" creationId="{82DF18A3-DFBB-BE83-71BD-4B074133E411}"/>
          </ac:spMkLst>
        </pc:spChg>
        <pc:picChg chg="add mod">
          <ac:chgData name="Iurii A Timonin" userId="137ac8ae-cb77-41fe-9a0e-e62cb974b187" providerId="ADAL" clId="{97205E10-F37E-43D9-8A89-2C704460036C}" dt="2025-06-30T04:41:21.943" v="67"/>
          <ac:picMkLst>
            <pc:docMk/>
            <pc:sldMk cId="543987747" sldId="1881839201"/>
            <ac:picMk id="17" creationId="{B9C3A7B1-1A7C-C6C4-C7DC-8C0F1A1CB815}"/>
          </ac:picMkLst>
        </pc:picChg>
      </pc:sldChg>
      <pc:sldChg chg="addSp delSp modSp add mod">
        <pc:chgData name="Iurii A Timonin" userId="137ac8ae-cb77-41fe-9a0e-e62cb974b187" providerId="ADAL" clId="{97205E10-F37E-43D9-8A89-2C704460036C}" dt="2025-06-30T04:46:35.815" v="180" actId="207"/>
        <pc:sldMkLst>
          <pc:docMk/>
          <pc:sldMk cId="1230013452" sldId="1881839202"/>
        </pc:sldMkLst>
      </pc:sldChg>
      <pc:sldChg chg="addSp delSp modSp add mod modNotesTx">
        <pc:chgData name="Iurii A Timonin" userId="137ac8ae-cb77-41fe-9a0e-e62cb974b187" providerId="ADAL" clId="{97205E10-F37E-43D9-8A89-2C704460036C}" dt="2025-06-30T12:15:29.294" v="238" actId="6549"/>
        <pc:sldMkLst>
          <pc:docMk/>
          <pc:sldMk cId="2603973423" sldId="1881839203"/>
        </pc:sldMkLst>
      </pc:sldChg>
      <pc:sldChg chg="addSp delSp modSp add mod">
        <pc:chgData name="Iurii A Timonin" userId="137ac8ae-cb77-41fe-9a0e-e62cb974b187" providerId="ADAL" clId="{97205E10-F37E-43D9-8A89-2C704460036C}" dt="2025-06-30T12:31:36.363" v="268" actId="1076"/>
        <pc:sldMkLst>
          <pc:docMk/>
          <pc:sldMk cId="4183451159" sldId="1881839204"/>
        </pc:sldMkLst>
      </pc:sldChg>
      <pc:sldChg chg="addSp delSp modSp add mod">
        <pc:chgData name="Iurii A Timonin" userId="137ac8ae-cb77-41fe-9a0e-e62cb974b187" providerId="ADAL" clId="{97205E10-F37E-43D9-8A89-2C704460036C}" dt="2025-06-30T12:35:05.369" v="314" actId="20577"/>
        <pc:sldMkLst>
          <pc:docMk/>
          <pc:sldMk cId="2311077836" sldId="1881839205"/>
        </pc:sldMkLst>
      </pc:sldChg>
      <pc:sldChg chg="add del">
        <pc:chgData name="Iurii A Timonin" userId="137ac8ae-cb77-41fe-9a0e-e62cb974b187" providerId="ADAL" clId="{97205E10-F37E-43D9-8A89-2C704460036C}" dt="2025-06-30T12:34:28.931" v="274"/>
        <pc:sldMkLst>
          <pc:docMk/>
          <pc:sldMk cId="3246899745" sldId="1881839206"/>
        </pc:sldMkLst>
      </pc:sldChg>
      <pc:sldChg chg="add del">
        <pc:chgData name="Iurii A Timonin" userId="137ac8ae-cb77-41fe-9a0e-e62cb974b187" providerId="ADAL" clId="{97205E10-F37E-43D9-8A89-2C704460036C}" dt="2025-06-30T04:29:10.076" v="8"/>
        <pc:sldMkLst>
          <pc:docMk/>
          <pc:sldMk cId="176460985" sldId="2147482116"/>
        </pc:sldMkLst>
      </pc:sldChg>
      <pc:sldChg chg="add del">
        <pc:chgData name="Iurii A Timonin" userId="137ac8ae-cb77-41fe-9a0e-e62cb974b187" providerId="ADAL" clId="{97205E10-F37E-43D9-8A89-2C704460036C}" dt="2025-06-30T04:29:10.076" v="8"/>
        <pc:sldMkLst>
          <pc:docMk/>
          <pc:sldMk cId="910100380" sldId="2147482134"/>
        </pc:sldMkLst>
      </pc:sldChg>
      <pc:sldChg chg="add del">
        <pc:chgData name="Iurii A Timonin" userId="137ac8ae-cb77-41fe-9a0e-e62cb974b187" providerId="ADAL" clId="{97205E10-F37E-43D9-8A89-2C704460036C}" dt="2025-06-30T04:29:10.076" v="8"/>
        <pc:sldMkLst>
          <pc:docMk/>
          <pc:sldMk cId="1955955149" sldId="2147482158"/>
        </pc:sldMkLst>
      </pc:sldChg>
      <pc:sldChg chg="add del">
        <pc:chgData name="Iurii A Timonin" userId="137ac8ae-cb77-41fe-9a0e-e62cb974b187" providerId="ADAL" clId="{97205E10-F37E-43D9-8A89-2C704460036C}" dt="2025-06-30T04:29:10.076" v="8"/>
        <pc:sldMkLst>
          <pc:docMk/>
          <pc:sldMk cId="3158600933" sldId="2147482159"/>
        </pc:sldMkLst>
      </pc:sldChg>
      <pc:sldChg chg="add del">
        <pc:chgData name="Iurii A Timonin" userId="137ac8ae-cb77-41fe-9a0e-e62cb974b187" providerId="ADAL" clId="{97205E10-F37E-43D9-8A89-2C704460036C}" dt="2025-06-30T04:29:10.076" v="8"/>
        <pc:sldMkLst>
          <pc:docMk/>
          <pc:sldMk cId="2369489585" sldId="2147482161"/>
        </pc:sldMkLst>
      </pc:sldChg>
      <pc:sldChg chg="add del">
        <pc:chgData name="Iurii A Timonin" userId="137ac8ae-cb77-41fe-9a0e-e62cb974b187" providerId="ADAL" clId="{97205E10-F37E-43D9-8A89-2C704460036C}" dt="2025-06-30T04:29:10.076" v="8"/>
        <pc:sldMkLst>
          <pc:docMk/>
          <pc:sldMk cId="671721825" sldId="2147482170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01/07/2025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01/07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5288" y="692150"/>
            <a:ext cx="6159500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48061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7500" lnSpcReduction="20000"/>
          </a:bodyPr>
          <a:lstStyle/>
          <a:p>
            <a:pPr marL="0" indent="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None/>
            </a:pPr>
            <a:r>
              <a:rPr lang="ru-RU" sz="4000" dirty="0"/>
              <a:t>Определить область и дату начала применения МСФО </a:t>
            </a:r>
            <a:r>
              <a:rPr lang="en-US" sz="4000" dirty="0"/>
              <a:t>S1/S2 </a:t>
            </a:r>
            <a:r>
              <a:rPr lang="ru-RU" sz="4000" dirty="0"/>
              <a:t>в Казахстане</a:t>
            </a:r>
            <a:endParaRPr lang="ru-RU" sz="1400" dirty="0">
              <a:solidFill>
                <a:schemeClr val="bg1"/>
              </a:solidFill>
            </a:endParaRPr>
          </a:p>
          <a:p>
            <a:pPr marL="252000" indent="-2520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</a:rPr>
              <a:t>Область применения МСФО </a:t>
            </a:r>
            <a:r>
              <a:rPr lang="en-US" sz="1400" dirty="0">
                <a:solidFill>
                  <a:schemeClr val="bg1"/>
                </a:solidFill>
              </a:rPr>
              <a:t>S1, S2</a:t>
            </a:r>
            <a:r>
              <a:rPr lang="ru-RU" sz="1400" dirty="0">
                <a:solidFill>
                  <a:schemeClr val="bg1"/>
                </a:solidFill>
              </a:rPr>
              <a:t> может быть аналогичной финансовым стандартам МСФО в Казахстане:</a:t>
            </a:r>
          </a:p>
          <a:p>
            <a:pPr marL="709200" lvl="1" indent="-2520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</a:rPr>
              <a:t>Крупные коммерческие предприятия и компании, представляющие общественный интерес, включая все финансовые учреждения</a:t>
            </a:r>
          </a:p>
          <a:p>
            <a:pPr marL="742950" lvl="1" indent="-2857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Компании, зарегистрированные на бирже</a:t>
            </a:r>
          </a:p>
          <a:p>
            <a:pPr marL="742950" lvl="1" indent="-2857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Предприятия среднего бизнеса и государственные предприятия</a:t>
            </a:r>
          </a:p>
          <a:p>
            <a:pPr marL="252000" indent="-2520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</a:rPr>
              <a:t>По мере того как организации со временем развивают свое понимание, корпоративное управление, сбор данных и способность оценивать вопросы устойчивого развития, юрисдикции могут принять решение рассмотреть масштабируемость или поэтапное внедрение требований для различных организаций таким образом, чтобы система могла развиваться с необходимой скоростью.</a:t>
            </a:r>
          </a:p>
          <a:p>
            <a:pPr marL="252000" indent="-2520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</a:rPr>
              <a:t>Определить степень зрелости отчетности об устойчивом развитии среди крупных организаций посредством проведения опроса.</a:t>
            </a:r>
          </a:p>
          <a:p>
            <a:pPr marL="252000" indent="-2520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</a:rPr>
              <a:t>С учетом зрелости организации установить сроки обязательной отчетности по МСФО </a:t>
            </a:r>
            <a:r>
              <a:rPr lang="en-US" sz="1400" dirty="0">
                <a:solidFill>
                  <a:schemeClr val="bg1"/>
                </a:solidFill>
              </a:rPr>
              <a:t>S1, S2 </a:t>
            </a:r>
            <a:r>
              <a:rPr lang="ru-RU" sz="1400" dirty="0">
                <a:solidFill>
                  <a:schemeClr val="bg1"/>
                </a:solidFill>
              </a:rPr>
              <a:t>и поэтапное внедрение показателей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lang="ru-RU" sz="1400" i="1" dirty="0">
                <a:solidFill>
                  <a:schemeClr val="bg1"/>
                </a:solidFill>
              </a:rPr>
              <a:t>Дорожная карта поможет организациям начать планировать и разрабатывать свои программы внедрения и добиваться прогресса в проектах внедрения, пока нормативная база готовится и согласуется</a:t>
            </a:r>
            <a:r>
              <a:rPr lang="ru-RU" sz="1400" i="1" dirty="0">
                <a:solidFill>
                  <a:schemeClr val="tx1"/>
                </a:solidFill>
              </a:rPr>
              <a:t>.</a:t>
            </a:r>
            <a:endParaRPr lang="en-GB" sz="1400" dirty="0">
              <a:solidFill>
                <a:schemeClr val="bg1"/>
              </a:solidFill>
            </a:endParaRP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</a:rPr>
              <a:t>Установить четкие цели и ключевые вехи по внедрению МСФО </a:t>
            </a:r>
            <a:r>
              <a:rPr lang="en-US" sz="1600" dirty="0">
                <a:solidFill>
                  <a:schemeClr val="bg1"/>
                </a:solidFill>
              </a:rPr>
              <a:t>S</a:t>
            </a:r>
            <a:r>
              <a:rPr lang="ru-RU" sz="1600" dirty="0">
                <a:solidFill>
                  <a:schemeClr val="bg1"/>
                </a:solidFill>
              </a:rPr>
              <a:t>1 и </a:t>
            </a:r>
            <a:r>
              <a:rPr lang="en-US" sz="1600" dirty="0">
                <a:solidFill>
                  <a:schemeClr val="bg1"/>
                </a:solidFill>
              </a:rPr>
              <a:t>S</a:t>
            </a:r>
            <a:r>
              <a:rPr lang="ru-RU" sz="1600" dirty="0">
                <a:solidFill>
                  <a:schemeClr val="bg1"/>
                </a:solidFill>
              </a:rPr>
              <a:t>2 в законодательное поле РК и в отчетность организаций, к которым будут применимы данные стандарты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</a:rPr>
              <a:t>Создать рабочую группу за ведение проекта по внедрению стандартов в законодательство</a:t>
            </a:r>
          </a:p>
          <a:p>
            <a:pPr marL="7429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</a:rPr>
              <a:t>Определить и наделить либо отдельную организацию, либо межведомственный комитет необходимыми уставными полномочиями для реализации проекта по внедрению</a:t>
            </a:r>
          </a:p>
          <a:p>
            <a:pPr marL="7429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</a:rPr>
              <a:t>Определить вовлеченные в проект стороны для проведения консультаций, независимой экспертизы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</a:rPr>
              <a:t>Определить и запланировать ресурсное обеспечение по выполнению Дорожной карты</a:t>
            </a:r>
          </a:p>
          <a:p>
            <a:pPr marL="7429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</a:rPr>
              <a:t>Финансовые ресурсы для реализации проекта</a:t>
            </a:r>
          </a:p>
          <a:p>
            <a:pPr marL="7429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</a:rPr>
              <a:t>Технические эксперты по оценке климат рисков, консультанты в области подготовки нефинансовой отчетности по международным стандартам в области устойчивого развития, и пр.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</a:rPr>
              <a:t>Повысить понимание организациями в охвате проекта по требованиям МСФО </a:t>
            </a:r>
            <a:r>
              <a:rPr lang="en-US" sz="1600" dirty="0">
                <a:solidFill>
                  <a:schemeClr val="bg1"/>
                </a:solidFill>
              </a:rPr>
              <a:t>S1/S2 (capacity-building)</a:t>
            </a:r>
          </a:p>
          <a:p>
            <a:pPr marL="7429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</a:rPr>
              <a:t>Провести серию семинаров для организаций</a:t>
            </a:r>
          </a:p>
          <a:p>
            <a:pPr marL="7429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</a:rPr>
              <a:t>Разработать руководство для организаций по внедрению стандартов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00749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69558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AS 1 - </a:t>
            </a:r>
            <a:r>
              <a:rPr lang="ru-RU" sz="1200" b="0" i="0" dirty="0">
                <a:solidFill>
                  <a:srgbClr val="C3C3CB"/>
                </a:solidFill>
                <a:effectLst/>
              </a:rPr>
              <a:t>Климатические риски являются основным источником неопределенности в оценках и могут усложнить применение стандартов бухгалтерского учета IFRS.</a:t>
            </a:r>
            <a:r>
              <a:rPr lang="en-US" sz="1200" b="0" i="0" dirty="0">
                <a:solidFill>
                  <a:srgbClr val="C3C3CB"/>
                </a:solidFill>
                <a:effectLst/>
              </a:rPr>
              <a:t> </a:t>
            </a:r>
            <a:r>
              <a:rPr lang="ru-RU" sz="1200" b="0" i="0" dirty="0">
                <a:solidFill>
                  <a:srgbClr val="C3C3CB"/>
                </a:solidFill>
                <a:effectLst/>
              </a:rPr>
              <a:t>Кроме того, организациям следует учитывать неопределенности, связанные с будущими климатическими изменениями, при оценке способности организации продолжать свою деятельность как непрерывно действующая организация.</a:t>
            </a:r>
          </a:p>
          <a:p>
            <a:pPr algn="l">
              <a:buNone/>
            </a:pPr>
            <a:r>
              <a:rPr lang="ru-RU" sz="1200" b="0" i="0" dirty="0">
                <a:solidFill>
                  <a:srgbClr val="C3C3CB"/>
                </a:solidFill>
                <a:effectLst/>
              </a:rPr>
              <a:t>Таким образом, субъектам необходимо обеспечить, чтобы были сделаны соответствующие раскрытия предположений и оценок; эти раскрытия должны быть специфичными для субъекта, стараясь избегать общего, шаблонного языка. Раскрытия, специфичные для субъекта, включают количественную информацию о предположениях, а также объяснения отклонений от известных рыночных ожиданий относительно тех же самых предположений. Кроме того, следует также сделать раскрытия чувствительности, количественно определенные, если это уместно,</a:t>
            </a:r>
          </a:p>
          <a:p>
            <a:pPr algn="l">
              <a:buNone/>
            </a:pPr>
            <a:r>
              <a:rPr lang="ru-RU" sz="1200" b="0" i="0" dirty="0">
                <a:solidFill>
                  <a:srgbClr val="C3C3CB"/>
                </a:solidFill>
                <a:effectLst/>
              </a:rPr>
              <a:t>чтобы проиллюстрировать неопределенность, заложенную в оценках, на которые полагаются субъекты. Важно, чтобы субъекты обеспечивали согласованность</a:t>
            </a:r>
          </a:p>
          <a:p>
            <a:pPr algn="l">
              <a:buNone/>
            </a:pPr>
            <a:r>
              <a:rPr lang="ru-RU" sz="1200" b="0" i="0" dirty="0">
                <a:solidFill>
                  <a:srgbClr val="C3C3CB"/>
                </a:solidFill>
                <a:effectLst/>
              </a:rPr>
              <a:t>как в раскрытии информации о связанных с климатом вопросах за пределами финансовой</a:t>
            </a:r>
          </a:p>
          <a:p>
            <a:pPr algn="l">
              <a:buNone/>
            </a:pPr>
            <a:r>
              <a:rPr lang="ru-RU" sz="1200" b="0" i="0" dirty="0">
                <a:solidFill>
                  <a:srgbClr val="C3C3CB"/>
                </a:solidFill>
                <a:effectLst/>
              </a:rPr>
              <a:t>отчетности (например, в отдельных отчетах об устойчивом развитии или</a:t>
            </a:r>
          </a:p>
          <a:p>
            <a:pPr algn="l">
              <a:buNone/>
            </a:pPr>
            <a:r>
              <a:rPr lang="ru-RU" sz="1200" b="0" i="0" dirty="0">
                <a:solidFill>
                  <a:srgbClr val="C3C3CB"/>
                </a:solidFill>
                <a:effectLst/>
              </a:rPr>
              <a:t>комментариях руководства), так и в том, как они включают связанные с климатом риски в</a:t>
            </a:r>
          </a:p>
          <a:p>
            <a:pPr algn="l">
              <a:buNone/>
            </a:pPr>
            <a:r>
              <a:rPr lang="ru-RU" sz="1200" b="0" i="0" dirty="0">
                <a:solidFill>
                  <a:srgbClr val="C3C3CB"/>
                </a:solidFill>
                <a:effectLst/>
              </a:rPr>
              <a:t>финансовую информацию (например, в измерениях и раскрытиях в финансовой</a:t>
            </a:r>
          </a:p>
          <a:p>
            <a:pPr algn="l">
              <a:buNone/>
            </a:pPr>
            <a:r>
              <a:rPr lang="ru-RU" sz="1200" b="0" i="0" dirty="0">
                <a:solidFill>
                  <a:srgbClr val="C3C3CB"/>
                </a:solidFill>
                <a:effectLst/>
              </a:rPr>
              <a:t>отчетности).</a:t>
            </a:r>
          </a:p>
          <a:p>
            <a:pPr algn="l">
              <a:buNone/>
            </a:pPr>
            <a:endParaRPr lang="ru-RU" sz="1200" b="0" i="0" dirty="0">
              <a:solidFill>
                <a:srgbClr val="C3C3CB"/>
              </a:solidFill>
              <a:effectLst/>
            </a:endParaRPr>
          </a:p>
          <a:p>
            <a:pPr algn="l">
              <a:buNone/>
            </a:pPr>
            <a:r>
              <a:rPr lang="en-US" sz="1200" b="0" i="0" dirty="0">
                <a:solidFill>
                  <a:srgbClr val="C3C3CB"/>
                </a:solidFill>
                <a:effectLst/>
              </a:rPr>
              <a:t>IAS 16 - </a:t>
            </a:r>
            <a:r>
              <a:rPr lang="ru-RU" sz="1200" b="0" i="0" dirty="0">
                <a:solidFill>
                  <a:srgbClr val="C3C3CB"/>
                </a:solidFill>
                <a:effectLst/>
              </a:rPr>
              <a:t>Вопросы, связанные с климатом, могут существенно повлиять на срок службы, остаточную стоимость и вывод из эксплуатации основных средств. Изменение климата и связанное с ним законодательство, направленное на обеспечение устойчивости, увеличивают риск того, что объекты основных средств станут «неликвидными активами», балансовая стоимость которых больше не может быть восстановлена ​​в рамках существующей бизнес-модели организации. Учитывая неопределенность, связанную с влиянием изменения климата, необходимо включить раскрытие информации, чтобы пользователи финансовой отчетности могли понять и оценить суждения, применяемые руководством при признании и оценке объектов основных средств</a:t>
            </a:r>
          </a:p>
          <a:p>
            <a:endParaRPr lang="ru-RU" dirty="0"/>
          </a:p>
          <a:p>
            <a:r>
              <a:rPr lang="en-US" dirty="0"/>
              <a:t>IAS 36 - </a:t>
            </a:r>
            <a:r>
              <a:rPr lang="ru-RU" dirty="0"/>
              <a:t>Степень, в которой определенные активы, процессы или виды деятельности будут</a:t>
            </a:r>
          </a:p>
          <a:p>
            <a:r>
              <a:rPr lang="ru-RU" dirty="0"/>
              <a:t>подвержены влиянию бизнес-требований, связанных с климатом, и то, как риски и возможности, связанные с климатом, повлияют на прогнозную</a:t>
            </a:r>
          </a:p>
          <a:p>
            <a:r>
              <a:rPr lang="ru-RU" dirty="0"/>
              <a:t>информацию организации, такую ​​как прогнозы денежных потоков в прогнозный период, может</a:t>
            </a:r>
          </a:p>
          <a:p>
            <a:r>
              <a:rPr lang="ru-RU" dirty="0"/>
              <a:t>потребовать значительного суждения.</a:t>
            </a:r>
          </a:p>
          <a:p>
            <a:r>
              <a:rPr lang="ru-RU" dirty="0"/>
              <a:t>▪ Организации должны учитывать, на какую информацию полагаются пользователи при оценке подверженности организации рискам, связанным с климатом.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73000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rgbClr val="FFE600"/>
                </a:solidFill>
              </a:rPr>
              <a:t>Допущения и оценки</a:t>
            </a:r>
            <a:r>
              <a:rPr lang="en-US" sz="1200" b="1" dirty="0">
                <a:solidFill>
                  <a:srgbClr val="FFE600"/>
                </a:solidFill>
              </a:rPr>
              <a:t> (Assumptions and estimates)</a:t>
            </a:r>
            <a:endParaRPr lang="ru-RU" sz="1200" b="1" dirty="0">
              <a:solidFill>
                <a:srgbClr val="FFE600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bg1"/>
                </a:solidFill>
              </a:rPr>
              <a:t>Климатические риски и возможности могут существенно повлиять на допущения и оценки будущего финансового положения компаний, которые могут привести к существенным корректировкам в финансовых показателях в течение следующего финансового года. </a:t>
            </a:r>
            <a:r>
              <a:rPr lang="ru-RU" sz="1200" b="0" i="0" dirty="0">
                <a:solidFill>
                  <a:srgbClr val="C3C3CB"/>
                </a:solidFill>
                <a:effectLst/>
              </a:rPr>
              <a:t>организациям необходимо обеспечить соответствующее раскрытие предположений и оценок; эти раскрытия должны быть специфичными для организации, избегая общего, шаблонного языка. Специфичные для организации раскрытия включают количественную информацию о предположениях, а также объяснения отклонений от известных рыночных ожиданий относительно тех же предположений. Более того, следует также предоставить раскрытия чувствительности, количественно оцененные, если это уместно, чтобы проиллюстрировать неопределенность, заложенную в оценках, на которые полагаются организации. </a:t>
            </a:r>
            <a:endParaRPr lang="ru-RU" sz="12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Суждения: </a:t>
            </a:r>
            <a:r>
              <a:rPr lang="ru-RU" sz="1200" dirty="0">
                <a:solidFill>
                  <a:schemeClr val="bg1"/>
                </a:solidFill>
              </a:rPr>
              <a:t>Например, суждение может применяться при оценке того, следует ли считать денежные потоки, которые возникнут при достижении определенных целей устойчивого развития и декарбонизации в будущем</a:t>
            </a:r>
            <a:endParaRPr lang="en-US" sz="1200" dirty="0">
              <a:solidFill>
                <a:schemeClr val="bg1"/>
              </a:solidFill>
            </a:endParaRPr>
          </a:p>
          <a:p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может потребоваться значительное суждение при определении того, имеет ли субъект концептуальное обязательство по очистке территории или удалению отходов</a:t>
            </a:r>
            <a:endParaRPr lang="en-US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ru-RU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08573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ED96D2-D061-B36C-DADE-215810663F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1BBBAE-CBC6-B350-BBBE-6C7C28A41A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2C359F-2750-BB85-A855-F329D2EA3C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ru-RU" sz="1200" dirty="0"/>
              <a:t>1. </a:t>
            </a:r>
            <a:r>
              <a:rPr lang="en-US" sz="1200" dirty="0"/>
              <a:t>В своей годовой финансовой отчетности за 2024 год</a:t>
            </a:r>
            <a:r>
              <a:rPr lang="ru-RU" sz="1200" dirty="0"/>
              <a:t> горнодобывающая</a:t>
            </a:r>
            <a:r>
              <a:rPr lang="en-US" sz="1200" dirty="0"/>
              <a:t> компани</a:t>
            </a:r>
            <a:r>
              <a:rPr lang="ru-RU" sz="1200" dirty="0"/>
              <a:t>я</a:t>
            </a:r>
            <a:r>
              <a:rPr lang="en-US" sz="1200" dirty="0"/>
              <a:t> BHP</a:t>
            </a:r>
            <a:r>
              <a:rPr lang="ru-RU" sz="1200" dirty="0"/>
              <a:t> раскрыла, что использует несколько сценариев перехода на низкоуглеродную энергетику, отражающих предположения руководства относительно влияния переходных рисков, связанных с климатом, на статьи в финансовой отчетности, затронутых этими сценариями, в т.ч. при оценке балансовой стоимости активов и оценки обесценения.</a:t>
            </a:r>
          </a:p>
          <a:p>
            <a:r>
              <a:rPr lang="ru-RU" sz="1200" dirty="0"/>
              <a:t>Например, спрос на товары Группы может снизиться из-за политических, нормативных (включая механизмы ценообразования на углерод), рыночных и других мер реагирования на изменение климата, что приведет к тому, что часть CGU станет экономически невыгодной. И наоборот, технологические или рыночные разработки в области декарбонизации могут увеличить спрос на товары в портфеле, могут оказать положительное влияние на цены на эти товары.</a:t>
            </a:r>
          </a:p>
          <a:p>
            <a:pPr marL="0" indent="0">
              <a:buNone/>
            </a:pPr>
            <a:r>
              <a:rPr lang="ru-RU" dirty="0"/>
              <a:t>2. Эффекты инициатив по ограничению изменения климата и потенциальное воздействие энергетического перехода имеют значение для некоторых экономических предположений Equinor и будущих оценок денежных потоков. Результирующие эффекты и подверженность Equinor им являются источниками неопределенности. Оценка мирового спроса на энергию и цен на сырьевые товары к 2050 году является сложной задачей из-за различных сложных факторов, включая изменение технологий, налогообложение и ограничения на производство, которые могут меняться со временем. Это может привести к значительным изменениям в бухгалтерских оценках, таких как срок службы (период амортизации и сроки обязательств по выбытию активов), стоимость использования (оценка обесценения) и отложенные налоговые активы. </a:t>
            </a:r>
          </a:p>
          <a:p>
            <a:pPr marL="0" indent="0">
              <a:buNone/>
            </a:pPr>
            <a:r>
              <a:rPr lang="ru-RU" dirty="0"/>
              <a:t>Климатические аспекты включаются непосредственно в расчеты обесценения путем оценки налогов на выбросы CO₂ в денежных потоках и косвенно через оценочные цены на сырьевые товары, связанные со спросом и предложением.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FB402F-9245-4D45-9721-91949F5608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29851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рок службы — риски, связанные с климатом, включая любое связанное с этим законодательство, могут</a:t>
            </a:r>
            <a:r>
              <a:rPr lang="en-US" dirty="0"/>
              <a:t> </a:t>
            </a:r>
            <a:r>
              <a:rPr lang="ru-RU" dirty="0"/>
              <a:t>влиять на то, как и как долго используются элементы основных средств. МСФО (IAS) 16 требует,</a:t>
            </a:r>
            <a:r>
              <a:rPr lang="en-US" dirty="0"/>
              <a:t> </a:t>
            </a:r>
            <a:r>
              <a:rPr lang="ru-RU" dirty="0"/>
              <a:t>чтобы организации пересматривали срок службы актива по крайней мере в конце каждого года. Организациям необходимо будет ежегодно учитывать факторы, связанные с климатом, при</a:t>
            </a:r>
            <a:r>
              <a:rPr lang="en-US" dirty="0"/>
              <a:t> </a:t>
            </a:r>
            <a:r>
              <a:rPr lang="ru-RU" dirty="0"/>
              <a:t>определении ожидаемого срока службы своих активов и, следовательно, периода,</a:t>
            </a:r>
          </a:p>
          <a:p>
            <a:r>
              <a:rPr lang="ru-RU" dirty="0"/>
              <a:t>в течение которого такие активы амортизируются. Организация должна будет оценить,</a:t>
            </a:r>
            <a:r>
              <a:rPr lang="en-US" dirty="0"/>
              <a:t> </a:t>
            </a:r>
            <a:r>
              <a:rPr lang="ru-RU" dirty="0"/>
              <a:t>ожидает ли она, например, раннего закрытия активов, производящих ископаемое топливо (например, активов, производящих уголь), или продолжения использования активов, выбрасывающих углерод (например, судов с высоким уровнем выбросов). </a:t>
            </a:r>
            <a:endParaRPr lang="en-US" dirty="0"/>
          </a:p>
          <a:p>
            <a:r>
              <a:rPr lang="ru-RU" b="0" i="0" dirty="0">
                <a:solidFill>
                  <a:srgbClr val="001D35"/>
                </a:solidFill>
                <a:effectLst/>
                <a:latin typeface="Google Sans"/>
              </a:rPr>
              <a:t>Резерв на вывод из эксплуатации (РВЭ) – это финансовый резерв, создаваемый для покрытия будущих затрат, связанных с выводом из эксплуатации основных средств, таких как промышленные объекты, здания, сооружения и другое имущество. Эти затраты включают в себя демонтаж, утилизацию оборудования, рекультивацию земель, восстановление окружающей среды и другие связанные с этим расходы. Создание РВЭ позволяет равномерно распределить эти затраты во времени и избежать резкого увеличения расходов в период вывод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31660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AutoNum type="arabicPeriod"/>
            </a:pPr>
            <a:r>
              <a:rPr lang="ru-RU" dirty="0"/>
              <a:t>Компания ежегодно пересматривает и обновляет предполагаемые сроки полезного использования и остаточную стоимость своих активов, учитывая такие факторы, как техническое обслуживание, технологические изменения и риски, связанные с климатом.</a:t>
            </a:r>
            <a:r>
              <a:rPr lang="en-US" dirty="0"/>
              <a:t> </a:t>
            </a:r>
            <a:r>
              <a:rPr lang="ru-RU" dirty="0"/>
              <a:t>Усилия по декарбонизации и экологические нормы могут сократить срок службы активов или увеличить расходы по окончании срока службы. Для судов, работающих на обычных видах топлива, компания учитывает влияние своей цели «чистый ноль к 2040 году», нормативные изменения и переход к низкоуглеродным технологиям. Оценка остаточной стоимости является сложной из-за неопределенности на будущих рынках, особенно для стальных и бывших в употреблении судов на обычном топливе, но компания обычно предполагает остаточную стоимость судна на уровне 10% от цены покупки (без учета сухого дока)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88930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D180E3-A376-80CC-B794-DE817CFE0E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20761B-65B3-2369-43B6-438D12F8473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A744A9-5354-76A9-67E0-4D471752F8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0539EC-98BF-43DB-0EF9-5C6AE1774B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50505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ru-RU" dirty="0"/>
              <a:t>Компания ArcelorMittal SA в своих финансовых отчетах за 2024 год</a:t>
            </a:r>
            <a:r>
              <a:rPr lang="en-US" dirty="0"/>
              <a:t> </a:t>
            </a:r>
            <a:r>
              <a:rPr lang="ru-RU" dirty="0"/>
              <a:t>описала как она учитывала влияние изменения климата в рамках своей оценки обесценения</a:t>
            </a:r>
            <a:r>
              <a:rPr lang="en-US" dirty="0"/>
              <a:t>. </a:t>
            </a:r>
            <a:r>
              <a:rPr lang="ru-RU" dirty="0"/>
              <a:t>Компания учла свою подверженность определенным рискам, связанным с климатом, которые могут повлиять на ее оценки будущих прогнозов денежных потоков, применяемых для определения возмещаемой суммы ее единиц, генерирующих денежные средства.</a:t>
            </a:r>
          </a:p>
          <a:p>
            <a:pPr marL="228600" indent="-228600">
              <a:buAutoNum type="arabicPeriod"/>
            </a:pPr>
            <a:r>
              <a:rPr lang="ru-RU" dirty="0"/>
              <a:t>Компания Unilever Plc в своих финансовых отчетах за 2024 год, представленных ниже, раскрыла, что влияние изменения климата на темпы роста и прогнозируемые денежные потоки рассматривалось как часть ее тестирования на обесценение деловой репутации (гудвилл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22094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ackground" descr="A bright light in the dark&#10;&#10;Description automatically generated">
            <a:extLst>
              <a:ext uri="{FF2B5EF4-FFF2-40B4-BE49-F238E27FC236}">
                <a16:creationId xmlns:a16="http://schemas.microsoft.com/office/drawing/2014/main" id="{D9E433B3-F2D7-EE0E-B292-997EB25B05B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A5EED3AD-188C-E954-617B-9CB9E1BA8A1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85521" y="1411287"/>
            <a:ext cx="11224800" cy="46386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EECBC22F-ABFB-48B6-CDC6-4309042A5544}"/>
              </a:ext>
            </a:extLst>
          </p:cNvPr>
          <p:cNvGrpSpPr/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3BB4C61E-397F-F826-D32A-B638714F9D51}"/>
                </a:ext>
              </a:extLst>
            </p:cNvPr>
            <p:cNvSpPr/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4E97927A-B711-1BD1-7DB6-31EEB9331E23}"/>
                </a:ext>
              </a:extLst>
            </p:cNvPr>
            <p:cNvSpPr/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D5D626F4-6013-3429-50AE-E567EFCF0F27}"/>
                </a:ext>
              </a:extLst>
            </p:cNvPr>
            <p:cNvSpPr/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C09D62-8CBB-4C26-25AB-05059EB86BE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9017EB-39DF-917C-4EA3-49EFC051410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8B8B36-78CB-32A2-25CF-5967EFA2456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03840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right light in the dark&#10;&#10;Description automatically generated">
            <a:extLst>
              <a:ext uri="{FF2B5EF4-FFF2-40B4-BE49-F238E27FC236}">
                <a16:creationId xmlns:a16="http://schemas.microsoft.com/office/drawing/2014/main" id="{C6893964-B096-BBF5-42BC-1EAE055022B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B9199D71-1BDD-2925-CD92-9B0B3F8439E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56521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8391354-FDE4-DE4D-8084-A61467B9F4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 flipH="1">
            <a:off x="2845421" y="3642518"/>
            <a:ext cx="178560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F575A1BC-5BD6-1793-C917-0720FC3DE98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16419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CBCE1B-3F39-C7B5-CCE2-AE84242E77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 flipH="1">
            <a:off x="5205319" y="3642518"/>
            <a:ext cx="178560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14015C2-B8E4-B890-4CD0-F6A3A2052CA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65217" y="3642518"/>
            <a:ext cx="178560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37959C9A-F406-FB92-6FFF-08F42234CF9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836214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BC6A6256-32C1-F83C-4A32-D674785CF1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925114" y="3642518"/>
            <a:ext cx="178560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20A2165-CDB3-28AA-F42A-E5E3D72C14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623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78D4931-12A7-7D80-F380-EDF6BE10CA4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5523" y="3642518"/>
            <a:ext cx="1785600" cy="2407444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GB"/>
              <a:t>Agenda text goes here and delete the bullet if not required</a:t>
            </a:r>
            <a:endParaRPr lang="en-US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8D52684-7A0E-2BDF-C56C-F721FED04E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76317" y="1411287"/>
            <a:ext cx="1873220" cy="2031325"/>
          </a:xfrm>
        </p:spPr>
        <p:txBody>
          <a:bodyPr wrap="square">
            <a:spAutoFit/>
          </a:bodyPr>
          <a:lstStyle>
            <a:lvl1pPr marL="0" indent="0">
              <a:buNone/>
              <a:defRPr sz="13200"/>
            </a:lvl1pPr>
          </a:lstStyle>
          <a:p>
            <a:pPr lvl="0"/>
            <a:r>
              <a:rPr lang="en-GB"/>
              <a:t>0</a:t>
            </a:r>
            <a:endParaRPr lang="en-US"/>
          </a:p>
        </p:txBody>
      </p:sp>
      <p:sp>
        <p:nvSpPr>
          <p:cNvPr id="36" name="SmartArt Placeholder 35">
            <a:extLst>
              <a:ext uri="{FF2B5EF4-FFF2-40B4-BE49-F238E27FC236}">
                <a16:creationId xmlns:a16="http://schemas.microsoft.com/office/drawing/2014/main" id="{6D23DAA3-59C7-A352-8728-D157F22D25EF}"/>
              </a:ext>
            </a:extLst>
          </p:cNvPr>
          <p:cNvSpPr>
            <a:spLocks noGrp="1"/>
          </p:cNvSpPr>
          <p:nvPr>
            <p:ph type="dgm" sz="quarter" idx="36" hasCustomPrompt="1"/>
          </p:nvPr>
        </p:nvSpPr>
        <p:spPr>
          <a:xfrm>
            <a:off x="2556050" y="2020781"/>
            <a:ext cx="3600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7" name="SmartArt Placeholder 35">
            <a:extLst>
              <a:ext uri="{FF2B5EF4-FFF2-40B4-BE49-F238E27FC236}">
                <a16:creationId xmlns:a16="http://schemas.microsoft.com/office/drawing/2014/main" id="{D33DFC67-321E-4CFE-436A-CF6FA96BA7E4}"/>
              </a:ext>
            </a:extLst>
          </p:cNvPr>
          <p:cNvSpPr>
            <a:spLocks noGrp="1"/>
          </p:cNvSpPr>
          <p:nvPr>
            <p:ph type="dgm" sz="quarter" idx="37" hasCustomPrompt="1"/>
          </p:nvPr>
        </p:nvSpPr>
        <p:spPr>
          <a:xfrm flipH="1">
            <a:off x="4915948" y="2020781"/>
            <a:ext cx="3600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8" name="SmartArt Placeholder 35">
            <a:extLst>
              <a:ext uri="{FF2B5EF4-FFF2-40B4-BE49-F238E27FC236}">
                <a16:creationId xmlns:a16="http://schemas.microsoft.com/office/drawing/2014/main" id="{A43CB924-4778-AEB3-1D6C-5B802CD043B0}"/>
              </a:ext>
            </a:extLst>
          </p:cNvPr>
          <p:cNvSpPr>
            <a:spLocks noGrp="1"/>
          </p:cNvSpPr>
          <p:nvPr>
            <p:ph type="dgm" sz="quarter" idx="38" hasCustomPrompt="1"/>
          </p:nvPr>
        </p:nvSpPr>
        <p:spPr>
          <a:xfrm>
            <a:off x="7275846" y="2020781"/>
            <a:ext cx="3600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9" name="SmartArt Placeholder 35">
            <a:extLst>
              <a:ext uri="{FF2B5EF4-FFF2-40B4-BE49-F238E27FC236}">
                <a16:creationId xmlns:a16="http://schemas.microsoft.com/office/drawing/2014/main" id="{225723D6-9330-76F1-3F3B-6A582AC1C154}"/>
              </a:ext>
            </a:extLst>
          </p:cNvPr>
          <p:cNvSpPr>
            <a:spLocks noGrp="1"/>
          </p:cNvSpPr>
          <p:nvPr>
            <p:ph type="dgm" sz="quarter" idx="39" hasCustomPrompt="1"/>
          </p:nvPr>
        </p:nvSpPr>
        <p:spPr>
          <a:xfrm>
            <a:off x="9635744" y="2020781"/>
            <a:ext cx="3600" cy="4030662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019C0555-55BD-32D2-B375-0C0BC6641F54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AA8F600-C044-B2C2-407F-BE157F6651C1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4E7CD09-1595-ACE1-D22D-0DB2944898EF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C73356B1-351A-A1D6-028F-C9736D731FF3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EE1F1DF-83E2-9910-8487-D0B14E0DA52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86EFBE9B-F67C-6359-549F-FC22A1C483D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CAEDED04-6A1F-9E39-1C85-4BA396FAFF1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62615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rry image of a rainbow&#10;&#10;Description automatically generated">
            <a:extLst>
              <a:ext uri="{FF2B5EF4-FFF2-40B4-BE49-F238E27FC236}">
                <a16:creationId xmlns:a16="http://schemas.microsoft.com/office/drawing/2014/main" id="{317BE7A3-A673-B58A-8BE4-D36A0E590D3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3D8D2553-DCAF-2D9D-2138-FE4E794B7FFA}"/>
              </a:ext>
            </a:extLst>
          </p:cNvPr>
          <p:cNvGrpSpPr/>
          <p:nvPr userDrawn="1"/>
        </p:nvGrpSpPr>
        <p:grpSpPr>
          <a:xfrm>
            <a:off x="485775" y="6164633"/>
            <a:ext cx="4940935" cy="318770"/>
            <a:chOff x="485775" y="6164633"/>
            <a:chExt cx="4940935" cy="318770"/>
          </a:xfrm>
        </p:grpSpPr>
        <p:sp>
          <p:nvSpPr>
            <p:cNvPr id="297" name="Freeform 296">
              <a:extLst>
                <a:ext uri="{FF2B5EF4-FFF2-40B4-BE49-F238E27FC236}">
                  <a16:creationId xmlns:a16="http://schemas.microsoft.com/office/drawing/2014/main" id="{AD4E5D8B-12B4-19F3-17D4-D12BF368FC85}"/>
                </a:ext>
              </a:extLst>
            </p:cNvPr>
            <p:cNvSpPr/>
            <p:nvPr/>
          </p:nvSpPr>
          <p:spPr>
            <a:xfrm>
              <a:off x="485775" y="6164633"/>
              <a:ext cx="405765" cy="81280"/>
            </a:xfrm>
            <a:custGeom>
              <a:avLst/>
              <a:gdLst>
                <a:gd name="connsiteX0" fmla="*/ 324485 w 405765"/>
                <a:gd name="connsiteY0" fmla="*/ 0 h 81280"/>
                <a:gd name="connsiteX1" fmla="*/ 405765 w 405765"/>
                <a:gd name="connsiteY1" fmla="*/ 0 h 81280"/>
                <a:gd name="connsiteX2" fmla="*/ 405765 w 405765"/>
                <a:gd name="connsiteY2" fmla="*/ 81280 h 81280"/>
                <a:gd name="connsiteX3" fmla="*/ 324485 w 405765"/>
                <a:gd name="connsiteY3" fmla="*/ 81280 h 81280"/>
                <a:gd name="connsiteX4" fmla="*/ 161925 w 405765"/>
                <a:gd name="connsiteY4" fmla="*/ 0 h 81280"/>
                <a:gd name="connsiteX5" fmla="*/ 243205 w 405765"/>
                <a:gd name="connsiteY5" fmla="*/ 0 h 81280"/>
                <a:gd name="connsiteX6" fmla="*/ 243205 w 405765"/>
                <a:gd name="connsiteY6" fmla="*/ 81280 h 81280"/>
                <a:gd name="connsiteX7" fmla="*/ 161925 w 405765"/>
                <a:gd name="connsiteY7" fmla="*/ 81280 h 81280"/>
                <a:gd name="connsiteX8" fmla="*/ 0 w 405765"/>
                <a:gd name="connsiteY8" fmla="*/ 0 h 81280"/>
                <a:gd name="connsiteX9" fmla="*/ 81280 w 405765"/>
                <a:gd name="connsiteY9" fmla="*/ 0 h 81280"/>
                <a:gd name="connsiteX10" fmla="*/ 81280 w 405765"/>
                <a:gd name="connsiteY10" fmla="*/ 81280 h 81280"/>
                <a:gd name="connsiteX11" fmla="*/ 0 w 405765"/>
                <a:gd name="connsiteY11" fmla="*/ 81280 h 81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5765" h="81280">
                  <a:moveTo>
                    <a:pt x="324485" y="0"/>
                  </a:moveTo>
                  <a:lnTo>
                    <a:pt x="405765" y="0"/>
                  </a:lnTo>
                  <a:lnTo>
                    <a:pt x="405765" y="81280"/>
                  </a:lnTo>
                  <a:lnTo>
                    <a:pt x="324485" y="81280"/>
                  </a:lnTo>
                  <a:close/>
                  <a:moveTo>
                    <a:pt x="161925" y="0"/>
                  </a:moveTo>
                  <a:lnTo>
                    <a:pt x="243205" y="0"/>
                  </a:lnTo>
                  <a:lnTo>
                    <a:pt x="243205" y="81280"/>
                  </a:lnTo>
                  <a:lnTo>
                    <a:pt x="161925" y="81280"/>
                  </a:lnTo>
                  <a:close/>
                  <a:moveTo>
                    <a:pt x="0" y="0"/>
                  </a:moveTo>
                  <a:lnTo>
                    <a:pt x="81280" y="0"/>
                  </a:lnTo>
                  <a:lnTo>
                    <a:pt x="81280" y="81280"/>
                  </a:lnTo>
                  <a:lnTo>
                    <a:pt x="0" y="81280"/>
                  </a:lnTo>
                  <a:close/>
                </a:path>
              </a:pathLst>
            </a:custGeom>
            <a:solidFill>
              <a:srgbClr val="FFE600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8" name="Freeform 297">
              <a:extLst>
                <a:ext uri="{FF2B5EF4-FFF2-40B4-BE49-F238E27FC236}">
                  <a16:creationId xmlns:a16="http://schemas.microsoft.com/office/drawing/2014/main" id="{219789D6-6B07-F2E6-06BE-8CA9DC83E385}"/>
                </a:ext>
              </a:extLst>
            </p:cNvPr>
            <p:cNvSpPr/>
            <p:nvPr/>
          </p:nvSpPr>
          <p:spPr bwMode="black">
            <a:xfrm>
              <a:off x="485779" y="6344974"/>
              <a:ext cx="4940931" cy="138429"/>
            </a:xfrm>
            <a:custGeom>
              <a:avLst/>
              <a:gdLst>
                <a:gd name="connsiteX0" fmla="*/ 1032512 w 4940931"/>
                <a:gd name="connsiteY0" fmla="*/ 137477 h 138429"/>
                <a:gd name="connsiteX1" fmla="*/ 1032512 w 4940931"/>
                <a:gd name="connsiteY1" fmla="*/ 137794 h 138429"/>
                <a:gd name="connsiteX2" fmla="*/ 1030607 w 4940931"/>
                <a:gd name="connsiteY2" fmla="*/ 138429 h 138429"/>
                <a:gd name="connsiteX3" fmla="*/ 4929501 w 4940931"/>
                <a:gd name="connsiteY3" fmla="*/ 87629 h 138429"/>
                <a:gd name="connsiteX4" fmla="*/ 4933946 w 4940931"/>
                <a:gd name="connsiteY4" fmla="*/ 88264 h 138429"/>
                <a:gd name="connsiteX5" fmla="*/ 4937756 w 4940931"/>
                <a:gd name="connsiteY5" fmla="*/ 90804 h 138429"/>
                <a:gd name="connsiteX6" fmla="*/ 4940296 w 4940931"/>
                <a:gd name="connsiteY6" fmla="*/ 94614 h 138429"/>
                <a:gd name="connsiteX7" fmla="*/ 4940931 w 4940931"/>
                <a:gd name="connsiteY7" fmla="*/ 99059 h 138429"/>
                <a:gd name="connsiteX8" fmla="*/ 4940296 w 4940931"/>
                <a:gd name="connsiteY8" fmla="*/ 103504 h 138429"/>
                <a:gd name="connsiteX9" fmla="*/ 4937756 w 4940931"/>
                <a:gd name="connsiteY9" fmla="*/ 107314 h 138429"/>
                <a:gd name="connsiteX10" fmla="*/ 4933946 w 4940931"/>
                <a:gd name="connsiteY10" fmla="*/ 109854 h 138429"/>
                <a:gd name="connsiteX11" fmla="*/ 4929501 w 4940931"/>
                <a:gd name="connsiteY11" fmla="*/ 110489 h 138429"/>
                <a:gd name="connsiteX12" fmla="*/ 4925056 w 4940931"/>
                <a:gd name="connsiteY12" fmla="*/ 109854 h 138429"/>
                <a:gd name="connsiteX13" fmla="*/ 4921246 w 4940931"/>
                <a:gd name="connsiteY13" fmla="*/ 107314 h 138429"/>
                <a:gd name="connsiteX14" fmla="*/ 4918706 w 4940931"/>
                <a:gd name="connsiteY14" fmla="*/ 103504 h 138429"/>
                <a:gd name="connsiteX15" fmla="*/ 4918071 w 4940931"/>
                <a:gd name="connsiteY15" fmla="*/ 99059 h 138429"/>
                <a:gd name="connsiteX16" fmla="*/ 4918706 w 4940931"/>
                <a:gd name="connsiteY16" fmla="*/ 94614 h 138429"/>
                <a:gd name="connsiteX17" fmla="*/ 4921246 w 4940931"/>
                <a:gd name="connsiteY17" fmla="*/ 90804 h 138429"/>
                <a:gd name="connsiteX18" fmla="*/ 4925056 w 4940931"/>
                <a:gd name="connsiteY18" fmla="*/ 88264 h 138429"/>
                <a:gd name="connsiteX19" fmla="*/ 4929501 w 4940931"/>
                <a:gd name="connsiteY19" fmla="*/ 87629 h 138429"/>
                <a:gd name="connsiteX20" fmla="*/ 3079110 w 4940931"/>
                <a:gd name="connsiteY20" fmla="*/ 87629 h 138429"/>
                <a:gd name="connsiteX21" fmla="*/ 3083555 w 4940931"/>
                <a:gd name="connsiteY21" fmla="*/ 88264 h 138429"/>
                <a:gd name="connsiteX22" fmla="*/ 3087365 w 4940931"/>
                <a:gd name="connsiteY22" fmla="*/ 90804 h 138429"/>
                <a:gd name="connsiteX23" fmla="*/ 3089905 w 4940931"/>
                <a:gd name="connsiteY23" fmla="*/ 94614 h 138429"/>
                <a:gd name="connsiteX24" fmla="*/ 3090540 w 4940931"/>
                <a:gd name="connsiteY24" fmla="*/ 99059 h 138429"/>
                <a:gd name="connsiteX25" fmla="*/ 3089905 w 4940931"/>
                <a:gd name="connsiteY25" fmla="*/ 103504 h 138429"/>
                <a:gd name="connsiteX26" fmla="*/ 3087365 w 4940931"/>
                <a:gd name="connsiteY26" fmla="*/ 107314 h 138429"/>
                <a:gd name="connsiteX27" fmla="*/ 3083555 w 4940931"/>
                <a:gd name="connsiteY27" fmla="*/ 109854 h 138429"/>
                <a:gd name="connsiteX28" fmla="*/ 3079110 w 4940931"/>
                <a:gd name="connsiteY28" fmla="*/ 110489 h 138429"/>
                <a:gd name="connsiteX29" fmla="*/ 3074665 w 4940931"/>
                <a:gd name="connsiteY29" fmla="*/ 109854 h 138429"/>
                <a:gd name="connsiteX30" fmla="*/ 3070855 w 4940931"/>
                <a:gd name="connsiteY30" fmla="*/ 107314 h 138429"/>
                <a:gd name="connsiteX31" fmla="*/ 3068315 w 4940931"/>
                <a:gd name="connsiteY31" fmla="*/ 103504 h 138429"/>
                <a:gd name="connsiteX32" fmla="*/ 3067680 w 4940931"/>
                <a:gd name="connsiteY32" fmla="*/ 99059 h 138429"/>
                <a:gd name="connsiteX33" fmla="*/ 3068315 w 4940931"/>
                <a:gd name="connsiteY33" fmla="*/ 94614 h 138429"/>
                <a:gd name="connsiteX34" fmla="*/ 3070855 w 4940931"/>
                <a:gd name="connsiteY34" fmla="*/ 90804 h 138429"/>
                <a:gd name="connsiteX35" fmla="*/ 3074665 w 4940931"/>
                <a:gd name="connsiteY35" fmla="*/ 88264 h 138429"/>
                <a:gd name="connsiteX36" fmla="*/ 3079110 w 4940931"/>
                <a:gd name="connsiteY36" fmla="*/ 87629 h 138429"/>
                <a:gd name="connsiteX37" fmla="*/ 1565275 w 4940931"/>
                <a:gd name="connsiteY37" fmla="*/ 87629 h 138429"/>
                <a:gd name="connsiteX38" fmla="*/ 1569720 w 4940931"/>
                <a:gd name="connsiteY38" fmla="*/ 88264 h 138429"/>
                <a:gd name="connsiteX39" fmla="*/ 1573529 w 4940931"/>
                <a:gd name="connsiteY39" fmla="*/ 90804 h 138429"/>
                <a:gd name="connsiteX40" fmla="*/ 1576069 w 4940931"/>
                <a:gd name="connsiteY40" fmla="*/ 94614 h 138429"/>
                <a:gd name="connsiteX41" fmla="*/ 1576705 w 4940931"/>
                <a:gd name="connsiteY41" fmla="*/ 99059 h 138429"/>
                <a:gd name="connsiteX42" fmla="*/ 1576069 w 4940931"/>
                <a:gd name="connsiteY42" fmla="*/ 103504 h 138429"/>
                <a:gd name="connsiteX43" fmla="*/ 1573529 w 4940931"/>
                <a:gd name="connsiteY43" fmla="*/ 107314 h 138429"/>
                <a:gd name="connsiteX44" fmla="*/ 1569720 w 4940931"/>
                <a:gd name="connsiteY44" fmla="*/ 109854 h 138429"/>
                <a:gd name="connsiteX45" fmla="*/ 1565275 w 4940931"/>
                <a:gd name="connsiteY45" fmla="*/ 110489 h 138429"/>
                <a:gd name="connsiteX46" fmla="*/ 1560830 w 4940931"/>
                <a:gd name="connsiteY46" fmla="*/ 109854 h 138429"/>
                <a:gd name="connsiteX47" fmla="*/ 1557020 w 4940931"/>
                <a:gd name="connsiteY47" fmla="*/ 107314 h 138429"/>
                <a:gd name="connsiteX48" fmla="*/ 1554479 w 4940931"/>
                <a:gd name="connsiteY48" fmla="*/ 103504 h 138429"/>
                <a:gd name="connsiteX49" fmla="*/ 1553844 w 4940931"/>
                <a:gd name="connsiteY49" fmla="*/ 99059 h 138429"/>
                <a:gd name="connsiteX50" fmla="*/ 1554479 w 4940931"/>
                <a:gd name="connsiteY50" fmla="*/ 94614 h 138429"/>
                <a:gd name="connsiteX51" fmla="*/ 1557020 w 4940931"/>
                <a:gd name="connsiteY51" fmla="*/ 90804 h 138429"/>
                <a:gd name="connsiteX52" fmla="*/ 1560830 w 4940931"/>
                <a:gd name="connsiteY52" fmla="*/ 88264 h 138429"/>
                <a:gd name="connsiteX53" fmla="*/ 1565275 w 4940931"/>
                <a:gd name="connsiteY53" fmla="*/ 87629 h 138429"/>
                <a:gd name="connsiteX54" fmla="*/ 2642230 w 4940931"/>
                <a:gd name="connsiteY54" fmla="*/ 73024 h 138429"/>
                <a:gd name="connsiteX55" fmla="*/ 2630800 w 4940931"/>
                <a:gd name="connsiteY55" fmla="*/ 76199 h 138429"/>
                <a:gd name="connsiteX56" fmla="*/ 2626355 w 4940931"/>
                <a:gd name="connsiteY56" fmla="*/ 84454 h 138429"/>
                <a:gd name="connsiteX57" fmla="*/ 2627625 w 4940931"/>
                <a:gd name="connsiteY57" fmla="*/ 90169 h 138429"/>
                <a:gd name="connsiteX58" fmla="*/ 2630800 w 4940931"/>
                <a:gd name="connsiteY58" fmla="*/ 93979 h 138429"/>
                <a:gd name="connsiteX59" fmla="*/ 2635245 w 4940931"/>
                <a:gd name="connsiteY59" fmla="*/ 96519 h 138429"/>
                <a:gd name="connsiteX60" fmla="*/ 2641595 w 4940931"/>
                <a:gd name="connsiteY60" fmla="*/ 97154 h 138429"/>
                <a:gd name="connsiteX61" fmla="*/ 2647310 w 4940931"/>
                <a:gd name="connsiteY61" fmla="*/ 96519 h 138429"/>
                <a:gd name="connsiteX62" fmla="*/ 2652390 w 4940931"/>
                <a:gd name="connsiteY62" fmla="*/ 93979 h 138429"/>
                <a:gd name="connsiteX63" fmla="*/ 2656835 w 4940931"/>
                <a:gd name="connsiteY63" fmla="*/ 90804 h 138429"/>
                <a:gd name="connsiteX64" fmla="*/ 2660010 w 4940931"/>
                <a:gd name="connsiteY64" fmla="*/ 86994 h 138429"/>
                <a:gd name="connsiteX65" fmla="*/ 2660010 w 4940931"/>
                <a:gd name="connsiteY65" fmla="*/ 75564 h 138429"/>
                <a:gd name="connsiteX66" fmla="*/ 2656200 w 4940931"/>
                <a:gd name="connsiteY66" fmla="*/ 74294 h 138429"/>
                <a:gd name="connsiteX67" fmla="*/ 2652390 w 4940931"/>
                <a:gd name="connsiteY67" fmla="*/ 73659 h 138429"/>
                <a:gd name="connsiteX68" fmla="*/ 2647945 w 4940931"/>
                <a:gd name="connsiteY68" fmla="*/ 73024 h 138429"/>
                <a:gd name="connsiteX69" fmla="*/ 2642230 w 4940931"/>
                <a:gd name="connsiteY69" fmla="*/ 73024 h 138429"/>
                <a:gd name="connsiteX70" fmla="*/ 4664706 w 4940931"/>
                <a:gd name="connsiteY70" fmla="*/ 43814 h 138429"/>
                <a:gd name="connsiteX71" fmla="*/ 4657086 w 4940931"/>
                <a:gd name="connsiteY71" fmla="*/ 45719 h 138429"/>
                <a:gd name="connsiteX72" fmla="*/ 4651371 w 4940931"/>
                <a:gd name="connsiteY72" fmla="*/ 50799 h 138429"/>
                <a:gd name="connsiteX73" fmla="*/ 4647561 w 4940931"/>
                <a:gd name="connsiteY73" fmla="*/ 59054 h 138429"/>
                <a:gd name="connsiteX74" fmla="*/ 4646291 w 4940931"/>
                <a:gd name="connsiteY74" fmla="*/ 69849 h 138429"/>
                <a:gd name="connsiteX75" fmla="*/ 4647561 w 4940931"/>
                <a:gd name="connsiteY75" fmla="*/ 81279 h 138429"/>
                <a:gd name="connsiteX76" fmla="*/ 4651371 w 4940931"/>
                <a:gd name="connsiteY76" fmla="*/ 89534 h 138429"/>
                <a:gd name="connsiteX77" fmla="*/ 4657721 w 4940931"/>
                <a:gd name="connsiteY77" fmla="*/ 94614 h 138429"/>
                <a:gd name="connsiteX78" fmla="*/ 4665341 w 4940931"/>
                <a:gd name="connsiteY78" fmla="*/ 96519 h 138429"/>
                <a:gd name="connsiteX79" fmla="*/ 4672961 w 4940931"/>
                <a:gd name="connsiteY79" fmla="*/ 94614 h 138429"/>
                <a:gd name="connsiteX80" fmla="*/ 4678676 w 4940931"/>
                <a:gd name="connsiteY80" fmla="*/ 88899 h 138429"/>
                <a:gd name="connsiteX81" fmla="*/ 4682486 w 4940931"/>
                <a:gd name="connsiteY81" fmla="*/ 80644 h 138429"/>
                <a:gd name="connsiteX82" fmla="*/ 4683756 w 4940931"/>
                <a:gd name="connsiteY82" fmla="*/ 70484 h 138429"/>
                <a:gd name="connsiteX83" fmla="*/ 4684391 w 4940931"/>
                <a:gd name="connsiteY83" fmla="*/ 69849 h 138429"/>
                <a:gd name="connsiteX84" fmla="*/ 4683121 w 4940931"/>
                <a:gd name="connsiteY84" fmla="*/ 59054 h 138429"/>
                <a:gd name="connsiteX85" fmla="*/ 4679311 w 4940931"/>
                <a:gd name="connsiteY85" fmla="*/ 50799 h 138429"/>
                <a:gd name="connsiteX86" fmla="*/ 4672961 w 4940931"/>
                <a:gd name="connsiteY86" fmla="*/ 45719 h 138429"/>
                <a:gd name="connsiteX87" fmla="*/ 4664706 w 4940931"/>
                <a:gd name="connsiteY87" fmla="*/ 43814 h 138429"/>
                <a:gd name="connsiteX88" fmla="*/ 4264020 w 4940931"/>
                <a:gd name="connsiteY88" fmla="*/ 43814 h 138429"/>
                <a:gd name="connsiteX89" fmla="*/ 4256400 w 4940931"/>
                <a:gd name="connsiteY89" fmla="*/ 45719 h 138429"/>
                <a:gd name="connsiteX90" fmla="*/ 4250685 w 4940931"/>
                <a:gd name="connsiteY90" fmla="*/ 50799 h 138429"/>
                <a:gd name="connsiteX91" fmla="*/ 4246875 w 4940931"/>
                <a:gd name="connsiteY91" fmla="*/ 59054 h 138429"/>
                <a:gd name="connsiteX92" fmla="*/ 4245605 w 4940931"/>
                <a:gd name="connsiteY92" fmla="*/ 69849 h 138429"/>
                <a:gd name="connsiteX93" fmla="*/ 4246875 w 4940931"/>
                <a:gd name="connsiteY93" fmla="*/ 81279 h 138429"/>
                <a:gd name="connsiteX94" fmla="*/ 4250685 w 4940931"/>
                <a:gd name="connsiteY94" fmla="*/ 89534 h 138429"/>
                <a:gd name="connsiteX95" fmla="*/ 4257035 w 4940931"/>
                <a:gd name="connsiteY95" fmla="*/ 94614 h 138429"/>
                <a:gd name="connsiteX96" fmla="*/ 4264655 w 4940931"/>
                <a:gd name="connsiteY96" fmla="*/ 96519 h 138429"/>
                <a:gd name="connsiteX97" fmla="*/ 4272275 w 4940931"/>
                <a:gd name="connsiteY97" fmla="*/ 94614 h 138429"/>
                <a:gd name="connsiteX98" fmla="*/ 4277990 w 4940931"/>
                <a:gd name="connsiteY98" fmla="*/ 88899 h 138429"/>
                <a:gd name="connsiteX99" fmla="*/ 4281800 w 4940931"/>
                <a:gd name="connsiteY99" fmla="*/ 80644 h 138429"/>
                <a:gd name="connsiteX100" fmla="*/ 4283070 w 4940931"/>
                <a:gd name="connsiteY100" fmla="*/ 70484 h 138429"/>
                <a:gd name="connsiteX101" fmla="*/ 4283705 w 4940931"/>
                <a:gd name="connsiteY101" fmla="*/ 69849 h 138429"/>
                <a:gd name="connsiteX102" fmla="*/ 4282435 w 4940931"/>
                <a:gd name="connsiteY102" fmla="*/ 59054 h 138429"/>
                <a:gd name="connsiteX103" fmla="*/ 4278625 w 4940931"/>
                <a:gd name="connsiteY103" fmla="*/ 50799 h 138429"/>
                <a:gd name="connsiteX104" fmla="*/ 4272275 w 4940931"/>
                <a:gd name="connsiteY104" fmla="*/ 45719 h 138429"/>
                <a:gd name="connsiteX105" fmla="*/ 4264020 w 4940931"/>
                <a:gd name="connsiteY105" fmla="*/ 43814 h 138429"/>
                <a:gd name="connsiteX106" fmla="*/ 1420495 w 4940931"/>
                <a:gd name="connsiteY106" fmla="*/ 43814 h 138429"/>
                <a:gd name="connsiteX107" fmla="*/ 1412875 w 4940931"/>
                <a:gd name="connsiteY107" fmla="*/ 45719 h 138429"/>
                <a:gd name="connsiteX108" fmla="*/ 1407160 w 4940931"/>
                <a:gd name="connsiteY108" fmla="*/ 50799 h 138429"/>
                <a:gd name="connsiteX109" fmla="*/ 1403350 w 4940931"/>
                <a:gd name="connsiteY109" fmla="*/ 59054 h 138429"/>
                <a:gd name="connsiteX110" fmla="*/ 1402080 w 4940931"/>
                <a:gd name="connsiteY110" fmla="*/ 69849 h 138429"/>
                <a:gd name="connsiteX111" fmla="*/ 1403350 w 4940931"/>
                <a:gd name="connsiteY111" fmla="*/ 81279 h 138429"/>
                <a:gd name="connsiteX112" fmla="*/ 1407160 w 4940931"/>
                <a:gd name="connsiteY112" fmla="*/ 89534 h 138429"/>
                <a:gd name="connsiteX113" fmla="*/ 1413510 w 4940931"/>
                <a:gd name="connsiteY113" fmla="*/ 94614 h 138429"/>
                <a:gd name="connsiteX114" fmla="*/ 1421130 w 4940931"/>
                <a:gd name="connsiteY114" fmla="*/ 96519 h 138429"/>
                <a:gd name="connsiteX115" fmla="*/ 1428750 w 4940931"/>
                <a:gd name="connsiteY115" fmla="*/ 94614 h 138429"/>
                <a:gd name="connsiteX116" fmla="*/ 1434465 w 4940931"/>
                <a:gd name="connsiteY116" fmla="*/ 88899 h 138429"/>
                <a:gd name="connsiteX117" fmla="*/ 1438275 w 4940931"/>
                <a:gd name="connsiteY117" fmla="*/ 80644 h 138429"/>
                <a:gd name="connsiteX118" fmla="*/ 1439545 w 4940931"/>
                <a:gd name="connsiteY118" fmla="*/ 70484 h 138429"/>
                <a:gd name="connsiteX119" fmla="*/ 1440180 w 4940931"/>
                <a:gd name="connsiteY119" fmla="*/ 69849 h 138429"/>
                <a:gd name="connsiteX120" fmla="*/ 1438910 w 4940931"/>
                <a:gd name="connsiteY120" fmla="*/ 59054 h 138429"/>
                <a:gd name="connsiteX121" fmla="*/ 1435100 w 4940931"/>
                <a:gd name="connsiteY121" fmla="*/ 50799 h 138429"/>
                <a:gd name="connsiteX122" fmla="*/ 1428750 w 4940931"/>
                <a:gd name="connsiteY122" fmla="*/ 45719 h 138429"/>
                <a:gd name="connsiteX123" fmla="*/ 1420495 w 4940931"/>
                <a:gd name="connsiteY123" fmla="*/ 43814 h 138429"/>
                <a:gd name="connsiteX124" fmla="*/ 4041770 w 4940931"/>
                <a:gd name="connsiteY124" fmla="*/ 43180 h 138429"/>
                <a:gd name="connsiteX125" fmla="*/ 4034785 w 4940931"/>
                <a:gd name="connsiteY125" fmla="*/ 44450 h 138429"/>
                <a:gd name="connsiteX126" fmla="*/ 4029705 w 4940931"/>
                <a:gd name="connsiteY126" fmla="*/ 48260 h 138429"/>
                <a:gd name="connsiteX127" fmla="*/ 4025895 w 4940931"/>
                <a:gd name="connsiteY127" fmla="*/ 54610 h 138429"/>
                <a:gd name="connsiteX128" fmla="*/ 4023990 w 4940931"/>
                <a:gd name="connsiteY128" fmla="*/ 62865 h 138429"/>
                <a:gd name="connsiteX129" fmla="*/ 4060185 w 4940931"/>
                <a:gd name="connsiteY129" fmla="*/ 62865 h 138429"/>
                <a:gd name="connsiteX130" fmla="*/ 4058915 w 4940931"/>
                <a:gd name="connsiteY130" fmla="*/ 55245 h 138429"/>
                <a:gd name="connsiteX131" fmla="*/ 4055740 w 4940931"/>
                <a:gd name="connsiteY131" fmla="*/ 48895 h 138429"/>
                <a:gd name="connsiteX132" fmla="*/ 4050025 w 4940931"/>
                <a:gd name="connsiteY132" fmla="*/ 44450 h 138429"/>
                <a:gd name="connsiteX133" fmla="*/ 4041770 w 4940931"/>
                <a:gd name="connsiteY133" fmla="*/ 43180 h 138429"/>
                <a:gd name="connsiteX134" fmla="*/ 3728081 w 4940931"/>
                <a:gd name="connsiteY134" fmla="*/ 43180 h 138429"/>
                <a:gd name="connsiteX135" fmla="*/ 3721096 w 4940931"/>
                <a:gd name="connsiteY135" fmla="*/ 44450 h 138429"/>
                <a:gd name="connsiteX136" fmla="*/ 3716016 w 4940931"/>
                <a:gd name="connsiteY136" fmla="*/ 48260 h 138429"/>
                <a:gd name="connsiteX137" fmla="*/ 3712206 w 4940931"/>
                <a:gd name="connsiteY137" fmla="*/ 54610 h 138429"/>
                <a:gd name="connsiteX138" fmla="*/ 3710301 w 4940931"/>
                <a:gd name="connsiteY138" fmla="*/ 62865 h 138429"/>
                <a:gd name="connsiteX139" fmla="*/ 3746496 w 4940931"/>
                <a:gd name="connsiteY139" fmla="*/ 62865 h 138429"/>
                <a:gd name="connsiteX140" fmla="*/ 3745226 w 4940931"/>
                <a:gd name="connsiteY140" fmla="*/ 55245 h 138429"/>
                <a:gd name="connsiteX141" fmla="*/ 3742051 w 4940931"/>
                <a:gd name="connsiteY141" fmla="*/ 48895 h 138429"/>
                <a:gd name="connsiteX142" fmla="*/ 3736336 w 4940931"/>
                <a:gd name="connsiteY142" fmla="*/ 44450 h 138429"/>
                <a:gd name="connsiteX143" fmla="*/ 3728081 w 4940931"/>
                <a:gd name="connsiteY143" fmla="*/ 43180 h 138429"/>
                <a:gd name="connsiteX144" fmla="*/ 3541391 w 4940931"/>
                <a:gd name="connsiteY144" fmla="*/ 43180 h 138429"/>
                <a:gd name="connsiteX145" fmla="*/ 3534406 w 4940931"/>
                <a:gd name="connsiteY145" fmla="*/ 44450 h 138429"/>
                <a:gd name="connsiteX146" fmla="*/ 3529326 w 4940931"/>
                <a:gd name="connsiteY146" fmla="*/ 48260 h 138429"/>
                <a:gd name="connsiteX147" fmla="*/ 3525516 w 4940931"/>
                <a:gd name="connsiteY147" fmla="*/ 54610 h 138429"/>
                <a:gd name="connsiteX148" fmla="*/ 3523611 w 4940931"/>
                <a:gd name="connsiteY148" fmla="*/ 62865 h 138429"/>
                <a:gd name="connsiteX149" fmla="*/ 3559806 w 4940931"/>
                <a:gd name="connsiteY149" fmla="*/ 62865 h 138429"/>
                <a:gd name="connsiteX150" fmla="*/ 3558536 w 4940931"/>
                <a:gd name="connsiteY150" fmla="*/ 55245 h 138429"/>
                <a:gd name="connsiteX151" fmla="*/ 3555361 w 4940931"/>
                <a:gd name="connsiteY151" fmla="*/ 48895 h 138429"/>
                <a:gd name="connsiteX152" fmla="*/ 3549646 w 4940931"/>
                <a:gd name="connsiteY152" fmla="*/ 44450 h 138429"/>
                <a:gd name="connsiteX153" fmla="*/ 3541391 w 4940931"/>
                <a:gd name="connsiteY153" fmla="*/ 43180 h 138429"/>
                <a:gd name="connsiteX154" fmla="*/ 3463285 w 4940931"/>
                <a:gd name="connsiteY154" fmla="*/ 43180 h 138429"/>
                <a:gd name="connsiteX155" fmla="*/ 3458205 w 4940931"/>
                <a:gd name="connsiteY155" fmla="*/ 43815 h 138429"/>
                <a:gd name="connsiteX156" fmla="*/ 3453125 w 4940931"/>
                <a:gd name="connsiteY156" fmla="*/ 45720 h 138429"/>
                <a:gd name="connsiteX157" fmla="*/ 3448680 w 4940931"/>
                <a:gd name="connsiteY157" fmla="*/ 48895 h 138429"/>
                <a:gd name="connsiteX158" fmla="*/ 3445505 w 4940931"/>
                <a:gd name="connsiteY158" fmla="*/ 52705 h 138429"/>
                <a:gd name="connsiteX159" fmla="*/ 3445505 w 4940931"/>
                <a:gd name="connsiteY159" fmla="*/ 85725 h 138429"/>
                <a:gd name="connsiteX160" fmla="*/ 3448680 w 4940931"/>
                <a:gd name="connsiteY160" fmla="*/ 89535 h 138429"/>
                <a:gd name="connsiteX161" fmla="*/ 3453125 w 4940931"/>
                <a:gd name="connsiteY161" fmla="*/ 92710 h 138429"/>
                <a:gd name="connsiteX162" fmla="*/ 3458205 w 4940931"/>
                <a:gd name="connsiteY162" fmla="*/ 95250 h 138429"/>
                <a:gd name="connsiteX163" fmla="*/ 3463920 w 4940931"/>
                <a:gd name="connsiteY163" fmla="*/ 95885 h 138429"/>
                <a:gd name="connsiteX164" fmla="*/ 3476620 w 4940931"/>
                <a:gd name="connsiteY164" fmla="*/ 89535 h 138429"/>
                <a:gd name="connsiteX165" fmla="*/ 3481065 w 4940931"/>
                <a:gd name="connsiteY165" fmla="*/ 71120 h 138429"/>
                <a:gd name="connsiteX166" fmla="*/ 3480430 w 4940931"/>
                <a:gd name="connsiteY166" fmla="*/ 71755 h 138429"/>
                <a:gd name="connsiteX167" fmla="*/ 3475985 w 4940931"/>
                <a:gd name="connsiteY167" fmla="*/ 50165 h 138429"/>
                <a:gd name="connsiteX168" fmla="*/ 3463285 w 4940931"/>
                <a:gd name="connsiteY168" fmla="*/ 43180 h 138429"/>
                <a:gd name="connsiteX169" fmla="*/ 3343271 w 4940931"/>
                <a:gd name="connsiteY169" fmla="*/ 43180 h 138429"/>
                <a:gd name="connsiteX170" fmla="*/ 3336286 w 4940931"/>
                <a:gd name="connsiteY170" fmla="*/ 44450 h 138429"/>
                <a:gd name="connsiteX171" fmla="*/ 3331206 w 4940931"/>
                <a:gd name="connsiteY171" fmla="*/ 48260 h 138429"/>
                <a:gd name="connsiteX172" fmla="*/ 3327396 w 4940931"/>
                <a:gd name="connsiteY172" fmla="*/ 54610 h 138429"/>
                <a:gd name="connsiteX173" fmla="*/ 3325491 w 4940931"/>
                <a:gd name="connsiteY173" fmla="*/ 62865 h 138429"/>
                <a:gd name="connsiteX174" fmla="*/ 3361686 w 4940931"/>
                <a:gd name="connsiteY174" fmla="*/ 62865 h 138429"/>
                <a:gd name="connsiteX175" fmla="*/ 3360416 w 4940931"/>
                <a:gd name="connsiteY175" fmla="*/ 55245 h 138429"/>
                <a:gd name="connsiteX176" fmla="*/ 3357241 w 4940931"/>
                <a:gd name="connsiteY176" fmla="*/ 48895 h 138429"/>
                <a:gd name="connsiteX177" fmla="*/ 3351526 w 4940931"/>
                <a:gd name="connsiteY177" fmla="*/ 44450 h 138429"/>
                <a:gd name="connsiteX178" fmla="*/ 3343271 w 4940931"/>
                <a:gd name="connsiteY178" fmla="*/ 43180 h 138429"/>
                <a:gd name="connsiteX179" fmla="*/ 2976876 w 4940931"/>
                <a:gd name="connsiteY179" fmla="*/ 43180 h 138429"/>
                <a:gd name="connsiteX180" fmla="*/ 2969891 w 4940931"/>
                <a:gd name="connsiteY180" fmla="*/ 44450 h 138429"/>
                <a:gd name="connsiteX181" fmla="*/ 2964811 w 4940931"/>
                <a:gd name="connsiteY181" fmla="*/ 48260 h 138429"/>
                <a:gd name="connsiteX182" fmla="*/ 2961001 w 4940931"/>
                <a:gd name="connsiteY182" fmla="*/ 54610 h 138429"/>
                <a:gd name="connsiteX183" fmla="*/ 2959096 w 4940931"/>
                <a:gd name="connsiteY183" fmla="*/ 62865 h 138429"/>
                <a:gd name="connsiteX184" fmla="*/ 2995291 w 4940931"/>
                <a:gd name="connsiteY184" fmla="*/ 62865 h 138429"/>
                <a:gd name="connsiteX185" fmla="*/ 2994021 w 4940931"/>
                <a:gd name="connsiteY185" fmla="*/ 55245 h 138429"/>
                <a:gd name="connsiteX186" fmla="*/ 2990846 w 4940931"/>
                <a:gd name="connsiteY186" fmla="*/ 48895 h 138429"/>
                <a:gd name="connsiteX187" fmla="*/ 2985131 w 4940931"/>
                <a:gd name="connsiteY187" fmla="*/ 44450 h 138429"/>
                <a:gd name="connsiteX188" fmla="*/ 2976876 w 4940931"/>
                <a:gd name="connsiteY188" fmla="*/ 43180 h 138429"/>
                <a:gd name="connsiteX189" fmla="*/ 2527930 w 4940931"/>
                <a:gd name="connsiteY189" fmla="*/ 43180 h 138429"/>
                <a:gd name="connsiteX190" fmla="*/ 2520945 w 4940931"/>
                <a:gd name="connsiteY190" fmla="*/ 44450 h 138429"/>
                <a:gd name="connsiteX191" fmla="*/ 2515865 w 4940931"/>
                <a:gd name="connsiteY191" fmla="*/ 48260 h 138429"/>
                <a:gd name="connsiteX192" fmla="*/ 2512055 w 4940931"/>
                <a:gd name="connsiteY192" fmla="*/ 54610 h 138429"/>
                <a:gd name="connsiteX193" fmla="*/ 2510150 w 4940931"/>
                <a:gd name="connsiteY193" fmla="*/ 62865 h 138429"/>
                <a:gd name="connsiteX194" fmla="*/ 2546345 w 4940931"/>
                <a:gd name="connsiteY194" fmla="*/ 62865 h 138429"/>
                <a:gd name="connsiteX195" fmla="*/ 2545075 w 4940931"/>
                <a:gd name="connsiteY195" fmla="*/ 55245 h 138429"/>
                <a:gd name="connsiteX196" fmla="*/ 2541900 w 4940931"/>
                <a:gd name="connsiteY196" fmla="*/ 48895 h 138429"/>
                <a:gd name="connsiteX197" fmla="*/ 2536185 w 4940931"/>
                <a:gd name="connsiteY197" fmla="*/ 44450 h 138429"/>
                <a:gd name="connsiteX198" fmla="*/ 2527930 w 4940931"/>
                <a:gd name="connsiteY198" fmla="*/ 43180 h 138429"/>
                <a:gd name="connsiteX199" fmla="*/ 2214240 w 4940931"/>
                <a:gd name="connsiteY199" fmla="*/ 43180 h 138429"/>
                <a:gd name="connsiteX200" fmla="*/ 2207255 w 4940931"/>
                <a:gd name="connsiteY200" fmla="*/ 44450 h 138429"/>
                <a:gd name="connsiteX201" fmla="*/ 2202175 w 4940931"/>
                <a:gd name="connsiteY201" fmla="*/ 48260 h 138429"/>
                <a:gd name="connsiteX202" fmla="*/ 2198365 w 4940931"/>
                <a:gd name="connsiteY202" fmla="*/ 54610 h 138429"/>
                <a:gd name="connsiteX203" fmla="*/ 2196460 w 4940931"/>
                <a:gd name="connsiteY203" fmla="*/ 62865 h 138429"/>
                <a:gd name="connsiteX204" fmla="*/ 2232655 w 4940931"/>
                <a:gd name="connsiteY204" fmla="*/ 62865 h 138429"/>
                <a:gd name="connsiteX205" fmla="*/ 2231385 w 4940931"/>
                <a:gd name="connsiteY205" fmla="*/ 55245 h 138429"/>
                <a:gd name="connsiteX206" fmla="*/ 2228210 w 4940931"/>
                <a:gd name="connsiteY206" fmla="*/ 48895 h 138429"/>
                <a:gd name="connsiteX207" fmla="*/ 2222495 w 4940931"/>
                <a:gd name="connsiteY207" fmla="*/ 44450 h 138429"/>
                <a:gd name="connsiteX208" fmla="*/ 2214240 w 4940931"/>
                <a:gd name="connsiteY208" fmla="*/ 43180 h 138429"/>
                <a:gd name="connsiteX209" fmla="*/ 2027551 w 4940931"/>
                <a:gd name="connsiteY209" fmla="*/ 43180 h 138429"/>
                <a:gd name="connsiteX210" fmla="*/ 2020566 w 4940931"/>
                <a:gd name="connsiteY210" fmla="*/ 44450 h 138429"/>
                <a:gd name="connsiteX211" fmla="*/ 2015486 w 4940931"/>
                <a:gd name="connsiteY211" fmla="*/ 48260 h 138429"/>
                <a:gd name="connsiteX212" fmla="*/ 2011676 w 4940931"/>
                <a:gd name="connsiteY212" fmla="*/ 54610 h 138429"/>
                <a:gd name="connsiteX213" fmla="*/ 2009771 w 4940931"/>
                <a:gd name="connsiteY213" fmla="*/ 62865 h 138429"/>
                <a:gd name="connsiteX214" fmla="*/ 2045966 w 4940931"/>
                <a:gd name="connsiteY214" fmla="*/ 62865 h 138429"/>
                <a:gd name="connsiteX215" fmla="*/ 2044696 w 4940931"/>
                <a:gd name="connsiteY215" fmla="*/ 55245 h 138429"/>
                <a:gd name="connsiteX216" fmla="*/ 2041521 w 4940931"/>
                <a:gd name="connsiteY216" fmla="*/ 48895 h 138429"/>
                <a:gd name="connsiteX217" fmla="*/ 2035806 w 4940931"/>
                <a:gd name="connsiteY217" fmla="*/ 44450 h 138429"/>
                <a:gd name="connsiteX218" fmla="*/ 2027551 w 4940931"/>
                <a:gd name="connsiteY218" fmla="*/ 43180 h 138429"/>
                <a:gd name="connsiteX219" fmla="*/ 1949445 w 4940931"/>
                <a:gd name="connsiteY219" fmla="*/ 43180 h 138429"/>
                <a:gd name="connsiteX220" fmla="*/ 1944365 w 4940931"/>
                <a:gd name="connsiteY220" fmla="*/ 43815 h 138429"/>
                <a:gd name="connsiteX221" fmla="*/ 1939285 w 4940931"/>
                <a:gd name="connsiteY221" fmla="*/ 45720 h 138429"/>
                <a:gd name="connsiteX222" fmla="*/ 1934840 w 4940931"/>
                <a:gd name="connsiteY222" fmla="*/ 48895 h 138429"/>
                <a:gd name="connsiteX223" fmla="*/ 1931665 w 4940931"/>
                <a:gd name="connsiteY223" fmla="*/ 52705 h 138429"/>
                <a:gd name="connsiteX224" fmla="*/ 1931665 w 4940931"/>
                <a:gd name="connsiteY224" fmla="*/ 85725 h 138429"/>
                <a:gd name="connsiteX225" fmla="*/ 1934840 w 4940931"/>
                <a:gd name="connsiteY225" fmla="*/ 89535 h 138429"/>
                <a:gd name="connsiteX226" fmla="*/ 1939285 w 4940931"/>
                <a:gd name="connsiteY226" fmla="*/ 92710 h 138429"/>
                <a:gd name="connsiteX227" fmla="*/ 1944365 w 4940931"/>
                <a:gd name="connsiteY227" fmla="*/ 95250 h 138429"/>
                <a:gd name="connsiteX228" fmla="*/ 1950080 w 4940931"/>
                <a:gd name="connsiteY228" fmla="*/ 95885 h 138429"/>
                <a:gd name="connsiteX229" fmla="*/ 1962780 w 4940931"/>
                <a:gd name="connsiteY229" fmla="*/ 89535 h 138429"/>
                <a:gd name="connsiteX230" fmla="*/ 1967225 w 4940931"/>
                <a:gd name="connsiteY230" fmla="*/ 71120 h 138429"/>
                <a:gd name="connsiteX231" fmla="*/ 1966590 w 4940931"/>
                <a:gd name="connsiteY231" fmla="*/ 71755 h 138429"/>
                <a:gd name="connsiteX232" fmla="*/ 1962145 w 4940931"/>
                <a:gd name="connsiteY232" fmla="*/ 50165 h 138429"/>
                <a:gd name="connsiteX233" fmla="*/ 1949445 w 4940931"/>
                <a:gd name="connsiteY233" fmla="*/ 43180 h 138429"/>
                <a:gd name="connsiteX234" fmla="*/ 1829431 w 4940931"/>
                <a:gd name="connsiteY234" fmla="*/ 43180 h 138429"/>
                <a:gd name="connsiteX235" fmla="*/ 1822446 w 4940931"/>
                <a:gd name="connsiteY235" fmla="*/ 44450 h 138429"/>
                <a:gd name="connsiteX236" fmla="*/ 1817366 w 4940931"/>
                <a:gd name="connsiteY236" fmla="*/ 48260 h 138429"/>
                <a:gd name="connsiteX237" fmla="*/ 1813556 w 4940931"/>
                <a:gd name="connsiteY237" fmla="*/ 54610 h 138429"/>
                <a:gd name="connsiteX238" fmla="*/ 1811651 w 4940931"/>
                <a:gd name="connsiteY238" fmla="*/ 62865 h 138429"/>
                <a:gd name="connsiteX239" fmla="*/ 1847846 w 4940931"/>
                <a:gd name="connsiteY239" fmla="*/ 62865 h 138429"/>
                <a:gd name="connsiteX240" fmla="*/ 1846576 w 4940931"/>
                <a:gd name="connsiteY240" fmla="*/ 55245 h 138429"/>
                <a:gd name="connsiteX241" fmla="*/ 1843401 w 4940931"/>
                <a:gd name="connsiteY241" fmla="*/ 48895 h 138429"/>
                <a:gd name="connsiteX242" fmla="*/ 1837686 w 4940931"/>
                <a:gd name="connsiteY242" fmla="*/ 44450 h 138429"/>
                <a:gd name="connsiteX243" fmla="*/ 1829431 w 4940931"/>
                <a:gd name="connsiteY243" fmla="*/ 43180 h 138429"/>
                <a:gd name="connsiteX244" fmla="*/ 1178561 w 4940931"/>
                <a:gd name="connsiteY244" fmla="*/ 43180 h 138429"/>
                <a:gd name="connsiteX245" fmla="*/ 1171576 w 4940931"/>
                <a:gd name="connsiteY245" fmla="*/ 44450 h 138429"/>
                <a:gd name="connsiteX246" fmla="*/ 1166496 w 4940931"/>
                <a:gd name="connsiteY246" fmla="*/ 48260 h 138429"/>
                <a:gd name="connsiteX247" fmla="*/ 1162686 w 4940931"/>
                <a:gd name="connsiteY247" fmla="*/ 54610 h 138429"/>
                <a:gd name="connsiteX248" fmla="*/ 1160781 w 4940931"/>
                <a:gd name="connsiteY248" fmla="*/ 62865 h 138429"/>
                <a:gd name="connsiteX249" fmla="*/ 1196976 w 4940931"/>
                <a:gd name="connsiteY249" fmla="*/ 62865 h 138429"/>
                <a:gd name="connsiteX250" fmla="*/ 1195706 w 4940931"/>
                <a:gd name="connsiteY250" fmla="*/ 55245 h 138429"/>
                <a:gd name="connsiteX251" fmla="*/ 1192531 w 4940931"/>
                <a:gd name="connsiteY251" fmla="*/ 48895 h 138429"/>
                <a:gd name="connsiteX252" fmla="*/ 1186816 w 4940931"/>
                <a:gd name="connsiteY252" fmla="*/ 44450 h 138429"/>
                <a:gd name="connsiteX253" fmla="*/ 1178561 w 4940931"/>
                <a:gd name="connsiteY253" fmla="*/ 43180 h 138429"/>
                <a:gd name="connsiteX254" fmla="*/ 898525 w 4940931"/>
                <a:gd name="connsiteY254" fmla="*/ 43180 h 138429"/>
                <a:gd name="connsiteX255" fmla="*/ 891540 w 4940931"/>
                <a:gd name="connsiteY255" fmla="*/ 44450 h 138429"/>
                <a:gd name="connsiteX256" fmla="*/ 886460 w 4940931"/>
                <a:gd name="connsiteY256" fmla="*/ 48260 h 138429"/>
                <a:gd name="connsiteX257" fmla="*/ 882650 w 4940931"/>
                <a:gd name="connsiteY257" fmla="*/ 54610 h 138429"/>
                <a:gd name="connsiteX258" fmla="*/ 880745 w 4940931"/>
                <a:gd name="connsiteY258" fmla="*/ 62865 h 138429"/>
                <a:gd name="connsiteX259" fmla="*/ 916940 w 4940931"/>
                <a:gd name="connsiteY259" fmla="*/ 62865 h 138429"/>
                <a:gd name="connsiteX260" fmla="*/ 915670 w 4940931"/>
                <a:gd name="connsiteY260" fmla="*/ 55245 h 138429"/>
                <a:gd name="connsiteX261" fmla="*/ 912495 w 4940931"/>
                <a:gd name="connsiteY261" fmla="*/ 48895 h 138429"/>
                <a:gd name="connsiteX262" fmla="*/ 906780 w 4940931"/>
                <a:gd name="connsiteY262" fmla="*/ 44450 h 138429"/>
                <a:gd name="connsiteX263" fmla="*/ 898525 w 4940931"/>
                <a:gd name="connsiteY263" fmla="*/ 43180 h 138429"/>
                <a:gd name="connsiteX264" fmla="*/ 584834 w 4940931"/>
                <a:gd name="connsiteY264" fmla="*/ 43180 h 138429"/>
                <a:gd name="connsiteX265" fmla="*/ 577849 w 4940931"/>
                <a:gd name="connsiteY265" fmla="*/ 44450 h 138429"/>
                <a:gd name="connsiteX266" fmla="*/ 572769 w 4940931"/>
                <a:gd name="connsiteY266" fmla="*/ 48260 h 138429"/>
                <a:gd name="connsiteX267" fmla="*/ 568959 w 4940931"/>
                <a:gd name="connsiteY267" fmla="*/ 54610 h 138429"/>
                <a:gd name="connsiteX268" fmla="*/ 567054 w 4940931"/>
                <a:gd name="connsiteY268" fmla="*/ 62865 h 138429"/>
                <a:gd name="connsiteX269" fmla="*/ 603249 w 4940931"/>
                <a:gd name="connsiteY269" fmla="*/ 62865 h 138429"/>
                <a:gd name="connsiteX270" fmla="*/ 601979 w 4940931"/>
                <a:gd name="connsiteY270" fmla="*/ 55245 h 138429"/>
                <a:gd name="connsiteX271" fmla="*/ 598804 w 4940931"/>
                <a:gd name="connsiteY271" fmla="*/ 48895 h 138429"/>
                <a:gd name="connsiteX272" fmla="*/ 593089 w 4940931"/>
                <a:gd name="connsiteY272" fmla="*/ 44450 h 138429"/>
                <a:gd name="connsiteX273" fmla="*/ 584834 w 4940931"/>
                <a:gd name="connsiteY273" fmla="*/ 43180 h 138429"/>
                <a:gd name="connsiteX274" fmla="*/ 398145 w 4940931"/>
                <a:gd name="connsiteY274" fmla="*/ 43180 h 138429"/>
                <a:gd name="connsiteX275" fmla="*/ 391160 w 4940931"/>
                <a:gd name="connsiteY275" fmla="*/ 44450 h 138429"/>
                <a:gd name="connsiteX276" fmla="*/ 386080 w 4940931"/>
                <a:gd name="connsiteY276" fmla="*/ 48260 h 138429"/>
                <a:gd name="connsiteX277" fmla="*/ 382270 w 4940931"/>
                <a:gd name="connsiteY277" fmla="*/ 54610 h 138429"/>
                <a:gd name="connsiteX278" fmla="*/ 380365 w 4940931"/>
                <a:gd name="connsiteY278" fmla="*/ 62865 h 138429"/>
                <a:gd name="connsiteX279" fmla="*/ 416560 w 4940931"/>
                <a:gd name="connsiteY279" fmla="*/ 62865 h 138429"/>
                <a:gd name="connsiteX280" fmla="*/ 415290 w 4940931"/>
                <a:gd name="connsiteY280" fmla="*/ 55245 h 138429"/>
                <a:gd name="connsiteX281" fmla="*/ 412115 w 4940931"/>
                <a:gd name="connsiteY281" fmla="*/ 48895 h 138429"/>
                <a:gd name="connsiteX282" fmla="*/ 406400 w 4940931"/>
                <a:gd name="connsiteY282" fmla="*/ 44450 h 138429"/>
                <a:gd name="connsiteX283" fmla="*/ 398145 w 4940931"/>
                <a:gd name="connsiteY283" fmla="*/ 43180 h 138429"/>
                <a:gd name="connsiteX284" fmla="*/ 320039 w 4940931"/>
                <a:gd name="connsiteY284" fmla="*/ 43180 h 138429"/>
                <a:gd name="connsiteX285" fmla="*/ 314959 w 4940931"/>
                <a:gd name="connsiteY285" fmla="*/ 43815 h 138429"/>
                <a:gd name="connsiteX286" fmla="*/ 309879 w 4940931"/>
                <a:gd name="connsiteY286" fmla="*/ 45720 h 138429"/>
                <a:gd name="connsiteX287" fmla="*/ 305434 w 4940931"/>
                <a:gd name="connsiteY287" fmla="*/ 48895 h 138429"/>
                <a:gd name="connsiteX288" fmla="*/ 302259 w 4940931"/>
                <a:gd name="connsiteY288" fmla="*/ 52705 h 138429"/>
                <a:gd name="connsiteX289" fmla="*/ 302259 w 4940931"/>
                <a:gd name="connsiteY289" fmla="*/ 85725 h 138429"/>
                <a:gd name="connsiteX290" fmla="*/ 305434 w 4940931"/>
                <a:gd name="connsiteY290" fmla="*/ 89535 h 138429"/>
                <a:gd name="connsiteX291" fmla="*/ 309879 w 4940931"/>
                <a:gd name="connsiteY291" fmla="*/ 92710 h 138429"/>
                <a:gd name="connsiteX292" fmla="*/ 314959 w 4940931"/>
                <a:gd name="connsiteY292" fmla="*/ 95250 h 138429"/>
                <a:gd name="connsiteX293" fmla="*/ 320674 w 4940931"/>
                <a:gd name="connsiteY293" fmla="*/ 95885 h 138429"/>
                <a:gd name="connsiteX294" fmla="*/ 333374 w 4940931"/>
                <a:gd name="connsiteY294" fmla="*/ 89535 h 138429"/>
                <a:gd name="connsiteX295" fmla="*/ 337819 w 4940931"/>
                <a:gd name="connsiteY295" fmla="*/ 71120 h 138429"/>
                <a:gd name="connsiteX296" fmla="*/ 337184 w 4940931"/>
                <a:gd name="connsiteY296" fmla="*/ 71755 h 138429"/>
                <a:gd name="connsiteX297" fmla="*/ 332739 w 4940931"/>
                <a:gd name="connsiteY297" fmla="*/ 50165 h 138429"/>
                <a:gd name="connsiteX298" fmla="*/ 320039 w 4940931"/>
                <a:gd name="connsiteY298" fmla="*/ 43180 h 138429"/>
                <a:gd name="connsiteX299" fmla="*/ 200025 w 4940931"/>
                <a:gd name="connsiteY299" fmla="*/ 43180 h 138429"/>
                <a:gd name="connsiteX300" fmla="*/ 193040 w 4940931"/>
                <a:gd name="connsiteY300" fmla="*/ 44450 h 138429"/>
                <a:gd name="connsiteX301" fmla="*/ 187960 w 4940931"/>
                <a:gd name="connsiteY301" fmla="*/ 48260 h 138429"/>
                <a:gd name="connsiteX302" fmla="*/ 184150 w 4940931"/>
                <a:gd name="connsiteY302" fmla="*/ 54610 h 138429"/>
                <a:gd name="connsiteX303" fmla="*/ 182245 w 4940931"/>
                <a:gd name="connsiteY303" fmla="*/ 62865 h 138429"/>
                <a:gd name="connsiteX304" fmla="*/ 218440 w 4940931"/>
                <a:gd name="connsiteY304" fmla="*/ 62865 h 138429"/>
                <a:gd name="connsiteX305" fmla="*/ 217170 w 4940931"/>
                <a:gd name="connsiteY305" fmla="*/ 55245 h 138429"/>
                <a:gd name="connsiteX306" fmla="*/ 213995 w 4940931"/>
                <a:gd name="connsiteY306" fmla="*/ 48895 h 138429"/>
                <a:gd name="connsiteX307" fmla="*/ 208280 w 4940931"/>
                <a:gd name="connsiteY307" fmla="*/ 44450 h 138429"/>
                <a:gd name="connsiteX308" fmla="*/ 200025 w 4940931"/>
                <a:gd name="connsiteY308" fmla="*/ 43180 h 138429"/>
                <a:gd name="connsiteX309" fmla="*/ 4439281 w 4940931"/>
                <a:gd name="connsiteY309" fmla="*/ 43179 h 138429"/>
                <a:gd name="connsiteX310" fmla="*/ 4426581 w 4940931"/>
                <a:gd name="connsiteY310" fmla="*/ 49529 h 138429"/>
                <a:gd name="connsiteX311" fmla="*/ 4422136 w 4940931"/>
                <a:gd name="connsiteY311" fmla="*/ 67944 h 138429"/>
                <a:gd name="connsiteX312" fmla="*/ 4423406 w 4940931"/>
                <a:gd name="connsiteY312" fmla="*/ 80644 h 138429"/>
                <a:gd name="connsiteX313" fmla="*/ 4426581 w 4940931"/>
                <a:gd name="connsiteY313" fmla="*/ 89534 h 138429"/>
                <a:gd name="connsiteX314" fmla="*/ 4432296 w 4940931"/>
                <a:gd name="connsiteY314" fmla="*/ 94614 h 138429"/>
                <a:gd name="connsiteX315" fmla="*/ 4439916 w 4940931"/>
                <a:gd name="connsiteY315" fmla="*/ 96519 h 138429"/>
                <a:gd name="connsiteX316" fmla="*/ 4444996 w 4940931"/>
                <a:gd name="connsiteY316" fmla="*/ 95884 h 138429"/>
                <a:gd name="connsiteX317" fmla="*/ 4450076 w 4940931"/>
                <a:gd name="connsiteY317" fmla="*/ 93344 h 138429"/>
                <a:gd name="connsiteX318" fmla="*/ 4454521 w 4940931"/>
                <a:gd name="connsiteY318" fmla="*/ 90169 h 138429"/>
                <a:gd name="connsiteX319" fmla="*/ 4457696 w 4940931"/>
                <a:gd name="connsiteY319" fmla="*/ 86359 h 138429"/>
                <a:gd name="connsiteX320" fmla="*/ 4457696 w 4940931"/>
                <a:gd name="connsiteY320" fmla="*/ 53339 h 138429"/>
                <a:gd name="connsiteX321" fmla="*/ 4454521 w 4940931"/>
                <a:gd name="connsiteY321" fmla="*/ 49529 h 138429"/>
                <a:gd name="connsiteX322" fmla="*/ 4450076 w 4940931"/>
                <a:gd name="connsiteY322" fmla="*/ 46354 h 138429"/>
                <a:gd name="connsiteX323" fmla="*/ 4444996 w 4940931"/>
                <a:gd name="connsiteY323" fmla="*/ 43814 h 138429"/>
                <a:gd name="connsiteX324" fmla="*/ 4439281 w 4940931"/>
                <a:gd name="connsiteY324" fmla="*/ 43179 h 138429"/>
                <a:gd name="connsiteX325" fmla="*/ 1014731 w 4940931"/>
                <a:gd name="connsiteY325" fmla="*/ 43179 h 138429"/>
                <a:gd name="connsiteX326" fmla="*/ 1002032 w 4940931"/>
                <a:gd name="connsiteY326" fmla="*/ 49529 h 138429"/>
                <a:gd name="connsiteX327" fmla="*/ 997587 w 4940931"/>
                <a:gd name="connsiteY327" fmla="*/ 67944 h 138429"/>
                <a:gd name="connsiteX328" fmla="*/ 1002032 w 4940931"/>
                <a:gd name="connsiteY328" fmla="*/ 88899 h 138429"/>
                <a:gd name="connsiteX329" fmla="*/ 1015367 w 4940931"/>
                <a:gd name="connsiteY329" fmla="*/ 95884 h 138429"/>
                <a:gd name="connsiteX330" fmla="*/ 1024891 w 4940931"/>
                <a:gd name="connsiteY330" fmla="*/ 93344 h 138429"/>
                <a:gd name="connsiteX331" fmla="*/ 1033147 w 4940931"/>
                <a:gd name="connsiteY331" fmla="*/ 86359 h 138429"/>
                <a:gd name="connsiteX332" fmla="*/ 1033147 w 4940931"/>
                <a:gd name="connsiteY332" fmla="*/ 53339 h 138429"/>
                <a:gd name="connsiteX333" fmla="*/ 1029971 w 4940931"/>
                <a:gd name="connsiteY333" fmla="*/ 49529 h 138429"/>
                <a:gd name="connsiteX334" fmla="*/ 1025526 w 4940931"/>
                <a:gd name="connsiteY334" fmla="*/ 46354 h 138429"/>
                <a:gd name="connsiteX335" fmla="*/ 1020446 w 4940931"/>
                <a:gd name="connsiteY335" fmla="*/ 43814 h 138429"/>
                <a:gd name="connsiteX336" fmla="*/ 1014731 w 4940931"/>
                <a:gd name="connsiteY336" fmla="*/ 43179 h 138429"/>
                <a:gd name="connsiteX337" fmla="*/ 4524370 w 4940931"/>
                <a:gd name="connsiteY337" fmla="*/ 31114 h 138429"/>
                <a:gd name="connsiteX338" fmla="*/ 4538975 w 4940931"/>
                <a:gd name="connsiteY338" fmla="*/ 31114 h 138429"/>
                <a:gd name="connsiteX339" fmla="*/ 4552310 w 4940931"/>
                <a:gd name="connsiteY339" fmla="*/ 84454 h 138429"/>
                <a:gd name="connsiteX340" fmla="*/ 4566915 w 4940931"/>
                <a:gd name="connsiteY340" fmla="*/ 31114 h 138429"/>
                <a:gd name="connsiteX341" fmla="*/ 4579615 w 4940931"/>
                <a:gd name="connsiteY341" fmla="*/ 31114 h 138429"/>
                <a:gd name="connsiteX342" fmla="*/ 4594220 w 4940931"/>
                <a:gd name="connsiteY342" fmla="*/ 84454 h 138429"/>
                <a:gd name="connsiteX343" fmla="*/ 4606920 w 4940931"/>
                <a:gd name="connsiteY343" fmla="*/ 31114 h 138429"/>
                <a:gd name="connsiteX344" fmla="*/ 4622160 w 4940931"/>
                <a:gd name="connsiteY344" fmla="*/ 31114 h 138429"/>
                <a:gd name="connsiteX345" fmla="*/ 4600570 w 4940931"/>
                <a:gd name="connsiteY345" fmla="*/ 108584 h 138429"/>
                <a:gd name="connsiteX346" fmla="*/ 4587235 w 4940931"/>
                <a:gd name="connsiteY346" fmla="*/ 108584 h 138429"/>
                <a:gd name="connsiteX347" fmla="*/ 4572630 w 4940931"/>
                <a:gd name="connsiteY347" fmla="*/ 54609 h 138429"/>
                <a:gd name="connsiteX348" fmla="*/ 4558660 w 4940931"/>
                <a:gd name="connsiteY348" fmla="*/ 108584 h 138429"/>
                <a:gd name="connsiteX349" fmla="*/ 4545325 w 4940931"/>
                <a:gd name="connsiteY349" fmla="*/ 108584 h 138429"/>
                <a:gd name="connsiteX350" fmla="*/ 4123686 w 4940931"/>
                <a:gd name="connsiteY350" fmla="*/ 31114 h 138429"/>
                <a:gd name="connsiteX351" fmla="*/ 4138926 w 4940931"/>
                <a:gd name="connsiteY351" fmla="*/ 31114 h 138429"/>
                <a:gd name="connsiteX352" fmla="*/ 4152261 w 4940931"/>
                <a:gd name="connsiteY352" fmla="*/ 84454 h 138429"/>
                <a:gd name="connsiteX353" fmla="*/ 4166866 w 4940931"/>
                <a:gd name="connsiteY353" fmla="*/ 31114 h 138429"/>
                <a:gd name="connsiteX354" fmla="*/ 4178931 w 4940931"/>
                <a:gd name="connsiteY354" fmla="*/ 31114 h 138429"/>
                <a:gd name="connsiteX355" fmla="*/ 4193536 w 4940931"/>
                <a:gd name="connsiteY355" fmla="*/ 84454 h 138429"/>
                <a:gd name="connsiteX356" fmla="*/ 4206871 w 4940931"/>
                <a:gd name="connsiteY356" fmla="*/ 31114 h 138429"/>
                <a:gd name="connsiteX357" fmla="*/ 4222111 w 4940931"/>
                <a:gd name="connsiteY357" fmla="*/ 31114 h 138429"/>
                <a:gd name="connsiteX358" fmla="*/ 4200521 w 4940931"/>
                <a:gd name="connsiteY358" fmla="*/ 108584 h 138429"/>
                <a:gd name="connsiteX359" fmla="*/ 4187186 w 4940931"/>
                <a:gd name="connsiteY359" fmla="*/ 108584 h 138429"/>
                <a:gd name="connsiteX360" fmla="*/ 4172581 w 4940931"/>
                <a:gd name="connsiteY360" fmla="*/ 54609 h 138429"/>
                <a:gd name="connsiteX361" fmla="*/ 4157976 w 4940931"/>
                <a:gd name="connsiteY361" fmla="*/ 108584 h 138429"/>
                <a:gd name="connsiteX362" fmla="*/ 4145276 w 4940931"/>
                <a:gd name="connsiteY362" fmla="*/ 108584 h 138429"/>
                <a:gd name="connsiteX363" fmla="*/ 2837811 w 4940931"/>
                <a:gd name="connsiteY363" fmla="*/ 31114 h 138429"/>
                <a:gd name="connsiteX364" fmla="*/ 2852416 w 4940931"/>
                <a:gd name="connsiteY364" fmla="*/ 31114 h 138429"/>
                <a:gd name="connsiteX365" fmla="*/ 2865751 w 4940931"/>
                <a:gd name="connsiteY365" fmla="*/ 84454 h 138429"/>
                <a:gd name="connsiteX366" fmla="*/ 2880356 w 4940931"/>
                <a:gd name="connsiteY366" fmla="*/ 31114 h 138429"/>
                <a:gd name="connsiteX367" fmla="*/ 2893056 w 4940931"/>
                <a:gd name="connsiteY367" fmla="*/ 31114 h 138429"/>
                <a:gd name="connsiteX368" fmla="*/ 2907661 w 4940931"/>
                <a:gd name="connsiteY368" fmla="*/ 84454 h 138429"/>
                <a:gd name="connsiteX369" fmla="*/ 2920361 w 4940931"/>
                <a:gd name="connsiteY369" fmla="*/ 31114 h 138429"/>
                <a:gd name="connsiteX370" fmla="*/ 2935601 w 4940931"/>
                <a:gd name="connsiteY370" fmla="*/ 31114 h 138429"/>
                <a:gd name="connsiteX371" fmla="*/ 2914011 w 4940931"/>
                <a:gd name="connsiteY371" fmla="*/ 108584 h 138429"/>
                <a:gd name="connsiteX372" fmla="*/ 2900676 w 4940931"/>
                <a:gd name="connsiteY372" fmla="*/ 108584 h 138429"/>
                <a:gd name="connsiteX373" fmla="*/ 2886706 w 4940931"/>
                <a:gd name="connsiteY373" fmla="*/ 54609 h 138429"/>
                <a:gd name="connsiteX374" fmla="*/ 2872101 w 4940931"/>
                <a:gd name="connsiteY374" fmla="*/ 108584 h 138429"/>
                <a:gd name="connsiteX375" fmla="*/ 2858766 w 4940931"/>
                <a:gd name="connsiteY375" fmla="*/ 108584 h 138429"/>
                <a:gd name="connsiteX376" fmla="*/ 1354455 w 4940931"/>
                <a:gd name="connsiteY376" fmla="*/ 31114 h 138429"/>
                <a:gd name="connsiteX377" fmla="*/ 1369695 w 4940931"/>
                <a:gd name="connsiteY377" fmla="*/ 31114 h 138429"/>
                <a:gd name="connsiteX378" fmla="*/ 1369695 w 4940931"/>
                <a:gd name="connsiteY378" fmla="*/ 109219 h 138429"/>
                <a:gd name="connsiteX379" fmla="*/ 1354455 w 4940931"/>
                <a:gd name="connsiteY379" fmla="*/ 109219 h 138429"/>
                <a:gd name="connsiteX380" fmla="*/ 2646040 w 4940931"/>
                <a:gd name="connsiteY380" fmla="*/ 29844 h 138429"/>
                <a:gd name="connsiteX381" fmla="*/ 2658105 w 4940931"/>
                <a:gd name="connsiteY381" fmla="*/ 31749 h 138429"/>
                <a:gd name="connsiteX382" fmla="*/ 2667630 w 4940931"/>
                <a:gd name="connsiteY382" fmla="*/ 36829 h 138429"/>
                <a:gd name="connsiteX383" fmla="*/ 2673345 w 4940931"/>
                <a:gd name="connsiteY383" fmla="*/ 45084 h 138429"/>
                <a:gd name="connsiteX384" fmla="*/ 2675250 w 4940931"/>
                <a:gd name="connsiteY384" fmla="*/ 56514 h 138429"/>
                <a:gd name="connsiteX385" fmla="*/ 2675250 w 4940931"/>
                <a:gd name="connsiteY385" fmla="*/ 109854 h 138429"/>
                <a:gd name="connsiteX386" fmla="*/ 2660010 w 4940931"/>
                <a:gd name="connsiteY386" fmla="*/ 109854 h 138429"/>
                <a:gd name="connsiteX387" fmla="*/ 2660010 w 4940931"/>
                <a:gd name="connsiteY387" fmla="*/ 108584 h 138429"/>
                <a:gd name="connsiteX388" fmla="*/ 2660010 w 4940931"/>
                <a:gd name="connsiteY388" fmla="*/ 100964 h 138429"/>
                <a:gd name="connsiteX389" fmla="*/ 2654930 w 4940931"/>
                <a:gd name="connsiteY389" fmla="*/ 104774 h 138429"/>
                <a:gd name="connsiteX390" fmla="*/ 2651120 w 4940931"/>
                <a:gd name="connsiteY390" fmla="*/ 107314 h 138429"/>
                <a:gd name="connsiteX391" fmla="*/ 2646040 w 4940931"/>
                <a:gd name="connsiteY391" fmla="*/ 109219 h 138429"/>
                <a:gd name="connsiteX392" fmla="*/ 2639055 w 4940931"/>
                <a:gd name="connsiteY392" fmla="*/ 109854 h 138429"/>
                <a:gd name="connsiteX393" fmla="*/ 2629530 w 4940931"/>
                <a:gd name="connsiteY393" fmla="*/ 108584 h 138429"/>
                <a:gd name="connsiteX394" fmla="*/ 2620640 w 4940931"/>
                <a:gd name="connsiteY394" fmla="*/ 104139 h 138429"/>
                <a:gd name="connsiteX395" fmla="*/ 2614290 w 4940931"/>
                <a:gd name="connsiteY395" fmla="*/ 95884 h 138429"/>
                <a:gd name="connsiteX396" fmla="*/ 2611750 w 4940931"/>
                <a:gd name="connsiteY396" fmla="*/ 83819 h 138429"/>
                <a:gd name="connsiteX397" fmla="*/ 2614290 w 4940931"/>
                <a:gd name="connsiteY397" fmla="*/ 72389 h 138429"/>
                <a:gd name="connsiteX398" fmla="*/ 2620640 w 4940931"/>
                <a:gd name="connsiteY398" fmla="*/ 64769 h 138429"/>
                <a:gd name="connsiteX399" fmla="*/ 2630800 w 4940931"/>
                <a:gd name="connsiteY399" fmla="*/ 60324 h 138429"/>
                <a:gd name="connsiteX400" fmla="*/ 2642865 w 4940931"/>
                <a:gd name="connsiteY400" fmla="*/ 59054 h 138429"/>
                <a:gd name="connsiteX401" fmla="*/ 2653025 w 4940931"/>
                <a:gd name="connsiteY401" fmla="*/ 59689 h 138429"/>
                <a:gd name="connsiteX402" fmla="*/ 2660010 w 4940931"/>
                <a:gd name="connsiteY402" fmla="*/ 61594 h 138429"/>
                <a:gd name="connsiteX403" fmla="*/ 2660010 w 4940931"/>
                <a:gd name="connsiteY403" fmla="*/ 55879 h 138429"/>
                <a:gd name="connsiteX404" fmla="*/ 2656200 w 4940931"/>
                <a:gd name="connsiteY404" fmla="*/ 46354 h 138429"/>
                <a:gd name="connsiteX405" fmla="*/ 2645405 w 4940931"/>
                <a:gd name="connsiteY405" fmla="*/ 43179 h 138429"/>
                <a:gd name="connsiteX406" fmla="*/ 2634610 w 4940931"/>
                <a:gd name="connsiteY406" fmla="*/ 44449 h 138429"/>
                <a:gd name="connsiteX407" fmla="*/ 2625085 w 4940931"/>
                <a:gd name="connsiteY407" fmla="*/ 48259 h 138429"/>
                <a:gd name="connsiteX408" fmla="*/ 2619370 w 4940931"/>
                <a:gd name="connsiteY408" fmla="*/ 36829 h 138429"/>
                <a:gd name="connsiteX409" fmla="*/ 2631435 w 4940931"/>
                <a:gd name="connsiteY409" fmla="*/ 31749 h 138429"/>
                <a:gd name="connsiteX410" fmla="*/ 2646040 w 4940931"/>
                <a:gd name="connsiteY410" fmla="*/ 29844 h 138429"/>
                <a:gd name="connsiteX411" fmla="*/ 1114426 w 4940931"/>
                <a:gd name="connsiteY411" fmla="*/ 29844 h 138429"/>
                <a:gd name="connsiteX412" fmla="*/ 1129666 w 4940931"/>
                <a:gd name="connsiteY412" fmla="*/ 29844 h 138429"/>
                <a:gd name="connsiteX413" fmla="*/ 1129666 w 4940931"/>
                <a:gd name="connsiteY413" fmla="*/ 107949 h 138429"/>
                <a:gd name="connsiteX414" fmla="*/ 1114426 w 4940931"/>
                <a:gd name="connsiteY414" fmla="*/ 107949 h 138429"/>
                <a:gd name="connsiteX415" fmla="*/ 1114426 w 4940931"/>
                <a:gd name="connsiteY415" fmla="*/ 100964 h 138429"/>
                <a:gd name="connsiteX416" fmla="*/ 1106171 w 4940931"/>
                <a:gd name="connsiteY416" fmla="*/ 107314 h 138429"/>
                <a:gd name="connsiteX417" fmla="*/ 1094741 w 4940931"/>
                <a:gd name="connsiteY417" fmla="*/ 109854 h 138429"/>
                <a:gd name="connsiteX418" fmla="*/ 1073786 w 4940931"/>
                <a:gd name="connsiteY418" fmla="*/ 100964 h 138429"/>
                <a:gd name="connsiteX419" fmla="*/ 1066800 w 4940931"/>
                <a:gd name="connsiteY419" fmla="*/ 74929 h 138429"/>
                <a:gd name="connsiteX420" fmla="*/ 1066800 w 4940931"/>
                <a:gd name="connsiteY420" fmla="*/ 30479 h 138429"/>
                <a:gd name="connsiteX421" fmla="*/ 1082040 w 4940931"/>
                <a:gd name="connsiteY421" fmla="*/ 30479 h 138429"/>
                <a:gd name="connsiteX422" fmla="*/ 1082040 w 4940931"/>
                <a:gd name="connsiteY422" fmla="*/ 74294 h 138429"/>
                <a:gd name="connsiteX423" fmla="*/ 1085851 w 4940931"/>
                <a:gd name="connsiteY423" fmla="*/ 90169 h 138429"/>
                <a:gd name="connsiteX424" fmla="*/ 1097916 w 4940931"/>
                <a:gd name="connsiteY424" fmla="*/ 95249 h 138429"/>
                <a:gd name="connsiteX425" fmla="*/ 1109981 w 4940931"/>
                <a:gd name="connsiteY425" fmla="*/ 90169 h 138429"/>
                <a:gd name="connsiteX426" fmla="*/ 1114426 w 4940931"/>
                <a:gd name="connsiteY426" fmla="*/ 75564 h 138429"/>
                <a:gd name="connsiteX427" fmla="*/ 1011556 w 4940931"/>
                <a:gd name="connsiteY427" fmla="*/ 29844 h 138429"/>
                <a:gd name="connsiteX428" fmla="*/ 1017272 w 4940931"/>
                <a:gd name="connsiteY428" fmla="*/ 30479 h 138429"/>
                <a:gd name="connsiteX429" fmla="*/ 1022352 w 4940931"/>
                <a:gd name="connsiteY429" fmla="*/ 32384 h 138429"/>
                <a:gd name="connsiteX430" fmla="*/ 1026797 w 4940931"/>
                <a:gd name="connsiteY430" fmla="*/ 35559 h 138429"/>
                <a:gd name="connsiteX431" fmla="*/ 1030607 w 4940931"/>
                <a:gd name="connsiteY431" fmla="*/ 38734 h 138429"/>
                <a:gd name="connsiteX432" fmla="*/ 1030607 w 4940931"/>
                <a:gd name="connsiteY432" fmla="*/ 31749 h 138429"/>
                <a:gd name="connsiteX433" fmla="*/ 1045847 w 4940931"/>
                <a:gd name="connsiteY433" fmla="*/ 31749 h 138429"/>
                <a:gd name="connsiteX434" fmla="*/ 1045847 w 4940931"/>
                <a:gd name="connsiteY434" fmla="*/ 130809 h 138429"/>
                <a:gd name="connsiteX435" fmla="*/ 1032512 w 4940931"/>
                <a:gd name="connsiteY435" fmla="*/ 137477 h 138429"/>
                <a:gd name="connsiteX436" fmla="*/ 1032512 w 4940931"/>
                <a:gd name="connsiteY436" fmla="*/ 101599 h 138429"/>
                <a:gd name="connsiteX437" fmla="*/ 1022986 w 4940931"/>
                <a:gd name="connsiteY437" fmla="*/ 107949 h 138429"/>
                <a:gd name="connsiteX438" fmla="*/ 1011556 w 4940931"/>
                <a:gd name="connsiteY438" fmla="*/ 110489 h 138429"/>
                <a:gd name="connsiteX439" fmla="*/ 999491 w 4940931"/>
                <a:gd name="connsiteY439" fmla="*/ 107949 h 138429"/>
                <a:gd name="connsiteX440" fmla="*/ 989966 w 4940931"/>
                <a:gd name="connsiteY440" fmla="*/ 100329 h 138429"/>
                <a:gd name="connsiteX441" fmla="*/ 983616 w 4940931"/>
                <a:gd name="connsiteY441" fmla="*/ 87629 h 138429"/>
                <a:gd name="connsiteX442" fmla="*/ 981076 w 4940931"/>
                <a:gd name="connsiteY442" fmla="*/ 68579 h 138429"/>
                <a:gd name="connsiteX443" fmla="*/ 983616 w 4940931"/>
                <a:gd name="connsiteY443" fmla="*/ 51434 h 138429"/>
                <a:gd name="connsiteX444" fmla="*/ 990601 w 4940931"/>
                <a:gd name="connsiteY444" fmla="*/ 39369 h 138429"/>
                <a:gd name="connsiteX445" fmla="*/ 1000126 w 4940931"/>
                <a:gd name="connsiteY445" fmla="*/ 32384 h 138429"/>
                <a:gd name="connsiteX446" fmla="*/ 1011556 w 4940931"/>
                <a:gd name="connsiteY446" fmla="*/ 29844 h 138429"/>
                <a:gd name="connsiteX447" fmla="*/ 4871716 w 4940931"/>
                <a:gd name="connsiteY447" fmla="*/ 29210 h 138429"/>
                <a:gd name="connsiteX448" fmla="*/ 4885686 w 4940931"/>
                <a:gd name="connsiteY448" fmla="*/ 31750 h 138429"/>
                <a:gd name="connsiteX449" fmla="*/ 4897751 w 4940931"/>
                <a:gd name="connsiteY449" fmla="*/ 38100 h 138429"/>
                <a:gd name="connsiteX450" fmla="*/ 4899021 w 4940931"/>
                <a:gd name="connsiteY450" fmla="*/ 38100 h 138429"/>
                <a:gd name="connsiteX451" fmla="*/ 4892036 w 4940931"/>
                <a:gd name="connsiteY451" fmla="*/ 50165 h 138429"/>
                <a:gd name="connsiteX452" fmla="*/ 4882511 w 4940931"/>
                <a:gd name="connsiteY452" fmla="*/ 45085 h 138429"/>
                <a:gd name="connsiteX453" fmla="*/ 4872351 w 4940931"/>
                <a:gd name="connsiteY453" fmla="*/ 43180 h 138429"/>
                <a:gd name="connsiteX454" fmla="*/ 4864096 w 4940931"/>
                <a:gd name="connsiteY454" fmla="*/ 45085 h 138429"/>
                <a:gd name="connsiteX455" fmla="*/ 4861556 w 4940931"/>
                <a:gd name="connsiteY455" fmla="*/ 50165 h 138429"/>
                <a:gd name="connsiteX456" fmla="*/ 4861556 w 4940931"/>
                <a:gd name="connsiteY456" fmla="*/ 52705 h 138429"/>
                <a:gd name="connsiteX457" fmla="*/ 4863461 w 4940931"/>
                <a:gd name="connsiteY457" fmla="*/ 55245 h 138429"/>
                <a:gd name="connsiteX458" fmla="*/ 4867906 w 4940931"/>
                <a:gd name="connsiteY458" fmla="*/ 57785 h 138429"/>
                <a:gd name="connsiteX459" fmla="*/ 4874891 w 4940931"/>
                <a:gd name="connsiteY459" fmla="*/ 60960 h 138429"/>
                <a:gd name="connsiteX460" fmla="*/ 4886321 w 4940931"/>
                <a:gd name="connsiteY460" fmla="*/ 66040 h 138429"/>
                <a:gd name="connsiteX461" fmla="*/ 4894576 w 4940931"/>
                <a:gd name="connsiteY461" fmla="*/ 71120 h 138429"/>
                <a:gd name="connsiteX462" fmla="*/ 4899656 w 4940931"/>
                <a:gd name="connsiteY462" fmla="*/ 78105 h 138429"/>
                <a:gd name="connsiteX463" fmla="*/ 4901561 w 4940931"/>
                <a:gd name="connsiteY463" fmla="*/ 87630 h 138429"/>
                <a:gd name="connsiteX464" fmla="*/ 4899021 w 4940931"/>
                <a:gd name="connsiteY464" fmla="*/ 98425 h 138429"/>
                <a:gd name="connsiteX465" fmla="*/ 4892671 w 4940931"/>
                <a:gd name="connsiteY465" fmla="*/ 105410 h 138429"/>
                <a:gd name="connsiteX466" fmla="*/ 4883146 w 4940931"/>
                <a:gd name="connsiteY466" fmla="*/ 109220 h 138429"/>
                <a:gd name="connsiteX467" fmla="*/ 4872351 w 4940931"/>
                <a:gd name="connsiteY467" fmla="*/ 110490 h 138429"/>
                <a:gd name="connsiteX468" fmla="*/ 4857111 w 4940931"/>
                <a:gd name="connsiteY468" fmla="*/ 107950 h 138429"/>
                <a:gd name="connsiteX469" fmla="*/ 4842506 w 4940931"/>
                <a:gd name="connsiteY469" fmla="*/ 100965 h 138429"/>
                <a:gd name="connsiteX470" fmla="*/ 4849491 w 4940931"/>
                <a:gd name="connsiteY470" fmla="*/ 89535 h 138429"/>
                <a:gd name="connsiteX471" fmla="*/ 4860921 w 4940931"/>
                <a:gd name="connsiteY471" fmla="*/ 95250 h 138429"/>
                <a:gd name="connsiteX472" fmla="*/ 4872351 w 4940931"/>
                <a:gd name="connsiteY472" fmla="*/ 97155 h 138429"/>
                <a:gd name="connsiteX473" fmla="*/ 4883146 w 4940931"/>
                <a:gd name="connsiteY473" fmla="*/ 94615 h 138429"/>
                <a:gd name="connsiteX474" fmla="*/ 4886321 w 4940931"/>
                <a:gd name="connsiteY474" fmla="*/ 88265 h 138429"/>
                <a:gd name="connsiteX475" fmla="*/ 4885051 w 4940931"/>
                <a:gd name="connsiteY475" fmla="*/ 84455 h 138429"/>
                <a:gd name="connsiteX476" fmla="*/ 4881241 w 4940931"/>
                <a:gd name="connsiteY476" fmla="*/ 81280 h 138429"/>
                <a:gd name="connsiteX477" fmla="*/ 4875526 w 4940931"/>
                <a:gd name="connsiteY477" fmla="*/ 78105 h 138429"/>
                <a:gd name="connsiteX478" fmla="*/ 4867906 w 4940931"/>
                <a:gd name="connsiteY478" fmla="*/ 74930 h 138429"/>
                <a:gd name="connsiteX479" fmla="*/ 4857111 w 4940931"/>
                <a:gd name="connsiteY479" fmla="*/ 69850 h 138429"/>
                <a:gd name="connsiteX480" fmla="*/ 4850126 w 4940931"/>
                <a:gd name="connsiteY480" fmla="*/ 64770 h 138429"/>
                <a:gd name="connsiteX481" fmla="*/ 4846316 w 4940931"/>
                <a:gd name="connsiteY481" fmla="*/ 58420 h 138429"/>
                <a:gd name="connsiteX482" fmla="*/ 4845046 w 4940931"/>
                <a:gd name="connsiteY482" fmla="*/ 50165 h 138429"/>
                <a:gd name="connsiteX483" fmla="*/ 4846951 w 4940931"/>
                <a:gd name="connsiteY483" fmla="*/ 40640 h 138429"/>
                <a:gd name="connsiteX484" fmla="*/ 4852666 w 4940931"/>
                <a:gd name="connsiteY484" fmla="*/ 34290 h 138429"/>
                <a:gd name="connsiteX485" fmla="*/ 4860921 w 4940931"/>
                <a:gd name="connsiteY485" fmla="*/ 30480 h 138429"/>
                <a:gd name="connsiteX486" fmla="*/ 4871716 w 4940931"/>
                <a:gd name="connsiteY486" fmla="*/ 29210 h 138429"/>
                <a:gd name="connsiteX487" fmla="*/ 4749796 w 4940931"/>
                <a:gd name="connsiteY487" fmla="*/ 29210 h 138429"/>
                <a:gd name="connsiteX488" fmla="*/ 4757416 w 4940931"/>
                <a:gd name="connsiteY488" fmla="*/ 29845 h 138429"/>
                <a:gd name="connsiteX489" fmla="*/ 4763131 w 4940931"/>
                <a:gd name="connsiteY489" fmla="*/ 32385 h 138429"/>
                <a:gd name="connsiteX490" fmla="*/ 4759321 w 4940931"/>
                <a:gd name="connsiteY490" fmla="*/ 46990 h 138429"/>
                <a:gd name="connsiteX491" fmla="*/ 4758051 w 4940931"/>
                <a:gd name="connsiteY491" fmla="*/ 46990 h 138429"/>
                <a:gd name="connsiteX492" fmla="*/ 4752971 w 4940931"/>
                <a:gd name="connsiteY492" fmla="*/ 45085 h 138429"/>
                <a:gd name="connsiteX493" fmla="*/ 4746621 w 4940931"/>
                <a:gd name="connsiteY493" fmla="*/ 44450 h 138429"/>
                <a:gd name="connsiteX494" fmla="*/ 4735191 w 4940931"/>
                <a:gd name="connsiteY494" fmla="*/ 49530 h 138429"/>
                <a:gd name="connsiteX495" fmla="*/ 4731381 w 4940931"/>
                <a:gd name="connsiteY495" fmla="*/ 64770 h 138429"/>
                <a:gd name="connsiteX496" fmla="*/ 4731381 w 4940931"/>
                <a:gd name="connsiteY496" fmla="*/ 109220 h 138429"/>
                <a:gd name="connsiteX497" fmla="*/ 4716141 w 4940931"/>
                <a:gd name="connsiteY497" fmla="*/ 109220 h 138429"/>
                <a:gd name="connsiteX498" fmla="*/ 4716141 w 4940931"/>
                <a:gd name="connsiteY498" fmla="*/ 31115 h 138429"/>
                <a:gd name="connsiteX499" fmla="*/ 4731381 w 4940931"/>
                <a:gd name="connsiteY499" fmla="*/ 31115 h 138429"/>
                <a:gd name="connsiteX500" fmla="*/ 4731381 w 4940931"/>
                <a:gd name="connsiteY500" fmla="*/ 38735 h 138429"/>
                <a:gd name="connsiteX501" fmla="*/ 4734556 w 4940931"/>
                <a:gd name="connsiteY501" fmla="*/ 34925 h 138429"/>
                <a:gd name="connsiteX502" fmla="*/ 4739001 w 4940931"/>
                <a:gd name="connsiteY502" fmla="*/ 31750 h 138429"/>
                <a:gd name="connsiteX503" fmla="*/ 4744081 w 4940931"/>
                <a:gd name="connsiteY503" fmla="*/ 29845 h 138429"/>
                <a:gd name="connsiteX504" fmla="*/ 4749796 w 4940931"/>
                <a:gd name="connsiteY504" fmla="*/ 29210 h 138429"/>
                <a:gd name="connsiteX505" fmla="*/ 4349110 w 4940931"/>
                <a:gd name="connsiteY505" fmla="*/ 29210 h 138429"/>
                <a:gd name="connsiteX506" fmla="*/ 4356730 w 4940931"/>
                <a:gd name="connsiteY506" fmla="*/ 29845 h 138429"/>
                <a:gd name="connsiteX507" fmla="*/ 4362445 w 4940931"/>
                <a:gd name="connsiteY507" fmla="*/ 32385 h 138429"/>
                <a:gd name="connsiteX508" fmla="*/ 4358635 w 4940931"/>
                <a:gd name="connsiteY508" fmla="*/ 46990 h 138429"/>
                <a:gd name="connsiteX509" fmla="*/ 4357365 w 4940931"/>
                <a:gd name="connsiteY509" fmla="*/ 46990 h 138429"/>
                <a:gd name="connsiteX510" fmla="*/ 4352285 w 4940931"/>
                <a:gd name="connsiteY510" fmla="*/ 45085 h 138429"/>
                <a:gd name="connsiteX511" fmla="*/ 4345935 w 4940931"/>
                <a:gd name="connsiteY511" fmla="*/ 44450 h 138429"/>
                <a:gd name="connsiteX512" fmla="*/ 4334505 w 4940931"/>
                <a:gd name="connsiteY512" fmla="*/ 49530 h 138429"/>
                <a:gd name="connsiteX513" fmla="*/ 4330695 w 4940931"/>
                <a:gd name="connsiteY513" fmla="*/ 64770 h 138429"/>
                <a:gd name="connsiteX514" fmla="*/ 4330695 w 4940931"/>
                <a:gd name="connsiteY514" fmla="*/ 109220 h 138429"/>
                <a:gd name="connsiteX515" fmla="*/ 4315455 w 4940931"/>
                <a:gd name="connsiteY515" fmla="*/ 109220 h 138429"/>
                <a:gd name="connsiteX516" fmla="*/ 4315455 w 4940931"/>
                <a:gd name="connsiteY516" fmla="*/ 31115 h 138429"/>
                <a:gd name="connsiteX517" fmla="*/ 4330695 w 4940931"/>
                <a:gd name="connsiteY517" fmla="*/ 31115 h 138429"/>
                <a:gd name="connsiteX518" fmla="*/ 4330695 w 4940931"/>
                <a:gd name="connsiteY518" fmla="*/ 38735 h 138429"/>
                <a:gd name="connsiteX519" fmla="*/ 4333870 w 4940931"/>
                <a:gd name="connsiteY519" fmla="*/ 34925 h 138429"/>
                <a:gd name="connsiteX520" fmla="*/ 4338315 w 4940931"/>
                <a:gd name="connsiteY520" fmla="*/ 31750 h 138429"/>
                <a:gd name="connsiteX521" fmla="*/ 4343395 w 4940931"/>
                <a:gd name="connsiteY521" fmla="*/ 29845 h 138429"/>
                <a:gd name="connsiteX522" fmla="*/ 4349110 w 4940931"/>
                <a:gd name="connsiteY522" fmla="*/ 29210 h 138429"/>
                <a:gd name="connsiteX523" fmla="*/ 4044310 w 4940931"/>
                <a:gd name="connsiteY523" fmla="*/ 29210 h 138429"/>
                <a:gd name="connsiteX524" fmla="*/ 4058915 w 4940931"/>
                <a:gd name="connsiteY524" fmla="*/ 32385 h 138429"/>
                <a:gd name="connsiteX525" fmla="*/ 4069075 w 4940931"/>
                <a:gd name="connsiteY525" fmla="*/ 40640 h 138429"/>
                <a:gd name="connsiteX526" fmla="*/ 4075425 w 4940931"/>
                <a:gd name="connsiteY526" fmla="*/ 53340 h 138429"/>
                <a:gd name="connsiteX527" fmla="*/ 4077330 w 4940931"/>
                <a:gd name="connsiteY527" fmla="*/ 68580 h 138429"/>
                <a:gd name="connsiteX528" fmla="*/ 4076060 w 4940931"/>
                <a:gd name="connsiteY528" fmla="*/ 68580 h 138429"/>
                <a:gd name="connsiteX529" fmla="*/ 4076060 w 4940931"/>
                <a:gd name="connsiteY529" fmla="*/ 72390 h 138429"/>
                <a:gd name="connsiteX530" fmla="*/ 4076060 w 4940931"/>
                <a:gd name="connsiteY530" fmla="*/ 75565 h 138429"/>
                <a:gd name="connsiteX531" fmla="*/ 4024625 w 4940931"/>
                <a:gd name="connsiteY531" fmla="*/ 75565 h 138429"/>
                <a:gd name="connsiteX532" fmla="*/ 4027165 w 4940931"/>
                <a:gd name="connsiteY532" fmla="*/ 85090 h 138429"/>
                <a:gd name="connsiteX533" fmla="*/ 4031610 w 4940931"/>
                <a:gd name="connsiteY533" fmla="*/ 91440 h 138429"/>
                <a:gd name="connsiteX534" fmla="*/ 4037325 w 4940931"/>
                <a:gd name="connsiteY534" fmla="*/ 95250 h 138429"/>
                <a:gd name="connsiteX535" fmla="*/ 4044310 w 4940931"/>
                <a:gd name="connsiteY535" fmla="*/ 96520 h 138429"/>
                <a:gd name="connsiteX536" fmla="*/ 4049390 w 4940931"/>
                <a:gd name="connsiteY536" fmla="*/ 96520 h 138429"/>
                <a:gd name="connsiteX537" fmla="*/ 4053835 w 4940931"/>
                <a:gd name="connsiteY537" fmla="*/ 95250 h 138429"/>
                <a:gd name="connsiteX538" fmla="*/ 4057645 w 4940931"/>
                <a:gd name="connsiteY538" fmla="*/ 93345 h 138429"/>
                <a:gd name="connsiteX539" fmla="*/ 4062090 w 4940931"/>
                <a:gd name="connsiteY539" fmla="*/ 90805 h 138429"/>
                <a:gd name="connsiteX540" fmla="*/ 4070980 w 4940931"/>
                <a:gd name="connsiteY540" fmla="*/ 100330 h 138429"/>
                <a:gd name="connsiteX541" fmla="*/ 4065265 w 4940931"/>
                <a:gd name="connsiteY541" fmla="*/ 104775 h 138429"/>
                <a:gd name="connsiteX542" fmla="*/ 4059550 w 4940931"/>
                <a:gd name="connsiteY542" fmla="*/ 107950 h 138429"/>
                <a:gd name="connsiteX543" fmla="*/ 4052565 w 4940931"/>
                <a:gd name="connsiteY543" fmla="*/ 109855 h 138429"/>
                <a:gd name="connsiteX544" fmla="*/ 4043675 w 4940931"/>
                <a:gd name="connsiteY544" fmla="*/ 110490 h 138429"/>
                <a:gd name="connsiteX545" fmla="*/ 4034150 w 4940931"/>
                <a:gd name="connsiteY545" fmla="*/ 109220 h 138429"/>
                <a:gd name="connsiteX546" fmla="*/ 4026530 w 4940931"/>
                <a:gd name="connsiteY546" fmla="*/ 105410 h 138429"/>
                <a:gd name="connsiteX547" fmla="*/ 4020180 w 4940931"/>
                <a:gd name="connsiteY547" fmla="*/ 100330 h 138429"/>
                <a:gd name="connsiteX548" fmla="*/ 4015100 w 4940931"/>
                <a:gd name="connsiteY548" fmla="*/ 92710 h 138429"/>
                <a:gd name="connsiteX549" fmla="*/ 4011290 w 4940931"/>
                <a:gd name="connsiteY549" fmla="*/ 82550 h 138429"/>
                <a:gd name="connsiteX550" fmla="*/ 4010020 w 4940931"/>
                <a:gd name="connsiteY550" fmla="*/ 69850 h 138429"/>
                <a:gd name="connsiteX551" fmla="*/ 4012560 w 4940931"/>
                <a:gd name="connsiteY551" fmla="*/ 52070 h 138429"/>
                <a:gd name="connsiteX552" fmla="*/ 4019545 w 4940931"/>
                <a:gd name="connsiteY552" fmla="*/ 39370 h 138429"/>
                <a:gd name="connsiteX553" fmla="*/ 4030340 w 4940931"/>
                <a:gd name="connsiteY553" fmla="*/ 31750 h 138429"/>
                <a:gd name="connsiteX554" fmla="*/ 4044310 w 4940931"/>
                <a:gd name="connsiteY554" fmla="*/ 29210 h 138429"/>
                <a:gd name="connsiteX555" fmla="*/ 3811900 w 4940931"/>
                <a:gd name="connsiteY555" fmla="*/ 29210 h 138429"/>
                <a:gd name="connsiteX556" fmla="*/ 3819520 w 4940931"/>
                <a:gd name="connsiteY556" fmla="*/ 29845 h 138429"/>
                <a:gd name="connsiteX557" fmla="*/ 3825235 w 4940931"/>
                <a:gd name="connsiteY557" fmla="*/ 32385 h 138429"/>
                <a:gd name="connsiteX558" fmla="*/ 3821425 w 4940931"/>
                <a:gd name="connsiteY558" fmla="*/ 46990 h 138429"/>
                <a:gd name="connsiteX559" fmla="*/ 3820155 w 4940931"/>
                <a:gd name="connsiteY559" fmla="*/ 46990 h 138429"/>
                <a:gd name="connsiteX560" fmla="*/ 3815075 w 4940931"/>
                <a:gd name="connsiteY560" fmla="*/ 45085 h 138429"/>
                <a:gd name="connsiteX561" fmla="*/ 3808725 w 4940931"/>
                <a:gd name="connsiteY561" fmla="*/ 44450 h 138429"/>
                <a:gd name="connsiteX562" fmla="*/ 3797295 w 4940931"/>
                <a:gd name="connsiteY562" fmla="*/ 49530 h 138429"/>
                <a:gd name="connsiteX563" fmla="*/ 3793485 w 4940931"/>
                <a:gd name="connsiteY563" fmla="*/ 64770 h 138429"/>
                <a:gd name="connsiteX564" fmla="*/ 3793485 w 4940931"/>
                <a:gd name="connsiteY564" fmla="*/ 109220 h 138429"/>
                <a:gd name="connsiteX565" fmla="*/ 3778245 w 4940931"/>
                <a:gd name="connsiteY565" fmla="*/ 109220 h 138429"/>
                <a:gd name="connsiteX566" fmla="*/ 3778245 w 4940931"/>
                <a:gd name="connsiteY566" fmla="*/ 31115 h 138429"/>
                <a:gd name="connsiteX567" fmla="*/ 3793485 w 4940931"/>
                <a:gd name="connsiteY567" fmla="*/ 31115 h 138429"/>
                <a:gd name="connsiteX568" fmla="*/ 3793485 w 4940931"/>
                <a:gd name="connsiteY568" fmla="*/ 38735 h 138429"/>
                <a:gd name="connsiteX569" fmla="*/ 3796660 w 4940931"/>
                <a:gd name="connsiteY569" fmla="*/ 34925 h 138429"/>
                <a:gd name="connsiteX570" fmla="*/ 3801105 w 4940931"/>
                <a:gd name="connsiteY570" fmla="*/ 31750 h 138429"/>
                <a:gd name="connsiteX571" fmla="*/ 3806185 w 4940931"/>
                <a:gd name="connsiteY571" fmla="*/ 29845 h 138429"/>
                <a:gd name="connsiteX572" fmla="*/ 3811900 w 4940931"/>
                <a:gd name="connsiteY572" fmla="*/ 29210 h 138429"/>
                <a:gd name="connsiteX573" fmla="*/ 3729986 w 4940931"/>
                <a:gd name="connsiteY573" fmla="*/ 29210 h 138429"/>
                <a:gd name="connsiteX574" fmla="*/ 3744591 w 4940931"/>
                <a:gd name="connsiteY574" fmla="*/ 32385 h 138429"/>
                <a:gd name="connsiteX575" fmla="*/ 3754751 w 4940931"/>
                <a:gd name="connsiteY575" fmla="*/ 40640 h 138429"/>
                <a:gd name="connsiteX576" fmla="*/ 3761101 w 4940931"/>
                <a:gd name="connsiteY576" fmla="*/ 53340 h 138429"/>
                <a:gd name="connsiteX577" fmla="*/ 3763006 w 4940931"/>
                <a:gd name="connsiteY577" fmla="*/ 68580 h 138429"/>
                <a:gd name="connsiteX578" fmla="*/ 3761736 w 4940931"/>
                <a:gd name="connsiteY578" fmla="*/ 68580 h 138429"/>
                <a:gd name="connsiteX579" fmla="*/ 3761736 w 4940931"/>
                <a:gd name="connsiteY579" fmla="*/ 72390 h 138429"/>
                <a:gd name="connsiteX580" fmla="*/ 3761736 w 4940931"/>
                <a:gd name="connsiteY580" fmla="*/ 75565 h 138429"/>
                <a:gd name="connsiteX581" fmla="*/ 3710301 w 4940931"/>
                <a:gd name="connsiteY581" fmla="*/ 75565 h 138429"/>
                <a:gd name="connsiteX582" fmla="*/ 3712841 w 4940931"/>
                <a:gd name="connsiteY582" fmla="*/ 85090 h 138429"/>
                <a:gd name="connsiteX583" fmla="*/ 3717286 w 4940931"/>
                <a:gd name="connsiteY583" fmla="*/ 91440 h 138429"/>
                <a:gd name="connsiteX584" fmla="*/ 3723001 w 4940931"/>
                <a:gd name="connsiteY584" fmla="*/ 95250 h 138429"/>
                <a:gd name="connsiteX585" fmla="*/ 3729986 w 4940931"/>
                <a:gd name="connsiteY585" fmla="*/ 96520 h 138429"/>
                <a:gd name="connsiteX586" fmla="*/ 3735066 w 4940931"/>
                <a:gd name="connsiteY586" fmla="*/ 96520 h 138429"/>
                <a:gd name="connsiteX587" fmla="*/ 3739511 w 4940931"/>
                <a:gd name="connsiteY587" fmla="*/ 95250 h 138429"/>
                <a:gd name="connsiteX588" fmla="*/ 3743321 w 4940931"/>
                <a:gd name="connsiteY588" fmla="*/ 93345 h 138429"/>
                <a:gd name="connsiteX589" fmla="*/ 3747766 w 4940931"/>
                <a:gd name="connsiteY589" fmla="*/ 90805 h 138429"/>
                <a:gd name="connsiteX590" fmla="*/ 3756656 w 4940931"/>
                <a:gd name="connsiteY590" fmla="*/ 100330 h 138429"/>
                <a:gd name="connsiteX591" fmla="*/ 3750941 w 4940931"/>
                <a:gd name="connsiteY591" fmla="*/ 104775 h 138429"/>
                <a:gd name="connsiteX592" fmla="*/ 3745226 w 4940931"/>
                <a:gd name="connsiteY592" fmla="*/ 107950 h 138429"/>
                <a:gd name="connsiteX593" fmla="*/ 3738241 w 4940931"/>
                <a:gd name="connsiteY593" fmla="*/ 109855 h 138429"/>
                <a:gd name="connsiteX594" fmla="*/ 3729351 w 4940931"/>
                <a:gd name="connsiteY594" fmla="*/ 110490 h 138429"/>
                <a:gd name="connsiteX595" fmla="*/ 3719826 w 4940931"/>
                <a:gd name="connsiteY595" fmla="*/ 109220 h 138429"/>
                <a:gd name="connsiteX596" fmla="*/ 3712206 w 4940931"/>
                <a:gd name="connsiteY596" fmla="*/ 105410 h 138429"/>
                <a:gd name="connsiteX597" fmla="*/ 3705856 w 4940931"/>
                <a:gd name="connsiteY597" fmla="*/ 100330 h 138429"/>
                <a:gd name="connsiteX598" fmla="*/ 3700776 w 4940931"/>
                <a:gd name="connsiteY598" fmla="*/ 92710 h 138429"/>
                <a:gd name="connsiteX599" fmla="*/ 3696966 w 4940931"/>
                <a:gd name="connsiteY599" fmla="*/ 82550 h 138429"/>
                <a:gd name="connsiteX600" fmla="*/ 3695696 w 4940931"/>
                <a:gd name="connsiteY600" fmla="*/ 69850 h 138429"/>
                <a:gd name="connsiteX601" fmla="*/ 3698236 w 4940931"/>
                <a:gd name="connsiteY601" fmla="*/ 52070 h 138429"/>
                <a:gd name="connsiteX602" fmla="*/ 3705221 w 4940931"/>
                <a:gd name="connsiteY602" fmla="*/ 39370 h 138429"/>
                <a:gd name="connsiteX603" fmla="*/ 3716016 w 4940931"/>
                <a:gd name="connsiteY603" fmla="*/ 31750 h 138429"/>
                <a:gd name="connsiteX604" fmla="*/ 3729986 w 4940931"/>
                <a:gd name="connsiteY604" fmla="*/ 29210 h 138429"/>
                <a:gd name="connsiteX605" fmla="*/ 3543296 w 4940931"/>
                <a:gd name="connsiteY605" fmla="*/ 29210 h 138429"/>
                <a:gd name="connsiteX606" fmla="*/ 3557901 w 4940931"/>
                <a:gd name="connsiteY606" fmla="*/ 32385 h 138429"/>
                <a:gd name="connsiteX607" fmla="*/ 3568061 w 4940931"/>
                <a:gd name="connsiteY607" fmla="*/ 40640 h 138429"/>
                <a:gd name="connsiteX608" fmla="*/ 3574411 w 4940931"/>
                <a:gd name="connsiteY608" fmla="*/ 53340 h 138429"/>
                <a:gd name="connsiteX609" fmla="*/ 3576316 w 4940931"/>
                <a:gd name="connsiteY609" fmla="*/ 68580 h 138429"/>
                <a:gd name="connsiteX610" fmla="*/ 3575046 w 4940931"/>
                <a:gd name="connsiteY610" fmla="*/ 68580 h 138429"/>
                <a:gd name="connsiteX611" fmla="*/ 3575046 w 4940931"/>
                <a:gd name="connsiteY611" fmla="*/ 72390 h 138429"/>
                <a:gd name="connsiteX612" fmla="*/ 3575046 w 4940931"/>
                <a:gd name="connsiteY612" fmla="*/ 75565 h 138429"/>
                <a:gd name="connsiteX613" fmla="*/ 3523611 w 4940931"/>
                <a:gd name="connsiteY613" fmla="*/ 75565 h 138429"/>
                <a:gd name="connsiteX614" fmla="*/ 3526151 w 4940931"/>
                <a:gd name="connsiteY614" fmla="*/ 85090 h 138429"/>
                <a:gd name="connsiteX615" fmla="*/ 3530596 w 4940931"/>
                <a:gd name="connsiteY615" fmla="*/ 91440 h 138429"/>
                <a:gd name="connsiteX616" fmla="*/ 3536311 w 4940931"/>
                <a:gd name="connsiteY616" fmla="*/ 95250 h 138429"/>
                <a:gd name="connsiteX617" fmla="*/ 3543296 w 4940931"/>
                <a:gd name="connsiteY617" fmla="*/ 96520 h 138429"/>
                <a:gd name="connsiteX618" fmla="*/ 3548376 w 4940931"/>
                <a:gd name="connsiteY618" fmla="*/ 96520 h 138429"/>
                <a:gd name="connsiteX619" fmla="*/ 3552821 w 4940931"/>
                <a:gd name="connsiteY619" fmla="*/ 95250 h 138429"/>
                <a:gd name="connsiteX620" fmla="*/ 3556631 w 4940931"/>
                <a:gd name="connsiteY620" fmla="*/ 93345 h 138429"/>
                <a:gd name="connsiteX621" fmla="*/ 3561076 w 4940931"/>
                <a:gd name="connsiteY621" fmla="*/ 90805 h 138429"/>
                <a:gd name="connsiteX622" fmla="*/ 3569966 w 4940931"/>
                <a:gd name="connsiteY622" fmla="*/ 100330 h 138429"/>
                <a:gd name="connsiteX623" fmla="*/ 3564251 w 4940931"/>
                <a:gd name="connsiteY623" fmla="*/ 104775 h 138429"/>
                <a:gd name="connsiteX624" fmla="*/ 3558536 w 4940931"/>
                <a:gd name="connsiteY624" fmla="*/ 107950 h 138429"/>
                <a:gd name="connsiteX625" fmla="*/ 3551551 w 4940931"/>
                <a:gd name="connsiteY625" fmla="*/ 109855 h 138429"/>
                <a:gd name="connsiteX626" fmla="*/ 3542661 w 4940931"/>
                <a:gd name="connsiteY626" fmla="*/ 110490 h 138429"/>
                <a:gd name="connsiteX627" fmla="*/ 3533136 w 4940931"/>
                <a:gd name="connsiteY627" fmla="*/ 109220 h 138429"/>
                <a:gd name="connsiteX628" fmla="*/ 3525516 w 4940931"/>
                <a:gd name="connsiteY628" fmla="*/ 105410 h 138429"/>
                <a:gd name="connsiteX629" fmla="*/ 3519166 w 4940931"/>
                <a:gd name="connsiteY629" fmla="*/ 100330 h 138429"/>
                <a:gd name="connsiteX630" fmla="*/ 3514086 w 4940931"/>
                <a:gd name="connsiteY630" fmla="*/ 92710 h 138429"/>
                <a:gd name="connsiteX631" fmla="*/ 3510276 w 4940931"/>
                <a:gd name="connsiteY631" fmla="*/ 82550 h 138429"/>
                <a:gd name="connsiteX632" fmla="*/ 3509006 w 4940931"/>
                <a:gd name="connsiteY632" fmla="*/ 69850 h 138429"/>
                <a:gd name="connsiteX633" fmla="*/ 3511546 w 4940931"/>
                <a:gd name="connsiteY633" fmla="*/ 52070 h 138429"/>
                <a:gd name="connsiteX634" fmla="*/ 3518531 w 4940931"/>
                <a:gd name="connsiteY634" fmla="*/ 39370 h 138429"/>
                <a:gd name="connsiteX635" fmla="*/ 3529326 w 4940931"/>
                <a:gd name="connsiteY635" fmla="*/ 31750 h 138429"/>
                <a:gd name="connsiteX636" fmla="*/ 3543296 w 4940931"/>
                <a:gd name="connsiteY636" fmla="*/ 29210 h 138429"/>
                <a:gd name="connsiteX637" fmla="*/ 3345176 w 4940931"/>
                <a:gd name="connsiteY637" fmla="*/ 29210 h 138429"/>
                <a:gd name="connsiteX638" fmla="*/ 3359781 w 4940931"/>
                <a:gd name="connsiteY638" fmla="*/ 32385 h 138429"/>
                <a:gd name="connsiteX639" fmla="*/ 3369941 w 4940931"/>
                <a:gd name="connsiteY639" fmla="*/ 40640 h 138429"/>
                <a:gd name="connsiteX640" fmla="*/ 3376291 w 4940931"/>
                <a:gd name="connsiteY640" fmla="*/ 53340 h 138429"/>
                <a:gd name="connsiteX641" fmla="*/ 3378196 w 4940931"/>
                <a:gd name="connsiteY641" fmla="*/ 68580 h 138429"/>
                <a:gd name="connsiteX642" fmla="*/ 3376926 w 4940931"/>
                <a:gd name="connsiteY642" fmla="*/ 68580 h 138429"/>
                <a:gd name="connsiteX643" fmla="*/ 3376926 w 4940931"/>
                <a:gd name="connsiteY643" fmla="*/ 72390 h 138429"/>
                <a:gd name="connsiteX644" fmla="*/ 3376926 w 4940931"/>
                <a:gd name="connsiteY644" fmla="*/ 75565 h 138429"/>
                <a:gd name="connsiteX645" fmla="*/ 3325491 w 4940931"/>
                <a:gd name="connsiteY645" fmla="*/ 75565 h 138429"/>
                <a:gd name="connsiteX646" fmla="*/ 3328031 w 4940931"/>
                <a:gd name="connsiteY646" fmla="*/ 85090 h 138429"/>
                <a:gd name="connsiteX647" fmla="*/ 3332476 w 4940931"/>
                <a:gd name="connsiteY647" fmla="*/ 91440 h 138429"/>
                <a:gd name="connsiteX648" fmla="*/ 3338191 w 4940931"/>
                <a:gd name="connsiteY648" fmla="*/ 95250 h 138429"/>
                <a:gd name="connsiteX649" fmla="*/ 3345176 w 4940931"/>
                <a:gd name="connsiteY649" fmla="*/ 96520 h 138429"/>
                <a:gd name="connsiteX650" fmla="*/ 3350256 w 4940931"/>
                <a:gd name="connsiteY650" fmla="*/ 96520 h 138429"/>
                <a:gd name="connsiteX651" fmla="*/ 3354701 w 4940931"/>
                <a:gd name="connsiteY651" fmla="*/ 95250 h 138429"/>
                <a:gd name="connsiteX652" fmla="*/ 3358511 w 4940931"/>
                <a:gd name="connsiteY652" fmla="*/ 93345 h 138429"/>
                <a:gd name="connsiteX653" fmla="*/ 3362956 w 4940931"/>
                <a:gd name="connsiteY653" fmla="*/ 90805 h 138429"/>
                <a:gd name="connsiteX654" fmla="*/ 3371846 w 4940931"/>
                <a:gd name="connsiteY654" fmla="*/ 100330 h 138429"/>
                <a:gd name="connsiteX655" fmla="*/ 3366131 w 4940931"/>
                <a:gd name="connsiteY655" fmla="*/ 104775 h 138429"/>
                <a:gd name="connsiteX656" fmla="*/ 3360416 w 4940931"/>
                <a:gd name="connsiteY656" fmla="*/ 107950 h 138429"/>
                <a:gd name="connsiteX657" fmla="*/ 3353431 w 4940931"/>
                <a:gd name="connsiteY657" fmla="*/ 109855 h 138429"/>
                <a:gd name="connsiteX658" fmla="*/ 3344541 w 4940931"/>
                <a:gd name="connsiteY658" fmla="*/ 110490 h 138429"/>
                <a:gd name="connsiteX659" fmla="*/ 3335016 w 4940931"/>
                <a:gd name="connsiteY659" fmla="*/ 109220 h 138429"/>
                <a:gd name="connsiteX660" fmla="*/ 3327396 w 4940931"/>
                <a:gd name="connsiteY660" fmla="*/ 105410 h 138429"/>
                <a:gd name="connsiteX661" fmla="*/ 3321046 w 4940931"/>
                <a:gd name="connsiteY661" fmla="*/ 100330 h 138429"/>
                <a:gd name="connsiteX662" fmla="*/ 3315966 w 4940931"/>
                <a:gd name="connsiteY662" fmla="*/ 92710 h 138429"/>
                <a:gd name="connsiteX663" fmla="*/ 3312156 w 4940931"/>
                <a:gd name="connsiteY663" fmla="*/ 82550 h 138429"/>
                <a:gd name="connsiteX664" fmla="*/ 3310886 w 4940931"/>
                <a:gd name="connsiteY664" fmla="*/ 69850 h 138429"/>
                <a:gd name="connsiteX665" fmla="*/ 3313426 w 4940931"/>
                <a:gd name="connsiteY665" fmla="*/ 52070 h 138429"/>
                <a:gd name="connsiteX666" fmla="*/ 3320411 w 4940931"/>
                <a:gd name="connsiteY666" fmla="*/ 39370 h 138429"/>
                <a:gd name="connsiteX667" fmla="*/ 3331206 w 4940931"/>
                <a:gd name="connsiteY667" fmla="*/ 31750 h 138429"/>
                <a:gd name="connsiteX668" fmla="*/ 3345176 w 4940931"/>
                <a:gd name="connsiteY668" fmla="*/ 29210 h 138429"/>
                <a:gd name="connsiteX669" fmla="*/ 3060696 w 4940931"/>
                <a:gd name="connsiteY669" fmla="*/ 29210 h 138429"/>
                <a:gd name="connsiteX670" fmla="*/ 3068316 w 4940931"/>
                <a:gd name="connsiteY670" fmla="*/ 29845 h 138429"/>
                <a:gd name="connsiteX671" fmla="*/ 3074031 w 4940931"/>
                <a:gd name="connsiteY671" fmla="*/ 32385 h 138429"/>
                <a:gd name="connsiteX672" fmla="*/ 3070221 w 4940931"/>
                <a:gd name="connsiteY672" fmla="*/ 46990 h 138429"/>
                <a:gd name="connsiteX673" fmla="*/ 3068951 w 4940931"/>
                <a:gd name="connsiteY673" fmla="*/ 46990 h 138429"/>
                <a:gd name="connsiteX674" fmla="*/ 3063871 w 4940931"/>
                <a:gd name="connsiteY674" fmla="*/ 45085 h 138429"/>
                <a:gd name="connsiteX675" fmla="*/ 3057521 w 4940931"/>
                <a:gd name="connsiteY675" fmla="*/ 44450 h 138429"/>
                <a:gd name="connsiteX676" fmla="*/ 3046091 w 4940931"/>
                <a:gd name="connsiteY676" fmla="*/ 49530 h 138429"/>
                <a:gd name="connsiteX677" fmla="*/ 3042281 w 4940931"/>
                <a:gd name="connsiteY677" fmla="*/ 64770 h 138429"/>
                <a:gd name="connsiteX678" fmla="*/ 3042281 w 4940931"/>
                <a:gd name="connsiteY678" fmla="*/ 109220 h 138429"/>
                <a:gd name="connsiteX679" fmla="*/ 3027041 w 4940931"/>
                <a:gd name="connsiteY679" fmla="*/ 109220 h 138429"/>
                <a:gd name="connsiteX680" fmla="*/ 3027041 w 4940931"/>
                <a:gd name="connsiteY680" fmla="*/ 31115 h 138429"/>
                <a:gd name="connsiteX681" fmla="*/ 3042281 w 4940931"/>
                <a:gd name="connsiteY681" fmla="*/ 31115 h 138429"/>
                <a:gd name="connsiteX682" fmla="*/ 3042281 w 4940931"/>
                <a:gd name="connsiteY682" fmla="*/ 38735 h 138429"/>
                <a:gd name="connsiteX683" fmla="*/ 3045456 w 4940931"/>
                <a:gd name="connsiteY683" fmla="*/ 34925 h 138429"/>
                <a:gd name="connsiteX684" fmla="*/ 3049901 w 4940931"/>
                <a:gd name="connsiteY684" fmla="*/ 31750 h 138429"/>
                <a:gd name="connsiteX685" fmla="*/ 3054981 w 4940931"/>
                <a:gd name="connsiteY685" fmla="*/ 29845 h 138429"/>
                <a:gd name="connsiteX686" fmla="*/ 3060696 w 4940931"/>
                <a:gd name="connsiteY686" fmla="*/ 29210 h 138429"/>
                <a:gd name="connsiteX687" fmla="*/ 2978781 w 4940931"/>
                <a:gd name="connsiteY687" fmla="*/ 29210 h 138429"/>
                <a:gd name="connsiteX688" fmla="*/ 2993386 w 4940931"/>
                <a:gd name="connsiteY688" fmla="*/ 32385 h 138429"/>
                <a:gd name="connsiteX689" fmla="*/ 3003546 w 4940931"/>
                <a:gd name="connsiteY689" fmla="*/ 40640 h 138429"/>
                <a:gd name="connsiteX690" fmla="*/ 3009896 w 4940931"/>
                <a:gd name="connsiteY690" fmla="*/ 53340 h 138429"/>
                <a:gd name="connsiteX691" fmla="*/ 3011801 w 4940931"/>
                <a:gd name="connsiteY691" fmla="*/ 68580 h 138429"/>
                <a:gd name="connsiteX692" fmla="*/ 3010531 w 4940931"/>
                <a:gd name="connsiteY692" fmla="*/ 68580 h 138429"/>
                <a:gd name="connsiteX693" fmla="*/ 3010531 w 4940931"/>
                <a:gd name="connsiteY693" fmla="*/ 72390 h 138429"/>
                <a:gd name="connsiteX694" fmla="*/ 3010531 w 4940931"/>
                <a:gd name="connsiteY694" fmla="*/ 75565 h 138429"/>
                <a:gd name="connsiteX695" fmla="*/ 2959096 w 4940931"/>
                <a:gd name="connsiteY695" fmla="*/ 75565 h 138429"/>
                <a:gd name="connsiteX696" fmla="*/ 2961636 w 4940931"/>
                <a:gd name="connsiteY696" fmla="*/ 85090 h 138429"/>
                <a:gd name="connsiteX697" fmla="*/ 2966081 w 4940931"/>
                <a:gd name="connsiteY697" fmla="*/ 91440 h 138429"/>
                <a:gd name="connsiteX698" fmla="*/ 2971796 w 4940931"/>
                <a:gd name="connsiteY698" fmla="*/ 95250 h 138429"/>
                <a:gd name="connsiteX699" fmla="*/ 2978781 w 4940931"/>
                <a:gd name="connsiteY699" fmla="*/ 96520 h 138429"/>
                <a:gd name="connsiteX700" fmla="*/ 2983861 w 4940931"/>
                <a:gd name="connsiteY700" fmla="*/ 96520 h 138429"/>
                <a:gd name="connsiteX701" fmla="*/ 2988306 w 4940931"/>
                <a:gd name="connsiteY701" fmla="*/ 95250 h 138429"/>
                <a:gd name="connsiteX702" fmla="*/ 2992116 w 4940931"/>
                <a:gd name="connsiteY702" fmla="*/ 93345 h 138429"/>
                <a:gd name="connsiteX703" fmla="*/ 2996561 w 4940931"/>
                <a:gd name="connsiteY703" fmla="*/ 90805 h 138429"/>
                <a:gd name="connsiteX704" fmla="*/ 3005451 w 4940931"/>
                <a:gd name="connsiteY704" fmla="*/ 100330 h 138429"/>
                <a:gd name="connsiteX705" fmla="*/ 2999736 w 4940931"/>
                <a:gd name="connsiteY705" fmla="*/ 104775 h 138429"/>
                <a:gd name="connsiteX706" fmla="*/ 2994021 w 4940931"/>
                <a:gd name="connsiteY706" fmla="*/ 107950 h 138429"/>
                <a:gd name="connsiteX707" fmla="*/ 2987036 w 4940931"/>
                <a:gd name="connsiteY707" fmla="*/ 109855 h 138429"/>
                <a:gd name="connsiteX708" fmla="*/ 2978146 w 4940931"/>
                <a:gd name="connsiteY708" fmla="*/ 110490 h 138429"/>
                <a:gd name="connsiteX709" fmla="*/ 2968621 w 4940931"/>
                <a:gd name="connsiteY709" fmla="*/ 109220 h 138429"/>
                <a:gd name="connsiteX710" fmla="*/ 2961001 w 4940931"/>
                <a:gd name="connsiteY710" fmla="*/ 105410 h 138429"/>
                <a:gd name="connsiteX711" fmla="*/ 2954651 w 4940931"/>
                <a:gd name="connsiteY711" fmla="*/ 100330 h 138429"/>
                <a:gd name="connsiteX712" fmla="*/ 2949571 w 4940931"/>
                <a:gd name="connsiteY712" fmla="*/ 92710 h 138429"/>
                <a:gd name="connsiteX713" fmla="*/ 2945761 w 4940931"/>
                <a:gd name="connsiteY713" fmla="*/ 82550 h 138429"/>
                <a:gd name="connsiteX714" fmla="*/ 2944491 w 4940931"/>
                <a:gd name="connsiteY714" fmla="*/ 69850 h 138429"/>
                <a:gd name="connsiteX715" fmla="*/ 2947031 w 4940931"/>
                <a:gd name="connsiteY715" fmla="*/ 52070 h 138429"/>
                <a:gd name="connsiteX716" fmla="*/ 2954016 w 4940931"/>
                <a:gd name="connsiteY716" fmla="*/ 39370 h 138429"/>
                <a:gd name="connsiteX717" fmla="*/ 2964811 w 4940931"/>
                <a:gd name="connsiteY717" fmla="*/ 31750 h 138429"/>
                <a:gd name="connsiteX718" fmla="*/ 2978781 w 4940931"/>
                <a:gd name="connsiteY718" fmla="*/ 29210 h 138429"/>
                <a:gd name="connsiteX719" fmla="*/ 2798440 w 4940931"/>
                <a:gd name="connsiteY719" fmla="*/ 29210 h 138429"/>
                <a:gd name="connsiteX720" fmla="*/ 2813045 w 4940931"/>
                <a:gd name="connsiteY720" fmla="*/ 31750 h 138429"/>
                <a:gd name="connsiteX721" fmla="*/ 2825110 w 4940931"/>
                <a:gd name="connsiteY721" fmla="*/ 38100 h 138429"/>
                <a:gd name="connsiteX722" fmla="*/ 2827015 w 4940931"/>
                <a:gd name="connsiteY722" fmla="*/ 38100 h 138429"/>
                <a:gd name="connsiteX723" fmla="*/ 2820030 w 4940931"/>
                <a:gd name="connsiteY723" fmla="*/ 50165 h 138429"/>
                <a:gd name="connsiteX724" fmla="*/ 2810505 w 4940931"/>
                <a:gd name="connsiteY724" fmla="*/ 45085 h 138429"/>
                <a:gd name="connsiteX725" fmla="*/ 2799710 w 4940931"/>
                <a:gd name="connsiteY725" fmla="*/ 43180 h 138429"/>
                <a:gd name="connsiteX726" fmla="*/ 2791455 w 4940931"/>
                <a:gd name="connsiteY726" fmla="*/ 45085 h 138429"/>
                <a:gd name="connsiteX727" fmla="*/ 2788915 w 4940931"/>
                <a:gd name="connsiteY727" fmla="*/ 50165 h 138429"/>
                <a:gd name="connsiteX728" fmla="*/ 2788915 w 4940931"/>
                <a:gd name="connsiteY728" fmla="*/ 52705 h 138429"/>
                <a:gd name="connsiteX729" fmla="*/ 2790820 w 4940931"/>
                <a:gd name="connsiteY729" fmla="*/ 55245 h 138429"/>
                <a:gd name="connsiteX730" fmla="*/ 2795265 w 4940931"/>
                <a:gd name="connsiteY730" fmla="*/ 57785 h 138429"/>
                <a:gd name="connsiteX731" fmla="*/ 2802250 w 4940931"/>
                <a:gd name="connsiteY731" fmla="*/ 60960 h 138429"/>
                <a:gd name="connsiteX732" fmla="*/ 2813680 w 4940931"/>
                <a:gd name="connsiteY732" fmla="*/ 66040 h 138429"/>
                <a:gd name="connsiteX733" fmla="*/ 2821935 w 4940931"/>
                <a:gd name="connsiteY733" fmla="*/ 71120 h 138429"/>
                <a:gd name="connsiteX734" fmla="*/ 2827015 w 4940931"/>
                <a:gd name="connsiteY734" fmla="*/ 78105 h 138429"/>
                <a:gd name="connsiteX735" fmla="*/ 2828920 w 4940931"/>
                <a:gd name="connsiteY735" fmla="*/ 87630 h 138429"/>
                <a:gd name="connsiteX736" fmla="*/ 2826380 w 4940931"/>
                <a:gd name="connsiteY736" fmla="*/ 98425 h 138429"/>
                <a:gd name="connsiteX737" fmla="*/ 2820030 w 4940931"/>
                <a:gd name="connsiteY737" fmla="*/ 105410 h 138429"/>
                <a:gd name="connsiteX738" fmla="*/ 2810505 w 4940931"/>
                <a:gd name="connsiteY738" fmla="*/ 109220 h 138429"/>
                <a:gd name="connsiteX739" fmla="*/ 2799710 w 4940931"/>
                <a:gd name="connsiteY739" fmla="*/ 110490 h 138429"/>
                <a:gd name="connsiteX740" fmla="*/ 2783835 w 4940931"/>
                <a:gd name="connsiteY740" fmla="*/ 107950 h 138429"/>
                <a:gd name="connsiteX741" fmla="*/ 2769230 w 4940931"/>
                <a:gd name="connsiteY741" fmla="*/ 100965 h 138429"/>
                <a:gd name="connsiteX742" fmla="*/ 2776215 w 4940931"/>
                <a:gd name="connsiteY742" fmla="*/ 89535 h 138429"/>
                <a:gd name="connsiteX743" fmla="*/ 2787645 w 4940931"/>
                <a:gd name="connsiteY743" fmla="*/ 95250 h 138429"/>
                <a:gd name="connsiteX744" fmla="*/ 2799075 w 4940931"/>
                <a:gd name="connsiteY744" fmla="*/ 97155 h 138429"/>
                <a:gd name="connsiteX745" fmla="*/ 2809870 w 4940931"/>
                <a:gd name="connsiteY745" fmla="*/ 94615 h 138429"/>
                <a:gd name="connsiteX746" fmla="*/ 2813045 w 4940931"/>
                <a:gd name="connsiteY746" fmla="*/ 88265 h 138429"/>
                <a:gd name="connsiteX747" fmla="*/ 2811775 w 4940931"/>
                <a:gd name="connsiteY747" fmla="*/ 84455 h 138429"/>
                <a:gd name="connsiteX748" fmla="*/ 2807965 w 4940931"/>
                <a:gd name="connsiteY748" fmla="*/ 81280 h 138429"/>
                <a:gd name="connsiteX749" fmla="*/ 2802250 w 4940931"/>
                <a:gd name="connsiteY749" fmla="*/ 78105 h 138429"/>
                <a:gd name="connsiteX750" fmla="*/ 2794630 w 4940931"/>
                <a:gd name="connsiteY750" fmla="*/ 74930 h 138429"/>
                <a:gd name="connsiteX751" fmla="*/ 2783835 w 4940931"/>
                <a:gd name="connsiteY751" fmla="*/ 69850 h 138429"/>
                <a:gd name="connsiteX752" fmla="*/ 2776850 w 4940931"/>
                <a:gd name="connsiteY752" fmla="*/ 64770 h 138429"/>
                <a:gd name="connsiteX753" fmla="*/ 2773040 w 4940931"/>
                <a:gd name="connsiteY753" fmla="*/ 58420 h 138429"/>
                <a:gd name="connsiteX754" fmla="*/ 2771770 w 4940931"/>
                <a:gd name="connsiteY754" fmla="*/ 50165 h 138429"/>
                <a:gd name="connsiteX755" fmla="*/ 2773675 w 4940931"/>
                <a:gd name="connsiteY755" fmla="*/ 40640 h 138429"/>
                <a:gd name="connsiteX756" fmla="*/ 2779390 w 4940931"/>
                <a:gd name="connsiteY756" fmla="*/ 34290 h 138429"/>
                <a:gd name="connsiteX757" fmla="*/ 2787645 w 4940931"/>
                <a:gd name="connsiteY757" fmla="*/ 30480 h 138429"/>
                <a:gd name="connsiteX758" fmla="*/ 2798440 w 4940931"/>
                <a:gd name="connsiteY758" fmla="*/ 29210 h 138429"/>
                <a:gd name="connsiteX759" fmla="*/ 2723510 w 4940931"/>
                <a:gd name="connsiteY759" fmla="*/ 29210 h 138429"/>
                <a:gd name="connsiteX760" fmla="*/ 2729225 w 4940931"/>
                <a:gd name="connsiteY760" fmla="*/ 29210 h 138429"/>
                <a:gd name="connsiteX761" fmla="*/ 2741290 w 4940931"/>
                <a:gd name="connsiteY761" fmla="*/ 31750 h 138429"/>
                <a:gd name="connsiteX762" fmla="*/ 2750180 w 4940931"/>
                <a:gd name="connsiteY762" fmla="*/ 38100 h 138429"/>
                <a:gd name="connsiteX763" fmla="*/ 2755260 w 4940931"/>
                <a:gd name="connsiteY763" fmla="*/ 48895 h 138429"/>
                <a:gd name="connsiteX764" fmla="*/ 2757165 w 4940931"/>
                <a:gd name="connsiteY764" fmla="*/ 64135 h 138429"/>
                <a:gd name="connsiteX765" fmla="*/ 2757165 w 4940931"/>
                <a:gd name="connsiteY765" fmla="*/ 108585 h 138429"/>
                <a:gd name="connsiteX766" fmla="*/ 2741925 w 4940931"/>
                <a:gd name="connsiteY766" fmla="*/ 108585 h 138429"/>
                <a:gd name="connsiteX767" fmla="*/ 2741290 w 4940931"/>
                <a:gd name="connsiteY767" fmla="*/ 108585 h 138429"/>
                <a:gd name="connsiteX768" fmla="*/ 2741290 w 4940931"/>
                <a:gd name="connsiteY768" fmla="*/ 64770 h 138429"/>
                <a:gd name="connsiteX769" fmla="*/ 2737480 w 4940931"/>
                <a:gd name="connsiteY769" fmla="*/ 48895 h 138429"/>
                <a:gd name="connsiteX770" fmla="*/ 2725415 w 4940931"/>
                <a:gd name="connsiteY770" fmla="*/ 43180 h 138429"/>
                <a:gd name="connsiteX771" fmla="*/ 2718430 w 4940931"/>
                <a:gd name="connsiteY771" fmla="*/ 44450 h 138429"/>
                <a:gd name="connsiteX772" fmla="*/ 2713350 w 4940931"/>
                <a:gd name="connsiteY772" fmla="*/ 48260 h 138429"/>
                <a:gd name="connsiteX773" fmla="*/ 2710175 w 4940931"/>
                <a:gd name="connsiteY773" fmla="*/ 54610 h 138429"/>
                <a:gd name="connsiteX774" fmla="*/ 2709540 w 4940931"/>
                <a:gd name="connsiteY774" fmla="*/ 62865 h 138429"/>
                <a:gd name="connsiteX775" fmla="*/ 2709540 w 4940931"/>
                <a:gd name="connsiteY775" fmla="*/ 108585 h 138429"/>
                <a:gd name="connsiteX776" fmla="*/ 2694300 w 4940931"/>
                <a:gd name="connsiteY776" fmla="*/ 108585 h 138429"/>
                <a:gd name="connsiteX777" fmla="*/ 2694300 w 4940931"/>
                <a:gd name="connsiteY777" fmla="*/ 30480 h 138429"/>
                <a:gd name="connsiteX778" fmla="*/ 2709540 w 4940931"/>
                <a:gd name="connsiteY778" fmla="*/ 30480 h 138429"/>
                <a:gd name="connsiteX779" fmla="*/ 2709540 w 4940931"/>
                <a:gd name="connsiteY779" fmla="*/ 38100 h 138429"/>
                <a:gd name="connsiteX780" fmla="*/ 2713350 w 4940931"/>
                <a:gd name="connsiteY780" fmla="*/ 34290 h 138429"/>
                <a:gd name="connsiteX781" fmla="*/ 2717795 w 4940931"/>
                <a:gd name="connsiteY781" fmla="*/ 31115 h 138429"/>
                <a:gd name="connsiteX782" fmla="*/ 2723510 w 4940931"/>
                <a:gd name="connsiteY782" fmla="*/ 29210 h 138429"/>
                <a:gd name="connsiteX783" fmla="*/ 2530470 w 4940931"/>
                <a:gd name="connsiteY783" fmla="*/ 29210 h 138429"/>
                <a:gd name="connsiteX784" fmla="*/ 2545075 w 4940931"/>
                <a:gd name="connsiteY784" fmla="*/ 32385 h 138429"/>
                <a:gd name="connsiteX785" fmla="*/ 2555235 w 4940931"/>
                <a:gd name="connsiteY785" fmla="*/ 40640 h 138429"/>
                <a:gd name="connsiteX786" fmla="*/ 2561585 w 4940931"/>
                <a:gd name="connsiteY786" fmla="*/ 53340 h 138429"/>
                <a:gd name="connsiteX787" fmla="*/ 2563490 w 4940931"/>
                <a:gd name="connsiteY787" fmla="*/ 68580 h 138429"/>
                <a:gd name="connsiteX788" fmla="*/ 2562220 w 4940931"/>
                <a:gd name="connsiteY788" fmla="*/ 68580 h 138429"/>
                <a:gd name="connsiteX789" fmla="*/ 2562220 w 4940931"/>
                <a:gd name="connsiteY789" fmla="*/ 72390 h 138429"/>
                <a:gd name="connsiteX790" fmla="*/ 2562220 w 4940931"/>
                <a:gd name="connsiteY790" fmla="*/ 75565 h 138429"/>
                <a:gd name="connsiteX791" fmla="*/ 2510785 w 4940931"/>
                <a:gd name="connsiteY791" fmla="*/ 75565 h 138429"/>
                <a:gd name="connsiteX792" fmla="*/ 2513325 w 4940931"/>
                <a:gd name="connsiteY792" fmla="*/ 85090 h 138429"/>
                <a:gd name="connsiteX793" fmla="*/ 2517770 w 4940931"/>
                <a:gd name="connsiteY793" fmla="*/ 91440 h 138429"/>
                <a:gd name="connsiteX794" fmla="*/ 2523485 w 4940931"/>
                <a:gd name="connsiteY794" fmla="*/ 95250 h 138429"/>
                <a:gd name="connsiteX795" fmla="*/ 2530470 w 4940931"/>
                <a:gd name="connsiteY795" fmla="*/ 96520 h 138429"/>
                <a:gd name="connsiteX796" fmla="*/ 2535550 w 4940931"/>
                <a:gd name="connsiteY796" fmla="*/ 96520 h 138429"/>
                <a:gd name="connsiteX797" fmla="*/ 2539995 w 4940931"/>
                <a:gd name="connsiteY797" fmla="*/ 95250 h 138429"/>
                <a:gd name="connsiteX798" fmla="*/ 2543805 w 4940931"/>
                <a:gd name="connsiteY798" fmla="*/ 93345 h 138429"/>
                <a:gd name="connsiteX799" fmla="*/ 2548250 w 4940931"/>
                <a:gd name="connsiteY799" fmla="*/ 90805 h 138429"/>
                <a:gd name="connsiteX800" fmla="*/ 2557140 w 4940931"/>
                <a:gd name="connsiteY800" fmla="*/ 100330 h 138429"/>
                <a:gd name="connsiteX801" fmla="*/ 2551425 w 4940931"/>
                <a:gd name="connsiteY801" fmla="*/ 104775 h 138429"/>
                <a:gd name="connsiteX802" fmla="*/ 2545710 w 4940931"/>
                <a:gd name="connsiteY802" fmla="*/ 107950 h 138429"/>
                <a:gd name="connsiteX803" fmla="*/ 2538725 w 4940931"/>
                <a:gd name="connsiteY803" fmla="*/ 109855 h 138429"/>
                <a:gd name="connsiteX804" fmla="*/ 2529835 w 4940931"/>
                <a:gd name="connsiteY804" fmla="*/ 110490 h 138429"/>
                <a:gd name="connsiteX805" fmla="*/ 2520310 w 4940931"/>
                <a:gd name="connsiteY805" fmla="*/ 109220 h 138429"/>
                <a:gd name="connsiteX806" fmla="*/ 2512690 w 4940931"/>
                <a:gd name="connsiteY806" fmla="*/ 105410 h 138429"/>
                <a:gd name="connsiteX807" fmla="*/ 2506340 w 4940931"/>
                <a:gd name="connsiteY807" fmla="*/ 100330 h 138429"/>
                <a:gd name="connsiteX808" fmla="*/ 2501260 w 4940931"/>
                <a:gd name="connsiteY808" fmla="*/ 92710 h 138429"/>
                <a:gd name="connsiteX809" fmla="*/ 2497450 w 4940931"/>
                <a:gd name="connsiteY809" fmla="*/ 82550 h 138429"/>
                <a:gd name="connsiteX810" fmla="*/ 2496180 w 4940931"/>
                <a:gd name="connsiteY810" fmla="*/ 69850 h 138429"/>
                <a:gd name="connsiteX811" fmla="*/ 2498720 w 4940931"/>
                <a:gd name="connsiteY811" fmla="*/ 52070 h 138429"/>
                <a:gd name="connsiteX812" fmla="*/ 2505705 w 4940931"/>
                <a:gd name="connsiteY812" fmla="*/ 39370 h 138429"/>
                <a:gd name="connsiteX813" fmla="*/ 2516500 w 4940931"/>
                <a:gd name="connsiteY813" fmla="*/ 31750 h 138429"/>
                <a:gd name="connsiteX814" fmla="*/ 2530470 w 4940931"/>
                <a:gd name="connsiteY814" fmla="*/ 29210 h 138429"/>
                <a:gd name="connsiteX815" fmla="*/ 2298061 w 4940931"/>
                <a:gd name="connsiteY815" fmla="*/ 29210 h 138429"/>
                <a:gd name="connsiteX816" fmla="*/ 2305681 w 4940931"/>
                <a:gd name="connsiteY816" fmla="*/ 29845 h 138429"/>
                <a:gd name="connsiteX817" fmla="*/ 2311396 w 4940931"/>
                <a:gd name="connsiteY817" fmla="*/ 32385 h 138429"/>
                <a:gd name="connsiteX818" fmla="*/ 2307586 w 4940931"/>
                <a:gd name="connsiteY818" fmla="*/ 46990 h 138429"/>
                <a:gd name="connsiteX819" fmla="*/ 2306316 w 4940931"/>
                <a:gd name="connsiteY819" fmla="*/ 46990 h 138429"/>
                <a:gd name="connsiteX820" fmla="*/ 2301236 w 4940931"/>
                <a:gd name="connsiteY820" fmla="*/ 45085 h 138429"/>
                <a:gd name="connsiteX821" fmla="*/ 2294886 w 4940931"/>
                <a:gd name="connsiteY821" fmla="*/ 44450 h 138429"/>
                <a:gd name="connsiteX822" fmla="*/ 2283456 w 4940931"/>
                <a:gd name="connsiteY822" fmla="*/ 49530 h 138429"/>
                <a:gd name="connsiteX823" fmla="*/ 2279646 w 4940931"/>
                <a:gd name="connsiteY823" fmla="*/ 64770 h 138429"/>
                <a:gd name="connsiteX824" fmla="*/ 2279646 w 4940931"/>
                <a:gd name="connsiteY824" fmla="*/ 109220 h 138429"/>
                <a:gd name="connsiteX825" fmla="*/ 2264406 w 4940931"/>
                <a:gd name="connsiteY825" fmla="*/ 109220 h 138429"/>
                <a:gd name="connsiteX826" fmla="*/ 2264406 w 4940931"/>
                <a:gd name="connsiteY826" fmla="*/ 31115 h 138429"/>
                <a:gd name="connsiteX827" fmla="*/ 2279646 w 4940931"/>
                <a:gd name="connsiteY827" fmla="*/ 31115 h 138429"/>
                <a:gd name="connsiteX828" fmla="*/ 2279646 w 4940931"/>
                <a:gd name="connsiteY828" fmla="*/ 38735 h 138429"/>
                <a:gd name="connsiteX829" fmla="*/ 2282821 w 4940931"/>
                <a:gd name="connsiteY829" fmla="*/ 34925 h 138429"/>
                <a:gd name="connsiteX830" fmla="*/ 2287266 w 4940931"/>
                <a:gd name="connsiteY830" fmla="*/ 31750 h 138429"/>
                <a:gd name="connsiteX831" fmla="*/ 2292346 w 4940931"/>
                <a:gd name="connsiteY831" fmla="*/ 29845 h 138429"/>
                <a:gd name="connsiteX832" fmla="*/ 2298061 w 4940931"/>
                <a:gd name="connsiteY832" fmla="*/ 29210 h 138429"/>
                <a:gd name="connsiteX833" fmla="*/ 2216145 w 4940931"/>
                <a:gd name="connsiteY833" fmla="*/ 29210 h 138429"/>
                <a:gd name="connsiteX834" fmla="*/ 2230750 w 4940931"/>
                <a:gd name="connsiteY834" fmla="*/ 32385 h 138429"/>
                <a:gd name="connsiteX835" fmla="*/ 2240910 w 4940931"/>
                <a:gd name="connsiteY835" fmla="*/ 40640 h 138429"/>
                <a:gd name="connsiteX836" fmla="*/ 2247260 w 4940931"/>
                <a:gd name="connsiteY836" fmla="*/ 53340 h 138429"/>
                <a:gd name="connsiteX837" fmla="*/ 2249165 w 4940931"/>
                <a:gd name="connsiteY837" fmla="*/ 68580 h 138429"/>
                <a:gd name="connsiteX838" fmla="*/ 2247895 w 4940931"/>
                <a:gd name="connsiteY838" fmla="*/ 68580 h 138429"/>
                <a:gd name="connsiteX839" fmla="*/ 2247895 w 4940931"/>
                <a:gd name="connsiteY839" fmla="*/ 72390 h 138429"/>
                <a:gd name="connsiteX840" fmla="*/ 2247895 w 4940931"/>
                <a:gd name="connsiteY840" fmla="*/ 75565 h 138429"/>
                <a:gd name="connsiteX841" fmla="*/ 2196460 w 4940931"/>
                <a:gd name="connsiteY841" fmla="*/ 75565 h 138429"/>
                <a:gd name="connsiteX842" fmla="*/ 2199000 w 4940931"/>
                <a:gd name="connsiteY842" fmla="*/ 85090 h 138429"/>
                <a:gd name="connsiteX843" fmla="*/ 2203445 w 4940931"/>
                <a:gd name="connsiteY843" fmla="*/ 91440 h 138429"/>
                <a:gd name="connsiteX844" fmla="*/ 2209160 w 4940931"/>
                <a:gd name="connsiteY844" fmla="*/ 95250 h 138429"/>
                <a:gd name="connsiteX845" fmla="*/ 2216145 w 4940931"/>
                <a:gd name="connsiteY845" fmla="*/ 96520 h 138429"/>
                <a:gd name="connsiteX846" fmla="*/ 2221225 w 4940931"/>
                <a:gd name="connsiteY846" fmla="*/ 96520 h 138429"/>
                <a:gd name="connsiteX847" fmla="*/ 2225670 w 4940931"/>
                <a:gd name="connsiteY847" fmla="*/ 95250 h 138429"/>
                <a:gd name="connsiteX848" fmla="*/ 2229480 w 4940931"/>
                <a:gd name="connsiteY848" fmla="*/ 93345 h 138429"/>
                <a:gd name="connsiteX849" fmla="*/ 2233925 w 4940931"/>
                <a:gd name="connsiteY849" fmla="*/ 90805 h 138429"/>
                <a:gd name="connsiteX850" fmla="*/ 2242815 w 4940931"/>
                <a:gd name="connsiteY850" fmla="*/ 100330 h 138429"/>
                <a:gd name="connsiteX851" fmla="*/ 2237100 w 4940931"/>
                <a:gd name="connsiteY851" fmla="*/ 104775 h 138429"/>
                <a:gd name="connsiteX852" fmla="*/ 2231385 w 4940931"/>
                <a:gd name="connsiteY852" fmla="*/ 107950 h 138429"/>
                <a:gd name="connsiteX853" fmla="*/ 2224400 w 4940931"/>
                <a:gd name="connsiteY853" fmla="*/ 109855 h 138429"/>
                <a:gd name="connsiteX854" fmla="*/ 2215510 w 4940931"/>
                <a:gd name="connsiteY854" fmla="*/ 110490 h 138429"/>
                <a:gd name="connsiteX855" fmla="*/ 2205985 w 4940931"/>
                <a:gd name="connsiteY855" fmla="*/ 109220 h 138429"/>
                <a:gd name="connsiteX856" fmla="*/ 2198365 w 4940931"/>
                <a:gd name="connsiteY856" fmla="*/ 105410 h 138429"/>
                <a:gd name="connsiteX857" fmla="*/ 2192015 w 4940931"/>
                <a:gd name="connsiteY857" fmla="*/ 100330 h 138429"/>
                <a:gd name="connsiteX858" fmla="*/ 2186935 w 4940931"/>
                <a:gd name="connsiteY858" fmla="*/ 92710 h 138429"/>
                <a:gd name="connsiteX859" fmla="*/ 2183125 w 4940931"/>
                <a:gd name="connsiteY859" fmla="*/ 82550 h 138429"/>
                <a:gd name="connsiteX860" fmla="*/ 2181855 w 4940931"/>
                <a:gd name="connsiteY860" fmla="*/ 69850 h 138429"/>
                <a:gd name="connsiteX861" fmla="*/ 2184395 w 4940931"/>
                <a:gd name="connsiteY861" fmla="*/ 52070 h 138429"/>
                <a:gd name="connsiteX862" fmla="*/ 2191380 w 4940931"/>
                <a:gd name="connsiteY862" fmla="*/ 39370 h 138429"/>
                <a:gd name="connsiteX863" fmla="*/ 2202175 w 4940931"/>
                <a:gd name="connsiteY863" fmla="*/ 31750 h 138429"/>
                <a:gd name="connsiteX864" fmla="*/ 2216145 w 4940931"/>
                <a:gd name="connsiteY864" fmla="*/ 29210 h 138429"/>
                <a:gd name="connsiteX865" fmla="*/ 2029456 w 4940931"/>
                <a:gd name="connsiteY865" fmla="*/ 29210 h 138429"/>
                <a:gd name="connsiteX866" fmla="*/ 2044061 w 4940931"/>
                <a:gd name="connsiteY866" fmla="*/ 32385 h 138429"/>
                <a:gd name="connsiteX867" fmla="*/ 2054221 w 4940931"/>
                <a:gd name="connsiteY867" fmla="*/ 40640 h 138429"/>
                <a:gd name="connsiteX868" fmla="*/ 2060571 w 4940931"/>
                <a:gd name="connsiteY868" fmla="*/ 53340 h 138429"/>
                <a:gd name="connsiteX869" fmla="*/ 2062476 w 4940931"/>
                <a:gd name="connsiteY869" fmla="*/ 68580 h 138429"/>
                <a:gd name="connsiteX870" fmla="*/ 2061206 w 4940931"/>
                <a:gd name="connsiteY870" fmla="*/ 68580 h 138429"/>
                <a:gd name="connsiteX871" fmla="*/ 2061206 w 4940931"/>
                <a:gd name="connsiteY871" fmla="*/ 72390 h 138429"/>
                <a:gd name="connsiteX872" fmla="*/ 2061206 w 4940931"/>
                <a:gd name="connsiteY872" fmla="*/ 75565 h 138429"/>
                <a:gd name="connsiteX873" fmla="*/ 2009771 w 4940931"/>
                <a:gd name="connsiteY873" fmla="*/ 75565 h 138429"/>
                <a:gd name="connsiteX874" fmla="*/ 2012311 w 4940931"/>
                <a:gd name="connsiteY874" fmla="*/ 85090 h 138429"/>
                <a:gd name="connsiteX875" fmla="*/ 2016756 w 4940931"/>
                <a:gd name="connsiteY875" fmla="*/ 91440 h 138429"/>
                <a:gd name="connsiteX876" fmla="*/ 2022471 w 4940931"/>
                <a:gd name="connsiteY876" fmla="*/ 95250 h 138429"/>
                <a:gd name="connsiteX877" fmla="*/ 2029456 w 4940931"/>
                <a:gd name="connsiteY877" fmla="*/ 96520 h 138429"/>
                <a:gd name="connsiteX878" fmla="*/ 2034536 w 4940931"/>
                <a:gd name="connsiteY878" fmla="*/ 96520 h 138429"/>
                <a:gd name="connsiteX879" fmla="*/ 2038981 w 4940931"/>
                <a:gd name="connsiteY879" fmla="*/ 95250 h 138429"/>
                <a:gd name="connsiteX880" fmla="*/ 2042791 w 4940931"/>
                <a:gd name="connsiteY880" fmla="*/ 93345 h 138429"/>
                <a:gd name="connsiteX881" fmla="*/ 2047236 w 4940931"/>
                <a:gd name="connsiteY881" fmla="*/ 90805 h 138429"/>
                <a:gd name="connsiteX882" fmla="*/ 2056126 w 4940931"/>
                <a:gd name="connsiteY882" fmla="*/ 100330 h 138429"/>
                <a:gd name="connsiteX883" fmla="*/ 2050411 w 4940931"/>
                <a:gd name="connsiteY883" fmla="*/ 104775 h 138429"/>
                <a:gd name="connsiteX884" fmla="*/ 2044696 w 4940931"/>
                <a:gd name="connsiteY884" fmla="*/ 107950 h 138429"/>
                <a:gd name="connsiteX885" fmla="*/ 2037711 w 4940931"/>
                <a:gd name="connsiteY885" fmla="*/ 109855 h 138429"/>
                <a:gd name="connsiteX886" fmla="*/ 2028821 w 4940931"/>
                <a:gd name="connsiteY886" fmla="*/ 110490 h 138429"/>
                <a:gd name="connsiteX887" fmla="*/ 2019296 w 4940931"/>
                <a:gd name="connsiteY887" fmla="*/ 109220 h 138429"/>
                <a:gd name="connsiteX888" fmla="*/ 2011676 w 4940931"/>
                <a:gd name="connsiteY888" fmla="*/ 105410 h 138429"/>
                <a:gd name="connsiteX889" fmla="*/ 2005326 w 4940931"/>
                <a:gd name="connsiteY889" fmla="*/ 100330 h 138429"/>
                <a:gd name="connsiteX890" fmla="*/ 2000246 w 4940931"/>
                <a:gd name="connsiteY890" fmla="*/ 92710 h 138429"/>
                <a:gd name="connsiteX891" fmla="*/ 1996436 w 4940931"/>
                <a:gd name="connsiteY891" fmla="*/ 82550 h 138429"/>
                <a:gd name="connsiteX892" fmla="*/ 1995166 w 4940931"/>
                <a:gd name="connsiteY892" fmla="*/ 69850 h 138429"/>
                <a:gd name="connsiteX893" fmla="*/ 1997706 w 4940931"/>
                <a:gd name="connsiteY893" fmla="*/ 52070 h 138429"/>
                <a:gd name="connsiteX894" fmla="*/ 2004691 w 4940931"/>
                <a:gd name="connsiteY894" fmla="*/ 39370 h 138429"/>
                <a:gd name="connsiteX895" fmla="*/ 2015486 w 4940931"/>
                <a:gd name="connsiteY895" fmla="*/ 31750 h 138429"/>
                <a:gd name="connsiteX896" fmla="*/ 2029456 w 4940931"/>
                <a:gd name="connsiteY896" fmla="*/ 29210 h 138429"/>
                <a:gd name="connsiteX897" fmla="*/ 1831336 w 4940931"/>
                <a:gd name="connsiteY897" fmla="*/ 29210 h 138429"/>
                <a:gd name="connsiteX898" fmla="*/ 1845941 w 4940931"/>
                <a:gd name="connsiteY898" fmla="*/ 32385 h 138429"/>
                <a:gd name="connsiteX899" fmla="*/ 1856101 w 4940931"/>
                <a:gd name="connsiteY899" fmla="*/ 40640 h 138429"/>
                <a:gd name="connsiteX900" fmla="*/ 1862451 w 4940931"/>
                <a:gd name="connsiteY900" fmla="*/ 53340 h 138429"/>
                <a:gd name="connsiteX901" fmla="*/ 1864356 w 4940931"/>
                <a:gd name="connsiteY901" fmla="*/ 68580 h 138429"/>
                <a:gd name="connsiteX902" fmla="*/ 1863086 w 4940931"/>
                <a:gd name="connsiteY902" fmla="*/ 68580 h 138429"/>
                <a:gd name="connsiteX903" fmla="*/ 1863086 w 4940931"/>
                <a:gd name="connsiteY903" fmla="*/ 72390 h 138429"/>
                <a:gd name="connsiteX904" fmla="*/ 1863086 w 4940931"/>
                <a:gd name="connsiteY904" fmla="*/ 75565 h 138429"/>
                <a:gd name="connsiteX905" fmla="*/ 1811651 w 4940931"/>
                <a:gd name="connsiteY905" fmla="*/ 75565 h 138429"/>
                <a:gd name="connsiteX906" fmla="*/ 1814191 w 4940931"/>
                <a:gd name="connsiteY906" fmla="*/ 85090 h 138429"/>
                <a:gd name="connsiteX907" fmla="*/ 1818636 w 4940931"/>
                <a:gd name="connsiteY907" fmla="*/ 91440 h 138429"/>
                <a:gd name="connsiteX908" fmla="*/ 1824351 w 4940931"/>
                <a:gd name="connsiteY908" fmla="*/ 95250 h 138429"/>
                <a:gd name="connsiteX909" fmla="*/ 1831336 w 4940931"/>
                <a:gd name="connsiteY909" fmla="*/ 96520 h 138429"/>
                <a:gd name="connsiteX910" fmla="*/ 1836416 w 4940931"/>
                <a:gd name="connsiteY910" fmla="*/ 96520 h 138429"/>
                <a:gd name="connsiteX911" fmla="*/ 1840861 w 4940931"/>
                <a:gd name="connsiteY911" fmla="*/ 95250 h 138429"/>
                <a:gd name="connsiteX912" fmla="*/ 1844671 w 4940931"/>
                <a:gd name="connsiteY912" fmla="*/ 93345 h 138429"/>
                <a:gd name="connsiteX913" fmla="*/ 1849116 w 4940931"/>
                <a:gd name="connsiteY913" fmla="*/ 90805 h 138429"/>
                <a:gd name="connsiteX914" fmla="*/ 1858006 w 4940931"/>
                <a:gd name="connsiteY914" fmla="*/ 100330 h 138429"/>
                <a:gd name="connsiteX915" fmla="*/ 1852291 w 4940931"/>
                <a:gd name="connsiteY915" fmla="*/ 104775 h 138429"/>
                <a:gd name="connsiteX916" fmla="*/ 1846576 w 4940931"/>
                <a:gd name="connsiteY916" fmla="*/ 107950 h 138429"/>
                <a:gd name="connsiteX917" fmla="*/ 1839591 w 4940931"/>
                <a:gd name="connsiteY917" fmla="*/ 109855 h 138429"/>
                <a:gd name="connsiteX918" fmla="*/ 1830701 w 4940931"/>
                <a:gd name="connsiteY918" fmla="*/ 110490 h 138429"/>
                <a:gd name="connsiteX919" fmla="*/ 1821176 w 4940931"/>
                <a:gd name="connsiteY919" fmla="*/ 109220 h 138429"/>
                <a:gd name="connsiteX920" fmla="*/ 1813556 w 4940931"/>
                <a:gd name="connsiteY920" fmla="*/ 105410 h 138429"/>
                <a:gd name="connsiteX921" fmla="*/ 1807206 w 4940931"/>
                <a:gd name="connsiteY921" fmla="*/ 100330 h 138429"/>
                <a:gd name="connsiteX922" fmla="*/ 1802126 w 4940931"/>
                <a:gd name="connsiteY922" fmla="*/ 92710 h 138429"/>
                <a:gd name="connsiteX923" fmla="*/ 1798316 w 4940931"/>
                <a:gd name="connsiteY923" fmla="*/ 82550 h 138429"/>
                <a:gd name="connsiteX924" fmla="*/ 1797046 w 4940931"/>
                <a:gd name="connsiteY924" fmla="*/ 69850 h 138429"/>
                <a:gd name="connsiteX925" fmla="*/ 1799586 w 4940931"/>
                <a:gd name="connsiteY925" fmla="*/ 52070 h 138429"/>
                <a:gd name="connsiteX926" fmla="*/ 1806571 w 4940931"/>
                <a:gd name="connsiteY926" fmla="*/ 39370 h 138429"/>
                <a:gd name="connsiteX927" fmla="*/ 1817366 w 4940931"/>
                <a:gd name="connsiteY927" fmla="*/ 31750 h 138429"/>
                <a:gd name="connsiteX928" fmla="*/ 1831336 w 4940931"/>
                <a:gd name="connsiteY928" fmla="*/ 29210 h 138429"/>
                <a:gd name="connsiteX929" fmla="*/ 1501140 w 4940931"/>
                <a:gd name="connsiteY929" fmla="*/ 29210 h 138429"/>
                <a:gd name="connsiteX930" fmla="*/ 1506856 w 4940931"/>
                <a:gd name="connsiteY930" fmla="*/ 29210 h 138429"/>
                <a:gd name="connsiteX931" fmla="*/ 1518920 w 4940931"/>
                <a:gd name="connsiteY931" fmla="*/ 31750 h 138429"/>
                <a:gd name="connsiteX932" fmla="*/ 1527811 w 4940931"/>
                <a:gd name="connsiteY932" fmla="*/ 38100 h 138429"/>
                <a:gd name="connsiteX933" fmla="*/ 1532891 w 4940931"/>
                <a:gd name="connsiteY933" fmla="*/ 48895 h 138429"/>
                <a:gd name="connsiteX934" fmla="*/ 1534796 w 4940931"/>
                <a:gd name="connsiteY934" fmla="*/ 64135 h 138429"/>
                <a:gd name="connsiteX935" fmla="*/ 1534796 w 4940931"/>
                <a:gd name="connsiteY935" fmla="*/ 108585 h 138429"/>
                <a:gd name="connsiteX936" fmla="*/ 1519556 w 4940931"/>
                <a:gd name="connsiteY936" fmla="*/ 108585 h 138429"/>
                <a:gd name="connsiteX937" fmla="*/ 1518920 w 4940931"/>
                <a:gd name="connsiteY937" fmla="*/ 108585 h 138429"/>
                <a:gd name="connsiteX938" fmla="*/ 1518920 w 4940931"/>
                <a:gd name="connsiteY938" fmla="*/ 64770 h 138429"/>
                <a:gd name="connsiteX939" fmla="*/ 1515111 w 4940931"/>
                <a:gd name="connsiteY939" fmla="*/ 48895 h 138429"/>
                <a:gd name="connsiteX940" fmla="*/ 1503046 w 4940931"/>
                <a:gd name="connsiteY940" fmla="*/ 43180 h 138429"/>
                <a:gd name="connsiteX941" fmla="*/ 1496061 w 4940931"/>
                <a:gd name="connsiteY941" fmla="*/ 44450 h 138429"/>
                <a:gd name="connsiteX942" fmla="*/ 1490981 w 4940931"/>
                <a:gd name="connsiteY942" fmla="*/ 48260 h 138429"/>
                <a:gd name="connsiteX943" fmla="*/ 1487806 w 4940931"/>
                <a:gd name="connsiteY943" fmla="*/ 54610 h 138429"/>
                <a:gd name="connsiteX944" fmla="*/ 1487170 w 4940931"/>
                <a:gd name="connsiteY944" fmla="*/ 62865 h 138429"/>
                <a:gd name="connsiteX945" fmla="*/ 1487170 w 4940931"/>
                <a:gd name="connsiteY945" fmla="*/ 108585 h 138429"/>
                <a:gd name="connsiteX946" fmla="*/ 1471931 w 4940931"/>
                <a:gd name="connsiteY946" fmla="*/ 108585 h 138429"/>
                <a:gd name="connsiteX947" fmla="*/ 1471931 w 4940931"/>
                <a:gd name="connsiteY947" fmla="*/ 30480 h 138429"/>
                <a:gd name="connsiteX948" fmla="*/ 1487170 w 4940931"/>
                <a:gd name="connsiteY948" fmla="*/ 30480 h 138429"/>
                <a:gd name="connsiteX949" fmla="*/ 1487170 w 4940931"/>
                <a:gd name="connsiteY949" fmla="*/ 38100 h 138429"/>
                <a:gd name="connsiteX950" fmla="*/ 1490981 w 4940931"/>
                <a:gd name="connsiteY950" fmla="*/ 34290 h 138429"/>
                <a:gd name="connsiteX951" fmla="*/ 1495426 w 4940931"/>
                <a:gd name="connsiteY951" fmla="*/ 31115 h 138429"/>
                <a:gd name="connsiteX952" fmla="*/ 1501140 w 4940931"/>
                <a:gd name="connsiteY952" fmla="*/ 29210 h 138429"/>
                <a:gd name="connsiteX953" fmla="*/ 1250316 w 4940931"/>
                <a:gd name="connsiteY953" fmla="*/ 29210 h 138429"/>
                <a:gd name="connsiteX954" fmla="*/ 1264286 w 4940931"/>
                <a:gd name="connsiteY954" fmla="*/ 31750 h 138429"/>
                <a:gd name="connsiteX955" fmla="*/ 1276350 w 4940931"/>
                <a:gd name="connsiteY955" fmla="*/ 38100 h 138429"/>
                <a:gd name="connsiteX956" fmla="*/ 1278256 w 4940931"/>
                <a:gd name="connsiteY956" fmla="*/ 38100 h 138429"/>
                <a:gd name="connsiteX957" fmla="*/ 1271271 w 4940931"/>
                <a:gd name="connsiteY957" fmla="*/ 50165 h 138429"/>
                <a:gd name="connsiteX958" fmla="*/ 1261746 w 4940931"/>
                <a:gd name="connsiteY958" fmla="*/ 45085 h 138429"/>
                <a:gd name="connsiteX959" fmla="*/ 1250951 w 4940931"/>
                <a:gd name="connsiteY959" fmla="*/ 43180 h 138429"/>
                <a:gd name="connsiteX960" fmla="*/ 1242696 w 4940931"/>
                <a:gd name="connsiteY960" fmla="*/ 45085 h 138429"/>
                <a:gd name="connsiteX961" fmla="*/ 1240156 w 4940931"/>
                <a:gd name="connsiteY961" fmla="*/ 50165 h 138429"/>
                <a:gd name="connsiteX962" fmla="*/ 1240156 w 4940931"/>
                <a:gd name="connsiteY962" fmla="*/ 52705 h 138429"/>
                <a:gd name="connsiteX963" fmla="*/ 1242061 w 4940931"/>
                <a:gd name="connsiteY963" fmla="*/ 55245 h 138429"/>
                <a:gd name="connsiteX964" fmla="*/ 1246506 w 4940931"/>
                <a:gd name="connsiteY964" fmla="*/ 57785 h 138429"/>
                <a:gd name="connsiteX965" fmla="*/ 1253491 w 4940931"/>
                <a:gd name="connsiteY965" fmla="*/ 60960 h 138429"/>
                <a:gd name="connsiteX966" fmla="*/ 1264921 w 4940931"/>
                <a:gd name="connsiteY966" fmla="*/ 66040 h 138429"/>
                <a:gd name="connsiteX967" fmla="*/ 1273176 w 4940931"/>
                <a:gd name="connsiteY967" fmla="*/ 71120 h 138429"/>
                <a:gd name="connsiteX968" fmla="*/ 1278256 w 4940931"/>
                <a:gd name="connsiteY968" fmla="*/ 78105 h 138429"/>
                <a:gd name="connsiteX969" fmla="*/ 1280161 w 4940931"/>
                <a:gd name="connsiteY969" fmla="*/ 87630 h 138429"/>
                <a:gd name="connsiteX970" fmla="*/ 1277621 w 4940931"/>
                <a:gd name="connsiteY970" fmla="*/ 98425 h 138429"/>
                <a:gd name="connsiteX971" fmla="*/ 1271271 w 4940931"/>
                <a:gd name="connsiteY971" fmla="*/ 105410 h 138429"/>
                <a:gd name="connsiteX972" fmla="*/ 1261746 w 4940931"/>
                <a:gd name="connsiteY972" fmla="*/ 109220 h 138429"/>
                <a:gd name="connsiteX973" fmla="*/ 1250951 w 4940931"/>
                <a:gd name="connsiteY973" fmla="*/ 110490 h 138429"/>
                <a:gd name="connsiteX974" fmla="*/ 1235711 w 4940931"/>
                <a:gd name="connsiteY974" fmla="*/ 107950 h 138429"/>
                <a:gd name="connsiteX975" fmla="*/ 1221106 w 4940931"/>
                <a:gd name="connsiteY975" fmla="*/ 100965 h 138429"/>
                <a:gd name="connsiteX976" fmla="*/ 1228091 w 4940931"/>
                <a:gd name="connsiteY976" fmla="*/ 89535 h 138429"/>
                <a:gd name="connsiteX977" fmla="*/ 1239521 w 4940931"/>
                <a:gd name="connsiteY977" fmla="*/ 95250 h 138429"/>
                <a:gd name="connsiteX978" fmla="*/ 1250951 w 4940931"/>
                <a:gd name="connsiteY978" fmla="*/ 97155 h 138429"/>
                <a:gd name="connsiteX979" fmla="*/ 1261746 w 4940931"/>
                <a:gd name="connsiteY979" fmla="*/ 94615 h 138429"/>
                <a:gd name="connsiteX980" fmla="*/ 1264921 w 4940931"/>
                <a:gd name="connsiteY980" fmla="*/ 88265 h 138429"/>
                <a:gd name="connsiteX981" fmla="*/ 1263650 w 4940931"/>
                <a:gd name="connsiteY981" fmla="*/ 84455 h 138429"/>
                <a:gd name="connsiteX982" fmla="*/ 1259841 w 4940931"/>
                <a:gd name="connsiteY982" fmla="*/ 81280 h 138429"/>
                <a:gd name="connsiteX983" fmla="*/ 1254125 w 4940931"/>
                <a:gd name="connsiteY983" fmla="*/ 78105 h 138429"/>
                <a:gd name="connsiteX984" fmla="*/ 1246506 w 4940931"/>
                <a:gd name="connsiteY984" fmla="*/ 74930 h 138429"/>
                <a:gd name="connsiteX985" fmla="*/ 1235711 w 4940931"/>
                <a:gd name="connsiteY985" fmla="*/ 69850 h 138429"/>
                <a:gd name="connsiteX986" fmla="*/ 1228726 w 4940931"/>
                <a:gd name="connsiteY986" fmla="*/ 64770 h 138429"/>
                <a:gd name="connsiteX987" fmla="*/ 1224916 w 4940931"/>
                <a:gd name="connsiteY987" fmla="*/ 58420 h 138429"/>
                <a:gd name="connsiteX988" fmla="*/ 1223646 w 4940931"/>
                <a:gd name="connsiteY988" fmla="*/ 50165 h 138429"/>
                <a:gd name="connsiteX989" fmla="*/ 1225551 w 4940931"/>
                <a:gd name="connsiteY989" fmla="*/ 40640 h 138429"/>
                <a:gd name="connsiteX990" fmla="*/ 1231266 w 4940931"/>
                <a:gd name="connsiteY990" fmla="*/ 34290 h 138429"/>
                <a:gd name="connsiteX991" fmla="*/ 1239521 w 4940931"/>
                <a:gd name="connsiteY991" fmla="*/ 30480 h 138429"/>
                <a:gd name="connsiteX992" fmla="*/ 1250316 w 4940931"/>
                <a:gd name="connsiteY992" fmla="*/ 29210 h 138429"/>
                <a:gd name="connsiteX993" fmla="*/ 1180466 w 4940931"/>
                <a:gd name="connsiteY993" fmla="*/ 29210 h 138429"/>
                <a:gd name="connsiteX994" fmla="*/ 1195071 w 4940931"/>
                <a:gd name="connsiteY994" fmla="*/ 32385 h 138429"/>
                <a:gd name="connsiteX995" fmla="*/ 1205231 w 4940931"/>
                <a:gd name="connsiteY995" fmla="*/ 40640 h 138429"/>
                <a:gd name="connsiteX996" fmla="*/ 1211581 w 4940931"/>
                <a:gd name="connsiteY996" fmla="*/ 53340 h 138429"/>
                <a:gd name="connsiteX997" fmla="*/ 1213486 w 4940931"/>
                <a:gd name="connsiteY997" fmla="*/ 68580 h 138429"/>
                <a:gd name="connsiteX998" fmla="*/ 1212216 w 4940931"/>
                <a:gd name="connsiteY998" fmla="*/ 68580 h 138429"/>
                <a:gd name="connsiteX999" fmla="*/ 1212216 w 4940931"/>
                <a:gd name="connsiteY999" fmla="*/ 72390 h 138429"/>
                <a:gd name="connsiteX1000" fmla="*/ 1212216 w 4940931"/>
                <a:gd name="connsiteY1000" fmla="*/ 75565 h 138429"/>
                <a:gd name="connsiteX1001" fmla="*/ 1160781 w 4940931"/>
                <a:gd name="connsiteY1001" fmla="*/ 75565 h 138429"/>
                <a:gd name="connsiteX1002" fmla="*/ 1163321 w 4940931"/>
                <a:gd name="connsiteY1002" fmla="*/ 85090 h 138429"/>
                <a:gd name="connsiteX1003" fmla="*/ 1167766 w 4940931"/>
                <a:gd name="connsiteY1003" fmla="*/ 91440 h 138429"/>
                <a:gd name="connsiteX1004" fmla="*/ 1173481 w 4940931"/>
                <a:gd name="connsiteY1004" fmla="*/ 95250 h 138429"/>
                <a:gd name="connsiteX1005" fmla="*/ 1180466 w 4940931"/>
                <a:gd name="connsiteY1005" fmla="*/ 96520 h 138429"/>
                <a:gd name="connsiteX1006" fmla="*/ 1185546 w 4940931"/>
                <a:gd name="connsiteY1006" fmla="*/ 96520 h 138429"/>
                <a:gd name="connsiteX1007" fmla="*/ 1189991 w 4940931"/>
                <a:gd name="connsiteY1007" fmla="*/ 95250 h 138429"/>
                <a:gd name="connsiteX1008" fmla="*/ 1193801 w 4940931"/>
                <a:gd name="connsiteY1008" fmla="*/ 93345 h 138429"/>
                <a:gd name="connsiteX1009" fmla="*/ 1198246 w 4940931"/>
                <a:gd name="connsiteY1009" fmla="*/ 90805 h 138429"/>
                <a:gd name="connsiteX1010" fmla="*/ 1207136 w 4940931"/>
                <a:gd name="connsiteY1010" fmla="*/ 100330 h 138429"/>
                <a:gd name="connsiteX1011" fmla="*/ 1201421 w 4940931"/>
                <a:gd name="connsiteY1011" fmla="*/ 104775 h 138429"/>
                <a:gd name="connsiteX1012" fmla="*/ 1195706 w 4940931"/>
                <a:gd name="connsiteY1012" fmla="*/ 107950 h 138429"/>
                <a:gd name="connsiteX1013" fmla="*/ 1188721 w 4940931"/>
                <a:gd name="connsiteY1013" fmla="*/ 109855 h 138429"/>
                <a:gd name="connsiteX1014" fmla="*/ 1179831 w 4940931"/>
                <a:gd name="connsiteY1014" fmla="*/ 110490 h 138429"/>
                <a:gd name="connsiteX1015" fmla="*/ 1170306 w 4940931"/>
                <a:gd name="connsiteY1015" fmla="*/ 109220 h 138429"/>
                <a:gd name="connsiteX1016" fmla="*/ 1162686 w 4940931"/>
                <a:gd name="connsiteY1016" fmla="*/ 105410 h 138429"/>
                <a:gd name="connsiteX1017" fmla="*/ 1156336 w 4940931"/>
                <a:gd name="connsiteY1017" fmla="*/ 100330 h 138429"/>
                <a:gd name="connsiteX1018" fmla="*/ 1151256 w 4940931"/>
                <a:gd name="connsiteY1018" fmla="*/ 92710 h 138429"/>
                <a:gd name="connsiteX1019" fmla="*/ 1147446 w 4940931"/>
                <a:gd name="connsiteY1019" fmla="*/ 82550 h 138429"/>
                <a:gd name="connsiteX1020" fmla="*/ 1146176 w 4940931"/>
                <a:gd name="connsiteY1020" fmla="*/ 69850 h 138429"/>
                <a:gd name="connsiteX1021" fmla="*/ 1148716 w 4940931"/>
                <a:gd name="connsiteY1021" fmla="*/ 52070 h 138429"/>
                <a:gd name="connsiteX1022" fmla="*/ 1155701 w 4940931"/>
                <a:gd name="connsiteY1022" fmla="*/ 39370 h 138429"/>
                <a:gd name="connsiteX1023" fmla="*/ 1166496 w 4940931"/>
                <a:gd name="connsiteY1023" fmla="*/ 31750 h 138429"/>
                <a:gd name="connsiteX1024" fmla="*/ 1180466 w 4940931"/>
                <a:gd name="connsiteY1024" fmla="*/ 29210 h 138429"/>
                <a:gd name="connsiteX1025" fmla="*/ 901065 w 4940931"/>
                <a:gd name="connsiteY1025" fmla="*/ 29210 h 138429"/>
                <a:gd name="connsiteX1026" fmla="*/ 915670 w 4940931"/>
                <a:gd name="connsiteY1026" fmla="*/ 32385 h 138429"/>
                <a:gd name="connsiteX1027" fmla="*/ 925830 w 4940931"/>
                <a:gd name="connsiteY1027" fmla="*/ 40640 h 138429"/>
                <a:gd name="connsiteX1028" fmla="*/ 932180 w 4940931"/>
                <a:gd name="connsiteY1028" fmla="*/ 53340 h 138429"/>
                <a:gd name="connsiteX1029" fmla="*/ 934085 w 4940931"/>
                <a:gd name="connsiteY1029" fmla="*/ 68580 h 138429"/>
                <a:gd name="connsiteX1030" fmla="*/ 932815 w 4940931"/>
                <a:gd name="connsiteY1030" fmla="*/ 68580 h 138429"/>
                <a:gd name="connsiteX1031" fmla="*/ 932815 w 4940931"/>
                <a:gd name="connsiteY1031" fmla="*/ 72390 h 138429"/>
                <a:gd name="connsiteX1032" fmla="*/ 932815 w 4940931"/>
                <a:gd name="connsiteY1032" fmla="*/ 75565 h 138429"/>
                <a:gd name="connsiteX1033" fmla="*/ 881380 w 4940931"/>
                <a:gd name="connsiteY1033" fmla="*/ 75565 h 138429"/>
                <a:gd name="connsiteX1034" fmla="*/ 883920 w 4940931"/>
                <a:gd name="connsiteY1034" fmla="*/ 85090 h 138429"/>
                <a:gd name="connsiteX1035" fmla="*/ 888365 w 4940931"/>
                <a:gd name="connsiteY1035" fmla="*/ 91440 h 138429"/>
                <a:gd name="connsiteX1036" fmla="*/ 894080 w 4940931"/>
                <a:gd name="connsiteY1036" fmla="*/ 95250 h 138429"/>
                <a:gd name="connsiteX1037" fmla="*/ 901065 w 4940931"/>
                <a:gd name="connsiteY1037" fmla="*/ 96520 h 138429"/>
                <a:gd name="connsiteX1038" fmla="*/ 906145 w 4940931"/>
                <a:gd name="connsiteY1038" fmla="*/ 96520 h 138429"/>
                <a:gd name="connsiteX1039" fmla="*/ 910590 w 4940931"/>
                <a:gd name="connsiteY1039" fmla="*/ 95250 h 138429"/>
                <a:gd name="connsiteX1040" fmla="*/ 914400 w 4940931"/>
                <a:gd name="connsiteY1040" fmla="*/ 93345 h 138429"/>
                <a:gd name="connsiteX1041" fmla="*/ 918845 w 4940931"/>
                <a:gd name="connsiteY1041" fmla="*/ 90805 h 138429"/>
                <a:gd name="connsiteX1042" fmla="*/ 927735 w 4940931"/>
                <a:gd name="connsiteY1042" fmla="*/ 100330 h 138429"/>
                <a:gd name="connsiteX1043" fmla="*/ 922020 w 4940931"/>
                <a:gd name="connsiteY1043" fmla="*/ 104775 h 138429"/>
                <a:gd name="connsiteX1044" fmla="*/ 916305 w 4940931"/>
                <a:gd name="connsiteY1044" fmla="*/ 107950 h 138429"/>
                <a:gd name="connsiteX1045" fmla="*/ 909320 w 4940931"/>
                <a:gd name="connsiteY1045" fmla="*/ 109855 h 138429"/>
                <a:gd name="connsiteX1046" fmla="*/ 900430 w 4940931"/>
                <a:gd name="connsiteY1046" fmla="*/ 110490 h 138429"/>
                <a:gd name="connsiteX1047" fmla="*/ 890905 w 4940931"/>
                <a:gd name="connsiteY1047" fmla="*/ 109220 h 138429"/>
                <a:gd name="connsiteX1048" fmla="*/ 883285 w 4940931"/>
                <a:gd name="connsiteY1048" fmla="*/ 105410 h 138429"/>
                <a:gd name="connsiteX1049" fmla="*/ 876935 w 4940931"/>
                <a:gd name="connsiteY1049" fmla="*/ 100330 h 138429"/>
                <a:gd name="connsiteX1050" fmla="*/ 871855 w 4940931"/>
                <a:gd name="connsiteY1050" fmla="*/ 92710 h 138429"/>
                <a:gd name="connsiteX1051" fmla="*/ 868045 w 4940931"/>
                <a:gd name="connsiteY1051" fmla="*/ 82550 h 138429"/>
                <a:gd name="connsiteX1052" fmla="*/ 866775 w 4940931"/>
                <a:gd name="connsiteY1052" fmla="*/ 69850 h 138429"/>
                <a:gd name="connsiteX1053" fmla="*/ 869315 w 4940931"/>
                <a:gd name="connsiteY1053" fmla="*/ 52070 h 138429"/>
                <a:gd name="connsiteX1054" fmla="*/ 876300 w 4940931"/>
                <a:gd name="connsiteY1054" fmla="*/ 39370 h 138429"/>
                <a:gd name="connsiteX1055" fmla="*/ 887095 w 4940931"/>
                <a:gd name="connsiteY1055" fmla="*/ 31750 h 138429"/>
                <a:gd name="connsiteX1056" fmla="*/ 901065 w 4940931"/>
                <a:gd name="connsiteY1056" fmla="*/ 29210 h 138429"/>
                <a:gd name="connsiteX1057" fmla="*/ 668656 w 4940931"/>
                <a:gd name="connsiteY1057" fmla="*/ 29210 h 138429"/>
                <a:gd name="connsiteX1058" fmla="*/ 676275 w 4940931"/>
                <a:gd name="connsiteY1058" fmla="*/ 29845 h 138429"/>
                <a:gd name="connsiteX1059" fmla="*/ 681991 w 4940931"/>
                <a:gd name="connsiteY1059" fmla="*/ 32385 h 138429"/>
                <a:gd name="connsiteX1060" fmla="*/ 678181 w 4940931"/>
                <a:gd name="connsiteY1060" fmla="*/ 46990 h 138429"/>
                <a:gd name="connsiteX1061" fmla="*/ 676910 w 4940931"/>
                <a:gd name="connsiteY1061" fmla="*/ 46990 h 138429"/>
                <a:gd name="connsiteX1062" fmla="*/ 671830 w 4940931"/>
                <a:gd name="connsiteY1062" fmla="*/ 45085 h 138429"/>
                <a:gd name="connsiteX1063" fmla="*/ 665480 w 4940931"/>
                <a:gd name="connsiteY1063" fmla="*/ 44450 h 138429"/>
                <a:gd name="connsiteX1064" fmla="*/ 654050 w 4940931"/>
                <a:gd name="connsiteY1064" fmla="*/ 49530 h 138429"/>
                <a:gd name="connsiteX1065" fmla="*/ 650240 w 4940931"/>
                <a:gd name="connsiteY1065" fmla="*/ 64770 h 138429"/>
                <a:gd name="connsiteX1066" fmla="*/ 650240 w 4940931"/>
                <a:gd name="connsiteY1066" fmla="*/ 109220 h 138429"/>
                <a:gd name="connsiteX1067" fmla="*/ 635000 w 4940931"/>
                <a:gd name="connsiteY1067" fmla="*/ 109220 h 138429"/>
                <a:gd name="connsiteX1068" fmla="*/ 635000 w 4940931"/>
                <a:gd name="connsiteY1068" fmla="*/ 31115 h 138429"/>
                <a:gd name="connsiteX1069" fmla="*/ 650240 w 4940931"/>
                <a:gd name="connsiteY1069" fmla="*/ 31115 h 138429"/>
                <a:gd name="connsiteX1070" fmla="*/ 650240 w 4940931"/>
                <a:gd name="connsiteY1070" fmla="*/ 38735 h 138429"/>
                <a:gd name="connsiteX1071" fmla="*/ 653416 w 4940931"/>
                <a:gd name="connsiteY1071" fmla="*/ 34925 h 138429"/>
                <a:gd name="connsiteX1072" fmla="*/ 657861 w 4940931"/>
                <a:gd name="connsiteY1072" fmla="*/ 31750 h 138429"/>
                <a:gd name="connsiteX1073" fmla="*/ 662940 w 4940931"/>
                <a:gd name="connsiteY1073" fmla="*/ 29845 h 138429"/>
                <a:gd name="connsiteX1074" fmla="*/ 668656 w 4940931"/>
                <a:gd name="connsiteY1074" fmla="*/ 29210 h 138429"/>
                <a:gd name="connsiteX1075" fmla="*/ 586739 w 4940931"/>
                <a:gd name="connsiteY1075" fmla="*/ 29210 h 138429"/>
                <a:gd name="connsiteX1076" fmla="*/ 601344 w 4940931"/>
                <a:gd name="connsiteY1076" fmla="*/ 32385 h 138429"/>
                <a:gd name="connsiteX1077" fmla="*/ 611504 w 4940931"/>
                <a:gd name="connsiteY1077" fmla="*/ 40640 h 138429"/>
                <a:gd name="connsiteX1078" fmla="*/ 617854 w 4940931"/>
                <a:gd name="connsiteY1078" fmla="*/ 53340 h 138429"/>
                <a:gd name="connsiteX1079" fmla="*/ 619759 w 4940931"/>
                <a:gd name="connsiteY1079" fmla="*/ 68580 h 138429"/>
                <a:gd name="connsiteX1080" fmla="*/ 618489 w 4940931"/>
                <a:gd name="connsiteY1080" fmla="*/ 68580 h 138429"/>
                <a:gd name="connsiteX1081" fmla="*/ 618489 w 4940931"/>
                <a:gd name="connsiteY1081" fmla="*/ 72390 h 138429"/>
                <a:gd name="connsiteX1082" fmla="*/ 618489 w 4940931"/>
                <a:gd name="connsiteY1082" fmla="*/ 75565 h 138429"/>
                <a:gd name="connsiteX1083" fmla="*/ 567054 w 4940931"/>
                <a:gd name="connsiteY1083" fmla="*/ 75565 h 138429"/>
                <a:gd name="connsiteX1084" fmla="*/ 569594 w 4940931"/>
                <a:gd name="connsiteY1084" fmla="*/ 85090 h 138429"/>
                <a:gd name="connsiteX1085" fmla="*/ 574039 w 4940931"/>
                <a:gd name="connsiteY1085" fmla="*/ 91440 h 138429"/>
                <a:gd name="connsiteX1086" fmla="*/ 579754 w 4940931"/>
                <a:gd name="connsiteY1086" fmla="*/ 95250 h 138429"/>
                <a:gd name="connsiteX1087" fmla="*/ 586739 w 4940931"/>
                <a:gd name="connsiteY1087" fmla="*/ 96520 h 138429"/>
                <a:gd name="connsiteX1088" fmla="*/ 591819 w 4940931"/>
                <a:gd name="connsiteY1088" fmla="*/ 96520 h 138429"/>
                <a:gd name="connsiteX1089" fmla="*/ 596264 w 4940931"/>
                <a:gd name="connsiteY1089" fmla="*/ 95250 h 138429"/>
                <a:gd name="connsiteX1090" fmla="*/ 600074 w 4940931"/>
                <a:gd name="connsiteY1090" fmla="*/ 93345 h 138429"/>
                <a:gd name="connsiteX1091" fmla="*/ 604519 w 4940931"/>
                <a:gd name="connsiteY1091" fmla="*/ 90805 h 138429"/>
                <a:gd name="connsiteX1092" fmla="*/ 613409 w 4940931"/>
                <a:gd name="connsiteY1092" fmla="*/ 100330 h 138429"/>
                <a:gd name="connsiteX1093" fmla="*/ 607694 w 4940931"/>
                <a:gd name="connsiteY1093" fmla="*/ 104775 h 138429"/>
                <a:gd name="connsiteX1094" fmla="*/ 601979 w 4940931"/>
                <a:gd name="connsiteY1094" fmla="*/ 107950 h 138429"/>
                <a:gd name="connsiteX1095" fmla="*/ 594994 w 4940931"/>
                <a:gd name="connsiteY1095" fmla="*/ 109855 h 138429"/>
                <a:gd name="connsiteX1096" fmla="*/ 586104 w 4940931"/>
                <a:gd name="connsiteY1096" fmla="*/ 110490 h 138429"/>
                <a:gd name="connsiteX1097" fmla="*/ 576579 w 4940931"/>
                <a:gd name="connsiteY1097" fmla="*/ 109220 h 138429"/>
                <a:gd name="connsiteX1098" fmla="*/ 568959 w 4940931"/>
                <a:gd name="connsiteY1098" fmla="*/ 105410 h 138429"/>
                <a:gd name="connsiteX1099" fmla="*/ 562609 w 4940931"/>
                <a:gd name="connsiteY1099" fmla="*/ 100330 h 138429"/>
                <a:gd name="connsiteX1100" fmla="*/ 557529 w 4940931"/>
                <a:gd name="connsiteY1100" fmla="*/ 92710 h 138429"/>
                <a:gd name="connsiteX1101" fmla="*/ 553719 w 4940931"/>
                <a:gd name="connsiteY1101" fmla="*/ 82550 h 138429"/>
                <a:gd name="connsiteX1102" fmla="*/ 552449 w 4940931"/>
                <a:gd name="connsiteY1102" fmla="*/ 69850 h 138429"/>
                <a:gd name="connsiteX1103" fmla="*/ 554989 w 4940931"/>
                <a:gd name="connsiteY1103" fmla="*/ 52070 h 138429"/>
                <a:gd name="connsiteX1104" fmla="*/ 561974 w 4940931"/>
                <a:gd name="connsiteY1104" fmla="*/ 39370 h 138429"/>
                <a:gd name="connsiteX1105" fmla="*/ 572769 w 4940931"/>
                <a:gd name="connsiteY1105" fmla="*/ 31750 h 138429"/>
                <a:gd name="connsiteX1106" fmla="*/ 586739 w 4940931"/>
                <a:gd name="connsiteY1106" fmla="*/ 29210 h 138429"/>
                <a:gd name="connsiteX1107" fmla="*/ 400050 w 4940931"/>
                <a:gd name="connsiteY1107" fmla="*/ 29210 h 138429"/>
                <a:gd name="connsiteX1108" fmla="*/ 414655 w 4940931"/>
                <a:gd name="connsiteY1108" fmla="*/ 32385 h 138429"/>
                <a:gd name="connsiteX1109" fmla="*/ 424815 w 4940931"/>
                <a:gd name="connsiteY1109" fmla="*/ 40640 h 138429"/>
                <a:gd name="connsiteX1110" fmla="*/ 431165 w 4940931"/>
                <a:gd name="connsiteY1110" fmla="*/ 53340 h 138429"/>
                <a:gd name="connsiteX1111" fmla="*/ 433070 w 4940931"/>
                <a:gd name="connsiteY1111" fmla="*/ 68580 h 138429"/>
                <a:gd name="connsiteX1112" fmla="*/ 431800 w 4940931"/>
                <a:gd name="connsiteY1112" fmla="*/ 68580 h 138429"/>
                <a:gd name="connsiteX1113" fmla="*/ 431800 w 4940931"/>
                <a:gd name="connsiteY1113" fmla="*/ 72390 h 138429"/>
                <a:gd name="connsiteX1114" fmla="*/ 431800 w 4940931"/>
                <a:gd name="connsiteY1114" fmla="*/ 75565 h 138429"/>
                <a:gd name="connsiteX1115" fmla="*/ 380365 w 4940931"/>
                <a:gd name="connsiteY1115" fmla="*/ 75565 h 138429"/>
                <a:gd name="connsiteX1116" fmla="*/ 382905 w 4940931"/>
                <a:gd name="connsiteY1116" fmla="*/ 85090 h 138429"/>
                <a:gd name="connsiteX1117" fmla="*/ 387350 w 4940931"/>
                <a:gd name="connsiteY1117" fmla="*/ 91440 h 138429"/>
                <a:gd name="connsiteX1118" fmla="*/ 393065 w 4940931"/>
                <a:gd name="connsiteY1118" fmla="*/ 95250 h 138429"/>
                <a:gd name="connsiteX1119" fmla="*/ 400050 w 4940931"/>
                <a:gd name="connsiteY1119" fmla="*/ 96520 h 138429"/>
                <a:gd name="connsiteX1120" fmla="*/ 405130 w 4940931"/>
                <a:gd name="connsiteY1120" fmla="*/ 96520 h 138429"/>
                <a:gd name="connsiteX1121" fmla="*/ 409575 w 4940931"/>
                <a:gd name="connsiteY1121" fmla="*/ 95250 h 138429"/>
                <a:gd name="connsiteX1122" fmla="*/ 413385 w 4940931"/>
                <a:gd name="connsiteY1122" fmla="*/ 93345 h 138429"/>
                <a:gd name="connsiteX1123" fmla="*/ 417830 w 4940931"/>
                <a:gd name="connsiteY1123" fmla="*/ 90805 h 138429"/>
                <a:gd name="connsiteX1124" fmla="*/ 426720 w 4940931"/>
                <a:gd name="connsiteY1124" fmla="*/ 100330 h 138429"/>
                <a:gd name="connsiteX1125" fmla="*/ 421005 w 4940931"/>
                <a:gd name="connsiteY1125" fmla="*/ 104775 h 138429"/>
                <a:gd name="connsiteX1126" fmla="*/ 415290 w 4940931"/>
                <a:gd name="connsiteY1126" fmla="*/ 107950 h 138429"/>
                <a:gd name="connsiteX1127" fmla="*/ 408305 w 4940931"/>
                <a:gd name="connsiteY1127" fmla="*/ 109855 h 138429"/>
                <a:gd name="connsiteX1128" fmla="*/ 399415 w 4940931"/>
                <a:gd name="connsiteY1128" fmla="*/ 110490 h 138429"/>
                <a:gd name="connsiteX1129" fmla="*/ 389890 w 4940931"/>
                <a:gd name="connsiteY1129" fmla="*/ 109220 h 138429"/>
                <a:gd name="connsiteX1130" fmla="*/ 382270 w 4940931"/>
                <a:gd name="connsiteY1130" fmla="*/ 105410 h 138429"/>
                <a:gd name="connsiteX1131" fmla="*/ 375920 w 4940931"/>
                <a:gd name="connsiteY1131" fmla="*/ 100330 h 138429"/>
                <a:gd name="connsiteX1132" fmla="*/ 370840 w 4940931"/>
                <a:gd name="connsiteY1132" fmla="*/ 92710 h 138429"/>
                <a:gd name="connsiteX1133" fmla="*/ 367030 w 4940931"/>
                <a:gd name="connsiteY1133" fmla="*/ 82550 h 138429"/>
                <a:gd name="connsiteX1134" fmla="*/ 365760 w 4940931"/>
                <a:gd name="connsiteY1134" fmla="*/ 69850 h 138429"/>
                <a:gd name="connsiteX1135" fmla="*/ 368300 w 4940931"/>
                <a:gd name="connsiteY1135" fmla="*/ 52070 h 138429"/>
                <a:gd name="connsiteX1136" fmla="*/ 375285 w 4940931"/>
                <a:gd name="connsiteY1136" fmla="*/ 39370 h 138429"/>
                <a:gd name="connsiteX1137" fmla="*/ 386080 w 4940931"/>
                <a:gd name="connsiteY1137" fmla="*/ 31750 h 138429"/>
                <a:gd name="connsiteX1138" fmla="*/ 400050 w 4940931"/>
                <a:gd name="connsiteY1138" fmla="*/ 29210 h 138429"/>
                <a:gd name="connsiteX1139" fmla="*/ 201930 w 4940931"/>
                <a:gd name="connsiteY1139" fmla="*/ 29210 h 138429"/>
                <a:gd name="connsiteX1140" fmla="*/ 216535 w 4940931"/>
                <a:gd name="connsiteY1140" fmla="*/ 32385 h 138429"/>
                <a:gd name="connsiteX1141" fmla="*/ 226695 w 4940931"/>
                <a:gd name="connsiteY1141" fmla="*/ 40640 h 138429"/>
                <a:gd name="connsiteX1142" fmla="*/ 233045 w 4940931"/>
                <a:gd name="connsiteY1142" fmla="*/ 53340 h 138429"/>
                <a:gd name="connsiteX1143" fmla="*/ 234950 w 4940931"/>
                <a:gd name="connsiteY1143" fmla="*/ 68580 h 138429"/>
                <a:gd name="connsiteX1144" fmla="*/ 233680 w 4940931"/>
                <a:gd name="connsiteY1144" fmla="*/ 68580 h 138429"/>
                <a:gd name="connsiteX1145" fmla="*/ 233680 w 4940931"/>
                <a:gd name="connsiteY1145" fmla="*/ 72390 h 138429"/>
                <a:gd name="connsiteX1146" fmla="*/ 233680 w 4940931"/>
                <a:gd name="connsiteY1146" fmla="*/ 75565 h 138429"/>
                <a:gd name="connsiteX1147" fmla="*/ 182245 w 4940931"/>
                <a:gd name="connsiteY1147" fmla="*/ 75565 h 138429"/>
                <a:gd name="connsiteX1148" fmla="*/ 184785 w 4940931"/>
                <a:gd name="connsiteY1148" fmla="*/ 85090 h 138429"/>
                <a:gd name="connsiteX1149" fmla="*/ 189230 w 4940931"/>
                <a:gd name="connsiteY1149" fmla="*/ 91440 h 138429"/>
                <a:gd name="connsiteX1150" fmla="*/ 194945 w 4940931"/>
                <a:gd name="connsiteY1150" fmla="*/ 95250 h 138429"/>
                <a:gd name="connsiteX1151" fmla="*/ 201930 w 4940931"/>
                <a:gd name="connsiteY1151" fmla="*/ 96520 h 138429"/>
                <a:gd name="connsiteX1152" fmla="*/ 207010 w 4940931"/>
                <a:gd name="connsiteY1152" fmla="*/ 96520 h 138429"/>
                <a:gd name="connsiteX1153" fmla="*/ 211455 w 4940931"/>
                <a:gd name="connsiteY1153" fmla="*/ 95250 h 138429"/>
                <a:gd name="connsiteX1154" fmla="*/ 215265 w 4940931"/>
                <a:gd name="connsiteY1154" fmla="*/ 93345 h 138429"/>
                <a:gd name="connsiteX1155" fmla="*/ 219710 w 4940931"/>
                <a:gd name="connsiteY1155" fmla="*/ 90805 h 138429"/>
                <a:gd name="connsiteX1156" fmla="*/ 228600 w 4940931"/>
                <a:gd name="connsiteY1156" fmla="*/ 100330 h 138429"/>
                <a:gd name="connsiteX1157" fmla="*/ 222885 w 4940931"/>
                <a:gd name="connsiteY1157" fmla="*/ 104775 h 138429"/>
                <a:gd name="connsiteX1158" fmla="*/ 217170 w 4940931"/>
                <a:gd name="connsiteY1158" fmla="*/ 107950 h 138429"/>
                <a:gd name="connsiteX1159" fmla="*/ 210185 w 4940931"/>
                <a:gd name="connsiteY1159" fmla="*/ 109855 h 138429"/>
                <a:gd name="connsiteX1160" fmla="*/ 201295 w 4940931"/>
                <a:gd name="connsiteY1160" fmla="*/ 110490 h 138429"/>
                <a:gd name="connsiteX1161" fmla="*/ 191770 w 4940931"/>
                <a:gd name="connsiteY1161" fmla="*/ 109220 h 138429"/>
                <a:gd name="connsiteX1162" fmla="*/ 184150 w 4940931"/>
                <a:gd name="connsiteY1162" fmla="*/ 105410 h 138429"/>
                <a:gd name="connsiteX1163" fmla="*/ 177800 w 4940931"/>
                <a:gd name="connsiteY1163" fmla="*/ 100330 h 138429"/>
                <a:gd name="connsiteX1164" fmla="*/ 172720 w 4940931"/>
                <a:gd name="connsiteY1164" fmla="*/ 92710 h 138429"/>
                <a:gd name="connsiteX1165" fmla="*/ 168910 w 4940931"/>
                <a:gd name="connsiteY1165" fmla="*/ 82550 h 138429"/>
                <a:gd name="connsiteX1166" fmla="*/ 167640 w 4940931"/>
                <a:gd name="connsiteY1166" fmla="*/ 69850 h 138429"/>
                <a:gd name="connsiteX1167" fmla="*/ 170180 w 4940931"/>
                <a:gd name="connsiteY1167" fmla="*/ 52070 h 138429"/>
                <a:gd name="connsiteX1168" fmla="*/ 177165 w 4940931"/>
                <a:gd name="connsiteY1168" fmla="*/ 39370 h 138429"/>
                <a:gd name="connsiteX1169" fmla="*/ 187960 w 4940931"/>
                <a:gd name="connsiteY1169" fmla="*/ 31750 h 138429"/>
                <a:gd name="connsiteX1170" fmla="*/ 201930 w 4940931"/>
                <a:gd name="connsiteY1170" fmla="*/ 29210 h 138429"/>
                <a:gd name="connsiteX1171" fmla="*/ 4664706 w 4940931"/>
                <a:gd name="connsiteY1171" fmla="*/ 28574 h 138429"/>
                <a:gd name="connsiteX1172" fmla="*/ 4678676 w 4940931"/>
                <a:gd name="connsiteY1172" fmla="*/ 31749 h 138429"/>
                <a:gd name="connsiteX1173" fmla="*/ 4689471 w 4940931"/>
                <a:gd name="connsiteY1173" fmla="*/ 40004 h 138429"/>
                <a:gd name="connsiteX1174" fmla="*/ 4696456 w 4940931"/>
                <a:gd name="connsiteY1174" fmla="*/ 52704 h 138429"/>
                <a:gd name="connsiteX1175" fmla="*/ 4698996 w 4940931"/>
                <a:gd name="connsiteY1175" fmla="*/ 69214 h 138429"/>
                <a:gd name="connsiteX1176" fmla="*/ 4699631 w 4940931"/>
                <a:gd name="connsiteY1176" fmla="*/ 69214 h 138429"/>
                <a:gd name="connsiteX1177" fmla="*/ 4697091 w 4940931"/>
                <a:gd name="connsiteY1177" fmla="*/ 86359 h 138429"/>
                <a:gd name="connsiteX1178" fmla="*/ 4689471 w 4940931"/>
                <a:gd name="connsiteY1178" fmla="*/ 99059 h 138429"/>
                <a:gd name="connsiteX1179" fmla="*/ 4678041 w 4940931"/>
                <a:gd name="connsiteY1179" fmla="*/ 107314 h 138429"/>
                <a:gd name="connsiteX1180" fmla="*/ 4664071 w 4940931"/>
                <a:gd name="connsiteY1180" fmla="*/ 109854 h 138429"/>
                <a:gd name="connsiteX1181" fmla="*/ 4650101 w 4940931"/>
                <a:gd name="connsiteY1181" fmla="*/ 106679 h 138429"/>
                <a:gd name="connsiteX1182" fmla="*/ 4639306 w 4940931"/>
                <a:gd name="connsiteY1182" fmla="*/ 98424 h 138429"/>
                <a:gd name="connsiteX1183" fmla="*/ 4632321 w 4940931"/>
                <a:gd name="connsiteY1183" fmla="*/ 85724 h 138429"/>
                <a:gd name="connsiteX1184" fmla="*/ 4629781 w 4940931"/>
                <a:gd name="connsiteY1184" fmla="*/ 69214 h 138429"/>
                <a:gd name="connsiteX1185" fmla="*/ 4632321 w 4940931"/>
                <a:gd name="connsiteY1185" fmla="*/ 52069 h 138429"/>
                <a:gd name="connsiteX1186" fmla="*/ 4639941 w 4940931"/>
                <a:gd name="connsiteY1186" fmla="*/ 39369 h 138429"/>
                <a:gd name="connsiteX1187" fmla="*/ 4650736 w 4940931"/>
                <a:gd name="connsiteY1187" fmla="*/ 31114 h 138429"/>
                <a:gd name="connsiteX1188" fmla="*/ 4664706 w 4940931"/>
                <a:gd name="connsiteY1188" fmla="*/ 28574 h 138429"/>
                <a:gd name="connsiteX1189" fmla="*/ 4264655 w 4940931"/>
                <a:gd name="connsiteY1189" fmla="*/ 28574 h 138429"/>
                <a:gd name="connsiteX1190" fmla="*/ 4278625 w 4940931"/>
                <a:gd name="connsiteY1190" fmla="*/ 31749 h 138429"/>
                <a:gd name="connsiteX1191" fmla="*/ 4289420 w 4940931"/>
                <a:gd name="connsiteY1191" fmla="*/ 40004 h 138429"/>
                <a:gd name="connsiteX1192" fmla="*/ 4296405 w 4940931"/>
                <a:gd name="connsiteY1192" fmla="*/ 52704 h 138429"/>
                <a:gd name="connsiteX1193" fmla="*/ 4298945 w 4940931"/>
                <a:gd name="connsiteY1193" fmla="*/ 69214 h 138429"/>
                <a:gd name="connsiteX1194" fmla="*/ 4299580 w 4940931"/>
                <a:gd name="connsiteY1194" fmla="*/ 69214 h 138429"/>
                <a:gd name="connsiteX1195" fmla="*/ 4297040 w 4940931"/>
                <a:gd name="connsiteY1195" fmla="*/ 86359 h 138429"/>
                <a:gd name="connsiteX1196" fmla="*/ 4289420 w 4940931"/>
                <a:gd name="connsiteY1196" fmla="*/ 99059 h 138429"/>
                <a:gd name="connsiteX1197" fmla="*/ 4277990 w 4940931"/>
                <a:gd name="connsiteY1197" fmla="*/ 107314 h 138429"/>
                <a:gd name="connsiteX1198" fmla="*/ 4264020 w 4940931"/>
                <a:gd name="connsiteY1198" fmla="*/ 109854 h 138429"/>
                <a:gd name="connsiteX1199" fmla="*/ 4250050 w 4940931"/>
                <a:gd name="connsiteY1199" fmla="*/ 106679 h 138429"/>
                <a:gd name="connsiteX1200" fmla="*/ 4239255 w 4940931"/>
                <a:gd name="connsiteY1200" fmla="*/ 98424 h 138429"/>
                <a:gd name="connsiteX1201" fmla="*/ 4232270 w 4940931"/>
                <a:gd name="connsiteY1201" fmla="*/ 85724 h 138429"/>
                <a:gd name="connsiteX1202" fmla="*/ 4229730 w 4940931"/>
                <a:gd name="connsiteY1202" fmla="*/ 69214 h 138429"/>
                <a:gd name="connsiteX1203" fmla="*/ 4232270 w 4940931"/>
                <a:gd name="connsiteY1203" fmla="*/ 52069 h 138429"/>
                <a:gd name="connsiteX1204" fmla="*/ 4239890 w 4940931"/>
                <a:gd name="connsiteY1204" fmla="*/ 39369 h 138429"/>
                <a:gd name="connsiteX1205" fmla="*/ 4250685 w 4940931"/>
                <a:gd name="connsiteY1205" fmla="*/ 31114 h 138429"/>
                <a:gd name="connsiteX1206" fmla="*/ 4264655 w 4940931"/>
                <a:gd name="connsiteY1206" fmla="*/ 28574 h 138429"/>
                <a:gd name="connsiteX1207" fmla="*/ 1420495 w 4940931"/>
                <a:gd name="connsiteY1207" fmla="*/ 28574 h 138429"/>
                <a:gd name="connsiteX1208" fmla="*/ 1434465 w 4940931"/>
                <a:gd name="connsiteY1208" fmla="*/ 31749 h 138429"/>
                <a:gd name="connsiteX1209" fmla="*/ 1445260 w 4940931"/>
                <a:gd name="connsiteY1209" fmla="*/ 40004 h 138429"/>
                <a:gd name="connsiteX1210" fmla="*/ 1452245 w 4940931"/>
                <a:gd name="connsiteY1210" fmla="*/ 52704 h 138429"/>
                <a:gd name="connsiteX1211" fmla="*/ 1454785 w 4940931"/>
                <a:gd name="connsiteY1211" fmla="*/ 69214 h 138429"/>
                <a:gd name="connsiteX1212" fmla="*/ 1455420 w 4940931"/>
                <a:gd name="connsiteY1212" fmla="*/ 69214 h 138429"/>
                <a:gd name="connsiteX1213" fmla="*/ 1452880 w 4940931"/>
                <a:gd name="connsiteY1213" fmla="*/ 86359 h 138429"/>
                <a:gd name="connsiteX1214" fmla="*/ 1445260 w 4940931"/>
                <a:gd name="connsiteY1214" fmla="*/ 99059 h 138429"/>
                <a:gd name="connsiteX1215" fmla="*/ 1433830 w 4940931"/>
                <a:gd name="connsiteY1215" fmla="*/ 107314 h 138429"/>
                <a:gd name="connsiteX1216" fmla="*/ 1419860 w 4940931"/>
                <a:gd name="connsiteY1216" fmla="*/ 109854 h 138429"/>
                <a:gd name="connsiteX1217" fmla="*/ 1405890 w 4940931"/>
                <a:gd name="connsiteY1217" fmla="*/ 106679 h 138429"/>
                <a:gd name="connsiteX1218" fmla="*/ 1395095 w 4940931"/>
                <a:gd name="connsiteY1218" fmla="*/ 98424 h 138429"/>
                <a:gd name="connsiteX1219" fmla="*/ 1388110 w 4940931"/>
                <a:gd name="connsiteY1219" fmla="*/ 85724 h 138429"/>
                <a:gd name="connsiteX1220" fmla="*/ 1385570 w 4940931"/>
                <a:gd name="connsiteY1220" fmla="*/ 69214 h 138429"/>
                <a:gd name="connsiteX1221" fmla="*/ 1388110 w 4940931"/>
                <a:gd name="connsiteY1221" fmla="*/ 52069 h 138429"/>
                <a:gd name="connsiteX1222" fmla="*/ 1395730 w 4940931"/>
                <a:gd name="connsiteY1222" fmla="*/ 39369 h 138429"/>
                <a:gd name="connsiteX1223" fmla="*/ 1406525 w 4940931"/>
                <a:gd name="connsiteY1223" fmla="*/ 31114 h 138429"/>
                <a:gd name="connsiteX1224" fmla="*/ 1420495 w 4940931"/>
                <a:gd name="connsiteY1224" fmla="*/ 28574 h 138429"/>
                <a:gd name="connsiteX1225" fmla="*/ 3143245 w 4940931"/>
                <a:gd name="connsiteY1225" fmla="*/ 5079 h 138429"/>
                <a:gd name="connsiteX1226" fmla="*/ 3219445 w 4940931"/>
                <a:gd name="connsiteY1226" fmla="*/ 5079 h 138429"/>
                <a:gd name="connsiteX1227" fmla="*/ 3219445 w 4940931"/>
                <a:gd name="connsiteY1227" fmla="*/ 20319 h 138429"/>
                <a:gd name="connsiteX1228" fmla="*/ 3188965 w 4940931"/>
                <a:gd name="connsiteY1228" fmla="*/ 20319 h 138429"/>
                <a:gd name="connsiteX1229" fmla="*/ 3188965 w 4940931"/>
                <a:gd name="connsiteY1229" fmla="*/ 108584 h 138429"/>
                <a:gd name="connsiteX1230" fmla="*/ 3173090 w 4940931"/>
                <a:gd name="connsiteY1230" fmla="*/ 108584 h 138429"/>
                <a:gd name="connsiteX1231" fmla="*/ 3173090 w 4940931"/>
                <a:gd name="connsiteY1231" fmla="*/ 20319 h 138429"/>
                <a:gd name="connsiteX1232" fmla="*/ 3143245 w 4940931"/>
                <a:gd name="connsiteY1232" fmla="*/ 20319 h 138429"/>
                <a:gd name="connsiteX1233" fmla="*/ 1628774 w 4940931"/>
                <a:gd name="connsiteY1233" fmla="*/ 5079 h 138429"/>
                <a:gd name="connsiteX1234" fmla="*/ 1704970 w 4940931"/>
                <a:gd name="connsiteY1234" fmla="*/ 5079 h 138429"/>
                <a:gd name="connsiteX1235" fmla="*/ 1704970 w 4940931"/>
                <a:gd name="connsiteY1235" fmla="*/ 20319 h 138429"/>
                <a:gd name="connsiteX1236" fmla="*/ 1675129 w 4940931"/>
                <a:gd name="connsiteY1236" fmla="*/ 20319 h 138429"/>
                <a:gd name="connsiteX1237" fmla="*/ 1675129 w 4940931"/>
                <a:gd name="connsiteY1237" fmla="*/ 108584 h 138429"/>
                <a:gd name="connsiteX1238" fmla="*/ 1659255 w 4940931"/>
                <a:gd name="connsiteY1238" fmla="*/ 108584 h 138429"/>
                <a:gd name="connsiteX1239" fmla="*/ 1659255 w 4940931"/>
                <a:gd name="connsiteY1239" fmla="*/ 20319 h 138429"/>
                <a:gd name="connsiteX1240" fmla="*/ 1628774 w 4940931"/>
                <a:gd name="connsiteY1240" fmla="*/ 20319 h 138429"/>
                <a:gd name="connsiteX1241" fmla="*/ 0 w 4940931"/>
                <a:gd name="connsiteY1241" fmla="*/ 5079 h 138429"/>
                <a:gd name="connsiteX1242" fmla="*/ 76200 w 4940931"/>
                <a:gd name="connsiteY1242" fmla="*/ 5079 h 138429"/>
                <a:gd name="connsiteX1243" fmla="*/ 76200 w 4940931"/>
                <a:gd name="connsiteY1243" fmla="*/ 20319 h 138429"/>
                <a:gd name="connsiteX1244" fmla="*/ 45720 w 4940931"/>
                <a:gd name="connsiteY1244" fmla="*/ 20319 h 138429"/>
                <a:gd name="connsiteX1245" fmla="*/ 45720 w 4940931"/>
                <a:gd name="connsiteY1245" fmla="*/ 108584 h 138429"/>
                <a:gd name="connsiteX1246" fmla="*/ 29845 w 4940931"/>
                <a:gd name="connsiteY1246" fmla="*/ 108584 h 138429"/>
                <a:gd name="connsiteX1247" fmla="*/ 29845 w 4940931"/>
                <a:gd name="connsiteY1247" fmla="*/ 20319 h 138429"/>
                <a:gd name="connsiteX1248" fmla="*/ 0 w 4940931"/>
                <a:gd name="connsiteY1248" fmla="*/ 20319 h 138429"/>
                <a:gd name="connsiteX1249" fmla="*/ 1362075 w 4940931"/>
                <a:gd name="connsiteY1249" fmla="*/ 1269 h 138429"/>
                <a:gd name="connsiteX1250" fmla="*/ 1365885 w 4940931"/>
                <a:gd name="connsiteY1250" fmla="*/ 1904 h 138429"/>
                <a:gd name="connsiteX1251" fmla="*/ 1369060 w 4940931"/>
                <a:gd name="connsiteY1251" fmla="*/ 3809 h 138429"/>
                <a:gd name="connsiteX1252" fmla="*/ 1370965 w 4940931"/>
                <a:gd name="connsiteY1252" fmla="*/ 6984 h 138429"/>
                <a:gd name="connsiteX1253" fmla="*/ 1371600 w 4940931"/>
                <a:gd name="connsiteY1253" fmla="*/ 10794 h 138429"/>
                <a:gd name="connsiteX1254" fmla="*/ 1370965 w 4940931"/>
                <a:gd name="connsiteY1254" fmla="*/ 14604 h 138429"/>
                <a:gd name="connsiteX1255" fmla="*/ 1369060 w 4940931"/>
                <a:gd name="connsiteY1255" fmla="*/ 17779 h 138429"/>
                <a:gd name="connsiteX1256" fmla="*/ 1365885 w 4940931"/>
                <a:gd name="connsiteY1256" fmla="*/ 19684 h 138429"/>
                <a:gd name="connsiteX1257" fmla="*/ 1362075 w 4940931"/>
                <a:gd name="connsiteY1257" fmla="*/ 20319 h 138429"/>
                <a:gd name="connsiteX1258" fmla="*/ 1358265 w 4940931"/>
                <a:gd name="connsiteY1258" fmla="*/ 19684 h 138429"/>
                <a:gd name="connsiteX1259" fmla="*/ 1355090 w 4940931"/>
                <a:gd name="connsiteY1259" fmla="*/ 17779 h 138429"/>
                <a:gd name="connsiteX1260" fmla="*/ 1353185 w 4940931"/>
                <a:gd name="connsiteY1260" fmla="*/ 14604 h 138429"/>
                <a:gd name="connsiteX1261" fmla="*/ 1352550 w 4940931"/>
                <a:gd name="connsiteY1261" fmla="*/ 10794 h 138429"/>
                <a:gd name="connsiteX1262" fmla="*/ 1353185 w 4940931"/>
                <a:gd name="connsiteY1262" fmla="*/ 6984 h 138429"/>
                <a:gd name="connsiteX1263" fmla="*/ 1355090 w 4940931"/>
                <a:gd name="connsiteY1263" fmla="*/ 3809 h 138429"/>
                <a:gd name="connsiteX1264" fmla="*/ 1358265 w 4940931"/>
                <a:gd name="connsiteY1264" fmla="*/ 1904 h 138429"/>
                <a:gd name="connsiteX1265" fmla="*/ 1362075 w 4940931"/>
                <a:gd name="connsiteY1265" fmla="*/ 1269 h 138429"/>
                <a:gd name="connsiteX1266" fmla="*/ 4789801 w 4940931"/>
                <a:gd name="connsiteY1266" fmla="*/ 634 h 138429"/>
                <a:gd name="connsiteX1267" fmla="*/ 4789801 w 4940931"/>
                <a:gd name="connsiteY1267" fmla="*/ 65404 h 138429"/>
                <a:gd name="connsiteX1268" fmla="*/ 4814566 w 4940931"/>
                <a:gd name="connsiteY1268" fmla="*/ 31114 h 138429"/>
                <a:gd name="connsiteX1269" fmla="*/ 4831711 w 4940931"/>
                <a:gd name="connsiteY1269" fmla="*/ 31114 h 138429"/>
                <a:gd name="connsiteX1270" fmla="*/ 4812026 w 4940931"/>
                <a:gd name="connsiteY1270" fmla="*/ 57149 h 138429"/>
                <a:gd name="connsiteX1271" fmla="*/ 4835521 w 4940931"/>
                <a:gd name="connsiteY1271" fmla="*/ 108584 h 138429"/>
                <a:gd name="connsiteX1272" fmla="*/ 4819011 w 4940931"/>
                <a:gd name="connsiteY1272" fmla="*/ 108584 h 138429"/>
                <a:gd name="connsiteX1273" fmla="*/ 4801866 w 4940931"/>
                <a:gd name="connsiteY1273" fmla="*/ 69849 h 138429"/>
                <a:gd name="connsiteX1274" fmla="*/ 4789801 w 4940931"/>
                <a:gd name="connsiteY1274" fmla="*/ 85724 h 138429"/>
                <a:gd name="connsiteX1275" fmla="*/ 4789801 w 4940931"/>
                <a:gd name="connsiteY1275" fmla="*/ 108584 h 138429"/>
                <a:gd name="connsiteX1276" fmla="*/ 4774561 w 4940931"/>
                <a:gd name="connsiteY1276" fmla="*/ 108584 h 138429"/>
                <a:gd name="connsiteX1277" fmla="*/ 4774561 w 4940931"/>
                <a:gd name="connsiteY1277" fmla="*/ 8889 h 138429"/>
                <a:gd name="connsiteX1278" fmla="*/ 4472301 w 4940931"/>
                <a:gd name="connsiteY1278" fmla="*/ 634 h 138429"/>
                <a:gd name="connsiteX1279" fmla="*/ 4472301 w 4940931"/>
                <a:gd name="connsiteY1279" fmla="*/ 109219 h 138429"/>
                <a:gd name="connsiteX1280" fmla="*/ 4457061 w 4940931"/>
                <a:gd name="connsiteY1280" fmla="*/ 109219 h 138429"/>
                <a:gd name="connsiteX1281" fmla="*/ 4457696 w 4940931"/>
                <a:gd name="connsiteY1281" fmla="*/ 108584 h 138429"/>
                <a:gd name="connsiteX1282" fmla="*/ 4457696 w 4940931"/>
                <a:gd name="connsiteY1282" fmla="*/ 100964 h 138429"/>
                <a:gd name="connsiteX1283" fmla="*/ 4453251 w 4940931"/>
                <a:gd name="connsiteY1283" fmla="*/ 104774 h 138429"/>
                <a:gd name="connsiteX1284" fmla="*/ 4448171 w 4940931"/>
                <a:gd name="connsiteY1284" fmla="*/ 107949 h 138429"/>
                <a:gd name="connsiteX1285" fmla="*/ 4443091 w 4940931"/>
                <a:gd name="connsiteY1285" fmla="*/ 109854 h 138429"/>
                <a:gd name="connsiteX1286" fmla="*/ 4437376 w 4940931"/>
                <a:gd name="connsiteY1286" fmla="*/ 109854 h 138429"/>
                <a:gd name="connsiteX1287" fmla="*/ 4425946 w 4940931"/>
                <a:gd name="connsiteY1287" fmla="*/ 107314 h 138429"/>
                <a:gd name="connsiteX1288" fmla="*/ 4416421 w 4940931"/>
                <a:gd name="connsiteY1288" fmla="*/ 99694 h 138429"/>
                <a:gd name="connsiteX1289" fmla="*/ 4410071 w 4940931"/>
                <a:gd name="connsiteY1289" fmla="*/ 86994 h 138429"/>
                <a:gd name="connsiteX1290" fmla="*/ 4407531 w 4940931"/>
                <a:gd name="connsiteY1290" fmla="*/ 67944 h 138429"/>
                <a:gd name="connsiteX1291" fmla="*/ 4410071 w 4940931"/>
                <a:gd name="connsiteY1291" fmla="*/ 50799 h 138429"/>
                <a:gd name="connsiteX1292" fmla="*/ 4417056 w 4940931"/>
                <a:gd name="connsiteY1292" fmla="*/ 38734 h 138429"/>
                <a:gd name="connsiteX1293" fmla="*/ 4426581 w 4940931"/>
                <a:gd name="connsiteY1293" fmla="*/ 31749 h 138429"/>
                <a:gd name="connsiteX1294" fmla="*/ 4438011 w 4940931"/>
                <a:gd name="connsiteY1294" fmla="*/ 29209 h 138429"/>
                <a:gd name="connsiteX1295" fmla="*/ 4443726 w 4940931"/>
                <a:gd name="connsiteY1295" fmla="*/ 29844 h 138429"/>
                <a:gd name="connsiteX1296" fmla="*/ 4448806 w 4940931"/>
                <a:gd name="connsiteY1296" fmla="*/ 31749 h 138429"/>
                <a:gd name="connsiteX1297" fmla="*/ 4453251 w 4940931"/>
                <a:gd name="connsiteY1297" fmla="*/ 34924 h 138429"/>
                <a:gd name="connsiteX1298" fmla="*/ 4457061 w 4940931"/>
                <a:gd name="connsiteY1298" fmla="*/ 38099 h 138429"/>
                <a:gd name="connsiteX1299" fmla="*/ 4457061 w 4940931"/>
                <a:gd name="connsiteY1299" fmla="*/ 8254 h 138429"/>
                <a:gd name="connsiteX1300" fmla="*/ 4390385 w 4940931"/>
                <a:gd name="connsiteY1300" fmla="*/ 634 h 138429"/>
                <a:gd name="connsiteX1301" fmla="*/ 4390385 w 4940931"/>
                <a:gd name="connsiteY1301" fmla="*/ 108584 h 138429"/>
                <a:gd name="connsiteX1302" fmla="*/ 4375145 w 4940931"/>
                <a:gd name="connsiteY1302" fmla="*/ 108584 h 138429"/>
                <a:gd name="connsiteX1303" fmla="*/ 4375145 w 4940931"/>
                <a:gd name="connsiteY1303" fmla="*/ 8889 h 138429"/>
                <a:gd name="connsiteX1304" fmla="*/ 3946521 w 4940931"/>
                <a:gd name="connsiteY1304" fmla="*/ 634 h 138429"/>
                <a:gd name="connsiteX1305" fmla="*/ 3946521 w 4940931"/>
                <a:gd name="connsiteY1305" fmla="*/ 38099 h 138429"/>
                <a:gd name="connsiteX1306" fmla="*/ 3950331 w 4940931"/>
                <a:gd name="connsiteY1306" fmla="*/ 34289 h 138429"/>
                <a:gd name="connsiteX1307" fmla="*/ 3954776 w 4940931"/>
                <a:gd name="connsiteY1307" fmla="*/ 31114 h 138429"/>
                <a:gd name="connsiteX1308" fmla="*/ 3960491 w 4940931"/>
                <a:gd name="connsiteY1308" fmla="*/ 29209 h 138429"/>
                <a:gd name="connsiteX1309" fmla="*/ 3966206 w 4940931"/>
                <a:gd name="connsiteY1309" fmla="*/ 29209 h 138429"/>
                <a:gd name="connsiteX1310" fmla="*/ 3978271 w 4940931"/>
                <a:gd name="connsiteY1310" fmla="*/ 31749 h 138429"/>
                <a:gd name="connsiteX1311" fmla="*/ 3987161 w 4940931"/>
                <a:gd name="connsiteY1311" fmla="*/ 38099 h 138429"/>
                <a:gd name="connsiteX1312" fmla="*/ 3992241 w 4940931"/>
                <a:gd name="connsiteY1312" fmla="*/ 49529 h 138429"/>
                <a:gd name="connsiteX1313" fmla="*/ 3994146 w 4940931"/>
                <a:gd name="connsiteY1313" fmla="*/ 64134 h 138429"/>
                <a:gd name="connsiteX1314" fmla="*/ 3994146 w 4940931"/>
                <a:gd name="connsiteY1314" fmla="*/ 108584 h 138429"/>
                <a:gd name="connsiteX1315" fmla="*/ 3978906 w 4940931"/>
                <a:gd name="connsiteY1315" fmla="*/ 108584 h 138429"/>
                <a:gd name="connsiteX1316" fmla="*/ 3978271 w 4940931"/>
                <a:gd name="connsiteY1316" fmla="*/ 108584 h 138429"/>
                <a:gd name="connsiteX1317" fmla="*/ 3978271 w 4940931"/>
                <a:gd name="connsiteY1317" fmla="*/ 64769 h 138429"/>
                <a:gd name="connsiteX1318" fmla="*/ 3974461 w 4940931"/>
                <a:gd name="connsiteY1318" fmla="*/ 48894 h 138429"/>
                <a:gd name="connsiteX1319" fmla="*/ 3962396 w 4940931"/>
                <a:gd name="connsiteY1319" fmla="*/ 43814 h 138429"/>
                <a:gd name="connsiteX1320" fmla="*/ 3956046 w 4940931"/>
                <a:gd name="connsiteY1320" fmla="*/ 45084 h 138429"/>
                <a:gd name="connsiteX1321" fmla="*/ 3950966 w 4940931"/>
                <a:gd name="connsiteY1321" fmla="*/ 48894 h 138429"/>
                <a:gd name="connsiteX1322" fmla="*/ 3947791 w 4940931"/>
                <a:gd name="connsiteY1322" fmla="*/ 55244 h 138429"/>
                <a:gd name="connsiteX1323" fmla="*/ 3946521 w 4940931"/>
                <a:gd name="connsiteY1323" fmla="*/ 63499 h 138429"/>
                <a:gd name="connsiteX1324" fmla="*/ 3946521 w 4940931"/>
                <a:gd name="connsiteY1324" fmla="*/ 109219 h 138429"/>
                <a:gd name="connsiteX1325" fmla="*/ 3931281 w 4940931"/>
                <a:gd name="connsiteY1325" fmla="*/ 109219 h 138429"/>
                <a:gd name="connsiteX1326" fmla="*/ 3931281 w 4940931"/>
                <a:gd name="connsiteY1326" fmla="*/ 8889 h 138429"/>
                <a:gd name="connsiteX1327" fmla="*/ 3248021 w 4940931"/>
                <a:gd name="connsiteY1327" fmla="*/ 634 h 138429"/>
                <a:gd name="connsiteX1328" fmla="*/ 3248021 w 4940931"/>
                <a:gd name="connsiteY1328" fmla="*/ 38099 h 138429"/>
                <a:gd name="connsiteX1329" fmla="*/ 3251831 w 4940931"/>
                <a:gd name="connsiteY1329" fmla="*/ 34289 h 138429"/>
                <a:gd name="connsiteX1330" fmla="*/ 3256276 w 4940931"/>
                <a:gd name="connsiteY1330" fmla="*/ 31114 h 138429"/>
                <a:gd name="connsiteX1331" fmla="*/ 3261991 w 4940931"/>
                <a:gd name="connsiteY1331" fmla="*/ 29209 h 138429"/>
                <a:gd name="connsiteX1332" fmla="*/ 3267706 w 4940931"/>
                <a:gd name="connsiteY1332" fmla="*/ 29209 h 138429"/>
                <a:gd name="connsiteX1333" fmla="*/ 3279771 w 4940931"/>
                <a:gd name="connsiteY1333" fmla="*/ 31749 h 138429"/>
                <a:gd name="connsiteX1334" fmla="*/ 3288661 w 4940931"/>
                <a:gd name="connsiteY1334" fmla="*/ 38099 h 138429"/>
                <a:gd name="connsiteX1335" fmla="*/ 3293741 w 4940931"/>
                <a:gd name="connsiteY1335" fmla="*/ 49529 h 138429"/>
                <a:gd name="connsiteX1336" fmla="*/ 3295646 w 4940931"/>
                <a:gd name="connsiteY1336" fmla="*/ 64134 h 138429"/>
                <a:gd name="connsiteX1337" fmla="*/ 3295646 w 4940931"/>
                <a:gd name="connsiteY1337" fmla="*/ 108584 h 138429"/>
                <a:gd name="connsiteX1338" fmla="*/ 3280406 w 4940931"/>
                <a:gd name="connsiteY1338" fmla="*/ 108584 h 138429"/>
                <a:gd name="connsiteX1339" fmla="*/ 3279771 w 4940931"/>
                <a:gd name="connsiteY1339" fmla="*/ 108584 h 138429"/>
                <a:gd name="connsiteX1340" fmla="*/ 3279771 w 4940931"/>
                <a:gd name="connsiteY1340" fmla="*/ 64769 h 138429"/>
                <a:gd name="connsiteX1341" fmla="*/ 3275961 w 4940931"/>
                <a:gd name="connsiteY1341" fmla="*/ 48894 h 138429"/>
                <a:gd name="connsiteX1342" fmla="*/ 3263896 w 4940931"/>
                <a:gd name="connsiteY1342" fmla="*/ 43814 h 138429"/>
                <a:gd name="connsiteX1343" fmla="*/ 3257546 w 4940931"/>
                <a:gd name="connsiteY1343" fmla="*/ 45084 h 138429"/>
                <a:gd name="connsiteX1344" fmla="*/ 3252466 w 4940931"/>
                <a:gd name="connsiteY1344" fmla="*/ 48894 h 138429"/>
                <a:gd name="connsiteX1345" fmla="*/ 3249291 w 4940931"/>
                <a:gd name="connsiteY1345" fmla="*/ 55244 h 138429"/>
                <a:gd name="connsiteX1346" fmla="*/ 3248021 w 4940931"/>
                <a:gd name="connsiteY1346" fmla="*/ 63499 h 138429"/>
                <a:gd name="connsiteX1347" fmla="*/ 3248021 w 4940931"/>
                <a:gd name="connsiteY1347" fmla="*/ 109219 h 138429"/>
                <a:gd name="connsiteX1348" fmla="*/ 3232781 w 4940931"/>
                <a:gd name="connsiteY1348" fmla="*/ 109219 h 138429"/>
                <a:gd name="connsiteX1349" fmla="*/ 3232781 w 4940931"/>
                <a:gd name="connsiteY1349" fmla="*/ 8889 h 138429"/>
                <a:gd name="connsiteX1350" fmla="*/ 2432681 w 4940931"/>
                <a:gd name="connsiteY1350" fmla="*/ 634 h 138429"/>
                <a:gd name="connsiteX1351" fmla="*/ 2432681 w 4940931"/>
                <a:gd name="connsiteY1351" fmla="*/ 38099 h 138429"/>
                <a:gd name="connsiteX1352" fmla="*/ 2436491 w 4940931"/>
                <a:gd name="connsiteY1352" fmla="*/ 34289 h 138429"/>
                <a:gd name="connsiteX1353" fmla="*/ 2440936 w 4940931"/>
                <a:gd name="connsiteY1353" fmla="*/ 31114 h 138429"/>
                <a:gd name="connsiteX1354" fmla="*/ 2446651 w 4940931"/>
                <a:gd name="connsiteY1354" fmla="*/ 29209 h 138429"/>
                <a:gd name="connsiteX1355" fmla="*/ 2452366 w 4940931"/>
                <a:gd name="connsiteY1355" fmla="*/ 29209 h 138429"/>
                <a:gd name="connsiteX1356" fmla="*/ 2464431 w 4940931"/>
                <a:gd name="connsiteY1356" fmla="*/ 31749 h 138429"/>
                <a:gd name="connsiteX1357" fmla="*/ 2473321 w 4940931"/>
                <a:gd name="connsiteY1357" fmla="*/ 38099 h 138429"/>
                <a:gd name="connsiteX1358" fmla="*/ 2478401 w 4940931"/>
                <a:gd name="connsiteY1358" fmla="*/ 49529 h 138429"/>
                <a:gd name="connsiteX1359" fmla="*/ 2480306 w 4940931"/>
                <a:gd name="connsiteY1359" fmla="*/ 64134 h 138429"/>
                <a:gd name="connsiteX1360" fmla="*/ 2480306 w 4940931"/>
                <a:gd name="connsiteY1360" fmla="*/ 108584 h 138429"/>
                <a:gd name="connsiteX1361" fmla="*/ 2465066 w 4940931"/>
                <a:gd name="connsiteY1361" fmla="*/ 108584 h 138429"/>
                <a:gd name="connsiteX1362" fmla="*/ 2464431 w 4940931"/>
                <a:gd name="connsiteY1362" fmla="*/ 108584 h 138429"/>
                <a:gd name="connsiteX1363" fmla="*/ 2464431 w 4940931"/>
                <a:gd name="connsiteY1363" fmla="*/ 64769 h 138429"/>
                <a:gd name="connsiteX1364" fmla="*/ 2460621 w 4940931"/>
                <a:gd name="connsiteY1364" fmla="*/ 48894 h 138429"/>
                <a:gd name="connsiteX1365" fmla="*/ 2448556 w 4940931"/>
                <a:gd name="connsiteY1365" fmla="*/ 43814 h 138429"/>
                <a:gd name="connsiteX1366" fmla="*/ 2442206 w 4940931"/>
                <a:gd name="connsiteY1366" fmla="*/ 45084 h 138429"/>
                <a:gd name="connsiteX1367" fmla="*/ 2437126 w 4940931"/>
                <a:gd name="connsiteY1367" fmla="*/ 48894 h 138429"/>
                <a:gd name="connsiteX1368" fmla="*/ 2433951 w 4940931"/>
                <a:gd name="connsiteY1368" fmla="*/ 55244 h 138429"/>
                <a:gd name="connsiteX1369" fmla="*/ 2432681 w 4940931"/>
                <a:gd name="connsiteY1369" fmla="*/ 63499 h 138429"/>
                <a:gd name="connsiteX1370" fmla="*/ 2432681 w 4940931"/>
                <a:gd name="connsiteY1370" fmla="*/ 109219 h 138429"/>
                <a:gd name="connsiteX1371" fmla="*/ 2417441 w 4940931"/>
                <a:gd name="connsiteY1371" fmla="*/ 109219 h 138429"/>
                <a:gd name="connsiteX1372" fmla="*/ 2417441 w 4940931"/>
                <a:gd name="connsiteY1372" fmla="*/ 8889 h 138429"/>
                <a:gd name="connsiteX1373" fmla="*/ 1734181 w 4940931"/>
                <a:gd name="connsiteY1373" fmla="*/ 634 h 138429"/>
                <a:gd name="connsiteX1374" fmla="*/ 1734181 w 4940931"/>
                <a:gd name="connsiteY1374" fmla="*/ 38099 h 138429"/>
                <a:gd name="connsiteX1375" fmla="*/ 1737991 w 4940931"/>
                <a:gd name="connsiteY1375" fmla="*/ 34289 h 138429"/>
                <a:gd name="connsiteX1376" fmla="*/ 1742436 w 4940931"/>
                <a:gd name="connsiteY1376" fmla="*/ 31114 h 138429"/>
                <a:gd name="connsiteX1377" fmla="*/ 1748151 w 4940931"/>
                <a:gd name="connsiteY1377" fmla="*/ 29209 h 138429"/>
                <a:gd name="connsiteX1378" fmla="*/ 1753866 w 4940931"/>
                <a:gd name="connsiteY1378" fmla="*/ 29209 h 138429"/>
                <a:gd name="connsiteX1379" fmla="*/ 1765931 w 4940931"/>
                <a:gd name="connsiteY1379" fmla="*/ 31749 h 138429"/>
                <a:gd name="connsiteX1380" fmla="*/ 1774821 w 4940931"/>
                <a:gd name="connsiteY1380" fmla="*/ 38099 h 138429"/>
                <a:gd name="connsiteX1381" fmla="*/ 1779901 w 4940931"/>
                <a:gd name="connsiteY1381" fmla="*/ 49529 h 138429"/>
                <a:gd name="connsiteX1382" fmla="*/ 1781806 w 4940931"/>
                <a:gd name="connsiteY1382" fmla="*/ 64134 h 138429"/>
                <a:gd name="connsiteX1383" fmla="*/ 1781806 w 4940931"/>
                <a:gd name="connsiteY1383" fmla="*/ 108584 h 138429"/>
                <a:gd name="connsiteX1384" fmla="*/ 1766566 w 4940931"/>
                <a:gd name="connsiteY1384" fmla="*/ 108584 h 138429"/>
                <a:gd name="connsiteX1385" fmla="*/ 1765931 w 4940931"/>
                <a:gd name="connsiteY1385" fmla="*/ 108584 h 138429"/>
                <a:gd name="connsiteX1386" fmla="*/ 1765931 w 4940931"/>
                <a:gd name="connsiteY1386" fmla="*/ 64769 h 138429"/>
                <a:gd name="connsiteX1387" fmla="*/ 1762121 w 4940931"/>
                <a:gd name="connsiteY1387" fmla="*/ 48894 h 138429"/>
                <a:gd name="connsiteX1388" fmla="*/ 1750056 w 4940931"/>
                <a:gd name="connsiteY1388" fmla="*/ 43814 h 138429"/>
                <a:gd name="connsiteX1389" fmla="*/ 1743706 w 4940931"/>
                <a:gd name="connsiteY1389" fmla="*/ 45084 h 138429"/>
                <a:gd name="connsiteX1390" fmla="*/ 1738626 w 4940931"/>
                <a:gd name="connsiteY1390" fmla="*/ 48894 h 138429"/>
                <a:gd name="connsiteX1391" fmla="*/ 1735451 w 4940931"/>
                <a:gd name="connsiteY1391" fmla="*/ 55244 h 138429"/>
                <a:gd name="connsiteX1392" fmla="*/ 1734181 w 4940931"/>
                <a:gd name="connsiteY1392" fmla="*/ 63499 h 138429"/>
                <a:gd name="connsiteX1393" fmla="*/ 1734181 w 4940931"/>
                <a:gd name="connsiteY1393" fmla="*/ 109219 h 138429"/>
                <a:gd name="connsiteX1394" fmla="*/ 1718941 w 4940931"/>
                <a:gd name="connsiteY1394" fmla="*/ 109219 h 138429"/>
                <a:gd name="connsiteX1395" fmla="*/ 1718941 w 4940931"/>
                <a:gd name="connsiteY1395" fmla="*/ 8889 h 138429"/>
                <a:gd name="connsiteX1396" fmla="*/ 803275 w 4940931"/>
                <a:gd name="connsiteY1396" fmla="*/ 634 h 138429"/>
                <a:gd name="connsiteX1397" fmla="*/ 803275 w 4940931"/>
                <a:gd name="connsiteY1397" fmla="*/ 38099 h 138429"/>
                <a:gd name="connsiteX1398" fmla="*/ 807085 w 4940931"/>
                <a:gd name="connsiteY1398" fmla="*/ 34289 h 138429"/>
                <a:gd name="connsiteX1399" fmla="*/ 811530 w 4940931"/>
                <a:gd name="connsiteY1399" fmla="*/ 31114 h 138429"/>
                <a:gd name="connsiteX1400" fmla="*/ 817245 w 4940931"/>
                <a:gd name="connsiteY1400" fmla="*/ 29209 h 138429"/>
                <a:gd name="connsiteX1401" fmla="*/ 822960 w 4940931"/>
                <a:gd name="connsiteY1401" fmla="*/ 29209 h 138429"/>
                <a:gd name="connsiteX1402" fmla="*/ 835025 w 4940931"/>
                <a:gd name="connsiteY1402" fmla="*/ 31749 h 138429"/>
                <a:gd name="connsiteX1403" fmla="*/ 843915 w 4940931"/>
                <a:gd name="connsiteY1403" fmla="*/ 38099 h 138429"/>
                <a:gd name="connsiteX1404" fmla="*/ 848995 w 4940931"/>
                <a:gd name="connsiteY1404" fmla="*/ 49529 h 138429"/>
                <a:gd name="connsiteX1405" fmla="*/ 850900 w 4940931"/>
                <a:gd name="connsiteY1405" fmla="*/ 64134 h 138429"/>
                <a:gd name="connsiteX1406" fmla="*/ 850900 w 4940931"/>
                <a:gd name="connsiteY1406" fmla="*/ 108584 h 138429"/>
                <a:gd name="connsiteX1407" fmla="*/ 835660 w 4940931"/>
                <a:gd name="connsiteY1407" fmla="*/ 108584 h 138429"/>
                <a:gd name="connsiteX1408" fmla="*/ 835025 w 4940931"/>
                <a:gd name="connsiteY1408" fmla="*/ 108584 h 138429"/>
                <a:gd name="connsiteX1409" fmla="*/ 835025 w 4940931"/>
                <a:gd name="connsiteY1409" fmla="*/ 64769 h 138429"/>
                <a:gd name="connsiteX1410" fmla="*/ 831215 w 4940931"/>
                <a:gd name="connsiteY1410" fmla="*/ 48894 h 138429"/>
                <a:gd name="connsiteX1411" fmla="*/ 819150 w 4940931"/>
                <a:gd name="connsiteY1411" fmla="*/ 43814 h 138429"/>
                <a:gd name="connsiteX1412" fmla="*/ 812800 w 4940931"/>
                <a:gd name="connsiteY1412" fmla="*/ 45084 h 138429"/>
                <a:gd name="connsiteX1413" fmla="*/ 807720 w 4940931"/>
                <a:gd name="connsiteY1413" fmla="*/ 48894 h 138429"/>
                <a:gd name="connsiteX1414" fmla="*/ 804545 w 4940931"/>
                <a:gd name="connsiteY1414" fmla="*/ 55244 h 138429"/>
                <a:gd name="connsiteX1415" fmla="*/ 803275 w 4940931"/>
                <a:gd name="connsiteY1415" fmla="*/ 63499 h 138429"/>
                <a:gd name="connsiteX1416" fmla="*/ 803275 w 4940931"/>
                <a:gd name="connsiteY1416" fmla="*/ 109219 h 138429"/>
                <a:gd name="connsiteX1417" fmla="*/ 788035 w 4940931"/>
                <a:gd name="connsiteY1417" fmla="*/ 109219 h 138429"/>
                <a:gd name="connsiteX1418" fmla="*/ 788035 w 4940931"/>
                <a:gd name="connsiteY1418" fmla="*/ 8889 h 138429"/>
                <a:gd name="connsiteX1419" fmla="*/ 104774 w 4940931"/>
                <a:gd name="connsiteY1419" fmla="*/ 634 h 138429"/>
                <a:gd name="connsiteX1420" fmla="*/ 104774 w 4940931"/>
                <a:gd name="connsiteY1420" fmla="*/ 38099 h 138429"/>
                <a:gd name="connsiteX1421" fmla="*/ 108584 w 4940931"/>
                <a:gd name="connsiteY1421" fmla="*/ 34289 h 138429"/>
                <a:gd name="connsiteX1422" fmla="*/ 113029 w 4940931"/>
                <a:gd name="connsiteY1422" fmla="*/ 31114 h 138429"/>
                <a:gd name="connsiteX1423" fmla="*/ 118744 w 4940931"/>
                <a:gd name="connsiteY1423" fmla="*/ 29209 h 138429"/>
                <a:gd name="connsiteX1424" fmla="*/ 124459 w 4940931"/>
                <a:gd name="connsiteY1424" fmla="*/ 29209 h 138429"/>
                <a:gd name="connsiteX1425" fmla="*/ 136524 w 4940931"/>
                <a:gd name="connsiteY1425" fmla="*/ 31749 h 138429"/>
                <a:gd name="connsiteX1426" fmla="*/ 145414 w 4940931"/>
                <a:gd name="connsiteY1426" fmla="*/ 38099 h 138429"/>
                <a:gd name="connsiteX1427" fmla="*/ 150494 w 4940931"/>
                <a:gd name="connsiteY1427" fmla="*/ 49529 h 138429"/>
                <a:gd name="connsiteX1428" fmla="*/ 152399 w 4940931"/>
                <a:gd name="connsiteY1428" fmla="*/ 64134 h 138429"/>
                <a:gd name="connsiteX1429" fmla="*/ 152399 w 4940931"/>
                <a:gd name="connsiteY1429" fmla="*/ 108584 h 138429"/>
                <a:gd name="connsiteX1430" fmla="*/ 137159 w 4940931"/>
                <a:gd name="connsiteY1430" fmla="*/ 108584 h 138429"/>
                <a:gd name="connsiteX1431" fmla="*/ 136524 w 4940931"/>
                <a:gd name="connsiteY1431" fmla="*/ 108584 h 138429"/>
                <a:gd name="connsiteX1432" fmla="*/ 136524 w 4940931"/>
                <a:gd name="connsiteY1432" fmla="*/ 64769 h 138429"/>
                <a:gd name="connsiteX1433" fmla="*/ 132714 w 4940931"/>
                <a:gd name="connsiteY1433" fmla="*/ 48894 h 138429"/>
                <a:gd name="connsiteX1434" fmla="*/ 120649 w 4940931"/>
                <a:gd name="connsiteY1434" fmla="*/ 43814 h 138429"/>
                <a:gd name="connsiteX1435" fmla="*/ 114299 w 4940931"/>
                <a:gd name="connsiteY1435" fmla="*/ 45084 h 138429"/>
                <a:gd name="connsiteX1436" fmla="*/ 109219 w 4940931"/>
                <a:gd name="connsiteY1436" fmla="*/ 48894 h 138429"/>
                <a:gd name="connsiteX1437" fmla="*/ 106044 w 4940931"/>
                <a:gd name="connsiteY1437" fmla="*/ 55244 h 138429"/>
                <a:gd name="connsiteX1438" fmla="*/ 104774 w 4940931"/>
                <a:gd name="connsiteY1438" fmla="*/ 63499 h 138429"/>
                <a:gd name="connsiteX1439" fmla="*/ 104774 w 4940931"/>
                <a:gd name="connsiteY1439" fmla="*/ 109219 h 138429"/>
                <a:gd name="connsiteX1440" fmla="*/ 89534 w 4940931"/>
                <a:gd name="connsiteY1440" fmla="*/ 109219 h 138429"/>
                <a:gd name="connsiteX1441" fmla="*/ 89534 w 4940931"/>
                <a:gd name="connsiteY1441" fmla="*/ 8889 h 138429"/>
                <a:gd name="connsiteX1442" fmla="*/ 3894450 w 4940931"/>
                <a:gd name="connsiteY1442" fmla="*/ 0 h 138429"/>
                <a:gd name="connsiteX1443" fmla="*/ 3894450 w 4940931"/>
                <a:gd name="connsiteY1443" fmla="*/ 30480 h 138429"/>
                <a:gd name="connsiteX1444" fmla="*/ 3913500 w 4940931"/>
                <a:gd name="connsiteY1444" fmla="*/ 30480 h 138429"/>
                <a:gd name="connsiteX1445" fmla="*/ 3913500 w 4940931"/>
                <a:gd name="connsiteY1445" fmla="*/ 44450 h 138429"/>
                <a:gd name="connsiteX1446" fmla="*/ 3894450 w 4940931"/>
                <a:gd name="connsiteY1446" fmla="*/ 44450 h 138429"/>
                <a:gd name="connsiteX1447" fmla="*/ 3894450 w 4940931"/>
                <a:gd name="connsiteY1447" fmla="*/ 86995 h 138429"/>
                <a:gd name="connsiteX1448" fmla="*/ 3894450 w 4940931"/>
                <a:gd name="connsiteY1448" fmla="*/ 91440 h 138429"/>
                <a:gd name="connsiteX1449" fmla="*/ 3895720 w 4940931"/>
                <a:gd name="connsiteY1449" fmla="*/ 94615 h 138429"/>
                <a:gd name="connsiteX1450" fmla="*/ 3898260 w 4940931"/>
                <a:gd name="connsiteY1450" fmla="*/ 95885 h 138429"/>
                <a:gd name="connsiteX1451" fmla="*/ 3902070 w 4940931"/>
                <a:gd name="connsiteY1451" fmla="*/ 95885 h 138429"/>
                <a:gd name="connsiteX1452" fmla="*/ 3908420 w 4940931"/>
                <a:gd name="connsiteY1452" fmla="*/ 95250 h 138429"/>
                <a:gd name="connsiteX1453" fmla="*/ 3913500 w 4940931"/>
                <a:gd name="connsiteY1453" fmla="*/ 93345 h 138429"/>
                <a:gd name="connsiteX1454" fmla="*/ 3911595 w 4940931"/>
                <a:gd name="connsiteY1454" fmla="*/ 106680 h 138429"/>
                <a:gd name="connsiteX1455" fmla="*/ 3905245 w 4940931"/>
                <a:gd name="connsiteY1455" fmla="*/ 109220 h 138429"/>
                <a:gd name="connsiteX1456" fmla="*/ 3896990 w 4940931"/>
                <a:gd name="connsiteY1456" fmla="*/ 110490 h 138429"/>
                <a:gd name="connsiteX1457" fmla="*/ 3890005 w 4940931"/>
                <a:gd name="connsiteY1457" fmla="*/ 109220 h 138429"/>
                <a:gd name="connsiteX1458" fmla="*/ 3884290 w 4940931"/>
                <a:gd name="connsiteY1458" fmla="*/ 105410 h 138429"/>
                <a:gd name="connsiteX1459" fmla="*/ 3880480 w 4940931"/>
                <a:gd name="connsiteY1459" fmla="*/ 99060 h 138429"/>
                <a:gd name="connsiteX1460" fmla="*/ 3879210 w 4940931"/>
                <a:gd name="connsiteY1460" fmla="*/ 89535 h 138429"/>
                <a:gd name="connsiteX1461" fmla="*/ 3879210 w 4940931"/>
                <a:gd name="connsiteY1461" fmla="*/ 44450 h 138429"/>
                <a:gd name="connsiteX1462" fmla="*/ 3868415 w 4940931"/>
                <a:gd name="connsiteY1462" fmla="*/ 44450 h 138429"/>
                <a:gd name="connsiteX1463" fmla="*/ 3868415 w 4940931"/>
                <a:gd name="connsiteY1463" fmla="*/ 30480 h 138429"/>
                <a:gd name="connsiteX1464" fmla="*/ 3879210 w 4940931"/>
                <a:gd name="connsiteY1464" fmla="*/ 30480 h 138429"/>
                <a:gd name="connsiteX1465" fmla="*/ 3879210 w 4940931"/>
                <a:gd name="connsiteY1465" fmla="*/ 8255 h 138429"/>
                <a:gd name="connsiteX1466" fmla="*/ 3664581 w 4940931"/>
                <a:gd name="connsiteY1466" fmla="*/ 0 h 138429"/>
                <a:gd name="connsiteX1467" fmla="*/ 3664581 w 4940931"/>
                <a:gd name="connsiteY1467" fmla="*/ 30480 h 138429"/>
                <a:gd name="connsiteX1468" fmla="*/ 3683631 w 4940931"/>
                <a:gd name="connsiteY1468" fmla="*/ 30480 h 138429"/>
                <a:gd name="connsiteX1469" fmla="*/ 3683631 w 4940931"/>
                <a:gd name="connsiteY1469" fmla="*/ 44450 h 138429"/>
                <a:gd name="connsiteX1470" fmla="*/ 3664581 w 4940931"/>
                <a:gd name="connsiteY1470" fmla="*/ 44450 h 138429"/>
                <a:gd name="connsiteX1471" fmla="*/ 3664581 w 4940931"/>
                <a:gd name="connsiteY1471" fmla="*/ 86995 h 138429"/>
                <a:gd name="connsiteX1472" fmla="*/ 3664581 w 4940931"/>
                <a:gd name="connsiteY1472" fmla="*/ 91440 h 138429"/>
                <a:gd name="connsiteX1473" fmla="*/ 3665851 w 4940931"/>
                <a:gd name="connsiteY1473" fmla="*/ 94615 h 138429"/>
                <a:gd name="connsiteX1474" fmla="*/ 3668391 w 4940931"/>
                <a:gd name="connsiteY1474" fmla="*/ 95885 h 138429"/>
                <a:gd name="connsiteX1475" fmla="*/ 3672201 w 4940931"/>
                <a:gd name="connsiteY1475" fmla="*/ 95885 h 138429"/>
                <a:gd name="connsiteX1476" fmla="*/ 3678551 w 4940931"/>
                <a:gd name="connsiteY1476" fmla="*/ 95250 h 138429"/>
                <a:gd name="connsiteX1477" fmla="*/ 3683631 w 4940931"/>
                <a:gd name="connsiteY1477" fmla="*/ 93345 h 138429"/>
                <a:gd name="connsiteX1478" fmla="*/ 3681726 w 4940931"/>
                <a:gd name="connsiteY1478" fmla="*/ 106680 h 138429"/>
                <a:gd name="connsiteX1479" fmla="*/ 3675376 w 4940931"/>
                <a:gd name="connsiteY1479" fmla="*/ 109220 h 138429"/>
                <a:gd name="connsiteX1480" fmla="*/ 3667121 w 4940931"/>
                <a:gd name="connsiteY1480" fmla="*/ 110490 h 138429"/>
                <a:gd name="connsiteX1481" fmla="*/ 3660136 w 4940931"/>
                <a:gd name="connsiteY1481" fmla="*/ 109220 h 138429"/>
                <a:gd name="connsiteX1482" fmla="*/ 3654421 w 4940931"/>
                <a:gd name="connsiteY1482" fmla="*/ 105410 h 138429"/>
                <a:gd name="connsiteX1483" fmla="*/ 3650611 w 4940931"/>
                <a:gd name="connsiteY1483" fmla="*/ 99060 h 138429"/>
                <a:gd name="connsiteX1484" fmla="*/ 3649341 w 4940931"/>
                <a:gd name="connsiteY1484" fmla="*/ 89535 h 138429"/>
                <a:gd name="connsiteX1485" fmla="*/ 3649341 w 4940931"/>
                <a:gd name="connsiteY1485" fmla="*/ 44450 h 138429"/>
                <a:gd name="connsiteX1486" fmla="*/ 3638546 w 4940931"/>
                <a:gd name="connsiteY1486" fmla="*/ 44450 h 138429"/>
                <a:gd name="connsiteX1487" fmla="*/ 3638546 w 4940931"/>
                <a:gd name="connsiteY1487" fmla="*/ 30480 h 138429"/>
                <a:gd name="connsiteX1488" fmla="*/ 3649341 w 4940931"/>
                <a:gd name="connsiteY1488" fmla="*/ 30480 h 138429"/>
                <a:gd name="connsiteX1489" fmla="*/ 3649341 w 4940931"/>
                <a:gd name="connsiteY1489" fmla="*/ 8255 h 138429"/>
                <a:gd name="connsiteX1490" fmla="*/ 3610605 w 4940931"/>
                <a:gd name="connsiteY1490" fmla="*/ 0 h 138429"/>
                <a:gd name="connsiteX1491" fmla="*/ 3610605 w 4940931"/>
                <a:gd name="connsiteY1491" fmla="*/ 30480 h 138429"/>
                <a:gd name="connsiteX1492" fmla="*/ 3629655 w 4940931"/>
                <a:gd name="connsiteY1492" fmla="*/ 30480 h 138429"/>
                <a:gd name="connsiteX1493" fmla="*/ 3629655 w 4940931"/>
                <a:gd name="connsiteY1493" fmla="*/ 44450 h 138429"/>
                <a:gd name="connsiteX1494" fmla="*/ 3610605 w 4940931"/>
                <a:gd name="connsiteY1494" fmla="*/ 44450 h 138429"/>
                <a:gd name="connsiteX1495" fmla="*/ 3610605 w 4940931"/>
                <a:gd name="connsiteY1495" fmla="*/ 86995 h 138429"/>
                <a:gd name="connsiteX1496" fmla="*/ 3610605 w 4940931"/>
                <a:gd name="connsiteY1496" fmla="*/ 91440 h 138429"/>
                <a:gd name="connsiteX1497" fmla="*/ 3611875 w 4940931"/>
                <a:gd name="connsiteY1497" fmla="*/ 94615 h 138429"/>
                <a:gd name="connsiteX1498" fmla="*/ 3614415 w 4940931"/>
                <a:gd name="connsiteY1498" fmla="*/ 95885 h 138429"/>
                <a:gd name="connsiteX1499" fmla="*/ 3618225 w 4940931"/>
                <a:gd name="connsiteY1499" fmla="*/ 95885 h 138429"/>
                <a:gd name="connsiteX1500" fmla="*/ 3624575 w 4940931"/>
                <a:gd name="connsiteY1500" fmla="*/ 95250 h 138429"/>
                <a:gd name="connsiteX1501" fmla="*/ 3629655 w 4940931"/>
                <a:gd name="connsiteY1501" fmla="*/ 93345 h 138429"/>
                <a:gd name="connsiteX1502" fmla="*/ 3627750 w 4940931"/>
                <a:gd name="connsiteY1502" fmla="*/ 106680 h 138429"/>
                <a:gd name="connsiteX1503" fmla="*/ 3621400 w 4940931"/>
                <a:gd name="connsiteY1503" fmla="*/ 109220 h 138429"/>
                <a:gd name="connsiteX1504" fmla="*/ 3613145 w 4940931"/>
                <a:gd name="connsiteY1504" fmla="*/ 110490 h 138429"/>
                <a:gd name="connsiteX1505" fmla="*/ 3606160 w 4940931"/>
                <a:gd name="connsiteY1505" fmla="*/ 109220 h 138429"/>
                <a:gd name="connsiteX1506" fmla="*/ 3600445 w 4940931"/>
                <a:gd name="connsiteY1506" fmla="*/ 105410 h 138429"/>
                <a:gd name="connsiteX1507" fmla="*/ 3596635 w 4940931"/>
                <a:gd name="connsiteY1507" fmla="*/ 99060 h 138429"/>
                <a:gd name="connsiteX1508" fmla="*/ 3595365 w 4940931"/>
                <a:gd name="connsiteY1508" fmla="*/ 89535 h 138429"/>
                <a:gd name="connsiteX1509" fmla="*/ 3595365 w 4940931"/>
                <a:gd name="connsiteY1509" fmla="*/ 44450 h 138429"/>
                <a:gd name="connsiteX1510" fmla="*/ 3584570 w 4940931"/>
                <a:gd name="connsiteY1510" fmla="*/ 44450 h 138429"/>
                <a:gd name="connsiteX1511" fmla="*/ 3584570 w 4940931"/>
                <a:gd name="connsiteY1511" fmla="*/ 30480 h 138429"/>
                <a:gd name="connsiteX1512" fmla="*/ 3595365 w 4940931"/>
                <a:gd name="connsiteY1512" fmla="*/ 30480 h 138429"/>
                <a:gd name="connsiteX1513" fmla="*/ 3595365 w 4940931"/>
                <a:gd name="connsiteY1513" fmla="*/ 8255 h 138429"/>
                <a:gd name="connsiteX1514" fmla="*/ 3445505 w 4940931"/>
                <a:gd name="connsiteY1514" fmla="*/ 0 h 138429"/>
                <a:gd name="connsiteX1515" fmla="*/ 3445505 w 4940931"/>
                <a:gd name="connsiteY1515" fmla="*/ 37465 h 138429"/>
                <a:gd name="connsiteX1516" fmla="*/ 3449950 w 4940931"/>
                <a:gd name="connsiteY1516" fmla="*/ 33655 h 138429"/>
                <a:gd name="connsiteX1517" fmla="*/ 3453760 w 4940931"/>
                <a:gd name="connsiteY1517" fmla="*/ 31115 h 138429"/>
                <a:gd name="connsiteX1518" fmla="*/ 3458840 w 4940931"/>
                <a:gd name="connsiteY1518" fmla="*/ 29210 h 138429"/>
                <a:gd name="connsiteX1519" fmla="*/ 3465825 w 4940931"/>
                <a:gd name="connsiteY1519" fmla="*/ 28575 h 138429"/>
                <a:gd name="connsiteX1520" fmla="*/ 3477890 w 4940931"/>
                <a:gd name="connsiteY1520" fmla="*/ 31115 h 138429"/>
                <a:gd name="connsiteX1521" fmla="*/ 3487415 w 4940931"/>
                <a:gd name="connsiteY1521" fmla="*/ 38735 h 138429"/>
                <a:gd name="connsiteX1522" fmla="*/ 3493765 w 4940931"/>
                <a:gd name="connsiteY1522" fmla="*/ 51435 h 138429"/>
                <a:gd name="connsiteX1523" fmla="*/ 3496305 w 4940931"/>
                <a:gd name="connsiteY1523" fmla="*/ 70485 h 138429"/>
                <a:gd name="connsiteX1524" fmla="*/ 3495670 w 4940931"/>
                <a:gd name="connsiteY1524" fmla="*/ 71120 h 138429"/>
                <a:gd name="connsiteX1525" fmla="*/ 3493130 w 4940931"/>
                <a:gd name="connsiteY1525" fmla="*/ 88265 h 138429"/>
                <a:gd name="connsiteX1526" fmla="*/ 3486145 w 4940931"/>
                <a:gd name="connsiteY1526" fmla="*/ 100330 h 138429"/>
                <a:gd name="connsiteX1527" fmla="*/ 3476620 w 4940931"/>
                <a:gd name="connsiteY1527" fmla="*/ 107315 h 138429"/>
                <a:gd name="connsiteX1528" fmla="*/ 3465190 w 4940931"/>
                <a:gd name="connsiteY1528" fmla="*/ 109855 h 138429"/>
                <a:gd name="connsiteX1529" fmla="*/ 3454395 w 4940931"/>
                <a:gd name="connsiteY1529" fmla="*/ 107315 h 138429"/>
                <a:gd name="connsiteX1530" fmla="*/ 3445505 w 4940931"/>
                <a:gd name="connsiteY1530" fmla="*/ 100965 h 138429"/>
                <a:gd name="connsiteX1531" fmla="*/ 3445505 w 4940931"/>
                <a:gd name="connsiteY1531" fmla="*/ 107950 h 138429"/>
                <a:gd name="connsiteX1532" fmla="*/ 3430265 w 4940931"/>
                <a:gd name="connsiteY1532" fmla="*/ 107950 h 138429"/>
                <a:gd name="connsiteX1533" fmla="*/ 3430265 w 4940931"/>
                <a:gd name="connsiteY1533" fmla="*/ 7620 h 138429"/>
                <a:gd name="connsiteX1534" fmla="*/ 2380611 w 4940931"/>
                <a:gd name="connsiteY1534" fmla="*/ 0 h 138429"/>
                <a:gd name="connsiteX1535" fmla="*/ 2380611 w 4940931"/>
                <a:gd name="connsiteY1535" fmla="*/ 30480 h 138429"/>
                <a:gd name="connsiteX1536" fmla="*/ 2399661 w 4940931"/>
                <a:gd name="connsiteY1536" fmla="*/ 30480 h 138429"/>
                <a:gd name="connsiteX1537" fmla="*/ 2399661 w 4940931"/>
                <a:gd name="connsiteY1537" fmla="*/ 44450 h 138429"/>
                <a:gd name="connsiteX1538" fmla="*/ 2380611 w 4940931"/>
                <a:gd name="connsiteY1538" fmla="*/ 44450 h 138429"/>
                <a:gd name="connsiteX1539" fmla="*/ 2380611 w 4940931"/>
                <a:gd name="connsiteY1539" fmla="*/ 86995 h 138429"/>
                <a:gd name="connsiteX1540" fmla="*/ 2380611 w 4940931"/>
                <a:gd name="connsiteY1540" fmla="*/ 91440 h 138429"/>
                <a:gd name="connsiteX1541" fmla="*/ 2381881 w 4940931"/>
                <a:gd name="connsiteY1541" fmla="*/ 94615 h 138429"/>
                <a:gd name="connsiteX1542" fmla="*/ 2384421 w 4940931"/>
                <a:gd name="connsiteY1542" fmla="*/ 95885 h 138429"/>
                <a:gd name="connsiteX1543" fmla="*/ 2388231 w 4940931"/>
                <a:gd name="connsiteY1543" fmla="*/ 95885 h 138429"/>
                <a:gd name="connsiteX1544" fmla="*/ 2394581 w 4940931"/>
                <a:gd name="connsiteY1544" fmla="*/ 95250 h 138429"/>
                <a:gd name="connsiteX1545" fmla="*/ 2399661 w 4940931"/>
                <a:gd name="connsiteY1545" fmla="*/ 93345 h 138429"/>
                <a:gd name="connsiteX1546" fmla="*/ 2397756 w 4940931"/>
                <a:gd name="connsiteY1546" fmla="*/ 106680 h 138429"/>
                <a:gd name="connsiteX1547" fmla="*/ 2391406 w 4940931"/>
                <a:gd name="connsiteY1547" fmla="*/ 109220 h 138429"/>
                <a:gd name="connsiteX1548" fmla="*/ 2383151 w 4940931"/>
                <a:gd name="connsiteY1548" fmla="*/ 110490 h 138429"/>
                <a:gd name="connsiteX1549" fmla="*/ 2376166 w 4940931"/>
                <a:gd name="connsiteY1549" fmla="*/ 109220 h 138429"/>
                <a:gd name="connsiteX1550" fmla="*/ 2370451 w 4940931"/>
                <a:gd name="connsiteY1550" fmla="*/ 105410 h 138429"/>
                <a:gd name="connsiteX1551" fmla="*/ 2366641 w 4940931"/>
                <a:gd name="connsiteY1551" fmla="*/ 99060 h 138429"/>
                <a:gd name="connsiteX1552" fmla="*/ 2365371 w 4940931"/>
                <a:gd name="connsiteY1552" fmla="*/ 89535 h 138429"/>
                <a:gd name="connsiteX1553" fmla="*/ 2365371 w 4940931"/>
                <a:gd name="connsiteY1553" fmla="*/ 44450 h 138429"/>
                <a:gd name="connsiteX1554" fmla="*/ 2354576 w 4940931"/>
                <a:gd name="connsiteY1554" fmla="*/ 44450 h 138429"/>
                <a:gd name="connsiteX1555" fmla="*/ 2354576 w 4940931"/>
                <a:gd name="connsiteY1555" fmla="*/ 30480 h 138429"/>
                <a:gd name="connsiteX1556" fmla="*/ 2365371 w 4940931"/>
                <a:gd name="connsiteY1556" fmla="*/ 30480 h 138429"/>
                <a:gd name="connsiteX1557" fmla="*/ 2365371 w 4940931"/>
                <a:gd name="connsiteY1557" fmla="*/ 8255 h 138429"/>
                <a:gd name="connsiteX1558" fmla="*/ 2150741 w 4940931"/>
                <a:gd name="connsiteY1558" fmla="*/ 0 h 138429"/>
                <a:gd name="connsiteX1559" fmla="*/ 2150741 w 4940931"/>
                <a:gd name="connsiteY1559" fmla="*/ 30480 h 138429"/>
                <a:gd name="connsiteX1560" fmla="*/ 2169791 w 4940931"/>
                <a:gd name="connsiteY1560" fmla="*/ 30480 h 138429"/>
                <a:gd name="connsiteX1561" fmla="*/ 2169791 w 4940931"/>
                <a:gd name="connsiteY1561" fmla="*/ 44450 h 138429"/>
                <a:gd name="connsiteX1562" fmla="*/ 2150741 w 4940931"/>
                <a:gd name="connsiteY1562" fmla="*/ 44450 h 138429"/>
                <a:gd name="connsiteX1563" fmla="*/ 2150741 w 4940931"/>
                <a:gd name="connsiteY1563" fmla="*/ 86995 h 138429"/>
                <a:gd name="connsiteX1564" fmla="*/ 2150741 w 4940931"/>
                <a:gd name="connsiteY1564" fmla="*/ 91440 h 138429"/>
                <a:gd name="connsiteX1565" fmla="*/ 2152011 w 4940931"/>
                <a:gd name="connsiteY1565" fmla="*/ 94615 h 138429"/>
                <a:gd name="connsiteX1566" fmla="*/ 2154551 w 4940931"/>
                <a:gd name="connsiteY1566" fmla="*/ 95885 h 138429"/>
                <a:gd name="connsiteX1567" fmla="*/ 2158361 w 4940931"/>
                <a:gd name="connsiteY1567" fmla="*/ 95885 h 138429"/>
                <a:gd name="connsiteX1568" fmla="*/ 2164711 w 4940931"/>
                <a:gd name="connsiteY1568" fmla="*/ 95250 h 138429"/>
                <a:gd name="connsiteX1569" fmla="*/ 2169791 w 4940931"/>
                <a:gd name="connsiteY1569" fmla="*/ 93345 h 138429"/>
                <a:gd name="connsiteX1570" fmla="*/ 2167886 w 4940931"/>
                <a:gd name="connsiteY1570" fmla="*/ 106680 h 138429"/>
                <a:gd name="connsiteX1571" fmla="*/ 2161536 w 4940931"/>
                <a:gd name="connsiteY1571" fmla="*/ 109220 h 138429"/>
                <a:gd name="connsiteX1572" fmla="*/ 2153281 w 4940931"/>
                <a:gd name="connsiteY1572" fmla="*/ 110490 h 138429"/>
                <a:gd name="connsiteX1573" fmla="*/ 2146296 w 4940931"/>
                <a:gd name="connsiteY1573" fmla="*/ 109220 h 138429"/>
                <a:gd name="connsiteX1574" fmla="*/ 2140581 w 4940931"/>
                <a:gd name="connsiteY1574" fmla="*/ 105410 h 138429"/>
                <a:gd name="connsiteX1575" fmla="*/ 2136771 w 4940931"/>
                <a:gd name="connsiteY1575" fmla="*/ 99060 h 138429"/>
                <a:gd name="connsiteX1576" fmla="*/ 2135501 w 4940931"/>
                <a:gd name="connsiteY1576" fmla="*/ 89535 h 138429"/>
                <a:gd name="connsiteX1577" fmla="*/ 2135501 w 4940931"/>
                <a:gd name="connsiteY1577" fmla="*/ 44450 h 138429"/>
                <a:gd name="connsiteX1578" fmla="*/ 2124706 w 4940931"/>
                <a:gd name="connsiteY1578" fmla="*/ 44450 h 138429"/>
                <a:gd name="connsiteX1579" fmla="*/ 2124706 w 4940931"/>
                <a:gd name="connsiteY1579" fmla="*/ 30480 h 138429"/>
                <a:gd name="connsiteX1580" fmla="*/ 2135501 w 4940931"/>
                <a:gd name="connsiteY1580" fmla="*/ 30480 h 138429"/>
                <a:gd name="connsiteX1581" fmla="*/ 2135501 w 4940931"/>
                <a:gd name="connsiteY1581" fmla="*/ 8255 h 138429"/>
                <a:gd name="connsiteX1582" fmla="*/ 2096131 w 4940931"/>
                <a:gd name="connsiteY1582" fmla="*/ 0 h 138429"/>
                <a:gd name="connsiteX1583" fmla="*/ 2096131 w 4940931"/>
                <a:gd name="connsiteY1583" fmla="*/ 30480 h 138429"/>
                <a:gd name="connsiteX1584" fmla="*/ 2115181 w 4940931"/>
                <a:gd name="connsiteY1584" fmla="*/ 30480 h 138429"/>
                <a:gd name="connsiteX1585" fmla="*/ 2115181 w 4940931"/>
                <a:gd name="connsiteY1585" fmla="*/ 44450 h 138429"/>
                <a:gd name="connsiteX1586" fmla="*/ 2096131 w 4940931"/>
                <a:gd name="connsiteY1586" fmla="*/ 44450 h 138429"/>
                <a:gd name="connsiteX1587" fmla="*/ 2096131 w 4940931"/>
                <a:gd name="connsiteY1587" fmla="*/ 86995 h 138429"/>
                <a:gd name="connsiteX1588" fmla="*/ 2096131 w 4940931"/>
                <a:gd name="connsiteY1588" fmla="*/ 91440 h 138429"/>
                <a:gd name="connsiteX1589" fmla="*/ 2097401 w 4940931"/>
                <a:gd name="connsiteY1589" fmla="*/ 94615 h 138429"/>
                <a:gd name="connsiteX1590" fmla="*/ 2099941 w 4940931"/>
                <a:gd name="connsiteY1590" fmla="*/ 95885 h 138429"/>
                <a:gd name="connsiteX1591" fmla="*/ 2103751 w 4940931"/>
                <a:gd name="connsiteY1591" fmla="*/ 95885 h 138429"/>
                <a:gd name="connsiteX1592" fmla="*/ 2110101 w 4940931"/>
                <a:gd name="connsiteY1592" fmla="*/ 95250 h 138429"/>
                <a:gd name="connsiteX1593" fmla="*/ 2115181 w 4940931"/>
                <a:gd name="connsiteY1593" fmla="*/ 93345 h 138429"/>
                <a:gd name="connsiteX1594" fmla="*/ 2113276 w 4940931"/>
                <a:gd name="connsiteY1594" fmla="*/ 106680 h 138429"/>
                <a:gd name="connsiteX1595" fmla="*/ 2106926 w 4940931"/>
                <a:gd name="connsiteY1595" fmla="*/ 109220 h 138429"/>
                <a:gd name="connsiteX1596" fmla="*/ 2098671 w 4940931"/>
                <a:gd name="connsiteY1596" fmla="*/ 110490 h 138429"/>
                <a:gd name="connsiteX1597" fmla="*/ 2091686 w 4940931"/>
                <a:gd name="connsiteY1597" fmla="*/ 109220 h 138429"/>
                <a:gd name="connsiteX1598" fmla="*/ 2085971 w 4940931"/>
                <a:gd name="connsiteY1598" fmla="*/ 105410 h 138429"/>
                <a:gd name="connsiteX1599" fmla="*/ 2082161 w 4940931"/>
                <a:gd name="connsiteY1599" fmla="*/ 99060 h 138429"/>
                <a:gd name="connsiteX1600" fmla="*/ 2080891 w 4940931"/>
                <a:gd name="connsiteY1600" fmla="*/ 89535 h 138429"/>
                <a:gd name="connsiteX1601" fmla="*/ 2080891 w 4940931"/>
                <a:gd name="connsiteY1601" fmla="*/ 44450 h 138429"/>
                <a:gd name="connsiteX1602" fmla="*/ 2070096 w 4940931"/>
                <a:gd name="connsiteY1602" fmla="*/ 44450 h 138429"/>
                <a:gd name="connsiteX1603" fmla="*/ 2070096 w 4940931"/>
                <a:gd name="connsiteY1603" fmla="*/ 30480 h 138429"/>
                <a:gd name="connsiteX1604" fmla="*/ 2080891 w 4940931"/>
                <a:gd name="connsiteY1604" fmla="*/ 30480 h 138429"/>
                <a:gd name="connsiteX1605" fmla="*/ 2080891 w 4940931"/>
                <a:gd name="connsiteY1605" fmla="*/ 8255 h 138429"/>
                <a:gd name="connsiteX1606" fmla="*/ 1931665 w 4940931"/>
                <a:gd name="connsiteY1606" fmla="*/ 0 h 138429"/>
                <a:gd name="connsiteX1607" fmla="*/ 1931665 w 4940931"/>
                <a:gd name="connsiteY1607" fmla="*/ 37465 h 138429"/>
                <a:gd name="connsiteX1608" fmla="*/ 1936110 w 4940931"/>
                <a:gd name="connsiteY1608" fmla="*/ 33655 h 138429"/>
                <a:gd name="connsiteX1609" fmla="*/ 1939920 w 4940931"/>
                <a:gd name="connsiteY1609" fmla="*/ 31115 h 138429"/>
                <a:gd name="connsiteX1610" fmla="*/ 1945000 w 4940931"/>
                <a:gd name="connsiteY1610" fmla="*/ 29210 h 138429"/>
                <a:gd name="connsiteX1611" fmla="*/ 1951985 w 4940931"/>
                <a:gd name="connsiteY1611" fmla="*/ 28575 h 138429"/>
                <a:gd name="connsiteX1612" fmla="*/ 1964050 w 4940931"/>
                <a:gd name="connsiteY1612" fmla="*/ 31115 h 138429"/>
                <a:gd name="connsiteX1613" fmla="*/ 1973575 w 4940931"/>
                <a:gd name="connsiteY1613" fmla="*/ 38735 h 138429"/>
                <a:gd name="connsiteX1614" fmla="*/ 1979925 w 4940931"/>
                <a:gd name="connsiteY1614" fmla="*/ 51435 h 138429"/>
                <a:gd name="connsiteX1615" fmla="*/ 1982465 w 4940931"/>
                <a:gd name="connsiteY1615" fmla="*/ 70485 h 138429"/>
                <a:gd name="connsiteX1616" fmla="*/ 1981830 w 4940931"/>
                <a:gd name="connsiteY1616" fmla="*/ 71120 h 138429"/>
                <a:gd name="connsiteX1617" fmla="*/ 1979290 w 4940931"/>
                <a:gd name="connsiteY1617" fmla="*/ 88265 h 138429"/>
                <a:gd name="connsiteX1618" fmla="*/ 1972305 w 4940931"/>
                <a:gd name="connsiteY1618" fmla="*/ 100330 h 138429"/>
                <a:gd name="connsiteX1619" fmla="*/ 1962780 w 4940931"/>
                <a:gd name="connsiteY1619" fmla="*/ 107315 h 138429"/>
                <a:gd name="connsiteX1620" fmla="*/ 1951350 w 4940931"/>
                <a:gd name="connsiteY1620" fmla="*/ 109855 h 138429"/>
                <a:gd name="connsiteX1621" fmla="*/ 1940555 w 4940931"/>
                <a:gd name="connsiteY1621" fmla="*/ 107315 h 138429"/>
                <a:gd name="connsiteX1622" fmla="*/ 1931665 w 4940931"/>
                <a:gd name="connsiteY1622" fmla="*/ 100965 h 138429"/>
                <a:gd name="connsiteX1623" fmla="*/ 1931665 w 4940931"/>
                <a:gd name="connsiteY1623" fmla="*/ 107950 h 138429"/>
                <a:gd name="connsiteX1624" fmla="*/ 1916425 w 4940931"/>
                <a:gd name="connsiteY1624" fmla="*/ 107950 h 138429"/>
                <a:gd name="connsiteX1625" fmla="*/ 1916425 w 4940931"/>
                <a:gd name="connsiteY1625" fmla="*/ 7620 h 138429"/>
                <a:gd name="connsiteX1626" fmla="*/ 1316991 w 4940931"/>
                <a:gd name="connsiteY1626" fmla="*/ 0 h 138429"/>
                <a:gd name="connsiteX1627" fmla="*/ 1316991 w 4940931"/>
                <a:gd name="connsiteY1627" fmla="*/ 30480 h 138429"/>
                <a:gd name="connsiteX1628" fmla="*/ 1336041 w 4940931"/>
                <a:gd name="connsiteY1628" fmla="*/ 30480 h 138429"/>
                <a:gd name="connsiteX1629" fmla="*/ 1336041 w 4940931"/>
                <a:gd name="connsiteY1629" fmla="*/ 44450 h 138429"/>
                <a:gd name="connsiteX1630" fmla="*/ 1316991 w 4940931"/>
                <a:gd name="connsiteY1630" fmla="*/ 44450 h 138429"/>
                <a:gd name="connsiteX1631" fmla="*/ 1316991 w 4940931"/>
                <a:gd name="connsiteY1631" fmla="*/ 86995 h 138429"/>
                <a:gd name="connsiteX1632" fmla="*/ 1316991 w 4940931"/>
                <a:gd name="connsiteY1632" fmla="*/ 91440 h 138429"/>
                <a:gd name="connsiteX1633" fmla="*/ 1318261 w 4940931"/>
                <a:gd name="connsiteY1633" fmla="*/ 94615 h 138429"/>
                <a:gd name="connsiteX1634" fmla="*/ 1320801 w 4940931"/>
                <a:gd name="connsiteY1634" fmla="*/ 95885 h 138429"/>
                <a:gd name="connsiteX1635" fmla="*/ 1324611 w 4940931"/>
                <a:gd name="connsiteY1635" fmla="*/ 95885 h 138429"/>
                <a:gd name="connsiteX1636" fmla="*/ 1330961 w 4940931"/>
                <a:gd name="connsiteY1636" fmla="*/ 95250 h 138429"/>
                <a:gd name="connsiteX1637" fmla="*/ 1336041 w 4940931"/>
                <a:gd name="connsiteY1637" fmla="*/ 93345 h 138429"/>
                <a:gd name="connsiteX1638" fmla="*/ 1334136 w 4940931"/>
                <a:gd name="connsiteY1638" fmla="*/ 106680 h 138429"/>
                <a:gd name="connsiteX1639" fmla="*/ 1327786 w 4940931"/>
                <a:gd name="connsiteY1639" fmla="*/ 109220 h 138429"/>
                <a:gd name="connsiteX1640" fmla="*/ 1319531 w 4940931"/>
                <a:gd name="connsiteY1640" fmla="*/ 110490 h 138429"/>
                <a:gd name="connsiteX1641" fmla="*/ 1312546 w 4940931"/>
                <a:gd name="connsiteY1641" fmla="*/ 109220 h 138429"/>
                <a:gd name="connsiteX1642" fmla="*/ 1306831 w 4940931"/>
                <a:gd name="connsiteY1642" fmla="*/ 105410 h 138429"/>
                <a:gd name="connsiteX1643" fmla="*/ 1303021 w 4940931"/>
                <a:gd name="connsiteY1643" fmla="*/ 99060 h 138429"/>
                <a:gd name="connsiteX1644" fmla="*/ 1301751 w 4940931"/>
                <a:gd name="connsiteY1644" fmla="*/ 89535 h 138429"/>
                <a:gd name="connsiteX1645" fmla="*/ 1301751 w 4940931"/>
                <a:gd name="connsiteY1645" fmla="*/ 44450 h 138429"/>
                <a:gd name="connsiteX1646" fmla="*/ 1290956 w 4940931"/>
                <a:gd name="connsiteY1646" fmla="*/ 44450 h 138429"/>
                <a:gd name="connsiteX1647" fmla="*/ 1290956 w 4940931"/>
                <a:gd name="connsiteY1647" fmla="*/ 30480 h 138429"/>
                <a:gd name="connsiteX1648" fmla="*/ 1301751 w 4940931"/>
                <a:gd name="connsiteY1648" fmla="*/ 30480 h 138429"/>
                <a:gd name="connsiteX1649" fmla="*/ 1301751 w 4940931"/>
                <a:gd name="connsiteY1649" fmla="*/ 8255 h 138429"/>
                <a:gd name="connsiteX1650" fmla="*/ 751206 w 4940931"/>
                <a:gd name="connsiteY1650" fmla="*/ 0 h 138429"/>
                <a:gd name="connsiteX1651" fmla="*/ 751206 w 4940931"/>
                <a:gd name="connsiteY1651" fmla="*/ 30480 h 138429"/>
                <a:gd name="connsiteX1652" fmla="*/ 770256 w 4940931"/>
                <a:gd name="connsiteY1652" fmla="*/ 30480 h 138429"/>
                <a:gd name="connsiteX1653" fmla="*/ 770256 w 4940931"/>
                <a:gd name="connsiteY1653" fmla="*/ 44450 h 138429"/>
                <a:gd name="connsiteX1654" fmla="*/ 751206 w 4940931"/>
                <a:gd name="connsiteY1654" fmla="*/ 44450 h 138429"/>
                <a:gd name="connsiteX1655" fmla="*/ 751206 w 4940931"/>
                <a:gd name="connsiteY1655" fmla="*/ 86995 h 138429"/>
                <a:gd name="connsiteX1656" fmla="*/ 751206 w 4940931"/>
                <a:gd name="connsiteY1656" fmla="*/ 91440 h 138429"/>
                <a:gd name="connsiteX1657" fmla="*/ 752476 w 4940931"/>
                <a:gd name="connsiteY1657" fmla="*/ 94615 h 138429"/>
                <a:gd name="connsiteX1658" fmla="*/ 755016 w 4940931"/>
                <a:gd name="connsiteY1658" fmla="*/ 95885 h 138429"/>
                <a:gd name="connsiteX1659" fmla="*/ 758826 w 4940931"/>
                <a:gd name="connsiteY1659" fmla="*/ 95885 h 138429"/>
                <a:gd name="connsiteX1660" fmla="*/ 765176 w 4940931"/>
                <a:gd name="connsiteY1660" fmla="*/ 95250 h 138429"/>
                <a:gd name="connsiteX1661" fmla="*/ 770256 w 4940931"/>
                <a:gd name="connsiteY1661" fmla="*/ 93345 h 138429"/>
                <a:gd name="connsiteX1662" fmla="*/ 768351 w 4940931"/>
                <a:gd name="connsiteY1662" fmla="*/ 106680 h 138429"/>
                <a:gd name="connsiteX1663" fmla="*/ 762001 w 4940931"/>
                <a:gd name="connsiteY1663" fmla="*/ 109220 h 138429"/>
                <a:gd name="connsiteX1664" fmla="*/ 753746 w 4940931"/>
                <a:gd name="connsiteY1664" fmla="*/ 110490 h 138429"/>
                <a:gd name="connsiteX1665" fmla="*/ 746761 w 4940931"/>
                <a:gd name="connsiteY1665" fmla="*/ 109220 h 138429"/>
                <a:gd name="connsiteX1666" fmla="*/ 741045 w 4940931"/>
                <a:gd name="connsiteY1666" fmla="*/ 105410 h 138429"/>
                <a:gd name="connsiteX1667" fmla="*/ 737236 w 4940931"/>
                <a:gd name="connsiteY1667" fmla="*/ 99060 h 138429"/>
                <a:gd name="connsiteX1668" fmla="*/ 735966 w 4940931"/>
                <a:gd name="connsiteY1668" fmla="*/ 89535 h 138429"/>
                <a:gd name="connsiteX1669" fmla="*/ 735966 w 4940931"/>
                <a:gd name="connsiteY1669" fmla="*/ 44450 h 138429"/>
                <a:gd name="connsiteX1670" fmla="*/ 725171 w 4940931"/>
                <a:gd name="connsiteY1670" fmla="*/ 44450 h 138429"/>
                <a:gd name="connsiteX1671" fmla="*/ 725171 w 4940931"/>
                <a:gd name="connsiteY1671" fmla="*/ 30480 h 138429"/>
                <a:gd name="connsiteX1672" fmla="*/ 735966 w 4940931"/>
                <a:gd name="connsiteY1672" fmla="*/ 30480 h 138429"/>
                <a:gd name="connsiteX1673" fmla="*/ 735966 w 4940931"/>
                <a:gd name="connsiteY1673" fmla="*/ 8255 h 138429"/>
                <a:gd name="connsiteX1674" fmla="*/ 521335 w 4940931"/>
                <a:gd name="connsiteY1674" fmla="*/ 0 h 138429"/>
                <a:gd name="connsiteX1675" fmla="*/ 521335 w 4940931"/>
                <a:gd name="connsiteY1675" fmla="*/ 30480 h 138429"/>
                <a:gd name="connsiteX1676" fmla="*/ 540385 w 4940931"/>
                <a:gd name="connsiteY1676" fmla="*/ 30480 h 138429"/>
                <a:gd name="connsiteX1677" fmla="*/ 540385 w 4940931"/>
                <a:gd name="connsiteY1677" fmla="*/ 44450 h 138429"/>
                <a:gd name="connsiteX1678" fmla="*/ 521335 w 4940931"/>
                <a:gd name="connsiteY1678" fmla="*/ 44450 h 138429"/>
                <a:gd name="connsiteX1679" fmla="*/ 521335 w 4940931"/>
                <a:gd name="connsiteY1679" fmla="*/ 86995 h 138429"/>
                <a:gd name="connsiteX1680" fmla="*/ 521335 w 4940931"/>
                <a:gd name="connsiteY1680" fmla="*/ 91440 h 138429"/>
                <a:gd name="connsiteX1681" fmla="*/ 522605 w 4940931"/>
                <a:gd name="connsiteY1681" fmla="*/ 94615 h 138429"/>
                <a:gd name="connsiteX1682" fmla="*/ 525145 w 4940931"/>
                <a:gd name="connsiteY1682" fmla="*/ 95885 h 138429"/>
                <a:gd name="connsiteX1683" fmla="*/ 528955 w 4940931"/>
                <a:gd name="connsiteY1683" fmla="*/ 95885 h 138429"/>
                <a:gd name="connsiteX1684" fmla="*/ 535305 w 4940931"/>
                <a:gd name="connsiteY1684" fmla="*/ 95250 h 138429"/>
                <a:gd name="connsiteX1685" fmla="*/ 540385 w 4940931"/>
                <a:gd name="connsiteY1685" fmla="*/ 93345 h 138429"/>
                <a:gd name="connsiteX1686" fmla="*/ 538480 w 4940931"/>
                <a:gd name="connsiteY1686" fmla="*/ 106680 h 138429"/>
                <a:gd name="connsiteX1687" fmla="*/ 532130 w 4940931"/>
                <a:gd name="connsiteY1687" fmla="*/ 109220 h 138429"/>
                <a:gd name="connsiteX1688" fmla="*/ 523875 w 4940931"/>
                <a:gd name="connsiteY1688" fmla="*/ 110490 h 138429"/>
                <a:gd name="connsiteX1689" fmla="*/ 516890 w 4940931"/>
                <a:gd name="connsiteY1689" fmla="*/ 109220 h 138429"/>
                <a:gd name="connsiteX1690" fmla="*/ 511175 w 4940931"/>
                <a:gd name="connsiteY1690" fmla="*/ 105410 h 138429"/>
                <a:gd name="connsiteX1691" fmla="*/ 507365 w 4940931"/>
                <a:gd name="connsiteY1691" fmla="*/ 99060 h 138429"/>
                <a:gd name="connsiteX1692" fmla="*/ 506095 w 4940931"/>
                <a:gd name="connsiteY1692" fmla="*/ 89535 h 138429"/>
                <a:gd name="connsiteX1693" fmla="*/ 506095 w 4940931"/>
                <a:gd name="connsiteY1693" fmla="*/ 44450 h 138429"/>
                <a:gd name="connsiteX1694" fmla="*/ 495300 w 4940931"/>
                <a:gd name="connsiteY1694" fmla="*/ 44450 h 138429"/>
                <a:gd name="connsiteX1695" fmla="*/ 495300 w 4940931"/>
                <a:gd name="connsiteY1695" fmla="*/ 30480 h 138429"/>
                <a:gd name="connsiteX1696" fmla="*/ 506095 w 4940931"/>
                <a:gd name="connsiteY1696" fmla="*/ 30480 h 138429"/>
                <a:gd name="connsiteX1697" fmla="*/ 506095 w 4940931"/>
                <a:gd name="connsiteY1697" fmla="*/ 8255 h 138429"/>
                <a:gd name="connsiteX1698" fmla="*/ 466724 w 4940931"/>
                <a:gd name="connsiteY1698" fmla="*/ 0 h 138429"/>
                <a:gd name="connsiteX1699" fmla="*/ 466724 w 4940931"/>
                <a:gd name="connsiteY1699" fmla="*/ 30480 h 138429"/>
                <a:gd name="connsiteX1700" fmla="*/ 485774 w 4940931"/>
                <a:gd name="connsiteY1700" fmla="*/ 30480 h 138429"/>
                <a:gd name="connsiteX1701" fmla="*/ 485774 w 4940931"/>
                <a:gd name="connsiteY1701" fmla="*/ 44450 h 138429"/>
                <a:gd name="connsiteX1702" fmla="*/ 466724 w 4940931"/>
                <a:gd name="connsiteY1702" fmla="*/ 44450 h 138429"/>
                <a:gd name="connsiteX1703" fmla="*/ 466724 w 4940931"/>
                <a:gd name="connsiteY1703" fmla="*/ 86995 h 138429"/>
                <a:gd name="connsiteX1704" fmla="*/ 466724 w 4940931"/>
                <a:gd name="connsiteY1704" fmla="*/ 91440 h 138429"/>
                <a:gd name="connsiteX1705" fmla="*/ 467994 w 4940931"/>
                <a:gd name="connsiteY1705" fmla="*/ 94615 h 138429"/>
                <a:gd name="connsiteX1706" fmla="*/ 470534 w 4940931"/>
                <a:gd name="connsiteY1706" fmla="*/ 95885 h 138429"/>
                <a:gd name="connsiteX1707" fmla="*/ 474344 w 4940931"/>
                <a:gd name="connsiteY1707" fmla="*/ 95885 h 138429"/>
                <a:gd name="connsiteX1708" fmla="*/ 480694 w 4940931"/>
                <a:gd name="connsiteY1708" fmla="*/ 95250 h 138429"/>
                <a:gd name="connsiteX1709" fmla="*/ 485774 w 4940931"/>
                <a:gd name="connsiteY1709" fmla="*/ 93345 h 138429"/>
                <a:gd name="connsiteX1710" fmla="*/ 483869 w 4940931"/>
                <a:gd name="connsiteY1710" fmla="*/ 106680 h 138429"/>
                <a:gd name="connsiteX1711" fmla="*/ 477519 w 4940931"/>
                <a:gd name="connsiteY1711" fmla="*/ 109220 h 138429"/>
                <a:gd name="connsiteX1712" fmla="*/ 469264 w 4940931"/>
                <a:gd name="connsiteY1712" fmla="*/ 110490 h 138429"/>
                <a:gd name="connsiteX1713" fmla="*/ 462279 w 4940931"/>
                <a:gd name="connsiteY1713" fmla="*/ 109220 h 138429"/>
                <a:gd name="connsiteX1714" fmla="*/ 456564 w 4940931"/>
                <a:gd name="connsiteY1714" fmla="*/ 105410 h 138429"/>
                <a:gd name="connsiteX1715" fmla="*/ 452754 w 4940931"/>
                <a:gd name="connsiteY1715" fmla="*/ 99060 h 138429"/>
                <a:gd name="connsiteX1716" fmla="*/ 451484 w 4940931"/>
                <a:gd name="connsiteY1716" fmla="*/ 89535 h 138429"/>
                <a:gd name="connsiteX1717" fmla="*/ 451484 w 4940931"/>
                <a:gd name="connsiteY1717" fmla="*/ 44450 h 138429"/>
                <a:gd name="connsiteX1718" fmla="*/ 440689 w 4940931"/>
                <a:gd name="connsiteY1718" fmla="*/ 44450 h 138429"/>
                <a:gd name="connsiteX1719" fmla="*/ 440689 w 4940931"/>
                <a:gd name="connsiteY1719" fmla="*/ 30480 h 138429"/>
                <a:gd name="connsiteX1720" fmla="*/ 451484 w 4940931"/>
                <a:gd name="connsiteY1720" fmla="*/ 30480 h 138429"/>
                <a:gd name="connsiteX1721" fmla="*/ 451484 w 4940931"/>
                <a:gd name="connsiteY1721" fmla="*/ 8255 h 138429"/>
                <a:gd name="connsiteX1722" fmla="*/ 302259 w 4940931"/>
                <a:gd name="connsiteY1722" fmla="*/ 0 h 138429"/>
                <a:gd name="connsiteX1723" fmla="*/ 302259 w 4940931"/>
                <a:gd name="connsiteY1723" fmla="*/ 37465 h 138429"/>
                <a:gd name="connsiteX1724" fmla="*/ 306704 w 4940931"/>
                <a:gd name="connsiteY1724" fmla="*/ 33655 h 138429"/>
                <a:gd name="connsiteX1725" fmla="*/ 310514 w 4940931"/>
                <a:gd name="connsiteY1725" fmla="*/ 31115 h 138429"/>
                <a:gd name="connsiteX1726" fmla="*/ 315594 w 4940931"/>
                <a:gd name="connsiteY1726" fmla="*/ 29210 h 138429"/>
                <a:gd name="connsiteX1727" fmla="*/ 322579 w 4940931"/>
                <a:gd name="connsiteY1727" fmla="*/ 28575 h 138429"/>
                <a:gd name="connsiteX1728" fmla="*/ 334644 w 4940931"/>
                <a:gd name="connsiteY1728" fmla="*/ 31115 h 138429"/>
                <a:gd name="connsiteX1729" fmla="*/ 344169 w 4940931"/>
                <a:gd name="connsiteY1729" fmla="*/ 38735 h 138429"/>
                <a:gd name="connsiteX1730" fmla="*/ 350519 w 4940931"/>
                <a:gd name="connsiteY1730" fmla="*/ 51435 h 138429"/>
                <a:gd name="connsiteX1731" fmla="*/ 353059 w 4940931"/>
                <a:gd name="connsiteY1731" fmla="*/ 70485 h 138429"/>
                <a:gd name="connsiteX1732" fmla="*/ 352424 w 4940931"/>
                <a:gd name="connsiteY1732" fmla="*/ 71120 h 138429"/>
                <a:gd name="connsiteX1733" fmla="*/ 349884 w 4940931"/>
                <a:gd name="connsiteY1733" fmla="*/ 88265 h 138429"/>
                <a:gd name="connsiteX1734" fmla="*/ 342899 w 4940931"/>
                <a:gd name="connsiteY1734" fmla="*/ 100330 h 138429"/>
                <a:gd name="connsiteX1735" fmla="*/ 333374 w 4940931"/>
                <a:gd name="connsiteY1735" fmla="*/ 107315 h 138429"/>
                <a:gd name="connsiteX1736" fmla="*/ 321944 w 4940931"/>
                <a:gd name="connsiteY1736" fmla="*/ 109855 h 138429"/>
                <a:gd name="connsiteX1737" fmla="*/ 311149 w 4940931"/>
                <a:gd name="connsiteY1737" fmla="*/ 107315 h 138429"/>
                <a:gd name="connsiteX1738" fmla="*/ 302259 w 4940931"/>
                <a:gd name="connsiteY1738" fmla="*/ 100965 h 138429"/>
                <a:gd name="connsiteX1739" fmla="*/ 302259 w 4940931"/>
                <a:gd name="connsiteY1739" fmla="*/ 107950 h 138429"/>
                <a:gd name="connsiteX1740" fmla="*/ 287019 w 4940931"/>
                <a:gd name="connsiteY1740" fmla="*/ 107950 h 138429"/>
                <a:gd name="connsiteX1741" fmla="*/ 287019 w 4940931"/>
                <a:gd name="connsiteY1741" fmla="*/ 7620 h 138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</a:cxnLst>
              <a:rect l="l" t="t" r="r" b="b"/>
              <a:pathLst>
                <a:path w="4940931" h="138429">
                  <a:moveTo>
                    <a:pt x="1032512" y="137477"/>
                  </a:moveTo>
                  <a:lnTo>
                    <a:pt x="1032512" y="137794"/>
                  </a:lnTo>
                  <a:lnTo>
                    <a:pt x="1030607" y="138429"/>
                  </a:lnTo>
                  <a:close/>
                  <a:moveTo>
                    <a:pt x="4929501" y="87629"/>
                  </a:moveTo>
                  <a:cubicBezTo>
                    <a:pt x="4930771" y="87629"/>
                    <a:pt x="4932676" y="87629"/>
                    <a:pt x="4933946" y="88264"/>
                  </a:cubicBezTo>
                  <a:cubicBezTo>
                    <a:pt x="4935216" y="88264"/>
                    <a:pt x="4936486" y="89534"/>
                    <a:pt x="4937756" y="90804"/>
                  </a:cubicBezTo>
                  <a:cubicBezTo>
                    <a:pt x="4939026" y="92074"/>
                    <a:pt x="4939661" y="93344"/>
                    <a:pt x="4940296" y="94614"/>
                  </a:cubicBezTo>
                  <a:cubicBezTo>
                    <a:pt x="4940296" y="95884"/>
                    <a:pt x="4940931" y="97789"/>
                    <a:pt x="4940931" y="99059"/>
                  </a:cubicBezTo>
                  <a:cubicBezTo>
                    <a:pt x="4940931" y="99059"/>
                    <a:pt x="4940931" y="102234"/>
                    <a:pt x="4940296" y="103504"/>
                  </a:cubicBezTo>
                  <a:cubicBezTo>
                    <a:pt x="4940296" y="104774"/>
                    <a:pt x="4939026" y="106044"/>
                    <a:pt x="4937756" y="107314"/>
                  </a:cubicBezTo>
                  <a:cubicBezTo>
                    <a:pt x="4936486" y="108584"/>
                    <a:pt x="4935216" y="109219"/>
                    <a:pt x="4933946" y="109854"/>
                  </a:cubicBezTo>
                  <a:cubicBezTo>
                    <a:pt x="4932676" y="109854"/>
                    <a:pt x="4930771" y="110489"/>
                    <a:pt x="4929501" y="110489"/>
                  </a:cubicBezTo>
                  <a:cubicBezTo>
                    <a:pt x="4928231" y="110489"/>
                    <a:pt x="4926326" y="110489"/>
                    <a:pt x="4925056" y="109854"/>
                  </a:cubicBezTo>
                  <a:cubicBezTo>
                    <a:pt x="4923786" y="109854"/>
                    <a:pt x="4922516" y="108584"/>
                    <a:pt x="4921246" y="107314"/>
                  </a:cubicBezTo>
                  <a:cubicBezTo>
                    <a:pt x="4919976" y="106044"/>
                    <a:pt x="4919341" y="104774"/>
                    <a:pt x="4918706" y="103504"/>
                  </a:cubicBezTo>
                  <a:cubicBezTo>
                    <a:pt x="4918706" y="102234"/>
                    <a:pt x="4918071" y="100329"/>
                    <a:pt x="4918071" y="99059"/>
                  </a:cubicBezTo>
                  <a:cubicBezTo>
                    <a:pt x="4918071" y="97789"/>
                    <a:pt x="4918071" y="95884"/>
                    <a:pt x="4918706" y="94614"/>
                  </a:cubicBezTo>
                  <a:cubicBezTo>
                    <a:pt x="4918706" y="93344"/>
                    <a:pt x="4919976" y="92074"/>
                    <a:pt x="4921246" y="90804"/>
                  </a:cubicBezTo>
                  <a:cubicBezTo>
                    <a:pt x="4922516" y="89534"/>
                    <a:pt x="4923786" y="88899"/>
                    <a:pt x="4925056" y="88264"/>
                  </a:cubicBezTo>
                  <a:cubicBezTo>
                    <a:pt x="4926326" y="88264"/>
                    <a:pt x="4928231" y="87629"/>
                    <a:pt x="4929501" y="87629"/>
                  </a:cubicBezTo>
                  <a:close/>
                  <a:moveTo>
                    <a:pt x="3079110" y="87629"/>
                  </a:moveTo>
                  <a:cubicBezTo>
                    <a:pt x="3080380" y="87629"/>
                    <a:pt x="3082285" y="87629"/>
                    <a:pt x="3083555" y="88264"/>
                  </a:cubicBezTo>
                  <a:cubicBezTo>
                    <a:pt x="3084825" y="88264"/>
                    <a:pt x="3086095" y="89534"/>
                    <a:pt x="3087365" y="90804"/>
                  </a:cubicBezTo>
                  <a:cubicBezTo>
                    <a:pt x="3088635" y="92074"/>
                    <a:pt x="3089270" y="93344"/>
                    <a:pt x="3089905" y="94614"/>
                  </a:cubicBezTo>
                  <a:cubicBezTo>
                    <a:pt x="3089905" y="95884"/>
                    <a:pt x="3090540" y="97789"/>
                    <a:pt x="3090540" y="99059"/>
                  </a:cubicBezTo>
                  <a:cubicBezTo>
                    <a:pt x="3090540" y="99059"/>
                    <a:pt x="3090540" y="102234"/>
                    <a:pt x="3089905" y="103504"/>
                  </a:cubicBezTo>
                  <a:cubicBezTo>
                    <a:pt x="3089905" y="104774"/>
                    <a:pt x="3088635" y="106044"/>
                    <a:pt x="3087365" y="107314"/>
                  </a:cubicBezTo>
                  <a:cubicBezTo>
                    <a:pt x="3086095" y="108584"/>
                    <a:pt x="3084825" y="109219"/>
                    <a:pt x="3083555" y="109854"/>
                  </a:cubicBezTo>
                  <a:cubicBezTo>
                    <a:pt x="3082285" y="109854"/>
                    <a:pt x="3080380" y="110489"/>
                    <a:pt x="3079110" y="110489"/>
                  </a:cubicBezTo>
                  <a:cubicBezTo>
                    <a:pt x="3077840" y="110489"/>
                    <a:pt x="3075935" y="110489"/>
                    <a:pt x="3074665" y="109854"/>
                  </a:cubicBezTo>
                  <a:cubicBezTo>
                    <a:pt x="3073395" y="109854"/>
                    <a:pt x="3072125" y="108584"/>
                    <a:pt x="3070855" y="107314"/>
                  </a:cubicBezTo>
                  <a:cubicBezTo>
                    <a:pt x="3069585" y="106044"/>
                    <a:pt x="3068950" y="104774"/>
                    <a:pt x="3068315" y="103504"/>
                  </a:cubicBezTo>
                  <a:cubicBezTo>
                    <a:pt x="3068315" y="102234"/>
                    <a:pt x="3067680" y="100329"/>
                    <a:pt x="3067680" y="99059"/>
                  </a:cubicBezTo>
                  <a:cubicBezTo>
                    <a:pt x="3067680" y="97789"/>
                    <a:pt x="3067680" y="95884"/>
                    <a:pt x="3068315" y="94614"/>
                  </a:cubicBezTo>
                  <a:cubicBezTo>
                    <a:pt x="3068315" y="93344"/>
                    <a:pt x="3069585" y="92074"/>
                    <a:pt x="3070855" y="90804"/>
                  </a:cubicBezTo>
                  <a:cubicBezTo>
                    <a:pt x="3072125" y="89534"/>
                    <a:pt x="3073395" y="88899"/>
                    <a:pt x="3074665" y="88264"/>
                  </a:cubicBezTo>
                  <a:cubicBezTo>
                    <a:pt x="3075935" y="88264"/>
                    <a:pt x="3077840" y="87629"/>
                    <a:pt x="3079110" y="87629"/>
                  </a:cubicBezTo>
                  <a:close/>
                  <a:moveTo>
                    <a:pt x="1565275" y="87629"/>
                  </a:moveTo>
                  <a:cubicBezTo>
                    <a:pt x="1566545" y="87629"/>
                    <a:pt x="1568450" y="87629"/>
                    <a:pt x="1569720" y="88264"/>
                  </a:cubicBezTo>
                  <a:cubicBezTo>
                    <a:pt x="1570990" y="88264"/>
                    <a:pt x="1572260" y="89534"/>
                    <a:pt x="1573529" y="90804"/>
                  </a:cubicBezTo>
                  <a:cubicBezTo>
                    <a:pt x="1574800" y="92074"/>
                    <a:pt x="1575435" y="93344"/>
                    <a:pt x="1576069" y="94614"/>
                  </a:cubicBezTo>
                  <a:cubicBezTo>
                    <a:pt x="1576069" y="95884"/>
                    <a:pt x="1576705" y="97789"/>
                    <a:pt x="1576705" y="99059"/>
                  </a:cubicBezTo>
                  <a:cubicBezTo>
                    <a:pt x="1576705" y="99059"/>
                    <a:pt x="1576705" y="102234"/>
                    <a:pt x="1576069" y="103504"/>
                  </a:cubicBezTo>
                  <a:cubicBezTo>
                    <a:pt x="1576069" y="104774"/>
                    <a:pt x="1574800" y="106044"/>
                    <a:pt x="1573529" y="107314"/>
                  </a:cubicBezTo>
                  <a:cubicBezTo>
                    <a:pt x="1572260" y="108584"/>
                    <a:pt x="1570990" y="109219"/>
                    <a:pt x="1569720" y="109854"/>
                  </a:cubicBezTo>
                  <a:cubicBezTo>
                    <a:pt x="1568450" y="109854"/>
                    <a:pt x="1566545" y="110489"/>
                    <a:pt x="1565275" y="110489"/>
                  </a:cubicBezTo>
                  <a:cubicBezTo>
                    <a:pt x="1564005" y="110489"/>
                    <a:pt x="1562099" y="110489"/>
                    <a:pt x="1560830" y="109854"/>
                  </a:cubicBezTo>
                  <a:cubicBezTo>
                    <a:pt x="1559559" y="109854"/>
                    <a:pt x="1558289" y="108584"/>
                    <a:pt x="1557020" y="107314"/>
                  </a:cubicBezTo>
                  <a:cubicBezTo>
                    <a:pt x="1555750" y="106044"/>
                    <a:pt x="1555114" y="104774"/>
                    <a:pt x="1554479" y="103504"/>
                  </a:cubicBezTo>
                  <a:cubicBezTo>
                    <a:pt x="1554479" y="102234"/>
                    <a:pt x="1553844" y="100329"/>
                    <a:pt x="1553844" y="99059"/>
                  </a:cubicBezTo>
                  <a:cubicBezTo>
                    <a:pt x="1553844" y="97789"/>
                    <a:pt x="1553844" y="95884"/>
                    <a:pt x="1554479" y="94614"/>
                  </a:cubicBezTo>
                  <a:cubicBezTo>
                    <a:pt x="1554479" y="93344"/>
                    <a:pt x="1555750" y="92074"/>
                    <a:pt x="1557020" y="90804"/>
                  </a:cubicBezTo>
                  <a:cubicBezTo>
                    <a:pt x="1558289" y="89534"/>
                    <a:pt x="1559559" y="88899"/>
                    <a:pt x="1560830" y="88264"/>
                  </a:cubicBezTo>
                  <a:cubicBezTo>
                    <a:pt x="1562099" y="88264"/>
                    <a:pt x="1564005" y="87629"/>
                    <a:pt x="1565275" y="87629"/>
                  </a:cubicBezTo>
                  <a:close/>
                  <a:moveTo>
                    <a:pt x="2642230" y="73024"/>
                  </a:moveTo>
                  <a:cubicBezTo>
                    <a:pt x="2637150" y="73024"/>
                    <a:pt x="2633340" y="74294"/>
                    <a:pt x="2630800" y="76199"/>
                  </a:cubicBezTo>
                  <a:cubicBezTo>
                    <a:pt x="2627625" y="78104"/>
                    <a:pt x="2626355" y="81279"/>
                    <a:pt x="2626355" y="84454"/>
                  </a:cubicBezTo>
                  <a:cubicBezTo>
                    <a:pt x="2626355" y="86994"/>
                    <a:pt x="2626355" y="88899"/>
                    <a:pt x="2627625" y="90169"/>
                  </a:cubicBezTo>
                  <a:cubicBezTo>
                    <a:pt x="2628260" y="92074"/>
                    <a:pt x="2629530" y="93344"/>
                    <a:pt x="2630800" y="93979"/>
                  </a:cubicBezTo>
                  <a:cubicBezTo>
                    <a:pt x="2632070" y="95249"/>
                    <a:pt x="2633340" y="95884"/>
                    <a:pt x="2635245" y="96519"/>
                  </a:cubicBezTo>
                  <a:cubicBezTo>
                    <a:pt x="2637150" y="96519"/>
                    <a:pt x="2639055" y="97154"/>
                    <a:pt x="2641595" y="97154"/>
                  </a:cubicBezTo>
                  <a:cubicBezTo>
                    <a:pt x="2643500" y="97154"/>
                    <a:pt x="2645405" y="97154"/>
                    <a:pt x="2647310" y="96519"/>
                  </a:cubicBezTo>
                  <a:cubicBezTo>
                    <a:pt x="2649215" y="96519"/>
                    <a:pt x="2651120" y="95249"/>
                    <a:pt x="2652390" y="93979"/>
                  </a:cubicBezTo>
                  <a:cubicBezTo>
                    <a:pt x="2654295" y="93344"/>
                    <a:pt x="2655565" y="92074"/>
                    <a:pt x="2656835" y="90804"/>
                  </a:cubicBezTo>
                  <a:cubicBezTo>
                    <a:pt x="2658105" y="89534"/>
                    <a:pt x="2659375" y="88264"/>
                    <a:pt x="2660010" y="86994"/>
                  </a:cubicBezTo>
                  <a:lnTo>
                    <a:pt x="2660010" y="75564"/>
                  </a:lnTo>
                  <a:cubicBezTo>
                    <a:pt x="2660010" y="75564"/>
                    <a:pt x="2657470" y="74294"/>
                    <a:pt x="2656200" y="74294"/>
                  </a:cubicBezTo>
                  <a:cubicBezTo>
                    <a:pt x="2654930" y="74294"/>
                    <a:pt x="2653660" y="73659"/>
                    <a:pt x="2652390" y="73659"/>
                  </a:cubicBezTo>
                  <a:cubicBezTo>
                    <a:pt x="2651120" y="73659"/>
                    <a:pt x="2649850" y="73659"/>
                    <a:pt x="2647945" y="73024"/>
                  </a:cubicBezTo>
                  <a:cubicBezTo>
                    <a:pt x="2646040" y="73024"/>
                    <a:pt x="2644135" y="73024"/>
                    <a:pt x="2642230" y="73024"/>
                  </a:cubicBezTo>
                  <a:close/>
                  <a:moveTo>
                    <a:pt x="4664706" y="43814"/>
                  </a:moveTo>
                  <a:cubicBezTo>
                    <a:pt x="4661531" y="43814"/>
                    <a:pt x="4658991" y="43814"/>
                    <a:pt x="4657086" y="45719"/>
                  </a:cubicBezTo>
                  <a:cubicBezTo>
                    <a:pt x="4654546" y="46989"/>
                    <a:pt x="4652641" y="48894"/>
                    <a:pt x="4651371" y="50799"/>
                  </a:cubicBezTo>
                  <a:cubicBezTo>
                    <a:pt x="4649466" y="53339"/>
                    <a:pt x="4648831" y="55879"/>
                    <a:pt x="4647561" y="59054"/>
                  </a:cubicBezTo>
                  <a:cubicBezTo>
                    <a:pt x="4646926" y="62229"/>
                    <a:pt x="4646291" y="65404"/>
                    <a:pt x="4646291" y="69849"/>
                  </a:cubicBezTo>
                  <a:cubicBezTo>
                    <a:pt x="4646291" y="74294"/>
                    <a:pt x="4646291" y="78104"/>
                    <a:pt x="4647561" y="81279"/>
                  </a:cubicBezTo>
                  <a:cubicBezTo>
                    <a:pt x="4648196" y="84454"/>
                    <a:pt x="4650101" y="87629"/>
                    <a:pt x="4651371" y="89534"/>
                  </a:cubicBezTo>
                  <a:cubicBezTo>
                    <a:pt x="4653276" y="92074"/>
                    <a:pt x="4655181" y="93344"/>
                    <a:pt x="4657721" y="94614"/>
                  </a:cubicBezTo>
                  <a:cubicBezTo>
                    <a:pt x="4660261" y="95884"/>
                    <a:pt x="4662801" y="96519"/>
                    <a:pt x="4665341" y="96519"/>
                  </a:cubicBezTo>
                  <a:cubicBezTo>
                    <a:pt x="4667881" y="96519"/>
                    <a:pt x="4671056" y="95884"/>
                    <a:pt x="4672961" y="94614"/>
                  </a:cubicBezTo>
                  <a:cubicBezTo>
                    <a:pt x="4675501" y="93344"/>
                    <a:pt x="4677406" y="91439"/>
                    <a:pt x="4678676" y="88899"/>
                  </a:cubicBezTo>
                  <a:cubicBezTo>
                    <a:pt x="4680581" y="86359"/>
                    <a:pt x="4681851" y="83819"/>
                    <a:pt x="4682486" y="80644"/>
                  </a:cubicBezTo>
                  <a:cubicBezTo>
                    <a:pt x="4683121" y="77469"/>
                    <a:pt x="4683756" y="74294"/>
                    <a:pt x="4683756" y="70484"/>
                  </a:cubicBezTo>
                  <a:lnTo>
                    <a:pt x="4684391" y="69849"/>
                  </a:lnTo>
                  <a:cubicBezTo>
                    <a:pt x="4684391" y="66039"/>
                    <a:pt x="4684391" y="62229"/>
                    <a:pt x="4683121" y="59054"/>
                  </a:cubicBezTo>
                  <a:cubicBezTo>
                    <a:pt x="4682486" y="55879"/>
                    <a:pt x="4680581" y="53339"/>
                    <a:pt x="4679311" y="50799"/>
                  </a:cubicBezTo>
                  <a:cubicBezTo>
                    <a:pt x="4677406" y="48259"/>
                    <a:pt x="4675501" y="46989"/>
                    <a:pt x="4672961" y="45719"/>
                  </a:cubicBezTo>
                  <a:cubicBezTo>
                    <a:pt x="4670421" y="44449"/>
                    <a:pt x="4667881" y="43814"/>
                    <a:pt x="4664706" y="43814"/>
                  </a:cubicBezTo>
                  <a:close/>
                  <a:moveTo>
                    <a:pt x="4264020" y="43814"/>
                  </a:moveTo>
                  <a:cubicBezTo>
                    <a:pt x="4260845" y="43814"/>
                    <a:pt x="4258305" y="43814"/>
                    <a:pt x="4256400" y="45719"/>
                  </a:cubicBezTo>
                  <a:cubicBezTo>
                    <a:pt x="4253860" y="46989"/>
                    <a:pt x="4251955" y="48894"/>
                    <a:pt x="4250685" y="50799"/>
                  </a:cubicBezTo>
                  <a:cubicBezTo>
                    <a:pt x="4248780" y="53339"/>
                    <a:pt x="4247510" y="55879"/>
                    <a:pt x="4246875" y="59054"/>
                  </a:cubicBezTo>
                  <a:cubicBezTo>
                    <a:pt x="4246240" y="62229"/>
                    <a:pt x="4245605" y="65404"/>
                    <a:pt x="4245605" y="69849"/>
                  </a:cubicBezTo>
                  <a:cubicBezTo>
                    <a:pt x="4245605" y="74294"/>
                    <a:pt x="4245605" y="78104"/>
                    <a:pt x="4246875" y="81279"/>
                  </a:cubicBezTo>
                  <a:cubicBezTo>
                    <a:pt x="4247510" y="84454"/>
                    <a:pt x="4249415" y="87629"/>
                    <a:pt x="4250685" y="89534"/>
                  </a:cubicBezTo>
                  <a:cubicBezTo>
                    <a:pt x="4252590" y="92074"/>
                    <a:pt x="4254495" y="93344"/>
                    <a:pt x="4257035" y="94614"/>
                  </a:cubicBezTo>
                  <a:cubicBezTo>
                    <a:pt x="4259575" y="95884"/>
                    <a:pt x="4262115" y="96519"/>
                    <a:pt x="4264655" y="96519"/>
                  </a:cubicBezTo>
                  <a:cubicBezTo>
                    <a:pt x="4267195" y="96519"/>
                    <a:pt x="4270370" y="95884"/>
                    <a:pt x="4272275" y="94614"/>
                  </a:cubicBezTo>
                  <a:cubicBezTo>
                    <a:pt x="4274815" y="93344"/>
                    <a:pt x="4276720" y="91439"/>
                    <a:pt x="4277990" y="88899"/>
                  </a:cubicBezTo>
                  <a:cubicBezTo>
                    <a:pt x="4279895" y="86359"/>
                    <a:pt x="4281165" y="83819"/>
                    <a:pt x="4281800" y="80644"/>
                  </a:cubicBezTo>
                  <a:cubicBezTo>
                    <a:pt x="4282435" y="77469"/>
                    <a:pt x="4283070" y="74294"/>
                    <a:pt x="4283070" y="70484"/>
                  </a:cubicBezTo>
                  <a:lnTo>
                    <a:pt x="4283705" y="69849"/>
                  </a:lnTo>
                  <a:cubicBezTo>
                    <a:pt x="4283705" y="66039"/>
                    <a:pt x="4283705" y="62229"/>
                    <a:pt x="4282435" y="59054"/>
                  </a:cubicBezTo>
                  <a:cubicBezTo>
                    <a:pt x="4281800" y="55879"/>
                    <a:pt x="4279895" y="53339"/>
                    <a:pt x="4278625" y="50799"/>
                  </a:cubicBezTo>
                  <a:cubicBezTo>
                    <a:pt x="4276720" y="48259"/>
                    <a:pt x="4274815" y="46989"/>
                    <a:pt x="4272275" y="45719"/>
                  </a:cubicBezTo>
                  <a:cubicBezTo>
                    <a:pt x="4269735" y="44449"/>
                    <a:pt x="4267195" y="43814"/>
                    <a:pt x="4264020" y="43814"/>
                  </a:cubicBezTo>
                  <a:close/>
                  <a:moveTo>
                    <a:pt x="1420495" y="43814"/>
                  </a:moveTo>
                  <a:cubicBezTo>
                    <a:pt x="1417320" y="43814"/>
                    <a:pt x="1414780" y="43814"/>
                    <a:pt x="1412875" y="45719"/>
                  </a:cubicBezTo>
                  <a:cubicBezTo>
                    <a:pt x="1410335" y="46989"/>
                    <a:pt x="1408430" y="48894"/>
                    <a:pt x="1407160" y="50799"/>
                  </a:cubicBezTo>
                  <a:cubicBezTo>
                    <a:pt x="1405255" y="53339"/>
                    <a:pt x="1403985" y="55879"/>
                    <a:pt x="1403350" y="59054"/>
                  </a:cubicBezTo>
                  <a:cubicBezTo>
                    <a:pt x="1402715" y="62229"/>
                    <a:pt x="1402080" y="65404"/>
                    <a:pt x="1402080" y="69849"/>
                  </a:cubicBezTo>
                  <a:cubicBezTo>
                    <a:pt x="1402080" y="74294"/>
                    <a:pt x="1402080" y="78104"/>
                    <a:pt x="1403350" y="81279"/>
                  </a:cubicBezTo>
                  <a:cubicBezTo>
                    <a:pt x="1403985" y="84454"/>
                    <a:pt x="1405890" y="87629"/>
                    <a:pt x="1407160" y="89534"/>
                  </a:cubicBezTo>
                  <a:cubicBezTo>
                    <a:pt x="1409065" y="92074"/>
                    <a:pt x="1410970" y="93344"/>
                    <a:pt x="1413510" y="94614"/>
                  </a:cubicBezTo>
                  <a:cubicBezTo>
                    <a:pt x="1416050" y="95884"/>
                    <a:pt x="1418590" y="96519"/>
                    <a:pt x="1421130" y="96519"/>
                  </a:cubicBezTo>
                  <a:cubicBezTo>
                    <a:pt x="1423670" y="96519"/>
                    <a:pt x="1426845" y="95884"/>
                    <a:pt x="1428750" y="94614"/>
                  </a:cubicBezTo>
                  <a:cubicBezTo>
                    <a:pt x="1431290" y="93344"/>
                    <a:pt x="1433195" y="91439"/>
                    <a:pt x="1434465" y="88899"/>
                  </a:cubicBezTo>
                  <a:cubicBezTo>
                    <a:pt x="1436370" y="86359"/>
                    <a:pt x="1437640" y="83819"/>
                    <a:pt x="1438275" y="80644"/>
                  </a:cubicBezTo>
                  <a:cubicBezTo>
                    <a:pt x="1438910" y="77469"/>
                    <a:pt x="1439545" y="74294"/>
                    <a:pt x="1439545" y="70484"/>
                  </a:cubicBezTo>
                  <a:lnTo>
                    <a:pt x="1440180" y="69849"/>
                  </a:lnTo>
                  <a:cubicBezTo>
                    <a:pt x="1440180" y="66039"/>
                    <a:pt x="1440180" y="62229"/>
                    <a:pt x="1438910" y="59054"/>
                  </a:cubicBezTo>
                  <a:cubicBezTo>
                    <a:pt x="1438275" y="55879"/>
                    <a:pt x="1436370" y="53339"/>
                    <a:pt x="1435100" y="50799"/>
                  </a:cubicBezTo>
                  <a:cubicBezTo>
                    <a:pt x="1433195" y="48259"/>
                    <a:pt x="1431290" y="46989"/>
                    <a:pt x="1428750" y="45719"/>
                  </a:cubicBezTo>
                  <a:cubicBezTo>
                    <a:pt x="1426210" y="44449"/>
                    <a:pt x="1423670" y="43814"/>
                    <a:pt x="1420495" y="43814"/>
                  </a:cubicBezTo>
                  <a:close/>
                  <a:moveTo>
                    <a:pt x="4041770" y="43180"/>
                  </a:moveTo>
                  <a:cubicBezTo>
                    <a:pt x="4039230" y="43180"/>
                    <a:pt x="4036690" y="43180"/>
                    <a:pt x="4034785" y="44450"/>
                  </a:cubicBezTo>
                  <a:cubicBezTo>
                    <a:pt x="4032880" y="45085"/>
                    <a:pt x="4030975" y="46355"/>
                    <a:pt x="4029705" y="48260"/>
                  </a:cubicBezTo>
                  <a:cubicBezTo>
                    <a:pt x="4028435" y="50165"/>
                    <a:pt x="4027165" y="52070"/>
                    <a:pt x="4025895" y="54610"/>
                  </a:cubicBezTo>
                  <a:cubicBezTo>
                    <a:pt x="4025260" y="57150"/>
                    <a:pt x="4023990" y="59690"/>
                    <a:pt x="4023990" y="62865"/>
                  </a:cubicBezTo>
                  <a:lnTo>
                    <a:pt x="4060185" y="62865"/>
                  </a:lnTo>
                  <a:cubicBezTo>
                    <a:pt x="4060185" y="62865"/>
                    <a:pt x="4059550" y="57785"/>
                    <a:pt x="4058915" y="55245"/>
                  </a:cubicBezTo>
                  <a:cubicBezTo>
                    <a:pt x="4058280" y="52705"/>
                    <a:pt x="4057010" y="50800"/>
                    <a:pt x="4055740" y="48895"/>
                  </a:cubicBezTo>
                  <a:cubicBezTo>
                    <a:pt x="4054470" y="46990"/>
                    <a:pt x="4052565" y="45720"/>
                    <a:pt x="4050025" y="44450"/>
                  </a:cubicBezTo>
                  <a:cubicBezTo>
                    <a:pt x="4047485" y="43180"/>
                    <a:pt x="4044945" y="43180"/>
                    <a:pt x="4041770" y="43180"/>
                  </a:cubicBezTo>
                  <a:close/>
                  <a:moveTo>
                    <a:pt x="3728081" y="43180"/>
                  </a:moveTo>
                  <a:cubicBezTo>
                    <a:pt x="3725541" y="43180"/>
                    <a:pt x="3723001" y="43180"/>
                    <a:pt x="3721096" y="44450"/>
                  </a:cubicBezTo>
                  <a:cubicBezTo>
                    <a:pt x="3719191" y="45085"/>
                    <a:pt x="3717286" y="46355"/>
                    <a:pt x="3716016" y="48260"/>
                  </a:cubicBezTo>
                  <a:cubicBezTo>
                    <a:pt x="3714746" y="50165"/>
                    <a:pt x="3713476" y="52070"/>
                    <a:pt x="3712206" y="54610"/>
                  </a:cubicBezTo>
                  <a:cubicBezTo>
                    <a:pt x="3711571" y="57150"/>
                    <a:pt x="3710301" y="59690"/>
                    <a:pt x="3710301" y="62865"/>
                  </a:cubicBezTo>
                  <a:lnTo>
                    <a:pt x="3746496" y="62865"/>
                  </a:lnTo>
                  <a:cubicBezTo>
                    <a:pt x="3746496" y="62865"/>
                    <a:pt x="3745861" y="57785"/>
                    <a:pt x="3745226" y="55245"/>
                  </a:cubicBezTo>
                  <a:cubicBezTo>
                    <a:pt x="3744591" y="52705"/>
                    <a:pt x="3743321" y="50800"/>
                    <a:pt x="3742051" y="48895"/>
                  </a:cubicBezTo>
                  <a:cubicBezTo>
                    <a:pt x="3740781" y="46990"/>
                    <a:pt x="3738876" y="45720"/>
                    <a:pt x="3736336" y="44450"/>
                  </a:cubicBezTo>
                  <a:cubicBezTo>
                    <a:pt x="3733796" y="43180"/>
                    <a:pt x="3731256" y="43180"/>
                    <a:pt x="3728081" y="43180"/>
                  </a:cubicBezTo>
                  <a:close/>
                  <a:moveTo>
                    <a:pt x="3541391" y="43180"/>
                  </a:moveTo>
                  <a:cubicBezTo>
                    <a:pt x="3538851" y="43180"/>
                    <a:pt x="3536311" y="43180"/>
                    <a:pt x="3534406" y="44450"/>
                  </a:cubicBezTo>
                  <a:cubicBezTo>
                    <a:pt x="3532501" y="45085"/>
                    <a:pt x="3530596" y="46355"/>
                    <a:pt x="3529326" y="48260"/>
                  </a:cubicBezTo>
                  <a:cubicBezTo>
                    <a:pt x="3528056" y="50165"/>
                    <a:pt x="3526786" y="52070"/>
                    <a:pt x="3525516" y="54610"/>
                  </a:cubicBezTo>
                  <a:cubicBezTo>
                    <a:pt x="3524881" y="57150"/>
                    <a:pt x="3524246" y="59690"/>
                    <a:pt x="3523611" y="62865"/>
                  </a:cubicBezTo>
                  <a:lnTo>
                    <a:pt x="3559806" y="62865"/>
                  </a:lnTo>
                  <a:cubicBezTo>
                    <a:pt x="3559806" y="62865"/>
                    <a:pt x="3559171" y="57785"/>
                    <a:pt x="3558536" y="55245"/>
                  </a:cubicBezTo>
                  <a:cubicBezTo>
                    <a:pt x="3557901" y="52705"/>
                    <a:pt x="3556631" y="50800"/>
                    <a:pt x="3555361" y="48895"/>
                  </a:cubicBezTo>
                  <a:cubicBezTo>
                    <a:pt x="3554091" y="46990"/>
                    <a:pt x="3552186" y="45720"/>
                    <a:pt x="3549646" y="44450"/>
                  </a:cubicBezTo>
                  <a:cubicBezTo>
                    <a:pt x="3547106" y="43180"/>
                    <a:pt x="3544566" y="43180"/>
                    <a:pt x="3541391" y="43180"/>
                  </a:cubicBezTo>
                  <a:close/>
                  <a:moveTo>
                    <a:pt x="3463285" y="43180"/>
                  </a:moveTo>
                  <a:cubicBezTo>
                    <a:pt x="3461380" y="43180"/>
                    <a:pt x="3459475" y="43180"/>
                    <a:pt x="3458205" y="43815"/>
                  </a:cubicBezTo>
                  <a:cubicBezTo>
                    <a:pt x="3456300" y="43815"/>
                    <a:pt x="3455030" y="45085"/>
                    <a:pt x="3453125" y="45720"/>
                  </a:cubicBezTo>
                  <a:cubicBezTo>
                    <a:pt x="3451855" y="46355"/>
                    <a:pt x="3449950" y="47625"/>
                    <a:pt x="3448680" y="48895"/>
                  </a:cubicBezTo>
                  <a:cubicBezTo>
                    <a:pt x="3447410" y="50165"/>
                    <a:pt x="3446140" y="51435"/>
                    <a:pt x="3445505" y="52705"/>
                  </a:cubicBezTo>
                  <a:lnTo>
                    <a:pt x="3445505" y="85725"/>
                  </a:lnTo>
                  <a:cubicBezTo>
                    <a:pt x="3445505" y="85725"/>
                    <a:pt x="3447410" y="88265"/>
                    <a:pt x="3448680" y="89535"/>
                  </a:cubicBezTo>
                  <a:cubicBezTo>
                    <a:pt x="3449950" y="90805"/>
                    <a:pt x="3451220" y="92075"/>
                    <a:pt x="3453125" y="92710"/>
                  </a:cubicBezTo>
                  <a:cubicBezTo>
                    <a:pt x="3455030" y="93980"/>
                    <a:pt x="3456300" y="94615"/>
                    <a:pt x="3458205" y="95250"/>
                  </a:cubicBezTo>
                  <a:cubicBezTo>
                    <a:pt x="3460110" y="95250"/>
                    <a:pt x="3462015" y="95885"/>
                    <a:pt x="3463920" y="95885"/>
                  </a:cubicBezTo>
                  <a:cubicBezTo>
                    <a:pt x="3469635" y="95885"/>
                    <a:pt x="3473445" y="93980"/>
                    <a:pt x="3476620" y="89535"/>
                  </a:cubicBezTo>
                  <a:cubicBezTo>
                    <a:pt x="3479795" y="85090"/>
                    <a:pt x="3481065" y="79375"/>
                    <a:pt x="3481065" y="71120"/>
                  </a:cubicBezTo>
                  <a:lnTo>
                    <a:pt x="3480430" y="71755"/>
                  </a:lnTo>
                  <a:cubicBezTo>
                    <a:pt x="3480430" y="62230"/>
                    <a:pt x="3479160" y="54610"/>
                    <a:pt x="3475985" y="50165"/>
                  </a:cubicBezTo>
                  <a:cubicBezTo>
                    <a:pt x="3472810" y="45720"/>
                    <a:pt x="3468365" y="43180"/>
                    <a:pt x="3463285" y="43180"/>
                  </a:cubicBezTo>
                  <a:close/>
                  <a:moveTo>
                    <a:pt x="3343271" y="43180"/>
                  </a:moveTo>
                  <a:cubicBezTo>
                    <a:pt x="3340731" y="43180"/>
                    <a:pt x="3338191" y="43180"/>
                    <a:pt x="3336286" y="44450"/>
                  </a:cubicBezTo>
                  <a:cubicBezTo>
                    <a:pt x="3334381" y="45085"/>
                    <a:pt x="3332476" y="46355"/>
                    <a:pt x="3331206" y="48260"/>
                  </a:cubicBezTo>
                  <a:cubicBezTo>
                    <a:pt x="3329936" y="50165"/>
                    <a:pt x="3328666" y="52070"/>
                    <a:pt x="3327396" y="54610"/>
                  </a:cubicBezTo>
                  <a:cubicBezTo>
                    <a:pt x="3326761" y="57150"/>
                    <a:pt x="3326126" y="59690"/>
                    <a:pt x="3325491" y="62865"/>
                  </a:cubicBezTo>
                  <a:lnTo>
                    <a:pt x="3361686" y="62865"/>
                  </a:lnTo>
                  <a:cubicBezTo>
                    <a:pt x="3361686" y="62865"/>
                    <a:pt x="3361051" y="57785"/>
                    <a:pt x="3360416" y="55245"/>
                  </a:cubicBezTo>
                  <a:cubicBezTo>
                    <a:pt x="3359781" y="52705"/>
                    <a:pt x="3358511" y="50800"/>
                    <a:pt x="3357241" y="48895"/>
                  </a:cubicBezTo>
                  <a:cubicBezTo>
                    <a:pt x="3355971" y="46990"/>
                    <a:pt x="3354066" y="45720"/>
                    <a:pt x="3351526" y="44450"/>
                  </a:cubicBezTo>
                  <a:cubicBezTo>
                    <a:pt x="3348986" y="43180"/>
                    <a:pt x="3346446" y="43180"/>
                    <a:pt x="3343271" y="43180"/>
                  </a:cubicBezTo>
                  <a:close/>
                  <a:moveTo>
                    <a:pt x="2976876" y="43180"/>
                  </a:moveTo>
                  <a:cubicBezTo>
                    <a:pt x="2974336" y="43180"/>
                    <a:pt x="2971796" y="43180"/>
                    <a:pt x="2969891" y="44450"/>
                  </a:cubicBezTo>
                  <a:cubicBezTo>
                    <a:pt x="2967986" y="45085"/>
                    <a:pt x="2966081" y="46355"/>
                    <a:pt x="2964811" y="48260"/>
                  </a:cubicBezTo>
                  <a:cubicBezTo>
                    <a:pt x="2963541" y="50165"/>
                    <a:pt x="2962271" y="52070"/>
                    <a:pt x="2961001" y="54610"/>
                  </a:cubicBezTo>
                  <a:cubicBezTo>
                    <a:pt x="2960366" y="57150"/>
                    <a:pt x="2959731" y="59690"/>
                    <a:pt x="2959096" y="62865"/>
                  </a:cubicBezTo>
                  <a:lnTo>
                    <a:pt x="2995291" y="62865"/>
                  </a:lnTo>
                  <a:cubicBezTo>
                    <a:pt x="2995291" y="62865"/>
                    <a:pt x="2994656" y="57785"/>
                    <a:pt x="2994021" y="55245"/>
                  </a:cubicBezTo>
                  <a:cubicBezTo>
                    <a:pt x="2993386" y="52705"/>
                    <a:pt x="2992116" y="50800"/>
                    <a:pt x="2990846" y="48895"/>
                  </a:cubicBezTo>
                  <a:cubicBezTo>
                    <a:pt x="2989576" y="46990"/>
                    <a:pt x="2987671" y="45720"/>
                    <a:pt x="2985131" y="44450"/>
                  </a:cubicBezTo>
                  <a:cubicBezTo>
                    <a:pt x="2982591" y="43180"/>
                    <a:pt x="2980051" y="43180"/>
                    <a:pt x="2976876" y="43180"/>
                  </a:cubicBezTo>
                  <a:close/>
                  <a:moveTo>
                    <a:pt x="2527930" y="43180"/>
                  </a:moveTo>
                  <a:cubicBezTo>
                    <a:pt x="2525390" y="43180"/>
                    <a:pt x="2522850" y="43180"/>
                    <a:pt x="2520945" y="44450"/>
                  </a:cubicBezTo>
                  <a:cubicBezTo>
                    <a:pt x="2519040" y="45085"/>
                    <a:pt x="2517135" y="46355"/>
                    <a:pt x="2515865" y="48260"/>
                  </a:cubicBezTo>
                  <a:cubicBezTo>
                    <a:pt x="2514595" y="50165"/>
                    <a:pt x="2513325" y="52070"/>
                    <a:pt x="2512055" y="54610"/>
                  </a:cubicBezTo>
                  <a:cubicBezTo>
                    <a:pt x="2511420" y="57150"/>
                    <a:pt x="2510150" y="59690"/>
                    <a:pt x="2510150" y="62865"/>
                  </a:cubicBezTo>
                  <a:lnTo>
                    <a:pt x="2546345" y="62865"/>
                  </a:lnTo>
                  <a:cubicBezTo>
                    <a:pt x="2546345" y="62865"/>
                    <a:pt x="2545710" y="57785"/>
                    <a:pt x="2545075" y="55245"/>
                  </a:cubicBezTo>
                  <a:cubicBezTo>
                    <a:pt x="2544440" y="52705"/>
                    <a:pt x="2543170" y="50800"/>
                    <a:pt x="2541900" y="48895"/>
                  </a:cubicBezTo>
                  <a:cubicBezTo>
                    <a:pt x="2540630" y="46990"/>
                    <a:pt x="2538725" y="45720"/>
                    <a:pt x="2536185" y="44450"/>
                  </a:cubicBezTo>
                  <a:cubicBezTo>
                    <a:pt x="2533645" y="43180"/>
                    <a:pt x="2531105" y="43180"/>
                    <a:pt x="2527930" y="43180"/>
                  </a:cubicBezTo>
                  <a:close/>
                  <a:moveTo>
                    <a:pt x="2214240" y="43180"/>
                  </a:moveTo>
                  <a:cubicBezTo>
                    <a:pt x="2211700" y="43180"/>
                    <a:pt x="2209160" y="43180"/>
                    <a:pt x="2207255" y="44450"/>
                  </a:cubicBezTo>
                  <a:cubicBezTo>
                    <a:pt x="2205350" y="45085"/>
                    <a:pt x="2203445" y="46355"/>
                    <a:pt x="2202175" y="48260"/>
                  </a:cubicBezTo>
                  <a:cubicBezTo>
                    <a:pt x="2200905" y="50165"/>
                    <a:pt x="2199635" y="52070"/>
                    <a:pt x="2198365" y="54610"/>
                  </a:cubicBezTo>
                  <a:cubicBezTo>
                    <a:pt x="2197730" y="57150"/>
                    <a:pt x="2196460" y="59690"/>
                    <a:pt x="2196460" y="62865"/>
                  </a:cubicBezTo>
                  <a:lnTo>
                    <a:pt x="2232655" y="62865"/>
                  </a:lnTo>
                  <a:cubicBezTo>
                    <a:pt x="2232655" y="62865"/>
                    <a:pt x="2232020" y="57785"/>
                    <a:pt x="2231385" y="55245"/>
                  </a:cubicBezTo>
                  <a:cubicBezTo>
                    <a:pt x="2230750" y="52705"/>
                    <a:pt x="2229480" y="50800"/>
                    <a:pt x="2228210" y="48895"/>
                  </a:cubicBezTo>
                  <a:cubicBezTo>
                    <a:pt x="2226940" y="46990"/>
                    <a:pt x="2225035" y="45720"/>
                    <a:pt x="2222495" y="44450"/>
                  </a:cubicBezTo>
                  <a:cubicBezTo>
                    <a:pt x="2219955" y="43180"/>
                    <a:pt x="2217415" y="43180"/>
                    <a:pt x="2214240" y="43180"/>
                  </a:cubicBezTo>
                  <a:close/>
                  <a:moveTo>
                    <a:pt x="2027551" y="43180"/>
                  </a:moveTo>
                  <a:cubicBezTo>
                    <a:pt x="2025011" y="43180"/>
                    <a:pt x="2022471" y="43180"/>
                    <a:pt x="2020566" y="44450"/>
                  </a:cubicBezTo>
                  <a:cubicBezTo>
                    <a:pt x="2018661" y="45085"/>
                    <a:pt x="2016756" y="46355"/>
                    <a:pt x="2015486" y="48260"/>
                  </a:cubicBezTo>
                  <a:cubicBezTo>
                    <a:pt x="2014216" y="50165"/>
                    <a:pt x="2012946" y="52070"/>
                    <a:pt x="2011676" y="54610"/>
                  </a:cubicBezTo>
                  <a:cubicBezTo>
                    <a:pt x="2011041" y="57150"/>
                    <a:pt x="2010406" y="59690"/>
                    <a:pt x="2009771" y="62865"/>
                  </a:cubicBezTo>
                  <a:lnTo>
                    <a:pt x="2045966" y="62865"/>
                  </a:lnTo>
                  <a:cubicBezTo>
                    <a:pt x="2045966" y="62865"/>
                    <a:pt x="2045331" y="57785"/>
                    <a:pt x="2044696" y="55245"/>
                  </a:cubicBezTo>
                  <a:cubicBezTo>
                    <a:pt x="2044061" y="52705"/>
                    <a:pt x="2042791" y="50800"/>
                    <a:pt x="2041521" y="48895"/>
                  </a:cubicBezTo>
                  <a:cubicBezTo>
                    <a:pt x="2040251" y="46990"/>
                    <a:pt x="2038346" y="45720"/>
                    <a:pt x="2035806" y="44450"/>
                  </a:cubicBezTo>
                  <a:cubicBezTo>
                    <a:pt x="2033266" y="43180"/>
                    <a:pt x="2030726" y="43180"/>
                    <a:pt x="2027551" y="43180"/>
                  </a:cubicBezTo>
                  <a:close/>
                  <a:moveTo>
                    <a:pt x="1949445" y="43180"/>
                  </a:moveTo>
                  <a:cubicBezTo>
                    <a:pt x="1947540" y="43180"/>
                    <a:pt x="1945635" y="43180"/>
                    <a:pt x="1944365" y="43815"/>
                  </a:cubicBezTo>
                  <a:cubicBezTo>
                    <a:pt x="1942460" y="43815"/>
                    <a:pt x="1941190" y="45085"/>
                    <a:pt x="1939285" y="45720"/>
                  </a:cubicBezTo>
                  <a:cubicBezTo>
                    <a:pt x="1938015" y="46355"/>
                    <a:pt x="1936110" y="47625"/>
                    <a:pt x="1934840" y="48895"/>
                  </a:cubicBezTo>
                  <a:cubicBezTo>
                    <a:pt x="1933570" y="50165"/>
                    <a:pt x="1932300" y="51435"/>
                    <a:pt x="1931665" y="52705"/>
                  </a:cubicBezTo>
                  <a:lnTo>
                    <a:pt x="1931665" y="85725"/>
                  </a:lnTo>
                  <a:cubicBezTo>
                    <a:pt x="1931665" y="85725"/>
                    <a:pt x="1933570" y="88265"/>
                    <a:pt x="1934840" y="89535"/>
                  </a:cubicBezTo>
                  <a:cubicBezTo>
                    <a:pt x="1936110" y="90805"/>
                    <a:pt x="1937380" y="92075"/>
                    <a:pt x="1939285" y="92710"/>
                  </a:cubicBezTo>
                  <a:cubicBezTo>
                    <a:pt x="1941190" y="93980"/>
                    <a:pt x="1942460" y="94615"/>
                    <a:pt x="1944365" y="95250"/>
                  </a:cubicBezTo>
                  <a:cubicBezTo>
                    <a:pt x="1946270" y="95250"/>
                    <a:pt x="1948175" y="95885"/>
                    <a:pt x="1950080" y="95885"/>
                  </a:cubicBezTo>
                  <a:cubicBezTo>
                    <a:pt x="1955795" y="95885"/>
                    <a:pt x="1959605" y="93980"/>
                    <a:pt x="1962780" y="89535"/>
                  </a:cubicBezTo>
                  <a:cubicBezTo>
                    <a:pt x="1965955" y="85090"/>
                    <a:pt x="1967225" y="79375"/>
                    <a:pt x="1967225" y="71120"/>
                  </a:cubicBezTo>
                  <a:lnTo>
                    <a:pt x="1966590" y="71755"/>
                  </a:lnTo>
                  <a:cubicBezTo>
                    <a:pt x="1966590" y="62230"/>
                    <a:pt x="1965320" y="54610"/>
                    <a:pt x="1962145" y="50165"/>
                  </a:cubicBezTo>
                  <a:cubicBezTo>
                    <a:pt x="1958970" y="45720"/>
                    <a:pt x="1954525" y="43180"/>
                    <a:pt x="1949445" y="43180"/>
                  </a:cubicBezTo>
                  <a:close/>
                  <a:moveTo>
                    <a:pt x="1829431" y="43180"/>
                  </a:moveTo>
                  <a:cubicBezTo>
                    <a:pt x="1826891" y="43180"/>
                    <a:pt x="1824351" y="43180"/>
                    <a:pt x="1822446" y="44450"/>
                  </a:cubicBezTo>
                  <a:cubicBezTo>
                    <a:pt x="1820541" y="45085"/>
                    <a:pt x="1818636" y="46355"/>
                    <a:pt x="1817366" y="48260"/>
                  </a:cubicBezTo>
                  <a:cubicBezTo>
                    <a:pt x="1816096" y="50165"/>
                    <a:pt x="1814826" y="52070"/>
                    <a:pt x="1813556" y="54610"/>
                  </a:cubicBezTo>
                  <a:cubicBezTo>
                    <a:pt x="1812921" y="57150"/>
                    <a:pt x="1811651" y="59690"/>
                    <a:pt x="1811651" y="62865"/>
                  </a:cubicBezTo>
                  <a:lnTo>
                    <a:pt x="1847846" y="62865"/>
                  </a:lnTo>
                  <a:cubicBezTo>
                    <a:pt x="1847846" y="62865"/>
                    <a:pt x="1847211" y="57785"/>
                    <a:pt x="1846576" y="55245"/>
                  </a:cubicBezTo>
                  <a:cubicBezTo>
                    <a:pt x="1845941" y="52705"/>
                    <a:pt x="1844671" y="50800"/>
                    <a:pt x="1843401" y="48895"/>
                  </a:cubicBezTo>
                  <a:cubicBezTo>
                    <a:pt x="1842131" y="46990"/>
                    <a:pt x="1840226" y="45720"/>
                    <a:pt x="1837686" y="44450"/>
                  </a:cubicBezTo>
                  <a:cubicBezTo>
                    <a:pt x="1835146" y="43180"/>
                    <a:pt x="1832606" y="43180"/>
                    <a:pt x="1829431" y="43180"/>
                  </a:cubicBezTo>
                  <a:close/>
                  <a:moveTo>
                    <a:pt x="1178561" y="43180"/>
                  </a:moveTo>
                  <a:cubicBezTo>
                    <a:pt x="1176021" y="43180"/>
                    <a:pt x="1173481" y="43180"/>
                    <a:pt x="1171576" y="44450"/>
                  </a:cubicBezTo>
                  <a:cubicBezTo>
                    <a:pt x="1169671" y="45085"/>
                    <a:pt x="1167766" y="46355"/>
                    <a:pt x="1166496" y="48260"/>
                  </a:cubicBezTo>
                  <a:cubicBezTo>
                    <a:pt x="1165226" y="50165"/>
                    <a:pt x="1163956" y="52070"/>
                    <a:pt x="1162686" y="54610"/>
                  </a:cubicBezTo>
                  <a:cubicBezTo>
                    <a:pt x="1162051" y="57150"/>
                    <a:pt x="1160781" y="59690"/>
                    <a:pt x="1160781" y="62865"/>
                  </a:cubicBezTo>
                  <a:lnTo>
                    <a:pt x="1196976" y="62865"/>
                  </a:lnTo>
                  <a:cubicBezTo>
                    <a:pt x="1196976" y="62865"/>
                    <a:pt x="1196341" y="57785"/>
                    <a:pt x="1195706" y="55245"/>
                  </a:cubicBezTo>
                  <a:cubicBezTo>
                    <a:pt x="1195071" y="52705"/>
                    <a:pt x="1193801" y="50800"/>
                    <a:pt x="1192531" y="48895"/>
                  </a:cubicBezTo>
                  <a:cubicBezTo>
                    <a:pt x="1191261" y="46990"/>
                    <a:pt x="1189356" y="45720"/>
                    <a:pt x="1186816" y="44450"/>
                  </a:cubicBezTo>
                  <a:cubicBezTo>
                    <a:pt x="1184276" y="43180"/>
                    <a:pt x="1181736" y="43180"/>
                    <a:pt x="1178561" y="43180"/>
                  </a:cubicBezTo>
                  <a:close/>
                  <a:moveTo>
                    <a:pt x="898525" y="43180"/>
                  </a:moveTo>
                  <a:cubicBezTo>
                    <a:pt x="895985" y="43180"/>
                    <a:pt x="893445" y="43180"/>
                    <a:pt x="891540" y="44450"/>
                  </a:cubicBezTo>
                  <a:cubicBezTo>
                    <a:pt x="889635" y="45085"/>
                    <a:pt x="887730" y="46355"/>
                    <a:pt x="886460" y="48260"/>
                  </a:cubicBezTo>
                  <a:cubicBezTo>
                    <a:pt x="885190" y="50165"/>
                    <a:pt x="883920" y="52070"/>
                    <a:pt x="882650" y="54610"/>
                  </a:cubicBezTo>
                  <a:cubicBezTo>
                    <a:pt x="882015" y="57150"/>
                    <a:pt x="881380" y="59690"/>
                    <a:pt x="880745" y="62865"/>
                  </a:cubicBezTo>
                  <a:lnTo>
                    <a:pt x="916940" y="62865"/>
                  </a:lnTo>
                  <a:cubicBezTo>
                    <a:pt x="916940" y="62865"/>
                    <a:pt x="916305" y="57785"/>
                    <a:pt x="915670" y="55245"/>
                  </a:cubicBezTo>
                  <a:cubicBezTo>
                    <a:pt x="915035" y="52705"/>
                    <a:pt x="913765" y="50800"/>
                    <a:pt x="912495" y="48895"/>
                  </a:cubicBezTo>
                  <a:cubicBezTo>
                    <a:pt x="911225" y="46990"/>
                    <a:pt x="909320" y="45720"/>
                    <a:pt x="906780" y="44450"/>
                  </a:cubicBezTo>
                  <a:cubicBezTo>
                    <a:pt x="904240" y="43180"/>
                    <a:pt x="901700" y="43180"/>
                    <a:pt x="898525" y="43180"/>
                  </a:cubicBezTo>
                  <a:close/>
                  <a:moveTo>
                    <a:pt x="584834" y="43180"/>
                  </a:moveTo>
                  <a:cubicBezTo>
                    <a:pt x="582294" y="43180"/>
                    <a:pt x="579754" y="43180"/>
                    <a:pt x="577849" y="44450"/>
                  </a:cubicBezTo>
                  <a:cubicBezTo>
                    <a:pt x="575944" y="45085"/>
                    <a:pt x="574039" y="46355"/>
                    <a:pt x="572769" y="48260"/>
                  </a:cubicBezTo>
                  <a:cubicBezTo>
                    <a:pt x="571499" y="50165"/>
                    <a:pt x="570229" y="52070"/>
                    <a:pt x="568959" y="54610"/>
                  </a:cubicBezTo>
                  <a:cubicBezTo>
                    <a:pt x="568324" y="57150"/>
                    <a:pt x="567689" y="59690"/>
                    <a:pt x="567054" y="62865"/>
                  </a:cubicBezTo>
                  <a:lnTo>
                    <a:pt x="603249" y="62865"/>
                  </a:lnTo>
                  <a:cubicBezTo>
                    <a:pt x="603249" y="62865"/>
                    <a:pt x="602614" y="57785"/>
                    <a:pt x="601979" y="55245"/>
                  </a:cubicBezTo>
                  <a:cubicBezTo>
                    <a:pt x="601344" y="52705"/>
                    <a:pt x="600074" y="50800"/>
                    <a:pt x="598804" y="48895"/>
                  </a:cubicBezTo>
                  <a:cubicBezTo>
                    <a:pt x="597534" y="46990"/>
                    <a:pt x="595629" y="45720"/>
                    <a:pt x="593089" y="44450"/>
                  </a:cubicBezTo>
                  <a:cubicBezTo>
                    <a:pt x="590549" y="43180"/>
                    <a:pt x="588009" y="43180"/>
                    <a:pt x="584834" y="43180"/>
                  </a:cubicBezTo>
                  <a:close/>
                  <a:moveTo>
                    <a:pt x="398145" y="43180"/>
                  </a:moveTo>
                  <a:cubicBezTo>
                    <a:pt x="395605" y="43180"/>
                    <a:pt x="393065" y="43180"/>
                    <a:pt x="391160" y="44450"/>
                  </a:cubicBezTo>
                  <a:cubicBezTo>
                    <a:pt x="389255" y="45085"/>
                    <a:pt x="387350" y="46355"/>
                    <a:pt x="386080" y="48260"/>
                  </a:cubicBezTo>
                  <a:cubicBezTo>
                    <a:pt x="384810" y="50165"/>
                    <a:pt x="383540" y="52070"/>
                    <a:pt x="382270" y="54610"/>
                  </a:cubicBezTo>
                  <a:cubicBezTo>
                    <a:pt x="381635" y="57150"/>
                    <a:pt x="380365" y="59690"/>
                    <a:pt x="380365" y="62865"/>
                  </a:cubicBezTo>
                  <a:lnTo>
                    <a:pt x="416560" y="62865"/>
                  </a:lnTo>
                  <a:cubicBezTo>
                    <a:pt x="416560" y="62865"/>
                    <a:pt x="415925" y="57785"/>
                    <a:pt x="415290" y="55245"/>
                  </a:cubicBezTo>
                  <a:cubicBezTo>
                    <a:pt x="414655" y="52705"/>
                    <a:pt x="413385" y="50800"/>
                    <a:pt x="412115" y="48895"/>
                  </a:cubicBezTo>
                  <a:cubicBezTo>
                    <a:pt x="410845" y="46990"/>
                    <a:pt x="408940" y="45720"/>
                    <a:pt x="406400" y="44450"/>
                  </a:cubicBezTo>
                  <a:cubicBezTo>
                    <a:pt x="403860" y="43180"/>
                    <a:pt x="401320" y="43180"/>
                    <a:pt x="398145" y="43180"/>
                  </a:cubicBezTo>
                  <a:close/>
                  <a:moveTo>
                    <a:pt x="320039" y="43180"/>
                  </a:moveTo>
                  <a:cubicBezTo>
                    <a:pt x="318134" y="43180"/>
                    <a:pt x="316229" y="43180"/>
                    <a:pt x="314959" y="43815"/>
                  </a:cubicBezTo>
                  <a:cubicBezTo>
                    <a:pt x="313054" y="43815"/>
                    <a:pt x="311784" y="45085"/>
                    <a:pt x="309879" y="45720"/>
                  </a:cubicBezTo>
                  <a:cubicBezTo>
                    <a:pt x="308609" y="46355"/>
                    <a:pt x="306704" y="47625"/>
                    <a:pt x="305434" y="48895"/>
                  </a:cubicBezTo>
                  <a:cubicBezTo>
                    <a:pt x="304164" y="50165"/>
                    <a:pt x="302894" y="51435"/>
                    <a:pt x="302259" y="52705"/>
                  </a:cubicBezTo>
                  <a:lnTo>
                    <a:pt x="302259" y="85725"/>
                  </a:lnTo>
                  <a:cubicBezTo>
                    <a:pt x="302259" y="85725"/>
                    <a:pt x="304164" y="88265"/>
                    <a:pt x="305434" y="89535"/>
                  </a:cubicBezTo>
                  <a:cubicBezTo>
                    <a:pt x="306704" y="90805"/>
                    <a:pt x="307974" y="92075"/>
                    <a:pt x="309879" y="92710"/>
                  </a:cubicBezTo>
                  <a:cubicBezTo>
                    <a:pt x="311784" y="93980"/>
                    <a:pt x="313054" y="94615"/>
                    <a:pt x="314959" y="95250"/>
                  </a:cubicBezTo>
                  <a:cubicBezTo>
                    <a:pt x="316864" y="95250"/>
                    <a:pt x="318769" y="95885"/>
                    <a:pt x="320674" y="95885"/>
                  </a:cubicBezTo>
                  <a:cubicBezTo>
                    <a:pt x="326389" y="95885"/>
                    <a:pt x="330199" y="93980"/>
                    <a:pt x="333374" y="89535"/>
                  </a:cubicBezTo>
                  <a:cubicBezTo>
                    <a:pt x="336549" y="85090"/>
                    <a:pt x="337819" y="79375"/>
                    <a:pt x="337819" y="71120"/>
                  </a:cubicBezTo>
                  <a:lnTo>
                    <a:pt x="337184" y="71755"/>
                  </a:lnTo>
                  <a:cubicBezTo>
                    <a:pt x="337184" y="62230"/>
                    <a:pt x="335914" y="54610"/>
                    <a:pt x="332739" y="50165"/>
                  </a:cubicBezTo>
                  <a:cubicBezTo>
                    <a:pt x="329564" y="45720"/>
                    <a:pt x="325119" y="43180"/>
                    <a:pt x="320039" y="43180"/>
                  </a:cubicBezTo>
                  <a:close/>
                  <a:moveTo>
                    <a:pt x="200025" y="43180"/>
                  </a:moveTo>
                  <a:cubicBezTo>
                    <a:pt x="197485" y="43180"/>
                    <a:pt x="194945" y="43180"/>
                    <a:pt x="193040" y="44450"/>
                  </a:cubicBezTo>
                  <a:cubicBezTo>
                    <a:pt x="191135" y="45085"/>
                    <a:pt x="189230" y="46355"/>
                    <a:pt x="187960" y="48260"/>
                  </a:cubicBezTo>
                  <a:cubicBezTo>
                    <a:pt x="186690" y="50165"/>
                    <a:pt x="185420" y="52070"/>
                    <a:pt x="184150" y="54610"/>
                  </a:cubicBezTo>
                  <a:cubicBezTo>
                    <a:pt x="183515" y="57150"/>
                    <a:pt x="182880" y="59690"/>
                    <a:pt x="182245" y="62865"/>
                  </a:cubicBezTo>
                  <a:lnTo>
                    <a:pt x="218440" y="62865"/>
                  </a:lnTo>
                  <a:cubicBezTo>
                    <a:pt x="218440" y="62865"/>
                    <a:pt x="217805" y="57785"/>
                    <a:pt x="217170" y="55245"/>
                  </a:cubicBezTo>
                  <a:cubicBezTo>
                    <a:pt x="216535" y="52705"/>
                    <a:pt x="215265" y="50800"/>
                    <a:pt x="213995" y="48895"/>
                  </a:cubicBezTo>
                  <a:cubicBezTo>
                    <a:pt x="212725" y="46990"/>
                    <a:pt x="210820" y="45720"/>
                    <a:pt x="208280" y="44450"/>
                  </a:cubicBezTo>
                  <a:cubicBezTo>
                    <a:pt x="205740" y="43180"/>
                    <a:pt x="203200" y="43180"/>
                    <a:pt x="200025" y="43180"/>
                  </a:cubicBezTo>
                  <a:close/>
                  <a:moveTo>
                    <a:pt x="4439281" y="43179"/>
                  </a:moveTo>
                  <a:cubicBezTo>
                    <a:pt x="4433566" y="43179"/>
                    <a:pt x="4429756" y="45084"/>
                    <a:pt x="4426581" y="49529"/>
                  </a:cubicBezTo>
                  <a:cubicBezTo>
                    <a:pt x="4423406" y="53974"/>
                    <a:pt x="4422136" y="59689"/>
                    <a:pt x="4422136" y="67944"/>
                  </a:cubicBezTo>
                  <a:cubicBezTo>
                    <a:pt x="4422136" y="73024"/>
                    <a:pt x="4422136" y="76834"/>
                    <a:pt x="4423406" y="80644"/>
                  </a:cubicBezTo>
                  <a:cubicBezTo>
                    <a:pt x="4424041" y="84454"/>
                    <a:pt x="4425311" y="86994"/>
                    <a:pt x="4426581" y="89534"/>
                  </a:cubicBezTo>
                  <a:cubicBezTo>
                    <a:pt x="4427851" y="92074"/>
                    <a:pt x="4429756" y="93344"/>
                    <a:pt x="4432296" y="94614"/>
                  </a:cubicBezTo>
                  <a:cubicBezTo>
                    <a:pt x="4434201" y="95884"/>
                    <a:pt x="4436741" y="96519"/>
                    <a:pt x="4439916" y="96519"/>
                  </a:cubicBezTo>
                  <a:cubicBezTo>
                    <a:pt x="4441821" y="96519"/>
                    <a:pt x="4443726" y="96519"/>
                    <a:pt x="4444996" y="95884"/>
                  </a:cubicBezTo>
                  <a:cubicBezTo>
                    <a:pt x="4446901" y="95884"/>
                    <a:pt x="4448171" y="94614"/>
                    <a:pt x="4450076" y="93344"/>
                  </a:cubicBezTo>
                  <a:cubicBezTo>
                    <a:pt x="4451346" y="92709"/>
                    <a:pt x="4453251" y="91439"/>
                    <a:pt x="4454521" y="90169"/>
                  </a:cubicBezTo>
                  <a:cubicBezTo>
                    <a:pt x="4455791" y="88899"/>
                    <a:pt x="4457061" y="87629"/>
                    <a:pt x="4457696" y="86359"/>
                  </a:cubicBezTo>
                  <a:lnTo>
                    <a:pt x="4457696" y="53339"/>
                  </a:lnTo>
                  <a:cubicBezTo>
                    <a:pt x="4457696" y="53339"/>
                    <a:pt x="4455791" y="50799"/>
                    <a:pt x="4454521" y="49529"/>
                  </a:cubicBezTo>
                  <a:cubicBezTo>
                    <a:pt x="4453251" y="48259"/>
                    <a:pt x="4451981" y="46989"/>
                    <a:pt x="4450076" y="46354"/>
                  </a:cubicBezTo>
                  <a:cubicBezTo>
                    <a:pt x="4448806" y="45084"/>
                    <a:pt x="4446901" y="44449"/>
                    <a:pt x="4444996" y="43814"/>
                  </a:cubicBezTo>
                  <a:cubicBezTo>
                    <a:pt x="4443091" y="43814"/>
                    <a:pt x="4441186" y="43179"/>
                    <a:pt x="4439281" y="43179"/>
                  </a:cubicBezTo>
                  <a:close/>
                  <a:moveTo>
                    <a:pt x="1014731" y="43179"/>
                  </a:moveTo>
                  <a:cubicBezTo>
                    <a:pt x="1009016" y="43179"/>
                    <a:pt x="1005206" y="45084"/>
                    <a:pt x="1002032" y="49529"/>
                  </a:cubicBezTo>
                  <a:cubicBezTo>
                    <a:pt x="998856" y="53974"/>
                    <a:pt x="997587" y="59689"/>
                    <a:pt x="997587" y="67944"/>
                  </a:cubicBezTo>
                  <a:cubicBezTo>
                    <a:pt x="997587" y="77469"/>
                    <a:pt x="998856" y="84454"/>
                    <a:pt x="1002032" y="88899"/>
                  </a:cubicBezTo>
                  <a:cubicBezTo>
                    <a:pt x="1005206" y="93979"/>
                    <a:pt x="1009016" y="95884"/>
                    <a:pt x="1015367" y="95884"/>
                  </a:cubicBezTo>
                  <a:cubicBezTo>
                    <a:pt x="1018541" y="95884"/>
                    <a:pt x="1022352" y="95249"/>
                    <a:pt x="1024891" y="93344"/>
                  </a:cubicBezTo>
                  <a:cubicBezTo>
                    <a:pt x="1028067" y="91439"/>
                    <a:pt x="1030607" y="88899"/>
                    <a:pt x="1033147" y="86359"/>
                  </a:cubicBezTo>
                  <a:lnTo>
                    <a:pt x="1033147" y="53339"/>
                  </a:lnTo>
                  <a:cubicBezTo>
                    <a:pt x="1033147" y="53339"/>
                    <a:pt x="1031242" y="50799"/>
                    <a:pt x="1029971" y="49529"/>
                  </a:cubicBezTo>
                  <a:cubicBezTo>
                    <a:pt x="1028702" y="48259"/>
                    <a:pt x="1027431" y="46989"/>
                    <a:pt x="1025526" y="46354"/>
                  </a:cubicBezTo>
                  <a:cubicBezTo>
                    <a:pt x="1023621" y="45084"/>
                    <a:pt x="1022352" y="44449"/>
                    <a:pt x="1020446" y="43814"/>
                  </a:cubicBezTo>
                  <a:cubicBezTo>
                    <a:pt x="1018541" y="43179"/>
                    <a:pt x="1016636" y="43179"/>
                    <a:pt x="1014731" y="43179"/>
                  </a:cubicBezTo>
                  <a:close/>
                  <a:moveTo>
                    <a:pt x="4524370" y="31114"/>
                  </a:moveTo>
                  <a:lnTo>
                    <a:pt x="4538975" y="31114"/>
                  </a:lnTo>
                  <a:lnTo>
                    <a:pt x="4552310" y="84454"/>
                  </a:lnTo>
                  <a:lnTo>
                    <a:pt x="4566915" y="31114"/>
                  </a:lnTo>
                  <a:lnTo>
                    <a:pt x="4579615" y="31114"/>
                  </a:lnTo>
                  <a:lnTo>
                    <a:pt x="4594220" y="84454"/>
                  </a:lnTo>
                  <a:lnTo>
                    <a:pt x="4606920" y="31114"/>
                  </a:lnTo>
                  <a:lnTo>
                    <a:pt x="4622160" y="31114"/>
                  </a:lnTo>
                  <a:lnTo>
                    <a:pt x="4600570" y="108584"/>
                  </a:lnTo>
                  <a:lnTo>
                    <a:pt x="4587235" y="108584"/>
                  </a:lnTo>
                  <a:lnTo>
                    <a:pt x="4572630" y="54609"/>
                  </a:lnTo>
                  <a:lnTo>
                    <a:pt x="4558660" y="108584"/>
                  </a:lnTo>
                  <a:lnTo>
                    <a:pt x="4545325" y="108584"/>
                  </a:lnTo>
                  <a:close/>
                  <a:moveTo>
                    <a:pt x="4123686" y="31114"/>
                  </a:moveTo>
                  <a:lnTo>
                    <a:pt x="4138926" y="31114"/>
                  </a:lnTo>
                  <a:lnTo>
                    <a:pt x="4152261" y="84454"/>
                  </a:lnTo>
                  <a:lnTo>
                    <a:pt x="4166866" y="31114"/>
                  </a:lnTo>
                  <a:lnTo>
                    <a:pt x="4178931" y="31114"/>
                  </a:lnTo>
                  <a:lnTo>
                    <a:pt x="4193536" y="84454"/>
                  </a:lnTo>
                  <a:lnTo>
                    <a:pt x="4206871" y="31114"/>
                  </a:lnTo>
                  <a:lnTo>
                    <a:pt x="4222111" y="31114"/>
                  </a:lnTo>
                  <a:lnTo>
                    <a:pt x="4200521" y="108584"/>
                  </a:lnTo>
                  <a:lnTo>
                    <a:pt x="4187186" y="108584"/>
                  </a:lnTo>
                  <a:lnTo>
                    <a:pt x="4172581" y="54609"/>
                  </a:lnTo>
                  <a:lnTo>
                    <a:pt x="4157976" y="108584"/>
                  </a:lnTo>
                  <a:lnTo>
                    <a:pt x="4145276" y="108584"/>
                  </a:lnTo>
                  <a:close/>
                  <a:moveTo>
                    <a:pt x="2837811" y="31114"/>
                  </a:moveTo>
                  <a:lnTo>
                    <a:pt x="2852416" y="31114"/>
                  </a:lnTo>
                  <a:lnTo>
                    <a:pt x="2865751" y="84454"/>
                  </a:lnTo>
                  <a:lnTo>
                    <a:pt x="2880356" y="31114"/>
                  </a:lnTo>
                  <a:lnTo>
                    <a:pt x="2893056" y="31114"/>
                  </a:lnTo>
                  <a:lnTo>
                    <a:pt x="2907661" y="84454"/>
                  </a:lnTo>
                  <a:lnTo>
                    <a:pt x="2920361" y="31114"/>
                  </a:lnTo>
                  <a:lnTo>
                    <a:pt x="2935601" y="31114"/>
                  </a:lnTo>
                  <a:lnTo>
                    <a:pt x="2914011" y="108584"/>
                  </a:lnTo>
                  <a:lnTo>
                    <a:pt x="2900676" y="108584"/>
                  </a:lnTo>
                  <a:lnTo>
                    <a:pt x="2886706" y="54609"/>
                  </a:lnTo>
                  <a:lnTo>
                    <a:pt x="2872101" y="108584"/>
                  </a:lnTo>
                  <a:lnTo>
                    <a:pt x="2858766" y="108584"/>
                  </a:lnTo>
                  <a:close/>
                  <a:moveTo>
                    <a:pt x="1354455" y="31114"/>
                  </a:moveTo>
                  <a:lnTo>
                    <a:pt x="1369695" y="31114"/>
                  </a:lnTo>
                  <a:lnTo>
                    <a:pt x="1369695" y="109219"/>
                  </a:lnTo>
                  <a:lnTo>
                    <a:pt x="1354455" y="109219"/>
                  </a:lnTo>
                  <a:close/>
                  <a:moveTo>
                    <a:pt x="2646040" y="29844"/>
                  </a:moveTo>
                  <a:cubicBezTo>
                    <a:pt x="2650485" y="29844"/>
                    <a:pt x="2654295" y="29844"/>
                    <a:pt x="2658105" y="31749"/>
                  </a:cubicBezTo>
                  <a:cubicBezTo>
                    <a:pt x="2661915" y="33019"/>
                    <a:pt x="2665090" y="34289"/>
                    <a:pt x="2667630" y="36829"/>
                  </a:cubicBezTo>
                  <a:cubicBezTo>
                    <a:pt x="2670170" y="38734"/>
                    <a:pt x="2672075" y="41909"/>
                    <a:pt x="2673345" y="45084"/>
                  </a:cubicBezTo>
                  <a:cubicBezTo>
                    <a:pt x="2674615" y="48259"/>
                    <a:pt x="2675250" y="52069"/>
                    <a:pt x="2675250" y="56514"/>
                  </a:cubicBezTo>
                  <a:lnTo>
                    <a:pt x="2675250" y="109854"/>
                  </a:lnTo>
                  <a:lnTo>
                    <a:pt x="2660010" y="109854"/>
                  </a:lnTo>
                  <a:lnTo>
                    <a:pt x="2660010" y="108584"/>
                  </a:lnTo>
                  <a:lnTo>
                    <a:pt x="2660010" y="100964"/>
                  </a:lnTo>
                  <a:cubicBezTo>
                    <a:pt x="2660010" y="100964"/>
                    <a:pt x="2656200" y="104139"/>
                    <a:pt x="2654930" y="104774"/>
                  </a:cubicBezTo>
                  <a:cubicBezTo>
                    <a:pt x="2653660" y="105409"/>
                    <a:pt x="2652390" y="106679"/>
                    <a:pt x="2651120" y="107314"/>
                  </a:cubicBezTo>
                  <a:cubicBezTo>
                    <a:pt x="2649850" y="107949"/>
                    <a:pt x="2647945" y="108584"/>
                    <a:pt x="2646040" y="109219"/>
                  </a:cubicBezTo>
                  <a:cubicBezTo>
                    <a:pt x="2644135" y="109219"/>
                    <a:pt x="2641595" y="109854"/>
                    <a:pt x="2639055" y="109854"/>
                  </a:cubicBezTo>
                  <a:cubicBezTo>
                    <a:pt x="2635880" y="109854"/>
                    <a:pt x="2632705" y="109854"/>
                    <a:pt x="2629530" y="108584"/>
                  </a:cubicBezTo>
                  <a:cubicBezTo>
                    <a:pt x="2626355" y="107949"/>
                    <a:pt x="2623180" y="106044"/>
                    <a:pt x="2620640" y="104139"/>
                  </a:cubicBezTo>
                  <a:cubicBezTo>
                    <a:pt x="2618100" y="102234"/>
                    <a:pt x="2616195" y="99059"/>
                    <a:pt x="2614290" y="95884"/>
                  </a:cubicBezTo>
                  <a:cubicBezTo>
                    <a:pt x="2612385" y="92709"/>
                    <a:pt x="2611750" y="88264"/>
                    <a:pt x="2611750" y="83819"/>
                  </a:cubicBezTo>
                  <a:cubicBezTo>
                    <a:pt x="2611750" y="79374"/>
                    <a:pt x="2612385" y="75564"/>
                    <a:pt x="2614290" y="72389"/>
                  </a:cubicBezTo>
                  <a:cubicBezTo>
                    <a:pt x="2615560" y="69214"/>
                    <a:pt x="2618100" y="66674"/>
                    <a:pt x="2620640" y="64769"/>
                  </a:cubicBezTo>
                  <a:cubicBezTo>
                    <a:pt x="2623180" y="62864"/>
                    <a:pt x="2626990" y="60959"/>
                    <a:pt x="2630800" y="60324"/>
                  </a:cubicBezTo>
                  <a:cubicBezTo>
                    <a:pt x="2634610" y="59054"/>
                    <a:pt x="2638420" y="59054"/>
                    <a:pt x="2642865" y="59054"/>
                  </a:cubicBezTo>
                  <a:cubicBezTo>
                    <a:pt x="2646675" y="59054"/>
                    <a:pt x="2650485" y="59054"/>
                    <a:pt x="2653025" y="59689"/>
                  </a:cubicBezTo>
                  <a:cubicBezTo>
                    <a:pt x="2655565" y="59689"/>
                    <a:pt x="2658105" y="60959"/>
                    <a:pt x="2660010" y="61594"/>
                  </a:cubicBezTo>
                  <a:lnTo>
                    <a:pt x="2660010" y="55879"/>
                  </a:lnTo>
                  <a:cubicBezTo>
                    <a:pt x="2660010" y="51434"/>
                    <a:pt x="2658740" y="48259"/>
                    <a:pt x="2656200" y="46354"/>
                  </a:cubicBezTo>
                  <a:cubicBezTo>
                    <a:pt x="2653660" y="43814"/>
                    <a:pt x="2649850" y="43179"/>
                    <a:pt x="2645405" y="43179"/>
                  </a:cubicBezTo>
                  <a:cubicBezTo>
                    <a:pt x="2641595" y="43179"/>
                    <a:pt x="2637785" y="43179"/>
                    <a:pt x="2634610" y="44449"/>
                  </a:cubicBezTo>
                  <a:cubicBezTo>
                    <a:pt x="2631435" y="45084"/>
                    <a:pt x="2628260" y="46354"/>
                    <a:pt x="2625085" y="48259"/>
                  </a:cubicBezTo>
                  <a:lnTo>
                    <a:pt x="2619370" y="36829"/>
                  </a:lnTo>
                  <a:cubicBezTo>
                    <a:pt x="2623180" y="34289"/>
                    <a:pt x="2626990" y="33019"/>
                    <a:pt x="2631435" y="31749"/>
                  </a:cubicBezTo>
                  <a:cubicBezTo>
                    <a:pt x="2635880" y="30479"/>
                    <a:pt x="2640325" y="29844"/>
                    <a:pt x="2646040" y="29844"/>
                  </a:cubicBezTo>
                  <a:close/>
                  <a:moveTo>
                    <a:pt x="1114426" y="29844"/>
                  </a:moveTo>
                  <a:lnTo>
                    <a:pt x="1129666" y="29844"/>
                  </a:lnTo>
                  <a:lnTo>
                    <a:pt x="1129666" y="107949"/>
                  </a:lnTo>
                  <a:lnTo>
                    <a:pt x="1114426" y="107949"/>
                  </a:lnTo>
                  <a:lnTo>
                    <a:pt x="1114426" y="100964"/>
                  </a:lnTo>
                  <a:cubicBezTo>
                    <a:pt x="1114426" y="100964"/>
                    <a:pt x="1109981" y="106044"/>
                    <a:pt x="1106171" y="107314"/>
                  </a:cubicBezTo>
                  <a:cubicBezTo>
                    <a:pt x="1102996" y="109219"/>
                    <a:pt x="1098551" y="109854"/>
                    <a:pt x="1094741" y="109854"/>
                  </a:cubicBezTo>
                  <a:cubicBezTo>
                    <a:pt x="1085851" y="109854"/>
                    <a:pt x="1078866" y="106679"/>
                    <a:pt x="1073786" y="100964"/>
                  </a:cubicBezTo>
                  <a:cubicBezTo>
                    <a:pt x="1069341" y="95249"/>
                    <a:pt x="1066800" y="86359"/>
                    <a:pt x="1066800" y="74929"/>
                  </a:cubicBezTo>
                  <a:lnTo>
                    <a:pt x="1066800" y="30479"/>
                  </a:lnTo>
                  <a:lnTo>
                    <a:pt x="1082040" y="30479"/>
                  </a:lnTo>
                  <a:lnTo>
                    <a:pt x="1082040" y="74294"/>
                  </a:lnTo>
                  <a:cubicBezTo>
                    <a:pt x="1082040" y="81279"/>
                    <a:pt x="1083311" y="86994"/>
                    <a:pt x="1085851" y="90169"/>
                  </a:cubicBezTo>
                  <a:cubicBezTo>
                    <a:pt x="1088390" y="93979"/>
                    <a:pt x="1092201" y="95249"/>
                    <a:pt x="1097916" y="95249"/>
                  </a:cubicBezTo>
                  <a:cubicBezTo>
                    <a:pt x="1102996" y="95249"/>
                    <a:pt x="1106806" y="93344"/>
                    <a:pt x="1109981" y="90169"/>
                  </a:cubicBezTo>
                  <a:cubicBezTo>
                    <a:pt x="1112521" y="86994"/>
                    <a:pt x="1114426" y="81914"/>
                    <a:pt x="1114426" y="75564"/>
                  </a:cubicBezTo>
                  <a:close/>
                  <a:moveTo>
                    <a:pt x="1011556" y="29844"/>
                  </a:moveTo>
                  <a:cubicBezTo>
                    <a:pt x="1013461" y="29844"/>
                    <a:pt x="1015367" y="29844"/>
                    <a:pt x="1017272" y="30479"/>
                  </a:cubicBezTo>
                  <a:cubicBezTo>
                    <a:pt x="1019176" y="30479"/>
                    <a:pt x="1021081" y="31749"/>
                    <a:pt x="1022352" y="32384"/>
                  </a:cubicBezTo>
                  <a:cubicBezTo>
                    <a:pt x="1024257" y="33019"/>
                    <a:pt x="1025526" y="34289"/>
                    <a:pt x="1026797" y="35559"/>
                  </a:cubicBezTo>
                  <a:cubicBezTo>
                    <a:pt x="1028067" y="36829"/>
                    <a:pt x="1029336" y="37464"/>
                    <a:pt x="1030607" y="38734"/>
                  </a:cubicBezTo>
                  <a:lnTo>
                    <a:pt x="1030607" y="31749"/>
                  </a:lnTo>
                  <a:lnTo>
                    <a:pt x="1045847" y="31749"/>
                  </a:lnTo>
                  <a:lnTo>
                    <a:pt x="1045847" y="130809"/>
                  </a:lnTo>
                  <a:lnTo>
                    <a:pt x="1032512" y="137477"/>
                  </a:lnTo>
                  <a:lnTo>
                    <a:pt x="1032512" y="101599"/>
                  </a:lnTo>
                  <a:cubicBezTo>
                    <a:pt x="1032512" y="101599"/>
                    <a:pt x="1026797" y="106679"/>
                    <a:pt x="1022986" y="107949"/>
                  </a:cubicBezTo>
                  <a:cubicBezTo>
                    <a:pt x="1019812" y="109854"/>
                    <a:pt x="1016001" y="110489"/>
                    <a:pt x="1011556" y="110489"/>
                  </a:cubicBezTo>
                  <a:cubicBezTo>
                    <a:pt x="1007111" y="110489"/>
                    <a:pt x="1003301" y="109854"/>
                    <a:pt x="999491" y="107949"/>
                  </a:cubicBezTo>
                  <a:cubicBezTo>
                    <a:pt x="995681" y="106679"/>
                    <a:pt x="992506" y="104139"/>
                    <a:pt x="989966" y="100329"/>
                  </a:cubicBezTo>
                  <a:cubicBezTo>
                    <a:pt x="987426" y="97154"/>
                    <a:pt x="984886" y="92709"/>
                    <a:pt x="983616" y="87629"/>
                  </a:cubicBezTo>
                  <a:cubicBezTo>
                    <a:pt x="982346" y="82549"/>
                    <a:pt x="981076" y="76199"/>
                    <a:pt x="981076" y="68579"/>
                  </a:cubicBezTo>
                  <a:cubicBezTo>
                    <a:pt x="981076" y="61594"/>
                    <a:pt x="981711" y="55879"/>
                    <a:pt x="983616" y="51434"/>
                  </a:cubicBezTo>
                  <a:cubicBezTo>
                    <a:pt x="985521" y="46354"/>
                    <a:pt x="987426" y="42544"/>
                    <a:pt x="990601" y="39369"/>
                  </a:cubicBezTo>
                  <a:cubicBezTo>
                    <a:pt x="993142" y="36194"/>
                    <a:pt x="996951" y="33654"/>
                    <a:pt x="1000126" y="32384"/>
                  </a:cubicBezTo>
                  <a:cubicBezTo>
                    <a:pt x="1003937" y="31114"/>
                    <a:pt x="1007746" y="29844"/>
                    <a:pt x="1011556" y="29844"/>
                  </a:cubicBezTo>
                  <a:close/>
                  <a:moveTo>
                    <a:pt x="4871716" y="29210"/>
                  </a:moveTo>
                  <a:cubicBezTo>
                    <a:pt x="4876796" y="29210"/>
                    <a:pt x="4881241" y="29845"/>
                    <a:pt x="4885686" y="31750"/>
                  </a:cubicBezTo>
                  <a:cubicBezTo>
                    <a:pt x="4890131" y="33655"/>
                    <a:pt x="4894576" y="35560"/>
                    <a:pt x="4897751" y="38100"/>
                  </a:cubicBezTo>
                  <a:lnTo>
                    <a:pt x="4899021" y="38100"/>
                  </a:lnTo>
                  <a:lnTo>
                    <a:pt x="4892036" y="50165"/>
                  </a:lnTo>
                  <a:cubicBezTo>
                    <a:pt x="4888861" y="47625"/>
                    <a:pt x="4885686" y="46355"/>
                    <a:pt x="4882511" y="45085"/>
                  </a:cubicBezTo>
                  <a:cubicBezTo>
                    <a:pt x="4879336" y="43815"/>
                    <a:pt x="4875526" y="43180"/>
                    <a:pt x="4872351" y="43180"/>
                  </a:cubicBezTo>
                  <a:cubicBezTo>
                    <a:pt x="4869176" y="43180"/>
                    <a:pt x="4866001" y="43815"/>
                    <a:pt x="4864096" y="45085"/>
                  </a:cubicBezTo>
                  <a:cubicBezTo>
                    <a:pt x="4862191" y="46355"/>
                    <a:pt x="4861556" y="48260"/>
                    <a:pt x="4861556" y="50165"/>
                  </a:cubicBezTo>
                  <a:cubicBezTo>
                    <a:pt x="4861556" y="51435"/>
                    <a:pt x="4861556" y="52070"/>
                    <a:pt x="4861556" y="52705"/>
                  </a:cubicBezTo>
                  <a:cubicBezTo>
                    <a:pt x="4861556" y="53340"/>
                    <a:pt x="4862826" y="54610"/>
                    <a:pt x="4863461" y="55245"/>
                  </a:cubicBezTo>
                  <a:cubicBezTo>
                    <a:pt x="4864731" y="55880"/>
                    <a:pt x="4866001" y="57150"/>
                    <a:pt x="4867906" y="57785"/>
                  </a:cubicBezTo>
                  <a:cubicBezTo>
                    <a:pt x="4869811" y="59055"/>
                    <a:pt x="4872351" y="59690"/>
                    <a:pt x="4874891" y="60960"/>
                  </a:cubicBezTo>
                  <a:cubicBezTo>
                    <a:pt x="4879336" y="62865"/>
                    <a:pt x="4883146" y="64135"/>
                    <a:pt x="4886321" y="66040"/>
                  </a:cubicBezTo>
                  <a:cubicBezTo>
                    <a:pt x="4889496" y="67310"/>
                    <a:pt x="4892036" y="69215"/>
                    <a:pt x="4894576" y="71120"/>
                  </a:cubicBezTo>
                  <a:cubicBezTo>
                    <a:pt x="4896481" y="73025"/>
                    <a:pt x="4898386" y="75565"/>
                    <a:pt x="4899656" y="78105"/>
                  </a:cubicBezTo>
                  <a:cubicBezTo>
                    <a:pt x="4900926" y="80645"/>
                    <a:pt x="4901561" y="83820"/>
                    <a:pt x="4901561" y="87630"/>
                  </a:cubicBezTo>
                  <a:cubicBezTo>
                    <a:pt x="4901561" y="92075"/>
                    <a:pt x="4900926" y="95250"/>
                    <a:pt x="4899021" y="98425"/>
                  </a:cubicBezTo>
                  <a:cubicBezTo>
                    <a:pt x="4897116" y="101600"/>
                    <a:pt x="4895211" y="103505"/>
                    <a:pt x="4892671" y="105410"/>
                  </a:cubicBezTo>
                  <a:cubicBezTo>
                    <a:pt x="4890131" y="107315"/>
                    <a:pt x="4886956" y="108585"/>
                    <a:pt x="4883146" y="109220"/>
                  </a:cubicBezTo>
                  <a:cubicBezTo>
                    <a:pt x="4879336" y="109855"/>
                    <a:pt x="4876161" y="110490"/>
                    <a:pt x="4872351" y="110490"/>
                  </a:cubicBezTo>
                  <a:cubicBezTo>
                    <a:pt x="4867271" y="110490"/>
                    <a:pt x="4862191" y="109855"/>
                    <a:pt x="4857111" y="107950"/>
                  </a:cubicBezTo>
                  <a:cubicBezTo>
                    <a:pt x="4851396" y="106045"/>
                    <a:pt x="4846951" y="103505"/>
                    <a:pt x="4842506" y="100965"/>
                  </a:cubicBezTo>
                  <a:lnTo>
                    <a:pt x="4849491" y="89535"/>
                  </a:lnTo>
                  <a:cubicBezTo>
                    <a:pt x="4853301" y="92075"/>
                    <a:pt x="4857111" y="93980"/>
                    <a:pt x="4860921" y="95250"/>
                  </a:cubicBezTo>
                  <a:cubicBezTo>
                    <a:pt x="4864731" y="96520"/>
                    <a:pt x="4868541" y="97155"/>
                    <a:pt x="4872351" y="97155"/>
                  </a:cubicBezTo>
                  <a:cubicBezTo>
                    <a:pt x="4877431" y="97155"/>
                    <a:pt x="4880606" y="96520"/>
                    <a:pt x="4883146" y="94615"/>
                  </a:cubicBezTo>
                  <a:cubicBezTo>
                    <a:pt x="4885686" y="93345"/>
                    <a:pt x="4886321" y="90805"/>
                    <a:pt x="4886321" y="88265"/>
                  </a:cubicBezTo>
                  <a:cubicBezTo>
                    <a:pt x="4886321" y="86995"/>
                    <a:pt x="4886321" y="85725"/>
                    <a:pt x="4885051" y="84455"/>
                  </a:cubicBezTo>
                  <a:cubicBezTo>
                    <a:pt x="4884416" y="83185"/>
                    <a:pt x="4883146" y="82550"/>
                    <a:pt x="4881241" y="81280"/>
                  </a:cubicBezTo>
                  <a:cubicBezTo>
                    <a:pt x="4879971" y="80010"/>
                    <a:pt x="4878066" y="79375"/>
                    <a:pt x="4875526" y="78105"/>
                  </a:cubicBezTo>
                  <a:cubicBezTo>
                    <a:pt x="4872986" y="77470"/>
                    <a:pt x="4871081" y="76200"/>
                    <a:pt x="4867906" y="74930"/>
                  </a:cubicBezTo>
                  <a:cubicBezTo>
                    <a:pt x="4863461" y="73025"/>
                    <a:pt x="4860286" y="71755"/>
                    <a:pt x="4857111" y="69850"/>
                  </a:cubicBezTo>
                  <a:cubicBezTo>
                    <a:pt x="4853936" y="67945"/>
                    <a:pt x="4852031" y="66675"/>
                    <a:pt x="4850126" y="64770"/>
                  </a:cubicBezTo>
                  <a:cubicBezTo>
                    <a:pt x="4848221" y="62865"/>
                    <a:pt x="4846951" y="60960"/>
                    <a:pt x="4846316" y="58420"/>
                  </a:cubicBezTo>
                  <a:cubicBezTo>
                    <a:pt x="4845681" y="55880"/>
                    <a:pt x="4845046" y="53340"/>
                    <a:pt x="4845046" y="50165"/>
                  </a:cubicBezTo>
                  <a:cubicBezTo>
                    <a:pt x="4845046" y="46990"/>
                    <a:pt x="4845681" y="43815"/>
                    <a:pt x="4846951" y="40640"/>
                  </a:cubicBezTo>
                  <a:cubicBezTo>
                    <a:pt x="4848221" y="38100"/>
                    <a:pt x="4850126" y="35560"/>
                    <a:pt x="4852666" y="34290"/>
                  </a:cubicBezTo>
                  <a:cubicBezTo>
                    <a:pt x="4855206" y="32385"/>
                    <a:pt x="4857746" y="31115"/>
                    <a:pt x="4860921" y="30480"/>
                  </a:cubicBezTo>
                  <a:cubicBezTo>
                    <a:pt x="4864096" y="29845"/>
                    <a:pt x="4867906" y="29210"/>
                    <a:pt x="4871716" y="29210"/>
                  </a:cubicBezTo>
                  <a:close/>
                  <a:moveTo>
                    <a:pt x="4749796" y="29210"/>
                  </a:moveTo>
                  <a:cubicBezTo>
                    <a:pt x="4752971" y="29210"/>
                    <a:pt x="4755511" y="29210"/>
                    <a:pt x="4757416" y="29845"/>
                  </a:cubicBezTo>
                  <a:cubicBezTo>
                    <a:pt x="4759321" y="30480"/>
                    <a:pt x="4761226" y="31115"/>
                    <a:pt x="4763131" y="32385"/>
                  </a:cubicBezTo>
                  <a:lnTo>
                    <a:pt x="4759321" y="46990"/>
                  </a:lnTo>
                  <a:lnTo>
                    <a:pt x="4758051" y="46990"/>
                  </a:lnTo>
                  <a:cubicBezTo>
                    <a:pt x="4758051" y="46990"/>
                    <a:pt x="4754876" y="45085"/>
                    <a:pt x="4752971" y="45085"/>
                  </a:cubicBezTo>
                  <a:cubicBezTo>
                    <a:pt x="4751066" y="45085"/>
                    <a:pt x="4749161" y="44450"/>
                    <a:pt x="4746621" y="44450"/>
                  </a:cubicBezTo>
                  <a:cubicBezTo>
                    <a:pt x="4741541" y="44450"/>
                    <a:pt x="4737731" y="46355"/>
                    <a:pt x="4735191" y="49530"/>
                  </a:cubicBezTo>
                  <a:cubicBezTo>
                    <a:pt x="4732651" y="52705"/>
                    <a:pt x="4731381" y="57785"/>
                    <a:pt x="4731381" y="64770"/>
                  </a:cubicBezTo>
                  <a:lnTo>
                    <a:pt x="4731381" y="109220"/>
                  </a:lnTo>
                  <a:lnTo>
                    <a:pt x="4716141" y="109220"/>
                  </a:lnTo>
                  <a:lnTo>
                    <a:pt x="4716141" y="31115"/>
                  </a:lnTo>
                  <a:lnTo>
                    <a:pt x="4731381" y="31115"/>
                  </a:lnTo>
                  <a:lnTo>
                    <a:pt x="4731381" y="38735"/>
                  </a:lnTo>
                  <a:cubicBezTo>
                    <a:pt x="4731381" y="38735"/>
                    <a:pt x="4733286" y="36195"/>
                    <a:pt x="4734556" y="34925"/>
                  </a:cubicBezTo>
                  <a:cubicBezTo>
                    <a:pt x="4735826" y="33655"/>
                    <a:pt x="4737096" y="33020"/>
                    <a:pt x="4739001" y="31750"/>
                  </a:cubicBezTo>
                  <a:cubicBezTo>
                    <a:pt x="4740271" y="31115"/>
                    <a:pt x="4742176" y="30480"/>
                    <a:pt x="4744081" y="29845"/>
                  </a:cubicBezTo>
                  <a:cubicBezTo>
                    <a:pt x="4745986" y="29845"/>
                    <a:pt x="4747891" y="29210"/>
                    <a:pt x="4749796" y="29210"/>
                  </a:cubicBezTo>
                  <a:close/>
                  <a:moveTo>
                    <a:pt x="4349110" y="29210"/>
                  </a:moveTo>
                  <a:cubicBezTo>
                    <a:pt x="4352285" y="29210"/>
                    <a:pt x="4354825" y="29210"/>
                    <a:pt x="4356730" y="29845"/>
                  </a:cubicBezTo>
                  <a:cubicBezTo>
                    <a:pt x="4358635" y="29845"/>
                    <a:pt x="4360540" y="31115"/>
                    <a:pt x="4362445" y="32385"/>
                  </a:cubicBezTo>
                  <a:lnTo>
                    <a:pt x="4358635" y="46990"/>
                  </a:lnTo>
                  <a:lnTo>
                    <a:pt x="4357365" y="46990"/>
                  </a:lnTo>
                  <a:cubicBezTo>
                    <a:pt x="4357365" y="46990"/>
                    <a:pt x="4354190" y="45085"/>
                    <a:pt x="4352285" y="45085"/>
                  </a:cubicBezTo>
                  <a:cubicBezTo>
                    <a:pt x="4350380" y="45085"/>
                    <a:pt x="4348475" y="44450"/>
                    <a:pt x="4345935" y="44450"/>
                  </a:cubicBezTo>
                  <a:cubicBezTo>
                    <a:pt x="4340855" y="44450"/>
                    <a:pt x="4337045" y="46355"/>
                    <a:pt x="4334505" y="49530"/>
                  </a:cubicBezTo>
                  <a:cubicBezTo>
                    <a:pt x="4331965" y="52705"/>
                    <a:pt x="4330695" y="57785"/>
                    <a:pt x="4330695" y="64770"/>
                  </a:cubicBezTo>
                  <a:lnTo>
                    <a:pt x="4330695" y="109220"/>
                  </a:lnTo>
                  <a:lnTo>
                    <a:pt x="4315455" y="109220"/>
                  </a:lnTo>
                  <a:lnTo>
                    <a:pt x="4315455" y="31115"/>
                  </a:lnTo>
                  <a:lnTo>
                    <a:pt x="4330695" y="31115"/>
                  </a:lnTo>
                  <a:lnTo>
                    <a:pt x="4330695" y="38735"/>
                  </a:lnTo>
                  <a:cubicBezTo>
                    <a:pt x="4330695" y="38735"/>
                    <a:pt x="4332600" y="36195"/>
                    <a:pt x="4333870" y="34925"/>
                  </a:cubicBezTo>
                  <a:cubicBezTo>
                    <a:pt x="4335140" y="33655"/>
                    <a:pt x="4336410" y="33020"/>
                    <a:pt x="4338315" y="31750"/>
                  </a:cubicBezTo>
                  <a:cubicBezTo>
                    <a:pt x="4339585" y="31115"/>
                    <a:pt x="4341490" y="30480"/>
                    <a:pt x="4343395" y="29845"/>
                  </a:cubicBezTo>
                  <a:cubicBezTo>
                    <a:pt x="4345300" y="29845"/>
                    <a:pt x="4347205" y="29210"/>
                    <a:pt x="4349110" y="29210"/>
                  </a:cubicBezTo>
                  <a:close/>
                  <a:moveTo>
                    <a:pt x="4044310" y="29210"/>
                  </a:moveTo>
                  <a:cubicBezTo>
                    <a:pt x="4050025" y="29210"/>
                    <a:pt x="4054470" y="30480"/>
                    <a:pt x="4058915" y="32385"/>
                  </a:cubicBezTo>
                  <a:cubicBezTo>
                    <a:pt x="4062725" y="34290"/>
                    <a:pt x="4066535" y="37465"/>
                    <a:pt x="4069075" y="40640"/>
                  </a:cubicBezTo>
                  <a:cubicBezTo>
                    <a:pt x="4071615" y="44450"/>
                    <a:pt x="4073520" y="48260"/>
                    <a:pt x="4075425" y="53340"/>
                  </a:cubicBezTo>
                  <a:cubicBezTo>
                    <a:pt x="4076695" y="57785"/>
                    <a:pt x="4077330" y="62865"/>
                    <a:pt x="4077330" y="68580"/>
                  </a:cubicBezTo>
                  <a:lnTo>
                    <a:pt x="4076060" y="68580"/>
                  </a:lnTo>
                  <a:cubicBezTo>
                    <a:pt x="4076060" y="68580"/>
                    <a:pt x="4076060" y="71120"/>
                    <a:pt x="4076060" y="72390"/>
                  </a:cubicBezTo>
                  <a:cubicBezTo>
                    <a:pt x="4076060" y="73660"/>
                    <a:pt x="4076060" y="74295"/>
                    <a:pt x="4076060" y="75565"/>
                  </a:cubicBezTo>
                  <a:lnTo>
                    <a:pt x="4024625" y="75565"/>
                  </a:lnTo>
                  <a:cubicBezTo>
                    <a:pt x="4024625" y="79375"/>
                    <a:pt x="4025895" y="82550"/>
                    <a:pt x="4027165" y="85090"/>
                  </a:cubicBezTo>
                  <a:cubicBezTo>
                    <a:pt x="4028435" y="87630"/>
                    <a:pt x="4029705" y="90170"/>
                    <a:pt x="4031610" y="91440"/>
                  </a:cubicBezTo>
                  <a:cubicBezTo>
                    <a:pt x="4033515" y="93345"/>
                    <a:pt x="4035420" y="94615"/>
                    <a:pt x="4037325" y="95250"/>
                  </a:cubicBezTo>
                  <a:cubicBezTo>
                    <a:pt x="4039230" y="95885"/>
                    <a:pt x="4041770" y="96520"/>
                    <a:pt x="4044310" y="96520"/>
                  </a:cubicBezTo>
                  <a:cubicBezTo>
                    <a:pt x="4046215" y="96520"/>
                    <a:pt x="4047485" y="96520"/>
                    <a:pt x="4049390" y="96520"/>
                  </a:cubicBezTo>
                  <a:cubicBezTo>
                    <a:pt x="4050660" y="96520"/>
                    <a:pt x="4052565" y="95885"/>
                    <a:pt x="4053835" y="95250"/>
                  </a:cubicBezTo>
                  <a:cubicBezTo>
                    <a:pt x="4055105" y="95250"/>
                    <a:pt x="4056375" y="93980"/>
                    <a:pt x="4057645" y="93345"/>
                  </a:cubicBezTo>
                  <a:cubicBezTo>
                    <a:pt x="4058915" y="93345"/>
                    <a:pt x="4060185" y="92075"/>
                    <a:pt x="4062090" y="90805"/>
                  </a:cubicBezTo>
                  <a:lnTo>
                    <a:pt x="4070980" y="100330"/>
                  </a:lnTo>
                  <a:cubicBezTo>
                    <a:pt x="4070980" y="100330"/>
                    <a:pt x="4067170" y="103505"/>
                    <a:pt x="4065265" y="104775"/>
                  </a:cubicBezTo>
                  <a:cubicBezTo>
                    <a:pt x="4063360" y="106045"/>
                    <a:pt x="4061455" y="106680"/>
                    <a:pt x="4059550" y="107950"/>
                  </a:cubicBezTo>
                  <a:cubicBezTo>
                    <a:pt x="4057645" y="108585"/>
                    <a:pt x="4055105" y="109855"/>
                    <a:pt x="4052565" y="109855"/>
                  </a:cubicBezTo>
                  <a:cubicBezTo>
                    <a:pt x="4050025" y="109855"/>
                    <a:pt x="4046850" y="110490"/>
                    <a:pt x="4043675" y="110490"/>
                  </a:cubicBezTo>
                  <a:cubicBezTo>
                    <a:pt x="4040500" y="110490"/>
                    <a:pt x="4037325" y="110490"/>
                    <a:pt x="4034150" y="109220"/>
                  </a:cubicBezTo>
                  <a:cubicBezTo>
                    <a:pt x="4030975" y="108585"/>
                    <a:pt x="4028435" y="107315"/>
                    <a:pt x="4026530" y="105410"/>
                  </a:cubicBezTo>
                  <a:cubicBezTo>
                    <a:pt x="4023990" y="104140"/>
                    <a:pt x="4022085" y="102235"/>
                    <a:pt x="4020180" y="100330"/>
                  </a:cubicBezTo>
                  <a:cubicBezTo>
                    <a:pt x="4018275" y="98425"/>
                    <a:pt x="4016370" y="95885"/>
                    <a:pt x="4015100" y="92710"/>
                  </a:cubicBezTo>
                  <a:cubicBezTo>
                    <a:pt x="4013195" y="89535"/>
                    <a:pt x="4011925" y="86360"/>
                    <a:pt x="4011290" y="82550"/>
                  </a:cubicBezTo>
                  <a:cubicBezTo>
                    <a:pt x="4010655" y="78740"/>
                    <a:pt x="4010020" y="74295"/>
                    <a:pt x="4010020" y="69850"/>
                  </a:cubicBezTo>
                  <a:cubicBezTo>
                    <a:pt x="4010020" y="63500"/>
                    <a:pt x="4010655" y="57150"/>
                    <a:pt x="4012560" y="52070"/>
                  </a:cubicBezTo>
                  <a:cubicBezTo>
                    <a:pt x="4014465" y="46990"/>
                    <a:pt x="4016370" y="42545"/>
                    <a:pt x="4019545" y="39370"/>
                  </a:cubicBezTo>
                  <a:cubicBezTo>
                    <a:pt x="4022720" y="36195"/>
                    <a:pt x="4025895" y="33020"/>
                    <a:pt x="4030340" y="31750"/>
                  </a:cubicBezTo>
                  <a:cubicBezTo>
                    <a:pt x="4034785" y="29845"/>
                    <a:pt x="4039230" y="29210"/>
                    <a:pt x="4044310" y="29210"/>
                  </a:cubicBezTo>
                  <a:close/>
                  <a:moveTo>
                    <a:pt x="3811900" y="29210"/>
                  </a:moveTo>
                  <a:cubicBezTo>
                    <a:pt x="3815075" y="29210"/>
                    <a:pt x="3817615" y="29210"/>
                    <a:pt x="3819520" y="29845"/>
                  </a:cubicBezTo>
                  <a:cubicBezTo>
                    <a:pt x="3821425" y="29845"/>
                    <a:pt x="3823330" y="31115"/>
                    <a:pt x="3825235" y="32385"/>
                  </a:cubicBezTo>
                  <a:lnTo>
                    <a:pt x="3821425" y="46990"/>
                  </a:lnTo>
                  <a:lnTo>
                    <a:pt x="3820155" y="46990"/>
                  </a:lnTo>
                  <a:cubicBezTo>
                    <a:pt x="3820155" y="46990"/>
                    <a:pt x="3816980" y="45085"/>
                    <a:pt x="3815075" y="45085"/>
                  </a:cubicBezTo>
                  <a:cubicBezTo>
                    <a:pt x="3813170" y="45085"/>
                    <a:pt x="3811265" y="44450"/>
                    <a:pt x="3808725" y="44450"/>
                  </a:cubicBezTo>
                  <a:cubicBezTo>
                    <a:pt x="3803645" y="44450"/>
                    <a:pt x="3799835" y="46355"/>
                    <a:pt x="3797295" y="49530"/>
                  </a:cubicBezTo>
                  <a:cubicBezTo>
                    <a:pt x="3794755" y="52705"/>
                    <a:pt x="3793485" y="57785"/>
                    <a:pt x="3793485" y="64770"/>
                  </a:cubicBezTo>
                  <a:lnTo>
                    <a:pt x="3793485" y="109220"/>
                  </a:lnTo>
                  <a:lnTo>
                    <a:pt x="3778245" y="109220"/>
                  </a:lnTo>
                  <a:lnTo>
                    <a:pt x="3778245" y="31115"/>
                  </a:lnTo>
                  <a:lnTo>
                    <a:pt x="3793485" y="31115"/>
                  </a:lnTo>
                  <a:lnTo>
                    <a:pt x="3793485" y="38735"/>
                  </a:lnTo>
                  <a:cubicBezTo>
                    <a:pt x="3793485" y="38735"/>
                    <a:pt x="3795390" y="36195"/>
                    <a:pt x="3796660" y="34925"/>
                  </a:cubicBezTo>
                  <a:cubicBezTo>
                    <a:pt x="3797930" y="33655"/>
                    <a:pt x="3799200" y="33020"/>
                    <a:pt x="3801105" y="31750"/>
                  </a:cubicBezTo>
                  <a:cubicBezTo>
                    <a:pt x="3802375" y="31115"/>
                    <a:pt x="3804280" y="30480"/>
                    <a:pt x="3806185" y="29845"/>
                  </a:cubicBezTo>
                  <a:cubicBezTo>
                    <a:pt x="3808090" y="29845"/>
                    <a:pt x="3809995" y="29210"/>
                    <a:pt x="3811900" y="29210"/>
                  </a:cubicBezTo>
                  <a:close/>
                  <a:moveTo>
                    <a:pt x="3729986" y="29210"/>
                  </a:moveTo>
                  <a:cubicBezTo>
                    <a:pt x="3735701" y="29210"/>
                    <a:pt x="3740146" y="30480"/>
                    <a:pt x="3744591" y="32385"/>
                  </a:cubicBezTo>
                  <a:cubicBezTo>
                    <a:pt x="3748401" y="34290"/>
                    <a:pt x="3752211" y="37465"/>
                    <a:pt x="3754751" y="40640"/>
                  </a:cubicBezTo>
                  <a:cubicBezTo>
                    <a:pt x="3757291" y="44450"/>
                    <a:pt x="3759196" y="48260"/>
                    <a:pt x="3761101" y="53340"/>
                  </a:cubicBezTo>
                  <a:cubicBezTo>
                    <a:pt x="3762371" y="57785"/>
                    <a:pt x="3763006" y="62865"/>
                    <a:pt x="3763006" y="68580"/>
                  </a:cubicBezTo>
                  <a:lnTo>
                    <a:pt x="3761736" y="68580"/>
                  </a:lnTo>
                  <a:cubicBezTo>
                    <a:pt x="3761736" y="68580"/>
                    <a:pt x="3761736" y="71120"/>
                    <a:pt x="3761736" y="72390"/>
                  </a:cubicBezTo>
                  <a:cubicBezTo>
                    <a:pt x="3761736" y="73660"/>
                    <a:pt x="3761736" y="74295"/>
                    <a:pt x="3761736" y="75565"/>
                  </a:cubicBezTo>
                  <a:lnTo>
                    <a:pt x="3710301" y="75565"/>
                  </a:lnTo>
                  <a:cubicBezTo>
                    <a:pt x="3710301" y="79375"/>
                    <a:pt x="3711571" y="82550"/>
                    <a:pt x="3712841" y="85090"/>
                  </a:cubicBezTo>
                  <a:cubicBezTo>
                    <a:pt x="3714111" y="87630"/>
                    <a:pt x="3715381" y="90170"/>
                    <a:pt x="3717286" y="91440"/>
                  </a:cubicBezTo>
                  <a:cubicBezTo>
                    <a:pt x="3719191" y="93345"/>
                    <a:pt x="3721096" y="94615"/>
                    <a:pt x="3723001" y="95250"/>
                  </a:cubicBezTo>
                  <a:cubicBezTo>
                    <a:pt x="3724906" y="95885"/>
                    <a:pt x="3727446" y="96520"/>
                    <a:pt x="3729986" y="96520"/>
                  </a:cubicBezTo>
                  <a:cubicBezTo>
                    <a:pt x="3731891" y="96520"/>
                    <a:pt x="3733161" y="96520"/>
                    <a:pt x="3735066" y="96520"/>
                  </a:cubicBezTo>
                  <a:cubicBezTo>
                    <a:pt x="3736336" y="96520"/>
                    <a:pt x="3738241" y="95885"/>
                    <a:pt x="3739511" y="95250"/>
                  </a:cubicBezTo>
                  <a:cubicBezTo>
                    <a:pt x="3740781" y="95250"/>
                    <a:pt x="3742051" y="93980"/>
                    <a:pt x="3743321" y="93345"/>
                  </a:cubicBezTo>
                  <a:cubicBezTo>
                    <a:pt x="3744591" y="93345"/>
                    <a:pt x="3745861" y="92075"/>
                    <a:pt x="3747766" y="90805"/>
                  </a:cubicBezTo>
                  <a:lnTo>
                    <a:pt x="3756656" y="100330"/>
                  </a:lnTo>
                  <a:cubicBezTo>
                    <a:pt x="3756656" y="100330"/>
                    <a:pt x="3752846" y="103505"/>
                    <a:pt x="3750941" y="104775"/>
                  </a:cubicBezTo>
                  <a:cubicBezTo>
                    <a:pt x="3749036" y="106045"/>
                    <a:pt x="3747131" y="106680"/>
                    <a:pt x="3745226" y="107950"/>
                  </a:cubicBezTo>
                  <a:cubicBezTo>
                    <a:pt x="3743321" y="108585"/>
                    <a:pt x="3740781" y="109855"/>
                    <a:pt x="3738241" y="109855"/>
                  </a:cubicBezTo>
                  <a:cubicBezTo>
                    <a:pt x="3735701" y="109855"/>
                    <a:pt x="3732526" y="110490"/>
                    <a:pt x="3729351" y="110490"/>
                  </a:cubicBezTo>
                  <a:cubicBezTo>
                    <a:pt x="3726176" y="110490"/>
                    <a:pt x="3723001" y="110490"/>
                    <a:pt x="3719826" y="109220"/>
                  </a:cubicBezTo>
                  <a:cubicBezTo>
                    <a:pt x="3716651" y="108585"/>
                    <a:pt x="3714111" y="107315"/>
                    <a:pt x="3712206" y="105410"/>
                  </a:cubicBezTo>
                  <a:cubicBezTo>
                    <a:pt x="3709666" y="104140"/>
                    <a:pt x="3707761" y="102235"/>
                    <a:pt x="3705856" y="100330"/>
                  </a:cubicBezTo>
                  <a:cubicBezTo>
                    <a:pt x="3703951" y="98425"/>
                    <a:pt x="3702046" y="95885"/>
                    <a:pt x="3700776" y="92710"/>
                  </a:cubicBezTo>
                  <a:cubicBezTo>
                    <a:pt x="3698871" y="89535"/>
                    <a:pt x="3697601" y="86360"/>
                    <a:pt x="3696966" y="82550"/>
                  </a:cubicBezTo>
                  <a:cubicBezTo>
                    <a:pt x="3696331" y="78740"/>
                    <a:pt x="3695696" y="74295"/>
                    <a:pt x="3695696" y="69850"/>
                  </a:cubicBezTo>
                  <a:cubicBezTo>
                    <a:pt x="3695696" y="63500"/>
                    <a:pt x="3696331" y="57150"/>
                    <a:pt x="3698236" y="52070"/>
                  </a:cubicBezTo>
                  <a:cubicBezTo>
                    <a:pt x="3700141" y="46990"/>
                    <a:pt x="3702046" y="42545"/>
                    <a:pt x="3705221" y="39370"/>
                  </a:cubicBezTo>
                  <a:cubicBezTo>
                    <a:pt x="3708396" y="36195"/>
                    <a:pt x="3711571" y="33020"/>
                    <a:pt x="3716016" y="31750"/>
                  </a:cubicBezTo>
                  <a:cubicBezTo>
                    <a:pt x="3720461" y="29845"/>
                    <a:pt x="3724906" y="29210"/>
                    <a:pt x="3729986" y="29210"/>
                  </a:cubicBezTo>
                  <a:close/>
                  <a:moveTo>
                    <a:pt x="3543296" y="29210"/>
                  </a:moveTo>
                  <a:cubicBezTo>
                    <a:pt x="3549011" y="29210"/>
                    <a:pt x="3553456" y="30480"/>
                    <a:pt x="3557901" y="32385"/>
                  </a:cubicBezTo>
                  <a:cubicBezTo>
                    <a:pt x="3561711" y="34290"/>
                    <a:pt x="3565521" y="37465"/>
                    <a:pt x="3568061" y="40640"/>
                  </a:cubicBezTo>
                  <a:cubicBezTo>
                    <a:pt x="3570601" y="44450"/>
                    <a:pt x="3572506" y="48260"/>
                    <a:pt x="3574411" y="53340"/>
                  </a:cubicBezTo>
                  <a:cubicBezTo>
                    <a:pt x="3575681" y="57785"/>
                    <a:pt x="3576316" y="62865"/>
                    <a:pt x="3576316" y="68580"/>
                  </a:cubicBezTo>
                  <a:lnTo>
                    <a:pt x="3575046" y="68580"/>
                  </a:lnTo>
                  <a:cubicBezTo>
                    <a:pt x="3575046" y="68580"/>
                    <a:pt x="3575046" y="71120"/>
                    <a:pt x="3575046" y="72390"/>
                  </a:cubicBezTo>
                  <a:cubicBezTo>
                    <a:pt x="3575046" y="73660"/>
                    <a:pt x="3575046" y="74295"/>
                    <a:pt x="3575046" y="75565"/>
                  </a:cubicBezTo>
                  <a:lnTo>
                    <a:pt x="3523611" y="75565"/>
                  </a:lnTo>
                  <a:cubicBezTo>
                    <a:pt x="3523611" y="79375"/>
                    <a:pt x="3524881" y="82550"/>
                    <a:pt x="3526151" y="85090"/>
                  </a:cubicBezTo>
                  <a:cubicBezTo>
                    <a:pt x="3527421" y="87630"/>
                    <a:pt x="3528691" y="90170"/>
                    <a:pt x="3530596" y="91440"/>
                  </a:cubicBezTo>
                  <a:cubicBezTo>
                    <a:pt x="3532501" y="93345"/>
                    <a:pt x="3534406" y="94615"/>
                    <a:pt x="3536311" y="95250"/>
                  </a:cubicBezTo>
                  <a:cubicBezTo>
                    <a:pt x="3538216" y="95885"/>
                    <a:pt x="3540756" y="96520"/>
                    <a:pt x="3543296" y="96520"/>
                  </a:cubicBezTo>
                  <a:cubicBezTo>
                    <a:pt x="3545201" y="96520"/>
                    <a:pt x="3546471" y="96520"/>
                    <a:pt x="3548376" y="96520"/>
                  </a:cubicBezTo>
                  <a:cubicBezTo>
                    <a:pt x="3549646" y="96520"/>
                    <a:pt x="3551551" y="95885"/>
                    <a:pt x="3552821" y="95250"/>
                  </a:cubicBezTo>
                  <a:cubicBezTo>
                    <a:pt x="3554091" y="95250"/>
                    <a:pt x="3555361" y="93980"/>
                    <a:pt x="3556631" y="93345"/>
                  </a:cubicBezTo>
                  <a:cubicBezTo>
                    <a:pt x="3557901" y="93345"/>
                    <a:pt x="3559171" y="92075"/>
                    <a:pt x="3561076" y="90805"/>
                  </a:cubicBezTo>
                  <a:lnTo>
                    <a:pt x="3569966" y="100330"/>
                  </a:lnTo>
                  <a:cubicBezTo>
                    <a:pt x="3569966" y="100330"/>
                    <a:pt x="3566156" y="103505"/>
                    <a:pt x="3564251" y="104775"/>
                  </a:cubicBezTo>
                  <a:cubicBezTo>
                    <a:pt x="3562346" y="106045"/>
                    <a:pt x="3560441" y="106680"/>
                    <a:pt x="3558536" y="107950"/>
                  </a:cubicBezTo>
                  <a:cubicBezTo>
                    <a:pt x="3556631" y="108585"/>
                    <a:pt x="3554091" y="109855"/>
                    <a:pt x="3551551" y="109855"/>
                  </a:cubicBezTo>
                  <a:cubicBezTo>
                    <a:pt x="3549011" y="109855"/>
                    <a:pt x="3545836" y="110490"/>
                    <a:pt x="3542661" y="110490"/>
                  </a:cubicBezTo>
                  <a:cubicBezTo>
                    <a:pt x="3539486" y="110490"/>
                    <a:pt x="3536311" y="110490"/>
                    <a:pt x="3533136" y="109220"/>
                  </a:cubicBezTo>
                  <a:cubicBezTo>
                    <a:pt x="3529961" y="108585"/>
                    <a:pt x="3527421" y="107315"/>
                    <a:pt x="3525516" y="105410"/>
                  </a:cubicBezTo>
                  <a:cubicBezTo>
                    <a:pt x="3522976" y="104140"/>
                    <a:pt x="3521071" y="102235"/>
                    <a:pt x="3519166" y="100330"/>
                  </a:cubicBezTo>
                  <a:cubicBezTo>
                    <a:pt x="3517261" y="98425"/>
                    <a:pt x="3515356" y="95885"/>
                    <a:pt x="3514086" y="92710"/>
                  </a:cubicBezTo>
                  <a:cubicBezTo>
                    <a:pt x="3512181" y="89535"/>
                    <a:pt x="3510911" y="86360"/>
                    <a:pt x="3510276" y="82550"/>
                  </a:cubicBezTo>
                  <a:cubicBezTo>
                    <a:pt x="3509641" y="78740"/>
                    <a:pt x="3509006" y="74295"/>
                    <a:pt x="3509006" y="69850"/>
                  </a:cubicBezTo>
                  <a:cubicBezTo>
                    <a:pt x="3509006" y="63500"/>
                    <a:pt x="3509641" y="57150"/>
                    <a:pt x="3511546" y="52070"/>
                  </a:cubicBezTo>
                  <a:cubicBezTo>
                    <a:pt x="3513451" y="46990"/>
                    <a:pt x="3515356" y="42545"/>
                    <a:pt x="3518531" y="39370"/>
                  </a:cubicBezTo>
                  <a:cubicBezTo>
                    <a:pt x="3521706" y="36195"/>
                    <a:pt x="3524881" y="33020"/>
                    <a:pt x="3529326" y="31750"/>
                  </a:cubicBezTo>
                  <a:cubicBezTo>
                    <a:pt x="3533771" y="29845"/>
                    <a:pt x="3538216" y="29210"/>
                    <a:pt x="3543296" y="29210"/>
                  </a:cubicBezTo>
                  <a:close/>
                  <a:moveTo>
                    <a:pt x="3345176" y="29210"/>
                  </a:moveTo>
                  <a:cubicBezTo>
                    <a:pt x="3350891" y="29210"/>
                    <a:pt x="3355336" y="30480"/>
                    <a:pt x="3359781" y="32385"/>
                  </a:cubicBezTo>
                  <a:cubicBezTo>
                    <a:pt x="3363591" y="34290"/>
                    <a:pt x="3367401" y="37465"/>
                    <a:pt x="3369941" y="40640"/>
                  </a:cubicBezTo>
                  <a:cubicBezTo>
                    <a:pt x="3372481" y="44450"/>
                    <a:pt x="3374386" y="48260"/>
                    <a:pt x="3376291" y="53340"/>
                  </a:cubicBezTo>
                  <a:cubicBezTo>
                    <a:pt x="3377561" y="57785"/>
                    <a:pt x="3378196" y="62865"/>
                    <a:pt x="3378196" y="68580"/>
                  </a:cubicBezTo>
                  <a:lnTo>
                    <a:pt x="3376926" y="68580"/>
                  </a:lnTo>
                  <a:cubicBezTo>
                    <a:pt x="3376926" y="68580"/>
                    <a:pt x="3376926" y="71120"/>
                    <a:pt x="3376926" y="72390"/>
                  </a:cubicBezTo>
                  <a:cubicBezTo>
                    <a:pt x="3376926" y="73660"/>
                    <a:pt x="3376926" y="74295"/>
                    <a:pt x="3376926" y="75565"/>
                  </a:cubicBezTo>
                  <a:lnTo>
                    <a:pt x="3325491" y="75565"/>
                  </a:lnTo>
                  <a:cubicBezTo>
                    <a:pt x="3325491" y="79375"/>
                    <a:pt x="3326761" y="82550"/>
                    <a:pt x="3328031" y="85090"/>
                  </a:cubicBezTo>
                  <a:cubicBezTo>
                    <a:pt x="3329301" y="87630"/>
                    <a:pt x="3330571" y="90170"/>
                    <a:pt x="3332476" y="91440"/>
                  </a:cubicBezTo>
                  <a:cubicBezTo>
                    <a:pt x="3334381" y="93345"/>
                    <a:pt x="3336286" y="94615"/>
                    <a:pt x="3338191" y="95250"/>
                  </a:cubicBezTo>
                  <a:cubicBezTo>
                    <a:pt x="3340096" y="95885"/>
                    <a:pt x="3342636" y="96520"/>
                    <a:pt x="3345176" y="96520"/>
                  </a:cubicBezTo>
                  <a:cubicBezTo>
                    <a:pt x="3347081" y="96520"/>
                    <a:pt x="3348351" y="96520"/>
                    <a:pt x="3350256" y="96520"/>
                  </a:cubicBezTo>
                  <a:cubicBezTo>
                    <a:pt x="3351526" y="96520"/>
                    <a:pt x="3353431" y="95885"/>
                    <a:pt x="3354701" y="95250"/>
                  </a:cubicBezTo>
                  <a:cubicBezTo>
                    <a:pt x="3355971" y="95250"/>
                    <a:pt x="3357241" y="93980"/>
                    <a:pt x="3358511" y="93345"/>
                  </a:cubicBezTo>
                  <a:cubicBezTo>
                    <a:pt x="3359781" y="93345"/>
                    <a:pt x="3361051" y="92075"/>
                    <a:pt x="3362956" y="90805"/>
                  </a:cubicBezTo>
                  <a:lnTo>
                    <a:pt x="3371846" y="100330"/>
                  </a:lnTo>
                  <a:cubicBezTo>
                    <a:pt x="3371846" y="100330"/>
                    <a:pt x="3368036" y="103505"/>
                    <a:pt x="3366131" y="104775"/>
                  </a:cubicBezTo>
                  <a:cubicBezTo>
                    <a:pt x="3364226" y="106045"/>
                    <a:pt x="3362321" y="106680"/>
                    <a:pt x="3360416" y="107950"/>
                  </a:cubicBezTo>
                  <a:cubicBezTo>
                    <a:pt x="3358511" y="108585"/>
                    <a:pt x="3355971" y="109855"/>
                    <a:pt x="3353431" y="109855"/>
                  </a:cubicBezTo>
                  <a:cubicBezTo>
                    <a:pt x="3350891" y="109855"/>
                    <a:pt x="3347716" y="110490"/>
                    <a:pt x="3344541" y="110490"/>
                  </a:cubicBezTo>
                  <a:cubicBezTo>
                    <a:pt x="3341366" y="110490"/>
                    <a:pt x="3338191" y="110490"/>
                    <a:pt x="3335016" y="109220"/>
                  </a:cubicBezTo>
                  <a:cubicBezTo>
                    <a:pt x="3331841" y="108585"/>
                    <a:pt x="3329301" y="107315"/>
                    <a:pt x="3327396" y="105410"/>
                  </a:cubicBezTo>
                  <a:cubicBezTo>
                    <a:pt x="3324856" y="104140"/>
                    <a:pt x="3322951" y="102235"/>
                    <a:pt x="3321046" y="100330"/>
                  </a:cubicBezTo>
                  <a:cubicBezTo>
                    <a:pt x="3319141" y="98425"/>
                    <a:pt x="3317236" y="95885"/>
                    <a:pt x="3315966" y="92710"/>
                  </a:cubicBezTo>
                  <a:cubicBezTo>
                    <a:pt x="3314061" y="89535"/>
                    <a:pt x="3312791" y="86360"/>
                    <a:pt x="3312156" y="82550"/>
                  </a:cubicBezTo>
                  <a:cubicBezTo>
                    <a:pt x="3311521" y="78740"/>
                    <a:pt x="3310886" y="74295"/>
                    <a:pt x="3310886" y="69850"/>
                  </a:cubicBezTo>
                  <a:cubicBezTo>
                    <a:pt x="3310886" y="63500"/>
                    <a:pt x="3311521" y="57150"/>
                    <a:pt x="3313426" y="52070"/>
                  </a:cubicBezTo>
                  <a:cubicBezTo>
                    <a:pt x="3315331" y="46990"/>
                    <a:pt x="3317236" y="42545"/>
                    <a:pt x="3320411" y="39370"/>
                  </a:cubicBezTo>
                  <a:cubicBezTo>
                    <a:pt x="3323586" y="36195"/>
                    <a:pt x="3326761" y="33020"/>
                    <a:pt x="3331206" y="31750"/>
                  </a:cubicBezTo>
                  <a:cubicBezTo>
                    <a:pt x="3335651" y="29845"/>
                    <a:pt x="3340096" y="29210"/>
                    <a:pt x="3345176" y="29210"/>
                  </a:cubicBezTo>
                  <a:close/>
                  <a:moveTo>
                    <a:pt x="3060696" y="29210"/>
                  </a:moveTo>
                  <a:cubicBezTo>
                    <a:pt x="3063871" y="29210"/>
                    <a:pt x="3066411" y="29210"/>
                    <a:pt x="3068316" y="29845"/>
                  </a:cubicBezTo>
                  <a:cubicBezTo>
                    <a:pt x="3070221" y="29845"/>
                    <a:pt x="3072126" y="31115"/>
                    <a:pt x="3074031" y="32385"/>
                  </a:cubicBezTo>
                  <a:lnTo>
                    <a:pt x="3070221" y="46990"/>
                  </a:lnTo>
                  <a:lnTo>
                    <a:pt x="3068951" y="46990"/>
                  </a:lnTo>
                  <a:cubicBezTo>
                    <a:pt x="3068951" y="46990"/>
                    <a:pt x="3065776" y="45085"/>
                    <a:pt x="3063871" y="45085"/>
                  </a:cubicBezTo>
                  <a:cubicBezTo>
                    <a:pt x="3061966" y="45085"/>
                    <a:pt x="3060061" y="44450"/>
                    <a:pt x="3057521" y="44450"/>
                  </a:cubicBezTo>
                  <a:cubicBezTo>
                    <a:pt x="3052441" y="44450"/>
                    <a:pt x="3048631" y="46355"/>
                    <a:pt x="3046091" y="49530"/>
                  </a:cubicBezTo>
                  <a:cubicBezTo>
                    <a:pt x="3043551" y="52705"/>
                    <a:pt x="3042281" y="57785"/>
                    <a:pt x="3042281" y="64770"/>
                  </a:cubicBezTo>
                  <a:lnTo>
                    <a:pt x="3042281" y="109220"/>
                  </a:lnTo>
                  <a:lnTo>
                    <a:pt x="3027041" y="109220"/>
                  </a:lnTo>
                  <a:lnTo>
                    <a:pt x="3027041" y="31115"/>
                  </a:lnTo>
                  <a:lnTo>
                    <a:pt x="3042281" y="31115"/>
                  </a:lnTo>
                  <a:lnTo>
                    <a:pt x="3042281" y="38735"/>
                  </a:lnTo>
                  <a:cubicBezTo>
                    <a:pt x="3042281" y="38735"/>
                    <a:pt x="3044186" y="36195"/>
                    <a:pt x="3045456" y="34925"/>
                  </a:cubicBezTo>
                  <a:cubicBezTo>
                    <a:pt x="3046726" y="33655"/>
                    <a:pt x="3047996" y="33020"/>
                    <a:pt x="3049901" y="31750"/>
                  </a:cubicBezTo>
                  <a:cubicBezTo>
                    <a:pt x="3051171" y="31115"/>
                    <a:pt x="3053076" y="30480"/>
                    <a:pt x="3054981" y="29845"/>
                  </a:cubicBezTo>
                  <a:cubicBezTo>
                    <a:pt x="3056886" y="29845"/>
                    <a:pt x="3058791" y="29210"/>
                    <a:pt x="3060696" y="29210"/>
                  </a:cubicBezTo>
                  <a:close/>
                  <a:moveTo>
                    <a:pt x="2978781" y="29210"/>
                  </a:moveTo>
                  <a:cubicBezTo>
                    <a:pt x="2984496" y="29210"/>
                    <a:pt x="2988941" y="30480"/>
                    <a:pt x="2993386" y="32385"/>
                  </a:cubicBezTo>
                  <a:cubicBezTo>
                    <a:pt x="2997196" y="34290"/>
                    <a:pt x="3001006" y="37465"/>
                    <a:pt x="3003546" y="40640"/>
                  </a:cubicBezTo>
                  <a:cubicBezTo>
                    <a:pt x="3006086" y="44450"/>
                    <a:pt x="3007991" y="48260"/>
                    <a:pt x="3009896" y="53340"/>
                  </a:cubicBezTo>
                  <a:cubicBezTo>
                    <a:pt x="3011166" y="57785"/>
                    <a:pt x="3011801" y="62865"/>
                    <a:pt x="3011801" y="68580"/>
                  </a:cubicBezTo>
                  <a:lnTo>
                    <a:pt x="3010531" y="68580"/>
                  </a:lnTo>
                  <a:cubicBezTo>
                    <a:pt x="3010531" y="68580"/>
                    <a:pt x="3010531" y="71120"/>
                    <a:pt x="3010531" y="72390"/>
                  </a:cubicBezTo>
                  <a:cubicBezTo>
                    <a:pt x="3010531" y="73660"/>
                    <a:pt x="3010531" y="74295"/>
                    <a:pt x="3010531" y="75565"/>
                  </a:cubicBezTo>
                  <a:lnTo>
                    <a:pt x="2959096" y="75565"/>
                  </a:lnTo>
                  <a:cubicBezTo>
                    <a:pt x="2959096" y="79375"/>
                    <a:pt x="2960366" y="82550"/>
                    <a:pt x="2961636" y="85090"/>
                  </a:cubicBezTo>
                  <a:cubicBezTo>
                    <a:pt x="2962906" y="87630"/>
                    <a:pt x="2964176" y="90170"/>
                    <a:pt x="2966081" y="91440"/>
                  </a:cubicBezTo>
                  <a:cubicBezTo>
                    <a:pt x="2967986" y="93345"/>
                    <a:pt x="2969891" y="94615"/>
                    <a:pt x="2971796" y="95250"/>
                  </a:cubicBezTo>
                  <a:cubicBezTo>
                    <a:pt x="2974336" y="95885"/>
                    <a:pt x="2976241" y="96520"/>
                    <a:pt x="2978781" y="96520"/>
                  </a:cubicBezTo>
                  <a:cubicBezTo>
                    <a:pt x="2980686" y="96520"/>
                    <a:pt x="2981956" y="96520"/>
                    <a:pt x="2983861" y="96520"/>
                  </a:cubicBezTo>
                  <a:cubicBezTo>
                    <a:pt x="2985131" y="96520"/>
                    <a:pt x="2987036" y="95885"/>
                    <a:pt x="2988306" y="95250"/>
                  </a:cubicBezTo>
                  <a:cubicBezTo>
                    <a:pt x="2989576" y="95250"/>
                    <a:pt x="2990846" y="93980"/>
                    <a:pt x="2992116" y="93345"/>
                  </a:cubicBezTo>
                  <a:cubicBezTo>
                    <a:pt x="2993386" y="93345"/>
                    <a:pt x="2994656" y="92075"/>
                    <a:pt x="2996561" y="90805"/>
                  </a:cubicBezTo>
                  <a:lnTo>
                    <a:pt x="3005451" y="100330"/>
                  </a:lnTo>
                  <a:cubicBezTo>
                    <a:pt x="3005451" y="100330"/>
                    <a:pt x="3001641" y="103505"/>
                    <a:pt x="2999736" y="104775"/>
                  </a:cubicBezTo>
                  <a:cubicBezTo>
                    <a:pt x="2997831" y="106045"/>
                    <a:pt x="2995926" y="106680"/>
                    <a:pt x="2994021" y="107950"/>
                  </a:cubicBezTo>
                  <a:cubicBezTo>
                    <a:pt x="2992116" y="108585"/>
                    <a:pt x="2989576" y="109855"/>
                    <a:pt x="2987036" y="109855"/>
                  </a:cubicBezTo>
                  <a:cubicBezTo>
                    <a:pt x="2984496" y="109855"/>
                    <a:pt x="2981321" y="110490"/>
                    <a:pt x="2978146" y="110490"/>
                  </a:cubicBezTo>
                  <a:cubicBezTo>
                    <a:pt x="2974971" y="110490"/>
                    <a:pt x="2971796" y="110490"/>
                    <a:pt x="2968621" y="109220"/>
                  </a:cubicBezTo>
                  <a:cubicBezTo>
                    <a:pt x="2965446" y="108585"/>
                    <a:pt x="2962906" y="107315"/>
                    <a:pt x="2961001" y="105410"/>
                  </a:cubicBezTo>
                  <a:cubicBezTo>
                    <a:pt x="2958461" y="104140"/>
                    <a:pt x="2956556" y="102235"/>
                    <a:pt x="2954651" y="100330"/>
                  </a:cubicBezTo>
                  <a:cubicBezTo>
                    <a:pt x="2952746" y="98425"/>
                    <a:pt x="2950841" y="95885"/>
                    <a:pt x="2949571" y="92710"/>
                  </a:cubicBezTo>
                  <a:cubicBezTo>
                    <a:pt x="2947666" y="89535"/>
                    <a:pt x="2946396" y="86360"/>
                    <a:pt x="2945761" y="82550"/>
                  </a:cubicBezTo>
                  <a:cubicBezTo>
                    <a:pt x="2945126" y="78740"/>
                    <a:pt x="2944491" y="74295"/>
                    <a:pt x="2944491" y="69850"/>
                  </a:cubicBezTo>
                  <a:cubicBezTo>
                    <a:pt x="2944491" y="63500"/>
                    <a:pt x="2945126" y="57150"/>
                    <a:pt x="2947031" y="52070"/>
                  </a:cubicBezTo>
                  <a:cubicBezTo>
                    <a:pt x="2948936" y="46990"/>
                    <a:pt x="2950841" y="42545"/>
                    <a:pt x="2954016" y="39370"/>
                  </a:cubicBezTo>
                  <a:cubicBezTo>
                    <a:pt x="2957191" y="36195"/>
                    <a:pt x="2960366" y="33020"/>
                    <a:pt x="2964811" y="31750"/>
                  </a:cubicBezTo>
                  <a:cubicBezTo>
                    <a:pt x="2969256" y="29845"/>
                    <a:pt x="2973701" y="29210"/>
                    <a:pt x="2978781" y="29210"/>
                  </a:cubicBezTo>
                  <a:close/>
                  <a:moveTo>
                    <a:pt x="2798440" y="29210"/>
                  </a:moveTo>
                  <a:cubicBezTo>
                    <a:pt x="2803520" y="29210"/>
                    <a:pt x="2807965" y="29845"/>
                    <a:pt x="2813045" y="31750"/>
                  </a:cubicBezTo>
                  <a:cubicBezTo>
                    <a:pt x="2817490" y="33655"/>
                    <a:pt x="2821935" y="35560"/>
                    <a:pt x="2825110" y="38100"/>
                  </a:cubicBezTo>
                  <a:lnTo>
                    <a:pt x="2827015" y="38100"/>
                  </a:lnTo>
                  <a:lnTo>
                    <a:pt x="2820030" y="50165"/>
                  </a:lnTo>
                  <a:cubicBezTo>
                    <a:pt x="2816855" y="47625"/>
                    <a:pt x="2813680" y="46355"/>
                    <a:pt x="2810505" y="45085"/>
                  </a:cubicBezTo>
                  <a:cubicBezTo>
                    <a:pt x="2807330" y="43815"/>
                    <a:pt x="2803520" y="43180"/>
                    <a:pt x="2799710" y="43180"/>
                  </a:cubicBezTo>
                  <a:cubicBezTo>
                    <a:pt x="2795900" y="43180"/>
                    <a:pt x="2793360" y="43815"/>
                    <a:pt x="2791455" y="45085"/>
                  </a:cubicBezTo>
                  <a:cubicBezTo>
                    <a:pt x="2789550" y="46355"/>
                    <a:pt x="2788915" y="48260"/>
                    <a:pt x="2788915" y="50165"/>
                  </a:cubicBezTo>
                  <a:cubicBezTo>
                    <a:pt x="2788915" y="51435"/>
                    <a:pt x="2788915" y="52070"/>
                    <a:pt x="2788915" y="52705"/>
                  </a:cubicBezTo>
                  <a:cubicBezTo>
                    <a:pt x="2788915" y="53340"/>
                    <a:pt x="2790185" y="54610"/>
                    <a:pt x="2790820" y="55245"/>
                  </a:cubicBezTo>
                  <a:cubicBezTo>
                    <a:pt x="2792090" y="55880"/>
                    <a:pt x="2793360" y="57150"/>
                    <a:pt x="2795265" y="57785"/>
                  </a:cubicBezTo>
                  <a:cubicBezTo>
                    <a:pt x="2797170" y="59055"/>
                    <a:pt x="2799710" y="59690"/>
                    <a:pt x="2802250" y="60960"/>
                  </a:cubicBezTo>
                  <a:cubicBezTo>
                    <a:pt x="2806695" y="62865"/>
                    <a:pt x="2810505" y="64135"/>
                    <a:pt x="2813680" y="66040"/>
                  </a:cubicBezTo>
                  <a:cubicBezTo>
                    <a:pt x="2816855" y="67310"/>
                    <a:pt x="2819395" y="69215"/>
                    <a:pt x="2821935" y="71120"/>
                  </a:cubicBezTo>
                  <a:cubicBezTo>
                    <a:pt x="2823840" y="73025"/>
                    <a:pt x="2825745" y="75565"/>
                    <a:pt x="2827015" y="78105"/>
                  </a:cubicBezTo>
                  <a:cubicBezTo>
                    <a:pt x="2828285" y="80645"/>
                    <a:pt x="2828920" y="83820"/>
                    <a:pt x="2828920" y="87630"/>
                  </a:cubicBezTo>
                  <a:cubicBezTo>
                    <a:pt x="2828920" y="92075"/>
                    <a:pt x="2828285" y="95250"/>
                    <a:pt x="2826380" y="98425"/>
                  </a:cubicBezTo>
                  <a:cubicBezTo>
                    <a:pt x="2824475" y="101600"/>
                    <a:pt x="2822570" y="103505"/>
                    <a:pt x="2820030" y="105410"/>
                  </a:cubicBezTo>
                  <a:cubicBezTo>
                    <a:pt x="2817490" y="107315"/>
                    <a:pt x="2814315" y="108585"/>
                    <a:pt x="2810505" y="109220"/>
                  </a:cubicBezTo>
                  <a:cubicBezTo>
                    <a:pt x="2806695" y="109855"/>
                    <a:pt x="2803520" y="110490"/>
                    <a:pt x="2799710" y="110490"/>
                  </a:cubicBezTo>
                  <a:cubicBezTo>
                    <a:pt x="2794630" y="110490"/>
                    <a:pt x="2789550" y="109855"/>
                    <a:pt x="2783835" y="107950"/>
                  </a:cubicBezTo>
                  <a:cubicBezTo>
                    <a:pt x="2778120" y="106045"/>
                    <a:pt x="2773675" y="103505"/>
                    <a:pt x="2769230" y="100965"/>
                  </a:cubicBezTo>
                  <a:lnTo>
                    <a:pt x="2776215" y="89535"/>
                  </a:lnTo>
                  <a:cubicBezTo>
                    <a:pt x="2780025" y="92075"/>
                    <a:pt x="2783835" y="93980"/>
                    <a:pt x="2787645" y="95250"/>
                  </a:cubicBezTo>
                  <a:cubicBezTo>
                    <a:pt x="2791455" y="96520"/>
                    <a:pt x="2795265" y="97155"/>
                    <a:pt x="2799075" y="97155"/>
                  </a:cubicBezTo>
                  <a:cubicBezTo>
                    <a:pt x="2804155" y="97155"/>
                    <a:pt x="2807330" y="96520"/>
                    <a:pt x="2809870" y="94615"/>
                  </a:cubicBezTo>
                  <a:cubicBezTo>
                    <a:pt x="2812410" y="93345"/>
                    <a:pt x="2813045" y="90805"/>
                    <a:pt x="2813045" y="88265"/>
                  </a:cubicBezTo>
                  <a:cubicBezTo>
                    <a:pt x="2813045" y="86995"/>
                    <a:pt x="2813045" y="85725"/>
                    <a:pt x="2811775" y="84455"/>
                  </a:cubicBezTo>
                  <a:cubicBezTo>
                    <a:pt x="2811140" y="83185"/>
                    <a:pt x="2809870" y="82550"/>
                    <a:pt x="2807965" y="81280"/>
                  </a:cubicBezTo>
                  <a:cubicBezTo>
                    <a:pt x="2806695" y="80010"/>
                    <a:pt x="2804790" y="79375"/>
                    <a:pt x="2802250" y="78105"/>
                  </a:cubicBezTo>
                  <a:cubicBezTo>
                    <a:pt x="2800345" y="77470"/>
                    <a:pt x="2797805" y="76200"/>
                    <a:pt x="2794630" y="74930"/>
                  </a:cubicBezTo>
                  <a:cubicBezTo>
                    <a:pt x="2790185" y="73025"/>
                    <a:pt x="2787010" y="71755"/>
                    <a:pt x="2783835" y="69850"/>
                  </a:cubicBezTo>
                  <a:cubicBezTo>
                    <a:pt x="2780660" y="67945"/>
                    <a:pt x="2778755" y="66675"/>
                    <a:pt x="2776850" y="64770"/>
                  </a:cubicBezTo>
                  <a:cubicBezTo>
                    <a:pt x="2774945" y="62865"/>
                    <a:pt x="2773675" y="60960"/>
                    <a:pt x="2773040" y="58420"/>
                  </a:cubicBezTo>
                  <a:cubicBezTo>
                    <a:pt x="2772405" y="55880"/>
                    <a:pt x="2771770" y="53340"/>
                    <a:pt x="2771770" y="50165"/>
                  </a:cubicBezTo>
                  <a:cubicBezTo>
                    <a:pt x="2771770" y="46990"/>
                    <a:pt x="2772405" y="43815"/>
                    <a:pt x="2773675" y="40640"/>
                  </a:cubicBezTo>
                  <a:cubicBezTo>
                    <a:pt x="2774945" y="38100"/>
                    <a:pt x="2776850" y="35560"/>
                    <a:pt x="2779390" y="34290"/>
                  </a:cubicBezTo>
                  <a:cubicBezTo>
                    <a:pt x="2781930" y="32385"/>
                    <a:pt x="2784470" y="31115"/>
                    <a:pt x="2787645" y="30480"/>
                  </a:cubicBezTo>
                  <a:cubicBezTo>
                    <a:pt x="2790820" y="29845"/>
                    <a:pt x="2794630" y="29210"/>
                    <a:pt x="2798440" y="29210"/>
                  </a:cubicBezTo>
                  <a:close/>
                  <a:moveTo>
                    <a:pt x="2723510" y="29210"/>
                  </a:moveTo>
                  <a:cubicBezTo>
                    <a:pt x="2725415" y="29210"/>
                    <a:pt x="2727320" y="29210"/>
                    <a:pt x="2729225" y="29210"/>
                  </a:cubicBezTo>
                  <a:cubicBezTo>
                    <a:pt x="2733670" y="29210"/>
                    <a:pt x="2738115" y="29845"/>
                    <a:pt x="2741290" y="31750"/>
                  </a:cubicBezTo>
                  <a:cubicBezTo>
                    <a:pt x="2744465" y="33020"/>
                    <a:pt x="2747640" y="35560"/>
                    <a:pt x="2750180" y="38100"/>
                  </a:cubicBezTo>
                  <a:cubicBezTo>
                    <a:pt x="2752720" y="41275"/>
                    <a:pt x="2753990" y="44450"/>
                    <a:pt x="2755260" y="48895"/>
                  </a:cubicBezTo>
                  <a:cubicBezTo>
                    <a:pt x="2756530" y="53340"/>
                    <a:pt x="2757165" y="58420"/>
                    <a:pt x="2757165" y="64135"/>
                  </a:cubicBezTo>
                  <a:lnTo>
                    <a:pt x="2757165" y="108585"/>
                  </a:lnTo>
                  <a:lnTo>
                    <a:pt x="2741925" y="108585"/>
                  </a:lnTo>
                  <a:lnTo>
                    <a:pt x="2741290" y="108585"/>
                  </a:lnTo>
                  <a:lnTo>
                    <a:pt x="2741290" y="64770"/>
                  </a:lnTo>
                  <a:cubicBezTo>
                    <a:pt x="2741290" y="57785"/>
                    <a:pt x="2740020" y="52070"/>
                    <a:pt x="2737480" y="48895"/>
                  </a:cubicBezTo>
                  <a:cubicBezTo>
                    <a:pt x="2734940" y="45085"/>
                    <a:pt x="2731130" y="43180"/>
                    <a:pt x="2725415" y="43180"/>
                  </a:cubicBezTo>
                  <a:cubicBezTo>
                    <a:pt x="2722875" y="43180"/>
                    <a:pt x="2720970" y="43180"/>
                    <a:pt x="2718430" y="44450"/>
                  </a:cubicBezTo>
                  <a:cubicBezTo>
                    <a:pt x="2716525" y="45085"/>
                    <a:pt x="2714620" y="46990"/>
                    <a:pt x="2713350" y="48260"/>
                  </a:cubicBezTo>
                  <a:cubicBezTo>
                    <a:pt x="2712080" y="50165"/>
                    <a:pt x="2710810" y="52070"/>
                    <a:pt x="2710175" y="54610"/>
                  </a:cubicBezTo>
                  <a:cubicBezTo>
                    <a:pt x="2710175" y="57150"/>
                    <a:pt x="2709540" y="59690"/>
                    <a:pt x="2709540" y="62865"/>
                  </a:cubicBezTo>
                  <a:lnTo>
                    <a:pt x="2709540" y="108585"/>
                  </a:lnTo>
                  <a:lnTo>
                    <a:pt x="2694300" y="108585"/>
                  </a:lnTo>
                  <a:lnTo>
                    <a:pt x="2694300" y="30480"/>
                  </a:lnTo>
                  <a:lnTo>
                    <a:pt x="2709540" y="30480"/>
                  </a:lnTo>
                  <a:lnTo>
                    <a:pt x="2709540" y="38100"/>
                  </a:lnTo>
                  <a:cubicBezTo>
                    <a:pt x="2709540" y="38100"/>
                    <a:pt x="2711445" y="35560"/>
                    <a:pt x="2713350" y="34290"/>
                  </a:cubicBezTo>
                  <a:cubicBezTo>
                    <a:pt x="2714620" y="33020"/>
                    <a:pt x="2716525" y="32385"/>
                    <a:pt x="2717795" y="31115"/>
                  </a:cubicBezTo>
                  <a:cubicBezTo>
                    <a:pt x="2719700" y="30480"/>
                    <a:pt x="2721605" y="29845"/>
                    <a:pt x="2723510" y="29210"/>
                  </a:cubicBezTo>
                  <a:close/>
                  <a:moveTo>
                    <a:pt x="2530470" y="29210"/>
                  </a:moveTo>
                  <a:cubicBezTo>
                    <a:pt x="2536185" y="29210"/>
                    <a:pt x="2540630" y="30480"/>
                    <a:pt x="2545075" y="32385"/>
                  </a:cubicBezTo>
                  <a:cubicBezTo>
                    <a:pt x="2548885" y="34290"/>
                    <a:pt x="2552695" y="37465"/>
                    <a:pt x="2555235" y="40640"/>
                  </a:cubicBezTo>
                  <a:cubicBezTo>
                    <a:pt x="2557775" y="44450"/>
                    <a:pt x="2559680" y="48260"/>
                    <a:pt x="2561585" y="53340"/>
                  </a:cubicBezTo>
                  <a:cubicBezTo>
                    <a:pt x="2562855" y="57785"/>
                    <a:pt x="2563490" y="62865"/>
                    <a:pt x="2563490" y="68580"/>
                  </a:cubicBezTo>
                  <a:lnTo>
                    <a:pt x="2562220" y="68580"/>
                  </a:lnTo>
                  <a:cubicBezTo>
                    <a:pt x="2562220" y="68580"/>
                    <a:pt x="2562220" y="71120"/>
                    <a:pt x="2562220" y="72390"/>
                  </a:cubicBezTo>
                  <a:cubicBezTo>
                    <a:pt x="2562220" y="73660"/>
                    <a:pt x="2562220" y="74295"/>
                    <a:pt x="2562220" y="75565"/>
                  </a:cubicBezTo>
                  <a:lnTo>
                    <a:pt x="2510785" y="75565"/>
                  </a:lnTo>
                  <a:cubicBezTo>
                    <a:pt x="2510785" y="79375"/>
                    <a:pt x="2512055" y="82550"/>
                    <a:pt x="2513325" y="85090"/>
                  </a:cubicBezTo>
                  <a:cubicBezTo>
                    <a:pt x="2514595" y="87630"/>
                    <a:pt x="2515865" y="90170"/>
                    <a:pt x="2517770" y="91440"/>
                  </a:cubicBezTo>
                  <a:cubicBezTo>
                    <a:pt x="2519675" y="93345"/>
                    <a:pt x="2521580" y="94615"/>
                    <a:pt x="2523485" y="95250"/>
                  </a:cubicBezTo>
                  <a:cubicBezTo>
                    <a:pt x="2525390" y="95885"/>
                    <a:pt x="2527930" y="96520"/>
                    <a:pt x="2530470" y="96520"/>
                  </a:cubicBezTo>
                  <a:cubicBezTo>
                    <a:pt x="2532375" y="96520"/>
                    <a:pt x="2533645" y="96520"/>
                    <a:pt x="2535550" y="96520"/>
                  </a:cubicBezTo>
                  <a:cubicBezTo>
                    <a:pt x="2536820" y="96520"/>
                    <a:pt x="2538725" y="95885"/>
                    <a:pt x="2539995" y="95250"/>
                  </a:cubicBezTo>
                  <a:cubicBezTo>
                    <a:pt x="2541265" y="95250"/>
                    <a:pt x="2542535" y="93980"/>
                    <a:pt x="2543805" y="93345"/>
                  </a:cubicBezTo>
                  <a:cubicBezTo>
                    <a:pt x="2545075" y="93345"/>
                    <a:pt x="2546345" y="92075"/>
                    <a:pt x="2548250" y="90805"/>
                  </a:cubicBezTo>
                  <a:lnTo>
                    <a:pt x="2557140" y="100330"/>
                  </a:lnTo>
                  <a:cubicBezTo>
                    <a:pt x="2557140" y="100330"/>
                    <a:pt x="2553330" y="103505"/>
                    <a:pt x="2551425" y="104775"/>
                  </a:cubicBezTo>
                  <a:cubicBezTo>
                    <a:pt x="2549520" y="106045"/>
                    <a:pt x="2547615" y="106680"/>
                    <a:pt x="2545710" y="107950"/>
                  </a:cubicBezTo>
                  <a:cubicBezTo>
                    <a:pt x="2543805" y="108585"/>
                    <a:pt x="2541265" y="109855"/>
                    <a:pt x="2538725" y="109855"/>
                  </a:cubicBezTo>
                  <a:cubicBezTo>
                    <a:pt x="2536185" y="109855"/>
                    <a:pt x="2533010" y="110490"/>
                    <a:pt x="2529835" y="110490"/>
                  </a:cubicBezTo>
                  <a:cubicBezTo>
                    <a:pt x="2526660" y="110490"/>
                    <a:pt x="2523485" y="110490"/>
                    <a:pt x="2520310" y="109220"/>
                  </a:cubicBezTo>
                  <a:cubicBezTo>
                    <a:pt x="2517135" y="108585"/>
                    <a:pt x="2514595" y="107315"/>
                    <a:pt x="2512690" y="105410"/>
                  </a:cubicBezTo>
                  <a:cubicBezTo>
                    <a:pt x="2510785" y="103505"/>
                    <a:pt x="2508245" y="102235"/>
                    <a:pt x="2506340" y="100330"/>
                  </a:cubicBezTo>
                  <a:cubicBezTo>
                    <a:pt x="2504435" y="98425"/>
                    <a:pt x="2502530" y="95885"/>
                    <a:pt x="2501260" y="92710"/>
                  </a:cubicBezTo>
                  <a:cubicBezTo>
                    <a:pt x="2499355" y="89535"/>
                    <a:pt x="2498085" y="86360"/>
                    <a:pt x="2497450" y="82550"/>
                  </a:cubicBezTo>
                  <a:cubicBezTo>
                    <a:pt x="2496815" y="78740"/>
                    <a:pt x="2496180" y="74295"/>
                    <a:pt x="2496180" y="69850"/>
                  </a:cubicBezTo>
                  <a:cubicBezTo>
                    <a:pt x="2496180" y="63500"/>
                    <a:pt x="2496815" y="57150"/>
                    <a:pt x="2498720" y="52070"/>
                  </a:cubicBezTo>
                  <a:cubicBezTo>
                    <a:pt x="2500625" y="46990"/>
                    <a:pt x="2502530" y="42545"/>
                    <a:pt x="2505705" y="39370"/>
                  </a:cubicBezTo>
                  <a:cubicBezTo>
                    <a:pt x="2508880" y="36195"/>
                    <a:pt x="2512055" y="33020"/>
                    <a:pt x="2516500" y="31750"/>
                  </a:cubicBezTo>
                  <a:cubicBezTo>
                    <a:pt x="2520945" y="29845"/>
                    <a:pt x="2525390" y="29210"/>
                    <a:pt x="2530470" y="29210"/>
                  </a:cubicBezTo>
                  <a:close/>
                  <a:moveTo>
                    <a:pt x="2298061" y="29210"/>
                  </a:moveTo>
                  <a:cubicBezTo>
                    <a:pt x="2301236" y="29210"/>
                    <a:pt x="2303776" y="29210"/>
                    <a:pt x="2305681" y="29845"/>
                  </a:cubicBezTo>
                  <a:cubicBezTo>
                    <a:pt x="2307586" y="29845"/>
                    <a:pt x="2309491" y="31115"/>
                    <a:pt x="2311396" y="32385"/>
                  </a:cubicBezTo>
                  <a:lnTo>
                    <a:pt x="2307586" y="46990"/>
                  </a:lnTo>
                  <a:lnTo>
                    <a:pt x="2306316" y="46990"/>
                  </a:lnTo>
                  <a:cubicBezTo>
                    <a:pt x="2306316" y="46990"/>
                    <a:pt x="2303141" y="45085"/>
                    <a:pt x="2301236" y="45085"/>
                  </a:cubicBezTo>
                  <a:cubicBezTo>
                    <a:pt x="2299331" y="45085"/>
                    <a:pt x="2297426" y="44450"/>
                    <a:pt x="2294886" y="44450"/>
                  </a:cubicBezTo>
                  <a:cubicBezTo>
                    <a:pt x="2289806" y="44450"/>
                    <a:pt x="2285996" y="46355"/>
                    <a:pt x="2283456" y="49530"/>
                  </a:cubicBezTo>
                  <a:cubicBezTo>
                    <a:pt x="2280916" y="52705"/>
                    <a:pt x="2279646" y="57785"/>
                    <a:pt x="2279646" y="64770"/>
                  </a:cubicBezTo>
                  <a:lnTo>
                    <a:pt x="2279646" y="109220"/>
                  </a:lnTo>
                  <a:lnTo>
                    <a:pt x="2264406" y="109220"/>
                  </a:lnTo>
                  <a:lnTo>
                    <a:pt x="2264406" y="31115"/>
                  </a:lnTo>
                  <a:lnTo>
                    <a:pt x="2279646" y="31115"/>
                  </a:lnTo>
                  <a:lnTo>
                    <a:pt x="2279646" y="38735"/>
                  </a:lnTo>
                  <a:cubicBezTo>
                    <a:pt x="2279646" y="38735"/>
                    <a:pt x="2281551" y="36195"/>
                    <a:pt x="2282821" y="34925"/>
                  </a:cubicBezTo>
                  <a:cubicBezTo>
                    <a:pt x="2284091" y="33655"/>
                    <a:pt x="2285361" y="33020"/>
                    <a:pt x="2287266" y="31750"/>
                  </a:cubicBezTo>
                  <a:cubicBezTo>
                    <a:pt x="2288536" y="31115"/>
                    <a:pt x="2290441" y="30480"/>
                    <a:pt x="2292346" y="29845"/>
                  </a:cubicBezTo>
                  <a:cubicBezTo>
                    <a:pt x="2294251" y="29845"/>
                    <a:pt x="2296156" y="29210"/>
                    <a:pt x="2298061" y="29210"/>
                  </a:cubicBezTo>
                  <a:close/>
                  <a:moveTo>
                    <a:pt x="2216145" y="29210"/>
                  </a:moveTo>
                  <a:cubicBezTo>
                    <a:pt x="2221860" y="29210"/>
                    <a:pt x="2226305" y="30480"/>
                    <a:pt x="2230750" y="32385"/>
                  </a:cubicBezTo>
                  <a:cubicBezTo>
                    <a:pt x="2234560" y="34290"/>
                    <a:pt x="2238370" y="37465"/>
                    <a:pt x="2240910" y="40640"/>
                  </a:cubicBezTo>
                  <a:cubicBezTo>
                    <a:pt x="2243450" y="44450"/>
                    <a:pt x="2245355" y="48260"/>
                    <a:pt x="2247260" y="53340"/>
                  </a:cubicBezTo>
                  <a:cubicBezTo>
                    <a:pt x="2248530" y="57785"/>
                    <a:pt x="2249165" y="62865"/>
                    <a:pt x="2249165" y="68580"/>
                  </a:cubicBezTo>
                  <a:lnTo>
                    <a:pt x="2247895" y="68580"/>
                  </a:lnTo>
                  <a:cubicBezTo>
                    <a:pt x="2247895" y="68580"/>
                    <a:pt x="2247895" y="71120"/>
                    <a:pt x="2247895" y="72390"/>
                  </a:cubicBezTo>
                  <a:cubicBezTo>
                    <a:pt x="2247895" y="73660"/>
                    <a:pt x="2247895" y="74295"/>
                    <a:pt x="2247895" y="75565"/>
                  </a:cubicBezTo>
                  <a:lnTo>
                    <a:pt x="2196460" y="75565"/>
                  </a:lnTo>
                  <a:cubicBezTo>
                    <a:pt x="2196460" y="79375"/>
                    <a:pt x="2197730" y="82550"/>
                    <a:pt x="2199000" y="85090"/>
                  </a:cubicBezTo>
                  <a:cubicBezTo>
                    <a:pt x="2200270" y="87630"/>
                    <a:pt x="2201540" y="90170"/>
                    <a:pt x="2203445" y="91440"/>
                  </a:cubicBezTo>
                  <a:cubicBezTo>
                    <a:pt x="2205350" y="93345"/>
                    <a:pt x="2207255" y="94615"/>
                    <a:pt x="2209160" y="95250"/>
                  </a:cubicBezTo>
                  <a:cubicBezTo>
                    <a:pt x="2211065" y="95885"/>
                    <a:pt x="2213605" y="96520"/>
                    <a:pt x="2216145" y="96520"/>
                  </a:cubicBezTo>
                  <a:cubicBezTo>
                    <a:pt x="2218050" y="96520"/>
                    <a:pt x="2219320" y="96520"/>
                    <a:pt x="2221225" y="96520"/>
                  </a:cubicBezTo>
                  <a:cubicBezTo>
                    <a:pt x="2222495" y="96520"/>
                    <a:pt x="2224400" y="95885"/>
                    <a:pt x="2225670" y="95250"/>
                  </a:cubicBezTo>
                  <a:cubicBezTo>
                    <a:pt x="2226940" y="95250"/>
                    <a:pt x="2228210" y="93980"/>
                    <a:pt x="2229480" y="93345"/>
                  </a:cubicBezTo>
                  <a:cubicBezTo>
                    <a:pt x="2230750" y="93345"/>
                    <a:pt x="2232020" y="92075"/>
                    <a:pt x="2233925" y="90805"/>
                  </a:cubicBezTo>
                  <a:lnTo>
                    <a:pt x="2242815" y="100330"/>
                  </a:lnTo>
                  <a:cubicBezTo>
                    <a:pt x="2242815" y="100330"/>
                    <a:pt x="2239005" y="103505"/>
                    <a:pt x="2237100" y="104775"/>
                  </a:cubicBezTo>
                  <a:cubicBezTo>
                    <a:pt x="2235195" y="106045"/>
                    <a:pt x="2233290" y="106680"/>
                    <a:pt x="2231385" y="107950"/>
                  </a:cubicBezTo>
                  <a:cubicBezTo>
                    <a:pt x="2229480" y="108585"/>
                    <a:pt x="2226940" y="109855"/>
                    <a:pt x="2224400" y="109855"/>
                  </a:cubicBezTo>
                  <a:cubicBezTo>
                    <a:pt x="2221860" y="109855"/>
                    <a:pt x="2218685" y="110490"/>
                    <a:pt x="2215510" y="110490"/>
                  </a:cubicBezTo>
                  <a:cubicBezTo>
                    <a:pt x="2212335" y="110490"/>
                    <a:pt x="2209160" y="110490"/>
                    <a:pt x="2205985" y="109220"/>
                  </a:cubicBezTo>
                  <a:cubicBezTo>
                    <a:pt x="2202810" y="108585"/>
                    <a:pt x="2200270" y="107315"/>
                    <a:pt x="2198365" y="105410"/>
                  </a:cubicBezTo>
                  <a:cubicBezTo>
                    <a:pt x="2195825" y="104140"/>
                    <a:pt x="2193920" y="102235"/>
                    <a:pt x="2192015" y="100330"/>
                  </a:cubicBezTo>
                  <a:cubicBezTo>
                    <a:pt x="2190110" y="98425"/>
                    <a:pt x="2188205" y="95885"/>
                    <a:pt x="2186935" y="92710"/>
                  </a:cubicBezTo>
                  <a:cubicBezTo>
                    <a:pt x="2185030" y="89535"/>
                    <a:pt x="2183760" y="86360"/>
                    <a:pt x="2183125" y="82550"/>
                  </a:cubicBezTo>
                  <a:cubicBezTo>
                    <a:pt x="2182490" y="78740"/>
                    <a:pt x="2181855" y="74295"/>
                    <a:pt x="2181855" y="69850"/>
                  </a:cubicBezTo>
                  <a:cubicBezTo>
                    <a:pt x="2181855" y="63500"/>
                    <a:pt x="2182490" y="57150"/>
                    <a:pt x="2184395" y="52070"/>
                  </a:cubicBezTo>
                  <a:cubicBezTo>
                    <a:pt x="2186300" y="46990"/>
                    <a:pt x="2188205" y="42545"/>
                    <a:pt x="2191380" y="39370"/>
                  </a:cubicBezTo>
                  <a:cubicBezTo>
                    <a:pt x="2194555" y="36195"/>
                    <a:pt x="2197730" y="33020"/>
                    <a:pt x="2202175" y="31750"/>
                  </a:cubicBezTo>
                  <a:cubicBezTo>
                    <a:pt x="2206620" y="29845"/>
                    <a:pt x="2211065" y="29210"/>
                    <a:pt x="2216145" y="29210"/>
                  </a:cubicBezTo>
                  <a:close/>
                  <a:moveTo>
                    <a:pt x="2029456" y="29210"/>
                  </a:moveTo>
                  <a:cubicBezTo>
                    <a:pt x="2035171" y="29210"/>
                    <a:pt x="2039616" y="30480"/>
                    <a:pt x="2044061" y="32385"/>
                  </a:cubicBezTo>
                  <a:cubicBezTo>
                    <a:pt x="2047871" y="34290"/>
                    <a:pt x="2051681" y="37465"/>
                    <a:pt x="2054221" y="40640"/>
                  </a:cubicBezTo>
                  <a:cubicBezTo>
                    <a:pt x="2056761" y="44450"/>
                    <a:pt x="2058666" y="48260"/>
                    <a:pt x="2060571" y="53340"/>
                  </a:cubicBezTo>
                  <a:cubicBezTo>
                    <a:pt x="2061841" y="57785"/>
                    <a:pt x="2062476" y="62865"/>
                    <a:pt x="2062476" y="68580"/>
                  </a:cubicBezTo>
                  <a:lnTo>
                    <a:pt x="2061206" y="68580"/>
                  </a:lnTo>
                  <a:cubicBezTo>
                    <a:pt x="2061206" y="68580"/>
                    <a:pt x="2061206" y="71120"/>
                    <a:pt x="2061206" y="72390"/>
                  </a:cubicBezTo>
                  <a:cubicBezTo>
                    <a:pt x="2061206" y="73660"/>
                    <a:pt x="2061206" y="74295"/>
                    <a:pt x="2061206" y="75565"/>
                  </a:cubicBezTo>
                  <a:lnTo>
                    <a:pt x="2009771" y="75565"/>
                  </a:lnTo>
                  <a:cubicBezTo>
                    <a:pt x="2009771" y="79375"/>
                    <a:pt x="2011041" y="82550"/>
                    <a:pt x="2012311" y="85090"/>
                  </a:cubicBezTo>
                  <a:cubicBezTo>
                    <a:pt x="2013581" y="87630"/>
                    <a:pt x="2014851" y="90170"/>
                    <a:pt x="2016756" y="91440"/>
                  </a:cubicBezTo>
                  <a:cubicBezTo>
                    <a:pt x="2018661" y="93345"/>
                    <a:pt x="2020566" y="94615"/>
                    <a:pt x="2022471" y="95250"/>
                  </a:cubicBezTo>
                  <a:cubicBezTo>
                    <a:pt x="2024376" y="95885"/>
                    <a:pt x="2026916" y="96520"/>
                    <a:pt x="2029456" y="96520"/>
                  </a:cubicBezTo>
                  <a:cubicBezTo>
                    <a:pt x="2031361" y="96520"/>
                    <a:pt x="2032631" y="96520"/>
                    <a:pt x="2034536" y="96520"/>
                  </a:cubicBezTo>
                  <a:cubicBezTo>
                    <a:pt x="2035806" y="96520"/>
                    <a:pt x="2037711" y="95885"/>
                    <a:pt x="2038981" y="95250"/>
                  </a:cubicBezTo>
                  <a:cubicBezTo>
                    <a:pt x="2040251" y="95250"/>
                    <a:pt x="2041521" y="93980"/>
                    <a:pt x="2042791" y="93345"/>
                  </a:cubicBezTo>
                  <a:cubicBezTo>
                    <a:pt x="2044061" y="93345"/>
                    <a:pt x="2045331" y="92075"/>
                    <a:pt x="2047236" y="90805"/>
                  </a:cubicBezTo>
                  <a:lnTo>
                    <a:pt x="2056126" y="100330"/>
                  </a:lnTo>
                  <a:cubicBezTo>
                    <a:pt x="2056126" y="100330"/>
                    <a:pt x="2052316" y="103505"/>
                    <a:pt x="2050411" y="104775"/>
                  </a:cubicBezTo>
                  <a:cubicBezTo>
                    <a:pt x="2048506" y="106045"/>
                    <a:pt x="2046601" y="106680"/>
                    <a:pt x="2044696" y="107950"/>
                  </a:cubicBezTo>
                  <a:cubicBezTo>
                    <a:pt x="2042791" y="108585"/>
                    <a:pt x="2040251" y="109855"/>
                    <a:pt x="2037711" y="109855"/>
                  </a:cubicBezTo>
                  <a:cubicBezTo>
                    <a:pt x="2035171" y="109855"/>
                    <a:pt x="2031996" y="110490"/>
                    <a:pt x="2028821" y="110490"/>
                  </a:cubicBezTo>
                  <a:cubicBezTo>
                    <a:pt x="2025646" y="110490"/>
                    <a:pt x="2022471" y="110490"/>
                    <a:pt x="2019296" y="109220"/>
                  </a:cubicBezTo>
                  <a:cubicBezTo>
                    <a:pt x="2016121" y="108585"/>
                    <a:pt x="2013581" y="107315"/>
                    <a:pt x="2011676" y="105410"/>
                  </a:cubicBezTo>
                  <a:cubicBezTo>
                    <a:pt x="2009136" y="104140"/>
                    <a:pt x="2007231" y="102235"/>
                    <a:pt x="2005326" y="100330"/>
                  </a:cubicBezTo>
                  <a:cubicBezTo>
                    <a:pt x="2003421" y="98425"/>
                    <a:pt x="2001516" y="95885"/>
                    <a:pt x="2000246" y="92710"/>
                  </a:cubicBezTo>
                  <a:cubicBezTo>
                    <a:pt x="1998341" y="89535"/>
                    <a:pt x="1997071" y="86360"/>
                    <a:pt x="1996436" y="82550"/>
                  </a:cubicBezTo>
                  <a:cubicBezTo>
                    <a:pt x="1995801" y="78740"/>
                    <a:pt x="1995166" y="74295"/>
                    <a:pt x="1995166" y="69850"/>
                  </a:cubicBezTo>
                  <a:cubicBezTo>
                    <a:pt x="1995166" y="63500"/>
                    <a:pt x="1995801" y="57150"/>
                    <a:pt x="1997706" y="52070"/>
                  </a:cubicBezTo>
                  <a:cubicBezTo>
                    <a:pt x="1999611" y="46990"/>
                    <a:pt x="2001516" y="42545"/>
                    <a:pt x="2004691" y="39370"/>
                  </a:cubicBezTo>
                  <a:cubicBezTo>
                    <a:pt x="2007866" y="36195"/>
                    <a:pt x="2011041" y="33020"/>
                    <a:pt x="2015486" y="31750"/>
                  </a:cubicBezTo>
                  <a:cubicBezTo>
                    <a:pt x="2019931" y="29845"/>
                    <a:pt x="2024376" y="29210"/>
                    <a:pt x="2029456" y="29210"/>
                  </a:cubicBezTo>
                  <a:close/>
                  <a:moveTo>
                    <a:pt x="1831336" y="29210"/>
                  </a:moveTo>
                  <a:cubicBezTo>
                    <a:pt x="1837051" y="29210"/>
                    <a:pt x="1841496" y="30480"/>
                    <a:pt x="1845941" y="32385"/>
                  </a:cubicBezTo>
                  <a:cubicBezTo>
                    <a:pt x="1849751" y="34290"/>
                    <a:pt x="1853561" y="37465"/>
                    <a:pt x="1856101" y="40640"/>
                  </a:cubicBezTo>
                  <a:cubicBezTo>
                    <a:pt x="1858641" y="44450"/>
                    <a:pt x="1860546" y="48260"/>
                    <a:pt x="1862451" y="53340"/>
                  </a:cubicBezTo>
                  <a:cubicBezTo>
                    <a:pt x="1863721" y="57785"/>
                    <a:pt x="1864356" y="62865"/>
                    <a:pt x="1864356" y="68580"/>
                  </a:cubicBezTo>
                  <a:lnTo>
                    <a:pt x="1863086" y="68580"/>
                  </a:lnTo>
                  <a:cubicBezTo>
                    <a:pt x="1863086" y="68580"/>
                    <a:pt x="1863086" y="71120"/>
                    <a:pt x="1863086" y="72390"/>
                  </a:cubicBezTo>
                  <a:cubicBezTo>
                    <a:pt x="1863086" y="73660"/>
                    <a:pt x="1863086" y="74295"/>
                    <a:pt x="1863086" y="75565"/>
                  </a:cubicBezTo>
                  <a:lnTo>
                    <a:pt x="1811651" y="75565"/>
                  </a:lnTo>
                  <a:cubicBezTo>
                    <a:pt x="1811651" y="79375"/>
                    <a:pt x="1812921" y="82550"/>
                    <a:pt x="1814191" y="85090"/>
                  </a:cubicBezTo>
                  <a:cubicBezTo>
                    <a:pt x="1815461" y="87630"/>
                    <a:pt x="1816731" y="90170"/>
                    <a:pt x="1818636" y="91440"/>
                  </a:cubicBezTo>
                  <a:cubicBezTo>
                    <a:pt x="1820541" y="93345"/>
                    <a:pt x="1822446" y="94615"/>
                    <a:pt x="1824351" y="95250"/>
                  </a:cubicBezTo>
                  <a:cubicBezTo>
                    <a:pt x="1826256" y="95885"/>
                    <a:pt x="1828796" y="96520"/>
                    <a:pt x="1831336" y="96520"/>
                  </a:cubicBezTo>
                  <a:cubicBezTo>
                    <a:pt x="1833241" y="96520"/>
                    <a:pt x="1834511" y="96520"/>
                    <a:pt x="1836416" y="96520"/>
                  </a:cubicBezTo>
                  <a:cubicBezTo>
                    <a:pt x="1837686" y="96520"/>
                    <a:pt x="1839591" y="95885"/>
                    <a:pt x="1840861" y="95250"/>
                  </a:cubicBezTo>
                  <a:cubicBezTo>
                    <a:pt x="1842131" y="95250"/>
                    <a:pt x="1843401" y="93980"/>
                    <a:pt x="1844671" y="93345"/>
                  </a:cubicBezTo>
                  <a:cubicBezTo>
                    <a:pt x="1845941" y="93345"/>
                    <a:pt x="1847211" y="92075"/>
                    <a:pt x="1849116" y="90805"/>
                  </a:cubicBezTo>
                  <a:lnTo>
                    <a:pt x="1858006" y="100330"/>
                  </a:lnTo>
                  <a:cubicBezTo>
                    <a:pt x="1858006" y="100330"/>
                    <a:pt x="1854196" y="103505"/>
                    <a:pt x="1852291" y="104775"/>
                  </a:cubicBezTo>
                  <a:cubicBezTo>
                    <a:pt x="1850386" y="106045"/>
                    <a:pt x="1848481" y="106680"/>
                    <a:pt x="1846576" y="107950"/>
                  </a:cubicBezTo>
                  <a:cubicBezTo>
                    <a:pt x="1844671" y="108585"/>
                    <a:pt x="1842131" y="109855"/>
                    <a:pt x="1839591" y="109855"/>
                  </a:cubicBezTo>
                  <a:cubicBezTo>
                    <a:pt x="1837051" y="109855"/>
                    <a:pt x="1833876" y="110490"/>
                    <a:pt x="1830701" y="110490"/>
                  </a:cubicBezTo>
                  <a:cubicBezTo>
                    <a:pt x="1827526" y="110490"/>
                    <a:pt x="1824351" y="110490"/>
                    <a:pt x="1821176" y="109220"/>
                  </a:cubicBezTo>
                  <a:cubicBezTo>
                    <a:pt x="1818001" y="108585"/>
                    <a:pt x="1815461" y="107315"/>
                    <a:pt x="1813556" y="105410"/>
                  </a:cubicBezTo>
                  <a:cubicBezTo>
                    <a:pt x="1811016" y="104140"/>
                    <a:pt x="1809111" y="102235"/>
                    <a:pt x="1807206" y="100330"/>
                  </a:cubicBezTo>
                  <a:cubicBezTo>
                    <a:pt x="1805301" y="98425"/>
                    <a:pt x="1803396" y="95885"/>
                    <a:pt x="1802126" y="92710"/>
                  </a:cubicBezTo>
                  <a:cubicBezTo>
                    <a:pt x="1800221" y="89535"/>
                    <a:pt x="1798951" y="86360"/>
                    <a:pt x="1798316" y="82550"/>
                  </a:cubicBezTo>
                  <a:cubicBezTo>
                    <a:pt x="1797681" y="78740"/>
                    <a:pt x="1797046" y="74295"/>
                    <a:pt x="1797046" y="69850"/>
                  </a:cubicBezTo>
                  <a:cubicBezTo>
                    <a:pt x="1797046" y="63500"/>
                    <a:pt x="1797681" y="57150"/>
                    <a:pt x="1799586" y="52070"/>
                  </a:cubicBezTo>
                  <a:cubicBezTo>
                    <a:pt x="1801491" y="46990"/>
                    <a:pt x="1803396" y="42545"/>
                    <a:pt x="1806571" y="39370"/>
                  </a:cubicBezTo>
                  <a:cubicBezTo>
                    <a:pt x="1809746" y="36195"/>
                    <a:pt x="1812921" y="33020"/>
                    <a:pt x="1817366" y="31750"/>
                  </a:cubicBezTo>
                  <a:cubicBezTo>
                    <a:pt x="1821811" y="29845"/>
                    <a:pt x="1826256" y="29210"/>
                    <a:pt x="1831336" y="29210"/>
                  </a:cubicBezTo>
                  <a:close/>
                  <a:moveTo>
                    <a:pt x="1501140" y="29210"/>
                  </a:moveTo>
                  <a:cubicBezTo>
                    <a:pt x="1503046" y="29210"/>
                    <a:pt x="1504951" y="29210"/>
                    <a:pt x="1506856" y="29210"/>
                  </a:cubicBezTo>
                  <a:cubicBezTo>
                    <a:pt x="1511301" y="29210"/>
                    <a:pt x="1515746" y="29845"/>
                    <a:pt x="1518920" y="31750"/>
                  </a:cubicBezTo>
                  <a:cubicBezTo>
                    <a:pt x="1522096" y="33020"/>
                    <a:pt x="1525271" y="35560"/>
                    <a:pt x="1527811" y="38100"/>
                  </a:cubicBezTo>
                  <a:cubicBezTo>
                    <a:pt x="1530351" y="41275"/>
                    <a:pt x="1531621" y="44450"/>
                    <a:pt x="1532891" y="48895"/>
                  </a:cubicBezTo>
                  <a:cubicBezTo>
                    <a:pt x="1534161" y="53340"/>
                    <a:pt x="1534796" y="58420"/>
                    <a:pt x="1534796" y="64135"/>
                  </a:cubicBezTo>
                  <a:lnTo>
                    <a:pt x="1534796" y="108585"/>
                  </a:lnTo>
                  <a:lnTo>
                    <a:pt x="1519556" y="108585"/>
                  </a:lnTo>
                  <a:lnTo>
                    <a:pt x="1518920" y="108585"/>
                  </a:lnTo>
                  <a:lnTo>
                    <a:pt x="1518920" y="64770"/>
                  </a:lnTo>
                  <a:cubicBezTo>
                    <a:pt x="1518920" y="57785"/>
                    <a:pt x="1517651" y="52070"/>
                    <a:pt x="1515111" y="48895"/>
                  </a:cubicBezTo>
                  <a:cubicBezTo>
                    <a:pt x="1512571" y="45085"/>
                    <a:pt x="1508761" y="43180"/>
                    <a:pt x="1503046" y="43180"/>
                  </a:cubicBezTo>
                  <a:cubicBezTo>
                    <a:pt x="1500506" y="43180"/>
                    <a:pt x="1498601" y="43180"/>
                    <a:pt x="1496061" y="44450"/>
                  </a:cubicBezTo>
                  <a:cubicBezTo>
                    <a:pt x="1494156" y="45085"/>
                    <a:pt x="1492250" y="46990"/>
                    <a:pt x="1490981" y="48260"/>
                  </a:cubicBezTo>
                  <a:cubicBezTo>
                    <a:pt x="1489711" y="50165"/>
                    <a:pt x="1488441" y="52070"/>
                    <a:pt x="1487806" y="54610"/>
                  </a:cubicBezTo>
                  <a:cubicBezTo>
                    <a:pt x="1487806" y="57150"/>
                    <a:pt x="1487170" y="59690"/>
                    <a:pt x="1487170" y="62865"/>
                  </a:cubicBezTo>
                  <a:lnTo>
                    <a:pt x="1487170" y="108585"/>
                  </a:lnTo>
                  <a:lnTo>
                    <a:pt x="1471931" y="108585"/>
                  </a:lnTo>
                  <a:lnTo>
                    <a:pt x="1471931" y="30480"/>
                  </a:lnTo>
                  <a:lnTo>
                    <a:pt x="1487170" y="30480"/>
                  </a:lnTo>
                  <a:lnTo>
                    <a:pt x="1487170" y="38100"/>
                  </a:lnTo>
                  <a:cubicBezTo>
                    <a:pt x="1487170" y="38100"/>
                    <a:pt x="1489076" y="35560"/>
                    <a:pt x="1490981" y="34290"/>
                  </a:cubicBezTo>
                  <a:cubicBezTo>
                    <a:pt x="1492250" y="33020"/>
                    <a:pt x="1494156" y="32385"/>
                    <a:pt x="1495426" y="31115"/>
                  </a:cubicBezTo>
                  <a:cubicBezTo>
                    <a:pt x="1497331" y="30480"/>
                    <a:pt x="1499236" y="29845"/>
                    <a:pt x="1501140" y="29210"/>
                  </a:cubicBezTo>
                  <a:close/>
                  <a:moveTo>
                    <a:pt x="1250316" y="29210"/>
                  </a:moveTo>
                  <a:cubicBezTo>
                    <a:pt x="1255396" y="29210"/>
                    <a:pt x="1259841" y="29845"/>
                    <a:pt x="1264286" y="31750"/>
                  </a:cubicBezTo>
                  <a:cubicBezTo>
                    <a:pt x="1268731" y="33655"/>
                    <a:pt x="1273176" y="35560"/>
                    <a:pt x="1276350" y="38100"/>
                  </a:cubicBezTo>
                  <a:lnTo>
                    <a:pt x="1278256" y="38100"/>
                  </a:lnTo>
                  <a:lnTo>
                    <a:pt x="1271271" y="50165"/>
                  </a:lnTo>
                  <a:cubicBezTo>
                    <a:pt x="1268095" y="47625"/>
                    <a:pt x="1264921" y="46355"/>
                    <a:pt x="1261746" y="45085"/>
                  </a:cubicBezTo>
                  <a:cubicBezTo>
                    <a:pt x="1258570" y="43815"/>
                    <a:pt x="1254761" y="43180"/>
                    <a:pt x="1250951" y="43180"/>
                  </a:cubicBezTo>
                  <a:cubicBezTo>
                    <a:pt x="1247141" y="43180"/>
                    <a:pt x="1244601" y="43815"/>
                    <a:pt x="1242696" y="45085"/>
                  </a:cubicBezTo>
                  <a:cubicBezTo>
                    <a:pt x="1240791" y="46355"/>
                    <a:pt x="1240156" y="48260"/>
                    <a:pt x="1240156" y="50165"/>
                  </a:cubicBezTo>
                  <a:cubicBezTo>
                    <a:pt x="1240156" y="51435"/>
                    <a:pt x="1240156" y="52070"/>
                    <a:pt x="1240156" y="52705"/>
                  </a:cubicBezTo>
                  <a:cubicBezTo>
                    <a:pt x="1240156" y="53340"/>
                    <a:pt x="1241426" y="54610"/>
                    <a:pt x="1242061" y="55245"/>
                  </a:cubicBezTo>
                  <a:cubicBezTo>
                    <a:pt x="1243331" y="55880"/>
                    <a:pt x="1244601" y="57150"/>
                    <a:pt x="1246506" y="57785"/>
                  </a:cubicBezTo>
                  <a:cubicBezTo>
                    <a:pt x="1248411" y="59055"/>
                    <a:pt x="1250951" y="59690"/>
                    <a:pt x="1253491" y="60960"/>
                  </a:cubicBezTo>
                  <a:cubicBezTo>
                    <a:pt x="1257936" y="62865"/>
                    <a:pt x="1261746" y="64135"/>
                    <a:pt x="1264921" y="66040"/>
                  </a:cubicBezTo>
                  <a:cubicBezTo>
                    <a:pt x="1268095" y="67310"/>
                    <a:pt x="1270635" y="69215"/>
                    <a:pt x="1273176" y="71120"/>
                  </a:cubicBezTo>
                  <a:cubicBezTo>
                    <a:pt x="1275080" y="73025"/>
                    <a:pt x="1276985" y="75565"/>
                    <a:pt x="1278256" y="78105"/>
                  </a:cubicBezTo>
                  <a:cubicBezTo>
                    <a:pt x="1279525" y="80645"/>
                    <a:pt x="1280161" y="83820"/>
                    <a:pt x="1280161" y="87630"/>
                  </a:cubicBezTo>
                  <a:cubicBezTo>
                    <a:pt x="1280161" y="92075"/>
                    <a:pt x="1279525" y="95250"/>
                    <a:pt x="1277621" y="98425"/>
                  </a:cubicBezTo>
                  <a:cubicBezTo>
                    <a:pt x="1275716" y="101600"/>
                    <a:pt x="1273811" y="103505"/>
                    <a:pt x="1271271" y="105410"/>
                  </a:cubicBezTo>
                  <a:cubicBezTo>
                    <a:pt x="1268731" y="107315"/>
                    <a:pt x="1265556" y="108585"/>
                    <a:pt x="1261746" y="109220"/>
                  </a:cubicBezTo>
                  <a:cubicBezTo>
                    <a:pt x="1257936" y="109855"/>
                    <a:pt x="1254761" y="110490"/>
                    <a:pt x="1250951" y="110490"/>
                  </a:cubicBezTo>
                  <a:cubicBezTo>
                    <a:pt x="1245871" y="110490"/>
                    <a:pt x="1240791" y="109855"/>
                    <a:pt x="1235711" y="107950"/>
                  </a:cubicBezTo>
                  <a:cubicBezTo>
                    <a:pt x="1229996" y="106045"/>
                    <a:pt x="1225551" y="103505"/>
                    <a:pt x="1221106" y="100965"/>
                  </a:cubicBezTo>
                  <a:lnTo>
                    <a:pt x="1228091" y="89535"/>
                  </a:lnTo>
                  <a:cubicBezTo>
                    <a:pt x="1231901" y="92075"/>
                    <a:pt x="1235711" y="93980"/>
                    <a:pt x="1239521" y="95250"/>
                  </a:cubicBezTo>
                  <a:cubicBezTo>
                    <a:pt x="1243331" y="96520"/>
                    <a:pt x="1247141" y="97155"/>
                    <a:pt x="1250951" y="97155"/>
                  </a:cubicBezTo>
                  <a:cubicBezTo>
                    <a:pt x="1256031" y="97155"/>
                    <a:pt x="1259205" y="96520"/>
                    <a:pt x="1261746" y="94615"/>
                  </a:cubicBezTo>
                  <a:cubicBezTo>
                    <a:pt x="1264286" y="93345"/>
                    <a:pt x="1264921" y="90805"/>
                    <a:pt x="1264921" y="88265"/>
                  </a:cubicBezTo>
                  <a:cubicBezTo>
                    <a:pt x="1264921" y="86995"/>
                    <a:pt x="1264921" y="85725"/>
                    <a:pt x="1263650" y="84455"/>
                  </a:cubicBezTo>
                  <a:cubicBezTo>
                    <a:pt x="1263015" y="83185"/>
                    <a:pt x="1261746" y="82550"/>
                    <a:pt x="1259841" y="81280"/>
                  </a:cubicBezTo>
                  <a:cubicBezTo>
                    <a:pt x="1258570" y="80010"/>
                    <a:pt x="1256666" y="79375"/>
                    <a:pt x="1254125" y="78105"/>
                  </a:cubicBezTo>
                  <a:cubicBezTo>
                    <a:pt x="1252221" y="77470"/>
                    <a:pt x="1249681" y="76200"/>
                    <a:pt x="1246506" y="74930"/>
                  </a:cubicBezTo>
                  <a:cubicBezTo>
                    <a:pt x="1242061" y="73025"/>
                    <a:pt x="1238886" y="71755"/>
                    <a:pt x="1235711" y="69850"/>
                  </a:cubicBezTo>
                  <a:cubicBezTo>
                    <a:pt x="1232536" y="67945"/>
                    <a:pt x="1230631" y="66675"/>
                    <a:pt x="1228726" y="64770"/>
                  </a:cubicBezTo>
                  <a:cubicBezTo>
                    <a:pt x="1226821" y="62865"/>
                    <a:pt x="1225551" y="60960"/>
                    <a:pt x="1224916" y="58420"/>
                  </a:cubicBezTo>
                  <a:cubicBezTo>
                    <a:pt x="1224281" y="55880"/>
                    <a:pt x="1223646" y="53340"/>
                    <a:pt x="1223646" y="50165"/>
                  </a:cubicBezTo>
                  <a:cubicBezTo>
                    <a:pt x="1223646" y="46990"/>
                    <a:pt x="1224281" y="43815"/>
                    <a:pt x="1225551" y="40640"/>
                  </a:cubicBezTo>
                  <a:cubicBezTo>
                    <a:pt x="1226821" y="38100"/>
                    <a:pt x="1228726" y="35560"/>
                    <a:pt x="1231266" y="34290"/>
                  </a:cubicBezTo>
                  <a:cubicBezTo>
                    <a:pt x="1233806" y="32385"/>
                    <a:pt x="1236346" y="31115"/>
                    <a:pt x="1239521" y="30480"/>
                  </a:cubicBezTo>
                  <a:cubicBezTo>
                    <a:pt x="1242696" y="29845"/>
                    <a:pt x="1246506" y="29210"/>
                    <a:pt x="1250316" y="29210"/>
                  </a:cubicBezTo>
                  <a:close/>
                  <a:moveTo>
                    <a:pt x="1180466" y="29210"/>
                  </a:moveTo>
                  <a:cubicBezTo>
                    <a:pt x="1186181" y="29210"/>
                    <a:pt x="1190626" y="30480"/>
                    <a:pt x="1195071" y="32385"/>
                  </a:cubicBezTo>
                  <a:cubicBezTo>
                    <a:pt x="1198881" y="34290"/>
                    <a:pt x="1202691" y="37465"/>
                    <a:pt x="1205231" y="40640"/>
                  </a:cubicBezTo>
                  <a:cubicBezTo>
                    <a:pt x="1207771" y="44450"/>
                    <a:pt x="1209676" y="48260"/>
                    <a:pt x="1211581" y="53340"/>
                  </a:cubicBezTo>
                  <a:cubicBezTo>
                    <a:pt x="1212851" y="57785"/>
                    <a:pt x="1213486" y="62865"/>
                    <a:pt x="1213486" y="68580"/>
                  </a:cubicBezTo>
                  <a:lnTo>
                    <a:pt x="1212216" y="68580"/>
                  </a:lnTo>
                  <a:cubicBezTo>
                    <a:pt x="1212216" y="68580"/>
                    <a:pt x="1212216" y="71120"/>
                    <a:pt x="1212216" y="72390"/>
                  </a:cubicBezTo>
                  <a:cubicBezTo>
                    <a:pt x="1212216" y="73660"/>
                    <a:pt x="1212216" y="74295"/>
                    <a:pt x="1212216" y="75565"/>
                  </a:cubicBezTo>
                  <a:lnTo>
                    <a:pt x="1160781" y="75565"/>
                  </a:lnTo>
                  <a:cubicBezTo>
                    <a:pt x="1160781" y="79375"/>
                    <a:pt x="1162051" y="82550"/>
                    <a:pt x="1163321" y="85090"/>
                  </a:cubicBezTo>
                  <a:cubicBezTo>
                    <a:pt x="1164591" y="87630"/>
                    <a:pt x="1165861" y="90170"/>
                    <a:pt x="1167766" y="91440"/>
                  </a:cubicBezTo>
                  <a:cubicBezTo>
                    <a:pt x="1169671" y="93345"/>
                    <a:pt x="1171576" y="94615"/>
                    <a:pt x="1173481" y="95250"/>
                  </a:cubicBezTo>
                  <a:cubicBezTo>
                    <a:pt x="1175386" y="95885"/>
                    <a:pt x="1177926" y="96520"/>
                    <a:pt x="1180466" y="96520"/>
                  </a:cubicBezTo>
                  <a:cubicBezTo>
                    <a:pt x="1182371" y="96520"/>
                    <a:pt x="1183641" y="96520"/>
                    <a:pt x="1185546" y="96520"/>
                  </a:cubicBezTo>
                  <a:cubicBezTo>
                    <a:pt x="1186816" y="96520"/>
                    <a:pt x="1188721" y="95885"/>
                    <a:pt x="1189991" y="95250"/>
                  </a:cubicBezTo>
                  <a:cubicBezTo>
                    <a:pt x="1191261" y="95250"/>
                    <a:pt x="1192531" y="93980"/>
                    <a:pt x="1193801" y="93345"/>
                  </a:cubicBezTo>
                  <a:cubicBezTo>
                    <a:pt x="1195071" y="93345"/>
                    <a:pt x="1196341" y="92075"/>
                    <a:pt x="1198246" y="90805"/>
                  </a:cubicBezTo>
                  <a:lnTo>
                    <a:pt x="1207136" y="100330"/>
                  </a:lnTo>
                  <a:cubicBezTo>
                    <a:pt x="1207136" y="100330"/>
                    <a:pt x="1203326" y="103505"/>
                    <a:pt x="1201421" y="104775"/>
                  </a:cubicBezTo>
                  <a:cubicBezTo>
                    <a:pt x="1199516" y="106045"/>
                    <a:pt x="1197611" y="106680"/>
                    <a:pt x="1195706" y="107950"/>
                  </a:cubicBezTo>
                  <a:cubicBezTo>
                    <a:pt x="1193801" y="108585"/>
                    <a:pt x="1191261" y="109855"/>
                    <a:pt x="1188721" y="109855"/>
                  </a:cubicBezTo>
                  <a:cubicBezTo>
                    <a:pt x="1186181" y="109855"/>
                    <a:pt x="1183006" y="110490"/>
                    <a:pt x="1179831" y="110490"/>
                  </a:cubicBezTo>
                  <a:cubicBezTo>
                    <a:pt x="1176656" y="110490"/>
                    <a:pt x="1173481" y="110490"/>
                    <a:pt x="1170306" y="109220"/>
                  </a:cubicBezTo>
                  <a:cubicBezTo>
                    <a:pt x="1167131" y="108585"/>
                    <a:pt x="1164591" y="107315"/>
                    <a:pt x="1162686" y="105410"/>
                  </a:cubicBezTo>
                  <a:cubicBezTo>
                    <a:pt x="1160781" y="103505"/>
                    <a:pt x="1158241" y="102235"/>
                    <a:pt x="1156336" y="100330"/>
                  </a:cubicBezTo>
                  <a:cubicBezTo>
                    <a:pt x="1154431" y="98425"/>
                    <a:pt x="1152526" y="95885"/>
                    <a:pt x="1151256" y="92710"/>
                  </a:cubicBezTo>
                  <a:cubicBezTo>
                    <a:pt x="1149351" y="89535"/>
                    <a:pt x="1148081" y="86360"/>
                    <a:pt x="1147446" y="82550"/>
                  </a:cubicBezTo>
                  <a:cubicBezTo>
                    <a:pt x="1146811" y="78740"/>
                    <a:pt x="1146176" y="74295"/>
                    <a:pt x="1146176" y="69850"/>
                  </a:cubicBezTo>
                  <a:cubicBezTo>
                    <a:pt x="1146176" y="63500"/>
                    <a:pt x="1146811" y="57150"/>
                    <a:pt x="1148716" y="52070"/>
                  </a:cubicBezTo>
                  <a:cubicBezTo>
                    <a:pt x="1150621" y="46990"/>
                    <a:pt x="1152526" y="42545"/>
                    <a:pt x="1155701" y="39370"/>
                  </a:cubicBezTo>
                  <a:cubicBezTo>
                    <a:pt x="1158876" y="36195"/>
                    <a:pt x="1162051" y="33020"/>
                    <a:pt x="1166496" y="31750"/>
                  </a:cubicBezTo>
                  <a:cubicBezTo>
                    <a:pt x="1170941" y="29845"/>
                    <a:pt x="1175386" y="29210"/>
                    <a:pt x="1180466" y="29210"/>
                  </a:cubicBezTo>
                  <a:close/>
                  <a:moveTo>
                    <a:pt x="901065" y="29210"/>
                  </a:moveTo>
                  <a:cubicBezTo>
                    <a:pt x="906780" y="29210"/>
                    <a:pt x="911225" y="30480"/>
                    <a:pt x="915670" y="32385"/>
                  </a:cubicBezTo>
                  <a:cubicBezTo>
                    <a:pt x="919480" y="34290"/>
                    <a:pt x="923290" y="37465"/>
                    <a:pt x="925830" y="40640"/>
                  </a:cubicBezTo>
                  <a:cubicBezTo>
                    <a:pt x="928370" y="44450"/>
                    <a:pt x="930275" y="48260"/>
                    <a:pt x="932180" y="53340"/>
                  </a:cubicBezTo>
                  <a:cubicBezTo>
                    <a:pt x="933450" y="57785"/>
                    <a:pt x="934085" y="62865"/>
                    <a:pt x="934085" y="68580"/>
                  </a:cubicBezTo>
                  <a:lnTo>
                    <a:pt x="932815" y="68580"/>
                  </a:lnTo>
                  <a:cubicBezTo>
                    <a:pt x="932815" y="68580"/>
                    <a:pt x="932815" y="71120"/>
                    <a:pt x="932815" y="72390"/>
                  </a:cubicBezTo>
                  <a:cubicBezTo>
                    <a:pt x="932815" y="73660"/>
                    <a:pt x="932815" y="74295"/>
                    <a:pt x="932815" y="75565"/>
                  </a:cubicBezTo>
                  <a:lnTo>
                    <a:pt x="881380" y="75565"/>
                  </a:lnTo>
                  <a:cubicBezTo>
                    <a:pt x="881380" y="79375"/>
                    <a:pt x="882650" y="82550"/>
                    <a:pt x="883920" y="85090"/>
                  </a:cubicBezTo>
                  <a:cubicBezTo>
                    <a:pt x="885190" y="87630"/>
                    <a:pt x="886460" y="90170"/>
                    <a:pt x="888365" y="91440"/>
                  </a:cubicBezTo>
                  <a:cubicBezTo>
                    <a:pt x="890270" y="93345"/>
                    <a:pt x="892175" y="94615"/>
                    <a:pt x="894080" y="95250"/>
                  </a:cubicBezTo>
                  <a:cubicBezTo>
                    <a:pt x="895985" y="95885"/>
                    <a:pt x="898525" y="96520"/>
                    <a:pt x="901065" y="96520"/>
                  </a:cubicBezTo>
                  <a:cubicBezTo>
                    <a:pt x="902970" y="96520"/>
                    <a:pt x="904240" y="96520"/>
                    <a:pt x="906145" y="96520"/>
                  </a:cubicBezTo>
                  <a:cubicBezTo>
                    <a:pt x="907415" y="96520"/>
                    <a:pt x="909320" y="95885"/>
                    <a:pt x="910590" y="95250"/>
                  </a:cubicBezTo>
                  <a:cubicBezTo>
                    <a:pt x="911860" y="95250"/>
                    <a:pt x="913130" y="93980"/>
                    <a:pt x="914400" y="93345"/>
                  </a:cubicBezTo>
                  <a:cubicBezTo>
                    <a:pt x="915670" y="93345"/>
                    <a:pt x="916940" y="92075"/>
                    <a:pt x="918845" y="90805"/>
                  </a:cubicBezTo>
                  <a:lnTo>
                    <a:pt x="927735" y="100330"/>
                  </a:lnTo>
                  <a:cubicBezTo>
                    <a:pt x="927735" y="100330"/>
                    <a:pt x="923925" y="103505"/>
                    <a:pt x="922020" y="104775"/>
                  </a:cubicBezTo>
                  <a:cubicBezTo>
                    <a:pt x="920115" y="106045"/>
                    <a:pt x="918210" y="106680"/>
                    <a:pt x="916305" y="107950"/>
                  </a:cubicBezTo>
                  <a:cubicBezTo>
                    <a:pt x="914400" y="108585"/>
                    <a:pt x="911860" y="109855"/>
                    <a:pt x="909320" y="109855"/>
                  </a:cubicBezTo>
                  <a:cubicBezTo>
                    <a:pt x="906780" y="109855"/>
                    <a:pt x="903605" y="110490"/>
                    <a:pt x="900430" y="110490"/>
                  </a:cubicBezTo>
                  <a:cubicBezTo>
                    <a:pt x="897255" y="110490"/>
                    <a:pt x="894080" y="110490"/>
                    <a:pt x="890905" y="109220"/>
                  </a:cubicBezTo>
                  <a:cubicBezTo>
                    <a:pt x="887730" y="108585"/>
                    <a:pt x="885190" y="107315"/>
                    <a:pt x="883285" y="105410"/>
                  </a:cubicBezTo>
                  <a:cubicBezTo>
                    <a:pt x="881380" y="103505"/>
                    <a:pt x="878840" y="102235"/>
                    <a:pt x="876935" y="100330"/>
                  </a:cubicBezTo>
                  <a:cubicBezTo>
                    <a:pt x="875030" y="98425"/>
                    <a:pt x="873125" y="95885"/>
                    <a:pt x="871855" y="92710"/>
                  </a:cubicBezTo>
                  <a:cubicBezTo>
                    <a:pt x="869950" y="89535"/>
                    <a:pt x="868680" y="86360"/>
                    <a:pt x="868045" y="82550"/>
                  </a:cubicBezTo>
                  <a:cubicBezTo>
                    <a:pt x="867410" y="78740"/>
                    <a:pt x="866775" y="74295"/>
                    <a:pt x="866775" y="69850"/>
                  </a:cubicBezTo>
                  <a:cubicBezTo>
                    <a:pt x="866775" y="63500"/>
                    <a:pt x="867410" y="57150"/>
                    <a:pt x="869315" y="52070"/>
                  </a:cubicBezTo>
                  <a:cubicBezTo>
                    <a:pt x="871220" y="46990"/>
                    <a:pt x="873125" y="42545"/>
                    <a:pt x="876300" y="39370"/>
                  </a:cubicBezTo>
                  <a:cubicBezTo>
                    <a:pt x="879475" y="36195"/>
                    <a:pt x="882650" y="33020"/>
                    <a:pt x="887095" y="31750"/>
                  </a:cubicBezTo>
                  <a:cubicBezTo>
                    <a:pt x="891540" y="29845"/>
                    <a:pt x="895985" y="29210"/>
                    <a:pt x="901065" y="29210"/>
                  </a:cubicBezTo>
                  <a:close/>
                  <a:moveTo>
                    <a:pt x="668656" y="29210"/>
                  </a:moveTo>
                  <a:cubicBezTo>
                    <a:pt x="671830" y="29210"/>
                    <a:pt x="674370" y="29210"/>
                    <a:pt x="676275" y="29845"/>
                  </a:cubicBezTo>
                  <a:cubicBezTo>
                    <a:pt x="678181" y="29845"/>
                    <a:pt x="680086" y="31115"/>
                    <a:pt x="681991" y="32385"/>
                  </a:cubicBezTo>
                  <a:lnTo>
                    <a:pt x="678181" y="46990"/>
                  </a:lnTo>
                  <a:lnTo>
                    <a:pt x="676910" y="46990"/>
                  </a:lnTo>
                  <a:cubicBezTo>
                    <a:pt x="676910" y="46990"/>
                    <a:pt x="673736" y="45085"/>
                    <a:pt x="671830" y="45085"/>
                  </a:cubicBezTo>
                  <a:cubicBezTo>
                    <a:pt x="669925" y="45085"/>
                    <a:pt x="668020" y="44450"/>
                    <a:pt x="665480" y="44450"/>
                  </a:cubicBezTo>
                  <a:cubicBezTo>
                    <a:pt x="660400" y="44450"/>
                    <a:pt x="656590" y="46355"/>
                    <a:pt x="654050" y="49530"/>
                  </a:cubicBezTo>
                  <a:cubicBezTo>
                    <a:pt x="651510" y="52705"/>
                    <a:pt x="650240" y="57785"/>
                    <a:pt x="650240" y="64770"/>
                  </a:cubicBezTo>
                  <a:lnTo>
                    <a:pt x="650240" y="109220"/>
                  </a:lnTo>
                  <a:lnTo>
                    <a:pt x="635000" y="109220"/>
                  </a:lnTo>
                  <a:lnTo>
                    <a:pt x="635000" y="31115"/>
                  </a:lnTo>
                  <a:lnTo>
                    <a:pt x="650240" y="31115"/>
                  </a:lnTo>
                  <a:lnTo>
                    <a:pt x="650240" y="38735"/>
                  </a:lnTo>
                  <a:cubicBezTo>
                    <a:pt x="650240" y="38735"/>
                    <a:pt x="652145" y="36195"/>
                    <a:pt x="653416" y="34925"/>
                  </a:cubicBezTo>
                  <a:cubicBezTo>
                    <a:pt x="654685" y="33655"/>
                    <a:pt x="655955" y="33020"/>
                    <a:pt x="657861" y="31750"/>
                  </a:cubicBezTo>
                  <a:cubicBezTo>
                    <a:pt x="659130" y="31115"/>
                    <a:pt x="661035" y="30480"/>
                    <a:pt x="662940" y="29845"/>
                  </a:cubicBezTo>
                  <a:cubicBezTo>
                    <a:pt x="664845" y="29845"/>
                    <a:pt x="666751" y="29210"/>
                    <a:pt x="668656" y="29210"/>
                  </a:cubicBezTo>
                  <a:close/>
                  <a:moveTo>
                    <a:pt x="586739" y="29210"/>
                  </a:moveTo>
                  <a:cubicBezTo>
                    <a:pt x="592454" y="29210"/>
                    <a:pt x="596899" y="30480"/>
                    <a:pt x="601344" y="32385"/>
                  </a:cubicBezTo>
                  <a:cubicBezTo>
                    <a:pt x="605154" y="34290"/>
                    <a:pt x="608964" y="37465"/>
                    <a:pt x="611504" y="40640"/>
                  </a:cubicBezTo>
                  <a:cubicBezTo>
                    <a:pt x="614044" y="44450"/>
                    <a:pt x="615949" y="48260"/>
                    <a:pt x="617854" y="53340"/>
                  </a:cubicBezTo>
                  <a:cubicBezTo>
                    <a:pt x="619124" y="57785"/>
                    <a:pt x="619759" y="62865"/>
                    <a:pt x="619759" y="68580"/>
                  </a:cubicBezTo>
                  <a:lnTo>
                    <a:pt x="618489" y="68580"/>
                  </a:lnTo>
                  <a:cubicBezTo>
                    <a:pt x="618489" y="68580"/>
                    <a:pt x="618489" y="71120"/>
                    <a:pt x="618489" y="72390"/>
                  </a:cubicBezTo>
                  <a:cubicBezTo>
                    <a:pt x="618489" y="73660"/>
                    <a:pt x="618489" y="74295"/>
                    <a:pt x="618489" y="75565"/>
                  </a:cubicBezTo>
                  <a:lnTo>
                    <a:pt x="567054" y="75565"/>
                  </a:lnTo>
                  <a:cubicBezTo>
                    <a:pt x="567054" y="79375"/>
                    <a:pt x="568324" y="82550"/>
                    <a:pt x="569594" y="85090"/>
                  </a:cubicBezTo>
                  <a:cubicBezTo>
                    <a:pt x="570864" y="87630"/>
                    <a:pt x="572134" y="90170"/>
                    <a:pt x="574039" y="91440"/>
                  </a:cubicBezTo>
                  <a:cubicBezTo>
                    <a:pt x="575944" y="93345"/>
                    <a:pt x="577849" y="94615"/>
                    <a:pt x="579754" y="95250"/>
                  </a:cubicBezTo>
                  <a:cubicBezTo>
                    <a:pt x="581659" y="95885"/>
                    <a:pt x="584199" y="96520"/>
                    <a:pt x="586739" y="96520"/>
                  </a:cubicBezTo>
                  <a:cubicBezTo>
                    <a:pt x="588644" y="96520"/>
                    <a:pt x="589914" y="96520"/>
                    <a:pt x="591819" y="96520"/>
                  </a:cubicBezTo>
                  <a:cubicBezTo>
                    <a:pt x="593089" y="96520"/>
                    <a:pt x="594994" y="95885"/>
                    <a:pt x="596264" y="95250"/>
                  </a:cubicBezTo>
                  <a:cubicBezTo>
                    <a:pt x="597534" y="95250"/>
                    <a:pt x="598804" y="93980"/>
                    <a:pt x="600074" y="93345"/>
                  </a:cubicBezTo>
                  <a:cubicBezTo>
                    <a:pt x="601344" y="93345"/>
                    <a:pt x="602614" y="92075"/>
                    <a:pt x="604519" y="90805"/>
                  </a:cubicBezTo>
                  <a:lnTo>
                    <a:pt x="613409" y="100330"/>
                  </a:lnTo>
                  <a:cubicBezTo>
                    <a:pt x="613409" y="100330"/>
                    <a:pt x="609599" y="103505"/>
                    <a:pt x="607694" y="104775"/>
                  </a:cubicBezTo>
                  <a:cubicBezTo>
                    <a:pt x="605789" y="106045"/>
                    <a:pt x="603884" y="106680"/>
                    <a:pt x="601979" y="107950"/>
                  </a:cubicBezTo>
                  <a:cubicBezTo>
                    <a:pt x="600074" y="108585"/>
                    <a:pt x="597534" y="109855"/>
                    <a:pt x="594994" y="109855"/>
                  </a:cubicBezTo>
                  <a:cubicBezTo>
                    <a:pt x="592454" y="109855"/>
                    <a:pt x="589279" y="110490"/>
                    <a:pt x="586104" y="110490"/>
                  </a:cubicBezTo>
                  <a:cubicBezTo>
                    <a:pt x="582929" y="110490"/>
                    <a:pt x="579754" y="110490"/>
                    <a:pt x="576579" y="109220"/>
                  </a:cubicBezTo>
                  <a:cubicBezTo>
                    <a:pt x="573404" y="108585"/>
                    <a:pt x="570864" y="107315"/>
                    <a:pt x="568959" y="105410"/>
                  </a:cubicBezTo>
                  <a:cubicBezTo>
                    <a:pt x="566419" y="104140"/>
                    <a:pt x="564514" y="102235"/>
                    <a:pt x="562609" y="100330"/>
                  </a:cubicBezTo>
                  <a:cubicBezTo>
                    <a:pt x="560704" y="98425"/>
                    <a:pt x="558799" y="95885"/>
                    <a:pt x="557529" y="92710"/>
                  </a:cubicBezTo>
                  <a:cubicBezTo>
                    <a:pt x="555624" y="89535"/>
                    <a:pt x="554354" y="86360"/>
                    <a:pt x="553719" y="82550"/>
                  </a:cubicBezTo>
                  <a:cubicBezTo>
                    <a:pt x="553084" y="78740"/>
                    <a:pt x="552449" y="74295"/>
                    <a:pt x="552449" y="69850"/>
                  </a:cubicBezTo>
                  <a:cubicBezTo>
                    <a:pt x="552449" y="63500"/>
                    <a:pt x="553084" y="57150"/>
                    <a:pt x="554989" y="52070"/>
                  </a:cubicBezTo>
                  <a:cubicBezTo>
                    <a:pt x="556894" y="46990"/>
                    <a:pt x="558799" y="42545"/>
                    <a:pt x="561974" y="39370"/>
                  </a:cubicBezTo>
                  <a:cubicBezTo>
                    <a:pt x="565149" y="36195"/>
                    <a:pt x="568324" y="33020"/>
                    <a:pt x="572769" y="31750"/>
                  </a:cubicBezTo>
                  <a:cubicBezTo>
                    <a:pt x="577214" y="29845"/>
                    <a:pt x="581659" y="29210"/>
                    <a:pt x="586739" y="29210"/>
                  </a:cubicBezTo>
                  <a:close/>
                  <a:moveTo>
                    <a:pt x="400050" y="29210"/>
                  </a:moveTo>
                  <a:cubicBezTo>
                    <a:pt x="405765" y="29210"/>
                    <a:pt x="410210" y="30480"/>
                    <a:pt x="414655" y="32385"/>
                  </a:cubicBezTo>
                  <a:cubicBezTo>
                    <a:pt x="418465" y="34290"/>
                    <a:pt x="422275" y="37465"/>
                    <a:pt x="424815" y="40640"/>
                  </a:cubicBezTo>
                  <a:cubicBezTo>
                    <a:pt x="427355" y="44450"/>
                    <a:pt x="429260" y="48260"/>
                    <a:pt x="431165" y="53340"/>
                  </a:cubicBezTo>
                  <a:cubicBezTo>
                    <a:pt x="432435" y="57785"/>
                    <a:pt x="433070" y="62865"/>
                    <a:pt x="433070" y="68580"/>
                  </a:cubicBezTo>
                  <a:lnTo>
                    <a:pt x="431800" y="68580"/>
                  </a:lnTo>
                  <a:cubicBezTo>
                    <a:pt x="431800" y="68580"/>
                    <a:pt x="431800" y="71120"/>
                    <a:pt x="431800" y="72390"/>
                  </a:cubicBezTo>
                  <a:cubicBezTo>
                    <a:pt x="431800" y="73660"/>
                    <a:pt x="431800" y="74295"/>
                    <a:pt x="431800" y="75565"/>
                  </a:cubicBezTo>
                  <a:lnTo>
                    <a:pt x="380365" y="75565"/>
                  </a:lnTo>
                  <a:cubicBezTo>
                    <a:pt x="380365" y="79375"/>
                    <a:pt x="381635" y="82550"/>
                    <a:pt x="382905" y="85090"/>
                  </a:cubicBezTo>
                  <a:cubicBezTo>
                    <a:pt x="384175" y="87630"/>
                    <a:pt x="385445" y="90170"/>
                    <a:pt x="387350" y="91440"/>
                  </a:cubicBezTo>
                  <a:cubicBezTo>
                    <a:pt x="389255" y="93345"/>
                    <a:pt x="391160" y="94615"/>
                    <a:pt x="393065" y="95250"/>
                  </a:cubicBezTo>
                  <a:cubicBezTo>
                    <a:pt x="394970" y="95885"/>
                    <a:pt x="397510" y="96520"/>
                    <a:pt x="400050" y="96520"/>
                  </a:cubicBezTo>
                  <a:cubicBezTo>
                    <a:pt x="401955" y="96520"/>
                    <a:pt x="403225" y="96520"/>
                    <a:pt x="405130" y="96520"/>
                  </a:cubicBezTo>
                  <a:cubicBezTo>
                    <a:pt x="406400" y="96520"/>
                    <a:pt x="408305" y="95885"/>
                    <a:pt x="409575" y="95250"/>
                  </a:cubicBezTo>
                  <a:cubicBezTo>
                    <a:pt x="410845" y="95250"/>
                    <a:pt x="412115" y="93980"/>
                    <a:pt x="413385" y="93345"/>
                  </a:cubicBezTo>
                  <a:cubicBezTo>
                    <a:pt x="414655" y="93345"/>
                    <a:pt x="415925" y="92075"/>
                    <a:pt x="417830" y="90805"/>
                  </a:cubicBezTo>
                  <a:lnTo>
                    <a:pt x="426720" y="100330"/>
                  </a:lnTo>
                  <a:cubicBezTo>
                    <a:pt x="426720" y="100330"/>
                    <a:pt x="422910" y="103505"/>
                    <a:pt x="421005" y="104775"/>
                  </a:cubicBezTo>
                  <a:cubicBezTo>
                    <a:pt x="419100" y="106045"/>
                    <a:pt x="417195" y="106680"/>
                    <a:pt x="415290" y="107950"/>
                  </a:cubicBezTo>
                  <a:cubicBezTo>
                    <a:pt x="413385" y="108585"/>
                    <a:pt x="410845" y="109855"/>
                    <a:pt x="408305" y="109855"/>
                  </a:cubicBezTo>
                  <a:cubicBezTo>
                    <a:pt x="405765" y="109855"/>
                    <a:pt x="402590" y="110490"/>
                    <a:pt x="399415" y="110490"/>
                  </a:cubicBezTo>
                  <a:cubicBezTo>
                    <a:pt x="396240" y="110490"/>
                    <a:pt x="393065" y="110490"/>
                    <a:pt x="389890" y="109220"/>
                  </a:cubicBezTo>
                  <a:cubicBezTo>
                    <a:pt x="386715" y="108585"/>
                    <a:pt x="384175" y="107315"/>
                    <a:pt x="382270" y="105410"/>
                  </a:cubicBezTo>
                  <a:cubicBezTo>
                    <a:pt x="380365" y="103505"/>
                    <a:pt x="377825" y="102235"/>
                    <a:pt x="375920" y="100330"/>
                  </a:cubicBezTo>
                  <a:cubicBezTo>
                    <a:pt x="374015" y="98425"/>
                    <a:pt x="372110" y="95885"/>
                    <a:pt x="370840" y="92710"/>
                  </a:cubicBezTo>
                  <a:cubicBezTo>
                    <a:pt x="368935" y="89535"/>
                    <a:pt x="367665" y="86360"/>
                    <a:pt x="367030" y="82550"/>
                  </a:cubicBezTo>
                  <a:cubicBezTo>
                    <a:pt x="366395" y="78740"/>
                    <a:pt x="365760" y="74295"/>
                    <a:pt x="365760" y="69850"/>
                  </a:cubicBezTo>
                  <a:cubicBezTo>
                    <a:pt x="365760" y="63500"/>
                    <a:pt x="366395" y="57150"/>
                    <a:pt x="368300" y="52070"/>
                  </a:cubicBezTo>
                  <a:cubicBezTo>
                    <a:pt x="370205" y="46990"/>
                    <a:pt x="372110" y="42545"/>
                    <a:pt x="375285" y="39370"/>
                  </a:cubicBezTo>
                  <a:cubicBezTo>
                    <a:pt x="378460" y="36195"/>
                    <a:pt x="381635" y="33020"/>
                    <a:pt x="386080" y="31750"/>
                  </a:cubicBezTo>
                  <a:cubicBezTo>
                    <a:pt x="390525" y="29845"/>
                    <a:pt x="394970" y="29210"/>
                    <a:pt x="400050" y="29210"/>
                  </a:cubicBezTo>
                  <a:close/>
                  <a:moveTo>
                    <a:pt x="201930" y="29210"/>
                  </a:moveTo>
                  <a:cubicBezTo>
                    <a:pt x="207645" y="29210"/>
                    <a:pt x="212090" y="30480"/>
                    <a:pt x="216535" y="32385"/>
                  </a:cubicBezTo>
                  <a:cubicBezTo>
                    <a:pt x="220345" y="34290"/>
                    <a:pt x="224155" y="37465"/>
                    <a:pt x="226695" y="40640"/>
                  </a:cubicBezTo>
                  <a:cubicBezTo>
                    <a:pt x="229235" y="44450"/>
                    <a:pt x="231140" y="48260"/>
                    <a:pt x="233045" y="53340"/>
                  </a:cubicBezTo>
                  <a:cubicBezTo>
                    <a:pt x="234315" y="57785"/>
                    <a:pt x="234950" y="62865"/>
                    <a:pt x="234950" y="68580"/>
                  </a:cubicBezTo>
                  <a:lnTo>
                    <a:pt x="233680" y="68580"/>
                  </a:lnTo>
                  <a:cubicBezTo>
                    <a:pt x="233680" y="68580"/>
                    <a:pt x="233680" y="71120"/>
                    <a:pt x="233680" y="72390"/>
                  </a:cubicBezTo>
                  <a:cubicBezTo>
                    <a:pt x="233680" y="73660"/>
                    <a:pt x="233680" y="74295"/>
                    <a:pt x="233680" y="75565"/>
                  </a:cubicBezTo>
                  <a:lnTo>
                    <a:pt x="182245" y="75565"/>
                  </a:lnTo>
                  <a:cubicBezTo>
                    <a:pt x="182245" y="79375"/>
                    <a:pt x="183515" y="82550"/>
                    <a:pt x="184785" y="85090"/>
                  </a:cubicBezTo>
                  <a:cubicBezTo>
                    <a:pt x="186055" y="87630"/>
                    <a:pt x="187325" y="90170"/>
                    <a:pt x="189230" y="91440"/>
                  </a:cubicBezTo>
                  <a:cubicBezTo>
                    <a:pt x="191135" y="93345"/>
                    <a:pt x="193040" y="94615"/>
                    <a:pt x="194945" y="95250"/>
                  </a:cubicBezTo>
                  <a:cubicBezTo>
                    <a:pt x="196850" y="95885"/>
                    <a:pt x="199390" y="96520"/>
                    <a:pt x="201930" y="96520"/>
                  </a:cubicBezTo>
                  <a:cubicBezTo>
                    <a:pt x="203835" y="96520"/>
                    <a:pt x="205105" y="96520"/>
                    <a:pt x="207010" y="96520"/>
                  </a:cubicBezTo>
                  <a:cubicBezTo>
                    <a:pt x="208280" y="96520"/>
                    <a:pt x="210185" y="95885"/>
                    <a:pt x="211455" y="95250"/>
                  </a:cubicBezTo>
                  <a:cubicBezTo>
                    <a:pt x="212725" y="95250"/>
                    <a:pt x="213995" y="93980"/>
                    <a:pt x="215265" y="93345"/>
                  </a:cubicBezTo>
                  <a:cubicBezTo>
                    <a:pt x="216535" y="93345"/>
                    <a:pt x="217805" y="92075"/>
                    <a:pt x="219710" y="90805"/>
                  </a:cubicBezTo>
                  <a:lnTo>
                    <a:pt x="228600" y="100330"/>
                  </a:lnTo>
                  <a:cubicBezTo>
                    <a:pt x="228600" y="100330"/>
                    <a:pt x="224790" y="103505"/>
                    <a:pt x="222885" y="104775"/>
                  </a:cubicBezTo>
                  <a:cubicBezTo>
                    <a:pt x="220980" y="106045"/>
                    <a:pt x="219075" y="106680"/>
                    <a:pt x="217170" y="107950"/>
                  </a:cubicBezTo>
                  <a:cubicBezTo>
                    <a:pt x="215265" y="108585"/>
                    <a:pt x="212725" y="109855"/>
                    <a:pt x="210185" y="109855"/>
                  </a:cubicBezTo>
                  <a:cubicBezTo>
                    <a:pt x="207645" y="109855"/>
                    <a:pt x="204470" y="110490"/>
                    <a:pt x="201295" y="110490"/>
                  </a:cubicBezTo>
                  <a:cubicBezTo>
                    <a:pt x="198120" y="110490"/>
                    <a:pt x="194945" y="110490"/>
                    <a:pt x="191770" y="109220"/>
                  </a:cubicBezTo>
                  <a:cubicBezTo>
                    <a:pt x="188595" y="108585"/>
                    <a:pt x="186055" y="107315"/>
                    <a:pt x="184150" y="105410"/>
                  </a:cubicBezTo>
                  <a:cubicBezTo>
                    <a:pt x="181610" y="104140"/>
                    <a:pt x="179705" y="102235"/>
                    <a:pt x="177800" y="100330"/>
                  </a:cubicBezTo>
                  <a:cubicBezTo>
                    <a:pt x="175895" y="98425"/>
                    <a:pt x="173990" y="95885"/>
                    <a:pt x="172720" y="92710"/>
                  </a:cubicBezTo>
                  <a:cubicBezTo>
                    <a:pt x="170815" y="89535"/>
                    <a:pt x="169545" y="86360"/>
                    <a:pt x="168910" y="82550"/>
                  </a:cubicBezTo>
                  <a:cubicBezTo>
                    <a:pt x="168275" y="78740"/>
                    <a:pt x="167640" y="74295"/>
                    <a:pt x="167640" y="69850"/>
                  </a:cubicBezTo>
                  <a:cubicBezTo>
                    <a:pt x="167640" y="63500"/>
                    <a:pt x="168275" y="57150"/>
                    <a:pt x="170180" y="52070"/>
                  </a:cubicBezTo>
                  <a:cubicBezTo>
                    <a:pt x="172085" y="46990"/>
                    <a:pt x="173990" y="42545"/>
                    <a:pt x="177165" y="39370"/>
                  </a:cubicBezTo>
                  <a:cubicBezTo>
                    <a:pt x="180340" y="36195"/>
                    <a:pt x="183515" y="33020"/>
                    <a:pt x="187960" y="31750"/>
                  </a:cubicBezTo>
                  <a:cubicBezTo>
                    <a:pt x="192405" y="29845"/>
                    <a:pt x="196850" y="29210"/>
                    <a:pt x="201930" y="29210"/>
                  </a:cubicBezTo>
                  <a:close/>
                  <a:moveTo>
                    <a:pt x="4664706" y="28574"/>
                  </a:moveTo>
                  <a:cubicBezTo>
                    <a:pt x="4669786" y="28574"/>
                    <a:pt x="4674231" y="29209"/>
                    <a:pt x="4678676" y="31749"/>
                  </a:cubicBezTo>
                  <a:cubicBezTo>
                    <a:pt x="4683121" y="33654"/>
                    <a:pt x="4686296" y="36194"/>
                    <a:pt x="4689471" y="40004"/>
                  </a:cubicBezTo>
                  <a:cubicBezTo>
                    <a:pt x="4692646" y="43814"/>
                    <a:pt x="4695186" y="47624"/>
                    <a:pt x="4696456" y="52704"/>
                  </a:cubicBezTo>
                  <a:cubicBezTo>
                    <a:pt x="4698361" y="57784"/>
                    <a:pt x="4698996" y="63499"/>
                    <a:pt x="4698996" y="69214"/>
                  </a:cubicBezTo>
                  <a:lnTo>
                    <a:pt x="4699631" y="69214"/>
                  </a:lnTo>
                  <a:cubicBezTo>
                    <a:pt x="4699631" y="75564"/>
                    <a:pt x="4698996" y="81279"/>
                    <a:pt x="4697091" y="86359"/>
                  </a:cubicBezTo>
                  <a:cubicBezTo>
                    <a:pt x="4695186" y="91439"/>
                    <a:pt x="4692646" y="95884"/>
                    <a:pt x="4689471" y="99059"/>
                  </a:cubicBezTo>
                  <a:cubicBezTo>
                    <a:pt x="4686296" y="102869"/>
                    <a:pt x="4682486" y="105409"/>
                    <a:pt x="4678041" y="107314"/>
                  </a:cubicBezTo>
                  <a:cubicBezTo>
                    <a:pt x="4673596" y="109219"/>
                    <a:pt x="4669151" y="109854"/>
                    <a:pt x="4664071" y="109854"/>
                  </a:cubicBezTo>
                  <a:cubicBezTo>
                    <a:pt x="4658991" y="109854"/>
                    <a:pt x="4654546" y="108584"/>
                    <a:pt x="4650101" y="106679"/>
                  </a:cubicBezTo>
                  <a:cubicBezTo>
                    <a:pt x="4645656" y="104774"/>
                    <a:pt x="4642481" y="102234"/>
                    <a:pt x="4639306" y="98424"/>
                  </a:cubicBezTo>
                  <a:cubicBezTo>
                    <a:pt x="4636131" y="94614"/>
                    <a:pt x="4633591" y="90804"/>
                    <a:pt x="4632321" y="85724"/>
                  </a:cubicBezTo>
                  <a:cubicBezTo>
                    <a:pt x="4630416" y="80644"/>
                    <a:pt x="4629781" y="74929"/>
                    <a:pt x="4629781" y="69214"/>
                  </a:cubicBezTo>
                  <a:cubicBezTo>
                    <a:pt x="4629781" y="63499"/>
                    <a:pt x="4630416" y="57149"/>
                    <a:pt x="4632321" y="52069"/>
                  </a:cubicBezTo>
                  <a:cubicBezTo>
                    <a:pt x="4634226" y="46989"/>
                    <a:pt x="4636766" y="42544"/>
                    <a:pt x="4639941" y="39369"/>
                  </a:cubicBezTo>
                  <a:cubicBezTo>
                    <a:pt x="4643116" y="35559"/>
                    <a:pt x="4646926" y="33019"/>
                    <a:pt x="4650736" y="31114"/>
                  </a:cubicBezTo>
                  <a:cubicBezTo>
                    <a:pt x="4655181" y="29209"/>
                    <a:pt x="4659626" y="28574"/>
                    <a:pt x="4664706" y="28574"/>
                  </a:cubicBezTo>
                  <a:close/>
                  <a:moveTo>
                    <a:pt x="4264655" y="28574"/>
                  </a:moveTo>
                  <a:cubicBezTo>
                    <a:pt x="4269735" y="28574"/>
                    <a:pt x="4274180" y="29209"/>
                    <a:pt x="4278625" y="31749"/>
                  </a:cubicBezTo>
                  <a:cubicBezTo>
                    <a:pt x="4283070" y="33654"/>
                    <a:pt x="4286245" y="36194"/>
                    <a:pt x="4289420" y="40004"/>
                  </a:cubicBezTo>
                  <a:cubicBezTo>
                    <a:pt x="4292595" y="43814"/>
                    <a:pt x="4295135" y="47624"/>
                    <a:pt x="4296405" y="52704"/>
                  </a:cubicBezTo>
                  <a:cubicBezTo>
                    <a:pt x="4298310" y="57784"/>
                    <a:pt x="4298945" y="63499"/>
                    <a:pt x="4298945" y="69214"/>
                  </a:cubicBezTo>
                  <a:lnTo>
                    <a:pt x="4299580" y="69214"/>
                  </a:lnTo>
                  <a:cubicBezTo>
                    <a:pt x="4299580" y="75564"/>
                    <a:pt x="4298945" y="81279"/>
                    <a:pt x="4297040" y="86359"/>
                  </a:cubicBezTo>
                  <a:cubicBezTo>
                    <a:pt x="4295135" y="91439"/>
                    <a:pt x="4292595" y="95884"/>
                    <a:pt x="4289420" y="99059"/>
                  </a:cubicBezTo>
                  <a:cubicBezTo>
                    <a:pt x="4286245" y="102869"/>
                    <a:pt x="4282435" y="105409"/>
                    <a:pt x="4277990" y="107314"/>
                  </a:cubicBezTo>
                  <a:cubicBezTo>
                    <a:pt x="4273545" y="109219"/>
                    <a:pt x="4269100" y="109854"/>
                    <a:pt x="4264020" y="109854"/>
                  </a:cubicBezTo>
                  <a:cubicBezTo>
                    <a:pt x="4258940" y="109854"/>
                    <a:pt x="4254495" y="108584"/>
                    <a:pt x="4250050" y="106679"/>
                  </a:cubicBezTo>
                  <a:cubicBezTo>
                    <a:pt x="4245605" y="104774"/>
                    <a:pt x="4242430" y="102234"/>
                    <a:pt x="4239255" y="98424"/>
                  </a:cubicBezTo>
                  <a:cubicBezTo>
                    <a:pt x="4236080" y="94614"/>
                    <a:pt x="4233540" y="90804"/>
                    <a:pt x="4232270" y="85724"/>
                  </a:cubicBezTo>
                  <a:cubicBezTo>
                    <a:pt x="4230365" y="80644"/>
                    <a:pt x="4229730" y="74929"/>
                    <a:pt x="4229730" y="69214"/>
                  </a:cubicBezTo>
                  <a:cubicBezTo>
                    <a:pt x="4229730" y="63499"/>
                    <a:pt x="4230365" y="57149"/>
                    <a:pt x="4232270" y="52069"/>
                  </a:cubicBezTo>
                  <a:cubicBezTo>
                    <a:pt x="4234175" y="46989"/>
                    <a:pt x="4236715" y="42544"/>
                    <a:pt x="4239890" y="39369"/>
                  </a:cubicBezTo>
                  <a:cubicBezTo>
                    <a:pt x="4243065" y="35559"/>
                    <a:pt x="4246875" y="33019"/>
                    <a:pt x="4250685" y="31114"/>
                  </a:cubicBezTo>
                  <a:cubicBezTo>
                    <a:pt x="4255130" y="29209"/>
                    <a:pt x="4259575" y="28574"/>
                    <a:pt x="4264655" y="28574"/>
                  </a:cubicBezTo>
                  <a:close/>
                  <a:moveTo>
                    <a:pt x="1420495" y="28574"/>
                  </a:moveTo>
                  <a:cubicBezTo>
                    <a:pt x="1425575" y="28574"/>
                    <a:pt x="1430020" y="29209"/>
                    <a:pt x="1434465" y="31749"/>
                  </a:cubicBezTo>
                  <a:cubicBezTo>
                    <a:pt x="1438910" y="33654"/>
                    <a:pt x="1442085" y="36194"/>
                    <a:pt x="1445260" y="40004"/>
                  </a:cubicBezTo>
                  <a:cubicBezTo>
                    <a:pt x="1448435" y="43814"/>
                    <a:pt x="1450975" y="47624"/>
                    <a:pt x="1452245" y="52704"/>
                  </a:cubicBezTo>
                  <a:cubicBezTo>
                    <a:pt x="1454150" y="57784"/>
                    <a:pt x="1454785" y="63499"/>
                    <a:pt x="1454785" y="69214"/>
                  </a:cubicBezTo>
                  <a:lnTo>
                    <a:pt x="1455420" y="69214"/>
                  </a:lnTo>
                  <a:cubicBezTo>
                    <a:pt x="1455420" y="75564"/>
                    <a:pt x="1454785" y="81279"/>
                    <a:pt x="1452880" y="86359"/>
                  </a:cubicBezTo>
                  <a:cubicBezTo>
                    <a:pt x="1450975" y="91439"/>
                    <a:pt x="1448435" y="95884"/>
                    <a:pt x="1445260" y="99059"/>
                  </a:cubicBezTo>
                  <a:cubicBezTo>
                    <a:pt x="1442085" y="102869"/>
                    <a:pt x="1438275" y="105409"/>
                    <a:pt x="1433830" y="107314"/>
                  </a:cubicBezTo>
                  <a:cubicBezTo>
                    <a:pt x="1429385" y="109219"/>
                    <a:pt x="1424940" y="109854"/>
                    <a:pt x="1419860" y="109854"/>
                  </a:cubicBezTo>
                  <a:cubicBezTo>
                    <a:pt x="1414780" y="109854"/>
                    <a:pt x="1410335" y="108584"/>
                    <a:pt x="1405890" y="106679"/>
                  </a:cubicBezTo>
                  <a:cubicBezTo>
                    <a:pt x="1401444" y="104774"/>
                    <a:pt x="1398270" y="102234"/>
                    <a:pt x="1395095" y="98424"/>
                  </a:cubicBezTo>
                  <a:cubicBezTo>
                    <a:pt x="1391920" y="94614"/>
                    <a:pt x="1389380" y="90804"/>
                    <a:pt x="1388110" y="85724"/>
                  </a:cubicBezTo>
                  <a:cubicBezTo>
                    <a:pt x="1386205" y="80644"/>
                    <a:pt x="1385570" y="74929"/>
                    <a:pt x="1385570" y="69214"/>
                  </a:cubicBezTo>
                  <a:cubicBezTo>
                    <a:pt x="1385570" y="63499"/>
                    <a:pt x="1386205" y="57149"/>
                    <a:pt x="1388110" y="52069"/>
                  </a:cubicBezTo>
                  <a:cubicBezTo>
                    <a:pt x="1390015" y="46989"/>
                    <a:pt x="1392555" y="42544"/>
                    <a:pt x="1395730" y="39369"/>
                  </a:cubicBezTo>
                  <a:cubicBezTo>
                    <a:pt x="1398905" y="35559"/>
                    <a:pt x="1402715" y="33019"/>
                    <a:pt x="1406525" y="31114"/>
                  </a:cubicBezTo>
                  <a:cubicBezTo>
                    <a:pt x="1410970" y="29209"/>
                    <a:pt x="1415415" y="28574"/>
                    <a:pt x="1420495" y="28574"/>
                  </a:cubicBezTo>
                  <a:close/>
                  <a:moveTo>
                    <a:pt x="3143245" y="5079"/>
                  </a:moveTo>
                  <a:lnTo>
                    <a:pt x="3219445" y="5079"/>
                  </a:lnTo>
                  <a:lnTo>
                    <a:pt x="3219445" y="20319"/>
                  </a:lnTo>
                  <a:lnTo>
                    <a:pt x="3188965" y="20319"/>
                  </a:lnTo>
                  <a:lnTo>
                    <a:pt x="3188965" y="108584"/>
                  </a:lnTo>
                  <a:lnTo>
                    <a:pt x="3173090" y="108584"/>
                  </a:lnTo>
                  <a:lnTo>
                    <a:pt x="3173090" y="20319"/>
                  </a:lnTo>
                  <a:lnTo>
                    <a:pt x="3143245" y="20319"/>
                  </a:lnTo>
                  <a:close/>
                  <a:moveTo>
                    <a:pt x="1628774" y="5079"/>
                  </a:moveTo>
                  <a:lnTo>
                    <a:pt x="1704970" y="5079"/>
                  </a:lnTo>
                  <a:lnTo>
                    <a:pt x="1704970" y="20319"/>
                  </a:lnTo>
                  <a:lnTo>
                    <a:pt x="1675129" y="20319"/>
                  </a:lnTo>
                  <a:lnTo>
                    <a:pt x="1675129" y="108584"/>
                  </a:lnTo>
                  <a:lnTo>
                    <a:pt x="1659255" y="108584"/>
                  </a:lnTo>
                  <a:lnTo>
                    <a:pt x="1659255" y="20319"/>
                  </a:lnTo>
                  <a:lnTo>
                    <a:pt x="1628774" y="20319"/>
                  </a:lnTo>
                  <a:close/>
                  <a:moveTo>
                    <a:pt x="0" y="5079"/>
                  </a:moveTo>
                  <a:lnTo>
                    <a:pt x="76200" y="5079"/>
                  </a:lnTo>
                  <a:lnTo>
                    <a:pt x="76200" y="20319"/>
                  </a:lnTo>
                  <a:lnTo>
                    <a:pt x="45720" y="20319"/>
                  </a:lnTo>
                  <a:lnTo>
                    <a:pt x="45720" y="108584"/>
                  </a:lnTo>
                  <a:lnTo>
                    <a:pt x="29845" y="108584"/>
                  </a:lnTo>
                  <a:lnTo>
                    <a:pt x="29845" y="20319"/>
                  </a:lnTo>
                  <a:lnTo>
                    <a:pt x="0" y="20319"/>
                  </a:lnTo>
                  <a:close/>
                  <a:moveTo>
                    <a:pt x="1362075" y="1269"/>
                  </a:moveTo>
                  <a:cubicBezTo>
                    <a:pt x="1363345" y="1269"/>
                    <a:pt x="1364615" y="1269"/>
                    <a:pt x="1365885" y="1904"/>
                  </a:cubicBezTo>
                  <a:cubicBezTo>
                    <a:pt x="1367155" y="1904"/>
                    <a:pt x="1367790" y="3174"/>
                    <a:pt x="1369060" y="3809"/>
                  </a:cubicBezTo>
                  <a:cubicBezTo>
                    <a:pt x="1369695" y="4444"/>
                    <a:pt x="1370965" y="5714"/>
                    <a:pt x="1370965" y="6984"/>
                  </a:cubicBezTo>
                  <a:cubicBezTo>
                    <a:pt x="1370965" y="8254"/>
                    <a:pt x="1371600" y="9524"/>
                    <a:pt x="1371600" y="10794"/>
                  </a:cubicBezTo>
                  <a:cubicBezTo>
                    <a:pt x="1371600" y="10794"/>
                    <a:pt x="1371600" y="13334"/>
                    <a:pt x="1370965" y="14604"/>
                  </a:cubicBezTo>
                  <a:cubicBezTo>
                    <a:pt x="1370965" y="15874"/>
                    <a:pt x="1369695" y="17144"/>
                    <a:pt x="1369060" y="17779"/>
                  </a:cubicBezTo>
                  <a:cubicBezTo>
                    <a:pt x="1368425" y="18414"/>
                    <a:pt x="1367155" y="19684"/>
                    <a:pt x="1365885" y="19684"/>
                  </a:cubicBezTo>
                  <a:cubicBezTo>
                    <a:pt x="1364615" y="19684"/>
                    <a:pt x="1363345" y="20319"/>
                    <a:pt x="1362075" y="20319"/>
                  </a:cubicBezTo>
                  <a:cubicBezTo>
                    <a:pt x="1360805" y="20319"/>
                    <a:pt x="1359535" y="20319"/>
                    <a:pt x="1358265" y="19684"/>
                  </a:cubicBezTo>
                  <a:cubicBezTo>
                    <a:pt x="1356995" y="19684"/>
                    <a:pt x="1355725" y="18414"/>
                    <a:pt x="1355090" y="17779"/>
                  </a:cubicBezTo>
                  <a:cubicBezTo>
                    <a:pt x="1354455" y="17144"/>
                    <a:pt x="1353185" y="15874"/>
                    <a:pt x="1353185" y="14604"/>
                  </a:cubicBezTo>
                  <a:cubicBezTo>
                    <a:pt x="1353185" y="13334"/>
                    <a:pt x="1352550" y="12064"/>
                    <a:pt x="1352550" y="10794"/>
                  </a:cubicBezTo>
                  <a:cubicBezTo>
                    <a:pt x="1352550" y="9524"/>
                    <a:pt x="1352550" y="8254"/>
                    <a:pt x="1353185" y="6984"/>
                  </a:cubicBezTo>
                  <a:cubicBezTo>
                    <a:pt x="1353185" y="5714"/>
                    <a:pt x="1354455" y="4444"/>
                    <a:pt x="1355090" y="3809"/>
                  </a:cubicBezTo>
                  <a:cubicBezTo>
                    <a:pt x="1355725" y="3174"/>
                    <a:pt x="1356995" y="1904"/>
                    <a:pt x="1358265" y="1904"/>
                  </a:cubicBezTo>
                  <a:cubicBezTo>
                    <a:pt x="1359535" y="1904"/>
                    <a:pt x="1360805" y="1269"/>
                    <a:pt x="1362075" y="1269"/>
                  </a:cubicBezTo>
                  <a:close/>
                  <a:moveTo>
                    <a:pt x="4789801" y="634"/>
                  </a:moveTo>
                  <a:lnTo>
                    <a:pt x="4789801" y="65404"/>
                  </a:lnTo>
                  <a:lnTo>
                    <a:pt x="4814566" y="31114"/>
                  </a:lnTo>
                  <a:lnTo>
                    <a:pt x="4831711" y="31114"/>
                  </a:lnTo>
                  <a:lnTo>
                    <a:pt x="4812026" y="57149"/>
                  </a:lnTo>
                  <a:lnTo>
                    <a:pt x="4835521" y="108584"/>
                  </a:lnTo>
                  <a:lnTo>
                    <a:pt x="4819011" y="108584"/>
                  </a:lnTo>
                  <a:lnTo>
                    <a:pt x="4801866" y="69849"/>
                  </a:lnTo>
                  <a:lnTo>
                    <a:pt x="4789801" y="85724"/>
                  </a:lnTo>
                  <a:lnTo>
                    <a:pt x="4789801" y="108584"/>
                  </a:lnTo>
                  <a:lnTo>
                    <a:pt x="4774561" y="108584"/>
                  </a:lnTo>
                  <a:lnTo>
                    <a:pt x="4774561" y="8889"/>
                  </a:lnTo>
                  <a:close/>
                  <a:moveTo>
                    <a:pt x="4472301" y="634"/>
                  </a:moveTo>
                  <a:lnTo>
                    <a:pt x="4472301" y="109219"/>
                  </a:lnTo>
                  <a:lnTo>
                    <a:pt x="4457061" y="109219"/>
                  </a:lnTo>
                  <a:lnTo>
                    <a:pt x="4457696" y="108584"/>
                  </a:lnTo>
                  <a:lnTo>
                    <a:pt x="4457696" y="100964"/>
                  </a:lnTo>
                  <a:cubicBezTo>
                    <a:pt x="4457696" y="100964"/>
                    <a:pt x="4454521" y="103504"/>
                    <a:pt x="4453251" y="104774"/>
                  </a:cubicBezTo>
                  <a:cubicBezTo>
                    <a:pt x="4451981" y="106044"/>
                    <a:pt x="4450076" y="106679"/>
                    <a:pt x="4448171" y="107949"/>
                  </a:cubicBezTo>
                  <a:cubicBezTo>
                    <a:pt x="4446266" y="108584"/>
                    <a:pt x="4444361" y="109219"/>
                    <a:pt x="4443091" y="109854"/>
                  </a:cubicBezTo>
                  <a:cubicBezTo>
                    <a:pt x="4441186" y="109854"/>
                    <a:pt x="4439281" y="109854"/>
                    <a:pt x="4437376" y="109854"/>
                  </a:cubicBezTo>
                  <a:cubicBezTo>
                    <a:pt x="4432931" y="109854"/>
                    <a:pt x="4429121" y="109219"/>
                    <a:pt x="4425946" y="107314"/>
                  </a:cubicBezTo>
                  <a:cubicBezTo>
                    <a:pt x="4422136" y="106044"/>
                    <a:pt x="4418961" y="103504"/>
                    <a:pt x="4416421" y="99694"/>
                  </a:cubicBezTo>
                  <a:cubicBezTo>
                    <a:pt x="4413881" y="96519"/>
                    <a:pt x="4411341" y="92074"/>
                    <a:pt x="4410071" y="86994"/>
                  </a:cubicBezTo>
                  <a:cubicBezTo>
                    <a:pt x="4408801" y="81914"/>
                    <a:pt x="4407531" y="75564"/>
                    <a:pt x="4407531" y="67944"/>
                  </a:cubicBezTo>
                  <a:cubicBezTo>
                    <a:pt x="4407531" y="61594"/>
                    <a:pt x="4408166" y="55244"/>
                    <a:pt x="4410071" y="50799"/>
                  </a:cubicBezTo>
                  <a:cubicBezTo>
                    <a:pt x="4411976" y="45719"/>
                    <a:pt x="4413881" y="41909"/>
                    <a:pt x="4417056" y="38734"/>
                  </a:cubicBezTo>
                  <a:cubicBezTo>
                    <a:pt x="4419596" y="35559"/>
                    <a:pt x="4423406" y="33019"/>
                    <a:pt x="4426581" y="31749"/>
                  </a:cubicBezTo>
                  <a:cubicBezTo>
                    <a:pt x="4430391" y="29844"/>
                    <a:pt x="4434201" y="29209"/>
                    <a:pt x="4438011" y="29209"/>
                  </a:cubicBezTo>
                  <a:cubicBezTo>
                    <a:pt x="4439916" y="29209"/>
                    <a:pt x="4441821" y="29209"/>
                    <a:pt x="4443726" y="29844"/>
                  </a:cubicBezTo>
                  <a:cubicBezTo>
                    <a:pt x="4445631" y="29844"/>
                    <a:pt x="4447536" y="31114"/>
                    <a:pt x="4448806" y="31749"/>
                  </a:cubicBezTo>
                  <a:cubicBezTo>
                    <a:pt x="4450711" y="32384"/>
                    <a:pt x="4451981" y="33654"/>
                    <a:pt x="4453251" y="34924"/>
                  </a:cubicBezTo>
                  <a:cubicBezTo>
                    <a:pt x="4454521" y="36194"/>
                    <a:pt x="4455791" y="36829"/>
                    <a:pt x="4457061" y="38099"/>
                  </a:cubicBezTo>
                  <a:lnTo>
                    <a:pt x="4457061" y="8254"/>
                  </a:lnTo>
                  <a:close/>
                  <a:moveTo>
                    <a:pt x="4390385" y="634"/>
                  </a:moveTo>
                  <a:lnTo>
                    <a:pt x="4390385" y="108584"/>
                  </a:lnTo>
                  <a:lnTo>
                    <a:pt x="4375145" y="108584"/>
                  </a:lnTo>
                  <a:lnTo>
                    <a:pt x="4375145" y="8889"/>
                  </a:lnTo>
                  <a:close/>
                  <a:moveTo>
                    <a:pt x="3946521" y="634"/>
                  </a:moveTo>
                  <a:lnTo>
                    <a:pt x="3946521" y="38099"/>
                  </a:lnTo>
                  <a:cubicBezTo>
                    <a:pt x="3946521" y="38099"/>
                    <a:pt x="3948426" y="35559"/>
                    <a:pt x="3950331" y="34289"/>
                  </a:cubicBezTo>
                  <a:cubicBezTo>
                    <a:pt x="3951601" y="33019"/>
                    <a:pt x="3953506" y="32384"/>
                    <a:pt x="3954776" y="31114"/>
                  </a:cubicBezTo>
                  <a:cubicBezTo>
                    <a:pt x="3956681" y="30479"/>
                    <a:pt x="3958586" y="29844"/>
                    <a:pt x="3960491" y="29209"/>
                  </a:cubicBezTo>
                  <a:cubicBezTo>
                    <a:pt x="3962396" y="29209"/>
                    <a:pt x="3964301" y="29209"/>
                    <a:pt x="3966206" y="29209"/>
                  </a:cubicBezTo>
                  <a:cubicBezTo>
                    <a:pt x="3970651" y="29209"/>
                    <a:pt x="3975096" y="29844"/>
                    <a:pt x="3978271" y="31749"/>
                  </a:cubicBezTo>
                  <a:cubicBezTo>
                    <a:pt x="3981446" y="33019"/>
                    <a:pt x="3984621" y="35559"/>
                    <a:pt x="3987161" y="38099"/>
                  </a:cubicBezTo>
                  <a:cubicBezTo>
                    <a:pt x="3989701" y="41274"/>
                    <a:pt x="3990971" y="44449"/>
                    <a:pt x="3992241" y="49529"/>
                  </a:cubicBezTo>
                  <a:cubicBezTo>
                    <a:pt x="3993511" y="53974"/>
                    <a:pt x="3994146" y="59054"/>
                    <a:pt x="3994146" y="64134"/>
                  </a:cubicBezTo>
                  <a:lnTo>
                    <a:pt x="3994146" y="108584"/>
                  </a:lnTo>
                  <a:lnTo>
                    <a:pt x="3978906" y="108584"/>
                  </a:lnTo>
                  <a:lnTo>
                    <a:pt x="3978271" y="108584"/>
                  </a:lnTo>
                  <a:lnTo>
                    <a:pt x="3978271" y="64769"/>
                  </a:lnTo>
                  <a:cubicBezTo>
                    <a:pt x="3978271" y="57784"/>
                    <a:pt x="3977001" y="52069"/>
                    <a:pt x="3974461" y="48894"/>
                  </a:cubicBezTo>
                  <a:cubicBezTo>
                    <a:pt x="3971921" y="45084"/>
                    <a:pt x="3968111" y="43814"/>
                    <a:pt x="3962396" y="43814"/>
                  </a:cubicBezTo>
                  <a:cubicBezTo>
                    <a:pt x="3959856" y="43814"/>
                    <a:pt x="3957951" y="43814"/>
                    <a:pt x="3956046" y="45084"/>
                  </a:cubicBezTo>
                  <a:cubicBezTo>
                    <a:pt x="3954141" y="45719"/>
                    <a:pt x="3952236" y="46989"/>
                    <a:pt x="3950966" y="48894"/>
                  </a:cubicBezTo>
                  <a:cubicBezTo>
                    <a:pt x="3949696" y="50799"/>
                    <a:pt x="3948426" y="52704"/>
                    <a:pt x="3947791" y="55244"/>
                  </a:cubicBezTo>
                  <a:cubicBezTo>
                    <a:pt x="3947156" y="57784"/>
                    <a:pt x="3946521" y="60324"/>
                    <a:pt x="3946521" y="63499"/>
                  </a:cubicBezTo>
                  <a:lnTo>
                    <a:pt x="3946521" y="109219"/>
                  </a:lnTo>
                  <a:lnTo>
                    <a:pt x="3931281" y="109219"/>
                  </a:lnTo>
                  <a:lnTo>
                    <a:pt x="3931281" y="8889"/>
                  </a:lnTo>
                  <a:close/>
                  <a:moveTo>
                    <a:pt x="3248021" y="634"/>
                  </a:moveTo>
                  <a:lnTo>
                    <a:pt x="3248021" y="38099"/>
                  </a:lnTo>
                  <a:cubicBezTo>
                    <a:pt x="3248021" y="38099"/>
                    <a:pt x="3249926" y="35559"/>
                    <a:pt x="3251831" y="34289"/>
                  </a:cubicBezTo>
                  <a:cubicBezTo>
                    <a:pt x="3253101" y="33019"/>
                    <a:pt x="3255006" y="32384"/>
                    <a:pt x="3256276" y="31114"/>
                  </a:cubicBezTo>
                  <a:cubicBezTo>
                    <a:pt x="3258181" y="30479"/>
                    <a:pt x="3260086" y="29844"/>
                    <a:pt x="3261991" y="29209"/>
                  </a:cubicBezTo>
                  <a:cubicBezTo>
                    <a:pt x="3263896" y="29209"/>
                    <a:pt x="3265801" y="29209"/>
                    <a:pt x="3267706" y="29209"/>
                  </a:cubicBezTo>
                  <a:cubicBezTo>
                    <a:pt x="3272151" y="29209"/>
                    <a:pt x="3276596" y="29844"/>
                    <a:pt x="3279771" y="31749"/>
                  </a:cubicBezTo>
                  <a:cubicBezTo>
                    <a:pt x="3282946" y="33019"/>
                    <a:pt x="3286121" y="35559"/>
                    <a:pt x="3288661" y="38099"/>
                  </a:cubicBezTo>
                  <a:cubicBezTo>
                    <a:pt x="3291201" y="41274"/>
                    <a:pt x="3292471" y="44449"/>
                    <a:pt x="3293741" y="49529"/>
                  </a:cubicBezTo>
                  <a:cubicBezTo>
                    <a:pt x="3295011" y="53974"/>
                    <a:pt x="3295646" y="59054"/>
                    <a:pt x="3295646" y="64134"/>
                  </a:cubicBezTo>
                  <a:lnTo>
                    <a:pt x="3295646" y="108584"/>
                  </a:lnTo>
                  <a:lnTo>
                    <a:pt x="3280406" y="108584"/>
                  </a:lnTo>
                  <a:lnTo>
                    <a:pt x="3279771" y="108584"/>
                  </a:lnTo>
                  <a:lnTo>
                    <a:pt x="3279771" y="64769"/>
                  </a:lnTo>
                  <a:cubicBezTo>
                    <a:pt x="3279771" y="57784"/>
                    <a:pt x="3278501" y="52069"/>
                    <a:pt x="3275961" y="48894"/>
                  </a:cubicBezTo>
                  <a:cubicBezTo>
                    <a:pt x="3273421" y="45084"/>
                    <a:pt x="3269611" y="43814"/>
                    <a:pt x="3263896" y="43814"/>
                  </a:cubicBezTo>
                  <a:cubicBezTo>
                    <a:pt x="3261356" y="43814"/>
                    <a:pt x="3259451" y="43814"/>
                    <a:pt x="3257546" y="45084"/>
                  </a:cubicBezTo>
                  <a:cubicBezTo>
                    <a:pt x="3255641" y="45719"/>
                    <a:pt x="3253736" y="46989"/>
                    <a:pt x="3252466" y="48894"/>
                  </a:cubicBezTo>
                  <a:cubicBezTo>
                    <a:pt x="3251196" y="50799"/>
                    <a:pt x="3249926" y="52704"/>
                    <a:pt x="3249291" y="55244"/>
                  </a:cubicBezTo>
                  <a:cubicBezTo>
                    <a:pt x="3248656" y="57784"/>
                    <a:pt x="3248021" y="60324"/>
                    <a:pt x="3248021" y="63499"/>
                  </a:cubicBezTo>
                  <a:lnTo>
                    <a:pt x="3248021" y="109219"/>
                  </a:lnTo>
                  <a:lnTo>
                    <a:pt x="3232781" y="109219"/>
                  </a:lnTo>
                  <a:lnTo>
                    <a:pt x="3232781" y="8889"/>
                  </a:lnTo>
                  <a:close/>
                  <a:moveTo>
                    <a:pt x="2432681" y="634"/>
                  </a:moveTo>
                  <a:lnTo>
                    <a:pt x="2432681" y="38099"/>
                  </a:lnTo>
                  <a:cubicBezTo>
                    <a:pt x="2432681" y="38099"/>
                    <a:pt x="2434586" y="35559"/>
                    <a:pt x="2436491" y="34289"/>
                  </a:cubicBezTo>
                  <a:cubicBezTo>
                    <a:pt x="2437761" y="33019"/>
                    <a:pt x="2439666" y="32384"/>
                    <a:pt x="2440936" y="31114"/>
                  </a:cubicBezTo>
                  <a:cubicBezTo>
                    <a:pt x="2442841" y="30479"/>
                    <a:pt x="2444746" y="29844"/>
                    <a:pt x="2446651" y="29209"/>
                  </a:cubicBezTo>
                  <a:cubicBezTo>
                    <a:pt x="2448556" y="29209"/>
                    <a:pt x="2450461" y="29209"/>
                    <a:pt x="2452366" y="29209"/>
                  </a:cubicBezTo>
                  <a:cubicBezTo>
                    <a:pt x="2456811" y="29209"/>
                    <a:pt x="2461256" y="29844"/>
                    <a:pt x="2464431" y="31749"/>
                  </a:cubicBezTo>
                  <a:cubicBezTo>
                    <a:pt x="2467606" y="33019"/>
                    <a:pt x="2470781" y="35559"/>
                    <a:pt x="2473321" y="38099"/>
                  </a:cubicBezTo>
                  <a:cubicBezTo>
                    <a:pt x="2475861" y="41274"/>
                    <a:pt x="2477131" y="44449"/>
                    <a:pt x="2478401" y="49529"/>
                  </a:cubicBezTo>
                  <a:cubicBezTo>
                    <a:pt x="2479671" y="53974"/>
                    <a:pt x="2480306" y="59054"/>
                    <a:pt x="2480306" y="64134"/>
                  </a:cubicBezTo>
                  <a:lnTo>
                    <a:pt x="2480306" y="108584"/>
                  </a:lnTo>
                  <a:lnTo>
                    <a:pt x="2465066" y="108584"/>
                  </a:lnTo>
                  <a:lnTo>
                    <a:pt x="2464431" y="108584"/>
                  </a:lnTo>
                  <a:lnTo>
                    <a:pt x="2464431" y="64769"/>
                  </a:lnTo>
                  <a:cubicBezTo>
                    <a:pt x="2464431" y="57784"/>
                    <a:pt x="2463161" y="52069"/>
                    <a:pt x="2460621" y="48894"/>
                  </a:cubicBezTo>
                  <a:cubicBezTo>
                    <a:pt x="2458081" y="45084"/>
                    <a:pt x="2454271" y="43814"/>
                    <a:pt x="2448556" y="43814"/>
                  </a:cubicBezTo>
                  <a:cubicBezTo>
                    <a:pt x="2446016" y="43814"/>
                    <a:pt x="2444111" y="43814"/>
                    <a:pt x="2442206" y="45084"/>
                  </a:cubicBezTo>
                  <a:cubicBezTo>
                    <a:pt x="2440301" y="45719"/>
                    <a:pt x="2438396" y="46989"/>
                    <a:pt x="2437126" y="48894"/>
                  </a:cubicBezTo>
                  <a:cubicBezTo>
                    <a:pt x="2435856" y="50799"/>
                    <a:pt x="2434586" y="52704"/>
                    <a:pt x="2433951" y="55244"/>
                  </a:cubicBezTo>
                  <a:cubicBezTo>
                    <a:pt x="2433316" y="57784"/>
                    <a:pt x="2432681" y="60324"/>
                    <a:pt x="2432681" y="63499"/>
                  </a:cubicBezTo>
                  <a:lnTo>
                    <a:pt x="2432681" y="109219"/>
                  </a:lnTo>
                  <a:lnTo>
                    <a:pt x="2417441" y="109219"/>
                  </a:lnTo>
                  <a:lnTo>
                    <a:pt x="2417441" y="8889"/>
                  </a:lnTo>
                  <a:close/>
                  <a:moveTo>
                    <a:pt x="1734181" y="634"/>
                  </a:moveTo>
                  <a:lnTo>
                    <a:pt x="1734181" y="38099"/>
                  </a:lnTo>
                  <a:cubicBezTo>
                    <a:pt x="1734181" y="38099"/>
                    <a:pt x="1736086" y="35559"/>
                    <a:pt x="1737991" y="34289"/>
                  </a:cubicBezTo>
                  <a:cubicBezTo>
                    <a:pt x="1739261" y="33019"/>
                    <a:pt x="1741166" y="32384"/>
                    <a:pt x="1742436" y="31114"/>
                  </a:cubicBezTo>
                  <a:cubicBezTo>
                    <a:pt x="1744341" y="30479"/>
                    <a:pt x="1746246" y="29844"/>
                    <a:pt x="1748151" y="29209"/>
                  </a:cubicBezTo>
                  <a:cubicBezTo>
                    <a:pt x="1750056" y="29209"/>
                    <a:pt x="1751961" y="29209"/>
                    <a:pt x="1753866" y="29209"/>
                  </a:cubicBezTo>
                  <a:cubicBezTo>
                    <a:pt x="1758311" y="29209"/>
                    <a:pt x="1762756" y="29844"/>
                    <a:pt x="1765931" y="31749"/>
                  </a:cubicBezTo>
                  <a:cubicBezTo>
                    <a:pt x="1769106" y="33019"/>
                    <a:pt x="1772281" y="35559"/>
                    <a:pt x="1774821" y="38099"/>
                  </a:cubicBezTo>
                  <a:cubicBezTo>
                    <a:pt x="1777361" y="41274"/>
                    <a:pt x="1778631" y="44449"/>
                    <a:pt x="1779901" y="49529"/>
                  </a:cubicBezTo>
                  <a:cubicBezTo>
                    <a:pt x="1781171" y="53974"/>
                    <a:pt x="1781806" y="59054"/>
                    <a:pt x="1781806" y="64134"/>
                  </a:cubicBezTo>
                  <a:lnTo>
                    <a:pt x="1781806" y="108584"/>
                  </a:lnTo>
                  <a:lnTo>
                    <a:pt x="1766566" y="108584"/>
                  </a:lnTo>
                  <a:lnTo>
                    <a:pt x="1765931" y="108584"/>
                  </a:lnTo>
                  <a:lnTo>
                    <a:pt x="1765931" y="64769"/>
                  </a:lnTo>
                  <a:cubicBezTo>
                    <a:pt x="1765931" y="57784"/>
                    <a:pt x="1764661" y="52069"/>
                    <a:pt x="1762121" y="48894"/>
                  </a:cubicBezTo>
                  <a:cubicBezTo>
                    <a:pt x="1759581" y="45084"/>
                    <a:pt x="1755771" y="43814"/>
                    <a:pt x="1750056" y="43814"/>
                  </a:cubicBezTo>
                  <a:cubicBezTo>
                    <a:pt x="1747516" y="43814"/>
                    <a:pt x="1745611" y="43814"/>
                    <a:pt x="1743706" y="45084"/>
                  </a:cubicBezTo>
                  <a:cubicBezTo>
                    <a:pt x="1741801" y="45719"/>
                    <a:pt x="1739896" y="46989"/>
                    <a:pt x="1738626" y="48894"/>
                  </a:cubicBezTo>
                  <a:cubicBezTo>
                    <a:pt x="1737356" y="50799"/>
                    <a:pt x="1736086" y="52704"/>
                    <a:pt x="1735451" y="55244"/>
                  </a:cubicBezTo>
                  <a:cubicBezTo>
                    <a:pt x="1734816" y="57784"/>
                    <a:pt x="1734181" y="60324"/>
                    <a:pt x="1734181" y="63499"/>
                  </a:cubicBezTo>
                  <a:lnTo>
                    <a:pt x="1734181" y="109219"/>
                  </a:lnTo>
                  <a:lnTo>
                    <a:pt x="1718941" y="109219"/>
                  </a:lnTo>
                  <a:lnTo>
                    <a:pt x="1718941" y="8889"/>
                  </a:lnTo>
                  <a:close/>
                  <a:moveTo>
                    <a:pt x="803275" y="634"/>
                  </a:moveTo>
                  <a:lnTo>
                    <a:pt x="803275" y="38099"/>
                  </a:lnTo>
                  <a:cubicBezTo>
                    <a:pt x="803275" y="38099"/>
                    <a:pt x="805180" y="35559"/>
                    <a:pt x="807085" y="34289"/>
                  </a:cubicBezTo>
                  <a:cubicBezTo>
                    <a:pt x="808355" y="33019"/>
                    <a:pt x="810260" y="32384"/>
                    <a:pt x="811530" y="31114"/>
                  </a:cubicBezTo>
                  <a:cubicBezTo>
                    <a:pt x="813435" y="30479"/>
                    <a:pt x="815340" y="29844"/>
                    <a:pt x="817245" y="29209"/>
                  </a:cubicBezTo>
                  <a:cubicBezTo>
                    <a:pt x="819150" y="29209"/>
                    <a:pt x="821055" y="29209"/>
                    <a:pt x="822960" y="29209"/>
                  </a:cubicBezTo>
                  <a:cubicBezTo>
                    <a:pt x="827405" y="29209"/>
                    <a:pt x="831850" y="29844"/>
                    <a:pt x="835025" y="31749"/>
                  </a:cubicBezTo>
                  <a:cubicBezTo>
                    <a:pt x="838200" y="33019"/>
                    <a:pt x="841375" y="35559"/>
                    <a:pt x="843915" y="38099"/>
                  </a:cubicBezTo>
                  <a:cubicBezTo>
                    <a:pt x="846455" y="41274"/>
                    <a:pt x="847725" y="44449"/>
                    <a:pt x="848995" y="49529"/>
                  </a:cubicBezTo>
                  <a:cubicBezTo>
                    <a:pt x="850265" y="53974"/>
                    <a:pt x="850900" y="59054"/>
                    <a:pt x="850900" y="64134"/>
                  </a:cubicBezTo>
                  <a:lnTo>
                    <a:pt x="850900" y="108584"/>
                  </a:lnTo>
                  <a:lnTo>
                    <a:pt x="835660" y="108584"/>
                  </a:lnTo>
                  <a:lnTo>
                    <a:pt x="835025" y="108584"/>
                  </a:lnTo>
                  <a:lnTo>
                    <a:pt x="835025" y="64769"/>
                  </a:lnTo>
                  <a:cubicBezTo>
                    <a:pt x="835025" y="57784"/>
                    <a:pt x="833755" y="52069"/>
                    <a:pt x="831215" y="48894"/>
                  </a:cubicBezTo>
                  <a:cubicBezTo>
                    <a:pt x="828675" y="45084"/>
                    <a:pt x="824865" y="43814"/>
                    <a:pt x="819150" y="43814"/>
                  </a:cubicBezTo>
                  <a:cubicBezTo>
                    <a:pt x="816610" y="43814"/>
                    <a:pt x="814705" y="43814"/>
                    <a:pt x="812800" y="45084"/>
                  </a:cubicBezTo>
                  <a:cubicBezTo>
                    <a:pt x="810895" y="45719"/>
                    <a:pt x="808990" y="46989"/>
                    <a:pt x="807720" y="48894"/>
                  </a:cubicBezTo>
                  <a:cubicBezTo>
                    <a:pt x="806450" y="50799"/>
                    <a:pt x="805180" y="52704"/>
                    <a:pt x="804545" y="55244"/>
                  </a:cubicBezTo>
                  <a:cubicBezTo>
                    <a:pt x="803910" y="57784"/>
                    <a:pt x="803275" y="60324"/>
                    <a:pt x="803275" y="63499"/>
                  </a:cubicBezTo>
                  <a:lnTo>
                    <a:pt x="803275" y="109219"/>
                  </a:lnTo>
                  <a:lnTo>
                    <a:pt x="788035" y="109219"/>
                  </a:lnTo>
                  <a:lnTo>
                    <a:pt x="788035" y="8889"/>
                  </a:lnTo>
                  <a:close/>
                  <a:moveTo>
                    <a:pt x="104774" y="634"/>
                  </a:moveTo>
                  <a:lnTo>
                    <a:pt x="104774" y="38099"/>
                  </a:lnTo>
                  <a:cubicBezTo>
                    <a:pt x="104774" y="38099"/>
                    <a:pt x="106679" y="35559"/>
                    <a:pt x="108584" y="34289"/>
                  </a:cubicBezTo>
                  <a:cubicBezTo>
                    <a:pt x="109854" y="33019"/>
                    <a:pt x="111759" y="32384"/>
                    <a:pt x="113029" y="31114"/>
                  </a:cubicBezTo>
                  <a:cubicBezTo>
                    <a:pt x="114934" y="30479"/>
                    <a:pt x="116839" y="29844"/>
                    <a:pt x="118744" y="29209"/>
                  </a:cubicBezTo>
                  <a:cubicBezTo>
                    <a:pt x="120649" y="29209"/>
                    <a:pt x="122554" y="29209"/>
                    <a:pt x="124459" y="29209"/>
                  </a:cubicBezTo>
                  <a:cubicBezTo>
                    <a:pt x="128904" y="29209"/>
                    <a:pt x="133349" y="29844"/>
                    <a:pt x="136524" y="31749"/>
                  </a:cubicBezTo>
                  <a:cubicBezTo>
                    <a:pt x="139699" y="33019"/>
                    <a:pt x="142874" y="35559"/>
                    <a:pt x="145414" y="38099"/>
                  </a:cubicBezTo>
                  <a:cubicBezTo>
                    <a:pt x="147954" y="41274"/>
                    <a:pt x="149224" y="44449"/>
                    <a:pt x="150494" y="49529"/>
                  </a:cubicBezTo>
                  <a:cubicBezTo>
                    <a:pt x="151764" y="53974"/>
                    <a:pt x="152399" y="59054"/>
                    <a:pt x="152399" y="64134"/>
                  </a:cubicBezTo>
                  <a:lnTo>
                    <a:pt x="152399" y="108584"/>
                  </a:lnTo>
                  <a:lnTo>
                    <a:pt x="137159" y="108584"/>
                  </a:lnTo>
                  <a:lnTo>
                    <a:pt x="136524" y="108584"/>
                  </a:lnTo>
                  <a:lnTo>
                    <a:pt x="136524" y="64769"/>
                  </a:lnTo>
                  <a:cubicBezTo>
                    <a:pt x="136524" y="57784"/>
                    <a:pt x="135254" y="52069"/>
                    <a:pt x="132714" y="48894"/>
                  </a:cubicBezTo>
                  <a:cubicBezTo>
                    <a:pt x="130174" y="45084"/>
                    <a:pt x="126364" y="43814"/>
                    <a:pt x="120649" y="43814"/>
                  </a:cubicBezTo>
                  <a:cubicBezTo>
                    <a:pt x="118109" y="43814"/>
                    <a:pt x="116204" y="43814"/>
                    <a:pt x="114299" y="45084"/>
                  </a:cubicBezTo>
                  <a:cubicBezTo>
                    <a:pt x="112394" y="45719"/>
                    <a:pt x="110489" y="46989"/>
                    <a:pt x="109219" y="48894"/>
                  </a:cubicBezTo>
                  <a:cubicBezTo>
                    <a:pt x="107949" y="50799"/>
                    <a:pt x="106679" y="52704"/>
                    <a:pt x="106044" y="55244"/>
                  </a:cubicBezTo>
                  <a:cubicBezTo>
                    <a:pt x="105409" y="57784"/>
                    <a:pt x="104774" y="60324"/>
                    <a:pt x="104774" y="63499"/>
                  </a:cubicBezTo>
                  <a:lnTo>
                    <a:pt x="104774" y="109219"/>
                  </a:lnTo>
                  <a:lnTo>
                    <a:pt x="89534" y="109219"/>
                  </a:lnTo>
                  <a:lnTo>
                    <a:pt x="89534" y="8889"/>
                  </a:lnTo>
                  <a:close/>
                  <a:moveTo>
                    <a:pt x="3894450" y="0"/>
                  </a:moveTo>
                  <a:lnTo>
                    <a:pt x="3894450" y="30480"/>
                  </a:lnTo>
                  <a:lnTo>
                    <a:pt x="3913500" y="30480"/>
                  </a:lnTo>
                  <a:lnTo>
                    <a:pt x="3913500" y="44450"/>
                  </a:lnTo>
                  <a:lnTo>
                    <a:pt x="3894450" y="44450"/>
                  </a:lnTo>
                  <a:lnTo>
                    <a:pt x="3894450" y="86995"/>
                  </a:lnTo>
                  <a:cubicBezTo>
                    <a:pt x="3894450" y="86995"/>
                    <a:pt x="3894450" y="90170"/>
                    <a:pt x="3894450" y="91440"/>
                  </a:cubicBezTo>
                  <a:cubicBezTo>
                    <a:pt x="3894450" y="92710"/>
                    <a:pt x="3895085" y="93345"/>
                    <a:pt x="3895720" y="94615"/>
                  </a:cubicBezTo>
                  <a:cubicBezTo>
                    <a:pt x="3896355" y="95250"/>
                    <a:pt x="3896990" y="95885"/>
                    <a:pt x="3898260" y="95885"/>
                  </a:cubicBezTo>
                  <a:cubicBezTo>
                    <a:pt x="3899530" y="95885"/>
                    <a:pt x="3900800" y="95885"/>
                    <a:pt x="3902070" y="95885"/>
                  </a:cubicBezTo>
                  <a:cubicBezTo>
                    <a:pt x="3903975" y="95885"/>
                    <a:pt x="3905880" y="95885"/>
                    <a:pt x="3908420" y="95250"/>
                  </a:cubicBezTo>
                  <a:cubicBezTo>
                    <a:pt x="3910325" y="94615"/>
                    <a:pt x="3912230" y="93980"/>
                    <a:pt x="3913500" y="93345"/>
                  </a:cubicBezTo>
                  <a:lnTo>
                    <a:pt x="3911595" y="106680"/>
                  </a:lnTo>
                  <a:cubicBezTo>
                    <a:pt x="3911595" y="106680"/>
                    <a:pt x="3907785" y="108585"/>
                    <a:pt x="3905245" y="109220"/>
                  </a:cubicBezTo>
                  <a:cubicBezTo>
                    <a:pt x="3902705" y="109855"/>
                    <a:pt x="3900165" y="110490"/>
                    <a:pt x="3896990" y="110490"/>
                  </a:cubicBezTo>
                  <a:cubicBezTo>
                    <a:pt x="3894450" y="110490"/>
                    <a:pt x="3891910" y="110490"/>
                    <a:pt x="3890005" y="109220"/>
                  </a:cubicBezTo>
                  <a:cubicBezTo>
                    <a:pt x="3888100" y="108585"/>
                    <a:pt x="3886195" y="107315"/>
                    <a:pt x="3884290" y="105410"/>
                  </a:cubicBezTo>
                  <a:cubicBezTo>
                    <a:pt x="3882385" y="103505"/>
                    <a:pt x="3881115" y="101600"/>
                    <a:pt x="3880480" y="99060"/>
                  </a:cubicBezTo>
                  <a:cubicBezTo>
                    <a:pt x="3879845" y="96520"/>
                    <a:pt x="3879210" y="93345"/>
                    <a:pt x="3879210" y="89535"/>
                  </a:cubicBezTo>
                  <a:lnTo>
                    <a:pt x="3879210" y="44450"/>
                  </a:lnTo>
                  <a:lnTo>
                    <a:pt x="3868415" y="44450"/>
                  </a:lnTo>
                  <a:lnTo>
                    <a:pt x="3868415" y="30480"/>
                  </a:lnTo>
                  <a:lnTo>
                    <a:pt x="3879210" y="30480"/>
                  </a:lnTo>
                  <a:lnTo>
                    <a:pt x="3879210" y="8255"/>
                  </a:lnTo>
                  <a:close/>
                  <a:moveTo>
                    <a:pt x="3664581" y="0"/>
                  </a:moveTo>
                  <a:lnTo>
                    <a:pt x="3664581" y="30480"/>
                  </a:lnTo>
                  <a:lnTo>
                    <a:pt x="3683631" y="30480"/>
                  </a:lnTo>
                  <a:lnTo>
                    <a:pt x="3683631" y="44450"/>
                  </a:lnTo>
                  <a:lnTo>
                    <a:pt x="3664581" y="44450"/>
                  </a:lnTo>
                  <a:lnTo>
                    <a:pt x="3664581" y="86995"/>
                  </a:lnTo>
                  <a:cubicBezTo>
                    <a:pt x="3664581" y="86995"/>
                    <a:pt x="3664581" y="90170"/>
                    <a:pt x="3664581" y="91440"/>
                  </a:cubicBezTo>
                  <a:cubicBezTo>
                    <a:pt x="3664581" y="92710"/>
                    <a:pt x="3665216" y="93345"/>
                    <a:pt x="3665851" y="94615"/>
                  </a:cubicBezTo>
                  <a:cubicBezTo>
                    <a:pt x="3666486" y="95250"/>
                    <a:pt x="3667121" y="95885"/>
                    <a:pt x="3668391" y="95885"/>
                  </a:cubicBezTo>
                  <a:cubicBezTo>
                    <a:pt x="3669661" y="95885"/>
                    <a:pt x="3670931" y="95885"/>
                    <a:pt x="3672201" y="95885"/>
                  </a:cubicBezTo>
                  <a:cubicBezTo>
                    <a:pt x="3674106" y="95885"/>
                    <a:pt x="3676011" y="95885"/>
                    <a:pt x="3678551" y="95250"/>
                  </a:cubicBezTo>
                  <a:cubicBezTo>
                    <a:pt x="3680456" y="94615"/>
                    <a:pt x="3682361" y="93980"/>
                    <a:pt x="3683631" y="93345"/>
                  </a:cubicBezTo>
                  <a:lnTo>
                    <a:pt x="3681726" y="106680"/>
                  </a:lnTo>
                  <a:cubicBezTo>
                    <a:pt x="3681726" y="106680"/>
                    <a:pt x="3677916" y="108585"/>
                    <a:pt x="3675376" y="109220"/>
                  </a:cubicBezTo>
                  <a:cubicBezTo>
                    <a:pt x="3672836" y="109855"/>
                    <a:pt x="3670296" y="110490"/>
                    <a:pt x="3667121" y="110490"/>
                  </a:cubicBezTo>
                  <a:cubicBezTo>
                    <a:pt x="3664581" y="110490"/>
                    <a:pt x="3662041" y="110490"/>
                    <a:pt x="3660136" y="109220"/>
                  </a:cubicBezTo>
                  <a:cubicBezTo>
                    <a:pt x="3658231" y="108585"/>
                    <a:pt x="3656326" y="107315"/>
                    <a:pt x="3654421" y="105410"/>
                  </a:cubicBezTo>
                  <a:cubicBezTo>
                    <a:pt x="3652516" y="103505"/>
                    <a:pt x="3651246" y="101600"/>
                    <a:pt x="3650611" y="99060"/>
                  </a:cubicBezTo>
                  <a:cubicBezTo>
                    <a:pt x="3649976" y="96520"/>
                    <a:pt x="3649341" y="93345"/>
                    <a:pt x="3649341" y="89535"/>
                  </a:cubicBezTo>
                  <a:lnTo>
                    <a:pt x="3649341" y="44450"/>
                  </a:lnTo>
                  <a:lnTo>
                    <a:pt x="3638546" y="44450"/>
                  </a:lnTo>
                  <a:lnTo>
                    <a:pt x="3638546" y="30480"/>
                  </a:lnTo>
                  <a:lnTo>
                    <a:pt x="3649341" y="30480"/>
                  </a:lnTo>
                  <a:lnTo>
                    <a:pt x="3649341" y="8255"/>
                  </a:lnTo>
                  <a:close/>
                  <a:moveTo>
                    <a:pt x="3610605" y="0"/>
                  </a:moveTo>
                  <a:lnTo>
                    <a:pt x="3610605" y="30480"/>
                  </a:lnTo>
                  <a:lnTo>
                    <a:pt x="3629655" y="30480"/>
                  </a:lnTo>
                  <a:lnTo>
                    <a:pt x="3629655" y="44450"/>
                  </a:lnTo>
                  <a:lnTo>
                    <a:pt x="3610605" y="44450"/>
                  </a:lnTo>
                  <a:lnTo>
                    <a:pt x="3610605" y="86995"/>
                  </a:lnTo>
                  <a:cubicBezTo>
                    <a:pt x="3610605" y="86995"/>
                    <a:pt x="3610605" y="90170"/>
                    <a:pt x="3610605" y="91440"/>
                  </a:cubicBezTo>
                  <a:cubicBezTo>
                    <a:pt x="3610605" y="92710"/>
                    <a:pt x="3611240" y="93345"/>
                    <a:pt x="3611875" y="94615"/>
                  </a:cubicBezTo>
                  <a:cubicBezTo>
                    <a:pt x="3612510" y="95250"/>
                    <a:pt x="3613145" y="95885"/>
                    <a:pt x="3614415" y="95885"/>
                  </a:cubicBezTo>
                  <a:cubicBezTo>
                    <a:pt x="3615685" y="95885"/>
                    <a:pt x="3616955" y="95885"/>
                    <a:pt x="3618225" y="95885"/>
                  </a:cubicBezTo>
                  <a:cubicBezTo>
                    <a:pt x="3620130" y="95885"/>
                    <a:pt x="3622035" y="95885"/>
                    <a:pt x="3624575" y="95250"/>
                  </a:cubicBezTo>
                  <a:cubicBezTo>
                    <a:pt x="3626480" y="94615"/>
                    <a:pt x="3628385" y="93980"/>
                    <a:pt x="3629655" y="93345"/>
                  </a:cubicBezTo>
                  <a:lnTo>
                    <a:pt x="3627750" y="106680"/>
                  </a:lnTo>
                  <a:cubicBezTo>
                    <a:pt x="3627750" y="106680"/>
                    <a:pt x="3623940" y="108585"/>
                    <a:pt x="3621400" y="109220"/>
                  </a:cubicBezTo>
                  <a:cubicBezTo>
                    <a:pt x="3618860" y="109855"/>
                    <a:pt x="3616320" y="110490"/>
                    <a:pt x="3613145" y="110490"/>
                  </a:cubicBezTo>
                  <a:cubicBezTo>
                    <a:pt x="3610605" y="110490"/>
                    <a:pt x="3608065" y="110490"/>
                    <a:pt x="3606160" y="109220"/>
                  </a:cubicBezTo>
                  <a:cubicBezTo>
                    <a:pt x="3604255" y="108585"/>
                    <a:pt x="3602350" y="107315"/>
                    <a:pt x="3600445" y="105410"/>
                  </a:cubicBezTo>
                  <a:cubicBezTo>
                    <a:pt x="3598540" y="103505"/>
                    <a:pt x="3597270" y="101600"/>
                    <a:pt x="3596635" y="99060"/>
                  </a:cubicBezTo>
                  <a:cubicBezTo>
                    <a:pt x="3596000" y="96520"/>
                    <a:pt x="3595365" y="93345"/>
                    <a:pt x="3595365" y="89535"/>
                  </a:cubicBezTo>
                  <a:lnTo>
                    <a:pt x="3595365" y="44450"/>
                  </a:lnTo>
                  <a:lnTo>
                    <a:pt x="3584570" y="44450"/>
                  </a:lnTo>
                  <a:lnTo>
                    <a:pt x="3584570" y="30480"/>
                  </a:lnTo>
                  <a:lnTo>
                    <a:pt x="3595365" y="30480"/>
                  </a:lnTo>
                  <a:lnTo>
                    <a:pt x="3595365" y="8255"/>
                  </a:lnTo>
                  <a:close/>
                  <a:moveTo>
                    <a:pt x="3445505" y="0"/>
                  </a:moveTo>
                  <a:lnTo>
                    <a:pt x="3445505" y="37465"/>
                  </a:lnTo>
                  <a:cubicBezTo>
                    <a:pt x="3445505" y="37465"/>
                    <a:pt x="3448680" y="34925"/>
                    <a:pt x="3449950" y="33655"/>
                  </a:cubicBezTo>
                  <a:cubicBezTo>
                    <a:pt x="3451220" y="33020"/>
                    <a:pt x="3452490" y="31750"/>
                    <a:pt x="3453760" y="31115"/>
                  </a:cubicBezTo>
                  <a:cubicBezTo>
                    <a:pt x="3455030" y="30480"/>
                    <a:pt x="3456935" y="29845"/>
                    <a:pt x="3458840" y="29210"/>
                  </a:cubicBezTo>
                  <a:cubicBezTo>
                    <a:pt x="3460745" y="29210"/>
                    <a:pt x="3463285" y="28575"/>
                    <a:pt x="3465825" y="28575"/>
                  </a:cubicBezTo>
                  <a:cubicBezTo>
                    <a:pt x="3470270" y="28575"/>
                    <a:pt x="3474080" y="29210"/>
                    <a:pt x="3477890" y="31115"/>
                  </a:cubicBezTo>
                  <a:cubicBezTo>
                    <a:pt x="3481700" y="32385"/>
                    <a:pt x="3484875" y="34925"/>
                    <a:pt x="3487415" y="38735"/>
                  </a:cubicBezTo>
                  <a:cubicBezTo>
                    <a:pt x="3489955" y="41910"/>
                    <a:pt x="3492495" y="46355"/>
                    <a:pt x="3493765" y="51435"/>
                  </a:cubicBezTo>
                  <a:cubicBezTo>
                    <a:pt x="3495035" y="56515"/>
                    <a:pt x="3496305" y="62865"/>
                    <a:pt x="3496305" y="70485"/>
                  </a:cubicBezTo>
                  <a:lnTo>
                    <a:pt x="3495670" y="71120"/>
                  </a:lnTo>
                  <a:cubicBezTo>
                    <a:pt x="3495670" y="77470"/>
                    <a:pt x="3495035" y="83820"/>
                    <a:pt x="3493130" y="88265"/>
                  </a:cubicBezTo>
                  <a:cubicBezTo>
                    <a:pt x="3491225" y="93345"/>
                    <a:pt x="3489320" y="97155"/>
                    <a:pt x="3486145" y="100330"/>
                  </a:cubicBezTo>
                  <a:cubicBezTo>
                    <a:pt x="3483605" y="103505"/>
                    <a:pt x="3479795" y="106045"/>
                    <a:pt x="3476620" y="107315"/>
                  </a:cubicBezTo>
                  <a:cubicBezTo>
                    <a:pt x="3472810" y="109220"/>
                    <a:pt x="3469000" y="109855"/>
                    <a:pt x="3465190" y="109855"/>
                  </a:cubicBezTo>
                  <a:cubicBezTo>
                    <a:pt x="3461380" y="109855"/>
                    <a:pt x="3457570" y="109220"/>
                    <a:pt x="3454395" y="107315"/>
                  </a:cubicBezTo>
                  <a:cubicBezTo>
                    <a:pt x="3450585" y="105410"/>
                    <a:pt x="3448045" y="103505"/>
                    <a:pt x="3445505" y="100965"/>
                  </a:cubicBezTo>
                  <a:lnTo>
                    <a:pt x="3445505" y="107950"/>
                  </a:lnTo>
                  <a:lnTo>
                    <a:pt x="3430265" y="107950"/>
                  </a:lnTo>
                  <a:lnTo>
                    <a:pt x="3430265" y="7620"/>
                  </a:lnTo>
                  <a:close/>
                  <a:moveTo>
                    <a:pt x="2380611" y="0"/>
                  </a:moveTo>
                  <a:lnTo>
                    <a:pt x="2380611" y="30480"/>
                  </a:lnTo>
                  <a:lnTo>
                    <a:pt x="2399661" y="30480"/>
                  </a:lnTo>
                  <a:lnTo>
                    <a:pt x="2399661" y="44450"/>
                  </a:lnTo>
                  <a:lnTo>
                    <a:pt x="2380611" y="44450"/>
                  </a:lnTo>
                  <a:lnTo>
                    <a:pt x="2380611" y="86995"/>
                  </a:lnTo>
                  <a:cubicBezTo>
                    <a:pt x="2380611" y="86995"/>
                    <a:pt x="2380611" y="90170"/>
                    <a:pt x="2380611" y="91440"/>
                  </a:cubicBezTo>
                  <a:cubicBezTo>
                    <a:pt x="2380611" y="92710"/>
                    <a:pt x="2381246" y="93345"/>
                    <a:pt x="2381881" y="94615"/>
                  </a:cubicBezTo>
                  <a:cubicBezTo>
                    <a:pt x="2382516" y="95250"/>
                    <a:pt x="2383151" y="95885"/>
                    <a:pt x="2384421" y="95885"/>
                  </a:cubicBezTo>
                  <a:cubicBezTo>
                    <a:pt x="2385691" y="95885"/>
                    <a:pt x="2386961" y="95885"/>
                    <a:pt x="2388231" y="95885"/>
                  </a:cubicBezTo>
                  <a:cubicBezTo>
                    <a:pt x="2390136" y="95885"/>
                    <a:pt x="2392041" y="95885"/>
                    <a:pt x="2394581" y="95250"/>
                  </a:cubicBezTo>
                  <a:cubicBezTo>
                    <a:pt x="2396486" y="94615"/>
                    <a:pt x="2398391" y="93980"/>
                    <a:pt x="2399661" y="93345"/>
                  </a:cubicBezTo>
                  <a:lnTo>
                    <a:pt x="2397756" y="106680"/>
                  </a:lnTo>
                  <a:cubicBezTo>
                    <a:pt x="2397756" y="106680"/>
                    <a:pt x="2393946" y="108585"/>
                    <a:pt x="2391406" y="109220"/>
                  </a:cubicBezTo>
                  <a:cubicBezTo>
                    <a:pt x="2388866" y="109855"/>
                    <a:pt x="2386326" y="110490"/>
                    <a:pt x="2383151" y="110490"/>
                  </a:cubicBezTo>
                  <a:cubicBezTo>
                    <a:pt x="2380611" y="110490"/>
                    <a:pt x="2378071" y="110490"/>
                    <a:pt x="2376166" y="109220"/>
                  </a:cubicBezTo>
                  <a:cubicBezTo>
                    <a:pt x="2374261" y="108585"/>
                    <a:pt x="2372356" y="107315"/>
                    <a:pt x="2370451" y="105410"/>
                  </a:cubicBezTo>
                  <a:cubicBezTo>
                    <a:pt x="2368546" y="103505"/>
                    <a:pt x="2367276" y="101600"/>
                    <a:pt x="2366641" y="99060"/>
                  </a:cubicBezTo>
                  <a:cubicBezTo>
                    <a:pt x="2366006" y="96520"/>
                    <a:pt x="2365371" y="93345"/>
                    <a:pt x="2365371" y="89535"/>
                  </a:cubicBezTo>
                  <a:lnTo>
                    <a:pt x="2365371" y="44450"/>
                  </a:lnTo>
                  <a:lnTo>
                    <a:pt x="2354576" y="44450"/>
                  </a:lnTo>
                  <a:lnTo>
                    <a:pt x="2354576" y="30480"/>
                  </a:lnTo>
                  <a:lnTo>
                    <a:pt x="2365371" y="30480"/>
                  </a:lnTo>
                  <a:lnTo>
                    <a:pt x="2365371" y="8255"/>
                  </a:lnTo>
                  <a:close/>
                  <a:moveTo>
                    <a:pt x="2150741" y="0"/>
                  </a:moveTo>
                  <a:lnTo>
                    <a:pt x="2150741" y="30480"/>
                  </a:lnTo>
                  <a:lnTo>
                    <a:pt x="2169791" y="30480"/>
                  </a:lnTo>
                  <a:lnTo>
                    <a:pt x="2169791" y="44450"/>
                  </a:lnTo>
                  <a:lnTo>
                    <a:pt x="2150741" y="44450"/>
                  </a:lnTo>
                  <a:lnTo>
                    <a:pt x="2150741" y="86995"/>
                  </a:lnTo>
                  <a:cubicBezTo>
                    <a:pt x="2150741" y="86995"/>
                    <a:pt x="2150741" y="90170"/>
                    <a:pt x="2150741" y="91440"/>
                  </a:cubicBezTo>
                  <a:cubicBezTo>
                    <a:pt x="2150741" y="92710"/>
                    <a:pt x="2151376" y="93345"/>
                    <a:pt x="2152011" y="94615"/>
                  </a:cubicBezTo>
                  <a:cubicBezTo>
                    <a:pt x="2152646" y="95250"/>
                    <a:pt x="2153281" y="95885"/>
                    <a:pt x="2154551" y="95885"/>
                  </a:cubicBezTo>
                  <a:cubicBezTo>
                    <a:pt x="2155821" y="95885"/>
                    <a:pt x="2157091" y="95885"/>
                    <a:pt x="2158361" y="95885"/>
                  </a:cubicBezTo>
                  <a:cubicBezTo>
                    <a:pt x="2160266" y="95885"/>
                    <a:pt x="2162171" y="95885"/>
                    <a:pt x="2164711" y="95250"/>
                  </a:cubicBezTo>
                  <a:cubicBezTo>
                    <a:pt x="2166616" y="94615"/>
                    <a:pt x="2168521" y="93980"/>
                    <a:pt x="2169791" y="93345"/>
                  </a:cubicBezTo>
                  <a:lnTo>
                    <a:pt x="2167886" y="106680"/>
                  </a:lnTo>
                  <a:cubicBezTo>
                    <a:pt x="2167886" y="106680"/>
                    <a:pt x="2164076" y="108585"/>
                    <a:pt x="2161536" y="109220"/>
                  </a:cubicBezTo>
                  <a:cubicBezTo>
                    <a:pt x="2158996" y="109855"/>
                    <a:pt x="2156456" y="110490"/>
                    <a:pt x="2153281" y="110490"/>
                  </a:cubicBezTo>
                  <a:cubicBezTo>
                    <a:pt x="2150741" y="110490"/>
                    <a:pt x="2148201" y="110490"/>
                    <a:pt x="2146296" y="109220"/>
                  </a:cubicBezTo>
                  <a:cubicBezTo>
                    <a:pt x="2144391" y="108585"/>
                    <a:pt x="2142486" y="107315"/>
                    <a:pt x="2140581" y="105410"/>
                  </a:cubicBezTo>
                  <a:cubicBezTo>
                    <a:pt x="2138676" y="103505"/>
                    <a:pt x="2137406" y="101600"/>
                    <a:pt x="2136771" y="99060"/>
                  </a:cubicBezTo>
                  <a:cubicBezTo>
                    <a:pt x="2136136" y="96520"/>
                    <a:pt x="2135501" y="93345"/>
                    <a:pt x="2135501" y="89535"/>
                  </a:cubicBezTo>
                  <a:lnTo>
                    <a:pt x="2135501" y="44450"/>
                  </a:lnTo>
                  <a:lnTo>
                    <a:pt x="2124706" y="44450"/>
                  </a:lnTo>
                  <a:lnTo>
                    <a:pt x="2124706" y="30480"/>
                  </a:lnTo>
                  <a:lnTo>
                    <a:pt x="2135501" y="30480"/>
                  </a:lnTo>
                  <a:lnTo>
                    <a:pt x="2135501" y="8255"/>
                  </a:lnTo>
                  <a:close/>
                  <a:moveTo>
                    <a:pt x="2096131" y="0"/>
                  </a:moveTo>
                  <a:lnTo>
                    <a:pt x="2096131" y="30480"/>
                  </a:lnTo>
                  <a:lnTo>
                    <a:pt x="2115181" y="30480"/>
                  </a:lnTo>
                  <a:lnTo>
                    <a:pt x="2115181" y="44450"/>
                  </a:lnTo>
                  <a:lnTo>
                    <a:pt x="2096131" y="44450"/>
                  </a:lnTo>
                  <a:lnTo>
                    <a:pt x="2096131" y="86995"/>
                  </a:lnTo>
                  <a:cubicBezTo>
                    <a:pt x="2096131" y="86995"/>
                    <a:pt x="2096131" y="90170"/>
                    <a:pt x="2096131" y="91440"/>
                  </a:cubicBezTo>
                  <a:cubicBezTo>
                    <a:pt x="2096131" y="92710"/>
                    <a:pt x="2096766" y="93345"/>
                    <a:pt x="2097401" y="94615"/>
                  </a:cubicBezTo>
                  <a:cubicBezTo>
                    <a:pt x="2098036" y="95250"/>
                    <a:pt x="2098671" y="95885"/>
                    <a:pt x="2099941" y="95885"/>
                  </a:cubicBezTo>
                  <a:cubicBezTo>
                    <a:pt x="2101211" y="95885"/>
                    <a:pt x="2102481" y="95885"/>
                    <a:pt x="2103751" y="95885"/>
                  </a:cubicBezTo>
                  <a:cubicBezTo>
                    <a:pt x="2105656" y="95885"/>
                    <a:pt x="2107561" y="95885"/>
                    <a:pt x="2110101" y="95250"/>
                  </a:cubicBezTo>
                  <a:cubicBezTo>
                    <a:pt x="2112006" y="94615"/>
                    <a:pt x="2113911" y="93980"/>
                    <a:pt x="2115181" y="93345"/>
                  </a:cubicBezTo>
                  <a:lnTo>
                    <a:pt x="2113276" y="106680"/>
                  </a:lnTo>
                  <a:cubicBezTo>
                    <a:pt x="2113276" y="106680"/>
                    <a:pt x="2109466" y="108585"/>
                    <a:pt x="2106926" y="109220"/>
                  </a:cubicBezTo>
                  <a:cubicBezTo>
                    <a:pt x="2104386" y="109855"/>
                    <a:pt x="2101846" y="110490"/>
                    <a:pt x="2098671" y="110490"/>
                  </a:cubicBezTo>
                  <a:cubicBezTo>
                    <a:pt x="2096131" y="110490"/>
                    <a:pt x="2093591" y="110490"/>
                    <a:pt x="2091686" y="109220"/>
                  </a:cubicBezTo>
                  <a:cubicBezTo>
                    <a:pt x="2089781" y="108585"/>
                    <a:pt x="2087876" y="107315"/>
                    <a:pt x="2085971" y="105410"/>
                  </a:cubicBezTo>
                  <a:cubicBezTo>
                    <a:pt x="2084066" y="103505"/>
                    <a:pt x="2082796" y="101600"/>
                    <a:pt x="2082161" y="99060"/>
                  </a:cubicBezTo>
                  <a:cubicBezTo>
                    <a:pt x="2081526" y="96520"/>
                    <a:pt x="2080891" y="93345"/>
                    <a:pt x="2080891" y="89535"/>
                  </a:cubicBezTo>
                  <a:lnTo>
                    <a:pt x="2080891" y="44450"/>
                  </a:lnTo>
                  <a:lnTo>
                    <a:pt x="2070096" y="44450"/>
                  </a:lnTo>
                  <a:lnTo>
                    <a:pt x="2070096" y="30480"/>
                  </a:lnTo>
                  <a:lnTo>
                    <a:pt x="2080891" y="30480"/>
                  </a:lnTo>
                  <a:lnTo>
                    <a:pt x="2080891" y="8255"/>
                  </a:lnTo>
                  <a:close/>
                  <a:moveTo>
                    <a:pt x="1931665" y="0"/>
                  </a:moveTo>
                  <a:lnTo>
                    <a:pt x="1931665" y="37465"/>
                  </a:lnTo>
                  <a:cubicBezTo>
                    <a:pt x="1931665" y="37465"/>
                    <a:pt x="1934840" y="34925"/>
                    <a:pt x="1936110" y="33655"/>
                  </a:cubicBezTo>
                  <a:cubicBezTo>
                    <a:pt x="1937380" y="33020"/>
                    <a:pt x="1938650" y="31750"/>
                    <a:pt x="1939920" y="31115"/>
                  </a:cubicBezTo>
                  <a:cubicBezTo>
                    <a:pt x="1941190" y="30480"/>
                    <a:pt x="1943095" y="29845"/>
                    <a:pt x="1945000" y="29210"/>
                  </a:cubicBezTo>
                  <a:cubicBezTo>
                    <a:pt x="1946905" y="29210"/>
                    <a:pt x="1949445" y="28575"/>
                    <a:pt x="1951985" y="28575"/>
                  </a:cubicBezTo>
                  <a:cubicBezTo>
                    <a:pt x="1956430" y="28575"/>
                    <a:pt x="1960240" y="29210"/>
                    <a:pt x="1964050" y="31115"/>
                  </a:cubicBezTo>
                  <a:cubicBezTo>
                    <a:pt x="1967860" y="32385"/>
                    <a:pt x="1971035" y="34925"/>
                    <a:pt x="1973575" y="38735"/>
                  </a:cubicBezTo>
                  <a:cubicBezTo>
                    <a:pt x="1976115" y="41910"/>
                    <a:pt x="1978655" y="46355"/>
                    <a:pt x="1979925" y="51435"/>
                  </a:cubicBezTo>
                  <a:cubicBezTo>
                    <a:pt x="1981195" y="56515"/>
                    <a:pt x="1982465" y="62865"/>
                    <a:pt x="1982465" y="70485"/>
                  </a:cubicBezTo>
                  <a:lnTo>
                    <a:pt x="1981830" y="71120"/>
                  </a:lnTo>
                  <a:cubicBezTo>
                    <a:pt x="1981830" y="77470"/>
                    <a:pt x="1981195" y="83820"/>
                    <a:pt x="1979290" y="88265"/>
                  </a:cubicBezTo>
                  <a:cubicBezTo>
                    <a:pt x="1977385" y="93345"/>
                    <a:pt x="1975480" y="97155"/>
                    <a:pt x="1972305" y="100330"/>
                  </a:cubicBezTo>
                  <a:cubicBezTo>
                    <a:pt x="1969765" y="103505"/>
                    <a:pt x="1965955" y="106045"/>
                    <a:pt x="1962780" y="107315"/>
                  </a:cubicBezTo>
                  <a:cubicBezTo>
                    <a:pt x="1958970" y="109220"/>
                    <a:pt x="1955160" y="109855"/>
                    <a:pt x="1951350" y="109855"/>
                  </a:cubicBezTo>
                  <a:cubicBezTo>
                    <a:pt x="1947540" y="109855"/>
                    <a:pt x="1943730" y="109220"/>
                    <a:pt x="1940555" y="107315"/>
                  </a:cubicBezTo>
                  <a:cubicBezTo>
                    <a:pt x="1936745" y="105410"/>
                    <a:pt x="1934205" y="103505"/>
                    <a:pt x="1931665" y="100965"/>
                  </a:cubicBezTo>
                  <a:lnTo>
                    <a:pt x="1931665" y="107950"/>
                  </a:lnTo>
                  <a:lnTo>
                    <a:pt x="1916425" y="107950"/>
                  </a:lnTo>
                  <a:lnTo>
                    <a:pt x="1916425" y="7620"/>
                  </a:lnTo>
                  <a:close/>
                  <a:moveTo>
                    <a:pt x="1316991" y="0"/>
                  </a:moveTo>
                  <a:lnTo>
                    <a:pt x="1316991" y="30480"/>
                  </a:lnTo>
                  <a:lnTo>
                    <a:pt x="1336041" y="30480"/>
                  </a:lnTo>
                  <a:lnTo>
                    <a:pt x="1336041" y="44450"/>
                  </a:lnTo>
                  <a:lnTo>
                    <a:pt x="1316991" y="44450"/>
                  </a:lnTo>
                  <a:lnTo>
                    <a:pt x="1316991" y="86995"/>
                  </a:lnTo>
                  <a:cubicBezTo>
                    <a:pt x="1316991" y="86995"/>
                    <a:pt x="1316991" y="90170"/>
                    <a:pt x="1316991" y="91440"/>
                  </a:cubicBezTo>
                  <a:cubicBezTo>
                    <a:pt x="1316991" y="92710"/>
                    <a:pt x="1317627" y="93345"/>
                    <a:pt x="1318261" y="94615"/>
                  </a:cubicBezTo>
                  <a:cubicBezTo>
                    <a:pt x="1318896" y="95250"/>
                    <a:pt x="1319531" y="95885"/>
                    <a:pt x="1320801" y="95885"/>
                  </a:cubicBezTo>
                  <a:cubicBezTo>
                    <a:pt x="1322072" y="95885"/>
                    <a:pt x="1323341" y="95885"/>
                    <a:pt x="1324611" y="95885"/>
                  </a:cubicBezTo>
                  <a:cubicBezTo>
                    <a:pt x="1326516" y="95885"/>
                    <a:pt x="1328422" y="95885"/>
                    <a:pt x="1330961" y="95250"/>
                  </a:cubicBezTo>
                  <a:cubicBezTo>
                    <a:pt x="1332867" y="94615"/>
                    <a:pt x="1334772" y="93980"/>
                    <a:pt x="1336041" y="93345"/>
                  </a:cubicBezTo>
                  <a:lnTo>
                    <a:pt x="1334136" y="106680"/>
                  </a:lnTo>
                  <a:cubicBezTo>
                    <a:pt x="1334136" y="106680"/>
                    <a:pt x="1330326" y="108585"/>
                    <a:pt x="1327786" y="109220"/>
                  </a:cubicBezTo>
                  <a:cubicBezTo>
                    <a:pt x="1325246" y="109855"/>
                    <a:pt x="1322706" y="110490"/>
                    <a:pt x="1319531" y="110490"/>
                  </a:cubicBezTo>
                  <a:cubicBezTo>
                    <a:pt x="1316991" y="110490"/>
                    <a:pt x="1314451" y="110490"/>
                    <a:pt x="1312546" y="109220"/>
                  </a:cubicBezTo>
                  <a:cubicBezTo>
                    <a:pt x="1310641" y="108585"/>
                    <a:pt x="1308736" y="107315"/>
                    <a:pt x="1306831" y="105410"/>
                  </a:cubicBezTo>
                  <a:cubicBezTo>
                    <a:pt x="1304926" y="103505"/>
                    <a:pt x="1303656" y="101600"/>
                    <a:pt x="1303021" y="99060"/>
                  </a:cubicBezTo>
                  <a:cubicBezTo>
                    <a:pt x="1302386" y="96520"/>
                    <a:pt x="1301751" y="93345"/>
                    <a:pt x="1301751" y="89535"/>
                  </a:cubicBezTo>
                  <a:lnTo>
                    <a:pt x="1301751" y="44450"/>
                  </a:lnTo>
                  <a:lnTo>
                    <a:pt x="1290956" y="44450"/>
                  </a:lnTo>
                  <a:lnTo>
                    <a:pt x="1290956" y="30480"/>
                  </a:lnTo>
                  <a:lnTo>
                    <a:pt x="1301751" y="30480"/>
                  </a:lnTo>
                  <a:lnTo>
                    <a:pt x="1301751" y="8255"/>
                  </a:lnTo>
                  <a:close/>
                  <a:moveTo>
                    <a:pt x="751206" y="0"/>
                  </a:moveTo>
                  <a:lnTo>
                    <a:pt x="751206" y="30480"/>
                  </a:lnTo>
                  <a:lnTo>
                    <a:pt x="770256" y="30480"/>
                  </a:lnTo>
                  <a:lnTo>
                    <a:pt x="770256" y="44450"/>
                  </a:lnTo>
                  <a:lnTo>
                    <a:pt x="751206" y="44450"/>
                  </a:lnTo>
                  <a:lnTo>
                    <a:pt x="751206" y="86995"/>
                  </a:lnTo>
                  <a:cubicBezTo>
                    <a:pt x="751206" y="86995"/>
                    <a:pt x="751206" y="90170"/>
                    <a:pt x="751206" y="91440"/>
                  </a:cubicBezTo>
                  <a:cubicBezTo>
                    <a:pt x="751206" y="92710"/>
                    <a:pt x="751841" y="93345"/>
                    <a:pt x="752476" y="94615"/>
                  </a:cubicBezTo>
                  <a:cubicBezTo>
                    <a:pt x="753111" y="95250"/>
                    <a:pt x="753746" y="95885"/>
                    <a:pt x="755016" y="95885"/>
                  </a:cubicBezTo>
                  <a:cubicBezTo>
                    <a:pt x="756286" y="95885"/>
                    <a:pt x="757556" y="95885"/>
                    <a:pt x="758826" y="95885"/>
                  </a:cubicBezTo>
                  <a:cubicBezTo>
                    <a:pt x="760731" y="95885"/>
                    <a:pt x="762636" y="95885"/>
                    <a:pt x="765176" y="95250"/>
                  </a:cubicBezTo>
                  <a:cubicBezTo>
                    <a:pt x="767081" y="94615"/>
                    <a:pt x="768986" y="93980"/>
                    <a:pt x="770256" y="93345"/>
                  </a:cubicBezTo>
                  <a:lnTo>
                    <a:pt x="768351" y="106680"/>
                  </a:lnTo>
                  <a:cubicBezTo>
                    <a:pt x="768351" y="106680"/>
                    <a:pt x="764541" y="108585"/>
                    <a:pt x="762001" y="109220"/>
                  </a:cubicBezTo>
                  <a:cubicBezTo>
                    <a:pt x="759461" y="109855"/>
                    <a:pt x="756921" y="110490"/>
                    <a:pt x="753746" y="110490"/>
                  </a:cubicBezTo>
                  <a:cubicBezTo>
                    <a:pt x="751206" y="110490"/>
                    <a:pt x="748666" y="110490"/>
                    <a:pt x="746761" y="109220"/>
                  </a:cubicBezTo>
                  <a:cubicBezTo>
                    <a:pt x="744856" y="108585"/>
                    <a:pt x="742951" y="107315"/>
                    <a:pt x="741045" y="105410"/>
                  </a:cubicBezTo>
                  <a:cubicBezTo>
                    <a:pt x="739141" y="103505"/>
                    <a:pt x="737871" y="101600"/>
                    <a:pt x="737236" y="99060"/>
                  </a:cubicBezTo>
                  <a:cubicBezTo>
                    <a:pt x="736600" y="96520"/>
                    <a:pt x="735966" y="93345"/>
                    <a:pt x="735966" y="89535"/>
                  </a:cubicBezTo>
                  <a:lnTo>
                    <a:pt x="735966" y="44450"/>
                  </a:lnTo>
                  <a:lnTo>
                    <a:pt x="725171" y="44450"/>
                  </a:lnTo>
                  <a:lnTo>
                    <a:pt x="725171" y="30480"/>
                  </a:lnTo>
                  <a:lnTo>
                    <a:pt x="735966" y="30480"/>
                  </a:lnTo>
                  <a:lnTo>
                    <a:pt x="735966" y="8255"/>
                  </a:lnTo>
                  <a:close/>
                  <a:moveTo>
                    <a:pt x="521335" y="0"/>
                  </a:moveTo>
                  <a:lnTo>
                    <a:pt x="521335" y="30480"/>
                  </a:lnTo>
                  <a:lnTo>
                    <a:pt x="540385" y="30480"/>
                  </a:lnTo>
                  <a:lnTo>
                    <a:pt x="540385" y="44450"/>
                  </a:lnTo>
                  <a:lnTo>
                    <a:pt x="521335" y="44450"/>
                  </a:lnTo>
                  <a:lnTo>
                    <a:pt x="521335" y="86995"/>
                  </a:lnTo>
                  <a:cubicBezTo>
                    <a:pt x="521335" y="86995"/>
                    <a:pt x="521335" y="90170"/>
                    <a:pt x="521335" y="91440"/>
                  </a:cubicBezTo>
                  <a:cubicBezTo>
                    <a:pt x="521335" y="92710"/>
                    <a:pt x="521970" y="93345"/>
                    <a:pt x="522605" y="94615"/>
                  </a:cubicBezTo>
                  <a:cubicBezTo>
                    <a:pt x="523240" y="95250"/>
                    <a:pt x="523875" y="95885"/>
                    <a:pt x="525145" y="95885"/>
                  </a:cubicBezTo>
                  <a:cubicBezTo>
                    <a:pt x="526415" y="95885"/>
                    <a:pt x="527685" y="95885"/>
                    <a:pt x="528955" y="95885"/>
                  </a:cubicBezTo>
                  <a:cubicBezTo>
                    <a:pt x="530860" y="95885"/>
                    <a:pt x="532765" y="95885"/>
                    <a:pt x="535305" y="95250"/>
                  </a:cubicBezTo>
                  <a:cubicBezTo>
                    <a:pt x="537210" y="94615"/>
                    <a:pt x="539115" y="93980"/>
                    <a:pt x="540385" y="93345"/>
                  </a:cubicBezTo>
                  <a:lnTo>
                    <a:pt x="538480" y="106680"/>
                  </a:lnTo>
                  <a:cubicBezTo>
                    <a:pt x="538480" y="106680"/>
                    <a:pt x="534670" y="108585"/>
                    <a:pt x="532130" y="109220"/>
                  </a:cubicBezTo>
                  <a:cubicBezTo>
                    <a:pt x="529590" y="109855"/>
                    <a:pt x="527050" y="110490"/>
                    <a:pt x="523875" y="110490"/>
                  </a:cubicBezTo>
                  <a:cubicBezTo>
                    <a:pt x="521335" y="110490"/>
                    <a:pt x="518795" y="110490"/>
                    <a:pt x="516890" y="109220"/>
                  </a:cubicBezTo>
                  <a:cubicBezTo>
                    <a:pt x="514985" y="108585"/>
                    <a:pt x="513080" y="107315"/>
                    <a:pt x="511175" y="105410"/>
                  </a:cubicBezTo>
                  <a:cubicBezTo>
                    <a:pt x="509270" y="103505"/>
                    <a:pt x="508000" y="101600"/>
                    <a:pt x="507365" y="99060"/>
                  </a:cubicBezTo>
                  <a:cubicBezTo>
                    <a:pt x="506730" y="96520"/>
                    <a:pt x="506095" y="93345"/>
                    <a:pt x="506095" y="89535"/>
                  </a:cubicBezTo>
                  <a:lnTo>
                    <a:pt x="506095" y="44450"/>
                  </a:lnTo>
                  <a:lnTo>
                    <a:pt x="495300" y="44450"/>
                  </a:lnTo>
                  <a:lnTo>
                    <a:pt x="495300" y="30480"/>
                  </a:lnTo>
                  <a:lnTo>
                    <a:pt x="506095" y="30480"/>
                  </a:lnTo>
                  <a:lnTo>
                    <a:pt x="506095" y="8255"/>
                  </a:lnTo>
                  <a:close/>
                  <a:moveTo>
                    <a:pt x="466724" y="0"/>
                  </a:moveTo>
                  <a:lnTo>
                    <a:pt x="466724" y="30480"/>
                  </a:lnTo>
                  <a:lnTo>
                    <a:pt x="485774" y="30480"/>
                  </a:lnTo>
                  <a:lnTo>
                    <a:pt x="485774" y="44450"/>
                  </a:lnTo>
                  <a:lnTo>
                    <a:pt x="466724" y="44450"/>
                  </a:lnTo>
                  <a:lnTo>
                    <a:pt x="466724" y="86995"/>
                  </a:lnTo>
                  <a:cubicBezTo>
                    <a:pt x="466724" y="86995"/>
                    <a:pt x="466724" y="90170"/>
                    <a:pt x="466724" y="91440"/>
                  </a:cubicBezTo>
                  <a:cubicBezTo>
                    <a:pt x="466724" y="92710"/>
                    <a:pt x="467359" y="93345"/>
                    <a:pt x="467994" y="94615"/>
                  </a:cubicBezTo>
                  <a:cubicBezTo>
                    <a:pt x="468629" y="95250"/>
                    <a:pt x="469264" y="95885"/>
                    <a:pt x="470534" y="95885"/>
                  </a:cubicBezTo>
                  <a:cubicBezTo>
                    <a:pt x="471804" y="95885"/>
                    <a:pt x="473074" y="95885"/>
                    <a:pt x="474344" y="95885"/>
                  </a:cubicBezTo>
                  <a:cubicBezTo>
                    <a:pt x="476249" y="95885"/>
                    <a:pt x="478154" y="95885"/>
                    <a:pt x="480694" y="95250"/>
                  </a:cubicBezTo>
                  <a:cubicBezTo>
                    <a:pt x="482599" y="94615"/>
                    <a:pt x="484504" y="93980"/>
                    <a:pt x="485774" y="93345"/>
                  </a:cubicBezTo>
                  <a:lnTo>
                    <a:pt x="483869" y="106680"/>
                  </a:lnTo>
                  <a:cubicBezTo>
                    <a:pt x="483869" y="106680"/>
                    <a:pt x="480059" y="108585"/>
                    <a:pt x="477519" y="109220"/>
                  </a:cubicBezTo>
                  <a:cubicBezTo>
                    <a:pt x="474979" y="109855"/>
                    <a:pt x="472439" y="110490"/>
                    <a:pt x="469264" y="110490"/>
                  </a:cubicBezTo>
                  <a:cubicBezTo>
                    <a:pt x="466724" y="110490"/>
                    <a:pt x="464184" y="110490"/>
                    <a:pt x="462279" y="109220"/>
                  </a:cubicBezTo>
                  <a:cubicBezTo>
                    <a:pt x="460374" y="108585"/>
                    <a:pt x="458469" y="107315"/>
                    <a:pt x="456564" y="105410"/>
                  </a:cubicBezTo>
                  <a:cubicBezTo>
                    <a:pt x="454659" y="103505"/>
                    <a:pt x="453389" y="101600"/>
                    <a:pt x="452754" y="99060"/>
                  </a:cubicBezTo>
                  <a:cubicBezTo>
                    <a:pt x="452119" y="96520"/>
                    <a:pt x="451484" y="93345"/>
                    <a:pt x="451484" y="89535"/>
                  </a:cubicBezTo>
                  <a:lnTo>
                    <a:pt x="451484" y="44450"/>
                  </a:lnTo>
                  <a:lnTo>
                    <a:pt x="440689" y="44450"/>
                  </a:lnTo>
                  <a:lnTo>
                    <a:pt x="440689" y="30480"/>
                  </a:lnTo>
                  <a:lnTo>
                    <a:pt x="451484" y="30480"/>
                  </a:lnTo>
                  <a:lnTo>
                    <a:pt x="451484" y="8255"/>
                  </a:lnTo>
                  <a:close/>
                  <a:moveTo>
                    <a:pt x="302259" y="0"/>
                  </a:moveTo>
                  <a:lnTo>
                    <a:pt x="302259" y="37465"/>
                  </a:lnTo>
                  <a:cubicBezTo>
                    <a:pt x="302259" y="37465"/>
                    <a:pt x="305434" y="34925"/>
                    <a:pt x="306704" y="33655"/>
                  </a:cubicBezTo>
                  <a:cubicBezTo>
                    <a:pt x="307974" y="33020"/>
                    <a:pt x="309244" y="31750"/>
                    <a:pt x="310514" y="31115"/>
                  </a:cubicBezTo>
                  <a:cubicBezTo>
                    <a:pt x="311784" y="30480"/>
                    <a:pt x="313689" y="29845"/>
                    <a:pt x="315594" y="29210"/>
                  </a:cubicBezTo>
                  <a:cubicBezTo>
                    <a:pt x="317499" y="29210"/>
                    <a:pt x="320039" y="28575"/>
                    <a:pt x="322579" y="28575"/>
                  </a:cubicBezTo>
                  <a:cubicBezTo>
                    <a:pt x="327024" y="28575"/>
                    <a:pt x="330834" y="29210"/>
                    <a:pt x="334644" y="31115"/>
                  </a:cubicBezTo>
                  <a:cubicBezTo>
                    <a:pt x="338454" y="32385"/>
                    <a:pt x="341629" y="34925"/>
                    <a:pt x="344169" y="38735"/>
                  </a:cubicBezTo>
                  <a:cubicBezTo>
                    <a:pt x="346709" y="41910"/>
                    <a:pt x="349249" y="46355"/>
                    <a:pt x="350519" y="51435"/>
                  </a:cubicBezTo>
                  <a:cubicBezTo>
                    <a:pt x="351789" y="56515"/>
                    <a:pt x="353059" y="62865"/>
                    <a:pt x="353059" y="70485"/>
                  </a:cubicBezTo>
                  <a:lnTo>
                    <a:pt x="352424" y="71120"/>
                  </a:lnTo>
                  <a:cubicBezTo>
                    <a:pt x="352424" y="77470"/>
                    <a:pt x="351789" y="83820"/>
                    <a:pt x="349884" y="88265"/>
                  </a:cubicBezTo>
                  <a:cubicBezTo>
                    <a:pt x="347979" y="93345"/>
                    <a:pt x="346074" y="97155"/>
                    <a:pt x="342899" y="100330"/>
                  </a:cubicBezTo>
                  <a:cubicBezTo>
                    <a:pt x="340359" y="103505"/>
                    <a:pt x="336549" y="106045"/>
                    <a:pt x="333374" y="107315"/>
                  </a:cubicBezTo>
                  <a:cubicBezTo>
                    <a:pt x="329564" y="109220"/>
                    <a:pt x="325754" y="109855"/>
                    <a:pt x="321944" y="109855"/>
                  </a:cubicBezTo>
                  <a:cubicBezTo>
                    <a:pt x="318134" y="109855"/>
                    <a:pt x="314324" y="109220"/>
                    <a:pt x="311149" y="107315"/>
                  </a:cubicBezTo>
                  <a:cubicBezTo>
                    <a:pt x="307339" y="105410"/>
                    <a:pt x="304799" y="103505"/>
                    <a:pt x="302259" y="100965"/>
                  </a:cubicBezTo>
                  <a:lnTo>
                    <a:pt x="302259" y="107950"/>
                  </a:lnTo>
                  <a:lnTo>
                    <a:pt x="287019" y="107950"/>
                  </a:lnTo>
                  <a:lnTo>
                    <a:pt x="287019" y="7620"/>
                  </a:lnTo>
                  <a:close/>
                </a:path>
              </a:pathLst>
            </a:custGeom>
            <a:solidFill>
              <a:srgbClr val="FFFFFF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767D4D9-A47B-4020-6B9B-87B081166C85}"/>
              </a:ext>
            </a:extLst>
          </p:cNvPr>
          <p:cNvGrpSpPr/>
          <p:nvPr userDrawn="1"/>
        </p:nvGrpSpPr>
        <p:grpSpPr>
          <a:xfrm>
            <a:off x="485774" y="1291008"/>
            <a:ext cx="5706110" cy="4360545"/>
            <a:chOff x="485774" y="1291008"/>
            <a:chExt cx="5706110" cy="4360545"/>
          </a:xfrm>
        </p:grpSpPr>
        <p:sp>
          <p:nvSpPr>
            <p:cNvPr id="299" name="Freeform 298">
              <a:extLst>
                <a:ext uri="{FF2B5EF4-FFF2-40B4-BE49-F238E27FC236}">
                  <a16:creationId xmlns:a16="http://schemas.microsoft.com/office/drawing/2014/main" id="{70589FC3-4491-BD75-2C16-660DF0B71BBC}"/>
                </a:ext>
              </a:extLst>
            </p:cNvPr>
            <p:cNvSpPr/>
            <p:nvPr/>
          </p:nvSpPr>
          <p:spPr>
            <a:xfrm>
              <a:off x="485774" y="5549953"/>
              <a:ext cx="508000" cy="101600"/>
            </a:xfrm>
            <a:custGeom>
              <a:avLst/>
              <a:gdLst>
                <a:gd name="connsiteX0" fmla="*/ 406400 w 508000"/>
                <a:gd name="connsiteY0" fmla="*/ 0 h 101600"/>
                <a:gd name="connsiteX1" fmla="*/ 508000 w 508000"/>
                <a:gd name="connsiteY1" fmla="*/ 0 h 101600"/>
                <a:gd name="connsiteX2" fmla="*/ 508000 w 508000"/>
                <a:gd name="connsiteY2" fmla="*/ 101600 h 101600"/>
                <a:gd name="connsiteX3" fmla="*/ 406400 w 508000"/>
                <a:gd name="connsiteY3" fmla="*/ 101600 h 101600"/>
                <a:gd name="connsiteX4" fmla="*/ 203200 w 508000"/>
                <a:gd name="connsiteY4" fmla="*/ 0 h 101600"/>
                <a:gd name="connsiteX5" fmla="*/ 304800 w 508000"/>
                <a:gd name="connsiteY5" fmla="*/ 0 h 101600"/>
                <a:gd name="connsiteX6" fmla="*/ 304800 w 508000"/>
                <a:gd name="connsiteY6" fmla="*/ 101600 h 101600"/>
                <a:gd name="connsiteX7" fmla="*/ 203200 w 508000"/>
                <a:gd name="connsiteY7" fmla="*/ 101600 h 101600"/>
                <a:gd name="connsiteX8" fmla="*/ 0 w 508000"/>
                <a:gd name="connsiteY8" fmla="*/ 0 h 101600"/>
                <a:gd name="connsiteX9" fmla="*/ 101600 w 508000"/>
                <a:gd name="connsiteY9" fmla="*/ 0 h 101600"/>
                <a:gd name="connsiteX10" fmla="*/ 101600 w 508000"/>
                <a:gd name="connsiteY10" fmla="*/ 101600 h 101600"/>
                <a:gd name="connsiteX11" fmla="*/ 0 w 508000"/>
                <a:gd name="connsiteY11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8000" h="101600">
                  <a:moveTo>
                    <a:pt x="406400" y="0"/>
                  </a:moveTo>
                  <a:lnTo>
                    <a:pt x="508000" y="0"/>
                  </a:lnTo>
                  <a:lnTo>
                    <a:pt x="508000" y="101600"/>
                  </a:lnTo>
                  <a:lnTo>
                    <a:pt x="406400" y="101600"/>
                  </a:lnTo>
                  <a:close/>
                  <a:moveTo>
                    <a:pt x="203200" y="0"/>
                  </a:moveTo>
                  <a:lnTo>
                    <a:pt x="304800" y="0"/>
                  </a:lnTo>
                  <a:lnTo>
                    <a:pt x="304800" y="101600"/>
                  </a:lnTo>
                  <a:lnTo>
                    <a:pt x="203200" y="101600"/>
                  </a:lnTo>
                  <a:close/>
                  <a:moveTo>
                    <a:pt x="0" y="0"/>
                  </a:moveTo>
                  <a:lnTo>
                    <a:pt x="101600" y="0"/>
                  </a:lnTo>
                  <a:lnTo>
                    <a:pt x="101600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2"/>
            </a:solidFill>
            <a:ln w="635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3" name="Freeform 292">
              <a:extLst>
                <a:ext uri="{FF2B5EF4-FFF2-40B4-BE49-F238E27FC236}">
                  <a16:creationId xmlns:a16="http://schemas.microsoft.com/office/drawing/2014/main" id="{B00DB918-F11D-F855-5478-ECB25A1AC3D1}"/>
                </a:ext>
              </a:extLst>
            </p:cNvPr>
            <p:cNvSpPr/>
            <p:nvPr/>
          </p:nvSpPr>
          <p:spPr>
            <a:xfrm>
              <a:off x="485775" y="1291008"/>
              <a:ext cx="5706109" cy="4359275"/>
            </a:xfrm>
            <a:custGeom>
              <a:avLst/>
              <a:gdLst>
                <a:gd name="connsiteX0" fmla="*/ 0 w 5706109"/>
                <a:gd name="connsiteY0" fmla="*/ 4157346 h 4359275"/>
                <a:gd name="connsiteX1" fmla="*/ 101600 w 5706109"/>
                <a:gd name="connsiteY1" fmla="*/ 4157346 h 4359275"/>
                <a:gd name="connsiteX2" fmla="*/ 101600 w 5706109"/>
                <a:gd name="connsiteY2" fmla="*/ 1075055 h 4359275"/>
                <a:gd name="connsiteX3" fmla="*/ 101600 w 5706109"/>
                <a:gd name="connsiteY3" fmla="*/ 1075055 h 4359275"/>
                <a:gd name="connsiteX4" fmla="*/ 191770 w 5706109"/>
                <a:gd name="connsiteY4" fmla="*/ 1059180 h 4359275"/>
                <a:gd name="connsiteX5" fmla="*/ 861060 w 5706109"/>
                <a:gd name="connsiteY5" fmla="*/ 942975 h 4359275"/>
                <a:gd name="connsiteX6" fmla="*/ 1195705 w 5706109"/>
                <a:gd name="connsiteY6" fmla="*/ 885190 h 4359275"/>
                <a:gd name="connsiteX7" fmla="*/ 1362710 w 5706109"/>
                <a:gd name="connsiteY7" fmla="*/ 855980 h 4359275"/>
                <a:gd name="connsiteX8" fmla="*/ 1529715 w 5706109"/>
                <a:gd name="connsiteY8" fmla="*/ 826770 h 4359275"/>
                <a:gd name="connsiteX9" fmla="*/ 1864360 w 5706109"/>
                <a:gd name="connsiteY9" fmla="*/ 768985 h 4359275"/>
                <a:gd name="connsiteX10" fmla="*/ 2031365 w 5706109"/>
                <a:gd name="connsiteY10" fmla="*/ 739775 h 4359275"/>
                <a:gd name="connsiteX11" fmla="*/ 2198370 w 5706109"/>
                <a:gd name="connsiteY11" fmla="*/ 710565 h 4359275"/>
                <a:gd name="connsiteX12" fmla="*/ 2365375 w 5706109"/>
                <a:gd name="connsiteY12" fmla="*/ 681355 h 4359275"/>
                <a:gd name="connsiteX13" fmla="*/ 2532380 w 5706109"/>
                <a:gd name="connsiteY13" fmla="*/ 652145 h 4359275"/>
                <a:gd name="connsiteX14" fmla="*/ 2699385 w 5706109"/>
                <a:gd name="connsiteY14" fmla="*/ 622935 h 4359275"/>
                <a:gd name="connsiteX15" fmla="*/ 2866390 w 5706109"/>
                <a:gd name="connsiteY15" fmla="*/ 593725 h 4359275"/>
                <a:gd name="connsiteX16" fmla="*/ 5461000 w 5706109"/>
                <a:gd name="connsiteY16" fmla="*/ 144145 h 4359275"/>
                <a:gd name="connsiteX17" fmla="*/ 5602605 w 5706109"/>
                <a:gd name="connsiteY17" fmla="*/ 119380 h 4359275"/>
                <a:gd name="connsiteX18" fmla="*/ 5602605 w 5706109"/>
                <a:gd name="connsiteY18" fmla="*/ 119380 h 4359275"/>
                <a:gd name="connsiteX19" fmla="*/ 5602605 w 5706109"/>
                <a:gd name="connsiteY19" fmla="*/ 4257676 h 4359275"/>
                <a:gd name="connsiteX20" fmla="*/ 609600 w 5706109"/>
                <a:gd name="connsiteY20" fmla="*/ 4257676 h 4359275"/>
                <a:gd name="connsiteX21" fmla="*/ 609600 w 5706109"/>
                <a:gd name="connsiteY21" fmla="*/ 4359276 h 4359275"/>
                <a:gd name="connsiteX22" fmla="*/ 5706110 w 5706109"/>
                <a:gd name="connsiteY22" fmla="*/ 4359276 h 4359275"/>
                <a:gd name="connsiteX23" fmla="*/ 5706110 w 5706109"/>
                <a:gd name="connsiteY23" fmla="*/ 0 h 4359275"/>
                <a:gd name="connsiteX24" fmla="*/ 5704840 w 5706109"/>
                <a:gd name="connsiteY24" fmla="*/ 0 h 4359275"/>
                <a:gd name="connsiteX25" fmla="*/ 5445760 w 5706109"/>
                <a:gd name="connsiteY25" fmla="*/ 45085 h 4359275"/>
                <a:gd name="connsiteX26" fmla="*/ 2851150 w 5706109"/>
                <a:gd name="connsiteY26" fmla="*/ 494665 h 4359275"/>
                <a:gd name="connsiteX27" fmla="*/ 2684145 w 5706109"/>
                <a:gd name="connsiteY27" fmla="*/ 523875 h 4359275"/>
                <a:gd name="connsiteX28" fmla="*/ 2517140 w 5706109"/>
                <a:gd name="connsiteY28" fmla="*/ 553085 h 4359275"/>
                <a:gd name="connsiteX29" fmla="*/ 2350135 w 5706109"/>
                <a:gd name="connsiteY29" fmla="*/ 582295 h 4359275"/>
                <a:gd name="connsiteX30" fmla="*/ 2183130 w 5706109"/>
                <a:gd name="connsiteY30" fmla="*/ 611505 h 4359275"/>
                <a:gd name="connsiteX31" fmla="*/ 2016125 w 5706109"/>
                <a:gd name="connsiteY31" fmla="*/ 640715 h 4359275"/>
                <a:gd name="connsiteX32" fmla="*/ 1849120 w 5706109"/>
                <a:gd name="connsiteY32" fmla="*/ 669925 h 4359275"/>
                <a:gd name="connsiteX33" fmla="*/ 1514475 w 5706109"/>
                <a:gd name="connsiteY33" fmla="*/ 727710 h 4359275"/>
                <a:gd name="connsiteX34" fmla="*/ 1347470 w 5706109"/>
                <a:gd name="connsiteY34" fmla="*/ 756920 h 4359275"/>
                <a:gd name="connsiteX35" fmla="*/ 1180465 w 5706109"/>
                <a:gd name="connsiteY35" fmla="*/ 786130 h 4359275"/>
                <a:gd name="connsiteX36" fmla="*/ 845820 w 5706109"/>
                <a:gd name="connsiteY36" fmla="*/ 843915 h 4359275"/>
                <a:gd name="connsiteX37" fmla="*/ 176530 w 5706109"/>
                <a:gd name="connsiteY37" fmla="*/ 960120 h 4359275"/>
                <a:gd name="connsiteX38" fmla="*/ 3175 w 5706109"/>
                <a:gd name="connsiteY38" fmla="*/ 989965 h 4359275"/>
                <a:gd name="connsiteX39" fmla="*/ 1905 w 5706109"/>
                <a:gd name="connsiteY39" fmla="*/ 989965 h 4359275"/>
                <a:gd name="connsiteX40" fmla="*/ 1905 w 5706109"/>
                <a:gd name="connsiteY40" fmla="*/ 4158616 h 4359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5706109" h="4359275">
                  <a:moveTo>
                    <a:pt x="0" y="4157346"/>
                  </a:moveTo>
                  <a:lnTo>
                    <a:pt x="101600" y="4157346"/>
                  </a:lnTo>
                  <a:lnTo>
                    <a:pt x="101600" y="1075055"/>
                  </a:lnTo>
                  <a:lnTo>
                    <a:pt x="101600" y="1075055"/>
                  </a:lnTo>
                  <a:lnTo>
                    <a:pt x="191770" y="1059180"/>
                  </a:lnTo>
                  <a:lnTo>
                    <a:pt x="861060" y="942975"/>
                  </a:lnTo>
                  <a:lnTo>
                    <a:pt x="1195705" y="885190"/>
                  </a:lnTo>
                  <a:lnTo>
                    <a:pt x="1362710" y="855980"/>
                  </a:lnTo>
                  <a:lnTo>
                    <a:pt x="1529715" y="826770"/>
                  </a:lnTo>
                  <a:lnTo>
                    <a:pt x="1864360" y="768985"/>
                  </a:lnTo>
                  <a:lnTo>
                    <a:pt x="2031365" y="739775"/>
                  </a:lnTo>
                  <a:lnTo>
                    <a:pt x="2198370" y="710565"/>
                  </a:lnTo>
                  <a:lnTo>
                    <a:pt x="2365375" y="681355"/>
                  </a:lnTo>
                  <a:lnTo>
                    <a:pt x="2532380" y="652145"/>
                  </a:lnTo>
                  <a:lnTo>
                    <a:pt x="2699385" y="622935"/>
                  </a:lnTo>
                  <a:lnTo>
                    <a:pt x="2866390" y="593725"/>
                  </a:lnTo>
                  <a:cubicBezTo>
                    <a:pt x="3731260" y="443865"/>
                    <a:pt x="4596130" y="294005"/>
                    <a:pt x="5461000" y="144145"/>
                  </a:cubicBezTo>
                  <a:lnTo>
                    <a:pt x="5602605" y="119380"/>
                  </a:lnTo>
                  <a:lnTo>
                    <a:pt x="5602605" y="119380"/>
                  </a:lnTo>
                  <a:lnTo>
                    <a:pt x="5602605" y="4257676"/>
                  </a:lnTo>
                  <a:lnTo>
                    <a:pt x="609600" y="4257676"/>
                  </a:lnTo>
                  <a:lnTo>
                    <a:pt x="609600" y="4359276"/>
                  </a:lnTo>
                  <a:lnTo>
                    <a:pt x="5706110" y="4359276"/>
                  </a:lnTo>
                  <a:lnTo>
                    <a:pt x="5706110" y="0"/>
                  </a:lnTo>
                  <a:lnTo>
                    <a:pt x="5704840" y="0"/>
                  </a:lnTo>
                  <a:cubicBezTo>
                    <a:pt x="5618480" y="15240"/>
                    <a:pt x="5532120" y="30480"/>
                    <a:pt x="5445760" y="45085"/>
                  </a:cubicBezTo>
                  <a:cubicBezTo>
                    <a:pt x="4580890" y="194945"/>
                    <a:pt x="3716020" y="344805"/>
                    <a:pt x="2851150" y="494665"/>
                  </a:cubicBezTo>
                  <a:lnTo>
                    <a:pt x="2684145" y="523875"/>
                  </a:lnTo>
                  <a:lnTo>
                    <a:pt x="2517140" y="553085"/>
                  </a:lnTo>
                  <a:lnTo>
                    <a:pt x="2350135" y="582295"/>
                  </a:lnTo>
                  <a:lnTo>
                    <a:pt x="2183130" y="611505"/>
                  </a:lnTo>
                  <a:lnTo>
                    <a:pt x="2016125" y="640715"/>
                  </a:lnTo>
                  <a:lnTo>
                    <a:pt x="1849120" y="669925"/>
                  </a:lnTo>
                  <a:lnTo>
                    <a:pt x="1514475" y="727710"/>
                  </a:lnTo>
                  <a:lnTo>
                    <a:pt x="1347470" y="756920"/>
                  </a:lnTo>
                  <a:lnTo>
                    <a:pt x="1180465" y="786130"/>
                  </a:lnTo>
                  <a:lnTo>
                    <a:pt x="845820" y="843915"/>
                  </a:lnTo>
                  <a:lnTo>
                    <a:pt x="176530" y="960120"/>
                  </a:lnTo>
                  <a:lnTo>
                    <a:pt x="3175" y="989965"/>
                  </a:lnTo>
                  <a:lnTo>
                    <a:pt x="1905" y="989965"/>
                  </a:lnTo>
                  <a:lnTo>
                    <a:pt x="1905" y="4158616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FFE600"/>
                </a:gs>
                <a:gs pos="66000">
                  <a:srgbClr val="FF32FF"/>
                </a:gs>
                <a:gs pos="100000">
                  <a:srgbClr val="32FFFF"/>
                </a:gs>
              </a:gsLst>
              <a:lin ang="18600000" scaled="0"/>
              <a:tileRect/>
            </a:gradFill>
            <a:ln w="818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 dirty="0"/>
            </a:p>
          </p:txBody>
        </p:sp>
      </p:grpSp>
      <p:sp>
        <p:nvSpPr>
          <p:cNvPr id="274" name="Subtitle 2">
            <a:extLst>
              <a:ext uri="{FF2B5EF4-FFF2-40B4-BE49-F238E27FC236}">
                <a16:creationId xmlns:a16="http://schemas.microsoft.com/office/drawing/2014/main" id="{74103396-CF0A-A808-BF1B-463C3EF737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9762" y="4436485"/>
            <a:ext cx="4907628" cy="51193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>
                <a:latin typeface="EYInterstate" panose="0200050302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75" name="Title 4">
            <a:extLst>
              <a:ext uri="{FF2B5EF4-FFF2-40B4-BE49-F238E27FC236}">
                <a16:creationId xmlns:a16="http://schemas.microsoft.com/office/drawing/2014/main" id="{B57CD4DB-AED0-4F7E-41BA-02CA96598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762" y="2698751"/>
            <a:ext cx="4906009" cy="1654043"/>
          </a:xfrm>
        </p:spPr>
        <p:txBody>
          <a:bodyPr anchor="t">
            <a:noAutofit/>
          </a:bodyPr>
          <a:lstStyle>
            <a:lvl1pPr>
              <a:defRPr sz="4200" b="1" i="0">
                <a:solidFill>
                  <a:schemeClr val="bg1"/>
                </a:solidFill>
                <a:latin typeface="EYInterstate" panose="02000503020000020004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89" name="Text Placeholder 288">
            <a:extLst>
              <a:ext uri="{FF2B5EF4-FFF2-40B4-BE49-F238E27FC236}">
                <a16:creationId xmlns:a16="http://schemas.microsoft.com/office/drawing/2014/main" id="{31D45A6D-135C-8C27-4F13-A3BC79AB3E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89762" y="5047485"/>
            <a:ext cx="4906010" cy="246221"/>
          </a:xfrm>
        </p:spPr>
        <p:txBody>
          <a:bodyPr wrap="square">
            <a:spAutoFit/>
          </a:bodyPr>
          <a:lstStyle>
            <a:lvl1pPr marL="0" indent="0">
              <a:buNone/>
              <a:defRPr sz="1600" b="1">
                <a:latin typeface="EYInterstate" panose="02000503020000020004" pitchFamily="2" charset="0"/>
              </a:defRPr>
            </a:lvl1pPr>
            <a:lvl2pPr marL="252000" indent="0">
              <a:buNone/>
              <a:defRPr sz="1600" b="1">
                <a:latin typeface="+mj-lt"/>
              </a:defRPr>
            </a:lvl2pPr>
            <a:lvl3pPr marL="504000" indent="0">
              <a:buNone/>
              <a:defRPr sz="1600" b="1">
                <a:latin typeface="+mj-lt"/>
              </a:defRPr>
            </a:lvl3pPr>
            <a:lvl4pPr marL="756000" indent="0">
              <a:buNone/>
              <a:defRPr sz="1600" b="1">
                <a:latin typeface="+mj-lt"/>
              </a:defRPr>
            </a:lvl4pPr>
            <a:lvl5pPr marL="1008000" indent="0">
              <a:buNone/>
              <a:defRPr sz="1600" b="1">
                <a:latin typeface="+mj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FA35A17-6E72-5D10-337D-87AD82CF516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62024" y="5167683"/>
            <a:ext cx="1220400" cy="1285398"/>
            <a:chOff x="3913438" y="-99392"/>
            <a:chExt cx="6512821" cy="6859693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D8B71BF-2CD6-B365-4402-A8FF831788C7}"/>
                </a:ext>
              </a:extLst>
            </p:cNvPr>
            <p:cNvSpPr/>
            <p:nvPr/>
          </p:nvSpPr>
          <p:spPr>
            <a:xfrm>
              <a:off x="5319751" y="-99392"/>
              <a:ext cx="4303606" cy="1570696"/>
            </a:xfrm>
            <a:custGeom>
              <a:avLst/>
              <a:gdLst>
                <a:gd name="connsiteX0" fmla="*/ 4303607 w 4303606"/>
                <a:gd name="connsiteY0" fmla="*/ 0 h 1570696"/>
                <a:gd name="connsiteX1" fmla="*/ 0 w 4303606"/>
                <a:gd name="connsiteY1" fmla="*/ 1570697 h 1570696"/>
                <a:gd name="connsiteX2" fmla="*/ 4303607 w 4303606"/>
                <a:gd name="connsiteY2" fmla="*/ 810521 h 1570696"/>
                <a:gd name="connsiteX3" fmla="*/ 4303607 w 4303606"/>
                <a:gd name="connsiteY3" fmla="*/ 0 h 157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3606" h="1570696">
                  <a:moveTo>
                    <a:pt x="4303607" y="0"/>
                  </a:moveTo>
                  <a:lnTo>
                    <a:pt x="0" y="1570697"/>
                  </a:lnTo>
                  <a:lnTo>
                    <a:pt x="4303607" y="810521"/>
                  </a:lnTo>
                  <a:lnTo>
                    <a:pt x="4303607" y="0"/>
                  </a:lnTo>
                  <a:close/>
                </a:path>
              </a:pathLst>
            </a:custGeom>
            <a:solidFill>
              <a:srgbClr val="FFE600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A718681-C140-C687-56FE-5B74AAC28F64}"/>
                </a:ext>
              </a:extLst>
            </p:cNvPr>
            <p:cNvSpPr/>
            <p:nvPr/>
          </p:nvSpPr>
          <p:spPr>
            <a:xfrm>
              <a:off x="5357395" y="2124345"/>
              <a:ext cx="3613052" cy="2176910"/>
            </a:xfrm>
            <a:custGeom>
              <a:avLst/>
              <a:gdLst>
                <a:gd name="connsiteX0" fmla="*/ 652845 w 3613052"/>
                <a:gd name="connsiteY0" fmla="*/ 1676205 h 2176910"/>
                <a:gd name="connsiteX1" fmla="*/ 1741463 w 3613052"/>
                <a:gd name="connsiteY1" fmla="*/ 1676205 h 2176910"/>
                <a:gd name="connsiteX2" fmla="*/ 1741463 w 3613052"/>
                <a:gd name="connsiteY2" fmla="*/ 2176910 h 2176910"/>
                <a:gd name="connsiteX3" fmla="*/ 0 w 3613052"/>
                <a:gd name="connsiteY3" fmla="*/ 2176910 h 2176910"/>
                <a:gd name="connsiteX4" fmla="*/ 0 w 3613052"/>
                <a:gd name="connsiteY4" fmla="*/ 0 h 2176910"/>
                <a:gd name="connsiteX5" fmla="*/ 1234766 w 3613052"/>
                <a:gd name="connsiteY5" fmla="*/ 0 h 2176910"/>
                <a:gd name="connsiteX6" fmla="*/ 1523675 w 3613052"/>
                <a:gd name="connsiteY6" fmla="*/ 500706 h 2176910"/>
                <a:gd name="connsiteX7" fmla="*/ 652910 w 3613052"/>
                <a:gd name="connsiteY7" fmla="*/ 500706 h 2176910"/>
                <a:gd name="connsiteX8" fmla="*/ 652910 w 3613052"/>
                <a:gd name="connsiteY8" fmla="*/ 859953 h 2176910"/>
                <a:gd name="connsiteX9" fmla="*/ 1440050 w 3613052"/>
                <a:gd name="connsiteY9" fmla="*/ 859953 h 2176910"/>
                <a:gd name="connsiteX10" fmla="*/ 1440050 w 3613052"/>
                <a:gd name="connsiteY10" fmla="*/ 1317022 h 2176910"/>
                <a:gd name="connsiteX11" fmla="*/ 652910 w 3613052"/>
                <a:gd name="connsiteY11" fmla="*/ 1317022 h 2176910"/>
                <a:gd name="connsiteX12" fmla="*/ 652910 w 3613052"/>
                <a:gd name="connsiteY12" fmla="*/ 1676205 h 2176910"/>
                <a:gd name="connsiteX13" fmla="*/ 2900485 w 3613052"/>
                <a:gd name="connsiteY13" fmla="*/ 0 h 2176910"/>
                <a:gd name="connsiteX14" fmla="*/ 2530687 w 3613052"/>
                <a:gd name="connsiteY14" fmla="*/ 710418 h 2176910"/>
                <a:gd name="connsiteX15" fmla="*/ 2161801 w 3613052"/>
                <a:gd name="connsiteY15" fmla="*/ 0 h 2176910"/>
                <a:gd name="connsiteX16" fmla="*/ 1439985 w 3613052"/>
                <a:gd name="connsiteY16" fmla="*/ 0 h 2176910"/>
                <a:gd name="connsiteX17" fmla="*/ 2200552 w 3613052"/>
                <a:gd name="connsiteY17" fmla="*/ 1317022 h 2176910"/>
                <a:gd name="connsiteX18" fmla="*/ 2200552 w 3613052"/>
                <a:gd name="connsiteY18" fmla="*/ 2176910 h 2176910"/>
                <a:gd name="connsiteX19" fmla="*/ 2851443 w 3613052"/>
                <a:gd name="connsiteY19" fmla="*/ 2176910 h 2176910"/>
                <a:gd name="connsiteX20" fmla="*/ 2851443 w 3613052"/>
                <a:gd name="connsiteY20" fmla="*/ 1317022 h 2176910"/>
                <a:gd name="connsiteX21" fmla="*/ 3613053 w 3613052"/>
                <a:gd name="connsiteY21" fmla="*/ 0 h 2176910"/>
                <a:gd name="connsiteX22" fmla="*/ 2900485 w 3613052"/>
                <a:gd name="connsiteY22" fmla="*/ 0 h 217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613052" h="2176910">
                  <a:moveTo>
                    <a:pt x="652845" y="1676205"/>
                  </a:moveTo>
                  <a:lnTo>
                    <a:pt x="1741463" y="1676205"/>
                  </a:lnTo>
                  <a:lnTo>
                    <a:pt x="1741463" y="2176910"/>
                  </a:lnTo>
                  <a:lnTo>
                    <a:pt x="0" y="2176910"/>
                  </a:lnTo>
                  <a:lnTo>
                    <a:pt x="0" y="0"/>
                  </a:lnTo>
                  <a:lnTo>
                    <a:pt x="1234766" y="0"/>
                  </a:lnTo>
                  <a:lnTo>
                    <a:pt x="1523675" y="500706"/>
                  </a:lnTo>
                  <a:lnTo>
                    <a:pt x="652910" y="500706"/>
                  </a:lnTo>
                  <a:lnTo>
                    <a:pt x="652910" y="859953"/>
                  </a:lnTo>
                  <a:lnTo>
                    <a:pt x="1440050" y="859953"/>
                  </a:lnTo>
                  <a:lnTo>
                    <a:pt x="1440050" y="1317022"/>
                  </a:lnTo>
                  <a:lnTo>
                    <a:pt x="652910" y="1317022"/>
                  </a:lnTo>
                  <a:lnTo>
                    <a:pt x="652910" y="1676205"/>
                  </a:lnTo>
                  <a:close/>
                  <a:moveTo>
                    <a:pt x="2900485" y="0"/>
                  </a:moveTo>
                  <a:lnTo>
                    <a:pt x="2530687" y="710418"/>
                  </a:lnTo>
                  <a:lnTo>
                    <a:pt x="2161801" y="0"/>
                  </a:lnTo>
                  <a:lnTo>
                    <a:pt x="1439985" y="0"/>
                  </a:lnTo>
                  <a:lnTo>
                    <a:pt x="2200552" y="1317022"/>
                  </a:lnTo>
                  <a:lnTo>
                    <a:pt x="2200552" y="2176910"/>
                  </a:lnTo>
                  <a:lnTo>
                    <a:pt x="2851443" y="2176910"/>
                  </a:lnTo>
                  <a:lnTo>
                    <a:pt x="2851443" y="1317022"/>
                  </a:lnTo>
                  <a:lnTo>
                    <a:pt x="3613053" y="0"/>
                  </a:lnTo>
                  <a:lnTo>
                    <a:pt x="2900485" y="0"/>
                  </a:ln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5F880BD-E431-2A19-D56A-8B37360C1C20}"/>
                </a:ext>
              </a:extLst>
            </p:cNvPr>
            <p:cNvSpPr/>
            <p:nvPr/>
          </p:nvSpPr>
          <p:spPr>
            <a:xfrm>
              <a:off x="3913438" y="5111711"/>
              <a:ext cx="6512821" cy="1648590"/>
            </a:xfrm>
            <a:custGeom>
              <a:avLst/>
              <a:gdLst>
                <a:gd name="connsiteX0" fmla="*/ 5071143 w 6512821"/>
                <a:gd name="connsiteY0" fmla="*/ 1396740 h 1648590"/>
                <a:gd name="connsiteX1" fmla="*/ 5069124 w 6512821"/>
                <a:gd name="connsiteY1" fmla="*/ 1438552 h 1648590"/>
                <a:gd name="connsiteX2" fmla="*/ 4777545 w 6512821"/>
                <a:gd name="connsiteY2" fmla="*/ 1438552 h 1648590"/>
                <a:gd name="connsiteX3" fmla="*/ 4880513 w 6512821"/>
                <a:gd name="connsiteY3" fmla="*/ 1533378 h 1648590"/>
                <a:gd name="connsiteX4" fmla="*/ 4964137 w 6512821"/>
                <a:gd name="connsiteY4" fmla="*/ 1499707 h 1648590"/>
                <a:gd name="connsiteX5" fmla="*/ 5049781 w 6512821"/>
                <a:gd name="connsiteY5" fmla="*/ 1572065 h 1648590"/>
                <a:gd name="connsiteX6" fmla="*/ 4875433 w 6512821"/>
                <a:gd name="connsiteY6" fmla="*/ 1648525 h 1648590"/>
                <a:gd name="connsiteX7" fmla="*/ 4654192 w 6512821"/>
                <a:gd name="connsiteY7" fmla="*/ 1398759 h 1648590"/>
                <a:gd name="connsiteX8" fmla="*/ 4867292 w 6512821"/>
                <a:gd name="connsiteY8" fmla="*/ 1146908 h 1648590"/>
                <a:gd name="connsiteX9" fmla="*/ 5071208 w 6512821"/>
                <a:gd name="connsiteY9" fmla="*/ 1396675 h 1648590"/>
                <a:gd name="connsiteX10" fmla="*/ 4779564 w 6512821"/>
                <a:gd name="connsiteY10" fmla="*/ 1344767 h 1648590"/>
                <a:gd name="connsiteX11" fmla="*/ 4950851 w 6512821"/>
                <a:gd name="connsiteY11" fmla="*/ 1344767 h 1648590"/>
                <a:gd name="connsiteX12" fmla="*/ 4863189 w 6512821"/>
                <a:gd name="connsiteY12" fmla="*/ 1254044 h 1648590"/>
                <a:gd name="connsiteX13" fmla="*/ 4779564 w 6512821"/>
                <a:gd name="connsiteY13" fmla="*/ 1344767 h 1648590"/>
                <a:gd name="connsiteX14" fmla="*/ 6512756 w 6512821"/>
                <a:gd name="connsiteY14" fmla="*/ 1396740 h 1648590"/>
                <a:gd name="connsiteX15" fmla="*/ 6510737 w 6512821"/>
                <a:gd name="connsiteY15" fmla="*/ 1438552 h 1648590"/>
                <a:gd name="connsiteX16" fmla="*/ 6219158 w 6512821"/>
                <a:gd name="connsiteY16" fmla="*/ 1438552 h 1648590"/>
                <a:gd name="connsiteX17" fmla="*/ 6322126 w 6512821"/>
                <a:gd name="connsiteY17" fmla="*/ 1533378 h 1648590"/>
                <a:gd name="connsiteX18" fmla="*/ 6405751 w 6512821"/>
                <a:gd name="connsiteY18" fmla="*/ 1499707 h 1648590"/>
                <a:gd name="connsiteX19" fmla="*/ 6491394 w 6512821"/>
                <a:gd name="connsiteY19" fmla="*/ 1572065 h 1648590"/>
                <a:gd name="connsiteX20" fmla="*/ 6317046 w 6512821"/>
                <a:gd name="connsiteY20" fmla="*/ 1648525 h 1648590"/>
                <a:gd name="connsiteX21" fmla="*/ 6095805 w 6512821"/>
                <a:gd name="connsiteY21" fmla="*/ 1398759 h 1648590"/>
                <a:gd name="connsiteX22" fmla="*/ 6308905 w 6512821"/>
                <a:gd name="connsiteY22" fmla="*/ 1146908 h 1648590"/>
                <a:gd name="connsiteX23" fmla="*/ 6512821 w 6512821"/>
                <a:gd name="connsiteY23" fmla="*/ 1396675 h 1648590"/>
                <a:gd name="connsiteX24" fmla="*/ 6221177 w 6512821"/>
                <a:gd name="connsiteY24" fmla="*/ 1344767 h 1648590"/>
                <a:gd name="connsiteX25" fmla="*/ 6392465 w 6512821"/>
                <a:gd name="connsiteY25" fmla="*/ 1344767 h 1648590"/>
                <a:gd name="connsiteX26" fmla="*/ 6304802 w 6512821"/>
                <a:gd name="connsiteY26" fmla="*/ 1254044 h 1648590"/>
                <a:gd name="connsiteX27" fmla="*/ 6221177 w 6512821"/>
                <a:gd name="connsiteY27" fmla="*/ 1344767 h 1648590"/>
                <a:gd name="connsiteX28" fmla="*/ 5978509 w 6512821"/>
                <a:gd name="connsiteY28" fmla="*/ 1467143 h 1648590"/>
                <a:gd name="connsiteX29" fmla="*/ 6058031 w 6512821"/>
                <a:gd name="connsiteY29" fmla="*/ 1542561 h 1648590"/>
                <a:gd name="connsiteX30" fmla="*/ 5866359 w 6512821"/>
                <a:gd name="connsiteY30" fmla="*/ 1648590 h 1648590"/>
                <a:gd name="connsiteX31" fmla="*/ 5637954 w 6512821"/>
                <a:gd name="connsiteY31" fmla="*/ 1398823 h 1648590"/>
                <a:gd name="connsiteX32" fmla="*/ 5868378 w 6512821"/>
                <a:gd name="connsiteY32" fmla="*/ 1146973 h 1648590"/>
                <a:gd name="connsiteX33" fmla="*/ 6056989 w 6512821"/>
                <a:gd name="connsiteY33" fmla="*/ 1250983 h 1648590"/>
                <a:gd name="connsiteX34" fmla="*/ 5975448 w 6512821"/>
                <a:gd name="connsiteY34" fmla="*/ 1333565 h 1648590"/>
                <a:gd name="connsiteX35" fmla="*/ 5867401 w 6512821"/>
                <a:gd name="connsiteY35" fmla="*/ 1266288 h 1648590"/>
                <a:gd name="connsiteX36" fmla="*/ 5766452 w 6512821"/>
                <a:gd name="connsiteY36" fmla="*/ 1396804 h 1648590"/>
                <a:gd name="connsiteX37" fmla="*/ 5868378 w 6512821"/>
                <a:gd name="connsiteY37" fmla="*/ 1528299 h 1648590"/>
                <a:gd name="connsiteX38" fmla="*/ 5978509 w 6512821"/>
                <a:gd name="connsiteY38" fmla="*/ 1467143 h 1648590"/>
                <a:gd name="connsiteX39" fmla="*/ 4869246 w 6512821"/>
                <a:gd name="connsiteY39" fmla="*/ 667825 h 1648590"/>
                <a:gd name="connsiteX40" fmla="*/ 4750973 w 6512821"/>
                <a:gd name="connsiteY40" fmla="*/ 667825 h 1648590"/>
                <a:gd name="connsiteX41" fmla="*/ 4750973 w 6512821"/>
                <a:gd name="connsiteY41" fmla="*/ 634153 h 1648590"/>
                <a:gd name="connsiteX42" fmla="*/ 4638822 w 6512821"/>
                <a:gd name="connsiteY42" fmla="*/ 677984 h 1648590"/>
                <a:gd name="connsiteX43" fmla="*/ 4467535 w 6512821"/>
                <a:gd name="connsiteY43" fmla="*/ 458763 h 1648590"/>
                <a:gd name="connsiteX44" fmla="*/ 4467535 w 6512821"/>
                <a:gd name="connsiteY44" fmla="*/ 186527 h 1648590"/>
                <a:gd name="connsiteX45" fmla="*/ 4587827 w 6512821"/>
                <a:gd name="connsiteY45" fmla="*/ 186527 h 1648590"/>
                <a:gd name="connsiteX46" fmla="*/ 4587827 w 6512821"/>
                <a:gd name="connsiteY46" fmla="*/ 448538 h 1648590"/>
                <a:gd name="connsiteX47" fmla="*/ 4668390 w 6512821"/>
                <a:gd name="connsiteY47" fmla="*/ 562708 h 1648590"/>
                <a:gd name="connsiteX48" fmla="*/ 4748954 w 6512821"/>
                <a:gd name="connsiteY48" fmla="*/ 452576 h 1648590"/>
                <a:gd name="connsiteX49" fmla="*/ 4748954 w 6512821"/>
                <a:gd name="connsiteY49" fmla="*/ 186462 h 1648590"/>
                <a:gd name="connsiteX50" fmla="*/ 4869246 w 6512821"/>
                <a:gd name="connsiteY50" fmla="*/ 186462 h 1648590"/>
                <a:gd name="connsiteX51" fmla="*/ 4869246 w 6512821"/>
                <a:gd name="connsiteY51" fmla="*/ 667695 h 1648590"/>
                <a:gd name="connsiteX52" fmla="*/ 5244449 w 6512821"/>
                <a:gd name="connsiteY52" fmla="*/ 527083 h 1648590"/>
                <a:gd name="connsiteX53" fmla="*/ 5227125 w 6512821"/>
                <a:gd name="connsiteY53" fmla="*/ 649458 h 1648590"/>
                <a:gd name="connsiteX54" fmla="*/ 5128261 w 6512821"/>
                <a:gd name="connsiteY54" fmla="*/ 677984 h 1648590"/>
                <a:gd name="connsiteX55" fmla="*/ 4997744 w 6512821"/>
                <a:gd name="connsiteY55" fmla="*/ 535224 h 1648590"/>
                <a:gd name="connsiteX56" fmla="*/ 4997744 w 6512821"/>
                <a:gd name="connsiteY56" fmla="*/ 301739 h 1648590"/>
                <a:gd name="connsiteX57" fmla="*/ 4928447 w 6512821"/>
                <a:gd name="connsiteY57" fmla="*/ 301739 h 1648590"/>
                <a:gd name="connsiteX58" fmla="*/ 4928447 w 6512821"/>
                <a:gd name="connsiteY58" fmla="*/ 186527 h 1648590"/>
                <a:gd name="connsiteX59" fmla="*/ 4997744 w 6512821"/>
                <a:gd name="connsiteY59" fmla="*/ 186527 h 1648590"/>
                <a:gd name="connsiteX60" fmla="*/ 4997744 w 6512821"/>
                <a:gd name="connsiteY60" fmla="*/ 61155 h 1648590"/>
                <a:gd name="connsiteX61" fmla="*/ 5118035 w 6512821"/>
                <a:gd name="connsiteY61" fmla="*/ 0 h 1648590"/>
                <a:gd name="connsiteX62" fmla="*/ 5118035 w 6512821"/>
                <a:gd name="connsiteY62" fmla="*/ 186592 h 1648590"/>
                <a:gd name="connsiteX63" fmla="*/ 5232205 w 6512821"/>
                <a:gd name="connsiteY63" fmla="*/ 186592 h 1648590"/>
                <a:gd name="connsiteX64" fmla="*/ 5232205 w 6512821"/>
                <a:gd name="connsiteY64" fmla="*/ 301804 h 1648590"/>
                <a:gd name="connsiteX65" fmla="*/ 5118035 w 6512821"/>
                <a:gd name="connsiteY65" fmla="*/ 301804 h 1648590"/>
                <a:gd name="connsiteX66" fmla="*/ 5118035 w 6512821"/>
                <a:gd name="connsiteY66" fmla="*/ 503701 h 1648590"/>
                <a:gd name="connsiteX67" fmla="*/ 5164928 w 6512821"/>
                <a:gd name="connsiteY67" fmla="*/ 560819 h 1648590"/>
                <a:gd name="connsiteX68" fmla="*/ 5244449 w 6512821"/>
                <a:gd name="connsiteY68" fmla="*/ 527148 h 1648590"/>
                <a:gd name="connsiteX69" fmla="*/ 3417407 w 6512821"/>
                <a:gd name="connsiteY69" fmla="*/ 667825 h 1648590"/>
                <a:gd name="connsiteX70" fmla="*/ 3297116 w 6512821"/>
                <a:gd name="connsiteY70" fmla="*/ 667825 h 1648590"/>
                <a:gd name="connsiteX71" fmla="*/ 3297116 w 6512821"/>
                <a:gd name="connsiteY71" fmla="*/ 405814 h 1648590"/>
                <a:gd name="connsiteX72" fmla="*/ 3215575 w 6512821"/>
                <a:gd name="connsiteY72" fmla="*/ 292621 h 1648590"/>
                <a:gd name="connsiteX73" fmla="*/ 3132993 w 6512821"/>
                <a:gd name="connsiteY73" fmla="*/ 402753 h 1648590"/>
                <a:gd name="connsiteX74" fmla="*/ 3132993 w 6512821"/>
                <a:gd name="connsiteY74" fmla="*/ 667825 h 1648590"/>
                <a:gd name="connsiteX75" fmla="*/ 3012701 w 6512821"/>
                <a:gd name="connsiteY75" fmla="*/ 667825 h 1648590"/>
                <a:gd name="connsiteX76" fmla="*/ 3012701 w 6512821"/>
                <a:gd name="connsiteY76" fmla="*/ 61221 h 1648590"/>
                <a:gd name="connsiteX77" fmla="*/ 3132993 w 6512821"/>
                <a:gd name="connsiteY77" fmla="*/ 65 h 1648590"/>
                <a:gd name="connsiteX78" fmla="*/ 3132993 w 6512821"/>
                <a:gd name="connsiteY78" fmla="*/ 220264 h 1648590"/>
                <a:gd name="connsiteX79" fmla="*/ 3246186 w 6512821"/>
                <a:gd name="connsiteY79" fmla="*/ 176432 h 1648590"/>
                <a:gd name="connsiteX80" fmla="*/ 3417473 w 6512821"/>
                <a:gd name="connsiteY80" fmla="*/ 396631 h 1648590"/>
                <a:gd name="connsiteX81" fmla="*/ 3417473 w 6512821"/>
                <a:gd name="connsiteY81" fmla="*/ 667825 h 1648590"/>
                <a:gd name="connsiteX82" fmla="*/ 5564554 w 6512821"/>
                <a:gd name="connsiteY82" fmla="*/ 1638365 h 1648590"/>
                <a:gd name="connsiteX83" fmla="*/ 5440160 w 6512821"/>
                <a:gd name="connsiteY83" fmla="*/ 1638365 h 1648590"/>
                <a:gd name="connsiteX84" fmla="*/ 5440160 w 6512821"/>
                <a:gd name="connsiteY84" fmla="*/ 1376355 h 1648590"/>
                <a:gd name="connsiteX85" fmla="*/ 5357577 w 6512821"/>
                <a:gd name="connsiteY85" fmla="*/ 1264204 h 1648590"/>
                <a:gd name="connsiteX86" fmla="*/ 5273952 w 6512821"/>
                <a:gd name="connsiteY86" fmla="*/ 1373293 h 1648590"/>
                <a:gd name="connsiteX87" fmla="*/ 5273952 w 6512821"/>
                <a:gd name="connsiteY87" fmla="*/ 1638365 h 1648590"/>
                <a:gd name="connsiteX88" fmla="*/ 5149558 w 6512821"/>
                <a:gd name="connsiteY88" fmla="*/ 1638365 h 1648590"/>
                <a:gd name="connsiteX89" fmla="*/ 5149558 w 6512821"/>
                <a:gd name="connsiteY89" fmla="*/ 1157133 h 1648590"/>
                <a:gd name="connsiteX90" fmla="*/ 5273952 w 6512821"/>
                <a:gd name="connsiteY90" fmla="*/ 1157133 h 1648590"/>
                <a:gd name="connsiteX91" fmla="*/ 5273952 w 6512821"/>
                <a:gd name="connsiteY91" fmla="*/ 1189762 h 1648590"/>
                <a:gd name="connsiteX92" fmla="*/ 5391183 w 6512821"/>
                <a:gd name="connsiteY92" fmla="*/ 1146973 h 1648590"/>
                <a:gd name="connsiteX93" fmla="*/ 5564490 w 6512821"/>
                <a:gd name="connsiteY93" fmla="*/ 1366195 h 1648590"/>
                <a:gd name="connsiteX94" fmla="*/ 5564490 w 6512821"/>
                <a:gd name="connsiteY94" fmla="*/ 1638430 h 1648590"/>
                <a:gd name="connsiteX95" fmla="*/ 4008772 w 6512821"/>
                <a:gd name="connsiteY95" fmla="*/ 1115386 h 1648590"/>
                <a:gd name="connsiteX96" fmla="*/ 4080152 w 6512821"/>
                <a:gd name="connsiteY96" fmla="*/ 1044005 h 1648590"/>
                <a:gd name="connsiteX97" fmla="*/ 4008772 w 6512821"/>
                <a:gd name="connsiteY97" fmla="*/ 972624 h 1648590"/>
                <a:gd name="connsiteX98" fmla="*/ 3937391 w 6512821"/>
                <a:gd name="connsiteY98" fmla="*/ 1044005 h 1648590"/>
                <a:gd name="connsiteX99" fmla="*/ 4008772 w 6512821"/>
                <a:gd name="connsiteY99" fmla="*/ 1115386 h 1648590"/>
                <a:gd name="connsiteX100" fmla="*/ 829864 w 6512821"/>
                <a:gd name="connsiteY100" fmla="*/ 1115386 h 1648590"/>
                <a:gd name="connsiteX101" fmla="*/ 901244 w 6512821"/>
                <a:gd name="connsiteY101" fmla="*/ 1044005 h 1648590"/>
                <a:gd name="connsiteX102" fmla="*/ 829864 w 6512821"/>
                <a:gd name="connsiteY102" fmla="*/ 972624 h 1648590"/>
                <a:gd name="connsiteX103" fmla="*/ 758483 w 6512821"/>
                <a:gd name="connsiteY103" fmla="*/ 1044005 h 1648590"/>
                <a:gd name="connsiteX104" fmla="*/ 829864 w 6512821"/>
                <a:gd name="connsiteY104" fmla="*/ 1115386 h 1648590"/>
                <a:gd name="connsiteX105" fmla="*/ 6512756 w 6512821"/>
                <a:gd name="connsiteY105" fmla="*/ 426134 h 1648590"/>
                <a:gd name="connsiteX106" fmla="*/ 6510737 w 6512821"/>
                <a:gd name="connsiteY106" fmla="*/ 467946 h 1648590"/>
                <a:gd name="connsiteX107" fmla="*/ 6219158 w 6512821"/>
                <a:gd name="connsiteY107" fmla="*/ 467946 h 1648590"/>
                <a:gd name="connsiteX108" fmla="*/ 6322126 w 6512821"/>
                <a:gd name="connsiteY108" fmla="*/ 562773 h 1648590"/>
                <a:gd name="connsiteX109" fmla="*/ 6405751 w 6512821"/>
                <a:gd name="connsiteY109" fmla="*/ 529102 h 1648590"/>
                <a:gd name="connsiteX110" fmla="*/ 6491394 w 6512821"/>
                <a:gd name="connsiteY110" fmla="*/ 601459 h 1648590"/>
                <a:gd name="connsiteX111" fmla="*/ 6317046 w 6512821"/>
                <a:gd name="connsiteY111" fmla="*/ 677919 h 1648590"/>
                <a:gd name="connsiteX112" fmla="*/ 6095805 w 6512821"/>
                <a:gd name="connsiteY112" fmla="*/ 428153 h 1648590"/>
                <a:gd name="connsiteX113" fmla="*/ 6308905 w 6512821"/>
                <a:gd name="connsiteY113" fmla="*/ 176302 h 1648590"/>
                <a:gd name="connsiteX114" fmla="*/ 6512821 w 6512821"/>
                <a:gd name="connsiteY114" fmla="*/ 426069 h 1648590"/>
                <a:gd name="connsiteX115" fmla="*/ 6221177 w 6512821"/>
                <a:gd name="connsiteY115" fmla="*/ 374162 h 1648590"/>
                <a:gd name="connsiteX116" fmla="*/ 6392465 w 6512821"/>
                <a:gd name="connsiteY116" fmla="*/ 374162 h 1648590"/>
                <a:gd name="connsiteX117" fmla="*/ 6304802 w 6512821"/>
                <a:gd name="connsiteY117" fmla="*/ 283438 h 1648590"/>
                <a:gd name="connsiteX118" fmla="*/ 6221177 w 6512821"/>
                <a:gd name="connsiteY118" fmla="*/ 374162 h 1648590"/>
                <a:gd name="connsiteX119" fmla="*/ 5702235 w 6512821"/>
                <a:gd name="connsiteY119" fmla="*/ 667825 h 1648590"/>
                <a:gd name="connsiteX120" fmla="*/ 5583963 w 6512821"/>
                <a:gd name="connsiteY120" fmla="*/ 667825 h 1648590"/>
                <a:gd name="connsiteX121" fmla="*/ 5583963 w 6512821"/>
                <a:gd name="connsiteY121" fmla="*/ 634153 h 1648590"/>
                <a:gd name="connsiteX122" fmla="*/ 5471812 w 6512821"/>
                <a:gd name="connsiteY122" fmla="*/ 677984 h 1648590"/>
                <a:gd name="connsiteX123" fmla="*/ 5300525 w 6512821"/>
                <a:gd name="connsiteY123" fmla="*/ 458763 h 1648590"/>
                <a:gd name="connsiteX124" fmla="*/ 5300525 w 6512821"/>
                <a:gd name="connsiteY124" fmla="*/ 186527 h 1648590"/>
                <a:gd name="connsiteX125" fmla="*/ 5420817 w 6512821"/>
                <a:gd name="connsiteY125" fmla="*/ 186527 h 1648590"/>
                <a:gd name="connsiteX126" fmla="*/ 5420817 w 6512821"/>
                <a:gd name="connsiteY126" fmla="*/ 448538 h 1648590"/>
                <a:gd name="connsiteX127" fmla="*/ 5501380 w 6512821"/>
                <a:gd name="connsiteY127" fmla="*/ 562708 h 1648590"/>
                <a:gd name="connsiteX128" fmla="*/ 5581944 w 6512821"/>
                <a:gd name="connsiteY128" fmla="*/ 452576 h 1648590"/>
                <a:gd name="connsiteX129" fmla="*/ 5581944 w 6512821"/>
                <a:gd name="connsiteY129" fmla="*/ 186462 h 1648590"/>
                <a:gd name="connsiteX130" fmla="*/ 5702235 w 6512821"/>
                <a:gd name="connsiteY130" fmla="*/ 186462 h 1648590"/>
                <a:gd name="connsiteX131" fmla="*/ 5702235 w 6512821"/>
                <a:gd name="connsiteY131" fmla="*/ 667695 h 1648590"/>
                <a:gd name="connsiteX132" fmla="*/ 3895579 w 6512821"/>
                <a:gd name="connsiteY132" fmla="*/ 426134 h 1648590"/>
                <a:gd name="connsiteX133" fmla="*/ 3893560 w 6512821"/>
                <a:gd name="connsiteY133" fmla="*/ 467946 h 1648590"/>
                <a:gd name="connsiteX134" fmla="*/ 3601981 w 6512821"/>
                <a:gd name="connsiteY134" fmla="*/ 467946 h 1648590"/>
                <a:gd name="connsiteX135" fmla="*/ 3704949 w 6512821"/>
                <a:gd name="connsiteY135" fmla="*/ 562773 h 1648590"/>
                <a:gd name="connsiteX136" fmla="*/ 3788573 w 6512821"/>
                <a:gd name="connsiteY136" fmla="*/ 529102 h 1648590"/>
                <a:gd name="connsiteX137" fmla="*/ 3874217 w 6512821"/>
                <a:gd name="connsiteY137" fmla="*/ 601459 h 1648590"/>
                <a:gd name="connsiteX138" fmla="*/ 3699868 w 6512821"/>
                <a:gd name="connsiteY138" fmla="*/ 677919 h 1648590"/>
                <a:gd name="connsiteX139" fmla="*/ 3478628 w 6512821"/>
                <a:gd name="connsiteY139" fmla="*/ 428153 h 1648590"/>
                <a:gd name="connsiteX140" fmla="*/ 3691727 w 6512821"/>
                <a:gd name="connsiteY140" fmla="*/ 176302 h 1648590"/>
                <a:gd name="connsiteX141" fmla="*/ 3895644 w 6512821"/>
                <a:gd name="connsiteY141" fmla="*/ 426069 h 1648590"/>
                <a:gd name="connsiteX142" fmla="*/ 3604000 w 6512821"/>
                <a:gd name="connsiteY142" fmla="*/ 374162 h 1648590"/>
                <a:gd name="connsiteX143" fmla="*/ 3775287 w 6512821"/>
                <a:gd name="connsiteY143" fmla="*/ 374162 h 1648590"/>
                <a:gd name="connsiteX144" fmla="*/ 3687624 w 6512821"/>
                <a:gd name="connsiteY144" fmla="*/ 283438 h 1648590"/>
                <a:gd name="connsiteX145" fmla="*/ 3604000 w 6512821"/>
                <a:gd name="connsiteY145" fmla="*/ 374162 h 1648590"/>
                <a:gd name="connsiteX146" fmla="*/ 4579686 w 6512821"/>
                <a:gd name="connsiteY146" fmla="*/ 1638365 h 1648590"/>
                <a:gd name="connsiteX147" fmla="*/ 4455291 w 6512821"/>
                <a:gd name="connsiteY147" fmla="*/ 1638365 h 1648590"/>
                <a:gd name="connsiteX148" fmla="*/ 4455291 w 6512821"/>
                <a:gd name="connsiteY148" fmla="*/ 1606778 h 1648590"/>
                <a:gd name="connsiteX149" fmla="*/ 4346201 w 6512821"/>
                <a:gd name="connsiteY149" fmla="*/ 1648590 h 1648590"/>
                <a:gd name="connsiteX150" fmla="*/ 4148406 w 6512821"/>
                <a:gd name="connsiteY150" fmla="*/ 1393678 h 1648590"/>
                <a:gd name="connsiteX151" fmla="*/ 4343140 w 6512821"/>
                <a:gd name="connsiteY151" fmla="*/ 1146973 h 1648590"/>
                <a:gd name="connsiteX152" fmla="*/ 4455291 w 6512821"/>
                <a:gd name="connsiteY152" fmla="*/ 1185724 h 1648590"/>
                <a:gd name="connsiteX153" fmla="*/ 4455291 w 6512821"/>
                <a:gd name="connsiteY153" fmla="*/ 1031761 h 1648590"/>
                <a:gd name="connsiteX154" fmla="*/ 4579686 w 6512821"/>
                <a:gd name="connsiteY154" fmla="*/ 969564 h 1648590"/>
                <a:gd name="connsiteX155" fmla="*/ 4579686 w 6512821"/>
                <a:gd name="connsiteY155" fmla="*/ 1638365 h 1648590"/>
                <a:gd name="connsiteX156" fmla="*/ 4455356 w 6512821"/>
                <a:gd name="connsiteY156" fmla="*/ 1489547 h 1648590"/>
                <a:gd name="connsiteX157" fmla="*/ 4455356 w 6512821"/>
                <a:gd name="connsiteY157" fmla="*/ 1306016 h 1648590"/>
                <a:gd name="connsiteX158" fmla="*/ 4368670 w 6512821"/>
                <a:gd name="connsiteY158" fmla="*/ 1264204 h 1648590"/>
                <a:gd name="connsiteX159" fmla="*/ 4278924 w 6512821"/>
                <a:gd name="connsiteY159" fmla="*/ 1389575 h 1648590"/>
                <a:gd name="connsiteX160" fmla="*/ 4371731 w 6512821"/>
                <a:gd name="connsiteY160" fmla="*/ 1531294 h 1648590"/>
                <a:gd name="connsiteX161" fmla="*/ 4455356 w 6512821"/>
                <a:gd name="connsiteY161" fmla="*/ 1489482 h 1648590"/>
                <a:gd name="connsiteX162" fmla="*/ 3945532 w 6512821"/>
                <a:gd name="connsiteY162" fmla="*/ 1157198 h 1648590"/>
                <a:gd name="connsiteX163" fmla="*/ 3945532 w 6512821"/>
                <a:gd name="connsiteY163" fmla="*/ 1638430 h 1648590"/>
                <a:gd name="connsiteX164" fmla="*/ 4069927 w 6512821"/>
                <a:gd name="connsiteY164" fmla="*/ 1638430 h 1648590"/>
                <a:gd name="connsiteX165" fmla="*/ 4069927 w 6512821"/>
                <a:gd name="connsiteY165" fmla="*/ 1157198 h 1648590"/>
                <a:gd name="connsiteX166" fmla="*/ 3945532 w 6512821"/>
                <a:gd name="connsiteY166" fmla="*/ 1157198 h 1648590"/>
                <a:gd name="connsiteX167" fmla="*/ 3873175 w 6512821"/>
                <a:gd name="connsiteY167" fmla="*/ 985911 h 1648590"/>
                <a:gd name="connsiteX168" fmla="*/ 3873175 w 6512821"/>
                <a:gd name="connsiteY168" fmla="*/ 1085817 h 1648590"/>
                <a:gd name="connsiteX169" fmla="*/ 3812019 w 6512821"/>
                <a:gd name="connsiteY169" fmla="*/ 1076634 h 1648590"/>
                <a:gd name="connsiteX170" fmla="*/ 3760047 w 6512821"/>
                <a:gd name="connsiteY170" fmla="*/ 1118447 h 1648590"/>
                <a:gd name="connsiteX171" fmla="*/ 3760047 w 6512821"/>
                <a:gd name="connsiteY171" fmla="*/ 1157198 h 1648590"/>
                <a:gd name="connsiteX172" fmla="*/ 3863015 w 6512821"/>
                <a:gd name="connsiteY172" fmla="*/ 1157198 h 1648590"/>
                <a:gd name="connsiteX173" fmla="*/ 3863015 w 6512821"/>
                <a:gd name="connsiteY173" fmla="*/ 1273452 h 1648590"/>
                <a:gd name="connsiteX174" fmla="*/ 3760047 w 6512821"/>
                <a:gd name="connsiteY174" fmla="*/ 1273452 h 1648590"/>
                <a:gd name="connsiteX175" fmla="*/ 3760047 w 6512821"/>
                <a:gd name="connsiteY175" fmla="*/ 1638430 h 1648590"/>
                <a:gd name="connsiteX176" fmla="*/ 3635652 w 6512821"/>
                <a:gd name="connsiteY176" fmla="*/ 1638430 h 1648590"/>
                <a:gd name="connsiteX177" fmla="*/ 3635652 w 6512821"/>
                <a:gd name="connsiteY177" fmla="*/ 1273452 h 1648590"/>
                <a:gd name="connsiteX178" fmla="*/ 3568375 w 6512821"/>
                <a:gd name="connsiteY178" fmla="*/ 1273452 h 1648590"/>
                <a:gd name="connsiteX179" fmla="*/ 3568375 w 6512821"/>
                <a:gd name="connsiteY179" fmla="*/ 1157198 h 1648590"/>
                <a:gd name="connsiteX180" fmla="*/ 3635652 w 6512821"/>
                <a:gd name="connsiteY180" fmla="*/ 1157198 h 1648590"/>
                <a:gd name="connsiteX181" fmla="*/ 3635652 w 6512821"/>
                <a:gd name="connsiteY181" fmla="*/ 1099104 h 1648590"/>
                <a:gd name="connsiteX182" fmla="*/ 3782451 w 6512821"/>
                <a:gd name="connsiteY182" fmla="*/ 972690 h 1648590"/>
                <a:gd name="connsiteX183" fmla="*/ 3873175 w 6512821"/>
                <a:gd name="connsiteY183" fmla="*/ 985976 h 1648590"/>
                <a:gd name="connsiteX184" fmla="*/ 3507154 w 6512821"/>
                <a:gd name="connsiteY184" fmla="*/ 1638365 h 1648590"/>
                <a:gd name="connsiteX185" fmla="*/ 3382759 w 6512821"/>
                <a:gd name="connsiteY185" fmla="*/ 1638365 h 1648590"/>
                <a:gd name="connsiteX186" fmla="*/ 3382759 w 6512821"/>
                <a:gd name="connsiteY186" fmla="*/ 1376355 h 1648590"/>
                <a:gd name="connsiteX187" fmla="*/ 3300177 w 6512821"/>
                <a:gd name="connsiteY187" fmla="*/ 1264204 h 1648590"/>
                <a:gd name="connsiteX188" fmla="*/ 3216552 w 6512821"/>
                <a:gd name="connsiteY188" fmla="*/ 1373293 h 1648590"/>
                <a:gd name="connsiteX189" fmla="*/ 3216552 w 6512821"/>
                <a:gd name="connsiteY189" fmla="*/ 1638365 h 1648590"/>
                <a:gd name="connsiteX190" fmla="*/ 3092157 w 6512821"/>
                <a:gd name="connsiteY190" fmla="*/ 1638365 h 1648590"/>
                <a:gd name="connsiteX191" fmla="*/ 3092157 w 6512821"/>
                <a:gd name="connsiteY191" fmla="*/ 1157133 h 1648590"/>
                <a:gd name="connsiteX192" fmla="*/ 3216552 w 6512821"/>
                <a:gd name="connsiteY192" fmla="*/ 1157133 h 1648590"/>
                <a:gd name="connsiteX193" fmla="*/ 3216552 w 6512821"/>
                <a:gd name="connsiteY193" fmla="*/ 1189762 h 1648590"/>
                <a:gd name="connsiteX194" fmla="*/ 3333783 w 6512821"/>
                <a:gd name="connsiteY194" fmla="*/ 1146973 h 1648590"/>
                <a:gd name="connsiteX195" fmla="*/ 3507089 w 6512821"/>
                <a:gd name="connsiteY195" fmla="*/ 1366195 h 1648590"/>
                <a:gd name="connsiteX196" fmla="*/ 3507089 w 6512821"/>
                <a:gd name="connsiteY196" fmla="*/ 1638430 h 1648590"/>
                <a:gd name="connsiteX197" fmla="*/ 2792437 w 6512821"/>
                <a:gd name="connsiteY197" fmla="*/ 1146973 h 1648590"/>
                <a:gd name="connsiteX198" fmla="*/ 2567094 w 6512821"/>
                <a:gd name="connsiteY198" fmla="*/ 1397782 h 1648590"/>
                <a:gd name="connsiteX199" fmla="*/ 2792437 w 6512821"/>
                <a:gd name="connsiteY199" fmla="*/ 1648590 h 1648590"/>
                <a:gd name="connsiteX200" fmla="*/ 3017781 w 6512821"/>
                <a:gd name="connsiteY200" fmla="*/ 1397782 h 1648590"/>
                <a:gd name="connsiteX201" fmla="*/ 2792437 w 6512821"/>
                <a:gd name="connsiteY201" fmla="*/ 1146973 h 1648590"/>
                <a:gd name="connsiteX202" fmla="*/ 2792437 w 6512821"/>
                <a:gd name="connsiteY202" fmla="*/ 1528299 h 1648590"/>
                <a:gd name="connsiteX203" fmla="*/ 2695592 w 6512821"/>
                <a:gd name="connsiteY203" fmla="*/ 1397782 h 1648590"/>
                <a:gd name="connsiteX204" fmla="*/ 2792437 w 6512821"/>
                <a:gd name="connsiteY204" fmla="*/ 1266288 h 1648590"/>
                <a:gd name="connsiteX205" fmla="*/ 2889283 w 6512821"/>
                <a:gd name="connsiteY205" fmla="*/ 1397782 h 1648590"/>
                <a:gd name="connsiteX206" fmla="*/ 2792437 w 6512821"/>
                <a:gd name="connsiteY206" fmla="*/ 1528299 h 1648590"/>
                <a:gd name="connsiteX207" fmla="*/ 2446802 w 6512821"/>
                <a:gd name="connsiteY207" fmla="*/ 1467143 h 1648590"/>
                <a:gd name="connsiteX208" fmla="*/ 2526323 w 6512821"/>
                <a:gd name="connsiteY208" fmla="*/ 1542561 h 1648590"/>
                <a:gd name="connsiteX209" fmla="*/ 2334651 w 6512821"/>
                <a:gd name="connsiteY209" fmla="*/ 1648590 h 1648590"/>
                <a:gd name="connsiteX210" fmla="*/ 2106246 w 6512821"/>
                <a:gd name="connsiteY210" fmla="*/ 1398823 h 1648590"/>
                <a:gd name="connsiteX211" fmla="*/ 2336670 w 6512821"/>
                <a:gd name="connsiteY211" fmla="*/ 1146973 h 1648590"/>
                <a:gd name="connsiteX212" fmla="*/ 2525281 w 6512821"/>
                <a:gd name="connsiteY212" fmla="*/ 1250983 h 1648590"/>
                <a:gd name="connsiteX213" fmla="*/ 2443741 w 6512821"/>
                <a:gd name="connsiteY213" fmla="*/ 1333565 h 1648590"/>
                <a:gd name="connsiteX214" fmla="*/ 2335693 w 6512821"/>
                <a:gd name="connsiteY214" fmla="*/ 1266288 h 1648590"/>
                <a:gd name="connsiteX215" fmla="*/ 2234744 w 6512821"/>
                <a:gd name="connsiteY215" fmla="*/ 1396804 h 1648590"/>
                <a:gd name="connsiteX216" fmla="*/ 2336670 w 6512821"/>
                <a:gd name="connsiteY216" fmla="*/ 1528299 h 1648590"/>
                <a:gd name="connsiteX217" fmla="*/ 2446802 w 6512821"/>
                <a:gd name="connsiteY217" fmla="*/ 1467143 h 1648590"/>
                <a:gd name="connsiteX218" fmla="*/ 1803530 w 6512821"/>
                <a:gd name="connsiteY218" fmla="*/ 1638365 h 1648590"/>
                <a:gd name="connsiteX219" fmla="*/ 1679135 w 6512821"/>
                <a:gd name="connsiteY219" fmla="*/ 1638365 h 1648590"/>
                <a:gd name="connsiteX220" fmla="*/ 1679135 w 6512821"/>
                <a:gd name="connsiteY220" fmla="*/ 1376355 h 1648590"/>
                <a:gd name="connsiteX221" fmla="*/ 1596553 w 6512821"/>
                <a:gd name="connsiteY221" fmla="*/ 1264204 h 1648590"/>
                <a:gd name="connsiteX222" fmla="*/ 1511951 w 6512821"/>
                <a:gd name="connsiteY222" fmla="*/ 1373293 h 1648590"/>
                <a:gd name="connsiteX223" fmla="*/ 1511951 w 6512821"/>
                <a:gd name="connsiteY223" fmla="*/ 1638365 h 1648590"/>
                <a:gd name="connsiteX224" fmla="*/ 1387557 w 6512821"/>
                <a:gd name="connsiteY224" fmla="*/ 1638365 h 1648590"/>
                <a:gd name="connsiteX225" fmla="*/ 1387557 w 6512821"/>
                <a:gd name="connsiteY225" fmla="*/ 1031761 h 1648590"/>
                <a:gd name="connsiteX226" fmla="*/ 1511951 w 6512821"/>
                <a:gd name="connsiteY226" fmla="*/ 969564 h 1648590"/>
                <a:gd name="connsiteX227" fmla="*/ 1511951 w 6512821"/>
                <a:gd name="connsiteY227" fmla="*/ 1189762 h 1648590"/>
                <a:gd name="connsiteX228" fmla="*/ 1632243 w 6512821"/>
                <a:gd name="connsiteY228" fmla="*/ 1146973 h 1648590"/>
                <a:gd name="connsiteX229" fmla="*/ 1803530 w 6512821"/>
                <a:gd name="connsiteY229" fmla="*/ 1366195 h 1648590"/>
                <a:gd name="connsiteX230" fmla="*/ 1803530 w 6512821"/>
                <a:gd name="connsiteY230" fmla="*/ 1638430 h 1648590"/>
                <a:gd name="connsiteX231" fmla="*/ 1311031 w 6512821"/>
                <a:gd name="connsiteY231" fmla="*/ 1493650 h 1648590"/>
                <a:gd name="connsiteX232" fmla="*/ 1292665 w 6512821"/>
                <a:gd name="connsiteY232" fmla="*/ 1619022 h 1648590"/>
                <a:gd name="connsiteX233" fmla="*/ 1173350 w 6512821"/>
                <a:gd name="connsiteY233" fmla="*/ 1648590 h 1648590"/>
                <a:gd name="connsiteX234" fmla="*/ 1043875 w 6512821"/>
                <a:gd name="connsiteY234" fmla="*/ 1504852 h 1648590"/>
                <a:gd name="connsiteX235" fmla="*/ 1043875 w 6512821"/>
                <a:gd name="connsiteY235" fmla="*/ 1273387 h 1648590"/>
                <a:gd name="connsiteX236" fmla="*/ 960250 w 6512821"/>
                <a:gd name="connsiteY236" fmla="*/ 1273387 h 1648590"/>
                <a:gd name="connsiteX237" fmla="*/ 960250 w 6512821"/>
                <a:gd name="connsiteY237" fmla="*/ 1157133 h 1648590"/>
                <a:gd name="connsiteX238" fmla="*/ 1043875 w 6512821"/>
                <a:gd name="connsiteY238" fmla="*/ 1157133 h 1648590"/>
                <a:gd name="connsiteX239" fmla="*/ 1043875 w 6512821"/>
                <a:gd name="connsiteY239" fmla="*/ 1031761 h 1648590"/>
                <a:gd name="connsiteX240" fmla="*/ 1168270 w 6512821"/>
                <a:gd name="connsiteY240" fmla="*/ 969564 h 1648590"/>
                <a:gd name="connsiteX241" fmla="*/ 1168270 w 6512821"/>
                <a:gd name="connsiteY241" fmla="*/ 1157133 h 1648590"/>
                <a:gd name="connsiteX242" fmla="*/ 1308947 w 6512821"/>
                <a:gd name="connsiteY242" fmla="*/ 1157133 h 1648590"/>
                <a:gd name="connsiteX243" fmla="*/ 1308947 w 6512821"/>
                <a:gd name="connsiteY243" fmla="*/ 1273387 h 1648590"/>
                <a:gd name="connsiteX244" fmla="*/ 1168270 w 6512821"/>
                <a:gd name="connsiteY244" fmla="*/ 1273387 h 1648590"/>
                <a:gd name="connsiteX245" fmla="*/ 1168270 w 6512821"/>
                <a:gd name="connsiteY245" fmla="*/ 1471181 h 1648590"/>
                <a:gd name="connsiteX246" fmla="*/ 1214120 w 6512821"/>
                <a:gd name="connsiteY246" fmla="*/ 1529275 h 1648590"/>
                <a:gd name="connsiteX247" fmla="*/ 1310966 w 6512821"/>
                <a:gd name="connsiteY247" fmla="*/ 1493585 h 1648590"/>
                <a:gd name="connsiteX248" fmla="*/ 767666 w 6512821"/>
                <a:gd name="connsiteY248" fmla="*/ 1157198 h 1648590"/>
                <a:gd name="connsiteX249" fmla="*/ 767666 w 6512821"/>
                <a:gd name="connsiteY249" fmla="*/ 1638430 h 1648590"/>
                <a:gd name="connsiteX250" fmla="*/ 892061 w 6512821"/>
                <a:gd name="connsiteY250" fmla="*/ 1638430 h 1648590"/>
                <a:gd name="connsiteX251" fmla="*/ 892061 w 6512821"/>
                <a:gd name="connsiteY251" fmla="*/ 1157198 h 1648590"/>
                <a:gd name="connsiteX252" fmla="*/ 767666 w 6512821"/>
                <a:gd name="connsiteY252" fmla="*/ 1157198 h 1648590"/>
                <a:gd name="connsiteX253" fmla="*/ 702408 w 6512821"/>
                <a:gd name="connsiteY253" fmla="*/ 1157198 h 1648590"/>
                <a:gd name="connsiteX254" fmla="*/ 550529 w 6512821"/>
                <a:gd name="connsiteY254" fmla="*/ 1638430 h 1648590"/>
                <a:gd name="connsiteX255" fmla="*/ 436359 w 6512821"/>
                <a:gd name="connsiteY255" fmla="*/ 1638430 h 1648590"/>
                <a:gd name="connsiteX256" fmla="*/ 354819 w 6512821"/>
                <a:gd name="connsiteY256" fmla="*/ 1345809 h 1648590"/>
                <a:gd name="connsiteX257" fmla="*/ 272236 w 6512821"/>
                <a:gd name="connsiteY257" fmla="*/ 1638430 h 1648590"/>
                <a:gd name="connsiteX258" fmla="*/ 158066 w 6512821"/>
                <a:gd name="connsiteY258" fmla="*/ 1638430 h 1648590"/>
                <a:gd name="connsiteX259" fmla="*/ 7099 w 6512821"/>
                <a:gd name="connsiteY259" fmla="*/ 1157198 h 1648590"/>
                <a:gd name="connsiteX260" fmla="*/ 145757 w 6512821"/>
                <a:gd name="connsiteY260" fmla="*/ 1157198 h 1648590"/>
                <a:gd name="connsiteX261" fmla="*/ 218114 w 6512821"/>
                <a:gd name="connsiteY261" fmla="*/ 1436533 h 1648590"/>
                <a:gd name="connsiteX262" fmla="*/ 299655 w 6512821"/>
                <a:gd name="connsiteY262" fmla="*/ 1157198 h 1648590"/>
                <a:gd name="connsiteX263" fmla="*/ 412848 w 6512821"/>
                <a:gd name="connsiteY263" fmla="*/ 1157198 h 1648590"/>
                <a:gd name="connsiteX264" fmla="*/ 494388 w 6512821"/>
                <a:gd name="connsiteY264" fmla="*/ 1436533 h 1648590"/>
                <a:gd name="connsiteX265" fmla="*/ 567788 w 6512821"/>
                <a:gd name="connsiteY265" fmla="*/ 1157198 h 1648590"/>
                <a:gd name="connsiteX266" fmla="*/ 702343 w 6512821"/>
                <a:gd name="connsiteY266" fmla="*/ 1157198 h 1648590"/>
                <a:gd name="connsiteX267" fmla="*/ 4436990 w 6512821"/>
                <a:gd name="connsiteY267" fmla="*/ 16282 h 1648590"/>
                <a:gd name="connsiteX268" fmla="*/ 4436990 w 6512821"/>
                <a:gd name="connsiteY268" fmla="*/ 115147 h 1648590"/>
                <a:gd name="connsiteX269" fmla="*/ 4374792 w 6512821"/>
                <a:gd name="connsiteY269" fmla="*/ 104921 h 1648590"/>
                <a:gd name="connsiteX270" fmla="*/ 4322820 w 6512821"/>
                <a:gd name="connsiteY270" fmla="*/ 144715 h 1648590"/>
                <a:gd name="connsiteX271" fmla="*/ 4322820 w 6512821"/>
                <a:gd name="connsiteY271" fmla="*/ 186527 h 1648590"/>
                <a:gd name="connsiteX272" fmla="*/ 4404361 w 6512821"/>
                <a:gd name="connsiteY272" fmla="*/ 186527 h 1648590"/>
                <a:gd name="connsiteX273" fmla="*/ 4404361 w 6512821"/>
                <a:gd name="connsiteY273" fmla="*/ 302781 h 1648590"/>
                <a:gd name="connsiteX274" fmla="*/ 4322820 w 6512821"/>
                <a:gd name="connsiteY274" fmla="*/ 302781 h 1648590"/>
                <a:gd name="connsiteX275" fmla="*/ 4322820 w 6512821"/>
                <a:gd name="connsiteY275" fmla="*/ 667759 h 1648590"/>
                <a:gd name="connsiteX276" fmla="*/ 4202528 w 6512821"/>
                <a:gd name="connsiteY276" fmla="*/ 667759 h 1648590"/>
                <a:gd name="connsiteX277" fmla="*/ 4202528 w 6512821"/>
                <a:gd name="connsiteY277" fmla="*/ 302781 h 1648590"/>
                <a:gd name="connsiteX278" fmla="*/ 4143392 w 6512821"/>
                <a:gd name="connsiteY278" fmla="*/ 302781 h 1648590"/>
                <a:gd name="connsiteX279" fmla="*/ 4143392 w 6512821"/>
                <a:gd name="connsiteY279" fmla="*/ 186527 h 1648590"/>
                <a:gd name="connsiteX280" fmla="*/ 4202528 w 6512821"/>
                <a:gd name="connsiteY280" fmla="*/ 186527 h 1648590"/>
                <a:gd name="connsiteX281" fmla="*/ 4202528 w 6512821"/>
                <a:gd name="connsiteY281" fmla="*/ 128433 h 1648590"/>
                <a:gd name="connsiteX282" fmla="*/ 4348350 w 6512821"/>
                <a:gd name="connsiteY282" fmla="*/ 2019 h 1648590"/>
                <a:gd name="connsiteX283" fmla="*/ 4437055 w 6512821"/>
                <a:gd name="connsiteY283" fmla="*/ 16282 h 1648590"/>
                <a:gd name="connsiteX284" fmla="*/ 2957602 w 6512821"/>
                <a:gd name="connsiteY284" fmla="*/ 527083 h 1648590"/>
                <a:gd name="connsiteX285" fmla="*/ 2940278 w 6512821"/>
                <a:gd name="connsiteY285" fmla="*/ 649458 h 1648590"/>
                <a:gd name="connsiteX286" fmla="*/ 2843433 w 6512821"/>
                <a:gd name="connsiteY286" fmla="*/ 677984 h 1648590"/>
                <a:gd name="connsiteX287" fmla="*/ 2712916 w 6512821"/>
                <a:gd name="connsiteY287" fmla="*/ 535224 h 1648590"/>
                <a:gd name="connsiteX288" fmla="*/ 2712916 w 6512821"/>
                <a:gd name="connsiteY288" fmla="*/ 301739 h 1648590"/>
                <a:gd name="connsiteX289" fmla="*/ 2629291 w 6512821"/>
                <a:gd name="connsiteY289" fmla="*/ 301739 h 1648590"/>
                <a:gd name="connsiteX290" fmla="*/ 2629291 w 6512821"/>
                <a:gd name="connsiteY290" fmla="*/ 186527 h 1648590"/>
                <a:gd name="connsiteX291" fmla="*/ 2712916 w 6512821"/>
                <a:gd name="connsiteY291" fmla="*/ 186527 h 1648590"/>
                <a:gd name="connsiteX292" fmla="*/ 2712916 w 6512821"/>
                <a:gd name="connsiteY292" fmla="*/ 61155 h 1648590"/>
                <a:gd name="connsiteX293" fmla="*/ 2833208 w 6512821"/>
                <a:gd name="connsiteY293" fmla="*/ 0 h 1648590"/>
                <a:gd name="connsiteX294" fmla="*/ 2833208 w 6512821"/>
                <a:gd name="connsiteY294" fmla="*/ 186592 h 1648590"/>
                <a:gd name="connsiteX295" fmla="*/ 2945358 w 6512821"/>
                <a:gd name="connsiteY295" fmla="*/ 186592 h 1648590"/>
                <a:gd name="connsiteX296" fmla="*/ 2945358 w 6512821"/>
                <a:gd name="connsiteY296" fmla="*/ 301804 h 1648590"/>
                <a:gd name="connsiteX297" fmla="*/ 2833208 w 6512821"/>
                <a:gd name="connsiteY297" fmla="*/ 301804 h 1648590"/>
                <a:gd name="connsiteX298" fmla="*/ 2833208 w 6512821"/>
                <a:gd name="connsiteY298" fmla="*/ 503701 h 1648590"/>
                <a:gd name="connsiteX299" fmla="*/ 2880100 w 6512821"/>
                <a:gd name="connsiteY299" fmla="*/ 560819 h 1648590"/>
                <a:gd name="connsiteX300" fmla="*/ 2957602 w 6512821"/>
                <a:gd name="connsiteY300" fmla="*/ 527148 h 1648590"/>
                <a:gd name="connsiteX301" fmla="*/ 2397891 w 6512821"/>
                <a:gd name="connsiteY301" fmla="*/ 426134 h 1648590"/>
                <a:gd name="connsiteX302" fmla="*/ 2395872 w 6512821"/>
                <a:gd name="connsiteY302" fmla="*/ 467946 h 1648590"/>
                <a:gd name="connsiteX303" fmla="*/ 2114453 w 6512821"/>
                <a:gd name="connsiteY303" fmla="*/ 467946 h 1648590"/>
                <a:gd name="connsiteX304" fmla="*/ 2218462 w 6512821"/>
                <a:gd name="connsiteY304" fmla="*/ 562773 h 1648590"/>
                <a:gd name="connsiteX305" fmla="*/ 2301045 w 6512821"/>
                <a:gd name="connsiteY305" fmla="*/ 529102 h 1648590"/>
                <a:gd name="connsiteX306" fmla="*/ 2386689 w 6512821"/>
                <a:gd name="connsiteY306" fmla="*/ 601459 h 1648590"/>
                <a:gd name="connsiteX307" fmla="*/ 2210321 w 6512821"/>
                <a:gd name="connsiteY307" fmla="*/ 677919 h 1648590"/>
                <a:gd name="connsiteX308" fmla="*/ 1991100 w 6512821"/>
                <a:gd name="connsiteY308" fmla="*/ 429130 h 1648590"/>
                <a:gd name="connsiteX309" fmla="*/ 2205176 w 6512821"/>
                <a:gd name="connsiteY309" fmla="*/ 176302 h 1648590"/>
                <a:gd name="connsiteX310" fmla="*/ 2397891 w 6512821"/>
                <a:gd name="connsiteY310" fmla="*/ 426069 h 1648590"/>
                <a:gd name="connsiteX311" fmla="*/ 2116472 w 6512821"/>
                <a:gd name="connsiteY311" fmla="*/ 374162 h 1648590"/>
                <a:gd name="connsiteX312" fmla="*/ 2287759 w 6512821"/>
                <a:gd name="connsiteY312" fmla="*/ 374162 h 1648590"/>
                <a:gd name="connsiteX313" fmla="*/ 2199054 w 6512821"/>
                <a:gd name="connsiteY313" fmla="*/ 283438 h 1648590"/>
                <a:gd name="connsiteX314" fmla="*/ 2116472 w 6512821"/>
                <a:gd name="connsiteY314" fmla="*/ 374162 h 1648590"/>
                <a:gd name="connsiteX315" fmla="*/ 1933982 w 6512821"/>
                <a:gd name="connsiteY315" fmla="*/ 428218 h 1648590"/>
                <a:gd name="connsiteX316" fmla="*/ 1746413 w 6512821"/>
                <a:gd name="connsiteY316" fmla="*/ 677984 h 1648590"/>
                <a:gd name="connsiteX317" fmla="*/ 1639342 w 6512821"/>
                <a:gd name="connsiteY317" fmla="*/ 638191 h 1648590"/>
                <a:gd name="connsiteX318" fmla="*/ 1639342 w 6512821"/>
                <a:gd name="connsiteY318" fmla="*/ 784990 h 1648590"/>
                <a:gd name="connsiteX319" fmla="*/ 1519050 w 6512821"/>
                <a:gd name="connsiteY319" fmla="*/ 845169 h 1648590"/>
                <a:gd name="connsiteX320" fmla="*/ 1519050 w 6512821"/>
                <a:gd name="connsiteY320" fmla="*/ 186527 h 1648590"/>
                <a:gd name="connsiteX321" fmla="*/ 1639342 w 6512821"/>
                <a:gd name="connsiteY321" fmla="*/ 186527 h 1648590"/>
                <a:gd name="connsiteX322" fmla="*/ 1639342 w 6512821"/>
                <a:gd name="connsiteY322" fmla="*/ 219157 h 1648590"/>
                <a:gd name="connsiteX323" fmla="*/ 1748432 w 6512821"/>
                <a:gd name="connsiteY323" fmla="*/ 176367 h 1648590"/>
                <a:gd name="connsiteX324" fmla="*/ 1933982 w 6512821"/>
                <a:gd name="connsiteY324" fmla="*/ 428218 h 1648590"/>
                <a:gd name="connsiteX325" fmla="*/ 1809587 w 6512821"/>
                <a:gd name="connsiteY325" fmla="*/ 434340 h 1648590"/>
                <a:gd name="connsiteX326" fmla="*/ 1718864 w 6512821"/>
                <a:gd name="connsiteY326" fmla="*/ 292621 h 1648590"/>
                <a:gd name="connsiteX327" fmla="*/ 1639342 w 6512821"/>
                <a:gd name="connsiteY327" fmla="*/ 335410 h 1648590"/>
                <a:gd name="connsiteX328" fmla="*/ 1639342 w 6512821"/>
                <a:gd name="connsiteY328" fmla="*/ 518942 h 1648590"/>
                <a:gd name="connsiteX329" fmla="*/ 1726028 w 6512821"/>
                <a:gd name="connsiteY329" fmla="*/ 562773 h 1648590"/>
                <a:gd name="connsiteX330" fmla="*/ 1809652 w 6512821"/>
                <a:gd name="connsiteY330" fmla="*/ 434340 h 1648590"/>
                <a:gd name="connsiteX331" fmla="*/ 1435426 w 6512821"/>
                <a:gd name="connsiteY331" fmla="*/ 667825 h 1648590"/>
                <a:gd name="connsiteX332" fmla="*/ 1315134 w 6512821"/>
                <a:gd name="connsiteY332" fmla="*/ 667825 h 1648590"/>
                <a:gd name="connsiteX333" fmla="*/ 1315134 w 6512821"/>
                <a:gd name="connsiteY333" fmla="*/ 634153 h 1648590"/>
                <a:gd name="connsiteX334" fmla="*/ 1202983 w 6512821"/>
                <a:gd name="connsiteY334" fmla="*/ 677984 h 1648590"/>
                <a:gd name="connsiteX335" fmla="*/ 1033715 w 6512821"/>
                <a:gd name="connsiteY335" fmla="*/ 510800 h 1648590"/>
                <a:gd name="connsiteX336" fmla="*/ 1221284 w 6512821"/>
                <a:gd name="connsiteY336" fmla="*/ 348696 h 1648590"/>
                <a:gd name="connsiteX337" fmla="*/ 1315069 w 6512821"/>
                <a:gd name="connsiteY337" fmla="*/ 368040 h 1648590"/>
                <a:gd name="connsiteX338" fmla="*/ 1315069 w 6512821"/>
                <a:gd name="connsiteY338" fmla="*/ 342574 h 1648590"/>
                <a:gd name="connsiteX339" fmla="*/ 1232486 w 6512821"/>
                <a:gd name="connsiteY339" fmla="*/ 279335 h 1648590"/>
                <a:gd name="connsiteX340" fmla="*/ 1121378 w 6512821"/>
                <a:gd name="connsiteY340" fmla="*/ 310922 h 1648590"/>
                <a:gd name="connsiteX341" fmla="*/ 1073443 w 6512821"/>
                <a:gd name="connsiteY341" fmla="*/ 225278 h 1648590"/>
                <a:gd name="connsiteX342" fmla="*/ 1239650 w 6512821"/>
                <a:gd name="connsiteY342" fmla="*/ 176367 h 1648590"/>
                <a:gd name="connsiteX343" fmla="*/ 1435426 w 6512821"/>
                <a:gd name="connsiteY343" fmla="*/ 344593 h 1648590"/>
                <a:gd name="connsiteX344" fmla="*/ 1435426 w 6512821"/>
                <a:gd name="connsiteY344" fmla="*/ 667759 h 1648590"/>
                <a:gd name="connsiteX345" fmla="*/ 1315134 w 6512821"/>
                <a:gd name="connsiteY345" fmla="*/ 527083 h 1648590"/>
                <a:gd name="connsiteX346" fmla="*/ 1315134 w 6512821"/>
                <a:gd name="connsiteY346" fmla="*/ 465927 h 1648590"/>
                <a:gd name="connsiteX347" fmla="*/ 1234570 w 6512821"/>
                <a:gd name="connsiteY347" fmla="*/ 445542 h 1648590"/>
                <a:gd name="connsiteX348" fmla="*/ 1156091 w 6512821"/>
                <a:gd name="connsiteY348" fmla="*/ 507740 h 1648590"/>
                <a:gd name="connsiteX349" fmla="*/ 1224410 w 6512821"/>
                <a:gd name="connsiteY349" fmla="*/ 574040 h 1648590"/>
                <a:gd name="connsiteX350" fmla="*/ 1315134 w 6512821"/>
                <a:gd name="connsiteY350" fmla="*/ 527148 h 1648590"/>
                <a:gd name="connsiteX351" fmla="*/ 967480 w 6512821"/>
                <a:gd name="connsiteY351" fmla="*/ 667825 h 1648590"/>
                <a:gd name="connsiteX352" fmla="*/ 847188 w 6512821"/>
                <a:gd name="connsiteY352" fmla="*/ 667825 h 1648590"/>
                <a:gd name="connsiteX353" fmla="*/ 847188 w 6512821"/>
                <a:gd name="connsiteY353" fmla="*/ 405814 h 1648590"/>
                <a:gd name="connsiteX354" fmla="*/ 765647 w 6512821"/>
                <a:gd name="connsiteY354" fmla="*/ 292621 h 1648590"/>
                <a:gd name="connsiteX355" fmla="*/ 683065 w 6512821"/>
                <a:gd name="connsiteY355" fmla="*/ 402753 h 1648590"/>
                <a:gd name="connsiteX356" fmla="*/ 683065 w 6512821"/>
                <a:gd name="connsiteY356" fmla="*/ 667825 h 1648590"/>
                <a:gd name="connsiteX357" fmla="*/ 562773 w 6512821"/>
                <a:gd name="connsiteY357" fmla="*/ 667825 h 1648590"/>
                <a:gd name="connsiteX358" fmla="*/ 562773 w 6512821"/>
                <a:gd name="connsiteY358" fmla="*/ 61221 h 1648590"/>
                <a:gd name="connsiteX359" fmla="*/ 683065 w 6512821"/>
                <a:gd name="connsiteY359" fmla="*/ 65 h 1648590"/>
                <a:gd name="connsiteX360" fmla="*/ 683065 w 6512821"/>
                <a:gd name="connsiteY360" fmla="*/ 220264 h 1648590"/>
                <a:gd name="connsiteX361" fmla="*/ 796258 w 6512821"/>
                <a:gd name="connsiteY361" fmla="*/ 176432 h 1648590"/>
                <a:gd name="connsiteX362" fmla="*/ 967545 w 6512821"/>
                <a:gd name="connsiteY362" fmla="*/ 396631 h 1648590"/>
                <a:gd name="connsiteX363" fmla="*/ 967545 w 6512821"/>
                <a:gd name="connsiteY363" fmla="*/ 667825 h 1648590"/>
                <a:gd name="connsiteX364" fmla="*/ 496472 w 6512821"/>
                <a:gd name="connsiteY364" fmla="*/ 475110 h 1648590"/>
                <a:gd name="connsiteX365" fmla="*/ 255889 w 6512821"/>
                <a:gd name="connsiteY365" fmla="*/ 677984 h 1648590"/>
                <a:gd name="connsiteX366" fmla="*/ 0 w 6512821"/>
                <a:gd name="connsiteY366" fmla="*/ 562773 h 1648590"/>
                <a:gd name="connsiteX367" fmla="*/ 89747 w 6512821"/>
                <a:gd name="connsiteY367" fmla="*/ 483251 h 1648590"/>
                <a:gd name="connsiteX368" fmla="*/ 252893 w 6512821"/>
                <a:gd name="connsiteY368" fmla="*/ 556651 h 1648590"/>
                <a:gd name="connsiteX369" fmla="*/ 367063 w 6512821"/>
                <a:gd name="connsiteY369" fmla="*/ 478171 h 1648590"/>
                <a:gd name="connsiteX370" fmla="*/ 329353 w 6512821"/>
                <a:gd name="connsiteY370" fmla="*/ 426199 h 1648590"/>
                <a:gd name="connsiteX371" fmla="*/ 225344 w 6512821"/>
                <a:gd name="connsiteY371" fmla="*/ 394612 h 1648590"/>
                <a:gd name="connsiteX372" fmla="*/ 79522 w 6512821"/>
                <a:gd name="connsiteY372" fmla="*/ 335475 h 1648590"/>
                <a:gd name="connsiteX373" fmla="*/ 24488 w 6512821"/>
                <a:gd name="connsiteY373" fmla="*/ 207042 h 1648590"/>
                <a:gd name="connsiteX374" fmla="*/ 254912 w 6512821"/>
                <a:gd name="connsiteY374" fmla="*/ 16412 h 1648590"/>
                <a:gd name="connsiteX375" fmla="*/ 482274 w 6512821"/>
                <a:gd name="connsiteY375" fmla="*/ 115277 h 1648590"/>
                <a:gd name="connsiteX376" fmla="*/ 392528 w 6512821"/>
                <a:gd name="connsiteY376" fmla="*/ 202939 h 1648590"/>
                <a:gd name="connsiteX377" fmla="*/ 246706 w 6512821"/>
                <a:gd name="connsiteY377" fmla="*/ 137681 h 1648590"/>
                <a:gd name="connsiteX378" fmla="*/ 152921 w 6512821"/>
                <a:gd name="connsiteY378" fmla="*/ 199878 h 1648590"/>
                <a:gd name="connsiteX379" fmla="*/ 179428 w 6512821"/>
                <a:gd name="connsiteY379" fmla="*/ 243710 h 1648590"/>
                <a:gd name="connsiteX380" fmla="*/ 282396 w 6512821"/>
                <a:gd name="connsiteY380" fmla="*/ 277381 h 1648590"/>
                <a:gd name="connsiteX381" fmla="*/ 438378 w 6512821"/>
                <a:gd name="connsiteY381" fmla="*/ 341598 h 1648590"/>
                <a:gd name="connsiteX382" fmla="*/ 496472 w 6512821"/>
                <a:gd name="connsiteY382" fmla="*/ 475176 h 1648590"/>
                <a:gd name="connsiteX383" fmla="*/ 6100885 w 6512821"/>
                <a:gd name="connsiteY383" fmla="*/ 208996 h 1648590"/>
                <a:gd name="connsiteX384" fmla="*/ 6051778 w 6512821"/>
                <a:gd name="connsiteY384" fmla="*/ 329288 h 1648590"/>
                <a:gd name="connsiteX385" fmla="*/ 5982482 w 6512821"/>
                <a:gd name="connsiteY385" fmla="*/ 299720 h 1648590"/>
                <a:gd name="connsiteX386" fmla="*/ 5911232 w 6512821"/>
                <a:gd name="connsiteY386" fmla="*/ 405749 h 1648590"/>
                <a:gd name="connsiteX387" fmla="*/ 5911232 w 6512821"/>
                <a:gd name="connsiteY387" fmla="*/ 667759 h 1648590"/>
                <a:gd name="connsiteX388" fmla="*/ 5790940 w 6512821"/>
                <a:gd name="connsiteY388" fmla="*/ 667759 h 1648590"/>
                <a:gd name="connsiteX389" fmla="*/ 5790940 w 6512821"/>
                <a:gd name="connsiteY389" fmla="*/ 186527 h 1648590"/>
                <a:gd name="connsiteX390" fmla="*/ 5911232 w 6512821"/>
                <a:gd name="connsiteY390" fmla="*/ 186527 h 1648590"/>
                <a:gd name="connsiteX391" fmla="*/ 5911232 w 6512821"/>
                <a:gd name="connsiteY391" fmla="*/ 220198 h 1648590"/>
                <a:gd name="connsiteX392" fmla="*/ 6012181 w 6512821"/>
                <a:gd name="connsiteY392" fmla="*/ 176367 h 1648590"/>
                <a:gd name="connsiteX393" fmla="*/ 6100885 w 6512821"/>
                <a:gd name="connsiteY393" fmla="*/ 208996 h 16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</a:cxnLst>
              <a:rect l="l" t="t" r="r" b="b"/>
              <a:pathLst>
                <a:path w="6512821" h="1648590">
                  <a:moveTo>
                    <a:pt x="5071143" y="1396740"/>
                  </a:moveTo>
                  <a:cubicBezTo>
                    <a:pt x="5071143" y="1412045"/>
                    <a:pt x="5070101" y="1431388"/>
                    <a:pt x="5069124" y="1438552"/>
                  </a:cubicBezTo>
                  <a:lnTo>
                    <a:pt x="4777545" y="1438552"/>
                  </a:lnTo>
                  <a:cubicBezTo>
                    <a:pt x="4782625" y="1505829"/>
                    <a:pt x="4828541" y="1533378"/>
                    <a:pt x="4880513" y="1533378"/>
                  </a:cubicBezTo>
                  <a:cubicBezTo>
                    <a:pt x="4911123" y="1533378"/>
                    <a:pt x="4939649" y="1524196"/>
                    <a:pt x="4964137" y="1499707"/>
                  </a:cubicBezTo>
                  <a:lnTo>
                    <a:pt x="5049781" y="1572065"/>
                  </a:lnTo>
                  <a:cubicBezTo>
                    <a:pt x="5004908" y="1628140"/>
                    <a:pt x="4936588" y="1648525"/>
                    <a:pt x="4875433" y="1648525"/>
                  </a:cubicBezTo>
                  <a:cubicBezTo>
                    <a:pt x="4734756" y="1648525"/>
                    <a:pt x="4654192" y="1540478"/>
                    <a:pt x="4654192" y="1398759"/>
                  </a:cubicBezTo>
                  <a:cubicBezTo>
                    <a:pt x="4654192" y="1244795"/>
                    <a:pt x="4749019" y="1146908"/>
                    <a:pt x="4867292" y="1146908"/>
                  </a:cubicBezTo>
                  <a:cubicBezTo>
                    <a:pt x="4993706" y="1146908"/>
                    <a:pt x="5071208" y="1258016"/>
                    <a:pt x="5071208" y="1396675"/>
                  </a:cubicBezTo>
                  <a:close/>
                  <a:moveTo>
                    <a:pt x="4779564" y="1344767"/>
                  </a:moveTo>
                  <a:lnTo>
                    <a:pt x="4950851" y="1344767"/>
                  </a:lnTo>
                  <a:cubicBezTo>
                    <a:pt x="4946748" y="1290711"/>
                    <a:pt x="4912100" y="1254044"/>
                    <a:pt x="4863189" y="1254044"/>
                  </a:cubicBezTo>
                  <a:cubicBezTo>
                    <a:pt x="4805094" y="1254044"/>
                    <a:pt x="4782625" y="1305039"/>
                    <a:pt x="4779564" y="1344767"/>
                  </a:cubicBezTo>
                  <a:close/>
                  <a:moveTo>
                    <a:pt x="6512756" y="1396740"/>
                  </a:moveTo>
                  <a:cubicBezTo>
                    <a:pt x="6512756" y="1412045"/>
                    <a:pt x="6511714" y="1431388"/>
                    <a:pt x="6510737" y="1438552"/>
                  </a:cubicBezTo>
                  <a:lnTo>
                    <a:pt x="6219158" y="1438552"/>
                  </a:lnTo>
                  <a:cubicBezTo>
                    <a:pt x="6224238" y="1505829"/>
                    <a:pt x="6270154" y="1533378"/>
                    <a:pt x="6322126" y="1533378"/>
                  </a:cubicBezTo>
                  <a:cubicBezTo>
                    <a:pt x="6352736" y="1533378"/>
                    <a:pt x="6381262" y="1524196"/>
                    <a:pt x="6405751" y="1499707"/>
                  </a:cubicBezTo>
                  <a:lnTo>
                    <a:pt x="6491394" y="1572065"/>
                  </a:lnTo>
                  <a:cubicBezTo>
                    <a:pt x="6446521" y="1628140"/>
                    <a:pt x="6378201" y="1648525"/>
                    <a:pt x="6317046" y="1648525"/>
                  </a:cubicBezTo>
                  <a:cubicBezTo>
                    <a:pt x="6176369" y="1648525"/>
                    <a:pt x="6095805" y="1540478"/>
                    <a:pt x="6095805" y="1398759"/>
                  </a:cubicBezTo>
                  <a:cubicBezTo>
                    <a:pt x="6095805" y="1244795"/>
                    <a:pt x="6190632" y="1146908"/>
                    <a:pt x="6308905" y="1146908"/>
                  </a:cubicBezTo>
                  <a:cubicBezTo>
                    <a:pt x="6435319" y="1146908"/>
                    <a:pt x="6512821" y="1258016"/>
                    <a:pt x="6512821" y="1396675"/>
                  </a:cubicBezTo>
                  <a:close/>
                  <a:moveTo>
                    <a:pt x="6221177" y="1344767"/>
                  </a:moveTo>
                  <a:lnTo>
                    <a:pt x="6392465" y="1344767"/>
                  </a:lnTo>
                  <a:cubicBezTo>
                    <a:pt x="6388361" y="1290711"/>
                    <a:pt x="6353713" y="1254044"/>
                    <a:pt x="6304802" y="1254044"/>
                  </a:cubicBezTo>
                  <a:cubicBezTo>
                    <a:pt x="6246708" y="1254044"/>
                    <a:pt x="6224238" y="1305039"/>
                    <a:pt x="6221177" y="1344767"/>
                  </a:cubicBezTo>
                  <a:close/>
                  <a:moveTo>
                    <a:pt x="5978509" y="1467143"/>
                  </a:moveTo>
                  <a:lnTo>
                    <a:pt x="6058031" y="1542561"/>
                  </a:lnTo>
                  <a:cubicBezTo>
                    <a:pt x="6017261" y="1594534"/>
                    <a:pt x="5961185" y="1648590"/>
                    <a:pt x="5866359" y="1648590"/>
                  </a:cubicBezTo>
                  <a:cubicBezTo>
                    <a:pt x="5734865" y="1648590"/>
                    <a:pt x="5637954" y="1543604"/>
                    <a:pt x="5637954" y="1398823"/>
                  </a:cubicBezTo>
                  <a:cubicBezTo>
                    <a:pt x="5637954" y="1266288"/>
                    <a:pt x="5718518" y="1146973"/>
                    <a:pt x="5868378" y="1146973"/>
                  </a:cubicBezTo>
                  <a:cubicBezTo>
                    <a:pt x="5954021" y="1146973"/>
                    <a:pt x="6013157" y="1185724"/>
                    <a:pt x="6056989" y="1250983"/>
                  </a:cubicBezTo>
                  <a:lnTo>
                    <a:pt x="5975448" y="1333565"/>
                  </a:lnTo>
                  <a:cubicBezTo>
                    <a:pt x="5946922" y="1295856"/>
                    <a:pt x="5916312" y="1266288"/>
                    <a:pt x="5867401" y="1266288"/>
                  </a:cubicBezTo>
                  <a:cubicBezTo>
                    <a:pt x="5801100" y="1266288"/>
                    <a:pt x="5766452" y="1322363"/>
                    <a:pt x="5766452" y="1396804"/>
                  </a:cubicBezTo>
                  <a:cubicBezTo>
                    <a:pt x="5766452" y="1466101"/>
                    <a:pt x="5797062" y="1528299"/>
                    <a:pt x="5868378" y="1528299"/>
                  </a:cubicBezTo>
                  <a:cubicBezTo>
                    <a:pt x="5912209" y="1528299"/>
                    <a:pt x="5948941" y="1504852"/>
                    <a:pt x="5978509" y="1467143"/>
                  </a:cubicBezTo>
                  <a:close/>
                  <a:moveTo>
                    <a:pt x="4869246" y="667825"/>
                  </a:moveTo>
                  <a:lnTo>
                    <a:pt x="4750973" y="667825"/>
                  </a:lnTo>
                  <a:lnTo>
                    <a:pt x="4750973" y="634153"/>
                  </a:lnTo>
                  <a:cubicBezTo>
                    <a:pt x="4724466" y="663721"/>
                    <a:pt x="4681676" y="677984"/>
                    <a:pt x="4638822" y="677984"/>
                  </a:cubicBezTo>
                  <a:cubicBezTo>
                    <a:pt x="4514427" y="677984"/>
                    <a:pt x="4467535" y="588238"/>
                    <a:pt x="4467535" y="458763"/>
                  </a:cubicBezTo>
                  <a:lnTo>
                    <a:pt x="4467535" y="186527"/>
                  </a:lnTo>
                  <a:lnTo>
                    <a:pt x="4587827" y="186527"/>
                  </a:lnTo>
                  <a:lnTo>
                    <a:pt x="4587827" y="448538"/>
                  </a:lnTo>
                  <a:cubicBezTo>
                    <a:pt x="4587827" y="513797"/>
                    <a:pt x="4601113" y="562708"/>
                    <a:pt x="4668390" y="562708"/>
                  </a:cubicBezTo>
                  <a:cubicBezTo>
                    <a:pt x="4735668" y="562708"/>
                    <a:pt x="4748954" y="511712"/>
                    <a:pt x="4748954" y="452576"/>
                  </a:cubicBezTo>
                  <a:lnTo>
                    <a:pt x="4748954" y="186462"/>
                  </a:lnTo>
                  <a:lnTo>
                    <a:pt x="4869246" y="186462"/>
                  </a:lnTo>
                  <a:lnTo>
                    <a:pt x="4869246" y="667695"/>
                  </a:lnTo>
                  <a:close/>
                  <a:moveTo>
                    <a:pt x="5244449" y="527083"/>
                  </a:moveTo>
                  <a:lnTo>
                    <a:pt x="5227125" y="649458"/>
                  </a:lnTo>
                  <a:cubicBezTo>
                    <a:pt x="5202637" y="668802"/>
                    <a:pt x="5157829" y="677984"/>
                    <a:pt x="5128261" y="677984"/>
                  </a:cubicBezTo>
                  <a:cubicBezTo>
                    <a:pt x="5054861" y="677984"/>
                    <a:pt x="4997744" y="622951"/>
                    <a:pt x="4997744" y="535224"/>
                  </a:cubicBezTo>
                  <a:lnTo>
                    <a:pt x="4997744" y="301739"/>
                  </a:lnTo>
                  <a:lnTo>
                    <a:pt x="4928447" y="301739"/>
                  </a:lnTo>
                  <a:lnTo>
                    <a:pt x="4928447" y="186527"/>
                  </a:lnTo>
                  <a:lnTo>
                    <a:pt x="4997744" y="186527"/>
                  </a:lnTo>
                  <a:lnTo>
                    <a:pt x="4997744" y="61155"/>
                  </a:lnTo>
                  <a:lnTo>
                    <a:pt x="5118035" y="0"/>
                  </a:lnTo>
                  <a:lnTo>
                    <a:pt x="5118035" y="186592"/>
                  </a:lnTo>
                  <a:lnTo>
                    <a:pt x="5232205" y="186592"/>
                  </a:lnTo>
                  <a:lnTo>
                    <a:pt x="5232205" y="301804"/>
                  </a:lnTo>
                  <a:lnTo>
                    <a:pt x="5118035" y="301804"/>
                  </a:lnTo>
                  <a:lnTo>
                    <a:pt x="5118035" y="503701"/>
                  </a:lnTo>
                  <a:cubicBezTo>
                    <a:pt x="5118035" y="545514"/>
                    <a:pt x="5135360" y="560819"/>
                    <a:pt x="5164928" y="560819"/>
                  </a:cubicBezTo>
                  <a:cubicBezTo>
                    <a:pt x="5194496" y="560819"/>
                    <a:pt x="5225106" y="545514"/>
                    <a:pt x="5244449" y="527148"/>
                  </a:cubicBezTo>
                  <a:close/>
                  <a:moveTo>
                    <a:pt x="3417407" y="667825"/>
                  </a:moveTo>
                  <a:lnTo>
                    <a:pt x="3297116" y="667825"/>
                  </a:lnTo>
                  <a:lnTo>
                    <a:pt x="3297116" y="405814"/>
                  </a:lnTo>
                  <a:cubicBezTo>
                    <a:pt x="3297116" y="340555"/>
                    <a:pt x="3282853" y="292621"/>
                    <a:pt x="3215575" y="292621"/>
                  </a:cubicBezTo>
                  <a:cubicBezTo>
                    <a:pt x="3148298" y="292621"/>
                    <a:pt x="3132993" y="336452"/>
                    <a:pt x="3132993" y="402753"/>
                  </a:cubicBezTo>
                  <a:lnTo>
                    <a:pt x="3132993" y="667825"/>
                  </a:lnTo>
                  <a:lnTo>
                    <a:pt x="3012701" y="667825"/>
                  </a:lnTo>
                  <a:lnTo>
                    <a:pt x="3012701" y="61221"/>
                  </a:lnTo>
                  <a:lnTo>
                    <a:pt x="3132993" y="65"/>
                  </a:lnTo>
                  <a:lnTo>
                    <a:pt x="3132993" y="220264"/>
                  </a:lnTo>
                  <a:cubicBezTo>
                    <a:pt x="3159500" y="193756"/>
                    <a:pt x="3192129" y="176432"/>
                    <a:pt x="3246186" y="176432"/>
                  </a:cubicBezTo>
                  <a:cubicBezTo>
                    <a:pt x="3373641" y="176432"/>
                    <a:pt x="3417473" y="274320"/>
                    <a:pt x="3417473" y="396631"/>
                  </a:cubicBezTo>
                  <a:lnTo>
                    <a:pt x="3417473" y="667825"/>
                  </a:lnTo>
                  <a:close/>
                  <a:moveTo>
                    <a:pt x="5564554" y="1638365"/>
                  </a:moveTo>
                  <a:lnTo>
                    <a:pt x="5440160" y="1638365"/>
                  </a:lnTo>
                  <a:lnTo>
                    <a:pt x="5440160" y="1376355"/>
                  </a:lnTo>
                  <a:cubicBezTo>
                    <a:pt x="5440160" y="1309077"/>
                    <a:pt x="5424855" y="1264204"/>
                    <a:pt x="5357577" y="1264204"/>
                  </a:cubicBezTo>
                  <a:cubicBezTo>
                    <a:pt x="5294337" y="1264204"/>
                    <a:pt x="5273952" y="1301913"/>
                    <a:pt x="5273952" y="1373293"/>
                  </a:cubicBezTo>
                  <a:lnTo>
                    <a:pt x="5273952" y="1638365"/>
                  </a:lnTo>
                  <a:lnTo>
                    <a:pt x="5149558" y="1638365"/>
                  </a:lnTo>
                  <a:lnTo>
                    <a:pt x="5149558" y="1157133"/>
                  </a:lnTo>
                  <a:lnTo>
                    <a:pt x="5273952" y="1157133"/>
                  </a:lnTo>
                  <a:lnTo>
                    <a:pt x="5273952" y="1189762"/>
                  </a:lnTo>
                  <a:cubicBezTo>
                    <a:pt x="5299418" y="1164297"/>
                    <a:pt x="5337192" y="1146973"/>
                    <a:pt x="5391183" y="1146973"/>
                  </a:cubicBezTo>
                  <a:cubicBezTo>
                    <a:pt x="5521700" y="1146973"/>
                    <a:pt x="5564490" y="1247922"/>
                    <a:pt x="5564490" y="1366195"/>
                  </a:cubicBezTo>
                  <a:lnTo>
                    <a:pt x="5564490" y="1638430"/>
                  </a:lnTo>
                  <a:close/>
                  <a:moveTo>
                    <a:pt x="4008772" y="1115386"/>
                  </a:moveTo>
                  <a:cubicBezTo>
                    <a:pt x="4048565" y="1115386"/>
                    <a:pt x="4080152" y="1083798"/>
                    <a:pt x="4080152" y="1044005"/>
                  </a:cubicBezTo>
                  <a:cubicBezTo>
                    <a:pt x="4080152" y="1004212"/>
                    <a:pt x="4048565" y="972624"/>
                    <a:pt x="4008772" y="972624"/>
                  </a:cubicBezTo>
                  <a:cubicBezTo>
                    <a:pt x="3968978" y="972624"/>
                    <a:pt x="3937391" y="1004212"/>
                    <a:pt x="3937391" y="1044005"/>
                  </a:cubicBezTo>
                  <a:cubicBezTo>
                    <a:pt x="3937391" y="1083798"/>
                    <a:pt x="3968978" y="1115386"/>
                    <a:pt x="4008772" y="1115386"/>
                  </a:cubicBezTo>
                  <a:close/>
                  <a:moveTo>
                    <a:pt x="829864" y="1115386"/>
                  </a:moveTo>
                  <a:cubicBezTo>
                    <a:pt x="869657" y="1115386"/>
                    <a:pt x="901244" y="1083798"/>
                    <a:pt x="901244" y="1044005"/>
                  </a:cubicBezTo>
                  <a:cubicBezTo>
                    <a:pt x="901244" y="1004212"/>
                    <a:pt x="869657" y="972624"/>
                    <a:pt x="829864" y="972624"/>
                  </a:cubicBezTo>
                  <a:cubicBezTo>
                    <a:pt x="790070" y="972624"/>
                    <a:pt x="758483" y="1004212"/>
                    <a:pt x="758483" y="1044005"/>
                  </a:cubicBezTo>
                  <a:cubicBezTo>
                    <a:pt x="758483" y="1083798"/>
                    <a:pt x="790070" y="1115386"/>
                    <a:pt x="829864" y="1115386"/>
                  </a:cubicBezTo>
                  <a:close/>
                  <a:moveTo>
                    <a:pt x="6512756" y="426134"/>
                  </a:moveTo>
                  <a:cubicBezTo>
                    <a:pt x="6512756" y="441439"/>
                    <a:pt x="6511714" y="460782"/>
                    <a:pt x="6510737" y="467946"/>
                  </a:cubicBezTo>
                  <a:lnTo>
                    <a:pt x="6219158" y="467946"/>
                  </a:lnTo>
                  <a:cubicBezTo>
                    <a:pt x="6224238" y="535224"/>
                    <a:pt x="6270154" y="562773"/>
                    <a:pt x="6322126" y="562773"/>
                  </a:cubicBezTo>
                  <a:cubicBezTo>
                    <a:pt x="6352736" y="562773"/>
                    <a:pt x="6381262" y="553590"/>
                    <a:pt x="6405751" y="529102"/>
                  </a:cubicBezTo>
                  <a:lnTo>
                    <a:pt x="6491394" y="601459"/>
                  </a:lnTo>
                  <a:cubicBezTo>
                    <a:pt x="6446521" y="657535"/>
                    <a:pt x="6378201" y="677919"/>
                    <a:pt x="6317046" y="677919"/>
                  </a:cubicBezTo>
                  <a:cubicBezTo>
                    <a:pt x="6176369" y="677919"/>
                    <a:pt x="6095805" y="569872"/>
                    <a:pt x="6095805" y="428153"/>
                  </a:cubicBezTo>
                  <a:cubicBezTo>
                    <a:pt x="6095805" y="274190"/>
                    <a:pt x="6190632" y="176302"/>
                    <a:pt x="6308905" y="176302"/>
                  </a:cubicBezTo>
                  <a:cubicBezTo>
                    <a:pt x="6435319" y="176302"/>
                    <a:pt x="6512821" y="287411"/>
                    <a:pt x="6512821" y="426069"/>
                  </a:cubicBezTo>
                  <a:close/>
                  <a:moveTo>
                    <a:pt x="6221177" y="374162"/>
                  </a:moveTo>
                  <a:lnTo>
                    <a:pt x="6392465" y="374162"/>
                  </a:lnTo>
                  <a:cubicBezTo>
                    <a:pt x="6388361" y="320105"/>
                    <a:pt x="6353713" y="283438"/>
                    <a:pt x="6304802" y="283438"/>
                  </a:cubicBezTo>
                  <a:cubicBezTo>
                    <a:pt x="6246708" y="283438"/>
                    <a:pt x="6224238" y="334433"/>
                    <a:pt x="6221177" y="374162"/>
                  </a:cubicBezTo>
                  <a:close/>
                  <a:moveTo>
                    <a:pt x="5702235" y="667825"/>
                  </a:moveTo>
                  <a:lnTo>
                    <a:pt x="5583963" y="667825"/>
                  </a:lnTo>
                  <a:lnTo>
                    <a:pt x="5583963" y="634153"/>
                  </a:lnTo>
                  <a:cubicBezTo>
                    <a:pt x="5557456" y="663721"/>
                    <a:pt x="5514666" y="677984"/>
                    <a:pt x="5471812" y="677984"/>
                  </a:cubicBezTo>
                  <a:cubicBezTo>
                    <a:pt x="5347417" y="677984"/>
                    <a:pt x="5300525" y="588238"/>
                    <a:pt x="5300525" y="458763"/>
                  </a:cubicBezTo>
                  <a:lnTo>
                    <a:pt x="5300525" y="186527"/>
                  </a:lnTo>
                  <a:lnTo>
                    <a:pt x="5420817" y="186527"/>
                  </a:lnTo>
                  <a:lnTo>
                    <a:pt x="5420817" y="448538"/>
                  </a:lnTo>
                  <a:cubicBezTo>
                    <a:pt x="5420817" y="513797"/>
                    <a:pt x="5434103" y="562708"/>
                    <a:pt x="5501380" y="562708"/>
                  </a:cubicBezTo>
                  <a:cubicBezTo>
                    <a:pt x="5568657" y="562708"/>
                    <a:pt x="5581944" y="511712"/>
                    <a:pt x="5581944" y="452576"/>
                  </a:cubicBezTo>
                  <a:lnTo>
                    <a:pt x="5581944" y="186462"/>
                  </a:lnTo>
                  <a:lnTo>
                    <a:pt x="5702235" y="186462"/>
                  </a:lnTo>
                  <a:lnTo>
                    <a:pt x="5702235" y="667695"/>
                  </a:lnTo>
                  <a:close/>
                  <a:moveTo>
                    <a:pt x="3895579" y="426134"/>
                  </a:moveTo>
                  <a:cubicBezTo>
                    <a:pt x="3895579" y="441439"/>
                    <a:pt x="3894537" y="460782"/>
                    <a:pt x="3893560" y="467946"/>
                  </a:cubicBezTo>
                  <a:lnTo>
                    <a:pt x="3601981" y="467946"/>
                  </a:lnTo>
                  <a:cubicBezTo>
                    <a:pt x="3607061" y="535224"/>
                    <a:pt x="3652976" y="562773"/>
                    <a:pt x="3704949" y="562773"/>
                  </a:cubicBezTo>
                  <a:cubicBezTo>
                    <a:pt x="3735559" y="562773"/>
                    <a:pt x="3764085" y="553590"/>
                    <a:pt x="3788573" y="529102"/>
                  </a:cubicBezTo>
                  <a:lnTo>
                    <a:pt x="3874217" y="601459"/>
                  </a:lnTo>
                  <a:cubicBezTo>
                    <a:pt x="3829343" y="657535"/>
                    <a:pt x="3761024" y="677919"/>
                    <a:pt x="3699868" y="677919"/>
                  </a:cubicBezTo>
                  <a:cubicBezTo>
                    <a:pt x="3559192" y="677919"/>
                    <a:pt x="3478628" y="569872"/>
                    <a:pt x="3478628" y="428153"/>
                  </a:cubicBezTo>
                  <a:cubicBezTo>
                    <a:pt x="3478628" y="274190"/>
                    <a:pt x="3573455" y="176302"/>
                    <a:pt x="3691727" y="176302"/>
                  </a:cubicBezTo>
                  <a:cubicBezTo>
                    <a:pt x="3818141" y="176302"/>
                    <a:pt x="3895644" y="287411"/>
                    <a:pt x="3895644" y="426069"/>
                  </a:cubicBezTo>
                  <a:close/>
                  <a:moveTo>
                    <a:pt x="3604000" y="374162"/>
                  </a:moveTo>
                  <a:lnTo>
                    <a:pt x="3775287" y="374162"/>
                  </a:lnTo>
                  <a:cubicBezTo>
                    <a:pt x="3771184" y="320105"/>
                    <a:pt x="3736536" y="283438"/>
                    <a:pt x="3687624" y="283438"/>
                  </a:cubicBezTo>
                  <a:cubicBezTo>
                    <a:pt x="3629530" y="283438"/>
                    <a:pt x="3607061" y="334433"/>
                    <a:pt x="3604000" y="374162"/>
                  </a:cubicBezTo>
                  <a:close/>
                  <a:moveTo>
                    <a:pt x="4579686" y="1638365"/>
                  </a:moveTo>
                  <a:lnTo>
                    <a:pt x="4455291" y="1638365"/>
                  </a:lnTo>
                  <a:lnTo>
                    <a:pt x="4455291" y="1606778"/>
                  </a:lnTo>
                  <a:cubicBezTo>
                    <a:pt x="4414521" y="1636346"/>
                    <a:pt x="4390032" y="1648590"/>
                    <a:pt x="4346201" y="1648590"/>
                  </a:cubicBezTo>
                  <a:cubicBezTo>
                    <a:pt x="4207543" y="1648590"/>
                    <a:pt x="4148406" y="1528299"/>
                    <a:pt x="4148406" y="1393678"/>
                  </a:cubicBezTo>
                  <a:cubicBezTo>
                    <a:pt x="4148406" y="1247856"/>
                    <a:pt x="4217703" y="1146973"/>
                    <a:pt x="4343140" y="1146973"/>
                  </a:cubicBezTo>
                  <a:cubicBezTo>
                    <a:pt x="4384952" y="1146973"/>
                    <a:pt x="4424681" y="1158175"/>
                    <a:pt x="4455291" y="1185724"/>
                  </a:cubicBezTo>
                  <a:lnTo>
                    <a:pt x="4455291" y="1031761"/>
                  </a:lnTo>
                  <a:lnTo>
                    <a:pt x="4579686" y="969564"/>
                  </a:lnTo>
                  <a:lnTo>
                    <a:pt x="4579686" y="1638365"/>
                  </a:lnTo>
                  <a:close/>
                  <a:moveTo>
                    <a:pt x="4455356" y="1489547"/>
                  </a:moveTo>
                  <a:lnTo>
                    <a:pt x="4455356" y="1306016"/>
                  </a:lnTo>
                  <a:cubicBezTo>
                    <a:pt x="4428849" y="1277490"/>
                    <a:pt x="4403384" y="1264204"/>
                    <a:pt x="4368670" y="1264204"/>
                  </a:cubicBezTo>
                  <a:cubicBezTo>
                    <a:pt x="4296313" y="1264204"/>
                    <a:pt x="4278924" y="1321321"/>
                    <a:pt x="4278924" y="1389575"/>
                  </a:cubicBezTo>
                  <a:cubicBezTo>
                    <a:pt x="4278924" y="1467078"/>
                    <a:pt x="4301328" y="1531294"/>
                    <a:pt x="4371731" y="1531294"/>
                  </a:cubicBezTo>
                  <a:cubicBezTo>
                    <a:pt x="4406380" y="1531294"/>
                    <a:pt x="4430868" y="1515989"/>
                    <a:pt x="4455356" y="1489482"/>
                  </a:cubicBezTo>
                  <a:close/>
                  <a:moveTo>
                    <a:pt x="3945532" y="1157198"/>
                  </a:moveTo>
                  <a:lnTo>
                    <a:pt x="3945532" y="1638430"/>
                  </a:lnTo>
                  <a:lnTo>
                    <a:pt x="4069927" y="1638430"/>
                  </a:lnTo>
                  <a:lnTo>
                    <a:pt x="4069927" y="1157198"/>
                  </a:lnTo>
                  <a:lnTo>
                    <a:pt x="3945532" y="1157198"/>
                  </a:lnTo>
                  <a:close/>
                  <a:moveTo>
                    <a:pt x="3873175" y="985911"/>
                  </a:moveTo>
                  <a:lnTo>
                    <a:pt x="3873175" y="1085817"/>
                  </a:lnTo>
                  <a:cubicBezTo>
                    <a:pt x="3854809" y="1079695"/>
                    <a:pt x="3830386" y="1076634"/>
                    <a:pt x="3812019" y="1076634"/>
                  </a:cubicBezTo>
                  <a:cubicBezTo>
                    <a:pt x="3776329" y="1076634"/>
                    <a:pt x="3760047" y="1087836"/>
                    <a:pt x="3760047" y="1118447"/>
                  </a:cubicBezTo>
                  <a:lnTo>
                    <a:pt x="3760047" y="1157198"/>
                  </a:lnTo>
                  <a:lnTo>
                    <a:pt x="3863015" y="1157198"/>
                  </a:lnTo>
                  <a:lnTo>
                    <a:pt x="3863015" y="1273452"/>
                  </a:lnTo>
                  <a:lnTo>
                    <a:pt x="3760047" y="1273452"/>
                  </a:lnTo>
                  <a:lnTo>
                    <a:pt x="3760047" y="1638430"/>
                  </a:lnTo>
                  <a:lnTo>
                    <a:pt x="3635652" y="1638430"/>
                  </a:lnTo>
                  <a:lnTo>
                    <a:pt x="3635652" y="1273452"/>
                  </a:lnTo>
                  <a:lnTo>
                    <a:pt x="3568375" y="1273452"/>
                  </a:lnTo>
                  <a:lnTo>
                    <a:pt x="3568375" y="1157198"/>
                  </a:lnTo>
                  <a:lnTo>
                    <a:pt x="3635652" y="1157198"/>
                  </a:lnTo>
                  <a:lnTo>
                    <a:pt x="3635652" y="1099104"/>
                  </a:lnTo>
                  <a:cubicBezTo>
                    <a:pt x="3635652" y="1009357"/>
                    <a:pt x="3691727" y="972690"/>
                    <a:pt x="3782451" y="972690"/>
                  </a:cubicBezTo>
                  <a:cubicBezTo>
                    <a:pt x="3808958" y="972690"/>
                    <a:pt x="3847710" y="975751"/>
                    <a:pt x="3873175" y="985976"/>
                  </a:cubicBezTo>
                  <a:close/>
                  <a:moveTo>
                    <a:pt x="3507154" y="1638365"/>
                  </a:moveTo>
                  <a:lnTo>
                    <a:pt x="3382759" y="1638365"/>
                  </a:lnTo>
                  <a:lnTo>
                    <a:pt x="3382759" y="1376355"/>
                  </a:lnTo>
                  <a:cubicBezTo>
                    <a:pt x="3382759" y="1309077"/>
                    <a:pt x="3367454" y="1264204"/>
                    <a:pt x="3300177" y="1264204"/>
                  </a:cubicBezTo>
                  <a:cubicBezTo>
                    <a:pt x="3236937" y="1264204"/>
                    <a:pt x="3216552" y="1301913"/>
                    <a:pt x="3216552" y="1373293"/>
                  </a:cubicBezTo>
                  <a:lnTo>
                    <a:pt x="3216552" y="1638365"/>
                  </a:lnTo>
                  <a:lnTo>
                    <a:pt x="3092157" y="1638365"/>
                  </a:lnTo>
                  <a:lnTo>
                    <a:pt x="3092157" y="1157133"/>
                  </a:lnTo>
                  <a:lnTo>
                    <a:pt x="3216552" y="1157133"/>
                  </a:lnTo>
                  <a:lnTo>
                    <a:pt x="3216552" y="1189762"/>
                  </a:lnTo>
                  <a:cubicBezTo>
                    <a:pt x="3242017" y="1164297"/>
                    <a:pt x="3279792" y="1146973"/>
                    <a:pt x="3333783" y="1146973"/>
                  </a:cubicBezTo>
                  <a:cubicBezTo>
                    <a:pt x="3464300" y="1146973"/>
                    <a:pt x="3507089" y="1247922"/>
                    <a:pt x="3507089" y="1366195"/>
                  </a:cubicBezTo>
                  <a:lnTo>
                    <a:pt x="3507089" y="1638430"/>
                  </a:lnTo>
                  <a:close/>
                  <a:moveTo>
                    <a:pt x="2792437" y="1146973"/>
                  </a:moveTo>
                  <a:cubicBezTo>
                    <a:pt x="2653779" y="1146973"/>
                    <a:pt x="2567094" y="1256063"/>
                    <a:pt x="2567094" y="1397782"/>
                  </a:cubicBezTo>
                  <a:cubicBezTo>
                    <a:pt x="2567094" y="1546665"/>
                    <a:pt x="2661920" y="1648590"/>
                    <a:pt x="2792437" y="1648590"/>
                  </a:cubicBezTo>
                  <a:cubicBezTo>
                    <a:pt x="2922954" y="1648590"/>
                    <a:pt x="3017781" y="1546665"/>
                    <a:pt x="3017781" y="1397782"/>
                  </a:cubicBezTo>
                  <a:cubicBezTo>
                    <a:pt x="3017781" y="1248899"/>
                    <a:pt x="2931095" y="1146973"/>
                    <a:pt x="2792437" y="1146973"/>
                  </a:cubicBezTo>
                  <a:close/>
                  <a:moveTo>
                    <a:pt x="2792437" y="1528299"/>
                  </a:moveTo>
                  <a:cubicBezTo>
                    <a:pt x="2712916" y="1528299"/>
                    <a:pt x="2695592" y="1451838"/>
                    <a:pt x="2695592" y="1397782"/>
                  </a:cubicBezTo>
                  <a:cubicBezTo>
                    <a:pt x="2695592" y="1323340"/>
                    <a:pt x="2726202" y="1266288"/>
                    <a:pt x="2792437" y="1266288"/>
                  </a:cubicBezTo>
                  <a:cubicBezTo>
                    <a:pt x="2858673" y="1266288"/>
                    <a:pt x="2889283" y="1323405"/>
                    <a:pt x="2889283" y="1397782"/>
                  </a:cubicBezTo>
                  <a:cubicBezTo>
                    <a:pt x="2889283" y="1451838"/>
                    <a:pt x="2871959" y="1528299"/>
                    <a:pt x="2792437" y="1528299"/>
                  </a:cubicBezTo>
                  <a:close/>
                  <a:moveTo>
                    <a:pt x="2446802" y="1467143"/>
                  </a:moveTo>
                  <a:lnTo>
                    <a:pt x="2526323" y="1542561"/>
                  </a:lnTo>
                  <a:cubicBezTo>
                    <a:pt x="2485553" y="1594534"/>
                    <a:pt x="2429478" y="1648590"/>
                    <a:pt x="2334651" y="1648590"/>
                  </a:cubicBezTo>
                  <a:cubicBezTo>
                    <a:pt x="2203157" y="1648590"/>
                    <a:pt x="2106246" y="1543604"/>
                    <a:pt x="2106246" y="1398823"/>
                  </a:cubicBezTo>
                  <a:cubicBezTo>
                    <a:pt x="2106246" y="1266288"/>
                    <a:pt x="2186810" y="1146973"/>
                    <a:pt x="2336670" y="1146973"/>
                  </a:cubicBezTo>
                  <a:cubicBezTo>
                    <a:pt x="2422314" y="1146973"/>
                    <a:pt x="2481450" y="1185724"/>
                    <a:pt x="2525281" y="1250983"/>
                  </a:cubicBezTo>
                  <a:lnTo>
                    <a:pt x="2443741" y="1333565"/>
                  </a:lnTo>
                  <a:cubicBezTo>
                    <a:pt x="2415215" y="1295856"/>
                    <a:pt x="2384604" y="1266288"/>
                    <a:pt x="2335693" y="1266288"/>
                  </a:cubicBezTo>
                  <a:cubicBezTo>
                    <a:pt x="2269393" y="1266288"/>
                    <a:pt x="2234744" y="1322363"/>
                    <a:pt x="2234744" y="1396804"/>
                  </a:cubicBezTo>
                  <a:cubicBezTo>
                    <a:pt x="2234744" y="1466101"/>
                    <a:pt x="2265355" y="1528299"/>
                    <a:pt x="2336670" y="1528299"/>
                  </a:cubicBezTo>
                  <a:cubicBezTo>
                    <a:pt x="2380501" y="1528299"/>
                    <a:pt x="2417234" y="1504852"/>
                    <a:pt x="2446802" y="1467143"/>
                  </a:cubicBezTo>
                  <a:close/>
                  <a:moveTo>
                    <a:pt x="1803530" y="1638365"/>
                  </a:moveTo>
                  <a:lnTo>
                    <a:pt x="1679135" y="1638365"/>
                  </a:lnTo>
                  <a:lnTo>
                    <a:pt x="1679135" y="1376355"/>
                  </a:lnTo>
                  <a:cubicBezTo>
                    <a:pt x="1679135" y="1309077"/>
                    <a:pt x="1663830" y="1264204"/>
                    <a:pt x="1596553" y="1264204"/>
                  </a:cubicBezTo>
                  <a:cubicBezTo>
                    <a:pt x="1533314" y="1264204"/>
                    <a:pt x="1511951" y="1301913"/>
                    <a:pt x="1511951" y="1373293"/>
                  </a:cubicBezTo>
                  <a:lnTo>
                    <a:pt x="1511951" y="1638365"/>
                  </a:lnTo>
                  <a:lnTo>
                    <a:pt x="1387557" y="1638365"/>
                  </a:lnTo>
                  <a:lnTo>
                    <a:pt x="1387557" y="1031761"/>
                  </a:lnTo>
                  <a:lnTo>
                    <a:pt x="1511951" y="969564"/>
                  </a:lnTo>
                  <a:lnTo>
                    <a:pt x="1511951" y="1189762"/>
                  </a:lnTo>
                  <a:cubicBezTo>
                    <a:pt x="1535398" y="1161236"/>
                    <a:pt x="1584309" y="1146973"/>
                    <a:pt x="1632243" y="1146973"/>
                  </a:cubicBezTo>
                  <a:cubicBezTo>
                    <a:pt x="1758657" y="1146973"/>
                    <a:pt x="1803530" y="1246880"/>
                    <a:pt x="1803530" y="1366195"/>
                  </a:cubicBezTo>
                  <a:lnTo>
                    <a:pt x="1803530" y="1638430"/>
                  </a:lnTo>
                  <a:close/>
                  <a:moveTo>
                    <a:pt x="1311031" y="1493650"/>
                  </a:moveTo>
                  <a:lnTo>
                    <a:pt x="1292665" y="1619022"/>
                  </a:lnTo>
                  <a:cubicBezTo>
                    <a:pt x="1267200" y="1639407"/>
                    <a:pt x="1205979" y="1648590"/>
                    <a:pt x="1173350" y="1648590"/>
                  </a:cubicBezTo>
                  <a:cubicBezTo>
                    <a:pt x="1097931" y="1648590"/>
                    <a:pt x="1043875" y="1588412"/>
                    <a:pt x="1043875" y="1504852"/>
                  </a:cubicBezTo>
                  <a:lnTo>
                    <a:pt x="1043875" y="1273387"/>
                  </a:lnTo>
                  <a:lnTo>
                    <a:pt x="960250" y="1273387"/>
                  </a:lnTo>
                  <a:lnTo>
                    <a:pt x="960250" y="1157133"/>
                  </a:lnTo>
                  <a:lnTo>
                    <a:pt x="1043875" y="1157133"/>
                  </a:lnTo>
                  <a:lnTo>
                    <a:pt x="1043875" y="1031761"/>
                  </a:lnTo>
                  <a:lnTo>
                    <a:pt x="1168270" y="969564"/>
                  </a:lnTo>
                  <a:lnTo>
                    <a:pt x="1168270" y="1157133"/>
                  </a:lnTo>
                  <a:lnTo>
                    <a:pt x="1308947" y="1157133"/>
                  </a:lnTo>
                  <a:lnTo>
                    <a:pt x="1308947" y="1273387"/>
                  </a:lnTo>
                  <a:lnTo>
                    <a:pt x="1168270" y="1273387"/>
                  </a:lnTo>
                  <a:lnTo>
                    <a:pt x="1168270" y="1471181"/>
                  </a:lnTo>
                  <a:cubicBezTo>
                    <a:pt x="1168270" y="1515012"/>
                    <a:pt x="1184552" y="1529275"/>
                    <a:pt x="1214120" y="1529275"/>
                  </a:cubicBezTo>
                  <a:cubicBezTo>
                    <a:pt x="1243688" y="1529275"/>
                    <a:pt x="1289539" y="1513970"/>
                    <a:pt x="1310966" y="1493585"/>
                  </a:cubicBezTo>
                  <a:close/>
                  <a:moveTo>
                    <a:pt x="767666" y="1157198"/>
                  </a:moveTo>
                  <a:lnTo>
                    <a:pt x="767666" y="1638430"/>
                  </a:lnTo>
                  <a:lnTo>
                    <a:pt x="892061" y="1638430"/>
                  </a:lnTo>
                  <a:lnTo>
                    <a:pt x="892061" y="1157198"/>
                  </a:lnTo>
                  <a:lnTo>
                    <a:pt x="767666" y="1157198"/>
                  </a:lnTo>
                  <a:close/>
                  <a:moveTo>
                    <a:pt x="702408" y="1157198"/>
                  </a:moveTo>
                  <a:lnTo>
                    <a:pt x="550529" y="1638430"/>
                  </a:lnTo>
                  <a:lnTo>
                    <a:pt x="436359" y="1638430"/>
                  </a:lnTo>
                  <a:lnTo>
                    <a:pt x="354819" y="1345809"/>
                  </a:lnTo>
                  <a:lnTo>
                    <a:pt x="272236" y="1638430"/>
                  </a:lnTo>
                  <a:lnTo>
                    <a:pt x="158066" y="1638430"/>
                  </a:lnTo>
                  <a:lnTo>
                    <a:pt x="7099" y="1157198"/>
                  </a:lnTo>
                  <a:lnTo>
                    <a:pt x="145757" y="1157198"/>
                  </a:lnTo>
                  <a:lnTo>
                    <a:pt x="218114" y="1436533"/>
                  </a:lnTo>
                  <a:lnTo>
                    <a:pt x="299655" y="1157198"/>
                  </a:lnTo>
                  <a:lnTo>
                    <a:pt x="412848" y="1157198"/>
                  </a:lnTo>
                  <a:lnTo>
                    <a:pt x="494388" y="1436533"/>
                  </a:lnTo>
                  <a:lnTo>
                    <a:pt x="567788" y="1157198"/>
                  </a:lnTo>
                  <a:lnTo>
                    <a:pt x="702343" y="1157198"/>
                  </a:lnTo>
                  <a:close/>
                  <a:moveTo>
                    <a:pt x="4436990" y="16282"/>
                  </a:moveTo>
                  <a:lnTo>
                    <a:pt x="4436990" y="115147"/>
                  </a:lnTo>
                  <a:cubicBezTo>
                    <a:pt x="4409441" y="107983"/>
                    <a:pt x="4391139" y="104921"/>
                    <a:pt x="4374792" y="104921"/>
                  </a:cubicBezTo>
                  <a:cubicBezTo>
                    <a:pt x="4332003" y="104921"/>
                    <a:pt x="4322820" y="120227"/>
                    <a:pt x="4322820" y="144715"/>
                  </a:cubicBezTo>
                  <a:lnTo>
                    <a:pt x="4322820" y="186527"/>
                  </a:lnTo>
                  <a:lnTo>
                    <a:pt x="4404361" y="186527"/>
                  </a:lnTo>
                  <a:lnTo>
                    <a:pt x="4404361" y="302781"/>
                  </a:lnTo>
                  <a:lnTo>
                    <a:pt x="4322820" y="302781"/>
                  </a:lnTo>
                  <a:lnTo>
                    <a:pt x="4322820" y="667759"/>
                  </a:lnTo>
                  <a:lnTo>
                    <a:pt x="4202528" y="667759"/>
                  </a:lnTo>
                  <a:lnTo>
                    <a:pt x="4202528" y="302781"/>
                  </a:lnTo>
                  <a:lnTo>
                    <a:pt x="4143392" y="302781"/>
                  </a:lnTo>
                  <a:lnTo>
                    <a:pt x="4143392" y="186527"/>
                  </a:lnTo>
                  <a:lnTo>
                    <a:pt x="4202528" y="186527"/>
                  </a:lnTo>
                  <a:lnTo>
                    <a:pt x="4202528" y="128433"/>
                  </a:lnTo>
                  <a:cubicBezTo>
                    <a:pt x="4202528" y="44808"/>
                    <a:pt x="4246360" y="2019"/>
                    <a:pt x="4348350" y="2019"/>
                  </a:cubicBezTo>
                  <a:cubicBezTo>
                    <a:pt x="4380980" y="2019"/>
                    <a:pt x="4407487" y="8141"/>
                    <a:pt x="4437055" y="16282"/>
                  </a:cubicBezTo>
                  <a:close/>
                  <a:moveTo>
                    <a:pt x="2957602" y="527083"/>
                  </a:moveTo>
                  <a:lnTo>
                    <a:pt x="2940278" y="649458"/>
                  </a:lnTo>
                  <a:cubicBezTo>
                    <a:pt x="2915790" y="668802"/>
                    <a:pt x="2873001" y="677984"/>
                    <a:pt x="2843433" y="677984"/>
                  </a:cubicBezTo>
                  <a:cubicBezTo>
                    <a:pt x="2770033" y="677984"/>
                    <a:pt x="2712916" y="622951"/>
                    <a:pt x="2712916" y="535224"/>
                  </a:cubicBezTo>
                  <a:lnTo>
                    <a:pt x="2712916" y="301739"/>
                  </a:lnTo>
                  <a:lnTo>
                    <a:pt x="2629291" y="301739"/>
                  </a:lnTo>
                  <a:lnTo>
                    <a:pt x="2629291" y="186527"/>
                  </a:lnTo>
                  <a:lnTo>
                    <a:pt x="2712916" y="186527"/>
                  </a:lnTo>
                  <a:lnTo>
                    <a:pt x="2712916" y="61155"/>
                  </a:lnTo>
                  <a:lnTo>
                    <a:pt x="2833208" y="0"/>
                  </a:lnTo>
                  <a:lnTo>
                    <a:pt x="2833208" y="186592"/>
                  </a:lnTo>
                  <a:lnTo>
                    <a:pt x="2945358" y="186592"/>
                  </a:lnTo>
                  <a:lnTo>
                    <a:pt x="2945358" y="301804"/>
                  </a:lnTo>
                  <a:lnTo>
                    <a:pt x="2833208" y="301804"/>
                  </a:lnTo>
                  <a:lnTo>
                    <a:pt x="2833208" y="503701"/>
                  </a:lnTo>
                  <a:cubicBezTo>
                    <a:pt x="2833208" y="545514"/>
                    <a:pt x="2850532" y="560819"/>
                    <a:pt x="2880100" y="560819"/>
                  </a:cubicBezTo>
                  <a:cubicBezTo>
                    <a:pt x="2909668" y="560819"/>
                    <a:pt x="2938194" y="545514"/>
                    <a:pt x="2957602" y="527148"/>
                  </a:cubicBezTo>
                  <a:close/>
                  <a:moveTo>
                    <a:pt x="2397891" y="426134"/>
                  </a:moveTo>
                  <a:cubicBezTo>
                    <a:pt x="2397891" y="441439"/>
                    <a:pt x="2396849" y="460782"/>
                    <a:pt x="2395872" y="467946"/>
                  </a:cubicBezTo>
                  <a:lnTo>
                    <a:pt x="2114453" y="467946"/>
                  </a:lnTo>
                  <a:cubicBezTo>
                    <a:pt x="2119533" y="535224"/>
                    <a:pt x="2166425" y="562773"/>
                    <a:pt x="2218462" y="562773"/>
                  </a:cubicBezTo>
                  <a:cubicBezTo>
                    <a:pt x="2249073" y="562773"/>
                    <a:pt x="2276557" y="553590"/>
                    <a:pt x="2301045" y="529102"/>
                  </a:cubicBezTo>
                  <a:lnTo>
                    <a:pt x="2386689" y="601459"/>
                  </a:lnTo>
                  <a:cubicBezTo>
                    <a:pt x="2346895" y="654473"/>
                    <a:pt x="2274538" y="677919"/>
                    <a:pt x="2210321" y="677919"/>
                  </a:cubicBezTo>
                  <a:cubicBezTo>
                    <a:pt x="2072705" y="677919"/>
                    <a:pt x="1991100" y="569872"/>
                    <a:pt x="1991100" y="429130"/>
                  </a:cubicBezTo>
                  <a:cubicBezTo>
                    <a:pt x="1991100" y="288388"/>
                    <a:pt x="2079804" y="176302"/>
                    <a:pt x="2205176" y="176302"/>
                  </a:cubicBezTo>
                  <a:cubicBezTo>
                    <a:pt x="2339731" y="176302"/>
                    <a:pt x="2397891" y="298678"/>
                    <a:pt x="2397891" y="426069"/>
                  </a:cubicBezTo>
                  <a:close/>
                  <a:moveTo>
                    <a:pt x="2116472" y="374162"/>
                  </a:moveTo>
                  <a:lnTo>
                    <a:pt x="2287759" y="374162"/>
                  </a:lnTo>
                  <a:cubicBezTo>
                    <a:pt x="2282679" y="320105"/>
                    <a:pt x="2251027" y="283438"/>
                    <a:pt x="2199054" y="283438"/>
                  </a:cubicBezTo>
                  <a:cubicBezTo>
                    <a:pt x="2144021" y="283438"/>
                    <a:pt x="2119533" y="334433"/>
                    <a:pt x="2116472" y="374162"/>
                  </a:cubicBezTo>
                  <a:close/>
                  <a:moveTo>
                    <a:pt x="1933982" y="428218"/>
                  </a:moveTo>
                  <a:cubicBezTo>
                    <a:pt x="1933982" y="551571"/>
                    <a:pt x="1882987" y="677984"/>
                    <a:pt x="1746413" y="677984"/>
                  </a:cubicBezTo>
                  <a:cubicBezTo>
                    <a:pt x="1693399" y="677984"/>
                    <a:pt x="1660769" y="658642"/>
                    <a:pt x="1639342" y="638191"/>
                  </a:cubicBezTo>
                  <a:lnTo>
                    <a:pt x="1639342" y="784990"/>
                  </a:lnTo>
                  <a:lnTo>
                    <a:pt x="1519050" y="845169"/>
                  </a:lnTo>
                  <a:lnTo>
                    <a:pt x="1519050" y="186527"/>
                  </a:lnTo>
                  <a:lnTo>
                    <a:pt x="1639342" y="186527"/>
                  </a:lnTo>
                  <a:lnTo>
                    <a:pt x="1639342" y="219157"/>
                  </a:lnTo>
                  <a:cubicBezTo>
                    <a:pt x="1670929" y="190630"/>
                    <a:pt x="1703559" y="176367"/>
                    <a:pt x="1748432" y="176367"/>
                  </a:cubicBezTo>
                  <a:cubicBezTo>
                    <a:pt x="1877907" y="176367"/>
                    <a:pt x="1933982" y="298743"/>
                    <a:pt x="1933982" y="428218"/>
                  </a:cubicBezTo>
                  <a:close/>
                  <a:moveTo>
                    <a:pt x="1809587" y="434340"/>
                  </a:moveTo>
                  <a:cubicBezTo>
                    <a:pt x="1809587" y="364002"/>
                    <a:pt x="1791221" y="292621"/>
                    <a:pt x="1718864" y="292621"/>
                  </a:cubicBezTo>
                  <a:cubicBezTo>
                    <a:pt x="1685193" y="292621"/>
                    <a:pt x="1658685" y="307926"/>
                    <a:pt x="1639342" y="335410"/>
                  </a:cubicBezTo>
                  <a:lnTo>
                    <a:pt x="1639342" y="518942"/>
                  </a:lnTo>
                  <a:cubicBezTo>
                    <a:pt x="1658685" y="546491"/>
                    <a:pt x="1691315" y="562773"/>
                    <a:pt x="1726028" y="562773"/>
                  </a:cubicBezTo>
                  <a:cubicBezTo>
                    <a:pt x="1793305" y="562773"/>
                    <a:pt x="1809652" y="501618"/>
                    <a:pt x="1809652" y="434340"/>
                  </a:cubicBezTo>
                  <a:close/>
                  <a:moveTo>
                    <a:pt x="1435426" y="667825"/>
                  </a:moveTo>
                  <a:lnTo>
                    <a:pt x="1315134" y="667825"/>
                  </a:lnTo>
                  <a:lnTo>
                    <a:pt x="1315134" y="634153"/>
                  </a:lnTo>
                  <a:cubicBezTo>
                    <a:pt x="1286608" y="662680"/>
                    <a:pt x="1249876" y="677984"/>
                    <a:pt x="1202983" y="677984"/>
                  </a:cubicBezTo>
                  <a:cubicBezTo>
                    <a:pt x="1108157" y="677984"/>
                    <a:pt x="1033715" y="616829"/>
                    <a:pt x="1033715" y="510800"/>
                  </a:cubicBezTo>
                  <a:cubicBezTo>
                    <a:pt x="1033715" y="404772"/>
                    <a:pt x="1106072" y="348696"/>
                    <a:pt x="1221284" y="348696"/>
                  </a:cubicBezTo>
                  <a:cubicBezTo>
                    <a:pt x="1251894" y="348696"/>
                    <a:pt x="1283482" y="352799"/>
                    <a:pt x="1315069" y="368040"/>
                  </a:cubicBezTo>
                  <a:lnTo>
                    <a:pt x="1315069" y="342574"/>
                  </a:lnTo>
                  <a:cubicBezTo>
                    <a:pt x="1315069" y="297701"/>
                    <a:pt x="1285501" y="279335"/>
                    <a:pt x="1232486" y="279335"/>
                  </a:cubicBezTo>
                  <a:cubicBezTo>
                    <a:pt x="1194777" y="279335"/>
                    <a:pt x="1159087" y="288518"/>
                    <a:pt x="1121378" y="310922"/>
                  </a:cubicBezTo>
                  <a:lnTo>
                    <a:pt x="1073443" y="225278"/>
                  </a:lnTo>
                  <a:cubicBezTo>
                    <a:pt x="1125416" y="192649"/>
                    <a:pt x="1175369" y="176367"/>
                    <a:pt x="1239650" y="176367"/>
                  </a:cubicBezTo>
                  <a:cubicBezTo>
                    <a:pt x="1360984" y="176367"/>
                    <a:pt x="1435426" y="235503"/>
                    <a:pt x="1435426" y="344593"/>
                  </a:cubicBezTo>
                  <a:lnTo>
                    <a:pt x="1435426" y="667759"/>
                  </a:lnTo>
                  <a:close/>
                  <a:moveTo>
                    <a:pt x="1315134" y="527083"/>
                  </a:moveTo>
                  <a:lnTo>
                    <a:pt x="1315134" y="465927"/>
                  </a:lnTo>
                  <a:cubicBezTo>
                    <a:pt x="1290646" y="450622"/>
                    <a:pt x="1259059" y="445542"/>
                    <a:pt x="1234570" y="445542"/>
                  </a:cubicBezTo>
                  <a:cubicBezTo>
                    <a:pt x="1181556" y="445542"/>
                    <a:pt x="1156091" y="468988"/>
                    <a:pt x="1156091" y="507740"/>
                  </a:cubicBezTo>
                  <a:cubicBezTo>
                    <a:pt x="1156091" y="544472"/>
                    <a:pt x="1179537" y="574040"/>
                    <a:pt x="1224410" y="574040"/>
                  </a:cubicBezTo>
                  <a:cubicBezTo>
                    <a:pt x="1247857" y="574040"/>
                    <a:pt x="1288627" y="565899"/>
                    <a:pt x="1315134" y="527148"/>
                  </a:cubicBezTo>
                  <a:close/>
                  <a:moveTo>
                    <a:pt x="967480" y="667825"/>
                  </a:moveTo>
                  <a:lnTo>
                    <a:pt x="847188" y="667825"/>
                  </a:lnTo>
                  <a:lnTo>
                    <a:pt x="847188" y="405814"/>
                  </a:lnTo>
                  <a:cubicBezTo>
                    <a:pt x="847188" y="340555"/>
                    <a:pt x="832925" y="292621"/>
                    <a:pt x="765647" y="292621"/>
                  </a:cubicBezTo>
                  <a:cubicBezTo>
                    <a:pt x="698370" y="292621"/>
                    <a:pt x="683065" y="336452"/>
                    <a:pt x="683065" y="402753"/>
                  </a:cubicBezTo>
                  <a:lnTo>
                    <a:pt x="683065" y="667825"/>
                  </a:lnTo>
                  <a:lnTo>
                    <a:pt x="562773" y="667825"/>
                  </a:lnTo>
                  <a:lnTo>
                    <a:pt x="562773" y="61221"/>
                  </a:lnTo>
                  <a:lnTo>
                    <a:pt x="683065" y="65"/>
                  </a:lnTo>
                  <a:lnTo>
                    <a:pt x="683065" y="220264"/>
                  </a:lnTo>
                  <a:cubicBezTo>
                    <a:pt x="709572" y="193756"/>
                    <a:pt x="742201" y="176432"/>
                    <a:pt x="796258" y="176432"/>
                  </a:cubicBezTo>
                  <a:cubicBezTo>
                    <a:pt x="923713" y="176432"/>
                    <a:pt x="967545" y="274320"/>
                    <a:pt x="967545" y="396631"/>
                  </a:cubicBezTo>
                  <a:lnTo>
                    <a:pt x="967545" y="667825"/>
                  </a:lnTo>
                  <a:close/>
                  <a:moveTo>
                    <a:pt x="496472" y="475110"/>
                  </a:moveTo>
                  <a:cubicBezTo>
                    <a:pt x="496472" y="619890"/>
                    <a:pt x="386341" y="677984"/>
                    <a:pt x="255889" y="677984"/>
                  </a:cubicBezTo>
                  <a:cubicBezTo>
                    <a:pt x="162104" y="677984"/>
                    <a:pt x="58094" y="648416"/>
                    <a:pt x="0" y="562773"/>
                  </a:cubicBezTo>
                  <a:lnTo>
                    <a:pt x="89747" y="483251"/>
                  </a:lnTo>
                  <a:cubicBezTo>
                    <a:pt x="131559" y="533205"/>
                    <a:pt x="191672" y="556651"/>
                    <a:pt x="252893" y="556651"/>
                  </a:cubicBezTo>
                  <a:cubicBezTo>
                    <a:pt x="325250" y="556651"/>
                    <a:pt x="367063" y="524022"/>
                    <a:pt x="367063" y="478171"/>
                  </a:cubicBezTo>
                  <a:cubicBezTo>
                    <a:pt x="367063" y="459805"/>
                    <a:pt x="359899" y="441439"/>
                    <a:pt x="329353" y="426199"/>
                  </a:cubicBezTo>
                  <a:cubicBezTo>
                    <a:pt x="306949" y="414997"/>
                    <a:pt x="279400" y="407833"/>
                    <a:pt x="225344" y="394612"/>
                  </a:cubicBezTo>
                  <a:cubicBezTo>
                    <a:pt x="191672" y="386471"/>
                    <a:pt x="122376" y="370124"/>
                    <a:pt x="79522" y="335475"/>
                  </a:cubicBezTo>
                  <a:cubicBezTo>
                    <a:pt x="36732" y="300827"/>
                    <a:pt x="24488" y="250874"/>
                    <a:pt x="24488" y="207042"/>
                  </a:cubicBezTo>
                  <a:cubicBezTo>
                    <a:pt x="24488" y="71445"/>
                    <a:pt x="140742" y="16412"/>
                    <a:pt x="254912" y="16412"/>
                  </a:cubicBezTo>
                  <a:cubicBezTo>
                    <a:pt x="353776" y="16412"/>
                    <a:pt x="425157" y="57182"/>
                    <a:pt x="482274" y="115277"/>
                  </a:cubicBezTo>
                  <a:lnTo>
                    <a:pt x="392528" y="202939"/>
                  </a:lnTo>
                  <a:cubicBezTo>
                    <a:pt x="350715" y="161127"/>
                    <a:pt x="309945" y="137681"/>
                    <a:pt x="246706" y="137681"/>
                  </a:cubicBezTo>
                  <a:cubicBezTo>
                    <a:pt x="192649" y="137681"/>
                    <a:pt x="152921" y="155005"/>
                    <a:pt x="152921" y="199878"/>
                  </a:cubicBezTo>
                  <a:cubicBezTo>
                    <a:pt x="152921" y="219221"/>
                    <a:pt x="160085" y="232508"/>
                    <a:pt x="179428" y="243710"/>
                  </a:cubicBezTo>
                  <a:cubicBezTo>
                    <a:pt x="201832" y="255954"/>
                    <a:pt x="233485" y="265137"/>
                    <a:pt x="282396" y="277381"/>
                  </a:cubicBezTo>
                  <a:cubicBezTo>
                    <a:pt x="340490" y="292686"/>
                    <a:pt x="394547" y="305907"/>
                    <a:pt x="438378" y="341598"/>
                  </a:cubicBezTo>
                  <a:cubicBezTo>
                    <a:pt x="477129" y="373185"/>
                    <a:pt x="496472" y="414997"/>
                    <a:pt x="496472" y="475176"/>
                  </a:cubicBezTo>
                  <a:close/>
                  <a:moveTo>
                    <a:pt x="6100885" y="208996"/>
                  </a:moveTo>
                  <a:lnTo>
                    <a:pt x="6051778" y="329288"/>
                  </a:lnTo>
                  <a:cubicBezTo>
                    <a:pt x="6033413" y="311964"/>
                    <a:pt x="6011985" y="299720"/>
                    <a:pt x="5982482" y="299720"/>
                  </a:cubicBezTo>
                  <a:cubicBezTo>
                    <a:pt x="5925365" y="299720"/>
                    <a:pt x="5911232" y="347654"/>
                    <a:pt x="5911232" y="405749"/>
                  </a:cubicBezTo>
                  <a:lnTo>
                    <a:pt x="5911232" y="667759"/>
                  </a:lnTo>
                  <a:lnTo>
                    <a:pt x="5790940" y="667759"/>
                  </a:lnTo>
                  <a:lnTo>
                    <a:pt x="5790940" y="186527"/>
                  </a:lnTo>
                  <a:lnTo>
                    <a:pt x="5911232" y="186527"/>
                  </a:lnTo>
                  <a:lnTo>
                    <a:pt x="5911232" y="220198"/>
                  </a:lnTo>
                  <a:cubicBezTo>
                    <a:pt x="5938781" y="192649"/>
                    <a:pt x="5973429" y="176367"/>
                    <a:pt x="6012181" y="176367"/>
                  </a:cubicBezTo>
                  <a:cubicBezTo>
                    <a:pt x="6045852" y="176367"/>
                    <a:pt x="6075420" y="186592"/>
                    <a:pt x="6100885" y="208996"/>
                  </a:cubicBezTo>
                  <a:close/>
                </a:path>
              </a:pathLst>
            </a:custGeom>
            <a:solidFill>
              <a:schemeClr val="bg1"/>
            </a:solidFill>
            <a:ln w="6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8932076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rry image of a colorful light&#10;&#10;Description automatically generated">
            <a:extLst>
              <a:ext uri="{FF2B5EF4-FFF2-40B4-BE49-F238E27FC236}">
                <a16:creationId xmlns:a16="http://schemas.microsoft.com/office/drawing/2014/main" id="{388CF986-E6D2-86D0-6501-D59429EAD0A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B74E28-9D0B-F1B4-F101-2628EB1EA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394575" cy="2869882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75298B-22BF-3DF1-FBE7-DF673E5A27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75" y="370800"/>
            <a:ext cx="7394575" cy="313932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buNone/>
              <a:defRPr lang="en-US" sz="2400" b="1" i="0" kern="1200" dirty="0">
                <a:solidFill>
                  <a:schemeClr val="tx2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GB"/>
              <a:t>Chapter 00</a:t>
            </a:r>
            <a:endParaRPr lang="en-US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DB4372B3-E211-F19D-CBD9-6CEDF871BD0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3173B02-1E93-D358-4602-350A7447C7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5E3423F-0FF8-8E54-CEB8-1F15261AFD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D3CF5FC1-8EBA-8F68-D0E5-727D21919C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AE5FDF1F-8E3A-FB66-7C81-266601DA400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91C765C7-1DD0-DFBB-9089-29849D42BA8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50B43463-538D-A50A-4299-A6C5A973766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08948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right yellow circle&#10;&#10;Description automatically generated with medium confidence">
            <a:extLst>
              <a:ext uri="{FF2B5EF4-FFF2-40B4-BE49-F238E27FC236}">
                <a16:creationId xmlns:a16="http://schemas.microsoft.com/office/drawing/2014/main" id="{0CE0EE1C-69FD-A2A1-0E47-EEBF86AA51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4375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ackground" descr="A blurry image of a person&#10;&#10;Description automatically generated">
            <a:extLst>
              <a:ext uri="{FF2B5EF4-FFF2-40B4-BE49-F238E27FC236}">
                <a16:creationId xmlns:a16="http://schemas.microsoft.com/office/drawing/2014/main" id="{E1799826-E423-46F7-36D9-A960EFB822B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A5EED3AD-188C-E954-617B-9CB9E1BA8A1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85520" y="1411287"/>
            <a:ext cx="5356800" cy="46386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87884BD-C538-2E4C-E4FE-1C5F7356388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53069" y="1411287"/>
            <a:ext cx="5356800" cy="46386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4CFBABDE-43B8-B4AD-62B7-9BAD9B05193A}"/>
              </a:ext>
            </a:extLst>
          </p:cNvPr>
          <p:cNvGrpSpPr/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9FB277BB-02D7-CF64-703C-61BA44354D43}"/>
                </a:ext>
              </a:extLst>
            </p:cNvPr>
            <p:cNvSpPr/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6DA16F5A-1F04-237B-E750-9909A6478A86}"/>
                </a:ext>
              </a:extLst>
            </p:cNvPr>
            <p:cNvSpPr/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55E6116E-1248-BA3A-5F9C-827C2BE26CEC}"/>
                </a:ext>
              </a:extLst>
            </p:cNvPr>
            <p:cNvSpPr/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19611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 descr="A blurry image of a rainbow&#10;&#10;Description automatically generated">
            <a:extLst>
              <a:ext uri="{FF2B5EF4-FFF2-40B4-BE49-F238E27FC236}">
                <a16:creationId xmlns:a16="http://schemas.microsoft.com/office/drawing/2014/main" id="{A2A28331-3A24-BC3F-1B9B-BAB01D3DA0C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-1"/>
            <a:ext cx="12193200" cy="6861600"/>
          </a:xfrm>
          <a:prstGeom prst="rect">
            <a:avLst/>
          </a:prstGeom>
        </p:spPr>
      </p:pic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3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12688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39853" y="1411287"/>
            <a:ext cx="3570017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9" name="Logo">
            <a:extLst>
              <a:ext uri="{FF2B5EF4-FFF2-40B4-BE49-F238E27FC236}">
                <a16:creationId xmlns:a16="http://schemas.microsoft.com/office/drawing/2014/main" id="{36D36C33-0B8C-8DBD-3F6B-18CF865961F1}"/>
              </a:ext>
            </a:extLst>
          </p:cNvPr>
          <p:cNvGrpSpPr/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DA3CB2D9-CE5B-5012-157D-3AE3DF5D1F33}"/>
                </a:ext>
              </a:extLst>
            </p:cNvPr>
            <p:cNvSpPr/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B023BFD-E84E-29EF-B3C7-7EA579CF4E95}"/>
                </a:ext>
              </a:extLst>
            </p:cNvPr>
            <p:cNvSpPr/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A98FFF98-BC19-88BE-80DE-100A03E1A068}"/>
                </a:ext>
              </a:extLst>
            </p:cNvPr>
            <p:cNvSpPr/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B32CA5-1BC5-3FF7-099C-DA4C771C100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4C9312FC-90AF-9A91-05C1-69A91063BFB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9AFB6F02-4842-F815-426C-05859572DD7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697A6C48-34B0-B12A-4486-E5017F82F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98919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ackground" descr="A colorful light in the dark&#10;&#10;Description automatically generated">
            <a:extLst>
              <a:ext uri="{FF2B5EF4-FFF2-40B4-BE49-F238E27FC236}">
                <a16:creationId xmlns:a16="http://schemas.microsoft.com/office/drawing/2014/main" id="{B01642D7-4E4F-867F-08FE-F5B7458A38C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99DD3D67-FDA7-A413-313B-AF74B5AA9F16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auto">
          <a:xfrm>
            <a:off x="485523" y="1411287"/>
            <a:ext cx="3571200" cy="4638675"/>
          </a:xfrm>
          <a:solidFill>
            <a:srgbClr val="2E2E38">
              <a:alpha val="60000"/>
            </a:srgb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/>
              <a:t>Only one highlight line should appear. Delete the other two lines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DAD40B-6BF1-FD89-F7E7-683D2B6F74A7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auto">
          <a:xfrm>
            <a:off x="4312096" y="1411287"/>
            <a:ext cx="3571200" cy="4638675"/>
          </a:xfrm>
          <a:solidFill>
            <a:srgbClr val="2E2E38">
              <a:alpha val="60000"/>
            </a:srgb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/>
              <a:t>Only one highlight line should appear. Delete the other two lines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A69E41B-F39E-4366-2ADE-0A30A6B7B882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auto">
          <a:xfrm>
            <a:off x="8138670" y="1411287"/>
            <a:ext cx="3571200" cy="4638675"/>
          </a:xfrm>
          <a:solidFill>
            <a:srgbClr val="2E2E38">
              <a:alpha val="60000"/>
            </a:srgbClr>
          </a:solidFill>
        </p:spPr>
        <p:txBody>
          <a:bodyPr lIns="251999" tIns="180000" rIns="251999" bIns="180000"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lang="en-GB"/>
              <a:t>Only one highlight line should appear. Delete the other two lines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Slide Number Placeholder 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Date Placeholder 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5" name="Footer Placeholder 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8" name="Highlight line 1">
            <a:extLst>
              <a:ext uri="{FF2B5EF4-FFF2-40B4-BE49-F238E27FC236}">
                <a16:creationId xmlns:a16="http://schemas.microsoft.com/office/drawing/2014/main" id="{E1FBA9F5-4E1E-7157-650F-920396E6BD16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485775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9" name="Highlight line 2">
            <a:extLst>
              <a:ext uri="{FF2B5EF4-FFF2-40B4-BE49-F238E27FC236}">
                <a16:creationId xmlns:a16="http://schemas.microsoft.com/office/drawing/2014/main" id="{F0D5216F-CE4B-8B47-FCA1-EA9B01BBAD6B}"/>
              </a:ext>
            </a:extLst>
          </p:cNvPr>
          <p:cNvSpPr>
            <a:spLocks noGrp="1"/>
          </p:cNvSpPr>
          <p:nvPr>
            <p:ph type="dgm" sz="quarter" idx="16" hasCustomPrompt="1"/>
          </p:nvPr>
        </p:nvSpPr>
        <p:spPr>
          <a:xfrm>
            <a:off x="4312096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0" name="Highlight line 3">
            <a:extLst>
              <a:ext uri="{FF2B5EF4-FFF2-40B4-BE49-F238E27FC236}">
                <a16:creationId xmlns:a16="http://schemas.microsoft.com/office/drawing/2014/main" id="{945CF969-2B44-5C5F-B1A2-132B74FE4B46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139851" y="1411287"/>
            <a:ext cx="3571200" cy="360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grpSp>
        <p:nvGrpSpPr>
          <p:cNvPr id="17" name="Logo">
            <a:extLst>
              <a:ext uri="{FF2B5EF4-FFF2-40B4-BE49-F238E27FC236}">
                <a16:creationId xmlns:a16="http://schemas.microsoft.com/office/drawing/2014/main" id="{EC0BFB89-FAB5-160D-D6E7-673C72C630D5}"/>
              </a:ext>
            </a:extLst>
          </p:cNvPr>
          <p:cNvGrpSpPr/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49E0C4E9-31F6-3AD8-056E-81A5BE6A3E4C}"/>
                </a:ext>
              </a:extLst>
            </p:cNvPr>
            <p:cNvSpPr/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290A4FFE-C215-2C91-4D46-32D31805E46C}"/>
                </a:ext>
              </a:extLst>
            </p:cNvPr>
            <p:cNvSpPr/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7E3BFB0A-D692-C730-136A-21B4EBAA94EC}"/>
                </a:ext>
              </a:extLst>
            </p:cNvPr>
            <p:cNvSpPr/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02664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right yellow circle&#10;&#10;Description automatically generated with medium confidence">
            <a:extLst>
              <a:ext uri="{FF2B5EF4-FFF2-40B4-BE49-F238E27FC236}">
                <a16:creationId xmlns:a16="http://schemas.microsoft.com/office/drawing/2014/main" id="{0CE0EE1C-69FD-A2A1-0E47-EEBF86AA51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22DF48-3559-E7A7-D505-A6D3643BC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89C7F-B322-1F93-A5AB-0E322FB93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26D098-604F-1C6E-4D3F-56B3EFAD11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4560AA6-636D-C99A-75CC-1AC2E4A0E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522" y="2016125"/>
            <a:ext cx="5610479" cy="4033837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D83AEB6-812D-A880-EAD7-47C376F054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9868" y="0"/>
            <a:ext cx="5842132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097C4A53-D484-0A91-32DE-DC7DFBC6D5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9"/>
            <a:ext cx="5610479" cy="105747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martArt Placeholder 13">
            <a:extLst>
              <a:ext uri="{FF2B5EF4-FFF2-40B4-BE49-F238E27FC236}">
                <a16:creationId xmlns:a16="http://schemas.microsoft.com/office/drawing/2014/main" id="{7CC7DD02-31B9-871B-D392-67044008A7C6}"/>
              </a:ext>
            </a:extLst>
          </p:cNvPr>
          <p:cNvSpPr>
            <a:spLocks noGrp="1"/>
          </p:cNvSpPr>
          <p:nvPr>
            <p:ph type="dgm" sz="quarter" idx="28" hasCustomPrompt="1"/>
          </p:nvPr>
        </p:nvSpPr>
        <p:spPr bwMode="black">
          <a:xfrm>
            <a:off x="11623900" y="6276977"/>
            <a:ext cx="346158" cy="126864"/>
          </a:xfrm>
          <a:custGeom>
            <a:avLst/>
            <a:gdLst>
              <a:gd name="connsiteX0" fmla="*/ 346158 w 346158"/>
              <a:gd name="connsiteY0" fmla="*/ 0 h 126864"/>
              <a:gd name="connsiteX1" fmla="*/ 346158 w 346158"/>
              <a:gd name="connsiteY1" fmla="*/ 65245 h 126864"/>
              <a:gd name="connsiteX2" fmla="*/ 0 w 346158"/>
              <a:gd name="connsiteY2" fmla="*/ 126864 h 126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6158" h="126864">
                <a:moveTo>
                  <a:pt x="346158" y="0"/>
                </a:moveTo>
                <a:lnTo>
                  <a:pt x="346158" y="65245"/>
                </a:lnTo>
                <a:lnTo>
                  <a:pt x="0" y="126864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7" name="SmartArt Placeholder 14">
            <a:extLst>
              <a:ext uri="{FF2B5EF4-FFF2-40B4-BE49-F238E27FC236}">
                <a16:creationId xmlns:a16="http://schemas.microsoft.com/office/drawing/2014/main" id="{F8BC9449-6E17-FDE5-FA92-7342C909AE74}"/>
              </a:ext>
            </a:extLst>
          </p:cNvPr>
          <p:cNvSpPr>
            <a:spLocks noGrp="1"/>
          </p:cNvSpPr>
          <p:nvPr>
            <p:ph type="dgm" sz="quarter" idx="29" hasCustomPrompt="1"/>
          </p:nvPr>
        </p:nvSpPr>
        <p:spPr bwMode="black">
          <a:xfrm>
            <a:off x="11625712" y="6456399"/>
            <a:ext cx="291788" cy="175797"/>
          </a:xfrm>
          <a:custGeom>
            <a:avLst/>
            <a:gdLst>
              <a:gd name="connsiteX0" fmla="*/ 117803 w 291788"/>
              <a:gd name="connsiteY0" fmla="*/ 0 h 175797"/>
              <a:gd name="connsiteX1" fmla="*/ 175798 w 291788"/>
              <a:gd name="connsiteY1" fmla="*/ 0 h 175797"/>
              <a:gd name="connsiteX2" fmla="*/ 204796 w 291788"/>
              <a:gd name="connsiteY2" fmla="*/ 57995 h 175797"/>
              <a:gd name="connsiteX3" fmla="*/ 233793 w 291788"/>
              <a:gd name="connsiteY3" fmla="*/ 0 h 175797"/>
              <a:gd name="connsiteX4" fmla="*/ 291788 w 291788"/>
              <a:gd name="connsiteY4" fmla="*/ 0 h 175797"/>
              <a:gd name="connsiteX5" fmla="*/ 230168 w 291788"/>
              <a:gd name="connsiteY5" fmla="*/ 105116 h 175797"/>
              <a:gd name="connsiteX6" fmla="*/ 230168 w 291788"/>
              <a:gd name="connsiteY6" fmla="*/ 175797 h 175797"/>
              <a:gd name="connsiteX7" fmla="*/ 177610 w 291788"/>
              <a:gd name="connsiteY7" fmla="*/ 175797 h 175797"/>
              <a:gd name="connsiteX8" fmla="*/ 177610 w 291788"/>
              <a:gd name="connsiteY8" fmla="*/ 105116 h 175797"/>
              <a:gd name="connsiteX9" fmla="*/ 0 w 291788"/>
              <a:gd name="connsiteY9" fmla="*/ 0 h 175797"/>
              <a:gd name="connsiteX10" fmla="*/ 99679 w 291788"/>
              <a:gd name="connsiteY10" fmla="*/ 0 h 175797"/>
              <a:gd name="connsiteX11" fmla="*/ 123240 w 291788"/>
              <a:gd name="connsiteY11" fmla="*/ 39872 h 175797"/>
              <a:gd name="connsiteX12" fmla="*/ 54370 w 291788"/>
              <a:gd name="connsiteY12" fmla="*/ 39872 h 175797"/>
              <a:gd name="connsiteX13" fmla="*/ 54370 w 291788"/>
              <a:gd name="connsiteY13" fmla="*/ 68869 h 175797"/>
              <a:gd name="connsiteX14" fmla="*/ 117802 w 291788"/>
              <a:gd name="connsiteY14" fmla="*/ 68869 h 175797"/>
              <a:gd name="connsiteX15" fmla="*/ 117802 w 291788"/>
              <a:gd name="connsiteY15" fmla="*/ 105116 h 175797"/>
              <a:gd name="connsiteX16" fmla="*/ 54370 w 291788"/>
              <a:gd name="connsiteY16" fmla="*/ 105116 h 175797"/>
              <a:gd name="connsiteX17" fmla="*/ 54370 w 291788"/>
              <a:gd name="connsiteY17" fmla="*/ 134113 h 175797"/>
              <a:gd name="connsiteX18" fmla="*/ 141363 w 291788"/>
              <a:gd name="connsiteY18" fmla="*/ 134113 h 175797"/>
              <a:gd name="connsiteX19" fmla="*/ 141363 w 291788"/>
              <a:gd name="connsiteY19" fmla="*/ 175797 h 175797"/>
              <a:gd name="connsiteX20" fmla="*/ 0 w 291788"/>
              <a:gd name="connsiteY20" fmla="*/ 175797 h 175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1788" h="175797">
                <a:moveTo>
                  <a:pt x="117803" y="0"/>
                </a:moveTo>
                <a:lnTo>
                  <a:pt x="175798" y="0"/>
                </a:lnTo>
                <a:lnTo>
                  <a:pt x="204796" y="57995"/>
                </a:lnTo>
                <a:lnTo>
                  <a:pt x="233793" y="0"/>
                </a:lnTo>
                <a:lnTo>
                  <a:pt x="291788" y="0"/>
                </a:lnTo>
                <a:lnTo>
                  <a:pt x="230168" y="105116"/>
                </a:lnTo>
                <a:lnTo>
                  <a:pt x="230168" y="175797"/>
                </a:lnTo>
                <a:lnTo>
                  <a:pt x="177610" y="175797"/>
                </a:lnTo>
                <a:lnTo>
                  <a:pt x="177610" y="105116"/>
                </a:lnTo>
                <a:close/>
                <a:moveTo>
                  <a:pt x="0" y="0"/>
                </a:moveTo>
                <a:lnTo>
                  <a:pt x="99679" y="0"/>
                </a:lnTo>
                <a:lnTo>
                  <a:pt x="123240" y="39872"/>
                </a:lnTo>
                <a:lnTo>
                  <a:pt x="54370" y="39872"/>
                </a:lnTo>
                <a:lnTo>
                  <a:pt x="54370" y="68869"/>
                </a:lnTo>
                <a:lnTo>
                  <a:pt x="117802" y="68869"/>
                </a:lnTo>
                <a:lnTo>
                  <a:pt x="117802" y="105116"/>
                </a:lnTo>
                <a:lnTo>
                  <a:pt x="54370" y="105116"/>
                </a:lnTo>
                <a:lnTo>
                  <a:pt x="54370" y="134113"/>
                </a:lnTo>
                <a:lnTo>
                  <a:pt x="141363" y="134113"/>
                </a:lnTo>
                <a:lnTo>
                  <a:pt x="141363" y="175797"/>
                </a:lnTo>
                <a:lnTo>
                  <a:pt x="0" y="175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2535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ackground" descr="A blurry image of a rainbow&#10;&#10;Description automatically generated">
            <a:extLst>
              <a:ext uri="{FF2B5EF4-FFF2-40B4-BE49-F238E27FC236}">
                <a16:creationId xmlns:a16="http://schemas.microsoft.com/office/drawing/2014/main" id="{C586CC36-CAC3-0258-347D-5742F734B09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-1"/>
            <a:ext cx="12193200" cy="68616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8AE523-7B3C-8783-DFC0-18E1AA2D8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6FD95-0C81-8816-F6A7-13708A804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B0C7E-A414-4EA6-7DAD-5068A7AE4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298F4-310D-68C0-AA7E-8C7FA83AB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B387BF89-2CF2-833C-F3D8-A6095E99E2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523" y="2523291"/>
            <a:ext cx="3571200" cy="1438855"/>
          </a:xfrm>
        </p:spPr>
        <p:txBody>
          <a:bodyPr>
            <a:spAutoFit/>
          </a:bodyPr>
          <a:lstStyle>
            <a:lvl1pPr marL="0" indent="0" algn="ctr">
              <a:lnSpc>
                <a:spcPct val="85000"/>
              </a:lnSpc>
              <a:buNone/>
              <a:defRPr sz="11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252000" indent="0" algn="ctr">
              <a:buNone/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/>
              <a:t>000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808AA70-A8F5-B52B-A33E-3456242455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2096" y="2531683"/>
            <a:ext cx="3571200" cy="1438855"/>
          </a:xfrm>
        </p:spPr>
        <p:txBody>
          <a:bodyPr>
            <a:spAutoFit/>
          </a:bodyPr>
          <a:lstStyle>
            <a:lvl1pPr marL="0" indent="0" algn="ctr">
              <a:lnSpc>
                <a:spcPct val="85000"/>
              </a:lnSpc>
              <a:buNone/>
              <a:defRPr sz="11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/>
              <a:t>000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9EACB69D-0795-B94F-58F7-2F354BB47D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38670" y="2531683"/>
            <a:ext cx="3571200" cy="1438855"/>
          </a:xfrm>
        </p:spPr>
        <p:txBody>
          <a:bodyPr>
            <a:spAutoFit/>
          </a:bodyPr>
          <a:lstStyle>
            <a:lvl1pPr marL="0" indent="0" algn="ctr">
              <a:lnSpc>
                <a:spcPct val="85000"/>
              </a:lnSpc>
              <a:buNone/>
              <a:defRPr sz="11000" b="1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GB"/>
              <a:t>000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977ACC9-4278-37A3-C20C-7458A96B95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5523" y="3936165"/>
            <a:ext cx="3571200" cy="2113797"/>
          </a:xfrm>
        </p:spPr>
        <p:txBody>
          <a:bodyPr/>
          <a:lstStyle>
            <a:lvl1pPr marL="0" indent="0" algn="ctr">
              <a:buNone/>
              <a:defRPr/>
            </a:lvl1pPr>
            <a:lvl2pPr marL="0" indent="0" algn="ctr">
              <a:buNone/>
              <a:defRPr sz="1800"/>
            </a:lvl2pPr>
            <a:lvl3pPr marL="0" indent="0" algn="ctr">
              <a:buNone/>
              <a:defRPr sz="1600"/>
            </a:lvl3pPr>
            <a:lvl4pPr marL="0" indent="0" algn="ctr">
              <a:buNone/>
              <a:defRPr sz="1400"/>
            </a:lvl4pPr>
            <a:lvl5pPr marL="0" indent="0" algn="ctr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4CDE11A7-CFD5-0BCE-E9EB-82E0961682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12096" y="3936165"/>
            <a:ext cx="3571200" cy="2113797"/>
          </a:xfrm>
        </p:spPr>
        <p:txBody>
          <a:bodyPr/>
          <a:lstStyle>
            <a:lvl1pPr marL="0" indent="0" algn="ctr">
              <a:buNone/>
              <a:defRPr/>
            </a:lvl1pPr>
            <a:lvl2pPr marL="0" indent="0" algn="ctr">
              <a:buNone/>
              <a:defRPr sz="1800"/>
            </a:lvl2pPr>
            <a:lvl3pPr marL="0" indent="0" algn="ctr">
              <a:buNone/>
              <a:defRPr sz="1600"/>
            </a:lvl3pPr>
            <a:lvl4pPr marL="0" indent="0" algn="ctr">
              <a:buNone/>
              <a:defRPr sz="1400"/>
            </a:lvl4pPr>
            <a:lvl5pPr marL="0" indent="0" algn="ctr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53FBCF7B-885D-438B-8ADE-568707D41F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8670" y="3936165"/>
            <a:ext cx="3571200" cy="2113797"/>
          </a:xfrm>
        </p:spPr>
        <p:txBody>
          <a:bodyPr/>
          <a:lstStyle>
            <a:lvl1pPr marL="0" indent="0" algn="ctr">
              <a:buNone/>
              <a:defRPr/>
            </a:lvl1pPr>
            <a:lvl2pPr marL="0" indent="0" algn="ctr">
              <a:buNone/>
              <a:defRPr sz="1800"/>
            </a:lvl2pPr>
            <a:lvl3pPr marL="0" indent="0" algn="ctr">
              <a:buNone/>
              <a:defRPr sz="1600"/>
            </a:lvl3pPr>
            <a:lvl4pPr marL="0" indent="0" algn="ctr">
              <a:buNone/>
              <a:defRPr sz="1400"/>
            </a:lvl4pPr>
            <a:lvl5pPr marL="0" indent="0" algn="ctr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D35D28B5-B927-1D64-2A2C-CAE9617F720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041E794A-5BA9-0AEB-B69E-BDD517FE038F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47E89372-29EB-BAE0-BD25-5DCA52F7BAD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976A4CC0-A57B-68E6-0F76-F1A6D82EF66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5136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ackground" descr="A bright light in the dark&#10;&#10;Description automatically generated">
            <a:extLst>
              <a:ext uri="{FF2B5EF4-FFF2-40B4-BE49-F238E27FC236}">
                <a16:creationId xmlns:a16="http://schemas.microsoft.com/office/drawing/2014/main" id="{637E6C91-FD1F-3802-3EB8-7D594FFF353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8AE523-7B3C-8783-DFC0-18E1AA2D8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827" y="369888"/>
            <a:ext cx="11224347" cy="4708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6FD95-0C81-8816-F6A7-13708A804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B0C7E-A414-4EA6-7DAD-5068A7AE4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298F4-310D-68C0-AA7E-8C7FA83AB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Media Placeholder 11">
            <a:extLst>
              <a:ext uri="{FF2B5EF4-FFF2-40B4-BE49-F238E27FC236}">
                <a16:creationId xmlns:a16="http://schemas.microsoft.com/office/drawing/2014/main" id="{B97339DA-6D1A-73DA-1D4D-62D37C6FF51E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483827" y="1411287"/>
            <a:ext cx="8160263" cy="4638675"/>
          </a:xfrm>
        </p:spPr>
        <p:txBody>
          <a:bodyPr/>
          <a:lstStyle/>
          <a:p>
            <a:r>
              <a:rPr lang="en-US" dirty="0"/>
              <a:t>Click icon to add media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1E260C28-CF82-AB16-FC6C-EC53C01131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02936" y="1411287"/>
            <a:ext cx="2805238" cy="4638675"/>
          </a:xfrm>
        </p:spPr>
        <p:txBody>
          <a:bodyPr/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6" name="Logo">
            <a:extLst>
              <a:ext uri="{FF2B5EF4-FFF2-40B4-BE49-F238E27FC236}">
                <a16:creationId xmlns:a16="http://schemas.microsoft.com/office/drawing/2014/main" id="{35A31772-E4C2-BB70-6831-1ABF28FD7A77}"/>
              </a:ext>
            </a:extLst>
          </p:cNvPr>
          <p:cNvGrpSpPr/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D57B9AE-D53A-D4F0-3B7F-B81EBF5E0085}"/>
                </a:ext>
              </a:extLst>
            </p:cNvPr>
            <p:cNvSpPr/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30E49FD-7AF1-7B62-0761-FF4FF1264371}"/>
                </a:ext>
              </a:extLst>
            </p:cNvPr>
            <p:cNvSpPr/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16E608EC-B7D8-A3B6-E4F4-28E79663F16F}"/>
                </a:ext>
              </a:extLst>
            </p:cNvPr>
            <p:cNvSpPr/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8758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yellow and black light&#10;&#10;Description automatically generated with medium confidence">
            <a:extLst>
              <a:ext uri="{FF2B5EF4-FFF2-40B4-BE49-F238E27FC236}">
                <a16:creationId xmlns:a16="http://schemas.microsoft.com/office/drawing/2014/main" id="{48DB6F09-4360-87F8-7045-768BF31446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200" cy="685867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49EC5F5-14E0-4B05-29E6-E9A059AA1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ECAE16-1D46-ECE2-67B1-B4055F385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E63702-02E0-6C43-ACB9-CF47EDD90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6F7576-DAEE-2232-6A83-201B728CC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EC20394-F6AE-DC91-F7F3-91384D3756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136" y="4437064"/>
            <a:ext cx="2544933" cy="60483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 i="0"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  <a:endParaRPr lang="en-U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8C26B76-6BF1-741E-77C9-1AE58FAA9D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5136" y="5243516"/>
            <a:ext cx="2544932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/>
              <a:t>Job title</a:t>
            </a:r>
            <a:endParaRPr lang="en-US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B5250BC2-E0E2-741C-128C-67991E7FE3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78958" y="4437064"/>
            <a:ext cx="2544933" cy="60483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 i="0"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  <a:endParaRPr lang="en-US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AB1B720-8C35-31CC-E8BA-A24F76EC23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78958" y="5243516"/>
            <a:ext cx="2544932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/>
              <a:t>Job title</a:t>
            </a:r>
            <a:endParaRPr lang="en-US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9756EF2-9996-0FB9-D7B0-C8F68A711B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2781" y="4437064"/>
            <a:ext cx="2544933" cy="60483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 i="0"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EBDC17D8-DC6B-1BF9-23DC-FF6D20C0FD0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2781" y="5243516"/>
            <a:ext cx="2544932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/>
              <a:t>Job title</a:t>
            </a:r>
            <a:endParaRPr lang="en-US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FDE2BFA5-8DD3-AAE2-BA88-2C21E5EA382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66603" y="4437064"/>
            <a:ext cx="2544933" cy="604836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2400" b="1" i="0"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  <a:endParaRPr lang="en-US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6334C15-AC9A-3BC9-AC49-BB8588AC06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166603" y="5243516"/>
            <a:ext cx="2544932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/>
              <a:t>Job title</a:t>
            </a:r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0BA6537A-D367-6DF9-2A2C-F0EF216DD53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6802" y="1693850"/>
            <a:ext cx="2541600" cy="25416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1ABE1BD9-533C-1930-8960-4BAE5CA7463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80625" y="1693850"/>
            <a:ext cx="2541600" cy="25416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EFFEBD01-EBC9-7BDA-3CC5-39B4C8203AA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74448" y="1693850"/>
            <a:ext cx="2541600" cy="25416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38869CAE-EFD2-4214-1658-F59F26B2225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168270" y="1693850"/>
            <a:ext cx="2541600" cy="25416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EB1712DB-44E3-F1E8-EE98-F386A5DBCFB5}"/>
              </a:ext>
            </a:extLst>
          </p:cNvPr>
          <p:cNvGrpSpPr/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2FA99ABD-7D1B-8F65-C9CB-2CBCEBD94E69}"/>
                </a:ext>
              </a:extLst>
            </p:cNvPr>
            <p:cNvSpPr/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025AE411-6530-3204-66E5-2472998CA5C4}"/>
                </a:ext>
              </a:extLst>
            </p:cNvPr>
            <p:cNvSpPr/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8FBCF87D-7239-07DB-2566-2B574AA52E9E}"/>
                </a:ext>
              </a:extLst>
            </p:cNvPr>
            <p:cNvSpPr/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41705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background with yellow and green light&#10;&#10;Description automatically generated">
            <a:extLst>
              <a:ext uri="{FF2B5EF4-FFF2-40B4-BE49-F238E27FC236}">
                <a16:creationId xmlns:a16="http://schemas.microsoft.com/office/drawing/2014/main" id="{E292F2D6-66C2-B22A-7FFF-05A7B35054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1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38AE523-7B3C-8783-DFC0-18E1AA2D8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96FD95-0C81-8816-F6A7-13708A804C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B0C7E-A414-4EA6-7DAD-5068A7AE4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298F4-310D-68C0-AA7E-8C7FA83AB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11" name="Logo">
            <a:extLst>
              <a:ext uri="{FF2B5EF4-FFF2-40B4-BE49-F238E27FC236}">
                <a16:creationId xmlns:a16="http://schemas.microsoft.com/office/drawing/2014/main" id="{D638B96B-B381-0A4A-9C03-FAEA8FCC0C3A}"/>
              </a:ext>
            </a:extLst>
          </p:cNvPr>
          <p:cNvGrpSpPr/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93FF753-4D01-4602-8217-3FFCC28BA2A1}"/>
                </a:ext>
              </a:extLst>
            </p:cNvPr>
            <p:cNvSpPr/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E36D5F7D-FB28-AFA3-2358-69211F54C147}"/>
                </a:ext>
              </a:extLst>
            </p:cNvPr>
            <p:cNvSpPr/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82505B87-640B-2273-C7C7-DB96614AC411}"/>
                </a:ext>
              </a:extLst>
            </p:cNvPr>
            <p:cNvSpPr/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64665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483827" y="369888"/>
            <a:ext cx="11224347" cy="4708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485523" y="1411287"/>
            <a:ext cx="11224347" cy="46386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First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1"/>
            <a:r>
              <a:rPr lang="en-US"/>
              <a:t>Secon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0pt</a:t>
            </a:r>
            <a:endParaRPr lang="en-US"/>
          </a:p>
          <a:p>
            <a:pPr lvl="2"/>
            <a:r>
              <a:rPr lang="en-US"/>
              <a:t>Third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8pt</a:t>
            </a:r>
            <a:endParaRPr lang="en-US"/>
          </a:p>
          <a:p>
            <a:pPr lvl="3"/>
            <a:r>
              <a:rPr lang="en-US"/>
              <a:t>Four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4"/>
            <a:r>
              <a:rPr lang="en-US"/>
              <a:t>Fif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6pt</a:t>
            </a:r>
            <a:endParaRPr lang="en-US"/>
          </a:p>
          <a:p>
            <a:pPr lvl="5"/>
            <a:r>
              <a:rPr lang="en-US"/>
              <a:t>Six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6"/>
            <a:r>
              <a:rPr lang="en-US"/>
              <a:t>Seven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4pt</a:t>
            </a:r>
            <a:endParaRPr lang="en-US"/>
          </a:p>
          <a:p>
            <a:pPr lvl="7"/>
            <a:r>
              <a:rPr lang="en-US"/>
              <a:t>Eigh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12pt</a:t>
            </a:r>
            <a:endParaRPr lang="en-US"/>
          </a:p>
          <a:p>
            <a:pPr lvl="8"/>
            <a:r>
              <a:rPr lang="en-US"/>
              <a:t>Nineth level text style </a:t>
            </a:r>
            <a:r>
              <a:rPr lang="en-US" err="1"/>
              <a:t>EYInterstate</a:t>
            </a:r>
            <a:r>
              <a:rPr lang="en-US"/>
              <a:t> Light </a:t>
            </a:r>
            <a:r>
              <a:rPr lang="en-US" err="1"/>
              <a:t>24pt</a:t>
            </a:r>
            <a:r>
              <a:rPr lang="en-US"/>
              <a:t> for key pull out text</a:t>
            </a:r>
          </a:p>
        </p:txBody>
      </p:sp>
      <p:sp>
        <p:nvSpPr>
          <p:cNvPr id="21" name="Slide Number Placeholder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5747" y="6437115"/>
            <a:ext cx="509098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1BC30E3-FFE5-4B91-AA19-87A149EBB9E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Date Placeholder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4845" y="6437115"/>
            <a:ext cx="1275686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02.07.2025г.</a:t>
            </a:r>
          </a:p>
        </p:txBody>
      </p:sp>
      <p:sp>
        <p:nvSpPr>
          <p:cNvPr id="20" name="Footer Placeholder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0531" y="6437115"/>
            <a:ext cx="3825470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grpSp>
        <p:nvGrpSpPr>
          <p:cNvPr id="6" name="Logo">
            <a:extLst>
              <a:ext uri="{FF2B5EF4-FFF2-40B4-BE49-F238E27FC236}">
                <a16:creationId xmlns:a16="http://schemas.microsoft.com/office/drawing/2014/main" id="{84D8E7BF-2CB9-F661-3559-99D90AE0A4E5}"/>
              </a:ext>
            </a:extLst>
          </p:cNvPr>
          <p:cNvGrpSpPr>
            <a:grpSpLocks noGrp="1" noUngrp="1" noRot="1" noChangeAspect="1" noMove="1" noResize="1"/>
          </p:cNvGrpSpPr>
          <p:nvPr userDrawn="1"/>
        </p:nvGrpSpPr>
        <p:grpSpPr bwMode="black">
          <a:xfrm>
            <a:off x="11623900" y="6276977"/>
            <a:ext cx="346158" cy="355219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6AA6DF4-2FEA-00BD-9BF9-6CDE40EF389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F5D8B0B-D61C-3D77-A3C6-C71B65E6645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66939EE2-541D-2E43-8858-BD44D3A0144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black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3762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06" r:id="rId2"/>
    <p:sldLayoutId id="2147484000" r:id="rId3"/>
    <p:sldLayoutId id="2147484042" r:id="rId4"/>
    <p:sldLayoutId id="2147483998" r:id="rId5"/>
    <p:sldLayoutId id="2147484043" r:id="rId6"/>
    <p:sldLayoutId id="2147484206" r:id="rId7"/>
    <p:sldLayoutId id="2147484161" r:id="rId8"/>
    <p:sldLayoutId id="2147483975" r:id="rId9"/>
    <p:sldLayoutId id="2147484215" r:id="rId10"/>
    <p:sldLayoutId id="2147484217" r:id="rId11"/>
    <p:sldLayoutId id="2147484229" r:id="rId12"/>
    <p:sldLayoutId id="2147484240" r:id="rId13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EYInterstate" panose="02000503020000020004" pitchFamily="2" charset="0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spcBef>
          <a:spcPts val="40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 typeface="Wingdings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SzPct val="100000"/>
        <a:buFont typeface="Wingdings" pitchFamily="2" charset="2"/>
        <a:buChar char="§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512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764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016000" indent="-252000" algn="l" defTabSz="914400" rtl="0" eaLnBrk="1" latinLnBrk="0" hangingPunct="1"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tabLst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200"/>
        </a:spcBef>
        <a:spcAft>
          <a:spcPts val="1200"/>
        </a:spcAft>
        <a:buClr>
          <a:schemeClr val="tx2"/>
        </a:buClr>
        <a:buFont typeface="Wingdings" pitchFamily="2" charset="2"/>
        <a:buNone/>
        <a:tabLst/>
        <a:defRPr sz="2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302" userDrawn="1">
          <p15:clr>
            <a:srgbClr val="F26B43"/>
          </p15:clr>
        </p15:guide>
        <p15:guide id="47" pos="7378" userDrawn="1">
          <p15:clr>
            <a:srgbClr val="F26B43"/>
          </p15:clr>
        </p15:guide>
        <p15:guide id="55" orient="horz" pos="890" userDrawn="1">
          <p15:clr>
            <a:srgbClr val="F26B43"/>
          </p15:clr>
        </p15:guide>
        <p15:guide id="58" orient="horz" pos="527" userDrawn="1">
          <p15:clr>
            <a:srgbClr val="F26B43"/>
          </p15:clr>
        </p15:guide>
        <p15:guide id="78" orient="horz" pos="3838" userDrawn="1">
          <p15:clr>
            <a:srgbClr val="F26B43"/>
          </p15:clr>
        </p15:guide>
        <p15:guide id="79" orient="horz" pos="21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svg"/><Relationship Id="rId7" Type="http://schemas.openxmlformats.org/officeDocument/2006/relationships/image" Target="../media/image26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5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Relationship Id="rId9" Type="http://schemas.openxmlformats.org/officeDocument/2006/relationships/image" Target="../media/image28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8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5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10" Type="http://schemas.openxmlformats.org/officeDocument/2006/relationships/image" Target="../media/image48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notesSlide" Target="../notesSlides/notesSlide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53.png"/><Relationship Id="rId12" Type="http://schemas.openxmlformats.org/officeDocument/2006/relationships/image" Target="../media/image58.sv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2.sv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0" Type="http://schemas.openxmlformats.org/officeDocument/2006/relationships/image" Target="../media/image56.sv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55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54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3.png"/><Relationship Id="rId5" Type="http://schemas.openxmlformats.org/officeDocument/2006/relationships/image" Target="../media/image60.svg"/><Relationship Id="rId4" Type="http://schemas.openxmlformats.org/officeDocument/2006/relationships/image" Target="../media/image59.png"/><Relationship Id="rId9" Type="http://schemas.openxmlformats.org/officeDocument/2006/relationships/image" Target="../media/image62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63.png"/><Relationship Id="rId4" Type="http://schemas.openxmlformats.org/officeDocument/2006/relationships/notesSlide" Target="../notesSlides/notesSlide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notesSlide" Target="../notesSlides/notesSlide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64.png"/><Relationship Id="rId4" Type="http://schemas.openxmlformats.org/officeDocument/2006/relationships/notesSlide" Target="../notesSlides/notesSlide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openxmlformats.org/officeDocument/2006/relationships/image" Target="../media/image76.svg"/><Relationship Id="rId18" Type="http://schemas.openxmlformats.org/officeDocument/2006/relationships/image" Target="../media/image81.png"/><Relationship Id="rId26" Type="http://schemas.openxmlformats.org/officeDocument/2006/relationships/image" Target="../media/image89.svg"/><Relationship Id="rId3" Type="http://schemas.openxmlformats.org/officeDocument/2006/relationships/image" Target="../media/image66.svg"/><Relationship Id="rId21" Type="http://schemas.openxmlformats.org/officeDocument/2006/relationships/image" Target="../media/image84.png"/><Relationship Id="rId7" Type="http://schemas.openxmlformats.org/officeDocument/2006/relationships/image" Target="../media/image70.svg"/><Relationship Id="rId12" Type="http://schemas.openxmlformats.org/officeDocument/2006/relationships/image" Target="../media/image75.png"/><Relationship Id="rId17" Type="http://schemas.openxmlformats.org/officeDocument/2006/relationships/image" Target="../media/image80.svg"/><Relationship Id="rId25" Type="http://schemas.openxmlformats.org/officeDocument/2006/relationships/image" Target="../media/image88.png"/><Relationship Id="rId2" Type="http://schemas.openxmlformats.org/officeDocument/2006/relationships/image" Target="../media/image65.png"/><Relationship Id="rId16" Type="http://schemas.openxmlformats.org/officeDocument/2006/relationships/image" Target="../media/image79.png"/><Relationship Id="rId20" Type="http://schemas.openxmlformats.org/officeDocument/2006/relationships/image" Target="../media/image83.svg"/><Relationship Id="rId29" Type="http://schemas.openxmlformats.org/officeDocument/2006/relationships/image" Target="../media/image92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9.png"/><Relationship Id="rId11" Type="http://schemas.openxmlformats.org/officeDocument/2006/relationships/image" Target="../media/image74.svg"/><Relationship Id="rId24" Type="http://schemas.openxmlformats.org/officeDocument/2006/relationships/image" Target="../media/image87.svg"/><Relationship Id="rId5" Type="http://schemas.openxmlformats.org/officeDocument/2006/relationships/image" Target="../media/image68.svg"/><Relationship Id="rId15" Type="http://schemas.openxmlformats.org/officeDocument/2006/relationships/image" Target="../media/image78.svg"/><Relationship Id="rId23" Type="http://schemas.openxmlformats.org/officeDocument/2006/relationships/image" Target="../media/image86.png"/><Relationship Id="rId28" Type="http://schemas.openxmlformats.org/officeDocument/2006/relationships/image" Target="../media/image91.svg"/><Relationship Id="rId10" Type="http://schemas.openxmlformats.org/officeDocument/2006/relationships/image" Target="../media/image73.png"/><Relationship Id="rId19" Type="http://schemas.openxmlformats.org/officeDocument/2006/relationships/image" Target="../media/image82.png"/><Relationship Id="rId4" Type="http://schemas.openxmlformats.org/officeDocument/2006/relationships/image" Target="../media/image67.png"/><Relationship Id="rId9" Type="http://schemas.openxmlformats.org/officeDocument/2006/relationships/image" Target="../media/image72.svg"/><Relationship Id="rId14" Type="http://schemas.openxmlformats.org/officeDocument/2006/relationships/image" Target="../media/image77.png"/><Relationship Id="rId22" Type="http://schemas.openxmlformats.org/officeDocument/2006/relationships/image" Target="../media/image85.svg"/><Relationship Id="rId27" Type="http://schemas.openxmlformats.org/officeDocument/2006/relationships/image" Target="../media/image90.png"/><Relationship Id="rId30" Type="http://schemas.openxmlformats.org/officeDocument/2006/relationships/image" Target="../media/image93.sv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95.svg"/><Relationship Id="rId7" Type="http://schemas.openxmlformats.org/officeDocument/2006/relationships/image" Target="../media/image99.sv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8.png"/><Relationship Id="rId11" Type="http://schemas.openxmlformats.org/officeDocument/2006/relationships/image" Target="../media/image103.svg"/><Relationship Id="rId5" Type="http://schemas.openxmlformats.org/officeDocument/2006/relationships/image" Target="../media/image97.svg"/><Relationship Id="rId10" Type="http://schemas.openxmlformats.org/officeDocument/2006/relationships/image" Target="../media/image102.png"/><Relationship Id="rId4" Type="http://schemas.openxmlformats.org/officeDocument/2006/relationships/image" Target="../media/image96.png"/><Relationship Id="rId9" Type="http://schemas.openxmlformats.org/officeDocument/2006/relationships/image" Target="../media/image101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sv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sv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sv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sv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ifrs.org/content/dam/ifrs/supporting-implementation/adoption-guide/inaugural-jurisdictional-guide.pdf" TargetMode="External"/><Relationship Id="rId1" Type="http://schemas.openxmlformats.org/officeDocument/2006/relationships/slideLayout" Target="../slideLayouts/slideLayout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microsoft.com/office/2007/relationships/hdphoto" Target="../media/hdphoto4.wdp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microsoft.com/office/2007/relationships/hdphoto" Target="../media/hdphoto3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0D369242-9032-FA49-40E3-3539D4DAF7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0100" y="2698751"/>
            <a:ext cx="4724400" cy="1654043"/>
          </a:xfrm>
        </p:spPr>
        <p:txBody>
          <a:bodyPr/>
          <a:lstStyle/>
          <a:p>
            <a:r>
              <a:rPr lang="ru-RU" sz="3600" dirty="0"/>
              <a:t>Обучающий семинар по вопросам новых стандартов      МСФО S1/S2</a:t>
            </a:r>
            <a:endParaRPr lang="en-US" sz="36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785259C-D11C-3929-20C7-2AB3B378DA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2 июля</a:t>
            </a:r>
            <a:r>
              <a:rPr lang="en-US" dirty="0"/>
              <a:t> 2025</a:t>
            </a:r>
            <a:r>
              <a:rPr lang="ru-RU" dirty="0"/>
              <a:t> го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98287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CF14FA-3DF7-5A65-014B-05E543EFAC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356" y="238817"/>
            <a:ext cx="12191999" cy="450873"/>
          </a:xfrm>
        </p:spPr>
        <p:txBody>
          <a:bodyPr/>
          <a:lstStyle/>
          <a:p>
            <a:r>
              <a:rPr lang="en-US" sz="3200" dirty="0"/>
              <a:t>G7, G20, IOSCO</a:t>
            </a:r>
            <a:r>
              <a:rPr lang="ru-RU" sz="3200" dirty="0"/>
              <a:t> поддерживают внедрение МСФО S1/S2</a:t>
            </a:r>
            <a:endParaRPr lang="en-US" sz="32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76CC93-0BC8-D503-7A93-D82BE0738C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1DA990-81ED-1804-41CC-936DF727C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440013-C7FF-ED08-9780-7CE97D8269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10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96720B-B1DB-946B-0E12-4476CC704892}"/>
              </a:ext>
            </a:extLst>
          </p:cNvPr>
          <p:cNvSpPr txBox="1"/>
          <p:nvPr/>
        </p:nvSpPr>
        <p:spPr>
          <a:xfrm>
            <a:off x="501474" y="1041758"/>
            <a:ext cx="4752931" cy="36990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07000"/>
              </a:lnSpc>
              <a:spcBef>
                <a:spcPts val="1200"/>
              </a:spcBef>
              <a:buClr>
                <a:srgbClr val="FFE600"/>
              </a:buClr>
              <a:buSzPct val="50000"/>
              <a:buFontTx/>
              <a:buChar char="►"/>
            </a:pPr>
            <a:r>
              <a:rPr lang="ru-RU" sz="1600" dirty="0">
                <a:solidFill>
                  <a:schemeClr val="bg1"/>
                </a:solidFill>
                <a:effectLst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G7, G20 и Международная организация комиссий по ценным бумагам (IOSCO) поддерживают </a:t>
            </a:r>
            <a:r>
              <a:rPr lang="ru-RU" sz="1600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применение </a:t>
            </a:r>
            <a:r>
              <a:rPr lang="ru-RU" sz="1600" dirty="0">
                <a:solidFill>
                  <a:schemeClr val="bg1"/>
                </a:solidFill>
                <a:effectLst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новых стандартов</a:t>
            </a:r>
            <a:r>
              <a:rPr lang="en-US" sz="1600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en-US" sz="1600" dirty="0">
                <a:solidFill>
                  <a:schemeClr val="bg1"/>
                </a:solidFill>
                <a:effectLst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ru-RU" sz="1600" dirty="0">
              <a:solidFill>
                <a:schemeClr val="bg1"/>
              </a:solidFill>
              <a:effectLst/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marR="0" indent="-285750">
              <a:lnSpc>
                <a:spcPct val="107000"/>
              </a:lnSpc>
              <a:spcBef>
                <a:spcPts val="1200"/>
              </a:spcBef>
              <a:buClr>
                <a:srgbClr val="FFE600"/>
              </a:buClr>
              <a:buSzPct val="50000"/>
              <a:buFontTx/>
              <a:buChar char="►"/>
            </a:pPr>
            <a:r>
              <a:rPr lang="ru-RU" sz="1600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В апреле 2023 года IOSCO подтвердила свою цель - принять решение об одобрении МСФО S1/S2 до конца года</a:t>
            </a:r>
            <a:r>
              <a:rPr lang="en-US" sz="1600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RU" sz="1600" dirty="0">
              <a:solidFill>
                <a:schemeClr val="bg1"/>
              </a:solidFill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marR="0" indent="-285750">
              <a:lnSpc>
                <a:spcPct val="107000"/>
              </a:lnSpc>
              <a:spcBef>
                <a:spcPts val="1200"/>
              </a:spcBef>
              <a:buClr>
                <a:srgbClr val="FFE600"/>
              </a:buClr>
              <a:buSzPct val="50000"/>
              <a:buFontTx/>
              <a:buChar char="►"/>
            </a:pPr>
            <a:r>
              <a:rPr lang="ru-RU" sz="1600" dirty="0">
                <a:solidFill>
                  <a:schemeClr val="bg1"/>
                </a:solidFill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Местные органы власти будут определять, является ли представление отчетности по МСФО S1/S2 обязательным для организаций.</a:t>
            </a:r>
          </a:p>
          <a:p>
            <a:pPr marL="285750" marR="0" indent="-285750">
              <a:lnSpc>
                <a:spcPct val="107000"/>
              </a:lnSpc>
              <a:spcBef>
                <a:spcPts val="1200"/>
              </a:spcBef>
              <a:buClr>
                <a:srgbClr val="FFE600"/>
              </a:buClr>
              <a:buSzPct val="50000"/>
              <a:buFontTx/>
              <a:buChar char="►"/>
            </a:pPr>
            <a:endParaRPr lang="en-US" sz="1600" dirty="0">
              <a:solidFill>
                <a:schemeClr val="bg1"/>
              </a:solidFill>
              <a:latin typeface="EYInterstate Light" panose="02000506000000020004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21E40A-E411-B2CD-BF1D-AD2A4F68AA85}"/>
              </a:ext>
            </a:extLst>
          </p:cNvPr>
          <p:cNvSpPr txBox="1"/>
          <p:nvPr/>
        </p:nvSpPr>
        <p:spPr>
          <a:xfrm>
            <a:off x="5535657" y="982237"/>
            <a:ext cx="6000762" cy="3382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effectLst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IOSCO представляет 95% мировых рынков ценных бумаг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88F4FFB-EEA2-186F-DB42-C4B4DE85EDAA}"/>
              </a:ext>
            </a:extLst>
          </p:cNvPr>
          <p:cNvGrpSpPr/>
          <p:nvPr/>
        </p:nvGrpSpPr>
        <p:grpSpPr>
          <a:xfrm>
            <a:off x="4815068" y="1395783"/>
            <a:ext cx="7164754" cy="3690468"/>
            <a:chOff x="324894" y="2194317"/>
            <a:chExt cx="8136224" cy="3633949"/>
          </a:xfrm>
        </p:grpSpPr>
        <p:grpSp>
          <p:nvGrpSpPr>
            <p:cNvPr id="9" name="Group 362">
              <a:extLst>
                <a:ext uri="{FF2B5EF4-FFF2-40B4-BE49-F238E27FC236}">
                  <a16:creationId xmlns:a16="http://schemas.microsoft.com/office/drawing/2014/main" id="{BD0966F9-D644-F56A-D63F-9C2997E32A1F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324894" y="2194317"/>
              <a:ext cx="8136224" cy="3633949"/>
              <a:chOff x="-22397" y="-19887"/>
              <a:chExt cx="34671" cy="16911"/>
            </a:xfrm>
            <a:solidFill>
              <a:schemeClr val="tx2"/>
            </a:solidFill>
            <a:effectLst>
              <a:outerShdw blurRad="127000" dist="25400" dir="2700000" algn="tl" rotWithShape="0">
                <a:prstClr val="black">
                  <a:alpha val="30000"/>
                </a:prstClr>
              </a:outerShdw>
            </a:effectLst>
          </p:grpSpPr>
          <p:sp>
            <p:nvSpPr>
              <p:cNvPr id="11" name="Freeform 188">
                <a:extLst>
                  <a:ext uri="{FF2B5EF4-FFF2-40B4-BE49-F238E27FC236}">
                    <a16:creationId xmlns:a16="http://schemas.microsoft.com/office/drawing/2014/main" id="{FA37D6A8-77D5-7EAC-C41F-A1960D22AD9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758" y="-8428"/>
                <a:ext cx="966" cy="1763"/>
              </a:xfrm>
              <a:custGeom>
                <a:avLst/>
                <a:gdLst>
                  <a:gd name="T0" fmla="*/ 88 w 409"/>
                  <a:gd name="T1" fmla="*/ 219 h 746"/>
                  <a:gd name="T2" fmla="*/ 104 w 409"/>
                  <a:gd name="T3" fmla="*/ 214 h 746"/>
                  <a:gd name="T4" fmla="*/ 134 w 409"/>
                  <a:gd name="T5" fmla="*/ 218 h 746"/>
                  <a:gd name="T6" fmla="*/ 134 w 409"/>
                  <a:gd name="T7" fmla="*/ 202 h 746"/>
                  <a:gd name="T8" fmla="*/ 173 w 409"/>
                  <a:gd name="T9" fmla="*/ 207 h 746"/>
                  <a:gd name="T10" fmla="*/ 186 w 409"/>
                  <a:gd name="T11" fmla="*/ 188 h 746"/>
                  <a:gd name="T12" fmla="*/ 216 w 409"/>
                  <a:gd name="T13" fmla="*/ 193 h 746"/>
                  <a:gd name="T14" fmla="*/ 214 w 409"/>
                  <a:gd name="T15" fmla="*/ 172 h 746"/>
                  <a:gd name="T16" fmla="*/ 223 w 409"/>
                  <a:gd name="T17" fmla="*/ 150 h 746"/>
                  <a:gd name="T18" fmla="*/ 225 w 409"/>
                  <a:gd name="T19" fmla="*/ 172 h 746"/>
                  <a:gd name="T20" fmla="*/ 230 w 409"/>
                  <a:gd name="T21" fmla="*/ 186 h 746"/>
                  <a:gd name="T22" fmla="*/ 239 w 409"/>
                  <a:gd name="T23" fmla="*/ 159 h 746"/>
                  <a:gd name="T24" fmla="*/ 244 w 409"/>
                  <a:gd name="T25" fmla="*/ 124 h 746"/>
                  <a:gd name="T26" fmla="*/ 255 w 409"/>
                  <a:gd name="T27" fmla="*/ 138 h 746"/>
                  <a:gd name="T28" fmla="*/ 269 w 409"/>
                  <a:gd name="T29" fmla="*/ 126 h 746"/>
                  <a:gd name="T30" fmla="*/ 271 w 409"/>
                  <a:gd name="T31" fmla="*/ 88 h 746"/>
                  <a:gd name="T32" fmla="*/ 288 w 409"/>
                  <a:gd name="T33" fmla="*/ 88 h 746"/>
                  <a:gd name="T34" fmla="*/ 312 w 409"/>
                  <a:gd name="T35" fmla="*/ 62 h 746"/>
                  <a:gd name="T36" fmla="*/ 315 w 409"/>
                  <a:gd name="T37" fmla="*/ 26 h 746"/>
                  <a:gd name="T38" fmla="*/ 336 w 409"/>
                  <a:gd name="T39" fmla="*/ 0 h 746"/>
                  <a:gd name="T40" fmla="*/ 372 w 409"/>
                  <a:gd name="T41" fmla="*/ 41 h 746"/>
                  <a:gd name="T42" fmla="*/ 372 w 409"/>
                  <a:gd name="T43" fmla="*/ 56 h 746"/>
                  <a:gd name="T44" fmla="*/ 395 w 409"/>
                  <a:gd name="T45" fmla="*/ 110 h 746"/>
                  <a:gd name="T46" fmla="*/ 382 w 409"/>
                  <a:gd name="T47" fmla="*/ 143 h 746"/>
                  <a:gd name="T48" fmla="*/ 402 w 409"/>
                  <a:gd name="T49" fmla="*/ 193 h 746"/>
                  <a:gd name="T50" fmla="*/ 375 w 409"/>
                  <a:gd name="T51" fmla="*/ 188 h 746"/>
                  <a:gd name="T52" fmla="*/ 354 w 409"/>
                  <a:gd name="T53" fmla="*/ 193 h 746"/>
                  <a:gd name="T54" fmla="*/ 358 w 409"/>
                  <a:gd name="T55" fmla="*/ 221 h 746"/>
                  <a:gd name="T56" fmla="*/ 333 w 409"/>
                  <a:gd name="T57" fmla="*/ 259 h 746"/>
                  <a:gd name="T58" fmla="*/ 338 w 409"/>
                  <a:gd name="T59" fmla="*/ 312 h 746"/>
                  <a:gd name="T60" fmla="*/ 267 w 409"/>
                  <a:gd name="T61" fmla="*/ 478 h 746"/>
                  <a:gd name="T62" fmla="*/ 211 w 409"/>
                  <a:gd name="T63" fmla="*/ 609 h 746"/>
                  <a:gd name="T64" fmla="*/ 189 w 409"/>
                  <a:gd name="T65" fmla="*/ 676 h 746"/>
                  <a:gd name="T66" fmla="*/ 149 w 409"/>
                  <a:gd name="T67" fmla="*/ 712 h 746"/>
                  <a:gd name="T68" fmla="*/ 133 w 409"/>
                  <a:gd name="T69" fmla="*/ 710 h 746"/>
                  <a:gd name="T70" fmla="*/ 60 w 409"/>
                  <a:gd name="T71" fmla="*/ 717 h 746"/>
                  <a:gd name="T72" fmla="*/ 28 w 409"/>
                  <a:gd name="T73" fmla="*/ 675 h 746"/>
                  <a:gd name="T74" fmla="*/ 41 w 409"/>
                  <a:gd name="T75" fmla="*/ 659 h 746"/>
                  <a:gd name="T76" fmla="*/ 5 w 409"/>
                  <a:gd name="T77" fmla="*/ 556 h 746"/>
                  <a:gd name="T78" fmla="*/ 39 w 409"/>
                  <a:gd name="T79" fmla="*/ 473 h 746"/>
                  <a:gd name="T80" fmla="*/ 79 w 409"/>
                  <a:gd name="T81" fmla="*/ 436 h 746"/>
                  <a:gd name="T82" fmla="*/ 71 w 409"/>
                  <a:gd name="T83" fmla="*/ 349 h 746"/>
                  <a:gd name="T84" fmla="*/ 67 w 409"/>
                  <a:gd name="T85" fmla="*/ 271 h 746"/>
                  <a:gd name="T86" fmla="*/ 94 w 409"/>
                  <a:gd name="T87" fmla="*/ 239 h 746"/>
                  <a:gd name="T88" fmla="*/ 88 w 409"/>
                  <a:gd name="T89" fmla="*/ 219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09" h="746">
                    <a:moveTo>
                      <a:pt x="88" y="219"/>
                    </a:moveTo>
                    <a:cubicBezTo>
                      <a:pt x="104" y="214"/>
                      <a:pt x="104" y="214"/>
                      <a:pt x="104" y="214"/>
                    </a:cubicBezTo>
                    <a:cubicBezTo>
                      <a:pt x="134" y="218"/>
                      <a:pt x="134" y="218"/>
                      <a:pt x="134" y="218"/>
                    </a:cubicBezTo>
                    <a:cubicBezTo>
                      <a:pt x="134" y="202"/>
                      <a:pt x="134" y="202"/>
                      <a:pt x="134" y="202"/>
                    </a:cubicBezTo>
                    <a:cubicBezTo>
                      <a:pt x="173" y="207"/>
                      <a:pt x="173" y="207"/>
                      <a:pt x="173" y="207"/>
                    </a:cubicBezTo>
                    <a:cubicBezTo>
                      <a:pt x="186" y="188"/>
                      <a:pt x="186" y="188"/>
                      <a:pt x="186" y="188"/>
                    </a:cubicBezTo>
                    <a:cubicBezTo>
                      <a:pt x="216" y="193"/>
                      <a:pt x="216" y="193"/>
                      <a:pt x="216" y="193"/>
                    </a:cubicBezTo>
                    <a:cubicBezTo>
                      <a:pt x="214" y="172"/>
                      <a:pt x="214" y="172"/>
                      <a:pt x="214" y="172"/>
                    </a:cubicBezTo>
                    <a:cubicBezTo>
                      <a:pt x="223" y="150"/>
                      <a:pt x="223" y="150"/>
                      <a:pt x="223" y="150"/>
                    </a:cubicBezTo>
                    <a:cubicBezTo>
                      <a:pt x="225" y="172"/>
                      <a:pt x="225" y="172"/>
                      <a:pt x="225" y="172"/>
                    </a:cubicBezTo>
                    <a:cubicBezTo>
                      <a:pt x="230" y="186"/>
                      <a:pt x="230" y="186"/>
                      <a:pt x="230" y="186"/>
                    </a:cubicBezTo>
                    <a:cubicBezTo>
                      <a:pt x="239" y="159"/>
                      <a:pt x="239" y="159"/>
                      <a:pt x="239" y="159"/>
                    </a:cubicBezTo>
                    <a:cubicBezTo>
                      <a:pt x="239" y="159"/>
                      <a:pt x="237" y="129"/>
                      <a:pt x="244" y="124"/>
                    </a:cubicBezTo>
                    <a:cubicBezTo>
                      <a:pt x="251" y="118"/>
                      <a:pt x="255" y="138"/>
                      <a:pt x="255" y="138"/>
                    </a:cubicBezTo>
                    <a:cubicBezTo>
                      <a:pt x="255" y="138"/>
                      <a:pt x="260" y="136"/>
                      <a:pt x="269" y="126"/>
                    </a:cubicBezTo>
                    <a:cubicBezTo>
                      <a:pt x="278" y="115"/>
                      <a:pt x="264" y="95"/>
                      <a:pt x="271" y="88"/>
                    </a:cubicBezTo>
                    <a:cubicBezTo>
                      <a:pt x="278" y="81"/>
                      <a:pt x="288" y="88"/>
                      <a:pt x="288" y="88"/>
                    </a:cubicBezTo>
                    <a:cubicBezTo>
                      <a:pt x="288" y="88"/>
                      <a:pt x="306" y="74"/>
                      <a:pt x="312" y="62"/>
                    </a:cubicBezTo>
                    <a:cubicBezTo>
                      <a:pt x="317" y="49"/>
                      <a:pt x="315" y="26"/>
                      <a:pt x="315" y="26"/>
                    </a:cubicBezTo>
                    <a:cubicBezTo>
                      <a:pt x="336" y="0"/>
                      <a:pt x="336" y="0"/>
                      <a:pt x="336" y="0"/>
                    </a:cubicBezTo>
                    <a:cubicBezTo>
                      <a:pt x="372" y="41"/>
                      <a:pt x="372" y="41"/>
                      <a:pt x="372" y="41"/>
                    </a:cubicBezTo>
                    <a:cubicBezTo>
                      <a:pt x="372" y="41"/>
                      <a:pt x="372" y="51"/>
                      <a:pt x="372" y="56"/>
                    </a:cubicBezTo>
                    <a:cubicBezTo>
                      <a:pt x="372" y="62"/>
                      <a:pt x="395" y="110"/>
                      <a:pt x="395" y="110"/>
                    </a:cubicBezTo>
                    <a:cubicBezTo>
                      <a:pt x="382" y="143"/>
                      <a:pt x="382" y="143"/>
                      <a:pt x="382" y="143"/>
                    </a:cubicBezTo>
                    <a:cubicBezTo>
                      <a:pt x="382" y="143"/>
                      <a:pt x="409" y="188"/>
                      <a:pt x="402" y="193"/>
                    </a:cubicBezTo>
                    <a:cubicBezTo>
                      <a:pt x="395" y="198"/>
                      <a:pt x="375" y="188"/>
                      <a:pt x="375" y="188"/>
                    </a:cubicBezTo>
                    <a:cubicBezTo>
                      <a:pt x="354" y="193"/>
                      <a:pt x="354" y="193"/>
                      <a:pt x="354" y="193"/>
                    </a:cubicBezTo>
                    <a:cubicBezTo>
                      <a:pt x="358" y="221"/>
                      <a:pt x="358" y="221"/>
                      <a:pt x="358" y="221"/>
                    </a:cubicBezTo>
                    <a:cubicBezTo>
                      <a:pt x="358" y="221"/>
                      <a:pt x="335" y="245"/>
                      <a:pt x="333" y="259"/>
                    </a:cubicBezTo>
                    <a:cubicBezTo>
                      <a:pt x="331" y="273"/>
                      <a:pt x="345" y="287"/>
                      <a:pt x="338" y="312"/>
                    </a:cubicBezTo>
                    <a:cubicBezTo>
                      <a:pt x="331" y="336"/>
                      <a:pt x="306" y="409"/>
                      <a:pt x="267" y="478"/>
                    </a:cubicBezTo>
                    <a:cubicBezTo>
                      <a:pt x="228" y="547"/>
                      <a:pt x="211" y="609"/>
                      <a:pt x="211" y="609"/>
                    </a:cubicBezTo>
                    <a:cubicBezTo>
                      <a:pt x="211" y="609"/>
                      <a:pt x="214" y="653"/>
                      <a:pt x="189" y="676"/>
                    </a:cubicBezTo>
                    <a:cubicBezTo>
                      <a:pt x="165" y="699"/>
                      <a:pt x="156" y="708"/>
                      <a:pt x="149" y="712"/>
                    </a:cubicBezTo>
                    <a:cubicBezTo>
                      <a:pt x="141" y="715"/>
                      <a:pt x="133" y="710"/>
                      <a:pt x="133" y="710"/>
                    </a:cubicBezTo>
                    <a:cubicBezTo>
                      <a:pt x="133" y="710"/>
                      <a:pt x="90" y="746"/>
                      <a:pt x="60" y="717"/>
                    </a:cubicBezTo>
                    <a:cubicBezTo>
                      <a:pt x="30" y="689"/>
                      <a:pt x="28" y="675"/>
                      <a:pt x="28" y="675"/>
                    </a:cubicBezTo>
                    <a:cubicBezTo>
                      <a:pt x="41" y="659"/>
                      <a:pt x="41" y="659"/>
                      <a:pt x="41" y="659"/>
                    </a:cubicBezTo>
                    <a:cubicBezTo>
                      <a:pt x="41" y="659"/>
                      <a:pt x="10" y="622"/>
                      <a:pt x="5" y="556"/>
                    </a:cubicBezTo>
                    <a:cubicBezTo>
                      <a:pt x="0" y="490"/>
                      <a:pt x="23" y="492"/>
                      <a:pt x="39" y="473"/>
                    </a:cubicBezTo>
                    <a:cubicBezTo>
                      <a:pt x="55" y="453"/>
                      <a:pt x="79" y="436"/>
                      <a:pt x="79" y="436"/>
                    </a:cubicBezTo>
                    <a:cubicBezTo>
                      <a:pt x="79" y="436"/>
                      <a:pt x="72" y="370"/>
                      <a:pt x="71" y="349"/>
                    </a:cubicBezTo>
                    <a:cubicBezTo>
                      <a:pt x="69" y="327"/>
                      <a:pt x="53" y="283"/>
                      <a:pt x="67" y="271"/>
                    </a:cubicBezTo>
                    <a:cubicBezTo>
                      <a:pt x="81" y="259"/>
                      <a:pt x="94" y="239"/>
                      <a:pt x="94" y="239"/>
                    </a:cubicBezTo>
                    <a:lnTo>
                      <a:pt x="88" y="219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Freeform 189">
                <a:extLst>
                  <a:ext uri="{FF2B5EF4-FFF2-40B4-BE49-F238E27FC236}">
                    <a16:creationId xmlns:a16="http://schemas.microsoft.com/office/drawing/2014/main" id="{9EF351CA-099F-1F38-F821-9A6EAE2C8C7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5766" y="-12935"/>
                <a:ext cx="1165" cy="437"/>
              </a:xfrm>
              <a:custGeom>
                <a:avLst/>
                <a:gdLst>
                  <a:gd name="T0" fmla="*/ 475 w 493"/>
                  <a:gd name="T1" fmla="*/ 151 h 185"/>
                  <a:gd name="T2" fmla="*/ 445 w 493"/>
                  <a:gd name="T3" fmla="*/ 148 h 185"/>
                  <a:gd name="T4" fmla="*/ 434 w 493"/>
                  <a:gd name="T5" fmla="*/ 129 h 185"/>
                  <a:gd name="T6" fmla="*/ 399 w 493"/>
                  <a:gd name="T7" fmla="*/ 128 h 185"/>
                  <a:gd name="T8" fmla="*/ 416 w 493"/>
                  <a:gd name="T9" fmla="*/ 114 h 185"/>
                  <a:gd name="T10" fmla="*/ 378 w 493"/>
                  <a:gd name="T11" fmla="*/ 106 h 185"/>
                  <a:gd name="T12" fmla="*/ 349 w 493"/>
                  <a:gd name="T13" fmla="*/ 96 h 185"/>
                  <a:gd name="T14" fmla="*/ 351 w 493"/>
                  <a:gd name="T15" fmla="*/ 79 h 185"/>
                  <a:gd name="T16" fmla="*/ 338 w 493"/>
                  <a:gd name="T17" fmla="*/ 77 h 185"/>
                  <a:gd name="T18" fmla="*/ 290 w 493"/>
                  <a:gd name="T19" fmla="*/ 45 h 185"/>
                  <a:gd name="T20" fmla="*/ 300 w 493"/>
                  <a:gd name="T21" fmla="*/ 64 h 185"/>
                  <a:gd name="T22" fmla="*/ 255 w 493"/>
                  <a:gd name="T23" fmla="*/ 42 h 185"/>
                  <a:gd name="T24" fmla="*/ 220 w 493"/>
                  <a:gd name="T25" fmla="*/ 12 h 185"/>
                  <a:gd name="T26" fmla="*/ 180 w 493"/>
                  <a:gd name="T27" fmla="*/ 12 h 185"/>
                  <a:gd name="T28" fmla="*/ 118 w 493"/>
                  <a:gd name="T29" fmla="*/ 0 h 185"/>
                  <a:gd name="T30" fmla="*/ 48 w 493"/>
                  <a:gd name="T31" fmla="*/ 26 h 185"/>
                  <a:gd name="T32" fmla="*/ 0 w 493"/>
                  <a:gd name="T33" fmla="*/ 51 h 185"/>
                  <a:gd name="T34" fmla="*/ 51 w 493"/>
                  <a:gd name="T35" fmla="*/ 49 h 185"/>
                  <a:gd name="T36" fmla="*/ 51 w 493"/>
                  <a:gd name="T37" fmla="*/ 39 h 185"/>
                  <a:gd name="T38" fmla="*/ 102 w 493"/>
                  <a:gd name="T39" fmla="*/ 36 h 185"/>
                  <a:gd name="T40" fmla="*/ 115 w 493"/>
                  <a:gd name="T41" fmla="*/ 29 h 185"/>
                  <a:gd name="T42" fmla="*/ 150 w 493"/>
                  <a:gd name="T43" fmla="*/ 34 h 185"/>
                  <a:gd name="T44" fmla="*/ 126 w 493"/>
                  <a:gd name="T45" fmla="*/ 46 h 185"/>
                  <a:gd name="T46" fmla="*/ 137 w 493"/>
                  <a:gd name="T47" fmla="*/ 54 h 185"/>
                  <a:gd name="T48" fmla="*/ 172 w 493"/>
                  <a:gd name="T49" fmla="*/ 66 h 185"/>
                  <a:gd name="T50" fmla="*/ 188 w 493"/>
                  <a:gd name="T51" fmla="*/ 61 h 185"/>
                  <a:gd name="T52" fmla="*/ 220 w 493"/>
                  <a:gd name="T53" fmla="*/ 81 h 185"/>
                  <a:gd name="T54" fmla="*/ 268 w 493"/>
                  <a:gd name="T55" fmla="*/ 79 h 185"/>
                  <a:gd name="T56" fmla="*/ 263 w 493"/>
                  <a:gd name="T57" fmla="*/ 96 h 185"/>
                  <a:gd name="T58" fmla="*/ 303 w 493"/>
                  <a:gd name="T59" fmla="*/ 113 h 185"/>
                  <a:gd name="T60" fmla="*/ 319 w 493"/>
                  <a:gd name="T61" fmla="*/ 136 h 185"/>
                  <a:gd name="T62" fmla="*/ 335 w 493"/>
                  <a:gd name="T63" fmla="*/ 150 h 185"/>
                  <a:gd name="T64" fmla="*/ 316 w 493"/>
                  <a:gd name="T65" fmla="*/ 172 h 185"/>
                  <a:gd name="T66" fmla="*/ 356 w 493"/>
                  <a:gd name="T67" fmla="*/ 163 h 185"/>
                  <a:gd name="T68" fmla="*/ 367 w 493"/>
                  <a:gd name="T69" fmla="*/ 168 h 185"/>
                  <a:gd name="T70" fmla="*/ 375 w 493"/>
                  <a:gd name="T71" fmla="*/ 180 h 185"/>
                  <a:gd name="T72" fmla="*/ 426 w 493"/>
                  <a:gd name="T73" fmla="*/ 178 h 185"/>
                  <a:gd name="T74" fmla="*/ 493 w 493"/>
                  <a:gd name="T75" fmla="*/ 163 h 185"/>
                  <a:gd name="T76" fmla="*/ 475 w 493"/>
                  <a:gd name="T77" fmla="*/ 151 h 185"/>
                  <a:gd name="T78" fmla="*/ 78 w 493"/>
                  <a:gd name="T79" fmla="*/ 84 h 185"/>
                  <a:gd name="T80" fmla="*/ 104 w 493"/>
                  <a:gd name="T81" fmla="*/ 84 h 185"/>
                  <a:gd name="T82" fmla="*/ 78 w 493"/>
                  <a:gd name="T83" fmla="*/ 84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93" h="185">
                    <a:moveTo>
                      <a:pt x="475" y="151"/>
                    </a:moveTo>
                    <a:cubicBezTo>
                      <a:pt x="456" y="148"/>
                      <a:pt x="445" y="148"/>
                      <a:pt x="445" y="148"/>
                    </a:cubicBezTo>
                    <a:cubicBezTo>
                      <a:pt x="445" y="148"/>
                      <a:pt x="453" y="131"/>
                      <a:pt x="434" y="129"/>
                    </a:cubicBezTo>
                    <a:cubicBezTo>
                      <a:pt x="416" y="126"/>
                      <a:pt x="399" y="128"/>
                      <a:pt x="399" y="128"/>
                    </a:cubicBezTo>
                    <a:cubicBezTo>
                      <a:pt x="416" y="114"/>
                      <a:pt x="416" y="114"/>
                      <a:pt x="416" y="114"/>
                    </a:cubicBezTo>
                    <a:cubicBezTo>
                      <a:pt x="416" y="114"/>
                      <a:pt x="386" y="106"/>
                      <a:pt x="378" y="106"/>
                    </a:cubicBezTo>
                    <a:cubicBezTo>
                      <a:pt x="370" y="106"/>
                      <a:pt x="349" y="96"/>
                      <a:pt x="349" y="96"/>
                    </a:cubicBezTo>
                    <a:cubicBezTo>
                      <a:pt x="349" y="96"/>
                      <a:pt x="359" y="79"/>
                      <a:pt x="351" y="79"/>
                    </a:cubicBezTo>
                    <a:cubicBezTo>
                      <a:pt x="343" y="79"/>
                      <a:pt x="338" y="77"/>
                      <a:pt x="338" y="77"/>
                    </a:cubicBezTo>
                    <a:cubicBezTo>
                      <a:pt x="338" y="77"/>
                      <a:pt x="298" y="37"/>
                      <a:pt x="290" y="45"/>
                    </a:cubicBezTo>
                    <a:cubicBezTo>
                      <a:pt x="282" y="52"/>
                      <a:pt x="300" y="64"/>
                      <a:pt x="300" y="64"/>
                    </a:cubicBezTo>
                    <a:cubicBezTo>
                      <a:pt x="255" y="42"/>
                      <a:pt x="255" y="42"/>
                      <a:pt x="255" y="42"/>
                    </a:cubicBezTo>
                    <a:cubicBezTo>
                      <a:pt x="255" y="42"/>
                      <a:pt x="231" y="17"/>
                      <a:pt x="220" y="12"/>
                    </a:cubicBezTo>
                    <a:cubicBezTo>
                      <a:pt x="209" y="7"/>
                      <a:pt x="180" y="12"/>
                      <a:pt x="180" y="12"/>
                    </a:cubicBezTo>
                    <a:cubicBezTo>
                      <a:pt x="180" y="12"/>
                      <a:pt x="156" y="0"/>
                      <a:pt x="118" y="0"/>
                    </a:cubicBezTo>
                    <a:cubicBezTo>
                      <a:pt x="81" y="0"/>
                      <a:pt x="64" y="12"/>
                      <a:pt x="48" y="26"/>
                    </a:cubicBezTo>
                    <a:cubicBezTo>
                      <a:pt x="32" y="41"/>
                      <a:pt x="0" y="51"/>
                      <a:pt x="0" y="51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1" y="39"/>
                      <a:pt x="51" y="39"/>
                      <a:pt x="51" y="39"/>
                    </a:cubicBezTo>
                    <a:cubicBezTo>
                      <a:pt x="102" y="36"/>
                      <a:pt x="102" y="36"/>
                      <a:pt x="102" y="36"/>
                    </a:cubicBezTo>
                    <a:cubicBezTo>
                      <a:pt x="115" y="29"/>
                      <a:pt x="115" y="29"/>
                      <a:pt x="115" y="29"/>
                    </a:cubicBezTo>
                    <a:cubicBezTo>
                      <a:pt x="115" y="29"/>
                      <a:pt x="142" y="27"/>
                      <a:pt x="150" y="34"/>
                    </a:cubicBezTo>
                    <a:cubicBezTo>
                      <a:pt x="158" y="42"/>
                      <a:pt x="126" y="46"/>
                      <a:pt x="126" y="46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7" y="54"/>
                      <a:pt x="155" y="61"/>
                      <a:pt x="172" y="66"/>
                    </a:cubicBezTo>
                    <a:cubicBezTo>
                      <a:pt x="188" y="71"/>
                      <a:pt x="188" y="61"/>
                      <a:pt x="188" y="61"/>
                    </a:cubicBezTo>
                    <a:cubicBezTo>
                      <a:pt x="188" y="61"/>
                      <a:pt x="204" y="74"/>
                      <a:pt x="220" y="81"/>
                    </a:cubicBezTo>
                    <a:cubicBezTo>
                      <a:pt x="236" y="89"/>
                      <a:pt x="268" y="79"/>
                      <a:pt x="268" y="79"/>
                    </a:cubicBezTo>
                    <a:cubicBezTo>
                      <a:pt x="263" y="96"/>
                      <a:pt x="263" y="96"/>
                      <a:pt x="263" y="96"/>
                    </a:cubicBezTo>
                    <a:cubicBezTo>
                      <a:pt x="303" y="113"/>
                      <a:pt x="303" y="113"/>
                      <a:pt x="303" y="113"/>
                    </a:cubicBezTo>
                    <a:cubicBezTo>
                      <a:pt x="319" y="136"/>
                      <a:pt x="319" y="136"/>
                      <a:pt x="319" y="136"/>
                    </a:cubicBezTo>
                    <a:cubicBezTo>
                      <a:pt x="319" y="136"/>
                      <a:pt x="335" y="143"/>
                      <a:pt x="335" y="150"/>
                    </a:cubicBezTo>
                    <a:cubicBezTo>
                      <a:pt x="335" y="158"/>
                      <a:pt x="308" y="165"/>
                      <a:pt x="316" y="172"/>
                    </a:cubicBezTo>
                    <a:cubicBezTo>
                      <a:pt x="324" y="180"/>
                      <a:pt x="348" y="163"/>
                      <a:pt x="356" y="163"/>
                    </a:cubicBezTo>
                    <a:cubicBezTo>
                      <a:pt x="364" y="163"/>
                      <a:pt x="381" y="165"/>
                      <a:pt x="367" y="168"/>
                    </a:cubicBezTo>
                    <a:cubicBezTo>
                      <a:pt x="354" y="170"/>
                      <a:pt x="375" y="180"/>
                      <a:pt x="375" y="180"/>
                    </a:cubicBezTo>
                    <a:cubicBezTo>
                      <a:pt x="375" y="180"/>
                      <a:pt x="397" y="185"/>
                      <a:pt x="426" y="178"/>
                    </a:cubicBezTo>
                    <a:cubicBezTo>
                      <a:pt x="456" y="170"/>
                      <a:pt x="493" y="163"/>
                      <a:pt x="493" y="163"/>
                    </a:cubicBezTo>
                    <a:cubicBezTo>
                      <a:pt x="493" y="163"/>
                      <a:pt x="493" y="153"/>
                      <a:pt x="475" y="151"/>
                    </a:cubicBezTo>
                    <a:close/>
                    <a:moveTo>
                      <a:pt x="78" y="84"/>
                    </a:moveTo>
                    <a:cubicBezTo>
                      <a:pt x="75" y="97"/>
                      <a:pt x="102" y="99"/>
                      <a:pt x="104" y="84"/>
                    </a:cubicBezTo>
                    <a:cubicBezTo>
                      <a:pt x="107" y="70"/>
                      <a:pt x="78" y="84"/>
                      <a:pt x="78" y="84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Freeform 190">
                <a:extLst>
                  <a:ext uri="{FF2B5EF4-FFF2-40B4-BE49-F238E27FC236}">
                    <a16:creationId xmlns:a16="http://schemas.microsoft.com/office/drawing/2014/main" id="{74CF4847-BD81-1A88-83F5-0F91555483A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5126" y="-12330"/>
                <a:ext cx="255" cy="99"/>
              </a:xfrm>
              <a:custGeom>
                <a:avLst/>
                <a:gdLst>
                  <a:gd name="T0" fmla="*/ 72 w 108"/>
                  <a:gd name="T1" fmla="*/ 42 h 42"/>
                  <a:gd name="T2" fmla="*/ 79 w 108"/>
                  <a:gd name="T3" fmla="*/ 28 h 42"/>
                  <a:gd name="T4" fmla="*/ 108 w 108"/>
                  <a:gd name="T5" fmla="*/ 34 h 42"/>
                  <a:gd name="T6" fmla="*/ 85 w 108"/>
                  <a:gd name="T7" fmla="*/ 9 h 42"/>
                  <a:gd name="T8" fmla="*/ 48 w 108"/>
                  <a:gd name="T9" fmla="*/ 6 h 42"/>
                  <a:gd name="T10" fmla="*/ 19 w 108"/>
                  <a:gd name="T11" fmla="*/ 4 h 42"/>
                  <a:gd name="T12" fmla="*/ 0 w 108"/>
                  <a:gd name="T13" fmla="*/ 9 h 42"/>
                  <a:gd name="T14" fmla="*/ 17 w 108"/>
                  <a:gd name="T15" fmla="*/ 26 h 42"/>
                  <a:gd name="T16" fmla="*/ 43 w 108"/>
                  <a:gd name="T17" fmla="*/ 32 h 42"/>
                  <a:gd name="T18" fmla="*/ 54 w 108"/>
                  <a:gd name="T19" fmla="*/ 38 h 42"/>
                  <a:gd name="T20" fmla="*/ 72 w 108"/>
                  <a:gd name="T21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8" h="42">
                    <a:moveTo>
                      <a:pt x="72" y="42"/>
                    </a:moveTo>
                    <a:cubicBezTo>
                      <a:pt x="79" y="28"/>
                      <a:pt x="79" y="28"/>
                      <a:pt x="79" y="28"/>
                    </a:cubicBezTo>
                    <a:cubicBezTo>
                      <a:pt x="108" y="34"/>
                      <a:pt x="108" y="34"/>
                      <a:pt x="108" y="34"/>
                    </a:cubicBezTo>
                    <a:cubicBezTo>
                      <a:pt x="108" y="34"/>
                      <a:pt x="95" y="9"/>
                      <a:pt x="85" y="9"/>
                    </a:cubicBezTo>
                    <a:cubicBezTo>
                      <a:pt x="75" y="9"/>
                      <a:pt x="58" y="7"/>
                      <a:pt x="48" y="6"/>
                    </a:cubicBezTo>
                    <a:cubicBezTo>
                      <a:pt x="37" y="4"/>
                      <a:pt x="27" y="0"/>
                      <a:pt x="19" y="4"/>
                    </a:cubicBezTo>
                    <a:cubicBezTo>
                      <a:pt x="11" y="7"/>
                      <a:pt x="0" y="9"/>
                      <a:pt x="0" y="9"/>
                    </a:cubicBezTo>
                    <a:cubicBezTo>
                      <a:pt x="0" y="9"/>
                      <a:pt x="8" y="20"/>
                      <a:pt x="17" y="26"/>
                    </a:cubicBezTo>
                    <a:cubicBezTo>
                      <a:pt x="25" y="32"/>
                      <a:pt x="43" y="32"/>
                      <a:pt x="43" y="32"/>
                    </a:cubicBezTo>
                    <a:cubicBezTo>
                      <a:pt x="54" y="38"/>
                      <a:pt x="54" y="38"/>
                      <a:pt x="54" y="38"/>
                    </a:cubicBezTo>
                    <a:lnTo>
                      <a:pt x="72" y="4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Freeform 191">
                <a:extLst>
                  <a:ext uri="{FF2B5EF4-FFF2-40B4-BE49-F238E27FC236}">
                    <a16:creationId xmlns:a16="http://schemas.microsoft.com/office/drawing/2014/main" id="{E67D3E95-835D-D9C8-C3C2-A93C720BB9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3871" y="-12323"/>
                <a:ext cx="229" cy="94"/>
              </a:xfrm>
              <a:custGeom>
                <a:avLst/>
                <a:gdLst>
                  <a:gd name="T0" fmla="*/ 60 w 97"/>
                  <a:gd name="T1" fmla="*/ 9 h 40"/>
                  <a:gd name="T2" fmla="*/ 15 w 97"/>
                  <a:gd name="T3" fmla="*/ 0 h 40"/>
                  <a:gd name="T4" fmla="*/ 2 w 97"/>
                  <a:gd name="T5" fmla="*/ 32 h 40"/>
                  <a:gd name="T6" fmla="*/ 27 w 97"/>
                  <a:gd name="T7" fmla="*/ 40 h 40"/>
                  <a:gd name="T8" fmla="*/ 33 w 97"/>
                  <a:gd name="T9" fmla="*/ 34 h 40"/>
                  <a:gd name="T10" fmla="*/ 64 w 97"/>
                  <a:gd name="T11" fmla="*/ 34 h 40"/>
                  <a:gd name="T12" fmla="*/ 95 w 97"/>
                  <a:gd name="T13" fmla="*/ 10 h 40"/>
                  <a:gd name="T14" fmla="*/ 60 w 97"/>
                  <a:gd name="T15" fmla="*/ 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40">
                    <a:moveTo>
                      <a:pt x="60" y="9"/>
                    </a:moveTo>
                    <a:cubicBezTo>
                      <a:pt x="52" y="9"/>
                      <a:pt x="29" y="0"/>
                      <a:pt x="15" y="0"/>
                    </a:cubicBezTo>
                    <a:cubicBezTo>
                      <a:pt x="0" y="0"/>
                      <a:pt x="2" y="32"/>
                      <a:pt x="2" y="32"/>
                    </a:cubicBezTo>
                    <a:cubicBezTo>
                      <a:pt x="27" y="40"/>
                      <a:pt x="27" y="40"/>
                      <a:pt x="27" y="40"/>
                    </a:cubicBezTo>
                    <a:cubicBezTo>
                      <a:pt x="33" y="34"/>
                      <a:pt x="33" y="34"/>
                      <a:pt x="33" y="34"/>
                    </a:cubicBezTo>
                    <a:cubicBezTo>
                      <a:pt x="33" y="34"/>
                      <a:pt x="48" y="36"/>
                      <a:pt x="64" y="34"/>
                    </a:cubicBezTo>
                    <a:cubicBezTo>
                      <a:pt x="81" y="32"/>
                      <a:pt x="97" y="17"/>
                      <a:pt x="95" y="10"/>
                    </a:cubicBezTo>
                    <a:cubicBezTo>
                      <a:pt x="93" y="2"/>
                      <a:pt x="68" y="10"/>
                      <a:pt x="60" y="9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Freeform 192">
                <a:extLst>
                  <a:ext uri="{FF2B5EF4-FFF2-40B4-BE49-F238E27FC236}">
                    <a16:creationId xmlns:a16="http://schemas.microsoft.com/office/drawing/2014/main" id="{FA5E1F93-8697-037F-1D53-116C193A1A8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2206" y="-16495"/>
                <a:ext cx="687" cy="614"/>
              </a:xfrm>
              <a:custGeom>
                <a:avLst/>
                <a:gdLst>
                  <a:gd name="T0" fmla="*/ 180 w 291"/>
                  <a:gd name="T1" fmla="*/ 17 h 260"/>
                  <a:gd name="T2" fmla="*/ 226 w 291"/>
                  <a:gd name="T3" fmla="*/ 5 h 260"/>
                  <a:gd name="T4" fmla="*/ 229 w 291"/>
                  <a:gd name="T5" fmla="*/ 20 h 260"/>
                  <a:gd name="T6" fmla="*/ 215 w 291"/>
                  <a:gd name="T7" fmla="*/ 29 h 260"/>
                  <a:gd name="T8" fmla="*/ 198 w 291"/>
                  <a:gd name="T9" fmla="*/ 60 h 260"/>
                  <a:gd name="T10" fmla="*/ 171 w 291"/>
                  <a:gd name="T11" fmla="*/ 72 h 260"/>
                  <a:gd name="T12" fmla="*/ 147 w 291"/>
                  <a:gd name="T13" fmla="*/ 101 h 260"/>
                  <a:gd name="T14" fmla="*/ 145 w 291"/>
                  <a:gd name="T15" fmla="*/ 119 h 260"/>
                  <a:gd name="T16" fmla="*/ 162 w 291"/>
                  <a:gd name="T17" fmla="*/ 106 h 260"/>
                  <a:gd name="T18" fmla="*/ 180 w 291"/>
                  <a:gd name="T19" fmla="*/ 76 h 260"/>
                  <a:gd name="T20" fmla="*/ 194 w 291"/>
                  <a:gd name="T21" fmla="*/ 88 h 260"/>
                  <a:gd name="T22" fmla="*/ 210 w 291"/>
                  <a:gd name="T23" fmla="*/ 94 h 260"/>
                  <a:gd name="T24" fmla="*/ 202 w 291"/>
                  <a:gd name="T25" fmla="*/ 115 h 260"/>
                  <a:gd name="T26" fmla="*/ 222 w 291"/>
                  <a:gd name="T27" fmla="*/ 113 h 260"/>
                  <a:gd name="T28" fmla="*/ 228 w 291"/>
                  <a:gd name="T29" fmla="*/ 132 h 260"/>
                  <a:gd name="T30" fmla="*/ 262 w 291"/>
                  <a:gd name="T31" fmla="*/ 111 h 260"/>
                  <a:gd name="T32" fmla="*/ 275 w 291"/>
                  <a:gd name="T33" fmla="*/ 120 h 260"/>
                  <a:gd name="T34" fmla="*/ 256 w 291"/>
                  <a:gd name="T35" fmla="*/ 138 h 260"/>
                  <a:gd name="T36" fmla="*/ 280 w 291"/>
                  <a:gd name="T37" fmla="*/ 144 h 260"/>
                  <a:gd name="T38" fmla="*/ 242 w 291"/>
                  <a:gd name="T39" fmla="*/ 197 h 260"/>
                  <a:gd name="T40" fmla="*/ 266 w 291"/>
                  <a:gd name="T41" fmla="*/ 198 h 260"/>
                  <a:gd name="T42" fmla="*/ 244 w 291"/>
                  <a:gd name="T43" fmla="*/ 212 h 260"/>
                  <a:gd name="T44" fmla="*/ 264 w 291"/>
                  <a:gd name="T45" fmla="*/ 213 h 260"/>
                  <a:gd name="T46" fmla="*/ 286 w 291"/>
                  <a:gd name="T47" fmla="*/ 204 h 260"/>
                  <a:gd name="T48" fmla="*/ 291 w 291"/>
                  <a:gd name="T49" fmla="*/ 219 h 260"/>
                  <a:gd name="T50" fmla="*/ 244 w 291"/>
                  <a:gd name="T51" fmla="*/ 260 h 260"/>
                  <a:gd name="T52" fmla="*/ 216 w 291"/>
                  <a:gd name="T53" fmla="*/ 256 h 260"/>
                  <a:gd name="T54" fmla="*/ 232 w 291"/>
                  <a:gd name="T55" fmla="*/ 240 h 260"/>
                  <a:gd name="T56" fmla="*/ 210 w 291"/>
                  <a:gd name="T57" fmla="*/ 242 h 260"/>
                  <a:gd name="T58" fmla="*/ 205 w 291"/>
                  <a:gd name="T59" fmla="*/ 237 h 260"/>
                  <a:gd name="T60" fmla="*/ 158 w 291"/>
                  <a:gd name="T61" fmla="*/ 243 h 260"/>
                  <a:gd name="T62" fmla="*/ 133 w 291"/>
                  <a:gd name="T63" fmla="*/ 239 h 260"/>
                  <a:gd name="T64" fmla="*/ 131 w 291"/>
                  <a:gd name="T65" fmla="*/ 236 h 260"/>
                  <a:gd name="T66" fmla="*/ 159 w 291"/>
                  <a:gd name="T67" fmla="*/ 228 h 260"/>
                  <a:gd name="T68" fmla="*/ 152 w 291"/>
                  <a:gd name="T69" fmla="*/ 217 h 260"/>
                  <a:gd name="T70" fmla="*/ 64 w 291"/>
                  <a:gd name="T71" fmla="*/ 199 h 260"/>
                  <a:gd name="T72" fmla="*/ 12 w 291"/>
                  <a:gd name="T73" fmla="*/ 201 h 260"/>
                  <a:gd name="T74" fmla="*/ 34 w 291"/>
                  <a:gd name="T75" fmla="*/ 186 h 260"/>
                  <a:gd name="T76" fmla="*/ 8 w 291"/>
                  <a:gd name="T77" fmla="*/ 176 h 260"/>
                  <a:gd name="T78" fmla="*/ 50 w 291"/>
                  <a:gd name="T79" fmla="*/ 153 h 260"/>
                  <a:gd name="T80" fmla="*/ 106 w 291"/>
                  <a:gd name="T81" fmla="*/ 101 h 260"/>
                  <a:gd name="T82" fmla="*/ 143 w 291"/>
                  <a:gd name="T83" fmla="*/ 65 h 260"/>
                  <a:gd name="T84" fmla="*/ 180 w 291"/>
                  <a:gd name="T85" fmla="*/ 17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1" h="260">
                    <a:moveTo>
                      <a:pt x="180" y="17"/>
                    </a:moveTo>
                    <a:cubicBezTo>
                      <a:pt x="180" y="17"/>
                      <a:pt x="209" y="0"/>
                      <a:pt x="226" y="5"/>
                    </a:cubicBezTo>
                    <a:cubicBezTo>
                      <a:pt x="244" y="10"/>
                      <a:pt x="229" y="20"/>
                      <a:pt x="229" y="20"/>
                    </a:cubicBezTo>
                    <a:cubicBezTo>
                      <a:pt x="215" y="29"/>
                      <a:pt x="215" y="29"/>
                      <a:pt x="215" y="29"/>
                    </a:cubicBezTo>
                    <a:cubicBezTo>
                      <a:pt x="215" y="29"/>
                      <a:pt x="210" y="49"/>
                      <a:pt x="198" y="60"/>
                    </a:cubicBezTo>
                    <a:cubicBezTo>
                      <a:pt x="186" y="71"/>
                      <a:pt x="171" y="72"/>
                      <a:pt x="171" y="72"/>
                    </a:cubicBezTo>
                    <a:cubicBezTo>
                      <a:pt x="147" y="101"/>
                      <a:pt x="147" y="101"/>
                      <a:pt x="147" y="101"/>
                    </a:cubicBezTo>
                    <a:cubicBezTo>
                      <a:pt x="145" y="119"/>
                      <a:pt x="145" y="119"/>
                      <a:pt x="145" y="119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80" y="76"/>
                      <a:pt x="180" y="76"/>
                      <a:pt x="180" y="76"/>
                    </a:cubicBezTo>
                    <a:cubicBezTo>
                      <a:pt x="194" y="88"/>
                      <a:pt x="194" y="88"/>
                      <a:pt x="194" y="88"/>
                    </a:cubicBezTo>
                    <a:cubicBezTo>
                      <a:pt x="210" y="94"/>
                      <a:pt x="210" y="94"/>
                      <a:pt x="210" y="94"/>
                    </a:cubicBezTo>
                    <a:cubicBezTo>
                      <a:pt x="202" y="115"/>
                      <a:pt x="202" y="115"/>
                      <a:pt x="202" y="115"/>
                    </a:cubicBezTo>
                    <a:cubicBezTo>
                      <a:pt x="222" y="113"/>
                      <a:pt x="222" y="113"/>
                      <a:pt x="222" y="113"/>
                    </a:cubicBezTo>
                    <a:cubicBezTo>
                      <a:pt x="228" y="132"/>
                      <a:pt x="228" y="132"/>
                      <a:pt x="228" y="132"/>
                    </a:cubicBezTo>
                    <a:cubicBezTo>
                      <a:pt x="262" y="111"/>
                      <a:pt x="262" y="111"/>
                      <a:pt x="262" y="111"/>
                    </a:cubicBezTo>
                    <a:cubicBezTo>
                      <a:pt x="275" y="120"/>
                      <a:pt x="275" y="120"/>
                      <a:pt x="275" y="120"/>
                    </a:cubicBezTo>
                    <a:cubicBezTo>
                      <a:pt x="275" y="120"/>
                      <a:pt x="265" y="135"/>
                      <a:pt x="256" y="138"/>
                    </a:cubicBezTo>
                    <a:cubicBezTo>
                      <a:pt x="248" y="141"/>
                      <a:pt x="274" y="144"/>
                      <a:pt x="280" y="144"/>
                    </a:cubicBezTo>
                    <a:cubicBezTo>
                      <a:pt x="286" y="145"/>
                      <a:pt x="242" y="197"/>
                      <a:pt x="242" y="197"/>
                    </a:cubicBezTo>
                    <a:cubicBezTo>
                      <a:pt x="266" y="198"/>
                      <a:pt x="266" y="198"/>
                      <a:pt x="266" y="198"/>
                    </a:cubicBezTo>
                    <a:cubicBezTo>
                      <a:pt x="244" y="212"/>
                      <a:pt x="244" y="212"/>
                      <a:pt x="244" y="212"/>
                    </a:cubicBezTo>
                    <a:cubicBezTo>
                      <a:pt x="264" y="213"/>
                      <a:pt x="264" y="213"/>
                      <a:pt x="264" y="213"/>
                    </a:cubicBezTo>
                    <a:cubicBezTo>
                      <a:pt x="286" y="204"/>
                      <a:pt x="286" y="204"/>
                      <a:pt x="286" y="204"/>
                    </a:cubicBezTo>
                    <a:cubicBezTo>
                      <a:pt x="291" y="219"/>
                      <a:pt x="291" y="219"/>
                      <a:pt x="291" y="219"/>
                    </a:cubicBezTo>
                    <a:cubicBezTo>
                      <a:pt x="244" y="260"/>
                      <a:pt x="244" y="260"/>
                      <a:pt x="244" y="260"/>
                    </a:cubicBezTo>
                    <a:cubicBezTo>
                      <a:pt x="216" y="256"/>
                      <a:pt x="216" y="256"/>
                      <a:pt x="216" y="256"/>
                    </a:cubicBezTo>
                    <a:cubicBezTo>
                      <a:pt x="232" y="240"/>
                      <a:pt x="232" y="240"/>
                      <a:pt x="232" y="240"/>
                    </a:cubicBezTo>
                    <a:cubicBezTo>
                      <a:pt x="210" y="242"/>
                      <a:pt x="210" y="242"/>
                      <a:pt x="210" y="242"/>
                    </a:cubicBezTo>
                    <a:cubicBezTo>
                      <a:pt x="205" y="237"/>
                      <a:pt x="205" y="237"/>
                      <a:pt x="205" y="237"/>
                    </a:cubicBezTo>
                    <a:cubicBezTo>
                      <a:pt x="158" y="243"/>
                      <a:pt x="158" y="243"/>
                      <a:pt x="158" y="243"/>
                    </a:cubicBezTo>
                    <a:cubicBezTo>
                      <a:pt x="133" y="239"/>
                      <a:pt x="133" y="239"/>
                      <a:pt x="133" y="239"/>
                    </a:cubicBezTo>
                    <a:cubicBezTo>
                      <a:pt x="131" y="236"/>
                      <a:pt x="131" y="236"/>
                      <a:pt x="131" y="236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59" y="228"/>
                      <a:pt x="168" y="217"/>
                      <a:pt x="152" y="217"/>
                    </a:cubicBezTo>
                    <a:cubicBezTo>
                      <a:pt x="136" y="216"/>
                      <a:pt x="64" y="199"/>
                      <a:pt x="64" y="199"/>
                    </a:cubicBezTo>
                    <a:cubicBezTo>
                      <a:pt x="64" y="199"/>
                      <a:pt x="24" y="213"/>
                      <a:pt x="12" y="201"/>
                    </a:cubicBezTo>
                    <a:cubicBezTo>
                      <a:pt x="0" y="189"/>
                      <a:pt x="34" y="186"/>
                      <a:pt x="34" y="186"/>
                    </a:cubicBezTo>
                    <a:cubicBezTo>
                      <a:pt x="34" y="186"/>
                      <a:pt x="6" y="183"/>
                      <a:pt x="8" y="176"/>
                    </a:cubicBezTo>
                    <a:cubicBezTo>
                      <a:pt x="10" y="170"/>
                      <a:pt x="50" y="153"/>
                      <a:pt x="50" y="153"/>
                    </a:cubicBezTo>
                    <a:cubicBezTo>
                      <a:pt x="106" y="101"/>
                      <a:pt x="106" y="101"/>
                      <a:pt x="106" y="101"/>
                    </a:cubicBezTo>
                    <a:cubicBezTo>
                      <a:pt x="143" y="65"/>
                      <a:pt x="143" y="65"/>
                      <a:pt x="143" y="65"/>
                    </a:cubicBezTo>
                    <a:lnTo>
                      <a:pt x="180" y="1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Freeform 193">
                <a:extLst>
                  <a:ext uri="{FF2B5EF4-FFF2-40B4-BE49-F238E27FC236}">
                    <a16:creationId xmlns:a16="http://schemas.microsoft.com/office/drawing/2014/main" id="{DE2AF938-E20C-EE50-269A-AAE9D8298B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6489" y="-11818"/>
                <a:ext cx="277" cy="175"/>
              </a:xfrm>
              <a:custGeom>
                <a:avLst/>
                <a:gdLst>
                  <a:gd name="T0" fmla="*/ 116 w 117"/>
                  <a:gd name="T1" fmla="*/ 57 h 74"/>
                  <a:gd name="T2" fmla="*/ 115 w 117"/>
                  <a:gd name="T3" fmla="*/ 28 h 74"/>
                  <a:gd name="T4" fmla="*/ 100 w 117"/>
                  <a:gd name="T5" fmla="*/ 26 h 74"/>
                  <a:gd name="T6" fmla="*/ 84 w 117"/>
                  <a:gd name="T7" fmla="*/ 32 h 74"/>
                  <a:gd name="T8" fmla="*/ 76 w 117"/>
                  <a:gd name="T9" fmla="*/ 16 h 74"/>
                  <a:gd name="T10" fmla="*/ 61 w 117"/>
                  <a:gd name="T11" fmla="*/ 16 h 74"/>
                  <a:gd name="T12" fmla="*/ 48 w 117"/>
                  <a:gd name="T13" fmla="*/ 0 h 74"/>
                  <a:gd name="T14" fmla="*/ 33 w 117"/>
                  <a:gd name="T15" fmla="*/ 4 h 74"/>
                  <a:gd name="T16" fmla="*/ 32 w 117"/>
                  <a:gd name="T17" fmla="*/ 12 h 74"/>
                  <a:gd name="T18" fmla="*/ 19 w 117"/>
                  <a:gd name="T19" fmla="*/ 24 h 74"/>
                  <a:gd name="T20" fmla="*/ 0 w 117"/>
                  <a:gd name="T21" fmla="*/ 39 h 74"/>
                  <a:gd name="T22" fmla="*/ 20 w 117"/>
                  <a:gd name="T23" fmla="*/ 52 h 74"/>
                  <a:gd name="T24" fmla="*/ 48 w 117"/>
                  <a:gd name="T25" fmla="*/ 53 h 74"/>
                  <a:gd name="T26" fmla="*/ 64 w 117"/>
                  <a:gd name="T27" fmla="*/ 66 h 74"/>
                  <a:gd name="T28" fmla="*/ 86 w 117"/>
                  <a:gd name="T29" fmla="*/ 64 h 74"/>
                  <a:gd name="T30" fmla="*/ 98 w 117"/>
                  <a:gd name="T31" fmla="*/ 74 h 74"/>
                  <a:gd name="T32" fmla="*/ 110 w 117"/>
                  <a:gd name="T33" fmla="*/ 55 h 74"/>
                  <a:gd name="T34" fmla="*/ 117 w 117"/>
                  <a:gd name="T35" fmla="*/ 57 h 74"/>
                  <a:gd name="T36" fmla="*/ 116 w 117"/>
                  <a:gd name="T37" fmla="*/ 5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7" h="74">
                    <a:moveTo>
                      <a:pt x="116" y="57"/>
                    </a:moveTo>
                    <a:cubicBezTo>
                      <a:pt x="115" y="28"/>
                      <a:pt x="115" y="28"/>
                      <a:pt x="115" y="28"/>
                    </a:cubicBezTo>
                    <a:cubicBezTo>
                      <a:pt x="115" y="28"/>
                      <a:pt x="105" y="27"/>
                      <a:pt x="100" y="26"/>
                    </a:cubicBezTo>
                    <a:cubicBezTo>
                      <a:pt x="95" y="25"/>
                      <a:pt x="93" y="30"/>
                      <a:pt x="84" y="32"/>
                    </a:cubicBezTo>
                    <a:cubicBezTo>
                      <a:pt x="75" y="34"/>
                      <a:pt x="76" y="16"/>
                      <a:pt x="76" y="16"/>
                    </a:cubicBezTo>
                    <a:cubicBezTo>
                      <a:pt x="76" y="16"/>
                      <a:pt x="70" y="16"/>
                      <a:pt x="61" y="16"/>
                    </a:cubicBezTo>
                    <a:cubicBezTo>
                      <a:pt x="54" y="16"/>
                      <a:pt x="50" y="5"/>
                      <a:pt x="48" y="0"/>
                    </a:cubicBezTo>
                    <a:cubicBezTo>
                      <a:pt x="41" y="3"/>
                      <a:pt x="33" y="4"/>
                      <a:pt x="33" y="4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2" y="12"/>
                      <a:pt x="27" y="22"/>
                      <a:pt x="19" y="24"/>
                    </a:cubicBezTo>
                    <a:cubicBezTo>
                      <a:pt x="13" y="25"/>
                      <a:pt x="5" y="34"/>
                      <a:pt x="0" y="39"/>
                    </a:cubicBezTo>
                    <a:cubicBezTo>
                      <a:pt x="7" y="44"/>
                      <a:pt x="16" y="50"/>
                      <a:pt x="20" y="52"/>
                    </a:cubicBezTo>
                    <a:cubicBezTo>
                      <a:pt x="28" y="55"/>
                      <a:pt x="48" y="53"/>
                      <a:pt x="48" y="53"/>
                    </a:cubicBezTo>
                    <a:cubicBezTo>
                      <a:pt x="64" y="66"/>
                      <a:pt x="64" y="66"/>
                      <a:pt x="64" y="66"/>
                    </a:cubicBezTo>
                    <a:cubicBezTo>
                      <a:pt x="86" y="64"/>
                      <a:pt x="86" y="64"/>
                      <a:pt x="86" y="64"/>
                    </a:cubicBezTo>
                    <a:cubicBezTo>
                      <a:pt x="98" y="74"/>
                      <a:pt x="98" y="74"/>
                      <a:pt x="98" y="74"/>
                    </a:cubicBezTo>
                    <a:cubicBezTo>
                      <a:pt x="110" y="55"/>
                      <a:pt x="110" y="55"/>
                      <a:pt x="110" y="55"/>
                    </a:cubicBezTo>
                    <a:cubicBezTo>
                      <a:pt x="117" y="57"/>
                      <a:pt x="117" y="57"/>
                      <a:pt x="117" y="57"/>
                    </a:cubicBezTo>
                    <a:lnTo>
                      <a:pt x="116" y="5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Freeform 194">
                <a:extLst>
                  <a:ext uri="{FF2B5EF4-FFF2-40B4-BE49-F238E27FC236}">
                    <a16:creationId xmlns:a16="http://schemas.microsoft.com/office/drawing/2014/main" id="{FE91E3E5-1D3E-71F2-8402-5364B807F8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6347" y="-12333"/>
                <a:ext cx="170" cy="331"/>
              </a:xfrm>
              <a:custGeom>
                <a:avLst/>
                <a:gdLst>
                  <a:gd name="T0" fmla="*/ 72 w 72"/>
                  <a:gd name="T1" fmla="*/ 22 h 140"/>
                  <a:gd name="T2" fmla="*/ 54 w 72"/>
                  <a:gd name="T3" fmla="*/ 11 h 140"/>
                  <a:gd name="T4" fmla="*/ 51 w 72"/>
                  <a:gd name="T5" fmla="*/ 0 h 140"/>
                  <a:gd name="T6" fmla="*/ 33 w 72"/>
                  <a:gd name="T7" fmla="*/ 33 h 140"/>
                  <a:gd name="T8" fmla="*/ 23 w 72"/>
                  <a:gd name="T9" fmla="*/ 26 h 140"/>
                  <a:gd name="T10" fmla="*/ 16 w 72"/>
                  <a:gd name="T11" fmla="*/ 36 h 140"/>
                  <a:gd name="T12" fmla="*/ 0 w 72"/>
                  <a:gd name="T13" fmla="*/ 140 h 140"/>
                  <a:gd name="T14" fmla="*/ 18 w 72"/>
                  <a:gd name="T15" fmla="*/ 140 h 140"/>
                  <a:gd name="T16" fmla="*/ 28 w 72"/>
                  <a:gd name="T17" fmla="*/ 114 h 140"/>
                  <a:gd name="T18" fmla="*/ 39 w 72"/>
                  <a:gd name="T19" fmla="*/ 118 h 140"/>
                  <a:gd name="T20" fmla="*/ 55 w 72"/>
                  <a:gd name="T21" fmla="*/ 93 h 140"/>
                  <a:gd name="T22" fmla="*/ 55 w 72"/>
                  <a:gd name="T23" fmla="*/ 60 h 140"/>
                  <a:gd name="T24" fmla="*/ 72 w 72"/>
                  <a:gd name="T25" fmla="*/ 2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2" h="140">
                    <a:moveTo>
                      <a:pt x="72" y="22"/>
                    </a:moveTo>
                    <a:cubicBezTo>
                      <a:pt x="72" y="17"/>
                      <a:pt x="54" y="11"/>
                      <a:pt x="54" y="11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1" y="0"/>
                      <a:pt x="44" y="32"/>
                      <a:pt x="33" y="33"/>
                    </a:cubicBezTo>
                    <a:cubicBezTo>
                      <a:pt x="22" y="34"/>
                      <a:pt x="28" y="26"/>
                      <a:pt x="23" y="26"/>
                    </a:cubicBezTo>
                    <a:cubicBezTo>
                      <a:pt x="18" y="26"/>
                      <a:pt x="16" y="36"/>
                      <a:pt x="16" y="36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18" y="140"/>
                      <a:pt x="18" y="140"/>
                      <a:pt x="18" y="140"/>
                    </a:cubicBezTo>
                    <a:cubicBezTo>
                      <a:pt x="28" y="114"/>
                      <a:pt x="28" y="114"/>
                      <a:pt x="28" y="114"/>
                    </a:cubicBezTo>
                    <a:cubicBezTo>
                      <a:pt x="39" y="118"/>
                      <a:pt x="39" y="118"/>
                      <a:pt x="39" y="118"/>
                    </a:cubicBezTo>
                    <a:cubicBezTo>
                      <a:pt x="39" y="118"/>
                      <a:pt x="55" y="104"/>
                      <a:pt x="55" y="93"/>
                    </a:cubicBezTo>
                    <a:cubicBezTo>
                      <a:pt x="55" y="82"/>
                      <a:pt x="51" y="70"/>
                      <a:pt x="55" y="60"/>
                    </a:cubicBezTo>
                    <a:cubicBezTo>
                      <a:pt x="59" y="50"/>
                      <a:pt x="72" y="27"/>
                      <a:pt x="72" y="22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Freeform 195">
                <a:extLst>
                  <a:ext uri="{FF2B5EF4-FFF2-40B4-BE49-F238E27FC236}">
                    <a16:creationId xmlns:a16="http://schemas.microsoft.com/office/drawing/2014/main" id="{0D80B329-A717-AAF3-6045-14F84773E3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6706" y="-12250"/>
                <a:ext cx="470" cy="525"/>
              </a:xfrm>
              <a:custGeom>
                <a:avLst/>
                <a:gdLst>
                  <a:gd name="T0" fmla="*/ 190 w 199"/>
                  <a:gd name="T1" fmla="*/ 103 h 222"/>
                  <a:gd name="T2" fmla="*/ 179 w 199"/>
                  <a:gd name="T3" fmla="*/ 110 h 222"/>
                  <a:gd name="T4" fmla="*/ 170 w 199"/>
                  <a:gd name="T5" fmla="*/ 105 h 222"/>
                  <a:gd name="T6" fmla="*/ 152 w 199"/>
                  <a:gd name="T7" fmla="*/ 105 h 222"/>
                  <a:gd name="T8" fmla="*/ 168 w 199"/>
                  <a:gd name="T9" fmla="*/ 1 h 222"/>
                  <a:gd name="T10" fmla="*/ 81 w 199"/>
                  <a:gd name="T11" fmla="*/ 0 h 222"/>
                  <a:gd name="T12" fmla="*/ 82 w 199"/>
                  <a:gd name="T13" fmla="*/ 30 h 222"/>
                  <a:gd name="T14" fmla="*/ 54 w 199"/>
                  <a:gd name="T15" fmla="*/ 34 h 222"/>
                  <a:gd name="T16" fmla="*/ 64 w 199"/>
                  <a:gd name="T17" fmla="*/ 38 h 222"/>
                  <a:gd name="T18" fmla="*/ 75 w 199"/>
                  <a:gd name="T19" fmla="*/ 56 h 222"/>
                  <a:gd name="T20" fmla="*/ 87 w 199"/>
                  <a:gd name="T21" fmla="*/ 57 h 222"/>
                  <a:gd name="T22" fmla="*/ 91 w 199"/>
                  <a:gd name="T23" fmla="*/ 73 h 222"/>
                  <a:gd name="T24" fmla="*/ 103 w 199"/>
                  <a:gd name="T25" fmla="*/ 79 h 222"/>
                  <a:gd name="T26" fmla="*/ 94 w 199"/>
                  <a:gd name="T27" fmla="*/ 86 h 222"/>
                  <a:gd name="T28" fmla="*/ 94 w 199"/>
                  <a:gd name="T29" fmla="*/ 97 h 222"/>
                  <a:gd name="T30" fmla="*/ 35 w 199"/>
                  <a:gd name="T31" fmla="*/ 96 h 222"/>
                  <a:gd name="T32" fmla="*/ 14 w 199"/>
                  <a:gd name="T33" fmla="*/ 127 h 222"/>
                  <a:gd name="T34" fmla="*/ 14 w 199"/>
                  <a:gd name="T35" fmla="*/ 165 h 222"/>
                  <a:gd name="T36" fmla="*/ 0 w 199"/>
                  <a:gd name="T37" fmla="*/ 179 h 222"/>
                  <a:gd name="T38" fmla="*/ 14 w 199"/>
                  <a:gd name="T39" fmla="*/ 192 h 222"/>
                  <a:gd name="T40" fmla="*/ 47 w 199"/>
                  <a:gd name="T41" fmla="*/ 213 h 222"/>
                  <a:gd name="T42" fmla="*/ 80 w 199"/>
                  <a:gd name="T43" fmla="*/ 213 h 222"/>
                  <a:gd name="T44" fmla="*/ 92 w 199"/>
                  <a:gd name="T45" fmla="*/ 222 h 222"/>
                  <a:gd name="T46" fmla="*/ 111 w 199"/>
                  <a:gd name="T47" fmla="*/ 207 h 222"/>
                  <a:gd name="T48" fmla="*/ 124 w 199"/>
                  <a:gd name="T49" fmla="*/ 195 h 222"/>
                  <a:gd name="T50" fmla="*/ 125 w 199"/>
                  <a:gd name="T51" fmla="*/ 187 h 222"/>
                  <a:gd name="T52" fmla="*/ 149 w 199"/>
                  <a:gd name="T53" fmla="*/ 176 h 222"/>
                  <a:gd name="T54" fmla="*/ 151 w 199"/>
                  <a:gd name="T55" fmla="*/ 155 h 222"/>
                  <a:gd name="T56" fmla="*/ 179 w 199"/>
                  <a:gd name="T57" fmla="*/ 131 h 222"/>
                  <a:gd name="T58" fmla="*/ 199 w 199"/>
                  <a:gd name="T59" fmla="*/ 112 h 222"/>
                  <a:gd name="T60" fmla="*/ 190 w 199"/>
                  <a:gd name="T61" fmla="*/ 103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9" h="222">
                    <a:moveTo>
                      <a:pt x="190" y="103"/>
                    </a:moveTo>
                    <a:cubicBezTo>
                      <a:pt x="179" y="110"/>
                      <a:pt x="179" y="110"/>
                      <a:pt x="179" y="110"/>
                    </a:cubicBezTo>
                    <a:cubicBezTo>
                      <a:pt x="170" y="105"/>
                      <a:pt x="170" y="105"/>
                      <a:pt x="170" y="105"/>
                    </a:cubicBezTo>
                    <a:cubicBezTo>
                      <a:pt x="152" y="105"/>
                      <a:pt x="152" y="105"/>
                      <a:pt x="152" y="105"/>
                    </a:cubicBezTo>
                    <a:cubicBezTo>
                      <a:pt x="168" y="1"/>
                      <a:pt x="168" y="1"/>
                      <a:pt x="168" y="1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81" y="0"/>
                      <a:pt x="84" y="24"/>
                      <a:pt x="82" y="30"/>
                    </a:cubicBezTo>
                    <a:cubicBezTo>
                      <a:pt x="80" y="36"/>
                      <a:pt x="54" y="34"/>
                      <a:pt x="54" y="34"/>
                    </a:cubicBezTo>
                    <a:cubicBezTo>
                      <a:pt x="64" y="38"/>
                      <a:pt x="64" y="38"/>
                      <a:pt x="64" y="38"/>
                    </a:cubicBezTo>
                    <a:cubicBezTo>
                      <a:pt x="64" y="38"/>
                      <a:pt x="65" y="54"/>
                      <a:pt x="75" y="56"/>
                    </a:cubicBezTo>
                    <a:cubicBezTo>
                      <a:pt x="85" y="58"/>
                      <a:pt x="87" y="57"/>
                      <a:pt x="87" y="57"/>
                    </a:cubicBezTo>
                    <a:cubicBezTo>
                      <a:pt x="91" y="73"/>
                      <a:pt x="91" y="73"/>
                      <a:pt x="91" y="73"/>
                    </a:cubicBezTo>
                    <a:cubicBezTo>
                      <a:pt x="91" y="73"/>
                      <a:pt x="103" y="69"/>
                      <a:pt x="103" y="79"/>
                    </a:cubicBezTo>
                    <a:cubicBezTo>
                      <a:pt x="103" y="89"/>
                      <a:pt x="94" y="86"/>
                      <a:pt x="94" y="86"/>
                    </a:cubicBezTo>
                    <a:cubicBezTo>
                      <a:pt x="94" y="97"/>
                      <a:pt x="94" y="97"/>
                      <a:pt x="94" y="97"/>
                    </a:cubicBezTo>
                    <a:cubicBezTo>
                      <a:pt x="35" y="96"/>
                      <a:pt x="35" y="96"/>
                      <a:pt x="35" y="96"/>
                    </a:cubicBezTo>
                    <a:cubicBezTo>
                      <a:pt x="14" y="127"/>
                      <a:pt x="14" y="127"/>
                      <a:pt x="14" y="127"/>
                    </a:cubicBezTo>
                    <a:cubicBezTo>
                      <a:pt x="14" y="127"/>
                      <a:pt x="14" y="149"/>
                      <a:pt x="14" y="165"/>
                    </a:cubicBezTo>
                    <a:cubicBezTo>
                      <a:pt x="14" y="181"/>
                      <a:pt x="0" y="179"/>
                      <a:pt x="0" y="179"/>
                    </a:cubicBezTo>
                    <a:cubicBezTo>
                      <a:pt x="3" y="185"/>
                      <a:pt x="7" y="189"/>
                      <a:pt x="14" y="192"/>
                    </a:cubicBezTo>
                    <a:cubicBezTo>
                      <a:pt x="33" y="199"/>
                      <a:pt x="36" y="209"/>
                      <a:pt x="47" y="213"/>
                    </a:cubicBezTo>
                    <a:cubicBezTo>
                      <a:pt x="58" y="217"/>
                      <a:pt x="80" y="213"/>
                      <a:pt x="80" y="213"/>
                    </a:cubicBezTo>
                    <a:cubicBezTo>
                      <a:pt x="80" y="213"/>
                      <a:pt x="86" y="217"/>
                      <a:pt x="92" y="222"/>
                    </a:cubicBezTo>
                    <a:cubicBezTo>
                      <a:pt x="97" y="217"/>
                      <a:pt x="105" y="208"/>
                      <a:pt x="111" y="207"/>
                    </a:cubicBezTo>
                    <a:cubicBezTo>
                      <a:pt x="119" y="205"/>
                      <a:pt x="124" y="195"/>
                      <a:pt x="124" y="195"/>
                    </a:cubicBezTo>
                    <a:cubicBezTo>
                      <a:pt x="125" y="187"/>
                      <a:pt x="125" y="187"/>
                      <a:pt x="125" y="187"/>
                    </a:cubicBezTo>
                    <a:cubicBezTo>
                      <a:pt x="125" y="187"/>
                      <a:pt x="146" y="185"/>
                      <a:pt x="149" y="176"/>
                    </a:cubicBezTo>
                    <a:cubicBezTo>
                      <a:pt x="152" y="167"/>
                      <a:pt x="151" y="155"/>
                      <a:pt x="151" y="155"/>
                    </a:cubicBezTo>
                    <a:cubicBezTo>
                      <a:pt x="151" y="155"/>
                      <a:pt x="164" y="139"/>
                      <a:pt x="179" y="131"/>
                    </a:cubicBezTo>
                    <a:cubicBezTo>
                      <a:pt x="194" y="123"/>
                      <a:pt x="199" y="112"/>
                      <a:pt x="199" y="112"/>
                    </a:cubicBezTo>
                    <a:lnTo>
                      <a:pt x="190" y="103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196">
                <a:extLst>
                  <a:ext uri="{FF2B5EF4-FFF2-40B4-BE49-F238E27FC236}">
                    <a16:creationId xmlns:a16="http://schemas.microsoft.com/office/drawing/2014/main" id="{8BBD3964-BA2B-A30C-E377-1BA13D7F79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8910" y="-14128"/>
                <a:ext cx="2946" cy="2306"/>
              </a:xfrm>
              <a:custGeom>
                <a:avLst/>
                <a:gdLst>
                  <a:gd name="T0" fmla="*/ 968 w 1247"/>
                  <a:gd name="T1" fmla="*/ 891 h 976"/>
                  <a:gd name="T2" fmla="*/ 1036 w 1247"/>
                  <a:gd name="T3" fmla="*/ 874 h 976"/>
                  <a:gd name="T4" fmla="*/ 1008 w 1247"/>
                  <a:gd name="T5" fmla="*/ 851 h 976"/>
                  <a:gd name="T6" fmla="*/ 1015 w 1247"/>
                  <a:gd name="T7" fmla="*/ 825 h 976"/>
                  <a:gd name="T8" fmla="*/ 1108 w 1247"/>
                  <a:gd name="T9" fmla="*/ 786 h 976"/>
                  <a:gd name="T10" fmla="*/ 1139 w 1247"/>
                  <a:gd name="T11" fmla="*/ 771 h 976"/>
                  <a:gd name="T12" fmla="*/ 1162 w 1247"/>
                  <a:gd name="T13" fmla="*/ 767 h 976"/>
                  <a:gd name="T14" fmla="*/ 1182 w 1247"/>
                  <a:gd name="T15" fmla="*/ 717 h 976"/>
                  <a:gd name="T16" fmla="*/ 1184 w 1247"/>
                  <a:gd name="T17" fmla="*/ 701 h 976"/>
                  <a:gd name="T18" fmla="*/ 1234 w 1247"/>
                  <a:gd name="T19" fmla="*/ 632 h 976"/>
                  <a:gd name="T20" fmla="*/ 1172 w 1247"/>
                  <a:gd name="T21" fmla="*/ 594 h 976"/>
                  <a:gd name="T22" fmla="*/ 1060 w 1247"/>
                  <a:gd name="T23" fmla="*/ 655 h 976"/>
                  <a:gd name="T24" fmla="*/ 1043 w 1247"/>
                  <a:gd name="T25" fmla="*/ 716 h 976"/>
                  <a:gd name="T26" fmla="*/ 974 w 1247"/>
                  <a:gd name="T27" fmla="*/ 749 h 976"/>
                  <a:gd name="T28" fmla="*/ 836 w 1247"/>
                  <a:gd name="T29" fmla="*/ 753 h 976"/>
                  <a:gd name="T30" fmla="*/ 777 w 1247"/>
                  <a:gd name="T31" fmla="*/ 708 h 976"/>
                  <a:gd name="T32" fmla="*/ 750 w 1247"/>
                  <a:gd name="T33" fmla="*/ 616 h 976"/>
                  <a:gd name="T34" fmla="*/ 752 w 1247"/>
                  <a:gd name="T35" fmla="*/ 507 h 976"/>
                  <a:gd name="T36" fmla="*/ 768 w 1247"/>
                  <a:gd name="T37" fmla="*/ 434 h 976"/>
                  <a:gd name="T38" fmla="*/ 806 w 1247"/>
                  <a:gd name="T39" fmla="*/ 364 h 976"/>
                  <a:gd name="T40" fmla="*/ 780 w 1247"/>
                  <a:gd name="T41" fmla="*/ 355 h 976"/>
                  <a:gd name="T42" fmla="*/ 720 w 1247"/>
                  <a:gd name="T43" fmla="*/ 332 h 976"/>
                  <a:gd name="T44" fmla="*/ 714 w 1247"/>
                  <a:gd name="T45" fmla="*/ 280 h 976"/>
                  <a:gd name="T46" fmla="*/ 700 w 1247"/>
                  <a:gd name="T47" fmla="*/ 241 h 976"/>
                  <a:gd name="T48" fmla="*/ 661 w 1247"/>
                  <a:gd name="T49" fmla="*/ 154 h 976"/>
                  <a:gd name="T50" fmla="*/ 621 w 1247"/>
                  <a:gd name="T51" fmla="*/ 154 h 976"/>
                  <a:gd name="T52" fmla="*/ 519 w 1247"/>
                  <a:gd name="T53" fmla="*/ 161 h 976"/>
                  <a:gd name="T54" fmla="*/ 491 w 1247"/>
                  <a:gd name="T55" fmla="*/ 76 h 976"/>
                  <a:gd name="T56" fmla="*/ 390 w 1247"/>
                  <a:gd name="T57" fmla="*/ 45 h 976"/>
                  <a:gd name="T58" fmla="*/ 378 w 1247"/>
                  <a:gd name="T59" fmla="*/ 72 h 976"/>
                  <a:gd name="T60" fmla="*/ 106 w 1247"/>
                  <a:gd name="T61" fmla="*/ 0 h 976"/>
                  <a:gd name="T62" fmla="*/ 0 w 1247"/>
                  <a:gd name="T63" fmla="*/ 25 h 976"/>
                  <a:gd name="T64" fmla="*/ 10 w 1247"/>
                  <a:gd name="T65" fmla="*/ 76 h 976"/>
                  <a:gd name="T66" fmla="*/ 5 w 1247"/>
                  <a:gd name="T67" fmla="*/ 117 h 976"/>
                  <a:gd name="T68" fmla="*/ 42 w 1247"/>
                  <a:gd name="T69" fmla="*/ 176 h 976"/>
                  <a:gd name="T70" fmla="*/ 58 w 1247"/>
                  <a:gd name="T71" fmla="*/ 267 h 976"/>
                  <a:gd name="T72" fmla="*/ 7 w 1247"/>
                  <a:gd name="T73" fmla="*/ 261 h 976"/>
                  <a:gd name="T74" fmla="*/ 43 w 1247"/>
                  <a:gd name="T75" fmla="*/ 296 h 976"/>
                  <a:gd name="T76" fmla="*/ 91 w 1247"/>
                  <a:gd name="T77" fmla="*/ 337 h 976"/>
                  <a:gd name="T78" fmla="*/ 142 w 1247"/>
                  <a:gd name="T79" fmla="*/ 459 h 976"/>
                  <a:gd name="T80" fmla="*/ 210 w 1247"/>
                  <a:gd name="T81" fmla="*/ 506 h 976"/>
                  <a:gd name="T82" fmla="*/ 172 w 1247"/>
                  <a:gd name="T83" fmla="*/ 452 h 976"/>
                  <a:gd name="T84" fmla="*/ 162 w 1247"/>
                  <a:gd name="T85" fmla="*/ 387 h 976"/>
                  <a:gd name="T86" fmla="*/ 131 w 1247"/>
                  <a:gd name="T87" fmla="*/ 319 h 976"/>
                  <a:gd name="T88" fmla="*/ 116 w 1247"/>
                  <a:gd name="T89" fmla="*/ 227 h 976"/>
                  <a:gd name="T90" fmla="*/ 66 w 1247"/>
                  <a:gd name="T91" fmla="*/ 128 h 976"/>
                  <a:gd name="T92" fmla="*/ 84 w 1247"/>
                  <a:gd name="T93" fmla="*/ 42 h 976"/>
                  <a:gd name="T94" fmla="*/ 138 w 1247"/>
                  <a:gd name="T95" fmla="*/ 73 h 976"/>
                  <a:gd name="T96" fmla="*/ 160 w 1247"/>
                  <a:gd name="T97" fmla="*/ 180 h 976"/>
                  <a:gd name="T98" fmla="*/ 208 w 1247"/>
                  <a:gd name="T99" fmla="*/ 284 h 976"/>
                  <a:gd name="T100" fmla="*/ 257 w 1247"/>
                  <a:gd name="T101" fmla="*/ 318 h 976"/>
                  <a:gd name="T102" fmla="*/ 255 w 1247"/>
                  <a:gd name="T103" fmla="*/ 375 h 976"/>
                  <a:gd name="T104" fmla="*/ 294 w 1247"/>
                  <a:gd name="T105" fmla="*/ 418 h 976"/>
                  <a:gd name="T106" fmla="*/ 313 w 1247"/>
                  <a:gd name="T107" fmla="*/ 456 h 976"/>
                  <a:gd name="T108" fmla="*/ 371 w 1247"/>
                  <a:gd name="T109" fmla="*/ 575 h 976"/>
                  <a:gd name="T110" fmla="*/ 375 w 1247"/>
                  <a:gd name="T111" fmla="*/ 645 h 976"/>
                  <a:gd name="T112" fmla="*/ 423 w 1247"/>
                  <a:gd name="T113" fmla="*/ 740 h 976"/>
                  <a:gd name="T114" fmla="*/ 556 w 1247"/>
                  <a:gd name="T115" fmla="*/ 838 h 976"/>
                  <a:gd name="T116" fmla="*/ 677 w 1247"/>
                  <a:gd name="T117" fmla="*/ 899 h 976"/>
                  <a:gd name="T118" fmla="*/ 840 w 1247"/>
                  <a:gd name="T119" fmla="*/ 878 h 976"/>
                  <a:gd name="T120" fmla="*/ 947 w 1247"/>
                  <a:gd name="T121" fmla="*/ 960 h 9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47" h="976">
                    <a:moveTo>
                      <a:pt x="947" y="960"/>
                    </a:moveTo>
                    <a:cubicBezTo>
                      <a:pt x="947" y="944"/>
                      <a:pt x="947" y="922"/>
                      <a:pt x="947" y="922"/>
                    </a:cubicBezTo>
                    <a:cubicBezTo>
                      <a:pt x="968" y="891"/>
                      <a:pt x="968" y="891"/>
                      <a:pt x="968" y="891"/>
                    </a:cubicBezTo>
                    <a:cubicBezTo>
                      <a:pt x="1027" y="892"/>
                      <a:pt x="1027" y="892"/>
                      <a:pt x="1027" y="892"/>
                    </a:cubicBezTo>
                    <a:cubicBezTo>
                      <a:pt x="1027" y="881"/>
                      <a:pt x="1027" y="881"/>
                      <a:pt x="1027" y="881"/>
                    </a:cubicBezTo>
                    <a:cubicBezTo>
                      <a:pt x="1027" y="881"/>
                      <a:pt x="1036" y="884"/>
                      <a:pt x="1036" y="874"/>
                    </a:cubicBezTo>
                    <a:cubicBezTo>
                      <a:pt x="1036" y="864"/>
                      <a:pt x="1024" y="868"/>
                      <a:pt x="1024" y="868"/>
                    </a:cubicBezTo>
                    <a:cubicBezTo>
                      <a:pt x="1020" y="852"/>
                      <a:pt x="1020" y="852"/>
                      <a:pt x="1020" y="852"/>
                    </a:cubicBezTo>
                    <a:cubicBezTo>
                      <a:pt x="1020" y="852"/>
                      <a:pt x="1018" y="853"/>
                      <a:pt x="1008" y="851"/>
                    </a:cubicBezTo>
                    <a:cubicBezTo>
                      <a:pt x="998" y="849"/>
                      <a:pt x="997" y="833"/>
                      <a:pt x="997" y="833"/>
                    </a:cubicBezTo>
                    <a:cubicBezTo>
                      <a:pt x="987" y="829"/>
                      <a:pt x="987" y="829"/>
                      <a:pt x="987" y="829"/>
                    </a:cubicBezTo>
                    <a:cubicBezTo>
                      <a:pt x="987" y="829"/>
                      <a:pt x="1013" y="831"/>
                      <a:pt x="1015" y="825"/>
                    </a:cubicBezTo>
                    <a:cubicBezTo>
                      <a:pt x="1017" y="819"/>
                      <a:pt x="1014" y="795"/>
                      <a:pt x="1014" y="795"/>
                    </a:cubicBezTo>
                    <a:cubicBezTo>
                      <a:pt x="1101" y="796"/>
                      <a:pt x="1101" y="796"/>
                      <a:pt x="1101" y="796"/>
                    </a:cubicBezTo>
                    <a:cubicBezTo>
                      <a:pt x="1101" y="796"/>
                      <a:pt x="1103" y="786"/>
                      <a:pt x="1108" y="786"/>
                    </a:cubicBezTo>
                    <a:cubicBezTo>
                      <a:pt x="1113" y="786"/>
                      <a:pt x="1107" y="794"/>
                      <a:pt x="1118" y="793"/>
                    </a:cubicBezTo>
                    <a:cubicBezTo>
                      <a:pt x="1129" y="792"/>
                      <a:pt x="1136" y="760"/>
                      <a:pt x="1136" y="760"/>
                    </a:cubicBezTo>
                    <a:cubicBezTo>
                      <a:pt x="1139" y="771"/>
                      <a:pt x="1139" y="771"/>
                      <a:pt x="1139" y="771"/>
                    </a:cubicBezTo>
                    <a:cubicBezTo>
                      <a:pt x="1150" y="761"/>
                      <a:pt x="1150" y="761"/>
                      <a:pt x="1150" y="761"/>
                    </a:cubicBezTo>
                    <a:cubicBezTo>
                      <a:pt x="1164" y="745"/>
                      <a:pt x="1164" y="745"/>
                      <a:pt x="1164" y="745"/>
                    </a:cubicBezTo>
                    <a:cubicBezTo>
                      <a:pt x="1164" y="745"/>
                      <a:pt x="1158" y="764"/>
                      <a:pt x="1162" y="767"/>
                    </a:cubicBezTo>
                    <a:cubicBezTo>
                      <a:pt x="1166" y="770"/>
                      <a:pt x="1173" y="770"/>
                      <a:pt x="1173" y="770"/>
                    </a:cubicBezTo>
                    <a:cubicBezTo>
                      <a:pt x="1188" y="725"/>
                      <a:pt x="1188" y="725"/>
                      <a:pt x="1188" y="725"/>
                    </a:cubicBezTo>
                    <a:cubicBezTo>
                      <a:pt x="1182" y="717"/>
                      <a:pt x="1182" y="717"/>
                      <a:pt x="1182" y="717"/>
                    </a:cubicBezTo>
                    <a:cubicBezTo>
                      <a:pt x="1195" y="713"/>
                      <a:pt x="1195" y="713"/>
                      <a:pt x="1195" y="713"/>
                    </a:cubicBezTo>
                    <a:cubicBezTo>
                      <a:pt x="1196" y="705"/>
                      <a:pt x="1196" y="705"/>
                      <a:pt x="1196" y="705"/>
                    </a:cubicBezTo>
                    <a:cubicBezTo>
                      <a:pt x="1184" y="701"/>
                      <a:pt x="1184" y="701"/>
                      <a:pt x="1184" y="701"/>
                    </a:cubicBezTo>
                    <a:cubicBezTo>
                      <a:pt x="1196" y="688"/>
                      <a:pt x="1196" y="688"/>
                      <a:pt x="1196" y="688"/>
                    </a:cubicBezTo>
                    <a:cubicBezTo>
                      <a:pt x="1200" y="672"/>
                      <a:pt x="1200" y="672"/>
                      <a:pt x="1200" y="672"/>
                    </a:cubicBezTo>
                    <a:cubicBezTo>
                      <a:pt x="1200" y="672"/>
                      <a:pt x="1230" y="641"/>
                      <a:pt x="1234" y="632"/>
                    </a:cubicBezTo>
                    <a:cubicBezTo>
                      <a:pt x="1238" y="623"/>
                      <a:pt x="1247" y="600"/>
                      <a:pt x="1236" y="597"/>
                    </a:cubicBezTo>
                    <a:cubicBezTo>
                      <a:pt x="1225" y="594"/>
                      <a:pt x="1203" y="601"/>
                      <a:pt x="1203" y="601"/>
                    </a:cubicBezTo>
                    <a:cubicBezTo>
                      <a:pt x="1203" y="601"/>
                      <a:pt x="1179" y="594"/>
                      <a:pt x="1172" y="594"/>
                    </a:cubicBezTo>
                    <a:cubicBezTo>
                      <a:pt x="1165" y="594"/>
                      <a:pt x="1137" y="602"/>
                      <a:pt x="1123" y="606"/>
                    </a:cubicBezTo>
                    <a:cubicBezTo>
                      <a:pt x="1109" y="610"/>
                      <a:pt x="1084" y="606"/>
                      <a:pt x="1078" y="612"/>
                    </a:cubicBezTo>
                    <a:cubicBezTo>
                      <a:pt x="1072" y="618"/>
                      <a:pt x="1061" y="639"/>
                      <a:pt x="1060" y="655"/>
                    </a:cubicBezTo>
                    <a:cubicBezTo>
                      <a:pt x="1059" y="671"/>
                      <a:pt x="1059" y="686"/>
                      <a:pt x="1059" y="686"/>
                    </a:cubicBezTo>
                    <a:cubicBezTo>
                      <a:pt x="1049" y="690"/>
                      <a:pt x="1049" y="690"/>
                      <a:pt x="1049" y="690"/>
                    </a:cubicBezTo>
                    <a:cubicBezTo>
                      <a:pt x="1049" y="690"/>
                      <a:pt x="1049" y="710"/>
                      <a:pt x="1043" y="716"/>
                    </a:cubicBezTo>
                    <a:cubicBezTo>
                      <a:pt x="1037" y="722"/>
                      <a:pt x="1016" y="728"/>
                      <a:pt x="1011" y="737"/>
                    </a:cubicBezTo>
                    <a:cubicBezTo>
                      <a:pt x="1006" y="746"/>
                      <a:pt x="1009" y="765"/>
                      <a:pt x="996" y="766"/>
                    </a:cubicBezTo>
                    <a:cubicBezTo>
                      <a:pt x="983" y="767"/>
                      <a:pt x="990" y="749"/>
                      <a:pt x="974" y="749"/>
                    </a:cubicBezTo>
                    <a:cubicBezTo>
                      <a:pt x="958" y="749"/>
                      <a:pt x="932" y="761"/>
                      <a:pt x="912" y="761"/>
                    </a:cubicBezTo>
                    <a:cubicBezTo>
                      <a:pt x="892" y="761"/>
                      <a:pt x="864" y="784"/>
                      <a:pt x="855" y="780"/>
                    </a:cubicBezTo>
                    <a:cubicBezTo>
                      <a:pt x="846" y="776"/>
                      <a:pt x="847" y="755"/>
                      <a:pt x="836" y="753"/>
                    </a:cubicBezTo>
                    <a:cubicBezTo>
                      <a:pt x="825" y="751"/>
                      <a:pt x="797" y="748"/>
                      <a:pt x="797" y="748"/>
                    </a:cubicBezTo>
                    <a:cubicBezTo>
                      <a:pt x="797" y="748"/>
                      <a:pt x="795" y="731"/>
                      <a:pt x="790" y="724"/>
                    </a:cubicBezTo>
                    <a:cubicBezTo>
                      <a:pt x="785" y="717"/>
                      <a:pt x="777" y="708"/>
                      <a:pt x="777" y="708"/>
                    </a:cubicBezTo>
                    <a:cubicBezTo>
                      <a:pt x="777" y="685"/>
                      <a:pt x="777" y="685"/>
                      <a:pt x="777" y="685"/>
                    </a:cubicBezTo>
                    <a:cubicBezTo>
                      <a:pt x="751" y="644"/>
                      <a:pt x="751" y="644"/>
                      <a:pt x="751" y="644"/>
                    </a:cubicBezTo>
                    <a:cubicBezTo>
                      <a:pt x="750" y="616"/>
                      <a:pt x="750" y="616"/>
                      <a:pt x="750" y="616"/>
                    </a:cubicBezTo>
                    <a:cubicBezTo>
                      <a:pt x="739" y="596"/>
                      <a:pt x="739" y="596"/>
                      <a:pt x="739" y="596"/>
                    </a:cubicBezTo>
                    <a:cubicBezTo>
                      <a:pt x="736" y="539"/>
                      <a:pt x="736" y="539"/>
                      <a:pt x="736" y="539"/>
                    </a:cubicBezTo>
                    <a:cubicBezTo>
                      <a:pt x="736" y="539"/>
                      <a:pt x="752" y="518"/>
                      <a:pt x="752" y="507"/>
                    </a:cubicBezTo>
                    <a:cubicBezTo>
                      <a:pt x="752" y="496"/>
                      <a:pt x="754" y="466"/>
                      <a:pt x="754" y="466"/>
                    </a:cubicBezTo>
                    <a:cubicBezTo>
                      <a:pt x="752" y="439"/>
                      <a:pt x="752" y="439"/>
                      <a:pt x="752" y="439"/>
                    </a:cubicBezTo>
                    <a:cubicBezTo>
                      <a:pt x="768" y="434"/>
                      <a:pt x="768" y="434"/>
                      <a:pt x="768" y="434"/>
                    </a:cubicBezTo>
                    <a:cubicBezTo>
                      <a:pt x="768" y="434"/>
                      <a:pt x="767" y="394"/>
                      <a:pt x="775" y="392"/>
                    </a:cubicBezTo>
                    <a:cubicBezTo>
                      <a:pt x="783" y="390"/>
                      <a:pt x="791" y="401"/>
                      <a:pt x="793" y="392"/>
                    </a:cubicBezTo>
                    <a:cubicBezTo>
                      <a:pt x="795" y="383"/>
                      <a:pt x="806" y="364"/>
                      <a:pt x="806" y="364"/>
                    </a:cubicBezTo>
                    <a:cubicBezTo>
                      <a:pt x="806" y="363"/>
                      <a:pt x="806" y="363"/>
                      <a:pt x="806" y="363"/>
                    </a:cubicBezTo>
                    <a:cubicBezTo>
                      <a:pt x="803" y="364"/>
                      <a:pt x="799" y="365"/>
                      <a:pt x="794" y="365"/>
                    </a:cubicBezTo>
                    <a:cubicBezTo>
                      <a:pt x="783" y="365"/>
                      <a:pt x="785" y="355"/>
                      <a:pt x="780" y="355"/>
                    </a:cubicBezTo>
                    <a:cubicBezTo>
                      <a:pt x="775" y="355"/>
                      <a:pt x="756" y="355"/>
                      <a:pt x="756" y="355"/>
                    </a:cubicBezTo>
                    <a:cubicBezTo>
                      <a:pt x="750" y="344"/>
                      <a:pt x="750" y="344"/>
                      <a:pt x="750" y="344"/>
                    </a:cubicBezTo>
                    <a:cubicBezTo>
                      <a:pt x="750" y="344"/>
                      <a:pt x="720" y="343"/>
                      <a:pt x="720" y="332"/>
                    </a:cubicBezTo>
                    <a:cubicBezTo>
                      <a:pt x="720" y="321"/>
                      <a:pt x="722" y="313"/>
                      <a:pt x="722" y="313"/>
                    </a:cubicBezTo>
                    <a:cubicBezTo>
                      <a:pt x="714" y="307"/>
                      <a:pt x="714" y="307"/>
                      <a:pt x="714" y="307"/>
                    </a:cubicBezTo>
                    <a:cubicBezTo>
                      <a:pt x="714" y="280"/>
                      <a:pt x="714" y="280"/>
                      <a:pt x="714" y="280"/>
                    </a:cubicBezTo>
                    <a:cubicBezTo>
                      <a:pt x="714" y="280"/>
                      <a:pt x="724" y="277"/>
                      <a:pt x="717" y="270"/>
                    </a:cubicBezTo>
                    <a:cubicBezTo>
                      <a:pt x="710" y="263"/>
                      <a:pt x="701" y="262"/>
                      <a:pt x="701" y="254"/>
                    </a:cubicBezTo>
                    <a:cubicBezTo>
                      <a:pt x="701" y="247"/>
                      <a:pt x="700" y="241"/>
                      <a:pt x="700" y="241"/>
                    </a:cubicBezTo>
                    <a:cubicBezTo>
                      <a:pt x="700" y="241"/>
                      <a:pt x="689" y="234"/>
                      <a:pt x="689" y="225"/>
                    </a:cubicBezTo>
                    <a:cubicBezTo>
                      <a:pt x="689" y="216"/>
                      <a:pt x="697" y="201"/>
                      <a:pt x="689" y="193"/>
                    </a:cubicBezTo>
                    <a:cubicBezTo>
                      <a:pt x="681" y="185"/>
                      <a:pt x="661" y="154"/>
                      <a:pt x="661" y="154"/>
                    </a:cubicBezTo>
                    <a:cubicBezTo>
                      <a:pt x="632" y="153"/>
                      <a:pt x="632" y="153"/>
                      <a:pt x="632" y="153"/>
                    </a:cubicBezTo>
                    <a:cubicBezTo>
                      <a:pt x="622" y="148"/>
                      <a:pt x="622" y="148"/>
                      <a:pt x="622" y="148"/>
                    </a:cubicBezTo>
                    <a:cubicBezTo>
                      <a:pt x="621" y="154"/>
                      <a:pt x="621" y="154"/>
                      <a:pt x="621" y="154"/>
                    </a:cubicBezTo>
                    <a:cubicBezTo>
                      <a:pt x="621" y="154"/>
                      <a:pt x="609" y="153"/>
                      <a:pt x="605" y="157"/>
                    </a:cubicBezTo>
                    <a:cubicBezTo>
                      <a:pt x="601" y="161"/>
                      <a:pt x="588" y="195"/>
                      <a:pt x="569" y="195"/>
                    </a:cubicBezTo>
                    <a:cubicBezTo>
                      <a:pt x="550" y="195"/>
                      <a:pt x="519" y="161"/>
                      <a:pt x="519" y="161"/>
                    </a:cubicBezTo>
                    <a:cubicBezTo>
                      <a:pt x="519" y="161"/>
                      <a:pt x="529" y="119"/>
                      <a:pt x="519" y="109"/>
                    </a:cubicBezTo>
                    <a:cubicBezTo>
                      <a:pt x="508" y="98"/>
                      <a:pt x="497" y="97"/>
                      <a:pt x="497" y="97"/>
                    </a:cubicBezTo>
                    <a:cubicBezTo>
                      <a:pt x="491" y="76"/>
                      <a:pt x="491" y="76"/>
                      <a:pt x="491" y="76"/>
                    </a:cubicBezTo>
                    <a:cubicBezTo>
                      <a:pt x="473" y="68"/>
                      <a:pt x="473" y="68"/>
                      <a:pt x="473" y="68"/>
                    </a:cubicBezTo>
                    <a:cubicBezTo>
                      <a:pt x="473" y="68"/>
                      <a:pt x="478" y="60"/>
                      <a:pt x="463" y="45"/>
                    </a:cubicBezTo>
                    <a:cubicBezTo>
                      <a:pt x="390" y="45"/>
                      <a:pt x="390" y="45"/>
                      <a:pt x="390" y="45"/>
                    </a:cubicBezTo>
                    <a:cubicBezTo>
                      <a:pt x="390" y="45"/>
                      <a:pt x="383" y="49"/>
                      <a:pt x="383" y="55"/>
                    </a:cubicBezTo>
                    <a:cubicBezTo>
                      <a:pt x="383" y="61"/>
                      <a:pt x="385" y="65"/>
                      <a:pt x="382" y="69"/>
                    </a:cubicBezTo>
                    <a:cubicBezTo>
                      <a:pt x="378" y="72"/>
                      <a:pt x="378" y="72"/>
                      <a:pt x="378" y="72"/>
                    </a:cubicBezTo>
                    <a:cubicBezTo>
                      <a:pt x="246" y="74"/>
                      <a:pt x="246" y="74"/>
                      <a:pt x="246" y="74"/>
                    </a:cubicBezTo>
                    <a:cubicBezTo>
                      <a:pt x="106" y="10"/>
                      <a:pt x="106" y="10"/>
                      <a:pt x="106" y="10"/>
                    </a:cubicBezTo>
                    <a:cubicBezTo>
                      <a:pt x="106" y="10"/>
                      <a:pt x="96" y="10"/>
                      <a:pt x="106" y="0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2" y="12"/>
                      <a:pt x="0" y="20"/>
                      <a:pt x="0" y="25"/>
                    </a:cubicBezTo>
                    <a:cubicBezTo>
                      <a:pt x="0" y="36"/>
                      <a:pt x="13" y="54"/>
                      <a:pt x="13" y="54"/>
                    </a:cubicBezTo>
                    <a:cubicBezTo>
                      <a:pt x="2" y="61"/>
                      <a:pt x="2" y="61"/>
                      <a:pt x="2" y="61"/>
                    </a:cubicBezTo>
                    <a:cubicBezTo>
                      <a:pt x="10" y="76"/>
                      <a:pt x="10" y="76"/>
                      <a:pt x="10" y="76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16" y="97"/>
                      <a:pt x="16" y="97"/>
                      <a:pt x="16" y="97"/>
                    </a:cubicBezTo>
                    <a:cubicBezTo>
                      <a:pt x="5" y="117"/>
                      <a:pt x="5" y="117"/>
                      <a:pt x="5" y="117"/>
                    </a:cubicBezTo>
                    <a:cubicBezTo>
                      <a:pt x="14" y="121"/>
                      <a:pt x="14" y="121"/>
                      <a:pt x="14" y="121"/>
                    </a:cubicBezTo>
                    <a:cubicBezTo>
                      <a:pt x="14" y="121"/>
                      <a:pt x="11" y="162"/>
                      <a:pt x="20" y="171"/>
                    </a:cubicBezTo>
                    <a:cubicBezTo>
                      <a:pt x="29" y="180"/>
                      <a:pt x="42" y="176"/>
                      <a:pt x="42" y="176"/>
                    </a:cubicBezTo>
                    <a:cubicBezTo>
                      <a:pt x="42" y="176"/>
                      <a:pt x="66" y="219"/>
                      <a:pt x="66" y="227"/>
                    </a:cubicBezTo>
                    <a:cubicBezTo>
                      <a:pt x="66" y="235"/>
                      <a:pt x="47" y="260"/>
                      <a:pt x="47" y="260"/>
                    </a:cubicBezTo>
                    <a:cubicBezTo>
                      <a:pt x="58" y="267"/>
                      <a:pt x="58" y="267"/>
                      <a:pt x="58" y="267"/>
                    </a:cubicBezTo>
                    <a:cubicBezTo>
                      <a:pt x="50" y="276"/>
                      <a:pt x="50" y="276"/>
                      <a:pt x="50" y="276"/>
                    </a:cubicBezTo>
                    <a:cubicBezTo>
                      <a:pt x="41" y="264"/>
                      <a:pt x="41" y="264"/>
                      <a:pt x="41" y="264"/>
                    </a:cubicBezTo>
                    <a:cubicBezTo>
                      <a:pt x="7" y="261"/>
                      <a:pt x="7" y="261"/>
                      <a:pt x="7" y="261"/>
                    </a:cubicBezTo>
                    <a:cubicBezTo>
                      <a:pt x="23" y="279"/>
                      <a:pt x="23" y="279"/>
                      <a:pt x="23" y="279"/>
                    </a:cubicBezTo>
                    <a:cubicBezTo>
                      <a:pt x="29" y="295"/>
                      <a:pt x="29" y="295"/>
                      <a:pt x="29" y="295"/>
                    </a:cubicBezTo>
                    <a:cubicBezTo>
                      <a:pt x="43" y="296"/>
                      <a:pt x="43" y="296"/>
                      <a:pt x="43" y="296"/>
                    </a:cubicBezTo>
                    <a:cubicBezTo>
                      <a:pt x="43" y="296"/>
                      <a:pt x="60" y="319"/>
                      <a:pt x="65" y="317"/>
                    </a:cubicBezTo>
                    <a:cubicBezTo>
                      <a:pt x="70" y="315"/>
                      <a:pt x="85" y="305"/>
                      <a:pt x="85" y="305"/>
                    </a:cubicBezTo>
                    <a:cubicBezTo>
                      <a:pt x="85" y="305"/>
                      <a:pt x="84" y="328"/>
                      <a:pt x="91" y="337"/>
                    </a:cubicBezTo>
                    <a:cubicBezTo>
                      <a:pt x="98" y="346"/>
                      <a:pt x="113" y="358"/>
                      <a:pt x="113" y="368"/>
                    </a:cubicBezTo>
                    <a:cubicBezTo>
                      <a:pt x="113" y="378"/>
                      <a:pt x="96" y="398"/>
                      <a:pt x="102" y="412"/>
                    </a:cubicBezTo>
                    <a:cubicBezTo>
                      <a:pt x="108" y="426"/>
                      <a:pt x="128" y="442"/>
                      <a:pt x="142" y="459"/>
                    </a:cubicBezTo>
                    <a:cubicBezTo>
                      <a:pt x="156" y="476"/>
                      <a:pt x="175" y="497"/>
                      <a:pt x="175" y="497"/>
                    </a:cubicBezTo>
                    <a:cubicBezTo>
                      <a:pt x="175" y="497"/>
                      <a:pt x="162" y="524"/>
                      <a:pt x="178" y="525"/>
                    </a:cubicBezTo>
                    <a:cubicBezTo>
                      <a:pt x="194" y="526"/>
                      <a:pt x="210" y="506"/>
                      <a:pt x="210" y="506"/>
                    </a:cubicBezTo>
                    <a:cubicBezTo>
                      <a:pt x="206" y="493"/>
                      <a:pt x="206" y="493"/>
                      <a:pt x="206" y="493"/>
                    </a:cubicBezTo>
                    <a:cubicBezTo>
                      <a:pt x="206" y="493"/>
                      <a:pt x="198" y="457"/>
                      <a:pt x="190" y="453"/>
                    </a:cubicBezTo>
                    <a:cubicBezTo>
                      <a:pt x="182" y="449"/>
                      <a:pt x="172" y="452"/>
                      <a:pt x="172" y="452"/>
                    </a:cubicBezTo>
                    <a:cubicBezTo>
                      <a:pt x="160" y="435"/>
                      <a:pt x="160" y="435"/>
                      <a:pt x="160" y="435"/>
                    </a:cubicBezTo>
                    <a:cubicBezTo>
                      <a:pt x="160" y="435"/>
                      <a:pt x="164" y="422"/>
                      <a:pt x="162" y="414"/>
                    </a:cubicBezTo>
                    <a:cubicBezTo>
                      <a:pt x="160" y="406"/>
                      <a:pt x="162" y="387"/>
                      <a:pt x="162" y="387"/>
                    </a:cubicBezTo>
                    <a:cubicBezTo>
                      <a:pt x="150" y="365"/>
                      <a:pt x="150" y="365"/>
                      <a:pt x="150" y="365"/>
                    </a:cubicBezTo>
                    <a:cubicBezTo>
                      <a:pt x="150" y="365"/>
                      <a:pt x="160" y="341"/>
                      <a:pt x="156" y="329"/>
                    </a:cubicBezTo>
                    <a:cubicBezTo>
                      <a:pt x="152" y="317"/>
                      <a:pt x="131" y="319"/>
                      <a:pt x="131" y="319"/>
                    </a:cubicBezTo>
                    <a:cubicBezTo>
                      <a:pt x="131" y="288"/>
                      <a:pt x="131" y="288"/>
                      <a:pt x="131" y="288"/>
                    </a:cubicBezTo>
                    <a:cubicBezTo>
                      <a:pt x="114" y="267"/>
                      <a:pt x="114" y="267"/>
                      <a:pt x="114" y="267"/>
                    </a:cubicBezTo>
                    <a:cubicBezTo>
                      <a:pt x="116" y="227"/>
                      <a:pt x="116" y="227"/>
                      <a:pt x="116" y="227"/>
                    </a:cubicBezTo>
                    <a:cubicBezTo>
                      <a:pt x="116" y="227"/>
                      <a:pt x="102" y="207"/>
                      <a:pt x="97" y="201"/>
                    </a:cubicBezTo>
                    <a:cubicBezTo>
                      <a:pt x="92" y="195"/>
                      <a:pt x="89" y="170"/>
                      <a:pt x="89" y="170"/>
                    </a:cubicBezTo>
                    <a:cubicBezTo>
                      <a:pt x="89" y="170"/>
                      <a:pt x="63" y="132"/>
                      <a:pt x="66" y="128"/>
                    </a:cubicBezTo>
                    <a:cubicBezTo>
                      <a:pt x="69" y="124"/>
                      <a:pt x="79" y="107"/>
                      <a:pt x="75" y="95"/>
                    </a:cubicBezTo>
                    <a:cubicBezTo>
                      <a:pt x="71" y="83"/>
                      <a:pt x="85" y="67"/>
                      <a:pt x="85" y="67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104" y="62"/>
                      <a:pt x="113" y="62"/>
                    </a:cubicBezTo>
                    <a:cubicBezTo>
                      <a:pt x="122" y="62"/>
                      <a:pt x="134" y="58"/>
                      <a:pt x="134" y="58"/>
                    </a:cubicBezTo>
                    <a:cubicBezTo>
                      <a:pt x="134" y="58"/>
                      <a:pt x="131" y="69"/>
                      <a:pt x="138" y="73"/>
                    </a:cubicBezTo>
                    <a:cubicBezTo>
                      <a:pt x="145" y="77"/>
                      <a:pt x="155" y="77"/>
                      <a:pt x="155" y="77"/>
                    </a:cubicBezTo>
                    <a:cubicBezTo>
                      <a:pt x="155" y="77"/>
                      <a:pt x="152" y="88"/>
                      <a:pt x="152" y="106"/>
                    </a:cubicBezTo>
                    <a:cubicBezTo>
                      <a:pt x="152" y="124"/>
                      <a:pt x="160" y="180"/>
                      <a:pt x="160" y="180"/>
                    </a:cubicBezTo>
                    <a:cubicBezTo>
                      <a:pt x="160" y="180"/>
                      <a:pt x="181" y="255"/>
                      <a:pt x="189" y="257"/>
                    </a:cubicBezTo>
                    <a:cubicBezTo>
                      <a:pt x="197" y="259"/>
                      <a:pt x="217" y="257"/>
                      <a:pt x="217" y="257"/>
                    </a:cubicBezTo>
                    <a:cubicBezTo>
                      <a:pt x="217" y="257"/>
                      <a:pt x="199" y="268"/>
                      <a:pt x="208" y="284"/>
                    </a:cubicBezTo>
                    <a:cubicBezTo>
                      <a:pt x="217" y="300"/>
                      <a:pt x="234" y="302"/>
                      <a:pt x="234" y="302"/>
                    </a:cubicBezTo>
                    <a:cubicBezTo>
                      <a:pt x="236" y="317"/>
                      <a:pt x="236" y="317"/>
                      <a:pt x="236" y="317"/>
                    </a:cubicBezTo>
                    <a:cubicBezTo>
                      <a:pt x="257" y="318"/>
                      <a:pt x="257" y="318"/>
                      <a:pt x="257" y="318"/>
                    </a:cubicBezTo>
                    <a:cubicBezTo>
                      <a:pt x="260" y="346"/>
                      <a:pt x="260" y="346"/>
                      <a:pt x="260" y="346"/>
                    </a:cubicBezTo>
                    <a:cubicBezTo>
                      <a:pt x="260" y="346"/>
                      <a:pt x="228" y="359"/>
                      <a:pt x="238" y="374"/>
                    </a:cubicBezTo>
                    <a:cubicBezTo>
                      <a:pt x="248" y="389"/>
                      <a:pt x="255" y="375"/>
                      <a:pt x="255" y="375"/>
                    </a:cubicBezTo>
                    <a:cubicBezTo>
                      <a:pt x="255" y="375"/>
                      <a:pt x="264" y="395"/>
                      <a:pt x="270" y="397"/>
                    </a:cubicBezTo>
                    <a:cubicBezTo>
                      <a:pt x="276" y="399"/>
                      <a:pt x="294" y="401"/>
                      <a:pt x="294" y="404"/>
                    </a:cubicBezTo>
                    <a:cubicBezTo>
                      <a:pt x="294" y="407"/>
                      <a:pt x="294" y="418"/>
                      <a:pt x="294" y="418"/>
                    </a:cubicBezTo>
                    <a:cubicBezTo>
                      <a:pt x="294" y="418"/>
                      <a:pt x="279" y="437"/>
                      <a:pt x="290" y="438"/>
                    </a:cubicBezTo>
                    <a:cubicBezTo>
                      <a:pt x="301" y="439"/>
                      <a:pt x="313" y="437"/>
                      <a:pt x="313" y="437"/>
                    </a:cubicBezTo>
                    <a:cubicBezTo>
                      <a:pt x="313" y="456"/>
                      <a:pt x="313" y="456"/>
                      <a:pt x="313" y="456"/>
                    </a:cubicBezTo>
                    <a:cubicBezTo>
                      <a:pt x="313" y="456"/>
                      <a:pt x="335" y="481"/>
                      <a:pt x="345" y="495"/>
                    </a:cubicBezTo>
                    <a:cubicBezTo>
                      <a:pt x="355" y="509"/>
                      <a:pt x="373" y="538"/>
                      <a:pt x="373" y="547"/>
                    </a:cubicBezTo>
                    <a:cubicBezTo>
                      <a:pt x="373" y="556"/>
                      <a:pt x="370" y="562"/>
                      <a:pt x="371" y="575"/>
                    </a:cubicBezTo>
                    <a:cubicBezTo>
                      <a:pt x="372" y="588"/>
                      <a:pt x="386" y="595"/>
                      <a:pt x="384" y="606"/>
                    </a:cubicBezTo>
                    <a:cubicBezTo>
                      <a:pt x="382" y="617"/>
                      <a:pt x="364" y="625"/>
                      <a:pt x="364" y="632"/>
                    </a:cubicBezTo>
                    <a:cubicBezTo>
                      <a:pt x="364" y="639"/>
                      <a:pt x="375" y="645"/>
                      <a:pt x="375" y="645"/>
                    </a:cubicBezTo>
                    <a:cubicBezTo>
                      <a:pt x="375" y="645"/>
                      <a:pt x="351" y="642"/>
                      <a:pt x="351" y="659"/>
                    </a:cubicBezTo>
                    <a:cubicBezTo>
                      <a:pt x="351" y="676"/>
                      <a:pt x="350" y="717"/>
                      <a:pt x="373" y="719"/>
                    </a:cubicBezTo>
                    <a:cubicBezTo>
                      <a:pt x="396" y="721"/>
                      <a:pt x="416" y="727"/>
                      <a:pt x="423" y="740"/>
                    </a:cubicBezTo>
                    <a:cubicBezTo>
                      <a:pt x="430" y="753"/>
                      <a:pt x="437" y="779"/>
                      <a:pt x="453" y="781"/>
                    </a:cubicBezTo>
                    <a:cubicBezTo>
                      <a:pt x="469" y="783"/>
                      <a:pt x="496" y="777"/>
                      <a:pt x="507" y="788"/>
                    </a:cubicBezTo>
                    <a:cubicBezTo>
                      <a:pt x="518" y="799"/>
                      <a:pt x="525" y="825"/>
                      <a:pt x="556" y="838"/>
                    </a:cubicBezTo>
                    <a:cubicBezTo>
                      <a:pt x="587" y="851"/>
                      <a:pt x="632" y="851"/>
                      <a:pt x="639" y="861"/>
                    </a:cubicBezTo>
                    <a:cubicBezTo>
                      <a:pt x="646" y="871"/>
                      <a:pt x="649" y="881"/>
                      <a:pt x="659" y="881"/>
                    </a:cubicBezTo>
                    <a:cubicBezTo>
                      <a:pt x="669" y="881"/>
                      <a:pt x="677" y="899"/>
                      <a:pt x="677" y="899"/>
                    </a:cubicBezTo>
                    <a:cubicBezTo>
                      <a:pt x="677" y="899"/>
                      <a:pt x="720" y="894"/>
                      <a:pt x="722" y="897"/>
                    </a:cubicBezTo>
                    <a:cubicBezTo>
                      <a:pt x="724" y="900"/>
                      <a:pt x="731" y="921"/>
                      <a:pt x="745" y="917"/>
                    </a:cubicBezTo>
                    <a:cubicBezTo>
                      <a:pt x="759" y="913"/>
                      <a:pt x="829" y="875"/>
                      <a:pt x="840" y="878"/>
                    </a:cubicBezTo>
                    <a:cubicBezTo>
                      <a:pt x="851" y="881"/>
                      <a:pt x="921" y="938"/>
                      <a:pt x="924" y="946"/>
                    </a:cubicBezTo>
                    <a:cubicBezTo>
                      <a:pt x="926" y="951"/>
                      <a:pt x="927" y="964"/>
                      <a:pt x="933" y="974"/>
                    </a:cubicBezTo>
                    <a:cubicBezTo>
                      <a:pt x="933" y="974"/>
                      <a:pt x="947" y="976"/>
                      <a:pt x="947" y="96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197">
                <a:extLst>
                  <a:ext uri="{FF2B5EF4-FFF2-40B4-BE49-F238E27FC236}">
                    <a16:creationId xmlns:a16="http://schemas.microsoft.com/office/drawing/2014/main" id="{3C3D7147-8E07-A747-C5E4-8DF2310EDF2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6375" y="-12021"/>
                <a:ext cx="699" cy="392"/>
              </a:xfrm>
              <a:custGeom>
                <a:avLst/>
                <a:gdLst>
                  <a:gd name="T0" fmla="*/ 103 w 296"/>
                  <a:gd name="T1" fmla="*/ 162 h 166"/>
                  <a:gd name="T2" fmla="*/ 105 w 296"/>
                  <a:gd name="T3" fmla="*/ 151 h 166"/>
                  <a:gd name="T4" fmla="*/ 114 w 296"/>
                  <a:gd name="T5" fmla="*/ 149 h 166"/>
                  <a:gd name="T6" fmla="*/ 115 w 296"/>
                  <a:gd name="T7" fmla="*/ 122 h 166"/>
                  <a:gd name="T8" fmla="*/ 135 w 296"/>
                  <a:gd name="T9" fmla="*/ 123 h 166"/>
                  <a:gd name="T10" fmla="*/ 148 w 296"/>
                  <a:gd name="T11" fmla="*/ 109 h 166"/>
                  <a:gd name="T12" fmla="*/ 162 w 296"/>
                  <a:gd name="T13" fmla="*/ 118 h 166"/>
                  <a:gd name="T14" fmla="*/ 189 w 296"/>
                  <a:gd name="T15" fmla="*/ 95 h 166"/>
                  <a:gd name="T16" fmla="*/ 190 w 296"/>
                  <a:gd name="T17" fmla="*/ 85 h 166"/>
                  <a:gd name="T18" fmla="*/ 203 w 296"/>
                  <a:gd name="T19" fmla="*/ 84 h 166"/>
                  <a:gd name="T20" fmla="*/ 213 w 296"/>
                  <a:gd name="T21" fmla="*/ 65 h 166"/>
                  <a:gd name="T22" fmla="*/ 238 w 296"/>
                  <a:gd name="T23" fmla="*/ 76 h 166"/>
                  <a:gd name="T24" fmla="*/ 251 w 296"/>
                  <a:gd name="T25" fmla="*/ 66 h 166"/>
                  <a:gd name="T26" fmla="*/ 262 w 296"/>
                  <a:gd name="T27" fmla="*/ 66 h 166"/>
                  <a:gd name="T28" fmla="*/ 281 w 296"/>
                  <a:gd name="T29" fmla="*/ 65 h 166"/>
                  <a:gd name="T30" fmla="*/ 294 w 296"/>
                  <a:gd name="T31" fmla="*/ 55 h 166"/>
                  <a:gd name="T32" fmla="*/ 283 w 296"/>
                  <a:gd name="T33" fmla="*/ 41 h 166"/>
                  <a:gd name="T34" fmla="*/ 268 w 296"/>
                  <a:gd name="T35" fmla="*/ 35 h 166"/>
                  <a:gd name="T36" fmla="*/ 248 w 296"/>
                  <a:gd name="T37" fmla="*/ 18 h 166"/>
                  <a:gd name="T38" fmla="*/ 230 w 296"/>
                  <a:gd name="T39" fmla="*/ 13 h 166"/>
                  <a:gd name="T40" fmla="*/ 214 w 296"/>
                  <a:gd name="T41" fmla="*/ 1 h 166"/>
                  <a:gd name="T42" fmla="*/ 192 w 296"/>
                  <a:gd name="T43" fmla="*/ 9 h 166"/>
                  <a:gd name="T44" fmla="*/ 171 w 296"/>
                  <a:gd name="T45" fmla="*/ 0 h 166"/>
                  <a:gd name="T46" fmla="*/ 148 w 296"/>
                  <a:gd name="T47" fmla="*/ 18 h 166"/>
                  <a:gd name="T48" fmla="*/ 125 w 296"/>
                  <a:gd name="T49" fmla="*/ 17 h 166"/>
                  <a:gd name="T50" fmla="*/ 109 w 296"/>
                  <a:gd name="T51" fmla="*/ 11 h 166"/>
                  <a:gd name="T52" fmla="*/ 89 w 296"/>
                  <a:gd name="T53" fmla="*/ 16 h 166"/>
                  <a:gd name="T54" fmla="*/ 81 w 296"/>
                  <a:gd name="T55" fmla="*/ 2 h 166"/>
                  <a:gd name="T56" fmla="*/ 59 w 296"/>
                  <a:gd name="T57" fmla="*/ 15 h 166"/>
                  <a:gd name="T58" fmla="*/ 39 w 296"/>
                  <a:gd name="T59" fmla="*/ 34 h 166"/>
                  <a:gd name="T60" fmla="*/ 11 w 296"/>
                  <a:gd name="T61" fmla="*/ 58 h 166"/>
                  <a:gd name="T62" fmla="*/ 9 w 296"/>
                  <a:gd name="T63" fmla="*/ 79 h 166"/>
                  <a:gd name="T64" fmla="*/ 0 w 296"/>
                  <a:gd name="T65" fmla="*/ 86 h 166"/>
                  <a:gd name="T66" fmla="*/ 13 w 296"/>
                  <a:gd name="T67" fmla="*/ 102 h 166"/>
                  <a:gd name="T68" fmla="*/ 28 w 296"/>
                  <a:gd name="T69" fmla="*/ 102 h 166"/>
                  <a:gd name="T70" fmla="*/ 36 w 296"/>
                  <a:gd name="T71" fmla="*/ 118 h 166"/>
                  <a:gd name="T72" fmla="*/ 52 w 296"/>
                  <a:gd name="T73" fmla="*/ 112 h 166"/>
                  <a:gd name="T74" fmla="*/ 67 w 296"/>
                  <a:gd name="T75" fmla="*/ 114 h 166"/>
                  <a:gd name="T76" fmla="*/ 68 w 296"/>
                  <a:gd name="T77" fmla="*/ 143 h 166"/>
                  <a:gd name="T78" fmla="*/ 85 w 296"/>
                  <a:gd name="T79" fmla="*/ 148 h 166"/>
                  <a:gd name="T80" fmla="*/ 89 w 296"/>
                  <a:gd name="T81" fmla="*/ 166 h 166"/>
                  <a:gd name="T82" fmla="*/ 103 w 296"/>
                  <a:gd name="T83" fmla="*/ 162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96" h="166">
                    <a:moveTo>
                      <a:pt x="103" y="162"/>
                    </a:moveTo>
                    <a:cubicBezTo>
                      <a:pt x="109" y="160"/>
                      <a:pt x="105" y="151"/>
                      <a:pt x="105" y="151"/>
                    </a:cubicBezTo>
                    <a:cubicBezTo>
                      <a:pt x="114" y="149"/>
                      <a:pt x="114" y="149"/>
                      <a:pt x="114" y="149"/>
                    </a:cubicBezTo>
                    <a:cubicBezTo>
                      <a:pt x="114" y="149"/>
                      <a:pt x="100" y="122"/>
                      <a:pt x="115" y="122"/>
                    </a:cubicBezTo>
                    <a:cubicBezTo>
                      <a:pt x="130" y="122"/>
                      <a:pt x="135" y="123"/>
                      <a:pt x="135" y="123"/>
                    </a:cubicBezTo>
                    <a:cubicBezTo>
                      <a:pt x="135" y="123"/>
                      <a:pt x="140" y="108"/>
                      <a:pt x="148" y="109"/>
                    </a:cubicBezTo>
                    <a:cubicBezTo>
                      <a:pt x="156" y="110"/>
                      <a:pt x="147" y="118"/>
                      <a:pt x="162" y="118"/>
                    </a:cubicBezTo>
                    <a:cubicBezTo>
                      <a:pt x="177" y="118"/>
                      <a:pt x="189" y="95"/>
                      <a:pt x="189" y="95"/>
                    </a:cubicBezTo>
                    <a:cubicBezTo>
                      <a:pt x="190" y="85"/>
                      <a:pt x="190" y="85"/>
                      <a:pt x="190" y="85"/>
                    </a:cubicBezTo>
                    <a:cubicBezTo>
                      <a:pt x="203" y="84"/>
                      <a:pt x="203" y="84"/>
                      <a:pt x="203" y="84"/>
                    </a:cubicBezTo>
                    <a:cubicBezTo>
                      <a:pt x="203" y="84"/>
                      <a:pt x="204" y="64"/>
                      <a:pt x="213" y="65"/>
                    </a:cubicBezTo>
                    <a:cubicBezTo>
                      <a:pt x="222" y="66"/>
                      <a:pt x="228" y="77"/>
                      <a:pt x="238" y="76"/>
                    </a:cubicBezTo>
                    <a:cubicBezTo>
                      <a:pt x="248" y="75"/>
                      <a:pt x="247" y="66"/>
                      <a:pt x="251" y="66"/>
                    </a:cubicBezTo>
                    <a:cubicBezTo>
                      <a:pt x="255" y="66"/>
                      <a:pt x="262" y="66"/>
                      <a:pt x="262" y="66"/>
                    </a:cubicBezTo>
                    <a:cubicBezTo>
                      <a:pt x="281" y="65"/>
                      <a:pt x="281" y="65"/>
                      <a:pt x="281" y="65"/>
                    </a:cubicBezTo>
                    <a:cubicBezTo>
                      <a:pt x="282" y="61"/>
                      <a:pt x="296" y="62"/>
                      <a:pt x="294" y="55"/>
                    </a:cubicBezTo>
                    <a:cubicBezTo>
                      <a:pt x="292" y="48"/>
                      <a:pt x="283" y="41"/>
                      <a:pt x="283" y="41"/>
                    </a:cubicBezTo>
                    <a:cubicBezTo>
                      <a:pt x="268" y="35"/>
                      <a:pt x="268" y="35"/>
                      <a:pt x="268" y="35"/>
                    </a:cubicBezTo>
                    <a:cubicBezTo>
                      <a:pt x="268" y="35"/>
                      <a:pt x="257" y="27"/>
                      <a:pt x="248" y="18"/>
                    </a:cubicBezTo>
                    <a:cubicBezTo>
                      <a:pt x="239" y="9"/>
                      <a:pt x="230" y="13"/>
                      <a:pt x="230" y="13"/>
                    </a:cubicBezTo>
                    <a:cubicBezTo>
                      <a:pt x="230" y="13"/>
                      <a:pt x="226" y="1"/>
                      <a:pt x="214" y="1"/>
                    </a:cubicBezTo>
                    <a:cubicBezTo>
                      <a:pt x="202" y="1"/>
                      <a:pt x="192" y="9"/>
                      <a:pt x="192" y="9"/>
                    </a:cubicBezTo>
                    <a:cubicBezTo>
                      <a:pt x="192" y="9"/>
                      <a:pt x="178" y="0"/>
                      <a:pt x="171" y="0"/>
                    </a:cubicBezTo>
                    <a:cubicBezTo>
                      <a:pt x="164" y="0"/>
                      <a:pt x="148" y="18"/>
                      <a:pt x="148" y="18"/>
                    </a:cubicBezTo>
                    <a:cubicBezTo>
                      <a:pt x="125" y="17"/>
                      <a:pt x="125" y="17"/>
                      <a:pt x="125" y="17"/>
                    </a:cubicBezTo>
                    <a:cubicBezTo>
                      <a:pt x="125" y="17"/>
                      <a:pt x="112" y="11"/>
                      <a:pt x="109" y="11"/>
                    </a:cubicBezTo>
                    <a:cubicBezTo>
                      <a:pt x="106" y="11"/>
                      <a:pt x="89" y="16"/>
                      <a:pt x="89" y="16"/>
                    </a:cubicBezTo>
                    <a:cubicBezTo>
                      <a:pt x="89" y="16"/>
                      <a:pt x="84" y="2"/>
                      <a:pt x="81" y="2"/>
                    </a:cubicBezTo>
                    <a:cubicBezTo>
                      <a:pt x="78" y="2"/>
                      <a:pt x="59" y="15"/>
                      <a:pt x="59" y="15"/>
                    </a:cubicBezTo>
                    <a:cubicBezTo>
                      <a:pt x="59" y="15"/>
                      <a:pt x="54" y="26"/>
                      <a:pt x="39" y="34"/>
                    </a:cubicBezTo>
                    <a:cubicBezTo>
                      <a:pt x="24" y="42"/>
                      <a:pt x="11" y="58"/>
                      <a:pt x="11" y="58"/>
                    </a:cubicBezTo>
                    <a:cubicBezTo>
                      <a:pt x="11" y="58"/>
                      <a:pt x="12" y="70"/>
                      <a:pt x="9" y="79"/>
                    </a:cubicBezTo>
                    <a:cubicBezTo>
                      <a:pt x="8" y="82"/>
                      <a:pt x="4" y="85"/>
                      <a:pt x="0" y="86"/>
                    </a:cubicBezTo>
                    <a:cubicBezTo>
                      <a:pt x="2" y="91"/>
                      <a:pt x="6" y="102"/>
                      <a:pt x="13" y="102"/>
                    </a:cubicBezTo>
                    <a:cubicBezTo>
                      <a:pt x="22" y="102"/>
                      <a:pt x="28" y="102"/>
                      <a:pt x="28" y="102"/>
                    </a:cubicBezTo>
                    <a:cubicBezTo>
                      <a:pt x="28" y="102"/>
                      <a:pt x="27" y="120"/>
                      <a:pt x="36" y="118"/>
                    </a:cubicBezTo>
                    <a:cubicBezTo>
                      <a:pt x="45" y="116"/>
                      <a:pt x="47" y="111"/>
                      <a:pt x="52" y="112"/>
                    </a:cubicBezTo>
                    <a:cubicBezTo>
                      <a:pt x="57" y="113"/>
                      <a:pt x="67" y="114"/>
                      <a:pt x="67" y="114"/>
                    </a:cubicBezTo>
                    <a:cubicBezTo>
                      <a:pt x="68" y="143"/>
                      <a:pt x="68" y="143"/>
                      <a:pt x="68" y="143"/>
                    </a:cubicBezTo>
                    <a:cubicBezTo>
                      <a:pt x="85" y="148"/>
                      <a:pt x="85" y="148"/>
                      <a:pt x="85" y="148"/>
                    </a:cubicBezTo>
                    <a:cubicBezTo>
                      <a:pt x="92" y="158"/>
                      <a:pt x="89" y="166"/>
                      <a:pt x="89" y="166"/>
                    </a:cubicBezTo>
                    <a:cubicBezTo>
                      <a:pt x="89" y="166"/>
                      <a:pt x="97" y="164"/>
                      <a:pt x="103" y="162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198">
                <a:extLst>
                  <a:ext uri="{FF2B5EF4-FFF2-40B4-BE49-F238E27FC236}">
                    <a16:creationId xmlns:a16="http://schemas.microsoft.com/office/drawing/2014/main" id="{5B99476C-DE13-CB99-15C8-48A2815235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2974" y="-10745"/>
                <a:ext cx="470" cy="539"/>
              </a:xfrm>
              <a:custGeom>
                <a:avLst/>
                <a:gdLst>
                  <a:gd name="T0" fmla="*/ 43 w 199"/>
                  <a:gd name="T1" fmla="*/ 52 h 228"/>
                  <a:gd name="T2" fmla="*/ 10 w 199"/>
                  <a:gd name="T3" fmla="*/ 61 h 228"/>
                  <a:gd name="T4" fmla="*/ 11 w 199"/>
                  <a:gd name="T5" fmla="*/ 89 h 228"/>
                  <a:gd name="T6" fmla="*/ 1 w 199"/>
                  <a:gd name="T7" fmla="*/ 107 h 228"/>
                  <a:gd name="T8" fmla="*/ 12 w 199"/>
                  <a:gd name="T9" fmla="*/ 122 h 228"/>
                  <a:gd name="T10" fmla="*/ 26 w 199"/>
                  <a:gd name="T11" fmla="*/ 144 h 228"/>
                  <a:gd name="T12" fmla="*/ 40 w 199"/>
                  <a:gd name="T13" fmla="*/ 137 h 228"/>
                  <a:gd name="T14" fmla="*/ 40 w 199"/>
                  <a:gd name="T15" fmla="*/ 173 h 228"/>
                  <a:gd name="T16" fmla="*/ 65 w 199"/>
                  <a:gd name="T17" fmla="*/ 212 h 228"/>
                  <a:gd name="T18" fmla="*/ 103 w 199"/>
                  <a:gd name="T19" fmla="*/ 224 h 228"/>
                  <a:gd name="T20" fmla="*/ 95 w 199"/>
                  <a:gd name="T21" fmla="*/ 204 h 228"/>
                  <a:gd name="T22" fmla="*/ 102 w 199"/>
                  <a:gd name="T23" fmla="*/ 187 h 228"/>
                  <a:gd name="T24" fmla="*/ 107 w 199"/>
                  <a:gd name="T25" fmla="*/ 195 h 228"/>
                  <a:gd name="T26" fmla="*/ 125 w 199"/>
                  <a:gd name="T27" fmla="*/ 195 h 228"/>
                  <a:gd name="T28" fmla="*/ 142 w 199"/>
                  <a:gd name="T29" fmla="*/ 183 h 228"/>
                  <a:gd name="T30" fmla="*/ 154 w 199"/>
                  <a:gd name="T31" fmla="*/ 193 h 228"/>
                  <a:gd name="T32" fmla="*/ 167 w 199"/>
                  <a:gd name="T33" fmla="*/ 199 h 228"/>
                  <a:gd name="T34" fmla="*/ 174 w 199"/>
                  <a:gd name="T35" fmla="*/ 182 h 228"/>
                  <a:gd name="T36" fmla="*/ 186 w 199"/>
                  <a:gd name="T37" fmla="*/ 175 h 228"/>
                  <a:gd name="T38" fmla="*/ 184 w 199"/>
                  <a:gd name="T39" fmla="*/ 147 h 228"/>
                  <a:gd name="T40" fmla="*/ 195 w 199"/>
                  <a:gd name="T41" fmla="*/ 132 h 228"/>
                  <a:gd name="T42" fmla="*/ 174 w 199"/>
                  <a:gd name="T43" fmla="*/ 105 h 228"/>
                  <a:gd name="T44" fmla="*/ 173 w 199"/>
                  <a:gd name="T45" fmla="*/ 55 h 228"/>
                  <a:gd name="T46" fmla="*/ 195 w 199"/>
                  <a:gd name="T47" fmla="*/ 32 h 228"/>
                  <a:gd name="T48" fmla="*/ 199 w 199"/>
                  <a:gd name="T49" fmla="*/ 11 h 228"/>
                  <a:gd name="T50" fmla="*/ 199 w 199"/>
                  <a:gd name="T51" fmla="*/ 11 h 228"/>
                  <a:gd name="T52" fmla="*/ 197 w 199"/>
                  <a:gd name="T53" fmla="*/ 9 h 228"/>
                  <a:gd name="T54" fmla="*/ 143 w 199"/>
                  <a:gd name="T55" fmla="*/ 0 h 228"/>
                  <a:gd name="T56" fmla="*/ 139 w 199"/>
                  <a:gd name="T57" fmla="*/ 9 h 228"/>
                  <a:gd name="T58" fmla="*/ 109 w 199"/>
                  <a:gd name="T59" fmla="*/ 4 h 228"/>
                  <a:gd name="T60" fmla="*/ 108 w 199"/>
                  <a:gd name="T61" fmla="*/ 15 h 228"/>
                  <a:gd name="T62" fmla="*/ 69 w 199"/>
                  <a:gd name="T63" fmla="*/ 1 h 228"/>
                  <a:gd name="T64" fmla="*/ 50 w 199"/>
                  <a:gd name="T65" fmla="*/ 7 h 228"/>
                  <a:gd name="T66" fmla="*/ 39 w 199"/>
                  <a:gd name="T67" fmla="*/ 29 h 228"/>
                  <a:gd name="T68" fmla="*/ 43 w 199"/>
                  <a:gd name="T69" fmla="*/ 52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99" h="228">
                    <a:moveTo>
                      <a:pt x="43" y="52"/>
                    </a:moveTo>
                    <a:cubicBezTo>
                      <a:pt x="31" y="55"/>
                      <a:pt x="13" y="52"/>
                      <a:pt x="10" y="61"/>
                    </a:cubicBezTo>
                    <a:cubicBezTo>
                      <a:pt x="7" y="70"/>
                      <a:pt x="11" y="89"/>
                      <a:pt x="11" y="89"/>
                    </a:cubicBezTo>
                    <a:cubicBezTo>
                      <a:pt x="11" y="89"/>
                      <a:pt x="0" y="96"/>
                      <a:pt x="1" y="107"/>
                    </a:cubicBezTo>
                    <a:cubicBezTo>
                      <a:pt x="2" y="117"/>
                      <a:pt x="12" y="115"/>
                      <a:pt x="12" y="122"/>
                    </a:cubicBezTo>
                    <a:cubicBezTo>
                      <a:pt x="12" y="129"/>
                      <a:pt x="22" y="143"/>
                      <a:pt x="26" y="144"/>
                    </a:cubicBezTo>
                    <a:cubicBezTo>
                      <a:pt x="30" y="145"/>
                      <a:pt x="39" y="130"/>
                      <a:pt x="40" y="137"/>
                    </a:cubicBezTo>
                    <a:cubicBezTo>
                      <a:pt x="41" y="144"/>
                      <a:pt x="31" y="165"/>
                      <a:pt x="40" y="173"/>
                    </a:cubicBezTo>
                    <a:cubicBezTo>
                      <a:pt x="49" y="181"/>
                      <a:pt x="65" y="212"/>
                      <a:pt x="65" y="212"/>
                    </a:cubicBezTo>
                    <a:cubicBezTo>
                      <a:pt x="65" y="212"/>
                      <a:pt x="94" y="228"/>
                      <a:pt x="103" y="224"/>
                    </a:cubicBezTo>
                    <a:cubicBezTo>
                      <a:pt x="112" y="220"/>
                      <a:pt x="98" y="210"/>
                      <a:pt x="95" y="204"/>
                    </a:cubicBezTo>
                    <a:cubicBezTo>
                      <a:pt x="92" y="198"/>
                      <a:pt x="96" y="188"/>
                      <a:pt x="102" y="187"/>
                    </a:cubicBezTo>
                    <a:cubicBezTo>
                      <a:pt x="108" y="186"/>
                      <a:pt x="107" y="195"/>
                      <a:pt x="107" y="195"/>
                    </a:cubicBezTo>
                    <a:cubicBezTo>
                      <a:pt x="125" y="195"/>
                      <a:pt x="125" y="195"/>
                      <a:pt x="125" y="195"/>
                    </a:cubicBezTo>
                    <a:cubicBezTo>
                      <a:pt x="125" y="195"/>
                      <a:pt x="134" y="184"/>
                      <a:pt x="142" y="183"/>
                    </a:cubicBezTo>
                    <a:cubicBezTo>
                      <a:pt x="150" y="182"/>
                      <a:pt x="154" y="193"/>
                      <a:pt x="154" y="193"/>
                    </a:cubicBezTo>
                    <a:cubicBezTo>
                      <a:pt x="167" y="199"/>
                      <a:pt x="167" y="199"/>
                      <a:pt x="167" y="199"/>
                    </a:cubicBezTo>
                    <a:cubicBezTo>
                      <a:pt x="167" y="199"/>
                      <a:pt x="173" y="185"/>
                      <a:pt x="174" y="182"/>
                    </a:cubicBezTo>
                    <a:cubicBezTo>
                      <a:pt x="175" y="179"/>
                      <a:pt x="186" y="175"/>
                      <a:pt x="186" y="175"/>
                    </a:cubicBezTo>
                    <a:cubicBezTo>
                      <a:pt x="184" y="147"/>
                      <a:pt x="184" y="147"/>
                      <a:pt x="184" y="147"/>
                    </a:cubicBezTo>
                    <a:cubicBezTo>
                      <a:pt x="184" y="147"/>
                      <a:pt x="196" y="142"/>
                      <a:pt x="195" y="132"/>
                    </a:cubicBezTo>
                    <a:cubicBezTo>
                      <a:pt x="194" y="122"/>
                      <a:pt x="175" y="117"/>
                      <a:pt x="174" y="105"/>
                    </a:cubicBezTo>
                    <a:cubicBezTo>
                      <a:pt x="173" y="92"/>
                      <a:pt x="163" y="71"/>
                      <a:pt x="173" y="55"/>
                    </a:cubicBezTo>
                    <a:cubicBezTo>
                      <a:pt x="184" y="38"/>
                      <a:pt x="195" y="39"/>
                      <a:pt x="195" y="32"/>
                    </a:cubicBezTo>
                    <a:cubicBezTo>
                      <a:pt x="195" y="27"/>
                      <a:pt x="195" y="18"/>
                      <a:pt x="199" y="11"/>
                    </a:cubicBezTo>
                    <a:cubicBezTo>
                      <a:pt x="199" y="11"/>
                      <a:pt x="199" y="11"/>
                      <a:pt x="199" y="11"/>
                    </a:cubicBezTo>
                    <a:cubicBezTo>
                      <a:pt x="198" y="10"/>
                      <a:pt x="197" y="10"/>
                      <a:pt x="197" y="9"/>
                    </a:cubicBezTo>
                    <a:cubicBezTo>
                      <a:pt x="190" y="0"/>
                      <a:pt x="143" y="0"/>
                      <a:pt x="143" y="0"/>
                    </a:cubicBezTo>
                    <a:cubicBezTo>
                      <a:pt x="139" y="9"/>
                      <a:pt x="139" y="9"/>
                      <a:pt x="139" y="9"/>
                    </a:cubicBezTo>
                    <a:cubicBezTo>
                      <a:pt x="109" y="4"/>
                      <a:pt x="109" y="4"/>
                      <a:pt x="109" y="4"/>
                    </a:cubicBezTo>
                    <a:cubicBezTo>
                      <a:pt x="108" y="15"/>
                      <a:pt x="108" y="15"/>
                      <a:pt x="108" y="15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50" y="7"/>
                      <a:pt x="50" y="7"/>
                      <a:pt x="50" y="7"/>
                    </a:cubicBezTo>
                    <a:cubicBezTo>
                      <a:pt x="50" y="7"/>
                      <a:pt x="39" y="21"/>
                      <a:pt x="39" y="29"/>
                    </a:cubicBezTo>
                    <a:cubicBezTo>
                      <a:pt x="39" y="37"/>
                      <a:pt x="55" y="49"/>
                      <a:pt x="43" y="52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Freeform 199">
                <a:extLst>
                  <a:ext uri="{FF2B5EF4-FFF2-40B4-BE49-F238E27FC236}">
                    <a16:creationId xmlns:a16="http://schemas.microsoft.com/office/drawing/2014/main" id="{C344F2FC-1A79-0097-7158-2DA75374AC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3342" y="-11050"/>
                <a:ext cx="531" cy="917"/>
              </a:xfrm>
              <a:custGeom>
                <a:avLst/>
                <a:gdLst>
                  <a:gd name="T0" fmla="*/ 62 w 225"/>
                  <a:gd name="T1" fmla="*/ 28 h 388"/>
                  <a:gd name="T2" fmla="*/ 42 w 225"/>
                  <a:gd name="T3" fmla="*/ 44 h 388"/>
                  <a:gd name="T4" fmla="*/ 46 w 225"/>
                  <a:gd name="T5" fmla="*/ 64 h 388"/>
                  <a:gd name="T6" fmla="*/ 57 w 225"/>
                  <a:gd name="T7" fmla="*/ 67 h 388"/>
                  <a:gd name="T8" fmla="*/ 47 w 225"/>
                  <a:gd name="T9" fmla="*/ 85 h 388"/>
                  <a:gd name="T10" fmla="*/ 11 w 225"/>
                  <a:gd name="T11" fmla="*/ 93 h 388"/>
                  <a:gd name="T12" fmla="*/ 22 w 225"/>
                  <a:gd name="T13" fmla="*/ 116 h 388"/>
                  <a:gd name="T14" fmla="*/ 4 w 225"/>
                  <a:gd name="T15" fmla="*/ 134 h 388"/>
                  <a:gd name="T16" fmla="*/ 35 w 225"/>
                  <a:gd name="T17" fmla="*/ 172 h 388"/>
                  <a:gd name="T18" fmla="*/ 51 w 225"/>
                  <a:gd name="T19" fmla="*/ 174 h 388"/>
                  <a:gd name="T20" fmla="*/ 56 w 225"/>
                  <a:gd name="T21" fmla="*/ 167 h 388"/>
                  <a:gd name="T22" fmla="*/ 68 w 225"/>
                  <a:gd name="T23" fmla="*/ 182 h 388"/>
                  <a:gd name="T24" fmla="*/ 59 w 225"/>
                  <a:gd name="T25" fmla="*/ 208 h 388"/>
                  <a:gd name="T26" fmla="*/ 81 w 225"/>
                  <a:gd name="T27" fmla="*/ 211 h 388"/>
                  <a:gd name="T28" fmla="*/ 80 w 225"/>
                  <a:gd name="T29" fmla="*/ 230 h 388"/>
                  <a:gd name="T30" fmla="*/ 88 w 225"/>
                  <a:gd name="T31" fmla="*/ 240 h 388"/>
                  <a:gd name="T32" fmla="*/ 74 w 225"/>
                  <a:gd name="T33" fmla="*/ 258 h 388"/>
                  <a:gd name="T34" fmla="*/ 69 w 225"/>
                  <a:gd name="T35" fmla="*/ 286 h 388"/>
                  <a:gd name="T36" fmla="*/ 61 w 225"/>
                  <a:gd name="T37" fmla="*/ 312 h 388"/>
                  <a:gd name="T38" fmla="*/ 78 w 225"/>
                  <a:gd name="T39" fmla="*/ 333 h 388"/>
                  <a:gd name="T40" fmla="*/ 78 w 225"/>
                  <a:gd name="T41" fmla="*/ 353 h 388"/>
                  <a:gd name="T42" fmla="*/ 99 w 225"/>
                  <a:gd name="T43" fmla="*/ 377 h 388"/>
                  <a:gd name="T44" fmla="*/ 108 w 225"/>
                  <a:gd name="T45" fmla="*/ 377 h 388"/>
                  <a:gd name="T46" fmla="*/ 112 w 225"/>
                  <a:gd name="T47" fmla="*/ 388 h 388"/>
                  <a:gd name="T48" fmla="*/ 132 w 225"/>
                  <a:gd name="T49" fmla="*/ 387 h 388"/>
                  <a:gd name="T50" fmla="*/ 143 w 225"/>
                  <a:gd name="T51" fmla="*/ 369 h 388"/>
                  <a:gd name="T52" fmla="*/ 161 w 225"/>
                  <a:gd name="T53" fmla="*/ 368 h 388"/>
                  <a:gd name="T54" fmla="*/ 162 w 225"/>
                  <a:gd name="T55" fmla="*/ 360 h 388"/>
                  <a:gd name="T56" fmla="*/ 183 w 225"/>
                  <a:gd name="T57" fmla="*/ 359 h 388"/>
                  <a:gd name="T58" fmla="*/ 197 w 225"/>
                  <a:gd name="T59" fmla="*/ 342 h 388"/>
                  <a:gd name="T60" fmla="*/ 217 w 225"/>
                  <a:gd name="T61" fmla="*/ 350 h 388"/>
                  <a:gd name="T62" fmla="*/ 221 w 225"/>
                  <a:gd name="T63" fmla="*/ 341 h 388"/>
                  <a:gd name="T64" fmla="*/ 196 w 225"/>
                  <a:gd name="T65" fmla="*/ 302 h 388"/>
                  <a:gd name="T66" fmla="*/ 196 w 225"/>
                  <a:gd name="T67" fmla="*/ 266 h 388"/>
                  <a:gd name="T68" fmla="*/ 182 w 225"/>
                  <a:gd name="T69" fmla="*/ 273 h 388"/>
                  <a:gd name="T70" fmla="*/ 168 w 225"/>
                  <a:gd name="T71" fmla="*/ 251 h 388"/>
                  <a:gd name="T72" fmla="*/ 157 w 225"/>
                  <a:gd name="T73" fmla="*/ 236 h 388"/>
                  <a:gd name="T74" fmla="*/ 167 w 225"/>
                  <a:gd name="T75" fmla="*/ 218 h 388"/>
                  <a:gd name="T76" fmla="*/ 166 w 225"/>
                  <a:gd name="T77" fmla="*/ 190 h 388"/>
                  <a:gd name="T78" fmla="*/ 199 w 225"/>
                  <a:gd name="T79" fmla="*/ 181 h 388"/>
                  <a:gd name="T80" fmla="*/ 195 w 225"/>
                  <a:gd name="T81" fmla="*/ 158 h 388"/>
                  <a:gd name="T82" fmla="*/ 206 w 225"/>
                  <a:gd name="T83" fmla="*/ 136 h 388"/>
                  <a:gd name="T84" fmla="*/ 203 w 225"/>
                  <a:gd name="T85" fmla="*/ 117 h 388"/>
                  <a:gd name="T86" fmla="*/ 185 w 225"/>
                  <a:gd name="T87" fmla="*/ 117 h 388"/>
                  <a:gd name="T88" fmla="*/ 183 w 225"/>
                  <a:gd name="T89" fmla="*/ 102 h 388"/>
                  <a:gd name="T90" fmla="*/ 153 w 225"/>
                  <a:gd name="T91" fmla="*/ 85 h 388"/>
                  <a:gd name="T92" fmla="*/ 133 w 225"/>
                  <a:gd name="T93" fmla="*/ 109 h 388"/>
                  <a:gd name="T94" fmla="*/ 144 w 225"/>
                  <a:gd name="T95" fmla="*/ 61 h 388"/>
                  <a:gd name="T96" fmla="*/ 126 w 225"/>
                  <a:gd name="T97" fmla="*/ 22 h 388"/>
                  <a:gd name="T98" fmla="*/ 83 w 225"/>
                  <a:gd name="T99" fmla="*/ 0 h 388"/>
                  <a:gd name="T100" fmla="*/ 76 w 225"/>
                  <a:gd name="T101" fmla="*/ 12 h 388"/>
                  <a:gd name="T102" fmla="*/ 62 w 225"/>
                  <a:gd name="T103" fmla="*/ 2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25" h="388">
                    <a:moveTo>
                      <a:pt x="62" y="28"/>
                    </a:moveTo>
                    <a:cubicBezTo>
                      <a:pt x="56" y="30"/>
                      <a:pt x="40" y="35"/>
                      <a:pt x="42" y="44"/>
                    </a:cubicBezTo>
                    <a:cubicBezTo>
                      <a:pt x="44" y="53"/>
                      <a:pt x="42" y="64"/>
                      <a:pt x="46" y="64"/>
                    </a:cubicBezTo>
                    <a:cubicBezTo>
                      <a:pt x="50" y="64"/>
                      <a:pt x="57" y="64"/>
                      <a:pt x="57" y="67"/>
                    </a:cubicBezTo>
                    <a:cubicBezTo>
                      <a:pt x="57" y="71"/>
                      <a:pt x="58" y="81"/>
                      <a:pt x="47" y="85"/>
                    </a:cubicBezTo>
                    <a:cubicBezTo>
                      <a:pt x="36" y="89"/>
                      <a:pt x="11" y="88"/>
                      <a:pt x="11" y="93"/>
                    </a:cubicBezTo>
                    <a:cubicBezTo>
                      <a:pt x="11" y="98"/>
                      <a:pt x="31" y="109"/>
                      <a:pt x="22" y="116"/>
                    </a:cubicBezTo>
                    <a:cubicBezTo>
                      <a:pt x="13" y="124"/>
                      <a:pt x="0" y="123"/>
                      <a:pt x="4" y="134"/>
                    </a:cubicBezTo>
                    <a:cubicBezTo>
                      <a:pt x="8" y="145"/>
                      <a:pt x="35" y="172"/>
                      <a:pt x="35" y="172"/>
                    </a:cubicBezTo>
                    <a:cubicBezTo>
                      <a:pt x="51" y="174"/>
                      <a:pt x="51" y="174"/>
                      <a:pt x="51" y="174"/>
                    </a:cubicBezTo>
                    <a:cubicBezTo>
                      <a:pt x="56" y="167"/>
                      <a:pt x="56" y="167"/>
                      <a:pt x="56" y="167"/>
                    </a:cubicBezTo>
                    <a:cubicBezTo>
                      <a:pt x="56" y="167"/>
                      <a:pt x="65" y="168"/>
                      <a:pt x="68" y="182"/>
                    </a:cubicBezTo>
                    <a:cubicBezTo>
                      <a:pt x="71" y="196"/>
                      <a:pt x="59" y="208"/>
                      <a:pt x="59" y="208"/>
                    </a:cubicBezTo>
                    <a:cubicBezTo>
                      <a:pt x="59" y="217"/>
                      <a:pt x="81" y="211"/>
                      <a:pt x="81" y="211"/>
                    </a:cubicBezTo>
                    <a:cubicBezTo>
                      <a:pt x="80" y="230"/>
                      <a:pt x="80" y="230"/>
                      <a:pt x="80" y="230"/>
                    </a:cubicBezTo>
                    <a:cubicBezTo>
                      <a:pt x="80" y="230"/>
                      <a:pt x="89" y="234"/>
                      <a:pt x="88" y="240"/>
                    </a:cubicBezTo>
                    <a:cubicBezTo>
                      <a:pt x="87" y="246"/>
                      <a:pt x="74" y="258"/>
                      <a:pt x="74" y="258"/>
                    </a:cubicBezTo>
                    <a:cubicBezTo>
                      <a:pt x="69" y="286"/>
                      <a:pt x="69" y="286"/>
                      <a:pt x="69" y="286"/>
                    </a:cubicBezTo>
                    <a:cubicBezTo>
                      <a:pt x="69" y="286"/>
                      <a:pt x="61" y="302"/>
                      <a:pt x="61" y="312"/>
                    </a:cubicBezTo>
                    <a:cubicBezTo>
                      <a:pt x="61" y="322"/>
                      <a:pt x="78" y="325"/>
                      <a:pt x="78" y="333"/>
                    </a:cubicBezTo>
                    <a:cubicBezTo>
                      <a:pt x="78" y="341"/>
                      <a:pt x="78" y="353"/>
                      <a:pt x="78" y="353"/>
                    </a:cubicBezTo>
                    <a:cubicBezTo>
                      <a:pt x="99" y="377"/>
                      <a:pt x="99" y="377"/>
                      <a:pt x="99" y="377"/>
                    </a:cubicBezTo>
                    <a:cubicBezTo>
                      <a:pt x="108" y="377"/>
                      <a:pt x="108" y="377"/>
                      <a:pt x="108" y="377"/>
                    </a:cubicBezTo>
                    <a:cubicBezTo>
                      <a:pt x="112" y="388"/>
                      <a:pt x="112" y="388"/>
                      <a:pt x="112" y="388"/>
                    </a:cubicBezTo>
                    <a:cubicBezTo>
                      <a:pt x="112" y="388"/>
                      <a:pt x="122" y="388"/>
                      <a:pt x="132" y="387"/>
                    </a:cubicBezTo>
                    <a:cubicBezTo>
                      <a:pt x="142" y="386"/>
                      <a:pt x="137" y="373"/>
                      <a:pt x="143" y="369"/>
                    </a:cubicBezTo>
                    <a:cubicBezTo>
                      <a:pt x="149" y="365"/>
                      <a:pt x="161" y="368"/>
                      <a:pt x="161" y="368"/>
                    </a:cubicBezTo>
                    <a:cubicBezTo>
                      <a:pt x="162" y="360"/>
                      <a:pt x="162" y="360"/>
                      <a:pt x="162" y="360"/>
                    </a:cubicBezTo>
                    <a:cubicBezTo>
                      <a:pt x="183" y="359"/>
                      <a:pt x="183" y="359"/>
                      <a:pt x="183" y="359"/>
                    </a:cubicBezTo>
                    <a:cubicBezTo>
                      <a:pt x="183" y="359"/>
                      <a:pt x="187" y="343"/>
                      <a:pt x="197" y="342"/>
                    </a:cubicBezTo>
                    <a:cubicBezTo>
                      <a:pt x="207" y="341"/>
                      <a:pt x="209" y="352"/>
                      <a:pt x="217" y="350"/>
                    </a:cubicBezTo>
                    <a:cubicBezTo>
                      <a:pt x="225" y="348"/>
                      <a:pt x="221" y="341"/>
                      <a:pt x="221" y="341"/>
                    </a:cubicBezTo>
                    <a:cubicBezTo>
                      <a:pt x="221" y="341"/>
                      <a:pt x="205" y="310"/>
                      <a:pt x="196" y="302"/>
                    </a:cubicBezTo>
                    <a:cubicBezTo>
                      <a:pt x="187" y="294"/>
                      <a:pt x="197" y="273"/>
                      <a:pt x="196" y="266"/>
                    </a:cubicBezTo>
                    <a:cubicBezTo>
                      <a:pt x="195" y="259"/>
                      <a:pt x="186" y="274"/>
                      <a:pt x="182" y="273"/>
                    </a:cubicBezTo>
                    <a:cubicBezTo>
                      <a:pt x="178" y="272"/>
                      <a:pt x="168" y="258"/>
                      <a:pt x="168" y="251"/>
                    </a:cubicBezTo>
                    <a:cubicBezTo>
                      <a:pt x="168" y="244"/>
                      <a:pt x="158" y="246"/>
                      <a:pt x="157" y="236"/>
                    </a:cubicBezTo>
                    <a:cubicBezTo>
                      <a:pt x="156" y="225"/>
                      <a:pt x="167" y="218"/>
                      <a:pt x="167" y="218"/>
                    </a:cubicBezTo>
                    <a:cubicBezTo>
                      <a:pt x="167" y="218"/>
                      <a:pt x="163" y="199"/>
                      <a:pt x="166" y="190"/>
                    </a:cubicBezTo>
                    <a:cubicBezTo>
                      <a:pt x="169" y="181"/>
                      <a:pt x="187" y="184"/>
                      <a:pt x="199" y="181"/>
                    </a:cubicBezTo>
                    <a:cubicBezTo>
                      <a:pt x="211" y="178"/>
                      <a:pt x="195" y="166"/>
                      <a:pt x="195" y="158"/>
                    </a:cubicBezTo>
                    <a:cubicBezTo>
                      <a:pt x="195" y="150"/>
                      <a:pt x="206" y="136"/>
                      <a:pt x="206" y="136"/>
                    </a:cubicBezTo>
                    <a:cubicBezTo>
                      <a:pt x="206" y="136"/>
                      <a:pt x="206" y="125"/>
                      <a:pt x="203" y="117"/>
                    </a:cubicBezTo>
                    <a:cubicBezTo>
                      <a:pt x="200" y="109"/>
                      <a:pt x="185" y="117"/>
                      <a:pt x="185" y="117"/>
                    </a:cubicBezTo>
                    <a:cubicBezTo>
                      <a:pt x="183" y="102"/>
                      <a:pt x="183" y="102"/>
                      <a:pt x="183" y="102"/>
                    </a:cubicBezTo>
                    <a:cubicBezTo>
                      <a:pt x="183" y="102"/>
                      <a:pt x="166" y="87"/>
                      <a:pt x="153" y="85"/>
                    </a:cubicBezTo>
                    <a:cubicBezTo>
                      <a:pt x="140" y="83"/>
                      <a:pt x="133" y="109"/>
                      <a:pt x="133" y="109"/>
                    </a:cubicBezTo>
                    <a:cubicBezTo>
                      <a:pt x="133" y="109"/>
                      <a:pt x="142" y="69"/>
                      <a:pt x="144" y="61"/>
                    </a:cubicBezTo>
                    <a:cubicBezTo>
                      <a:pt x="146" y="53"/>
                      <a:pt x="132" y="30"/>
                      <a:pt x="126" y="22"/>
                    </a:cubicBezTo>
                    <a:cubicBezTo>
                      <a:pt x="120" y="14"/>
                      <a:pt x="83" y="0"/>
                      <a:pt x="83" y="0"/>
                    </a:cubicBezTo>
                    <a:cubicBezTo>
                      <a:pt x="76" y="12"/>
                      <a:pt x="76" y="12"/>
                      <a:pt x="76" y="12"/>
                    </a:cubicBezTo>
                    <a:cubicBezTo>
                      <a:pt x="76" y="12"/>
                      <a:pt x="69" y="26"/>
                      <a:pt x="62" y="28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Freeform 200">
                <a:extLst>
                  <a:ext uri="{FF2B5EF4-FFF2-40B4-BE49-F238E27FC236}">
                    <a16:creationId xmlns:a16="http://schemas.microsoft.com/office/drawing/2014/main" id="{92BA76D2-5AE9-5A63-1951-0397A034B5D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4663" y="-11536"/>
                <a:ext cx="1517" cy="1476"/>
              </a:xfrm>
              <a:custGeom>
                <a:avLst/>
                <a:gdLst>
                  <a:gd name="T0" fmla="*/ 175 w 642"/>
                  <a:gd name="T1" fmla="*/ 3 h 625"/>
                  <a:gd name="T2" fmla="*/ 165 w 642"/>
                  <a:gd name="T3" fmla="*/ 34 h 625"/>
                  <a:gd name="T4" fmla="*/ 630 w 642"/>
                  <a:gd name="T5" fmla="*/ 190 h 625"/>
                  <a:gd name="T6" fmla="*/ 595 w 642"/>
                  <a:gd name="T7" fmla="*/ 194 h 625"/>
                  <a:gd name="T8" fmla="*/ 553 w 642"/>
                  <a:gd name="T9" fmla="*/ 194 h 625"/>
                  <a:gd name="T10" fmla="*/ 586 w 642"/>
                  <a:gd name="T11" fmla="*/ 167 h 625"/>
                  <a:gd name="T12" fmla="*/ 572 w 642"/>
                  <a:gd name="T13" fmla="*/ 143 h 625"/>
                  <a:gd name="T14" fmla="*/ 556 w 642"/>
                  <a:gd name="T15" fmla="*/ 143 h 625"/>
                  <a:gd name="T16" fmla="*/ 536 w 642"/>
                  <a:gd name="T17" fmla="*/ 123 h 625"/>
                  <a:gd name="T18" fmla="*/ 522 w 642"/>
                  <a:gd name="T19" fmla="*/ 129 h 625"/>
                  <a:gd name="T20" fmla="*/ 498 w 642"/>
                  <a:gd name="T21" fmla="*/ 117 h 625"/>
                  <a:gd name="T22" fmla="*/ 501 w 642"/>
                  <a:gd name="T23" fmla="*/ 93 h 625"/>
                  <a:gd name="T24" fmla="*/ 457 w 642"/>
                  <a:gd name="T25" fmla="*/ 84 h 625"/>
                  <a:gd name="T26" fmla="*/ 435 w 642"/>
                  <a:gd name="T27" fmla="*/ 99 h 625"/>
                  <a:gd name="T28" fmla="*/ 346 w 642"/>
                  <a:gd name="T29" fmla="*/ 88 h 625"/>
                  <a:gd name="T30" fmla="*/ 242 w 642"/>
                  <a:gd name="T31" fmla="*/ 68 h 625"/>
                  <a:gd name="T32" fmla="*/ 147 w 642"/>
                  <a:gd name="T33" fmla="*/ 56 h 625"/>
                  <a:gd name="T34" fmla="*/ 113 w 642"/>
                  <a:gd name="T35" fmla="*/ 136 h 625"/>
                  <a:gd name="T36" fmla="*/ 89 w 642"/>
                  <a:gd name="T37" fmla="*/ 154 h 625"/>
                  <a:gd name="T38" fmla="*/ 82 w 642"/>
                  <a:gd name="T39" fmla="*/ 102 h 625"/>
                  <a:gd name="T40" fmla="*/ 77 w 642"/>
                  <a:gd name="T41" fmla="*/ 38 h 625"/>
                  <a:gd name="T42" fmla="*/ 38 w 642"/>
                  <a:gd name="T43" fmla="*/ 77 h 625"/>
                  <a:gd name="T44" fmla="*/ 24 w 642"/>
                  <a:gd name="T45" fmla="*/ 115 h 625"/>
                  <a:gd name="T46" fmla="*/ 5 w 642"/>
                  <a:gd name="T47" fmla="*/ 162 h 625"/>
                  <a:gd name="T48" fmla="*/ 35 w 642"/>
                  <a:gd name="T49" fmla="*/ 180 h 625"/>
                  <a:gd name="T50" fmla="*/ 50 w 642"/>
                  <a:gd name="T51" fmla="*/ 216 h 625"/>
                  <a:gd name="T52" fmla="*/ 41 w 642"/>
                  <a:gd name="T53" fmla="*/ 259 h 625"/>
                  <a:gd name="T54" fmla="*/ 59 w 642"/>
                  <a:gd name="T55" fmla="*/ 280 h 625"/>
                  <a:gd name="T56" fmla="*/ 111 w 642"/>
                  <a:gd name="T57" fmla="*/ 284 h 625"/>
                  <a:gd name="T58" fmla="*/ 136 w 642"/>
                  <a:gd name="T59" fmla="*/ 284 h 625"/>
                  <a:gd name="T60" fmla="*/ 181 w 642"/>
                  <a:gd name="T61" fmla="*/ 330 h 625"/>
                  <a:gd name="T62" fmla="*/ 203 w 642"/>
                  <a:gd name="T63" fmla="*/ 322 h 625"/>
                  <a:gd name="T64" fmla="*/ 232 w 642"/>
                  <a:gd name="T65" fmla="*/ 324 h 625"/>
                  <a:gd name="T66" fmla="*/ 276 w 642"/>
                  <a:gd name="T67" fmla="*/ 323 h 625"/>
                  <a:gd name="T68" fmla="*/ 263 w 642"/>
                  <a:gd name="T69" fmla="*/ 362 h 625"/>
                  <a:gd name="T70" fmla="*/ 254 w 642"/>
                  <a:gd name="T71" fmla="*/ 404 h 625"/>
                  <a:gd name="T72" fmla="*/ 261 w 642"/>
                  <a:gd name="T73" fmla="*/ 440 h 625"/>
                  <a:gd name="T74" fmla="*/ 278 w 642"/>
                  <a:gd name="T75" fmla="*/ 476 h 625"/>
                  <a:gd name="T76" fmla="*/ 259 w 642"/>
                  <a:gd name="T77" fmla="*/ 507 h 625"/>
                  <a:gd name="T78" fmla="*/ 284 w 642"/>
                  <a:gd name="T79" fmla="*/ 549 h 625"/>
                  <a:gd name="T80" fmla="*/ 299 w 642"/>
                  <a:gd name="T81" fmla="*/ 594 h 625"/>
                  <a:gd name="T82" fmla="*/ 326 w 642"/>
                  <a:gd name="T83" fmla="*/ 619 h 625"/>
                  <a:gd name="T84" fmla="*/ 362 w 642"/>
                  <a:gd name="T85" fmla="*/ 624 h 625"/>
                  <a:gd name="T86" fmla="*/ 400 w 642"/>
                  <a:gd name="T87" fmla="*/ 593 h 625"/>
                  <a:gd name="T88" fmla="*/ 420 w 642"/>
                  <a:gd name="T89" fmla="*/ 579 h 625"/>
                  <a:gd name="T90" fmla="*/ 457 w 642"/>
                  <a:gd name="T91" fmla="*/ 547 h 625"/>
                  <a:gd name="T92" fmla="*/ 432 w 642"/>
                  <a:gd name="T93" fmla="*/ 524 h 625"/>
                  <a:gd name="T94" fmla="*/ 419 w 642"/>
                  <a:gd name="T95" fmla="*/ 490 h 625"/>
                  <a:gd name="T96" fmla="*/ 400 w 642"/>
                  <a:gd name="T97" fmla="*/ 425 h 625"/>
                  <a:gd name="T98" fmla="*/ 429 w 642"/>
                  <a:gd name="T99" fmla="*/ 433 h 625"/>
                  <a:gd name="T100" fmla="*/ 450 w 642"/>
                  <a:gd name="T101" fmla="*/ 444 h 625"/>
                  <a:gd name="T102" fmla="*/ 469 w 642"/>
                  <a:gd name="T103" fmla="*/ 446 h 625"/>
                  <a:gd name="T104" fmla="*/ 507 w 642"/>
                  <a:gd name="T105" fmla="*/ 432 h 625"/>
                  <a:gd name="T106" fmla="*/ 551 w 642"/>
                  <a:gd name="T107" fmla="*/ 424 h 625"/>
                  <a:gd name="T108" fmla="*/ 583 w 642"/>
                  <a:gd name="T109" fmla="*/ 414 h 625"/>
                  <a:gd name="T110" fmla="*/ 596 w 642"/>
                  <a:gd name="T111" fmla="*/ 399 h 625"/>
                  <a:gd name="T112" fmla="*/ 563 w 642"/>
                  <a:gd name="T113" fmla="*/ 340 h 625"/>
                  <a:gd name="T114" fmla="*/ 570 w 642"/>
                  <a:gd name="T115" fmla="*/ 299 h 625"/>
                  <a:gd name="T116" fmla="*/ 616 w 642"/>
                  <a:gd name="T117" fmla="*/ 273 h 625"/>
                  <a:gd name="T118" fmla="*/ 601 w 642"/>
                  <a:gd name="T119" fmla="*/ 250 h 625"/>
                  <a:gd name="T120" fmla="*/ 635 w 642"/>
                  <a:gd name="T121" fmla="*/ 218 h 625"/>
                  <a:gd name="T122" fmla="*/ 630 w 642"/>
                  <a:gd name="T123" fmla="*/ 190 h 6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42" h="625">
                    <a:moveTo>
                      <a:pt x="182" y="33"/>
                    </a:moveTo>
                    <a:cubicBezTo>
                      <a:pt x="182" y="33"/>
                      <a:pt x="187" y="6"/>
                      <a:pt x="175" y="3"/>
                    </a:cubicBezTo>
                    <a:cubicBezTo>
                      <a:pt x="164" y="0"/>
                      <a:pt x="158" y="7"/>
                      <a:pt x="158" y="13"/>
                    </a:cubicBezTo>
                    <a:cubicBezTo>
                      <a:pt x="158" y="18"/>
                      <a:pt x="165" y="34"/>
                      <a:pt x="165" y="34"/>
                    </a:cubicBezTo>
                    <a:lnTo>
                      <a:pt x="182" y="33"/>
                    </a:lnTo>
                    <a:close/>
                    <a:moveTo>
                      <a:pt x="630" y="190"/>
                    </a:moveTo>
                    <a:cubicBezTo>
                      <a:pt x="626" y="184"/>
                      <a:pt x="611" y="201"/>
                      <a:pt x="611" y="201"/>
                    </a:cubicBezTo>
                    <a:cubicBezTo>
                      <a:pt x="611" y="201"/>
                      <a:pt x="601" y="197"/>
                      <a:pt x="595" y="194"/>
                    </a:cubicBezTo>
                    <a:cubicBezTo>
                      <a:pt x="589" y="191"/>
                      <a:pt x="575" y="208"/>
                      <a:pt x="575" y="208"/>
                    </a:cubicBezTo>
                    <a:cubicBezTo>
                      <a:pt x="553" y="194"/>
                      <a:pt x="553" y="194"/>
                      <a:pt x="553" y="194"/>
                    </a:cubicBezTo>
                    <a:cubicBezTo>
                      <a:pt x="553" y="194"/>
                      <a:pt x="579" y="194"/>
                      <a:pt x="583" y="187"/>
                    </a:cubicBezTo>
                    <a:cubicBezTo>
                      <a:pt x="587" y="180"/>
                      <a:pt x="586" y="167"/>
                      <a:pt x="586" y="167"/>
                    </a:cubicBezTo>
                    <a:cubicBezTo>
                      <a:pt x="586" y="167"/>
                      <a:pt x="596" y="166"/>
                      <a:pt x="598" y="153"/>
                    </a:cubicBezTo>
                    <a:cubicBezTo>
                      <a:pt x="600" y="140"/>
                      <a:pt x="572" y="143"/>
                      <a:pt x="572" y="143"/>
                    </a:cubicBezTo>
                    <a:cubicBezTo>
                      <a:pt x="572" y="143"/>
                      <a:pt x="568" y="129"/>
                      <a:pt x="561" y="128"/>
                    </a:cubicBezTo>
                    <a:cubicBezTo>
                      <a:pt x="554" y="127"/>
                      <a:pt x="556" y="143"/>
                      <a:pt x="556" y="143"/>
                    </a:cubicBezTo>
                    <a:cubicBezTo>
                      <a:pt x="556" y="143"/>
                      <a:pt x="550" y="134"/>
                      <a:pt x="550" y="128"/>
                    </a:cubicBezTo>
                    <a:cubicBezTo>
                      <a:pt x="550" y="122"/>
                      <a:pt x="536" y="123"/>
                      <a:pt x="536" y="123"/>
                    </a:cubicBezTo>
                    <a:cubicBezTo>
                      <a:pt x="532" y="143"/>
                      <a:pt x="532" y="143"/>
                      <a:pt x="532" y="143"/>
                    </a:cubicBezTo>
                    <a:cubicBezTo>
                      <a:pt x="532" y="143"/>
                      <a:pt x="524" y="135"/>
                      <a:pt x="522" y="129"/>
                    </a:cubicBezTo>
                    <a:cubicBezTo>
                      <a:pt x="520" y="123"/>
                      <a:pt x="519" y="109"/>
                      <a:pt x="519" y="109"/>
                    </a:cubicBezTo>
                    <a:cubicBezTo>
                      <a:pt x="498" y="117"/>
                      <a:pt x="498" y="117"/>
                      <a:pt x="498" y="117"/>
                    </a:cubicBezTo>
                    <a:cubicBezTo>
                      <a:pt x="498" y="117"/>
                      <a:pt x="514" y="108"/>
                      <a:pt x="514" y="103"/>
                    </a:cubicBezTo>
                    <a:cubicBezTo>
                      <a:pt x="514" y="98"/>
                      <a:pt x="501" y="98"/>
                      <a:pt x="501" y="93"/>
                    </a:cubicBezTo>
                    <a:cubicBezTo>
                      <a:pt x="501" y="88"/>
                      <a:pt x="543" y="88"/>
                      <a:pt x="547" y="82"/>
                    </a:cubicBezTo>
                    <a:cubicBezTo>
                      <a:pt x="551" y="76"/>
                      <a:pt x="457" y="84"/>
                      <a:pt x="457" y="84"/>
                    </a:cubicBezTo>
                    <a:cubicBezTo>
                      <a:pt x="466" y="94"/>
                      <a:pt x="466" y="94"/>
                      <a:pt x="466" y="94"/>
                    </a:cubicBezTo>
                    <a:cubicBezTo>
                      <a:pt x="466" y="94"/>
                      <a:pt x="444" y="96"/>
                      <a:pt x="435" y="99"/>
                    </a:cubicBezTo>
                    <a:cubicBezTo>
                      <a:pt x="426" y="102"/>
                      <a:pt x="402" y="119"/>
                      <a:pt x="402" y="119"/>
                    </a:cubicBezTo>
                    <a:cubicBezTo>
                      <a:pt x="378" y="120"/>
                      <a:pt x="346" y="88"/>
                      <a:pt x="346" y="88"/>
                    </a:cubicBezTo>
                    <a:cubicBezTo>
                      <a:pt x="346" y="88"/>
                      <a:pt x="265" y="93"/>
                      <a:pt x="255" y="92"/>
                    </a:cubicBezTo>
                    <a:cubicBezTo>
                      <a:pt x="245" y="91"/>
                      <a:pt x="242" y="82"/>
                      <a:pt x="242" y="68"/>
                    </a:cubicBezTo>
                    <a:cubicBezTo>
                      <a:pt x="242" y="54"/>
                      <a:pt x="236" y="44"/>
                      <a:pt x="210" y="39"/>
                    </a:cubicBezTo>
                    <a:cubicBezTo>
                      <a:pt x="184" y="34"/>
                      <a:pt x="147" y="56"/>
                      <a:pt x="147" y="56"/>
                    </a:cubicBezTo>
                    <a:cubicBezTo>
                      <a:pt x="147" y="56"/>
                      <a:pt x="120" y="62"/>
                      <a:pt x="104" y="76"/>
                    </a:cubicBezTo>
                    <a:cubicBezTo>
                      <a:pt x="88" y="90"/>
                      <a:pt x="111" y="116"/>
                      <a:pt x="113" y="136"/>
                    </a:cubicBezTo>
                    <a:cubicBezTo>
                      <a:pt x="115" y="156"/>
                      <a:pt x="88" y="172"/>
                      <a:pt x="88" y="172"/>
                    </a:cubicBezTo>
                    <a:cubicBezTo>
                      <a:pt x="89" y="154"/>
                      <a:pt x="89" y="154"/>
                      <a:pt x="89" y="154"/>
                    </a:cubicBezTo>
                    <a:cubicBezTo>
                      <a:pt x="89" y="154"/>
                      <a:pt x="71" y="149"/>
                      <a:pt x="65" y="139"/>
                    </a:cubicBezTo>
                    <a:cubicBezTo>
                      <a:pt x="59" y="129"/>
                      <a:pt x="75" y="111"/>
                      <a:pt x="82" y="102"/>
                    </a:cubicBezTo>
                    <a:cubicBezTo>
                      <a:pt x="89" y="93"/>
                      <a:pt x="88" y="77"/>
                      <a:pt x="88" y="65"/>
                    </a:cubicBezTo>
                    <a:cubicBezTo>
                      <a:pt x="88" y="53"/>
                      <a:pt x="77" y="38"/>
                      <a:pt x="77" y="38"/>
                    </a:cubicBezTo>
                    <a:cubicBezTo>
                      <a:pt x="77" y="38"/>
                      <a:pt x="76" y="53"/>
                      <a:pt x="65" y="56"/>
                    </a:cubicBezTo>
                    <a:cubicBezTo>
                      <a:pt x="54" y="60"/>
                      <a:pt x="45" y="64"/>
                      <a:pt x="38" y="77"/>
                    </a:cubicBezTo>
                    <a:cubicBezTo>
                      <a:pt x="30" y="90"/>
                      <a:pt x="30" y="110"/>
                      <a:pt x="30" y="110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24" y="133"/>
                      <a:pt x="24" y="133"/>
                      <a:pt x="24" y="133"/>
                    </a:cubicBezTo>
                    <a:cubicBezTo>
                      <a:pt x="24" y="133"/>
                      <a:pt x="0" y="154"/>
                      <a:pt x="5" y="162"/>
                    </a:cubicBezTo>
                    <a:cubicBezTo>
                      <a:pt x="10" y="171"/>
                      <a:pt x="14" y="157"/>
                      <a:pt x="21" y="157"/>
                    </a:cubicBezTo>
                    <a:cubicBezTo>
                      <a:pt x="28" y="157"/>
                      <a:pt x="35" y="171"/>
                      <a:pt x="35" y="180"/>
                    </a:cubicBezTo>
                    <a:cubicBezTo>
                      <a:pt x="35" y="189"/>
                      <a:pt x="36" y="195"/>
                      <a:pt x="36" y="195"/>
                    </a:cubicBezTo>
                    <a:cubicBezTo>
                      <a:pt x="36" y="195"/>
                      <a:pt x="52" y="204"/>
                      <a:pt x="50" y="216"/>
                    </a:cubicBezTo>
                    <a:cubicBezTo>
                      <a:pt x="48" y="229"/>
                      <a:pt x="42" y="232"/>
                      <a:pt x="42" y="232"/>
                    </a:cubicBezTo>
                    <a:cubicBezTo>
                      <a:pt x="41" y="259"/>
                      <a:pt x="41" y="259"/>
                      <a:pt x="41" y="259"/>
                    </a:cubicBezTo>
                    <a:cubicBezTo>
                      <a:pt x="51" y="259"/>
                      <a:pt x="51" y="259"/>
                      <a:pt x="51" y="259"/>
                    </a:cubicBezTo>
                    <a:cubicBezTo>
                      <a:pt x="51" y="259"/>
                      <a:pt x="50" y="277"/>
                      <a:pt x="59" y="280"/>
                    </a:cubicBezTo>
                    <a:cubicBezTo>
                      <a:pt x="68" y="283"/>
                      <a:pt x="79" y="278"/>
                      <a:pt x="83" y="278"/>
                    </a:cubicBezTo>
                    <a:cubicBezTo>
                      <a:pt x="88" y="278"/>
                      <a:pt x="106" y="285"/>
                      <a:pt x="111" y="284"/>
                    </a:cubicBezTo>
                    <a:cubicBezTo>
                      <a:pt x="116" y="283"/>
                      <a:pt x="117" y="277"/>
                      <a:pt x="122" y="277"/>
                    </a:cubicBezTo>
                    <a:cubicBezTo>
                      <a:pt x="127" y="277"/>
                      <a:pt x="136" y="284"/>
                      <a:pt x="136" y="284"/>
                    </a:cubicBezTo>
                    <a:cubicBezTo>
                      <a:pt x="154" y="285"/>
                      <a:pt x="154" y="285"/>
                      <a:pt x="154" y="285"/>
                    </a:cubicBezTo>
                    <a:cubicBezTo>
                      <a:pt x="154" y="285"/>
                      <a:pt x="173" y="327"/>
                      <a:pt x="181" y="330"/>
                    </a:cubicBezTo>
                    <a:cubicBezTo>
                      <a:pt x="189" y="332"/>
                      <a:pt x="197" y="329"/>
                      <a:pt x="197" y="329"/>
                    </a:cubicBezTo>
                    <a:cubicBezTo>
                      <a:pt x="197" y="329"/>
                      <a:pt x="195" y="322"/>
                      <a:pt x="203" y="322"/>
                    </a:cubicBezTo>
                    <a:cubicBezTo>
                      <a:pt x="211" y="322"/>
                      <a:pt x="213" y="329"/>
                      <a:pt x="221" y="330"/>
                    </a:cubicBezTo>
                    <a:cubicBezTo>
                      <a:pt x="229" y="331"/>
                      <a:pt x="232" y="324"/>
                      <a:pt x="232" y="324"/>
                    </a:cubicBezTo>
                    <a:cubicBezTo>
                      <a:pt x="251" y="326"/>
                      <a:pt x="251" y="326"/>
                      <a:pt x="251" y="326"/>
                    </a:cubicBezTo>
                    <a:cubicBezTo>
                      <a:pt x="251" y="326"/>
                      <a:pt x="270" y="311"/>
                      <a:pt x="276" y="323"/>
                    </a:cubicBezTo>
                    <a:cubicBezTo>
                      <a:pt x="282" y="336"/>
                      <a:pt x="265" y="344"/>
                      <a:pt x="265" y="344"/>
                    </a:cubicBezTo>
                    <a:cubicBezTo>
                      <a:pt x="265" y="344"/>
                      <a:pt x="266" y="359"/>
                      <a:pt x="263" y="362"/>
                    </a:cubicBezTo>
                    <a:cubicBezTo>
                      <a:pt x="260" y="365"/>
                      <a:pt x="250" y="370"/>
                      <a:pt x="251" y="375"/>
                    </a:cubicBezTo>
                    <a:cubicBezTo>
                      <a:pt x="252" y="380"/>
                      <a:pt x="254" y="398"/>
                      <a:pt x="254" y="404"/>
                    </a:cubicBezTo>
                    <a:cubicBezTo>
                      <a:pt x="254" y="410"/>
                      <a:pt x="252" y="433"/>
                      <a:pt x="252" y="433"/>
                    </a:cubicBezTo>
                    <a:cubicBezTo>
                      <a:pt x="252" y="433"/>
                      <a:pt x="261" y="437"/>
                      <a:pt x="261" y="440"/>
                    </a:cubicBezTo>
                    <a:cubicBezTo>
                      <a:pt x="261" y="443"/>
                      <a:pt x="262" y="452"/>
                      <a:pt x="262" y="452"/>
                    </a:cubicBezTo>
                    <a:cubicBezTo>
                      <a:pt x="262" y="452"/>
                      <a:pt x="278" y="466"/>
                      <a:pt x="278" y="476"/>
                    </a:cubicBezTo>
                    <a:cubicBezTo>
                      <a:pt x="278" y="486"/>
                      <a:pt x="249" y="504"/>
                      <a:pt x="249" y="504"/>
                    </a:cubicBezTo>
                    <a:cubicBezTo>
                      <a:pt x="259" y="507"/>
                      <a:pt x="259" y="507"/>
                      <a:pt x="259" y="507"/>
                    </a:cubicBezTo>
                    <a:cubicBezTo>
                      <a:pt x="259" y="507"/>
                      <a:pt x="281" y="521"/>
                      <a:pt x="281" y="525"/>
                    </a:cubicBezTo>
                    <a:cubicBezTo>
                      <a:pt x="281" y="529"/>
                      <a:pt x="284" y="549"/>
                      <a:pt x="284" y="549"/>
                    </a:cubicBezTo>
                    <a:cubicBezTo>
                      <a:pt x="284" y="549"/>
                      <a:pt x="295" y="575"/>
                      <a:pt x="294" y="580"/>
                    </a:cubicBezTo>
                    <a:cubicBezTo>
                      <a:pt x="293" y="585"/>
                      <a:pt x="299" y="594"/>
                      <a:pt x="299" y="594"/>
                    </a:cubicBezTo>
                    <a:cubicBezTo>
                      <a:pt x="299" y="594"/>
                      <a:pt x="306" y="607"/>
                      <a:pt x="310" y="612"/>
                    </a:cubicBezTo>
                    <a:cubicBezTo>
                      <a:pt x="314" y="617"/>
                      <a:pt x="326" y="619"/>
                      <a:pt x="326" y="619"/>
                    </a:cubicBezTo>
                    <a:cubicBezTo>
                      <a:pt x="336" y="625"/>
                      <a:pt x="347" y="603"/>
                      <a:pt x="356" y="605"/>
                    </a:cubicBezTo>
                    <a:cubicBezTo>
                      <a:pt x="365" y="607"/>
                      <a:pt x="354" y="624"/>
                      <a:pt x="362" y="624"/>
                    </a:cubicBezTo>
                    <a:cubicBezTo>
                      <a:pt x="370" y="624"/>
                      <a:pt x="376" y="599"/>
                      <a:pt x="382" y="595"/>
                    </a:cubicBezTo>
                    <a:cubicBezTo>
                      <a:pt x="388" y="591"/>
                      <a:pt x="400" y="593"/>
                      <a:pt x="400" y="593"/>
                    </a:cubicBezTo>
                    <a:cubicBezTo>
                      <a:pt x="402" y="587"/>
                      <a:pt x="402" y="587"/>
                      <a:pt x="402" y="587"/>
                    </a:cubicBezTo>
                    <a:cubicBezTo>
                      <a:pt x="402" y="587"/>
                      <a:pt x="407" y="583"/>
                      <a:pt x="420" y="579"/>
                    </a:cubicBezTo>
                    <a:cubicBezTo>
                      <a:pt x="433" y="575"/>
                      <a:pt x="432" y="550"/>
                      <a:pt x="432" y="550"/>
                    </a:cubicBezTo>
                    <a:cubicBezTo>
                      <a:pt x="432" y="550"/>
                      <a:pt x="445" y="553"/>
                      <a:pt x="457" y="547"/>
                    </a:cubicBezTo>
                    <a:cubicBezTo>
                      <a:pt x="469" y="541"/>
                      <a:pt x="462" y="527"/>
                      <a:pt x="462" y="527"/>
                    </a:cubicBezTo>
                    <a:cubicBezTo>
                      <a:pt x="432" y="524"/>
                      <a:pt x="432" y="524"/>
                      <a:pt x="432" y="524"/>
                    </a:cubicBezTo>
                    <a:cubicBezTo>
                      <a:pt x="432" y="524"/>
                      <a:pt x="432" y="515"/>
                      <a:pt x="432" y="508"/>
                    </a:cubicBezTo>
                    <a:cubicBezTo>
                      <a:pt x="432" y="501"/>
                      <a:pt x="419" y="490"/>
                      <a:pt x="419" y="490"/>
                    </a:cubicBezTo>
                    <a:cubicBezTo>
                      <a:pt x="419" y="490"/>
                      <a:pt x="434" y="466"/>
                      <a:pt x="412" y="455"/>
                    </a:cubicBezTo>
                    <a:cubicBezTo>
                      <a:pt x="390" y="444"/>
                      <a:pt x="400" y="425"/>
                      <a:pt x="400" y="425"/>
                    </a:cubicBezTo>
                    <a:cubicBezTo>
                      <a:pt x="400" y="425"/>
                      <a:pt x="403" y="431"/>
                      <a:pt x="406" y="434"/>
                    </a:cubicBezTo>
                    <a:cubicBezTo>
                      <a:pt x="409" y="437"/>
                      <a:pt x="418" y="429"/>
                      <a:pt x="429" y="433"/>
                    </a:cubicBezTo>
                    <a:cubicBezTo>
                      <a:pt x="440" y="437"/>
                      <a:pt x="434" y="446"/>
                      <a:pt x="436" y="449"/>
                    </a:cubicBezTo>
                    <a:cubicBezTo>
                      <a:pt x="438" y="452"/>
                      <a:pt x="450" y="444"/>
                      <a:pt x="450" y="444"/>
                    </a:cubicBezTo>
                    <a:cubicBezTo>
                      <a:pt x="460" y="450"/>
                      <a:pt x="460" y="450"/>
                      <a:pt x="460" y="450"/>
                    </a:cubicBezTo>
                    <a:cubicBezTo>
                      <a:pt x="460" y="450"/>
                      <a:pt x="465" y="442"/>
                      <a:pt x="469" y="446"/>
                    </a:cubicBezTo>
                    <a:cubicBezTo>
                      <a:pt x="473" y="450"/>
                      <a:pt x="484" y="469"/>
                      <a:pt x="493" y="469"/>
                    </a:cubicBezTo>
                    <a:cubicBezTo>
                      <a:pt x="502" y="469"/>
                      <a:pt x="499" y="435"/>
                      <a:pt x="507" y="432"/>
                    </a:cubicBezTo>
                    <a:cubicBezTo>
                      <a:pt x="515" y="429"/>
                      <a:pt x="521" y="437"/>
                      <a:pt x="528" y="437"/>
                    </a:cubicBezTo>
                    <a:cubicBezTo>
                      <a:pt x="535" y="437"/>
                      <a:pt x="549" y="430"/>
                      <a:pt x="551" y="424"/>
                    </a:cubicBezTo>
                    <a:cubicBezTo>
                      <a:pt x="553" y="418"/>
                      <a:pt x="565" y="413"/>
                      <a:pt x="565" y="413"/>
                    </a:cubicBezTo>
                    <a:cubicBezTo>
                      <a:pt x="583" y="414"/>
                      <a:pt x="583" y="414"/>
                      <a:pt x="583" y="414"/>
                    </a:cubicBezTo>
                    <a:cubicBezTo>
                      <a:pt x="581" y="404"/>
                      <a:pt x="581" y="404"/>
                      <a:pt x="581" y="404"/>
                    </a:cubicBezTo>
                    <a:cubicBezTo>
                      <a:pt x="581" y="404"/>
                      <a:pt x="592" y="406"/>
                      <a:pt x="596" y="399"/>
                    </a:cubicBezTo>
                    <a:cubicBezTo>
                      <a:pt x="600" y="392"/>
                      <a:pt x="594" y="378"/>
                      <a:pt x="594" y="378"/>
                    </a:cubicBezTo>
                    <a:cubicBezTo>
                      <a:pt x="594" y="378"/>
                      <a:pt x="567" y="351"/>
                      <a:pt x="563" y="340"/>
                    </a:cubicBezTo>
                    <a:cubicBezTo>
                      <a:pt x="559" y="329"/>
                      <a:pt x="572" y="330"/>
                      <a:pt x="581" y="322"/>
                    </a:cubicBezTo>
                    <a:cubicBezTo>
                      <a:pt x="590" y="315"/>
                      <a:pt x="570" y="304"/>
                      <a:pt x="570" y="299"/>
                    </a:cubicBezTo>
                    <a:cubicBezTo>
                      <a:pt x="570" y="294"/>
                      <a:pt x="595" y="295"/>
                      <a:pt x="606" y="291"/>
                    </a:cubicBezTo>
                    <a:cubicBezTo>
                      <a:pt x="617" y="287"/>
                      <a:pt x="616" y="277"/>
                      <a:pt x="616" y="273"/>
                    </a:cubicBezTo>
                    <a:cubicBezTo>
                      <a:pt x="616" y="270"/>
                      <a:pt x="609" y="270"/>
                      <a:pt x="605" y="270"/>
                    </a:cubicBezTo>
                    <a:cubicBezTo>
                      <a:pt x="601" y="270"/>
                      <a:pt x="603" y="259"/>
                      <a:pt x="601" y="250"/>
                    </a:cubicBezTo>
                    <a:cubicBezTo>
                      <a:pt x="599" y="241"/>
                      <a:pt x="615" y="236"/>
                      <a:pt x="621" y="234"/>
                    </a:cubicBezTo>
                    <a:cubicBezTo>
                      <a:pt x="628" y="232"/>
                      <a:pt x="635" y="218"/>
                      <a:pt x="635" y="218"/>
                    </a:cubicBezTo>
                    <a:cubicBezTo>
                      <a:pt x="642" y="206"/>
                      <a:pt x="642" y="206"/>
                      <a:pt x="642" y="206"/>
                    </a:cubicBezTo>
                    <a:cubicBezTo>
                      <a:pt x="642" y="206"/>
                      <a:pt x="634" y="196"/>
                      <a:pt x="630" y="19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201">
                <a:extLst>
                  <a:ext uri="{FF2B5EF4-FFF2-40B4-BE49-F238E27FC236}">
                    <a16:creationId xmlns:a16="http://schemas.microsoft.com/office/drawing/2014/main" id="{0FCCC42A-FBFC-2A15-2C7E-CD71C54BE6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5747" y="-11210"/>
                <a:ext cx="659" cy="333"/>
              </a:xfrm>
              <a:custGeom>
                <a:avLst/>
                <a:gdLst>
                  <a:gd name="T0" fmla="*/ 209 w 279"/>
                  <a:gd name="T1" fmla="*/ 47 h 141"/>
                  <a:gd name="T2" fmla="*/ 224 w 279"/>
                  <a:gd name="T3" fmla="*/ 66 h 141"/>
                  <a:gd name="T4" fmla="*/ 232 w 279"/>
                  <a:gd name="T5" fmla="*/ 63 h 141"/>
                  <a:gd name="T6" fmla="*/ 254 w 279"/>
                  <a:gd name="T7" fmla="*/ 81 h 141"/>
                  <a:gd name="T8" fmla="*/ 232 w 279"/>
                  <a:gd name="T9" fmla="*/ 71 h 141"/>
                  <a:gd name="T10" fmla="*/ 229 w 279"/>
                  <a:gd name="T11" fmla="*/ 106 h 141"/>
                  <a:gd name="T12" fmla="*/ 243 w 279"/>
                  <a:gd name="T13" fmla="*/ 128 h 141"/>
                  <a:gd name="T14" fmla="*/ 243 w 279"/>
                  <a:gd name="T15" fmla="*/ 128 h 141"/>
                  <a:gd name="T16" fmla="*/ 253 w 279"/>
                  <a:gd name="T17" fmla="*/ 107 h 141"/>
                  <a:gd name="T18" fmla="*/ 269 w 279"/>
                  <a:gd name="T19" fmla="*/ 109 h 141"/>
                  <a:gd name="T20" fmla="*/ 279 w 279"/>
                  <a:gd name="T21" fmla="*/ 84 h 141"/>
                  <a:gd name="T22" fmla="*/ 266 w 279"/>
                  <a:gd name="T23" fmla="*/ 70 h 141"/>
                  <a:gd name="T24" fmla="*/ 270 w 279"/>
                  <a:gd name="T25" fmla="*/ 58 h 141"/>
                  <a:gd name="T26" fmla="*/ 255 w 279"/>
                  <a:gd name="T27" fmla="*/ 46 h 141"/>
                  <a:gd name="T28" fmla="*/ 236 w 279"/>
                  <a:gd name="T29" fmla="*/ 18 h 141"/>
                  <a:gd name="T30" fmla="*/ 196 w 279"/>
                  <a:gd name="T31" fmla="*/ 13 h 141"/>
                  <a:gd name="T32" fmla="*/ 195 w 279"/>
                  <a:gd name="T33" fmla="*/ 4 h 141"/>
                  <a:gd name="T34" fmla="*/ 163 w 279"/>
                  <a:gd name="T35" fmla="*/ 7 h 141"/>
                  <a:gd name="T36" fmla="*/ 144 w 279"/>
                  <a:gd name="T37" fmla="*/ 27 h 141"/>
                  <a:gd name="T38" fmla="*/ 126 w 279"/>
                  <a:gd name="T39" fmla="*/ 25 h 141"/>
                  <a:gd name="T40" fmla="*/ 94 w 279"/>
                  <a:gd name="T41" fmla="*/ 50 h 141"/>
                  <a:gd name="T42" fmla="*/ 75 w 279"/>
                  <a:gd name="T43" fmla="*/ 43 h 141"/>
                  <a:gd name="T44" fmla="*/ 65 w 279"/>
                  <a:gd name="T45" fmla="*/ 32 h 141"/>
                  <a:gd name="T46" fmla="*/ 59 w 279"/>
                  <a:gd name="T47" fmla="*/ 39 h 141"/>
                  <a:gd name="T48" fmla="*/ 40 w 279"/>
                  <a:gd name="T49" fmla="*/ 35 h 141"/>
                  <a:gd name="T50" fmla="*/ 35 w 279"/>
                  <a:gd name="T51" fmla="*/ 10 h 141"/>
                  <a:gd name="T52" fmla="*/ 27 w 279"/>
                  <a:gd name="T53" fmla="*/ 5 h 141"/>
                  <a:gd name="T54" fmla="*/ 10 w 279"/>
                  <a:gd name="T55" fmla="*/ 11 h 141"/>
                  <a:gd name="T56" fmla="*/ 10 w 279"/>
                  <a:gd name="T57" fmla="*/ 33 h 141"/>
                  <a:gd name="T58" fmla="*/ 24 w 279"/>
                  <a:gd name="T59" fmla="*/ 40 h 141"/>
                  <a:gd name="T60" fmla="*/ 11 w 279"/>
                  <a:gd name="T61" fmla="*/ 51 h 141"/>
                  <a:gd name="T62" fmla="*/ 10 w 279"/>
                  <a:gd name="T63" fmla="*/ 65 h 141"/>
                  <a:gd name="T64" fmla="*/ 6 w 279"/>
                  <a:gd name="T65" fmla="*/ 70 h 141"/>
                  <a:gd name="T66" fmla="*/ 11 w 279"/>
                  <a:gd name="T67" fmla="*/ 75 h 141"/>
                  <a:gd name="T68" fmla="*/ 39 w 279"/>
                  <a:gd name="T69" fmla="*/ 69 h 141"/>
                  <a:gd name="T70" fmla="*/ 44 w 279"/>
                  <a:gd name="T71" fmla="*/ 81 h 141"/>
                  <a:gd name="T72" fmla="*/ 64 w 279"/>
                  <a:gd name="T73" fmla="*/ 80 h 141"/>
                  <a:gd name="T74" fmla="*/ 67 w 279"/>
                  <a:gd name="T75" fmla="*/ 107 h 141"/>
                  <a:gd name="T76" fmla="*/ 86 w 279"/>
                  <a:gd name="T77" fmla="*/ 102 h 141"/>
                  <a:gd name="T78" fmla="*/ 86 w 279"/>
                  <a:gd name="T79" fmla="*/ 89 h 141"/>
                  <a:gd name="T80" fmla="*/ 97 w 279"/>
                  <a:gd name="T81" fmla="*/ 88 h 141"/>
                  <a:gd name="T82" fmla="*/ 115 w 279"/>
                  <a:gd name="T83" fmla="*/ 134 h 141"/>
                  <a:gd name="T84" fmla="*/ 143 w 279"/>
                  <a:gd name="T85" fmla="*/ 118 h 141"/>
                  <a:gd name="T86" fmla="*/ 116 w 279"/>
                  <a:gd name="T87" fmla="*/ 81 h 141"/>
                  <a:gd name="T88" fmla="*/ 147 w 279"/>
                  <a:gd name="T89" fmla="*/ 62 h 141"/>
                  <a:gd name="T90" fmla="*/ 177 w 279"/>
                  <a:gd name="T91" fmla="*/ 36 h 141"/>
                  <a:gd name="T92" fmla="*/ 209 w 279"/>
                  <a:gd name="T93" fmla="*/ 47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79" h="141">
                    <a:moveTo>
                      <a:pt x="209" y="47"/>
                    </a:moveTo>
                    <a:cubicBezTo>
                      <a:pt x="215" y="51"/>
                      <a:pt x="224" y="66"/>
                      <a:pt x="224" y="66"/>
                    </a:cubicBezTo>
                    <a:cubicBezTo>
                      <a:pt x="232" y="63"/>
                      <a:pt x="232" y="63"/>
                      <a:pt x="232" y="63"/>
                    </a:cubicBezTo>
                    <a:cubicBezTo>
                      <a:pt x="254" y="81"/>
                      <a:pt x="254" y="81"/>
                      <a:pt x="254" y="81"/>
                    </a:cubicBezTo>
                    <a:cubicBezTo>
                      <a:pt x="232" y="71"/>
                      <a:pt x="232" y="71"/>
                      <a:pt x="232" y="71"/>
                    </a:cubicBezTo>
                    <a:cubicBezTo>
                      <a:pt x="232" y="71"/>
                      <a:pt x="229" y="100"/>
                      <a:pt x="229" y="106"/>
                    </a:cubicBezTo>
                    <a:cubicBezTo>
                      <a:pt x="229" y="111"/>
                      <a:pt x="240" y="124"/>
                      <a:pt x="243" y="128"/>
                    </a:cubicBezTo>
                    <a:cubicBezTo>
                      <a:pt x="243" y="128"/>
                      <a:pt x="243" y="128"/>
                      <a:pt x="243" y="128"/>
                    </a:cubicBezTo>
                    <a:cubicBezTo>
                      <a:pt x="253" y="107"/>
                      <a:pt x="253" y="107"/>
                      <a:pt x="253" y="107"/>
                    </a:cubicBezTo>
                    <a:cubicBezTo>
                      <a:pt x="253" y="107"/>
                      <a:pt x="260" y="117"/>
                      <a:pt x="269" y="109"/>
                    </a:cubicBezTo>
                    <a:cubicBezTo>
                      <a:pt x="279" y="101"/>
                      <a:pt x="279" y="84"/>
                      <a:pt x="279" y="84"/>
                    </a:cubicBezTo>
                    <a:cubicBezTo>
                      <a:pt x="279" y="84"/>
                      <a:pt x="266" y="77"/>
                      <a:pt x="266" y="70"/>
                    </a:cubicBezTo>
                    <a:cubicBezTo>
                      <a:pt x="266" y="64"/>
                      <a:pt x="269" y="59"/>
                      <a:pt x="270" y="58"/>
                    </a:cubicBezTo>
                    <a:cubicBezTo>
                      <a:pt x="255" y="46"/>
                      <a:pt x="255" y="46"/>
                      <a:pt x="255" y="46"/>
                    </a:cubicBezTo>
                    <a:cubicBezTo>
                      <a:pt x="255" y="46"/>
                      <a:pt x="251" y="24"/>
                      <a:pt x="236" y="18"/>
                    </a:cubicBezTo>
                    <a:cubicBezTo>
                      <a:pt x="221" y="12"/>
                      <a:pt x="196" y="13"/>
                      <a:pt x="196" y="13"/>
                    </a:cubicBezTo>
                    <a:cubicBezTo>
                      <a:pt x="195" y="4"/>
                      <a:pt x="195" y="4"/>
                      <a:pt x="195" y="4"/>
                    </a:cubicBezTo>
                    <a:cubicBezTo>
                      <a:pt x="195" y="4"/>
                      <a:pt x="169" y="0"/>
                      <a:pt x="163" y="7"/>
                    </a:cubicBezTo>
                    <a:cubicBezTo>
                      <a:pt x="157" y="14"/>
                      <a:pt x="144" y="27"/>
                      <a:pt x="144" y="27"/>
                    </a:cubicBezTo>
                    <a:cubicBezTo>
                      <a:pt x="144" y="27"/>
                      <a:pt x="134" y="18"/>
                      <a:pt x="126" y="25"/>
                    </a:cubicBezTo>
                    <a:cubicBezTo>
                      <a:pt x="118" y="32"/>
                      <a:pt x="104" y="50"/>
                      <a:pt x="94" y="50"/>
                    </a:cubicBezTo>
                    <a:cubicBezTo>
                      <a:pt x="84" y="50"/>
                      <a:pt x="75" y="43"/>
                      <a:pt x="75" y="43"/>
                    </a:cubicBezTo>
                    <a:cubicBezTo>
                      <a:pt x="65" y="32"/>
                      <a:pt x="65" y="32"/>
                      <a:pt x="65" y="32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59" y="39"/>
                      <a:pt x="45" y="44"/>
                      <a:pt x="40" y="35"/>
                    </a:cubicBezTo>
                    <a:cubicBezTo>
                      <a:pt x="35" y="26"/>
                      <a:pt x="42" y="16"/>
                      <a:pt x="35" y="10"/>
                    </a:cubicBezTo>
                    <a:cubicBezTo>
                      <a:pt x="33" y="8"/>
                      <a:pt x="30" y="7"/>
                      <a:pt x="27" y="5"/>
                    </a:cubicBezTo>
                    <a:cubicBezTo>
                      <a:pt x="23" y="6"/>
                      <a:pt x="16" y="9"/>
                      <a:pt x="10" y="11"/>
                    </a:cubicBezTo>
                    <a:cubicBezTo>
                      <a:pt x="0" y="14"/>
                      <a:pt x="10" y="33"/>
                      <a:pt x="10" y="33"/>
                    </a:cubicBezTo>
                    <a:cubicBezTo>
                      <a:pt x="10" y="33"/>
                      <a:pt x="24" y="35"/>
                      <a:pt x="24" y="40"/>
                    </a:cubicBezTo>
                    <a:cubicBezTo>
                      <a:pt x="24" y="45"/>
                      <a:pt x="11" y="51"/>
                      <a:pt x="11" y="51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6" y="70"/>
                      <a:pt x="6" y="70"/>
                      <a:pt x="6" y="70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39" y="69"/>
                      <a:pt x="39" y="69"/>
                      <a:pt x="39" y="69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64" y="80"/>
                      <a:pt x="64" y="80"/>
                      <a:pt x="64" y="80"/>
                    </a:cubicBezTo>
                    <a:cubicBezTo>
                      <a:pt x="64" y="80"/>
                      <a:pt x="59" y="102"/>
                      <a:pt x="67" y="107"/>
                    </a:cubicBezTo>
                    <a:cubicBezTo>
                      <a:pt x="75" y="112"/>
                      <a:pt x="86" y="102"/>
                      <a:pt x="86" y="102"/>
                    </a:cubicBezTo>
                    <a:cubicBezTo>
                      <a:pt x="86" y="89"/>
                      <a:pt x="86" y="89"/>
                      <a:pt x="86" y="89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8"/>
                      <a:pt x="101" y="141"/>
                      <a:pt x="115" y="134"/>
                    </a:cubicBezTo>
                    <a:cubicBezTo>
                      <a:pt x="129" y="127"/>
                      <a:pt x="143" y="118"/>
                      <a:pt x="143" y="118"/>
                    </a:cubicBezTo>
                    <a:cubicBezTo>
                      <a:pt x="143" y="118"/>
                      <a:pt x="105" y="91"/>
                      <a:pt x="116" y="81"/>
                    </a:cubicBezTo>
                    <a:cubicBezTo>
                      <a:pt x="127" y="71"/>
                      <a:pt x="138" y="70"/>
                      <a:pt x="147" y="62"/>
                    </a:cubicBezTo>
                    <a:cubicBezTo>
                      <a:pt x="156" y="54"/>
                      <a:pt x="167" y="34"/>
                      <a:pt x="177" y="36"/>
                    </a:cubicBezTo>
                    <a:cubicBezTo>
                      <a:pt x="187" y="38"/>
                      <a:pt x="203" y="43"/>
                      <a:pt x="209" y="47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202">
                <a:extLst>
                  <a:ext uri="{FF2B5EF4-FFF2-40B4-BE49-F238E27FC236}">
                    <a16:creationId xmlns:a16="http://schemas.microsoft.com/office/drawing/2014/main" id="{16AEEC2C-7C32-A935-25BC-1877C0CE98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5329" y="-11584"/>
                <a:ext cx="1373" cy="2131"/>
              </a:xfrm>
              <a:custGeom>
                <a:avLst/>
                <a:gdLst>
                  <a:gd name="T0" fmla="*/ 65 w 581"/>
                  <a:gd name="T1" fmla="*/ 635 h 902"/>
                  <a:gd name="T2" fmla="*/ 120 w 581"/>
                  <a:gd name="T3" fmla="*/ 665 h 902"/>
                  <a:gd name="T4" fmla="*/ 185 w 581"/>
                  <a:gd name="T5" fmla="*/ 680 h 902"/>
                  <a:gd name="T6" fmla="*/ 238 w 581"/>
                  <a:gd name="T7" fmla="*/ 732 h 902"/>
                  <a:gd name="T8" fmla="*/ 264 w 581"/>
                  <a:gd name="T9" fmla="*/ 772 h 902"/>
                  <a:gd name="T10" fmla="*/ 329 w 581"/>
                  <a:gd name="T11" fmla="*/ 813 h 902"/>
                  <a:gd name="T12" fmla="*/ 388 w 581"/>
                  <a:gd name="T13" fmla="*/ 797 h 902"/>
                  <a:gd name="T14" fmla="*/ 415 w 581"/>
                  <a:gd name="T15" fmla="*/ 846 h 902"/>
                  <a:gd name="T16" fmla="*/ 427 w 581"/>
                  <a:gd name="T17" fmla="*/ 898 h 902"/>
                  <a:gd name="T18" fmla="*/ 444 w 581"/>
                  <a:gd name="T19" fmla="*/ 831 h 902"/>
                  <a:gd name="T20" fmla="*/ 464 w 581"/>
                  <a:gd name="T21" fmla="*/ 749 h 902"/>
                  <a:gd name="T22" fmla="*/ 425 w 581"/>
                  <a:gd name="T23" fmla="*/ 688 h 902"/>
                  <a:gd name="T24" fmla="*/ 471 w 581"/>
                  <a:gd name="T25" fmla="*/ 643 h 902"/>
                  <a:gd name="T26" fmla="*/ 442 w 581"/>
                  <a:gd name="T27" fmla="*/ 616 h 902"/>
                  <a:gd name="T28" fmla="*/ 510 w 581"/>
                  <a:gd name="T29" fmla="*/ 586 h 902"/>
                  <a:gd name="T30" fmla="*/ 555 w 581"/>
                  <a:gd name="T31" fmla="*/ 563 h 902"/>
                  <a:gd name="T32" fmla="*/ 564 w 581"/>
                  <a:gd name="T33" fmla="*/ 614 h 902"/>
                  <a:gd name="T34" fmla="*/ 566 w 581"/>
                  <a:gd name="T35" fmla="*/ 569 h 902"/>
                  <a:gd name="T36" fmla="*/ 531 w 581"/>
                  <a:gd name="T37" fmla="*/ 524 h 902"/>
                  <a:gd name="T38" fmla="*/ 543 w 581"/>
                  <a:gd name="T39" fmla="*/ 460 h 902"/>
                  <a:gd name="T40" fmla="*/ 533 w 581"/>
                  <a:gd name="T41" fmla="*/ 395 h 902"/>
                  <a:gd name="T42" fmla="*/ 558 w 581"/>
                  <a:gd name="T43" fmla="*/ 343 h 902"/>
                  <a:gd name="T44" fmla="*/ 503 w 581"/>
                  <a:gd name="T45" fmla="*/ 350 h 902"/>
                  <a:gd name="T46" fmla="*/ 463 w 581"/>
                  <a:gd name="T47" fmla="*/ 350 h 902"/>
                  <a:gd name="T48" fmla="*/ 404 w 581"/>
                  <a:gd name="T49" fmla="*/ 297 h 902"/>
                  <a:gd name="T50" fmla="*/ 341 w 581"/>
                  <a:gd name="T51" fmla="*/ 300 h 902"/>
                  <a:gd name="T52" fmla="*/ 324 w 581"/>
                  <a:gd name="T53" fmla="*/ 252 h 902"/>
                  <a:gd name="T54" fmla="*/ 317 w 581"/>
                  <a:gd name="T55" fmla="*/ 200 h 902"/>
                  <a:gd name="T56" fmla="*/ 306 w 581"/>
                  <a:gd name="T57" fmla="*/ 153 h 902"/>
                  <a:gd name="T58" fmla="*/ 320 w 581"/>
                  <a:gd name="T59" fmla="*/ 97 h 902"/>
                  <a:gd name="T60" fmla="*/ 381 w 581"/>
                  <a:gd name="T61" fmla="*/ 47 h 902"/>
                  <a:gd name="T62" fmla="*/ 342 w 581"/>
                  <a:gd name="T63" fmla="*/ 45 h 902"/>
                  <a:gd name="T64" fmla="*/ 271 w 581"/>
                  <a:gd name="T65" fmla="*/ 74 h 902"/>
                  <a:gd name="T66" fmla="*/ 239 w 581"/>
                  <a:gd name="T67" fmla="*/ 101 h 902"/>
                  <a:gd name="T68" fmla="*/ 207 w 581"/>
                  <a:gd name="T69" fmla="*/ 94 h 902"/>
                  <a:gd name="T70" fmla="*/ 177 w 581"/>
                  <a:gd name="T71" fmla="*/ 155 h 902"/>
                  <a:gd name="T72" fmla="*/ 147 w 581"/>
                  <a:gd name="T73" fmla="*/ 198 h 902"/>
                  <a:gd name="T74" fmla="*/ 123 w 581"/>
                  <a:gd name="T75" fmla="*/ 229 h 902"/>
                  <a:gd name="T76" fmla="*/ 93 w 581"/>
                  <a:gd name="T77" fmla="*/ 215 h 902"/>
                  <a:gd name="T78" fmla="*/ 92 w 581"/>
                  <a:gd name="T79" fmla="*/ 267 h 902"/>
                  <a:gd name="T80" fmla="*/ 74 w 581"/>
                  <a:gd name="T81" fmla="*/ 301 h 902"/>
                  <a:gd name="T82" fmla="*/ 77 w 581"/>
                  <a:gd name="T83" fmla="*/ 338 h 902"/>
                  <a:gd name="T84" fmla="*/ 77 w 581"/>
                  <a:gd name="T85" fmla="*/ 378 h 902"/>
                  <a:gd name="T86" fmla="*/ 74 w 581"/>
                  <a:gd name="T87" fmla="*/ 454 h 902"/>
                  <a:gd name="T88" fmla="*/ 74 w 581"/>
                  <a:gd name="T89" fmla="*/ 522 h 902"/>
                  <a:gd name="T90" fmla="*/ 26 w 581"/>
                  <a:gd name="T91" fmla="*/ 580 h 902"/>
                  <a:gd name="T92" fmla="*/ 23 w 581"/>
                  <a:gd name="T93" fmla="*/ 614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81" h="902">
                    <a:moveTo>
                      <a:pt x="23" y="614"/>
                    </a:moveTo>
                    <a:cubicBezTo>
                      <a:pt x="34" y="620"/>
                      <a:pt x="42" y="632"/>
                      <a:pt x="42" y="632"/>
                    </a:cubicBezTo>
                    <a:cubicBezTo>
                      <a:pt x="42" y="632"/>
                      <a:pt x="55" y="627"/>
                      <a:pt x="65" y="635"/>
                    </a:cubicBezTo>
                    <a:cubicBezTo>
                      <a:pt x="75" y="643"/>
                      <a:pt x="68" y="650"/>
                      <a:pt x="77" y="656"/>
                    </a:cubicBezTo>
                    <a:cubicBezTo>
                      <a:pt x="86" y="662"/>
                      <a:pt x="97" y="657"/>
                      <a:pt x="97" y="657"/>
                    </a:cubicBezTo>
                    <a:cubicBezTo>
                      <a:pt x="97" y="657"/>
                      <a:pt x="113" y="667"/>
                      <a:pt x="120" y="665"/>
                    </a:cubicBezTo>
                    <a:cubicBezTo>
                      <a:pt x="127" y="663"/>
                      <a:pt x="115" y="650"/>
                      <a:pt x="132" y="653"/>
                    </a:cubicBezTo>
                    <a:cubicBezTo>
                      <a:pt x="149" y="656"/>
                      <a:pt x="141" y="674"/>
                      <a:pt x="154" y="675"/>
                    </a:cubicBezTo>
                    <a:cubicBezTo>
                      <a:pt x="166" y="676"/>
                      <a:pt x="178" y="676"/>
                      <a:pt x="185" y="680"/>
                    </a:cubicBezTo>
                    <a:cubicBezTo>
                      <a:pt x="192" y="684"/>
                      <a:pt x="222" y="708"/>
                      <a:pt x="222" y="708"/>
                    </a:cubicBezTo>
                    <a:cubicBezTo>
                      <a:pt x="230" y="732"/>
                      <a:pt x="230" y="732"/>
                      <a:pt x="230" y="732"/>
                    </a:cubicBezTo>
                    <a:cubicBezTo>
                      <a:pt x="238" y="732"/>
                      <a:pt x="238" y="732"/>
                      <a:pt x="238" y="732"/>
                    </a:cubicBezTo>
                    <a:cubicBezTo>
                      <a:pt x="249" y="745"/>
                      <a:pt x="249" y="745"/>
                      <a:pt x="249" y="745"/>
                    </a:cubicBezTo>
                    <a:cubicBezTo>
                      <a:pt x="249" y="745"/>
                      <a:pt x="257" y="742"/>
                      <a:pt x="259" y="748"/>
                    </a:cubicBezTo>
                    <a:cubicBezTo>
                      <a:pt x="262" y="754"/>
                      <a:pt x="264" y="772"/>
                      <a:pt x="264" y="772"/>
                    </a:cubicBezTo>
                    <a:cubicBezTo>
                      <a:pt x="264" y="772"/>
                      <a:pt x="282" y="773"/>
                      <a:pt x="283" y="781"/>
                    </a:cubicBezTo>
                    <a:cubicBezTo>
                      <a:pt x="284" y="788"/>
                      <a:pt x="269" y="803"/>
                      <a:pt x="288" y="808"/>
                    </a:cubicBezTo>
                    <a:cubicBezTo>
                      <a:pt x="307" y="813"/>
                      <a:pt x="329" y="813"/>
                      <a:pt x="329" y="813"/>
                    </a:cubicBezTo>
                    <a:cubicBezTo>
                      <a:pt x="329" y="813"/>
                      <a:pt x="330" y="792"/>
                      <a:pt x="344" y="795"/>
                    </a:cubicBezTo>
                    <a:cubicBezTo>
                      <a:pt x="358" y="798"/>
                      <a:pt x="359" y="805"/>
                      <a:pt x="367" y="805"/>
                    </a:cubicBezTo>
                    <a:cubicBezTo>
                      <a:pt x="376" y="805"/>
                      <a:pt x="384" y="796"/>
                      <a:pt x="388" y="797"/>
                    </a:cubicBezTo>
                    <a:cubicBezTo>
                      <a:pt x="392" y="798"/>
                      <a:pt x="400" y="810"/>
                      <a:pt x="400" y="810"/>
                    </a:cubicBezTo>
                    <a:cubicBezTo>
                      <a:pt x="400" y="810"/>
                      <a:pt x="428" y="809"/>
                      <a:pt x="428" y="823"/>
                    </a:cubicBezTo>
                    <a:cubicBezTo>
                      <a:pt x="428" y="838"/>
                      <a:pt x="420" y="846"/>
                      <a:pt x="415" y="846"/>
                    </a:cubicBezTo>
                    <a:cubicBezTo>
                      <a:pt x="410" y="846"/>
                      <a:pt x="401" y="876"/>
                      <a:pt x="404" y="881"/>
                    </a:cubicBezTo>
                    <a:cubicBezTo>
                      <a:pt x="407" y="887"/>
                      <a:pt x="421" y="882"/>
                      <a:pt x="421" y="882"/>
                    </a:cubicBezTo>
                    <a:cubicBezTo>
                      <a:pt x="427" y="898"/>
                      <a:pt x="427" y="898"/>
                      <a:pt x="427" y="898"/>
                    </a:cubicBezTo>
                    <a:cubicBezTo>
                      <a:pt x="438" y="902"/>
                      <a:pt x="438" y="902"/>
                      <a:pt x="438" y="902"/>
                    </a:cubicBezTo>
                    <a:cubicBezTo>
                      <a:pt x="441" y="893"/>
                      <a:pt x="442" y="881"/>
                      <a:pt x="442" y="881"/>
                    </a:cubicBezTo>
                    <a:cubicBezTo>
                      <a:pt x="444" y="831"/>
                      <a:pt x="444" y="831"/>
                      <a:pt x="444" y="831"/>
                    </a:cubicBezTo>
                    <a:cubicBezTo>
                      <a:pt x="455" y="801"/>
                      <a:pt x="455" y="801"/>
                      <a:pt x="455" y="801"/>
                    </a:cubicBezTo>
                    <a:cubicBezTo>
                      <a:pt x="453" y="767"/>
                      <a:pt x="453" y="767"/>
                      <a:pt x="453" y="767"/>
                    </a:cubicBezTo>
                    <a:cubicBezTo>
                      <a:pt x="453" y="767"/>
                      <a:pt x="463" y="756"/>
                      <a:pt x="464" y="749"/>
                    </a:cubicBezTo>
                    <a:cubicBezTo>
                      <a:pt x="465" y="742"/>
                      <a:pt x="451" y="727"/>
                      <a:pt x="451" y="727"/>
                    </a:cubicBezTo>
                    <a:cubicBezTo>
                      <a:pt x="451" y="727"/>
                      <a:pt x="450" y="715"/>
                      <a:pt x="448" y="706"/>
                    </a:cubicBezTo>
                    <a:cubicBezTo>
                      <a:pt x="446" y="697"/>
                      <a:pt x="425" y="688"/>
                      <a:pt x="425" y="688"/>
                    </a:cubicBezTo>
                    <a:cubicBezTo>
                      <a:pt x="427" y="646"/>
                      <a:pt x="427" y="646"/>
                      <a:pt x="427" y="646"/>
                    </a:cubicBezTo>
                    <a:cubicBezTo>
                      <a:pt x="449" y="641"/>
                      <a:pt x="449" y="641"/>
                      <a:pt x="449" y="641"/>
                    </a:cubicBezTo>
                    <a:cubicBezTo>
                      <a:pt x="449" y="641"/>
                      <a:pt x="458" y="645"/>
                      <a:pt x="471" y="643"/>
                    </a:cubicBezTo>
                    <a:cubicBezTo>
                      <a:pt x="484" y="641"/>
                      <a:pt x="465" y="621"/>
                      <a:pt x="465" y="621"/>
                    </a:cubicBezTo>
                    <a:cubicBezTo>
                      <a:pt x="458" y="623"/>
                      <a:pt x="458" y="623"/>
                      <a:pt x="458" y="623"/>
                    </a:cubicBezTo>
                    <a:cubicBezTo>
                      <a:pt x="442" y="616"/>
                      <a:pt x="442" y="616"/>
                      <a:pt x="442" y="616"/>
                    </a:cubicBezTo>
                    <a:cubicBezTo>
                      <a:pt x="442" y="616"/>
                      <a:pt x="434" y="587"/>
                      <a:pt x="443" y="582"/>
                    </a:cubicBezTo>
                    <a:cubicBezTo>
                      <a:pt x="452" y="577"/>
                      <a:pt x="466" y="590"/>
                      <a:pt x="466" y="590"/>
                    </a:cubicBezTo>
                    <a:cubicBezTo>
                      <a:pt x="510" y="586"/>
                      <a:pt x="510" y="586"/>
                      <a:pt x="510" y="586"/>
                    </a:cubicBezTo>
                    <a:cubicBezTo>
                      <a:pt x="510" y="586"/>
                      <a:pt x="510" y="569"/>
                      <a:pt x="516" y="569"/>
                    </a:cubicBezTo>
                    <a:cubicBezTo>
                      <a:pt x="522" y="569"/>
                      <a:pt x="527" y="585"/>
                      <a:pt x="533" y="584"/>
                    </a:cubicBezTo>
                    <a:cubicBezTo>
                      <a:pt x="539" y="583"/>
                      <a:pt x="548" y="560"/>
                      <a:pt x="555" y="563"/>
                    </a:cubicBezTo>
                    <a:cubicBezTo>
                      <a:pt x="562" y="566"/>
                      <a:pt x="557" y="573"/>
                      <a:pt x="557" y="573"/>
                    </a:cubicBezTo>
                    <a:cubicBezTo>
                      <a:pt x="557" y="573"/>
                      <a:pt x="560" y="574"/>
                      <a:pt x="562" y="580"/>
                    </a:cubicBezTo>
                    <a:cubicBezTo>
                      <a:pt x="564" y="586"/>
                      <a:pt x="564" y="614"/>
                      <a:pt x="564" y="614"/>
                    </a:cubicBezTo>
                    <a:cubicBezTo>
                      <a:pt x="581" y="614"/>
                      <a:pt x="581" y="614"/>
                      <a:pt x="581" y="614"/>
                    </a:cubicBezTo>
                    <a:cubicBezTo>
                      <a:pt x="581" y="614"/>
                      <a:pt x="575" y="605"/>
                      <a:pt x="576" y="600"/>
                    </a:cubicBezTo>
                    <a:cubicBezTo>
                      <a:pt x="577" y="595"/>
                      <a:pt x="566" y="569"/>
                      <a:pt x="566" y="569"/>
                    </a:cubicBezTo>
                    <a:cubicBezTo>
                      <a:pt x="566" y="569"/>
                      <a:pt x="563" y="549"/>
                      <a:pt x="563" y="545"/>
                    </a:cubicBezTo>
                    <a:cubicBezTo>
                      <a:pt x="563" y="541"/>
                      <a:pt x="541" y="527"/>
                      <a:pt x="541" y="527"/>
                    </a:cubicBezTo>
                    <a:cubicBezTo>
                      <a:pt x="531" y="524"/>
                      <a:pt x="531" y="524"/>
                      <a:pt x="531" y="524"/>
                    </a:cubicBezTo>
                    <a:cubicBezTo>
                      <a:pt x="531" y="524"/>
                      <a:pt x="560" y="506"/>
                      <a:pt x="560" y="496"/>
                    </a:cubicBezTo>
                    <a:cubicBezTo>
                      <a:pt x="560" y="486"/>
                      <a:pt x="544" y="472"/>
                      <a:pt x="544" y="472"/>
                    </a:cubicBezTo>
                    <a:cubicBezTo>
                      <a:pt x="544" y="472"/>
                      <a:pt x="543" y="463"/>
                      <a:pt x="543" y="460"/>
                    </a:cubicBezTo>
                    <a:cubicBezTo>
                      <a:pt x="543" y="457"/>
                      <a:pt x="534" y="453"/>
                      <a:pt x="534" y="453"/>
                    </a:cubicBezTo>
                    <a:cubicBezTo>
                      <a:pt x="534" y="453"/>
                      <a:pt x="536" y="430"/>
                      <a:pt x="536" y="424"/>
                    </a:cubicBezTo>
                    <a:cubicBezTo>
                      <a:pt x="536" y="418"/>
                      <a:pt x="534" y="400"/>
                      <a:pt x="533" y="395"/>
                    </a:cubicBezTo>
                    <a:cubicBezTo>
                      <a:pt x="532" y="390"/>
                      <a:pt x="542" y="385"/>
                      <a:pt x="545" y="382"/>
                    </a:cubicBezTo>
                    <a:cubicBezTo>
                      <a:pt x="548" y="379"/>
                      <a:pt x="547" y="364"/>
                      <a:pt x="547" y="364"/>
                    </a:cubicBezTo>
                    <a:cubicBezTo>
                      <a:pt x="547" y="364"/>
                      <a:pt x="564" y="356"/>
                      <a:pt x="558" y="343"/>
                    </a:cubicBezTo>
                    <a:cubicBezTo>
                      <a:pt x="552" y="331"/>
                      <a:pt x="533" y="346"/>
                      <a:pt x="533" y="346"/>
                    </a:cubicBezTo>
                    <a:cubicBezTo>
                      <a:pt x="514" y="344"/>
                      <a:pt x="514" y="344"/>
                      <a:pt x="514" y="344"/>
                    </a:cubicBezTo>
                    <a:cubicBezTo>
                      <a:pt x="514" y="344"/>
                      <a:pt x="511" y="351"/>
                      <a:pt x="503" y="350"/>
                    </a:cubicBezTo>
                    <a:cubicBezTo>
                      <a:pt x="495" y="349"/>
                      <a:pt x="493" y="342"/>
                      <a:pt x="485" y="342"/>
                    </a:cubicBezTo>
                    <a:cubicBezTo>
                      <a:pt x="477" y="342"/>
                      <a:pt x="479" y="349"/>
                      <a:pt x="479" y="349"/>
                    </a:cubicBezTo>
                    <a:cubicBezTo>
                      <a:pt x="479" y="349"/>
                      <a:pt x="471" y="352"/>
                      <a:pt x="463" y="350"/>
                    </a:cubicBezTo>
                    <a:cubicBezTo>
                      <a:pt x="455" y="347"/>
                      <a:pt x="436" y="305"/>
                      <a:pt x="436" y="305"/>
                    </a:cubicBezTo>
                    <a:cubicBezTo>
                      <a:pt x="418" y="304"/>
                      <a:pt x="418" y="304"/>
                      <a:pt x="418" y="304"/>
                    </a:cubicBezTo>
                    <a:cubicBezTo>
                      <a:pt x="418" y="304"/>
                      <a:pt x="409" y="297"/>
                      <a:pt x="404" y="297"/>
                    </a:cubicBezTo>
                    <a:cubicBezTo>
                      <a:pt x="399" y="297"/>
                      <a:pt x="398" y="303"/>
                      <a:pt x="393" y="304"/>
                    </a:cubicBezTo>
                    <a:cubicBezTo>
                      <a:pt x="388" y="305"/>
                      <a:pt x="370" y="298"/>
                      <a:pt x="365" y="298"/>
                    </a:cubicBezTo>
                    <a:cubicBezTo>
                      <a:pt x="361" y="298"/>
                      <a:pt x="350" y="303"/>
                      <a:pt x="341" y="300"/>
                    </a:cubicBezTo>
                    <a:cubicBezTo>
                      <a:pt x="332" y="297"/>
                      <a:pt x="333" y="279"/>
                      <a:pt x="333" y="279"/>
                    </a:cubicBezTo>
                    <a:cubicBezTo>
                      <a:pt x="323" y="279"/>
                      <a:pt x="323" y="279"/>
                      <a:pt x="323" y="279"/>
                    </a:cubicBezTo>
                    <a:cubicBezTo>
                      <a:pt x="324" y="252"/>
                      <a:pt x="324" y="252"/>
                      <a:pt x="324" y="252"/>
                    </a:cubicBezTo>
                    <a:cubicBezTo>
                      <a:pt x="324" y="252"/>
                      <a:pt x="330" y="249"/>
                      <a:pt x="332" y="236"/>
                    </a:cubicBezTo>
                    <a:cubicBezTo>
                      <a:pt x="334" y="224"/>
                      <a:pt x="318" y="215"/>
                      <a:pt x="318" y="215"/>
                    </a:cubicBezTo>
                    <a:cubicBezTo>
                      <a:pt x="318" y="215"/>
                      <a:pt x="317" y="209"/>
                      <a:pt x="317" y="200"/>
                    </a:cubicBezTo>
                    <a:cubicBezTo>
                      <a:pt x="317" y="191"/>
                      <a:pt x="310" y="177"/>
                      <a:pt x="303" y="177"/>
                    </a:cubicBezTo>
                    <a:cubicBezTo>
                      <a:pt x="296" y="177"/>
                      <a:pt x="292" y="191"/>
                      <a:pt x="287" y="182"/>
                    </a:cubicBezTo>
                    <a:cubicBezTo>
                      <a:pt x="282" y="174"/>
                      <a:pt x="306" y="153"/>
                      <a:pt x="306" y="153"/>
                    </a:cubicBezTo>
                    <a:cubicBezTo>
                      <a:pt x="306" y="135"/>
                      <a:pt x="306" y="135"/>
                      <a:pt x="306" y="135"/>
                    </a:cubicBezTo>
                    <a:cubicBezTo>
                      <a:pt x="312" y="130"/>
                      <a:pt x="312" y="130"/>
                      <a:pt x="312" y="130"/>
                    </a:cubicBezTo>
                    <a:cubicBezTo>
                      <a:pt x="312" y="130"/>
                      <a:pt x="312" y="110"/>
                      <a:pt x="320" y="97"/>
                    </a:cubicBezTo>
                    <a:cubicBezTo>
                      <a:pt x="327" y="84"/>
                      <a:pt x="336" y="80"/>
                      <a:pt x="347" y="76"/>
                    </a:cubicBezTo>
                    <a:cubicBezTo>
                      <a:pt x="358" y="73"/>
                      <a:pt x="359" y="58"/>
                      <a:pt x="359" y="58"/>
                    </a:cubicBezTo>
                    <a:cubicBezTo>
                      <a:pt x="359" y="58"/>
                      <a:pt x="376" y="48"/>
                      <a:pt x="381" y="47"/>
                    </a:cubicBezTo>
                    <a:cubicBezTo>
                      <a:pt x="386" y="46"/>
                      <a:pt x="401" y="42"/>
                      <a:pt x="402" y="21"/>
                    </a:cubicBezTo>
                    <a:cubicBezTo>
                      <a:pt x="403" y="0"/>
                      <a:pt x="361" y="16"/>
                      <a:pt x="355" y="17"/>
                    </a:cubicBezTo>
                    <a:cubicBezTo>
                      <a:pt x="349" y="18"/>
                      <a:pt x="349" y="38"/>
                      <a:pt x="342" y="45"/>
                    </a:cubicBezTo>
                    <a:cubicBezTo>
                      <a:pt x="335" y="52"/>
                      <a:pt x="324" y="45"/>
                      <a:pt x="317" y="46"/>
                    </a:cubicBezTo>
                    <a:cubicBezTo>
                      <a:pt x="310" y="47"/>
                      <a:pt x="296" y="70"/>
                      <a:pt x="296" y="70"/>
                    </a:cubicBezTo>
                    <a:cubicBezTo>
                      <a:pt x="271" y="74"/>
                      <a:pt x="271" y="74"/>
                      <a:pt x="271" y="74"/>
                    </a:cubicBezTo>
                    <a:cubicBezTo>
                      <a:pt x="271" y="74"/>
                      <a:pt x="265" y="65"/>
                      <a:pt x="258" y="69"/>
                    </a:cubicBezTo>
                    <a:cubicBezTo>
                      <a:pt x="251" y="74"/>
                      <a:pt x="251" y="86"/>
                      <a:pt x="251" y="86"/>
                    </a:cubicBezTo>
                    <a:cubicBezTo>
                      <a:pt x="251" y="86"/>
                      <a:pt x="246" y="100"/>
                      <a:pt x="239" y="101"/>
                    </a:cubicBezTo>
                    <a:cubicBezTo>
                      <a:pt x="232" y="103"/>
                      <a:pt x="240" y="92"/>
                      <a:pt x="240" y="92"/>
                    </a:cubicBezTo>
                    <a:cubicBezTo>
                      <a:pt x="240" y="92"/>
                      <a:pt x="234" y="87"/>
                      <a:pt x="230" y="87"/>
                    </a:cubicBezTo>
                    <a:cubicBezTo>
                      <a:pt x="227" y="87"/>
                      <a:pt x="212" y="91"/>
                      <a:pt x="207" y="94"/>
                    </a:cubicBezTo>
                    <a:cubicBezTo>
                      <a:pt x="202" y="98"/>
                      <a:pt x="187" y="112"/>
                      <a:pt x="183" y="119"/>
                    </a:cubicBezTo>
                    <a:cubicBezTo>
                      <a:pt x="180" y="126"/>
                      <a:pt x="188" y="135"/>
                      <a:pt x="188" y="135"/>
                    </a:cubicBezTo>
                    <a:cubicBezTo>
                      <a:pt x="177" y="155"/>
                      <a:pt x="177" y="155"/>
                      <a:pt x="177" y="155"/>
                    </a:cubicBezTo>
                    <a:cubicBezTo>
                      <a:pt x="184" y="171"/>
                      <a:pt x="184" y="171"/>
                      <a:pt x="184" y="171"/>
                    </a:cubicBezTo>
                    <a:cubicBezTo>
                      <a:pt x="184" y="171"/>
                      <a:pt x="168" y="172"/>
                      <a:pt x="162" y="175"/>
                    </a:cubicBezTo>
                    <a:cubicBezTo>
                      <a:pt x="156" y="177"/>
                      <a:pt x="150" y="191"/>
                      <a:pt x="147" y="198"/>
                    </a:cubicBezTo>
                    <a:cubicBezTo>
                      <a:pt x="143" y="205"/>
                      <a:pt x="129" y="207"/>
                      <a:pt x="129" y="207"/>
                    </a:cubicBezTo>
                    <a:cubicBezTo>
                      <a:pt x="115" y="213"/>
                      <a:pt x="115" y="213"/>
                      <a:pt x="115" y="213"/>
                    </a:cubicBezTo>
                    <a:cubicBezTo>
                      <a:pt x="123" y="229"/>
                      <a:pt x="123" y="229"/>
                      <a:pt x="123" y="229"/>
                    </a:cubicBezTo>
                    <a:cubicBezTo>
                      <a:pt x="123" y="229"/>
                      <a:pt x="126" y="252"/>
                      <a:pt x="118" y="254"/>
                    </a:cubicBezTo>
                    <a:cubicBezTo>
                      <a:pt x="110" y="256"/>
                      <a:pt x="116" y="246"/>
                      <a:pt x="115" y="236"/>
                    </a:cubicBezTo>
                    <a:cubicBezTo>
                      <a:pt x="113" y="227"/>
                      <a:pt x="93" y="215"/>
                      <a:pt x="93" y="215"/>
                    </a:cubicBezTo>
                    <a:cubicBezTo>
                      <a:pt x="93" y="215"/>
                      <a:pt x="89" y="221"/>
                      <a:pt x="89" y="228"/>
                    </a:cubicBezTo>
                    <a:cubicBezTo>
                      <a:pt x="89" y="235"/>
                      <a:pt x="102" y="242"/>
                      <a:pt x="102" y="242"/>
                    </a:cubicBezTo>
                    <a:cubicBezTo>
                      <a:pt x="102" y="242"/>
                      <a:pt x="102" y="259"/>
                      <a:pt x="92" y="267"/>
                    </a:cubicBezTo>
                    <a:cubicBezTo>
                      <a:pt x="83" y="275"/>
                      <a:pt x="76" y="265"/>
                      <a:pt x="76" y="265"/>
                    </a:cubicBezTo>
                    <a:cubicBezTo>
                      <a:pt x="66" y="286"/>
                      <a:pt x="66" y="286"/>
                      <a:pt x="66" y="286"/>
                    </a:cubicBezTo>
                    <a:cubicBezTo>
                      <a:pt x="74" y="301"/>
                      <a:pt x="74" y="301"/>
                      <a:pt x="74" y="301"/>
                    </a:cubicBezTo>
                    <a:cubicBezTo>
                      <a:pt x="74" y="308"/>
                      <a:pt x="74" y="308"/>
                      <a:pt x="74" y="308"/>
                    </a:cubicBezTo>
                    <a:cubicBezTo>
                      <a:pt x="74" y="308"/>
                      <a:pt x="81" y="313"/>
                      <a:pt x="87" y="325"/>
                    </a:cubicBezTo>
                    <a:cubicBezTo>
                      <a:pt x="93" y="337"/>
                      <a:pt x="77" y="338"/>
                      <a:pt x="77" y="338"/>
                    </a:cubicBezTo>
                    <a:cubicBezTo>
                      <a:pt x="87" y="353"/>
                      <a:pt x="87" y="353"/>
                      <a:pt x="87" y="353"/>
                    </a:cubicBezTo>
                    <a:cubicBezTo>
                      <a:pt x="92" y="375"/>
                      <a:pt x="92" y="375"/>
                      <a:pt x="92" y="375"/>
                    </a:cubicBezTo>
                    <a:cubicBezTo>
                      <a:pt x="77" y="378"/>
                      <a:pt x="77" y="378"/>
                      <a:pt x="77" y="378"/>
                    </a:cubicBezTo>
                    <a:cubicBezTo>
                      <a:pt x="87" y="391"/>
                      <a:pt x="87" y="391"/>
                      <a:pt x="87" y="391"/>
                    </a:cubicBezTo>
                    <a:cubicBezTo>
                      <a:pt x="87" y="431"/>
                      <a:pt x="87" y="431"/>
                      <a:pt x="87" y="431"/>
                    </a:cubicBezTo>
                    <a:cubicBezTo>
                      <a:pt x="87" y="431"/>
                      <a:pt x="74" y="441"/>
                      <a:pt x="74" y="454"/>
                    </a:cubicBezTo>
                    <a:cubicBezTo>
                      <a:pt x="74" y="467"/>
                      <a:pt x="91" y="467"/>
                      <a:pt x="92" y="482"/>
                    </a:cubicBezTo>
                    <a:cubicBezTo>
                      <a:pt x="93" y="497"/>
                      <a:pt x="65" y="514"/>
                      <a:pt x="65" y="514"/>
                    </a:cubicBezTo>
                    <a:cubicBezTo>
                      <a:pt x="74" y="522"/>
                      <a:pt x="74" y="522"/>
                      <a:pt x="74" y="522"/>
                    </a:cubicBezTo>
                    <a:cubicBezTo>
                      <a:pt x="55" y="539"/>
                      <a:pt x="55" y="539"/>
                      <a:pt x="55" y="539"/>
                    </a:cubicBezTo>
                    <a:cubicBezTo>
                      <a:pt x="55" y="539"/>
                      <a:pt x="34" y="539"/>
                      <a:pt x="26" y="548"/>
                    </a:cubicBezTo>
                    <a:cubicBezTo>
                      <a:pt x="18" y="558"/>
                      <a:pt x="26" y="580"/>
                      <a:pt x="26" y="580"/>
                    </a:cubicBezTo>
                    <a:cubicBezTo>
                      <a:pt x="26" y="580"/>
                      <a:pt x="1" y="572"/>
                      <a:pt x="0" y="586"/>
                    </a:cubicBezTo>
                    <a:cubicBezTo>
                      <a:pt x="0" y="588"/>
                      <a:pt x="0" y="590"/>
                      <a:pt x="0" y="592"/>
                    </a:cubicBezTo>
                    <a:cubicBezTo>
                      <a:pt x="5" y="598"/>
                      <a:pt x="15" y="611"/>
                      <a:pt x="23" y="614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203">
                <a:extLst>
                  <a:ext uri="{FF2B5EF4-FFF2-40B4-BE49-F238E27FC236}">
                    <a16:creationId xmlns:a16="http://schemas.microsoft.com/office/drawing/2014/main" id="{4440394A-A0E6-6B55-9951-7EBB4318B8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3321" y="-7537"/>
                <a:ext cx="961" cy="1068"/>
              </a:xfrm>
              <a:custGeom>
                <a:avLst/>
                <a:gdLst>
                  <a:gd name="T0" fmla="*/ 326 w 407"/>
                  <a:gd name="T1" fmla="*/ 441 h 452"/>
                  <a:gd name="T2" fmla="*/ 333 w 407"/>
                  <a:gd name="T3" fmla="*/ 452 h 452"/>
                  <a:gd name="T4" fmla="*/ 342 w 407"/>
                  <a:gd name="T5" fmla="*/ 435 h 452"/>
                  <a:gd name="T6" fmla="*/ 356 w 407"/>
                  <a:gd name="T7" fmla="*/ 439 h 452"/>
                  <a:gd name="T8" fmla="*/ 369 w 407"/>
                  <a:gd name="T9" fmla="*/ 415 h 452"/>
                  <a:gd name="T10" fmla="*/ 399 w 407"/>
                  <a:gd name="T11" fmla="*/ 390 h 452"/>
                  <a:gd name="T12" fmla="*/ 399 w 407"/>
                  <a:gd name="T13" fmla="*/ 344 h 452"/>
                  <a:gd name="T14" fmla="*/ 396 w 407"/>
                  <a:gd name="T15" fmla="*/ 331 h 452"/>
                  <a:gd name="T16" fmla="*/ 399 w 407"/>
                  <a:gd name="T17" fmla="*/ 311 h 452"/>
                  <a:gd name="T18" fmla="*/ 405 w 407"/>
                  <a:gd name="T19" fmla="*/ 276 h 452"/>
                  <a:gd name="T20" fmla="*/ 388 w 407"/>
                  <a:gd name="T21" fmla="*/ 244 h 452"/>
                  <a:gd name="T22" fmla="*/ 358 w 407"/>
                  <a:gd name="T23" fmla="*/ 254 h 452"/>
                  <a:gd name="T24" fmla="*/ 338 w 407"/>
                  <a:gd name="T25" fmla="*/ 211 h 452"/>
                  <a:gd name="T26" fmla="*/ 333 w 407"/>
                  <a:gd name="T27" fmla="*/ 166 h 452"/>
                  <a:gd name="T28" fmla="*/ 296 w 407"/>
                  <a:gd name="T29" fmla="*/ 161 h 452"/>
                  <a:gd name="T30" fmla="*/ 221 w 407"/>
                  <a:gd name="T31" fmla="*/ 148 h 452"/>
                  <a:gd name="T32" fmla="*/ 220 w 407"/>
                  <a:gd name="T33" fmla="*/ 94 h 452"/>
                  <a:gd name="T34" fmla="*/ 211 w 407"/>
                  <a:gd name="T35" fmla="*/ 86 h 452"/>
                  <a:gd name="T36" fmla="*/ 211 w 407"/>
                  <a:gd name="T37" fmla="*/ 66 h 452"/>
                  <a:gd name="T38" fmla="*/ 200 w 407"/>
                  <a:gd name="T39" fmla="*/ 51 h 452"/>
                  <a:gd name="T40" fmla="*/ 187 w 407"/>
                  <a:gd name="T41" fmla="*/ 28 h 452"/>
                  <a:gd name="T42" fmla="*/ 152 w 407"/>
                  <a:gd name="T43" fmla="*/ 0 h 452"/>
                  <a:gd name="T44" fmla="*/ 99 w 407"/>
                  <a:gd name="T45" fmla="*/ 9 h 452"/>
                  <a:gd name="T46" fmla="*/ 30 w 407"/>
                  <a:gd name="T47" fmla="*/ 21 h 452"/>
                  <a:gd name="T48" fmla="*/ 26 w 407"/>
                  <a:gd name="T49" fmla="*/ 40 h 452"/>
                  <a:gd name="T50" fmla="*/ 7 w 407"/>
                  <a:gd name="T51" fmla="*/ 56 h 452"/>
                  <a:gd name="T52" fmla="*/ 16 w 407"/>
                  <a:gd name="T53" fmla="*/ 89 h 452"/>
                  <a:gd name="T54" fmla="*/ 10 w 407"/>
                  <a:gd name="T55" fmla="*/ 163 h 452"/>
                  <a:gd name="T56" fmla="*/ 23 w 407"/>
                  <a:gd name="T57" fmla="*/ 175 h 452"/>
                  <a:gd name="T58" fmla="*/ 48 w 407"/>
                  <a:gd name="T59" fmla="*/ 209 h 452"/>
                  <a:gd name="T60" fmla="*/ 84 w 407"/>
                  <a:gd name="T61" fmla="*/ 231 h 452"/>
                  <a:gd name="T62" fmla="*/ 88 w 407"/>
                  <a:gd name="T63" fmla="*/ 245 h 452"/>
                  <a:gd name="T64" fmla="*/ 133 w 407"/>
                  <a:gd name="T65" fmla="*/ 261 h 452"/>
                  <a:gd name="T66" fmla="*/ 164 w 407"/>
                  <a:gd name="T67" fmla="*/ 277 h 452"/>
                  <a:gd name="T68" fmla="*/ 220 w 407"/>
                  <a:gd name="T69" fmla="*/ 306 h 452"/>
                  <a:gd name="T70" fmla="*/ 258 w 407"/>
                  <a:gd name="T71" fmla="*/ 322 h 452"/>
                  <a:gd name="T72" fmla="*/ 246 w 407"/>
                  <a:gd name="T73" fmla="*/ 347 h 452"/>
                  <a:gd name="T74" fmla="*/ 255 w 407"/>
                  <a:gd name="T75" fmla="*/ 362 h 452"/>
                  <a:gd name="T76" fmla="*/ 239 w 407"/>
                  <a:gd name="T77" fmla="*/ 369 h 452"/>
                  <a:gd name="T78" fmla="*/ 239 w 407"/>
                  <a:gd name="T79" fmla="*/ 391 h 452"/>
                  <a:gd name="T80" fmla="*/ 224 w 407"/>
                  <a:gd name="T81" fmla="*/ 425 h 452"/>
                  <a:gd name="T82" fmla="*/ 254 w 407"/>
                  <a:gd name="T83" fmla="*/ 425 h 452"/>
                  <a:gd name="T84" fmla="*/ 287 w 407"/>
                  <a:gd name="T85" fmla="*/ 439 h 452"/>
                  <a:gd name="T86" fmla="*/ 326 w 407"/>
                  <a:gd name="T87" fmla="*/ 441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07" h="452">
                    <a:moveTo>
                      <a:pt x="326" y="441"/>
                    </a:moveTo>
                    <a:cubicBezTo>
                      <a:pt x="333" y="452"/>
                      <a:pt x="333" y="452"/>
                      <a:pt x="333" y="452"/>
                    </a:cubicBezTo>
                    <a:cubicBezTo>
                      <a:pt x="333" y="452"/>
                      <a:pt x="333" y="433"/>
                      <a:pt x="342" y="435"/>
                    </a:cubicBezTo>
                    <a:cubicBezTo>
                      <a:pt x="351" y="437"/>
                      <a:pt x="352" y="446"/>
                      <a:pt x="356" y="439"/>
                    </a:cubicBezTo>
                    <a:cubicBezTo>
                      <a:pt x="360" y="432"/>
                      <a:pt x="362" y="415"/>
                      <a:pt x="369" y="415"/>
                    </a:cubicBezTo>
                    <a:cubicBezTo>
                      <a:pt x="376" y="415"/>
                      <a:pt x="397" y="401"/>
                      <a:pt x="399" y="390"/>
                    </a:cubicBezTo>
                    <a:cubicBezTo>
                      <a:pt x="401" y="379"/>
                      <a:pt x="399" y="344"/>
                      <a:pt x="399" y="344"/>
                    </a:cubicBezTo>
                    <a:cubicBezTo>
                      <a:pt x="396" y="331"/>
                      <a:pt x="396" y="331"/>
                      <a:pt x="396" y="331"/>
                    </a:cubicBezTo>
                    <a:cubicBezTo>
                      <a:pt x="396" y="331"/>
                      <a:pt x="397" y="316"/>
                      <a:pt x="399" y="311"/>
                    </a:cubicBezTo>
                    <a:cubicBezTo>
                      <a:pt x="401" y="306"/>
                      <a:pt x="403" y="296"/>
                      <a:pt x="405" y="276"/>
                    </a:cubicBezTo>
                    <a:cubicBezTo>
                      <a:pt x="407" y="256"/>
                      <a:pt x="403" y="248"/>
                      <a:pt x="388" y="244"/>
                    </a:cubicBezTo>
                    <a:cubicBezTo>
                      <a:pt x="373" y="240"/>
                      <a:pt x="369" y="256"/>
                      <a:pt x="358" y="254"/>
                    </a:cubicBezTo>
                    <a:cubicBezTo>
                      <a:pt x="347" y="252"/>
                      <a:pt x="343" y="231"/>
                      <a:pt x="338" y="211"/>
                    </a:cubicBezTo>
                    <a:cubicBezTo>
                      <a:pt x="333" y="191"/>
                      <a:pt x="337" y="174"/>
                      <a:pt x="333" y="166"/>
                    </a:cubicBezTo>
                    <a:cubicBezTo>
                      <a:pt x="329" y="158"/>
                      <a:pt x="311" y="158"/>
                      <a:pt x="296" y="161"/>
                    </a:cubicBezTo>
                    <a:cubicBezTo>
                      <a:pt x="281" y="164"/>
                      <a:pt x="237" y="157"/>
                      <a:pt x="221" y="148"/>
                    </a:cubicBezTo>
                    <a:cubicBezTo>
                      <a:pt x="205" y="139"/>
                      <a:pt x="220" y="103"/>
                      <a:pt x="220" y="94"/>
                    </a:cubicBezTo>
                    <a:cubicBezTo>
                      <a:pt x="220" y="85"/>
                      <a:pt x="215" y="90"/>
                      <a:pt x="211" y="86"/>
                    </a:cubicBezTo>
                    <a:cubicBezTo>
                      <a:pt x="207" y="82"/>
                      <a:pt x="213" y="73"/>
                      <a:pt x="211" y="66"/>
                    </a:cubicBezTo>
                    <a:cubicBezTo>
                      <a:pt x="209" y="59"/>
                      <a:pt x="200" y="57"/>
                      <a:pt x="200" y="51"/>
                    </a:cubicBezTo>
                    <a:cubicBezTo>
                      <a:pt x="187" y="28"/>
                      <a:pt x="187" y="28"/>
                      <a:pt x="187" y="28"/>
                    </a:cubicBezTo>
                    <a:cubicBezTo>
                      <a:pt x="152" y="0"/>
                      <a:pt x="152" y="0"/>
                      <a:pt x="152" y="0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40"/>
                      <a:pt x="14" y="52"/>
                      <a:pt x="7" y="56"/>
                    </a:cubicBezTo>
                    <a:cubicBezTo>
                      <a:pt x="0" y="60"/>
                      <a:pt x="15" y="82"/>
                      <a:pt x="16" y="89"/>
                    </a:cubicBezTo>
                    <a:cubicBezTo>
                      <a:pt x="18" y="95"/>
                      <a:pt x="10" y="163"/>
                      <a:pt x="10" y="163"/>
                    </a:cubicBezTo>
                    <a:cubicBezTo>
                      <a:pt x="23" y="175"/>
                      <a:pt x="23" y="175"/>
                      <a:pt x="23" y="175"/>
                    </a:cubicBezTo>
                    <a:cubicBezTo>
                      <a:pt x="23" y="175"/>
                      <a:pt x="39" y="204"/>
                      <a:pt x="48" y="209"/>
                    </a:cubicBezTo>
                    <a:cubicBezTo>
                      <a:pt x="57" y="214"/>
                      <a:pt x="84" y="231"/>
                      <a:pt x="84" y="231"/>
                    </a:cubicBezTo>
                    <a:cubicBezTo>
                      <a:pt x="88" y="245"/>
                      <a:pt x="88" y="245"/>
                      <a:pt x="88" y="245"/>
                    </a:cubicBezTo>
                    <a:cubicBezTo>
                      <a:pt x="88" y="245"/>
                      <a:pt x="123" y="265"/>
                      <a:pt x="133" y="261"/>
                    </a:cubicBezTo>
                    <a:cubicBezTo>
                      <a:pt x="143" y="257"/>
                      <a:pt x="164" y="277"/>
                      <a:pt x="164" y="277"/>
                    </a:cubicBezTo>
                    <a:cubicBezTo>
                      <a:pt x="164" y="277"/>
                      <a:pt x="214" y="305"/>
                      <a:pt x="220" y="306"/>
                    </a:cubicBezTo>
                    <a:cubicBezTo>
                      <a:pt x="226" y="307"/>
                      <a:pt x="260" y="314"/>
                      <a:pt x="258" y="322"/>
                    </a:cubicBezTo>
                    <a:cubicBezTo>
                      <a:pt x="256" y="330"/>
                      <a:pt x="246" y="347"/>
                      <a:pt x="246" y="347"/>
                    </a:cubicBezTo>
                    <a:cubicBezTo>
                      <a:pt x="246" y="347"/>
                      <a:pt x="259" y="355"/>
                      <a:pt x="255" y="362"/>
                    </a:cubicBezTo>
                    <a:cubicBezTo>
                      <a:pt x="251" y="369"/>
                      <a:pt x="239" y="369"/>
                      <a:pt x="239" y="369"/>
                    </a:cubicBezTo>
                    <a:cubicBezTo>
                      <a:pt x="239" y="391"/>
                      <a:pt x="239" y="391"/>
                      <a:pt x="239" y="391"/>
                    </a:cubicBezTo>
                    <a:cubicBezTo>
                      <a:pt x="239" y="391"/>
                      <a:pt x="219" y="418"/>
                      <a:pt x="224" y="425"/>
                    </a:cubicBezTo>
                    <a:cubicBezTo>
                      <a:pt x="229" y="432"/>
                      <a:pt x="245" y="422"/>
                      <a:pt x="254" y="425"/>
                    </a:cubicBezTo>
                    <a:cubicBezTo>
                      <a:pt x="263" y="428"/>
                      <a:pt x="270" y="435"/>
                      <a:pt x="287" y="439"/>
                    </a:cubicBezTo>
                    <a:cubicBezTo>
                      <a:pt x="304" y="443"/>
                      <a:pt x="326" y="441"/>
                      <a:pt x="326" y="44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204">
                <a:extLst>
                  <a:ext uri="{FF2B5EF4-FFF2-40B4-BE49-F238E27FC236}">
                    <a16:creationId xmlns:a16="http://schemas.microsoft.com/office/drawing/2014/main" id="{E15985FA-5426-8E06-8710-CFCDDA6A13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2645" y="-6162"/>
                <a:ext cx="581" cy="609"/>
              </a:xfrm>
              <a:custGeom>
                <a:avLst/>
                <a:gdLst>
                  <a:gd name="T0" fmla="*/ 92 w 246"/>
                  <a:gd name="T1" fmla="*/ 249 h 258"/>
                  <a:gd name="T2" fmla="*/ 152 w 246"/>
                  <a:gd name="T3" fmla="*/ 253 h 258"/>
                  <a:gd name="T4" fmla="*/ 220 w 246"/>
                  <a:gd name="T5" fmla="*/ 244 h 258"/>
                  <a:gd name="T6" fmla="*/ 243 w 246"/>
                  <a:gd name="T7" fmla="*/ 196 h 258"/>
                  <a:gd name="T8" fmla="*/ 233 w 246"/>
                  <a:gd name="T9" fmla="*/ 197 h 258"/>
                  <a:gd name="T10" fmla="*/ 234 w 246"/>
                  <a:gd name="T11" fmla="*/ 176 h 258"/>
                  <a:gd name="T12" fmla="*/ 227 w 246"/>
                  <a:gd name="T13" fmla="*/ 169 h 258"/>
                  <a:gd name="T14" fmla="*/ 241 w 246"/>
                  <a:gd name="T15" fmla="*/ 140 h 258"/>
                  <a:gd name="T16" fmla="*/ 219 w 246"/>
                  <a:gd name="T17" fmla="*/ 127 h 258"/>
                  <a:gd name="T18" fmla="*/ 201 w 246"/>
                  <a:gd name="T19" fmla="*/ 98 h 258"/>
                  <a:gd name="T20" fmla="*/ 182 w 246"/>
                  <a:gd name="T21" fmla="*/ 95 h 258"/>
                  <a:gd name="T22" fmla="*/ 164 w 246"/>
                  <a:gd name="T23" fmla="*/ 76 h 258"/>
                  <a:gd name="T24" fmla="*/ 152 w 246"/>
                  <a:gd name="T25" fmla="*/ 67 h 258"/>
                  <a:gd name="T26" fmla="*/ 140 w 246"/>
                  <a:gd name="T27" fmla="*/ 65 h 258"/>
                  <a:gd name="T28" fmla="*/ 116 w 246"/>
                  <a:gd name="T29" fmla="*/ 43 h 258"/>
                  <a:gd name="T30" fmla="*/ 101 w 246"/>
                  <a:gd name="T31" fmla="*/ 54 h 258"/>
                  <a:gd name="T32" fmla="*/ 85 w 246"/>
                  <a:gd name="T33" fmla="*/ 31 h 258"/>
                  <a:gd name="T34" fmla="*/ 48 w 246"/>
                  <a:gd name="T35" fmla="*/ 2 h 258"/>
                  <a:gd name="T36" fmla="*/ 30 w 246"/>
                  <a:gd name="T37" fmla="*/ 10 h 258"/>
                  <a:gd name="T38" fmla="*/ 14 w 246"/>
                  <a:gd name="T39" fmla="*/ 9 h 258"/>
                  <a:gd name="T40" fmla="*/ 0 w 246"/>
                  <a:gd name="T41" fmla="*/ 24 h 258"/>
                  <a:gd name="T42" fmla="*/ 21 w 246"/>
                  <a:gd name="T43" fmla="*/ 41 h 258"/>
                  <a:gd name="T44" fmla="*/ 3 w 246"/>
                  <a:gd name="T45" fmla="*/ 48 h 258"/>
                  <a:gd name="T46" fmla="*/ 3 w 246"/>
                  <a:gd name="T47" fmla="*/ 75 h 258"/>
                  <a:gd name="T48" fmla="*/ 20 w 246"/>
                  <a:gd name="T49" fmla="*/ 85 h 258"/>
                  <a:gd name="T50" fmla="*/ 2 w 246"/>
                  <a:gd name="T51" fmla="*/ 93 h 258"/>
                  <a:gd name="T52" fmla="*/ 16 w 246"/>
                  <a:gd name="T53" fmla="*/ 114 h 258"/>
                  <a:gd name="T54" fmla="*/ 9 w 246"/>
                  <a:gd name="T55" fmla="*/ 124 h 258"/>
                  <a:gd name="T56" fmla="*/ 28 w 246"/>
                  <a:gd name="T57" fmla="*/ 152 h 258"/>
                  <a:gd name="T58" fmla="*/ 4 w 246"/>
                  <a:gd name="T59" fmla="*/ 158 h 258"/>
                  <a:gd name="T60" fmla="*/ 4 w 246"/>
                  <a:gd name="T61" fmla="*/ 190 h 258"/>
                  <a:gd name="T62" fmla="*/ 24 w 246"/>
                  <a:gd name="T63" fmla="*/ 215 h 258"/>
                  <a:gd name="T64" fmla="*/ 51 w 246"/>
                  <a:gd name="T65" fmla="*/ 234 h 258"/>
                  <a:gd name="T66" fmla="*/ 58 w 246"/>
                  <a:gd name="T67" fmla="*/ 238 h 258"/>
                  <a:gd name="T68" fmla="*/ 85 w 246"/>
                  <a:gd name="T69" fmla="*/ 238 h 258"/>
                  <a:gd name="T70" fmla="*/ 92 w 246"/>
                  <a:gd name="T71" fmla="*/ 249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46" h="258">
                    <a:moveTo>
                      <a:pt x="92" y="249"/>
                    </a:moveTo>
                    <a:cubicBezTo>
                      <a:pt x="92" y="249"/>
                      <a:pt x="119" y="248"/>
                      <a:pt x="152" y="253"/>
                    </a:cubicBezTo>
                    <a:cubicBezTo>
                      <a:pt x="185" y="258"/>
                      <a:pt x="204" y="257"/>
                      <a:pt x="220" y="244"/>
                    </a:cubicBezTo>
                    <a:cubicBezTo>
                      <a:pt x="234" y="233"/>
                      <a:pt x="241" y="203"/>
                      <a:pt x="243" y="196"/>
                    </a:cubicBezTo>
                    <a:cubicBezTo>
                      <a:pt x="233" y="197"/>
                      <a:pt x="233" y="197"/>
                      <a:pt x="233" y="197"/>
                    </a:cubicBezTo>
                    <a:cubicBezTo>
                      <a:pt x="234" y="176"/>
                      <a:pt x="234" y="176"/>
                      <a:pt x="234" y="176"/>
                    </a:cubicBezTo>
                    <a:cubicBezTo>
                      <a:pt x="234" y="176"/>
                      <a:pt x="228" y="176"/>
                      <a:pt x="227" y="169"/>
                    </a:cubicBezTo>
                    <a:cubicBezTo>
                      <a:pt x="226" y="162"/>
                      <a:pt x="236" y="149"/>
                      <a:pt x="241" y="140"/>
                    </a:cubicBezTo>
                    <a:cubicBezTo>
                      <a:pt x="246" y="131"/>
                      <a:pt x="227" y="132"/>
                      <a:pt x="219" y="127"/>
                    </a:cubicBezTo>
                    <a:cubicBezTo>
                      <a:pt x="211" y="122"/>
                      <a:pt x="201" y="98"/>
                      <a:pt x="201" y="98"/>
                    </a:cubicBezTo>
                    <a:cubicBezTo>
                      <a:pt x="201" y="98"/>
                      <a:pt x="194" y="99"/>
                      <a:pt x="182" y="95"/>
                    </a:cubicBezTo>
                    <a:cubicBezTo>
                      <a:pt x="170" y="91"/>
                      <a:pt x="168" y="78"/>
                      <a:pt x="164" y="76"/>
                    </a:cubicBezTo>
                    <a:cubicBezTo>
                      <a:pt x="160" y="74"/>
                      <a:pt x="152" y="67"/>
                      <a:pt x="152" y="67"/>
                    </a:cubicBezTo>
                    <a:cubicBezTo>
                      <a:pt x="152" y="67"/>
                      <a:pt x="145" y="68"/>
                      <a:pt x="140" y="65"/>
                    </a:cubicBezTo>
                    <a:cubicBezTo>
                      <a:pt x="135" y="62"/>
                      <a:pt x="126" y="46"/>
                      <a:pt x="116" y="43"/>
                    </a:cubicBezTo>
                    <a:cubicBezTo>
                      <a:pt x="106" y="40"/>
                      <a:pt x="107" y="54"/>
                      <a:pt x="101" y="54"/>
                    </a:cubicBezTo>
                    <a:cubicBezTo>
                      <a:pt x="95" y="54"/>
                      <a:pt x="85" y="31"/>
                      <a:pt x="85" y="31"/>
                    </a:cubicBezTo>
                    <a:cubicBezTo>
                      <a:pt x="85" y="31"/>
                      <a:pt x="60" y="4"/>
                      <a:pt x="48" y="2"/>
                    </a:cubicBezTo>
                    <a:cubicBezTo>
                      <a:pt x="36" y="0"/>
                      <a:pt x="30" y="10"/>
                      <a:pt x="30" y="10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4" y="9"/>
                      <a:pt x="0" y="20"/>
                      <a:pt x="0" y="24"/>
                    </a:cubicBezTo>
                    <a:cubicBezTo>
                      <a:pt x="0" y="28"/>
                      <a:pt x="21" y="41"/>
                      <a:pt x="21" y="41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3" y="75"/>
                      <a:pt x="3" y="75"/>
                      <a:pt x="3" y="75"/>
                    </a:cubicBezTo>
                    <a:cubicBezTo>
                      <a:pt x="20" y="85"/>
                      <a:pt x="20" y="85"/>
                      <a:pt x="20" y="85"/>
                    </a:cubicBezTo>
                    <a:cubicBezTo>
                      <a:pt x="20" y="85"/>
                      <a:pt x="1" y="84"/>
                      <a:pt x="2" y="93"/>
                    </a:cubicBezTo>
                    <a:cubicBezTo>
                      <a:pt x="3" y="102"/>
                      <a:pt x="16" y="114"/>
                      <a:pt x="16" y="114"/>
                    </a:cubicBezTo>
                    <a:cubicBezTo>
                      <a:pt x="9" y="124"/>
                      <a:pt x="9" y="124"/>
                      <a:pt x="9" y="124"/>
                    </a:cubicBezTo>
                    <a:cubicBezTo>
                      <a:pt x="9" y="124"/>
                      <a:pt x="29" y="147"/>
                      <a:pt x="28" y="152"/>
                    </a:cubicBezTo>
                    <a:cubicBezTo>
                      <a:pt x="27" y="157"/>
                      <a:pt x="4" y="158"/>
                      <a:pt x="4" y="158"/>
                    </a:cubicBezTo>
                    <a:cubicBezTo>
                      <a:pt x="4" y="190"/>
                      <a:pt x="4" y="190"/>
                      <a:pt x="4" y="190"/>
                    </a:cubicBezTo>
                    <a:cubicBezTo>
                      <a:pt x="24" y="215"/>
                      <a:pt x="24" y="215"/>
                      <a:pt x="24" y="215"/>
                    </a:cubicBezTo>
                    <a:cubicBezTo>
                      <a:pt x="32" y="209"/>
                      <a:pt x="46" y="227"/>
                      <a:pt x="51" y="234"/>
                    </a:cubicBezTo>
                    <a:cubicBezTo>
                      <a:pt x="58" y="238"/>
                      <a:pt x="58" y="238"/>
                      <a:pt x="58" y="238"/>
                    </a:cubicBezTo>
                    <a:cubicBezTo>
                      <a:pt x="85" y="238"/>
                      <a:pt x="85" y="238"/>
                      <a:pt x="85" y="238"/>
                    </a:cubicBezTo>
                    <a:lnTo>
                      <a:pt x="92" y="24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205">
                <a:extLst>
                  <a:ext uri="{FF2B5EF4-FFF2-40B4-BE49-F238E27FC236}">
                    <a16:creationId xmlns:a16="http://schemas.microsoft.com/office/drawing/2014/main" id="{2E1404AA-4A09-AC3F-3A7F-6F293149844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3982" y="-7209"/>
                <a:ext cx="1729" cy="3846"/>
              </a:xfrm>
              <a:custGeom>
                <a:avLst/>
                <a:gdLst>
                  <a:gd name="T0" fmla="*/ 659 w 732"/>
                  <a:gd name="T1" fmla="*/ 333 h 1628"/>
                  <a:gd name="T2" fmla="*/ 726 w 732"/>
                  <a:gd name="T3" fmla="*/ 284 h 1628"/>
                  <a:gd name="T4" fmla="*/ 679 w 732"/>
                  <a:gd name="T5" fmla="*/ 205 h 1628"/>
                  <a:gd name="T6" fmla="*/ 622 w 732"/>
                  <a:gd name="T7" fmla="*/ 296 h 1628"/>
                  <a:gd name="T8" fmla="*/ 534 w 732"/>
                  <a:gd name="T9" fmla="*/ 286 h 1628"/>
                  <a:gd name="T10" fmla="*/ 535 w 732"/>
                  <a:gd name="T11" fmla="*/ 223 h 1628"/>
                  <a:gd name="T12" fmla="*/ 444 w 732"/>
                  <a:gd name="T13" fmla="*/ 138 h 1628"/>
                  <a:gd name="T14" fmla="*/ 328 w 732"/>
                  <a:gd name="T15" fmla="*/ 70 h 1628"/>
                  <a:gd name="T16" fmla="*/ 216 w 732"/>
                  <a:gd name="T17" fmla="*/ 13 h 1628"/>
                  <a:gd name="T18" fmla="*/ 115 w 732"/>
                  <a:gd name="T19" fmla="*/ 0 h 1628"/>
                  <a:gd name="T20" fmla="*/ 81 w 732"/>
                  <a:gd name="T21" fmla="*/ 32 h 1628"/>
                  <a:gd name="T22" fmla="*/ 82 w 732"/>
                  <a:gd name="T23" fmla="*/ 63 h 1628"/>
                  <a:gd name="T24" fmla="*/ 27 w 732"/>
                  <a:gd name="T25" fmla="*/ 199 h 1628"/>
                  <a:gd name="T26" fmla="*/ 35 w 732"/>
                  <a:gd name="T27" fmla="*/ 280 h 1628"/>
                  <a:gd name="T28" fmla="*/ 2 w 732"/>
                  <a:gd name="T29" fmla="*/ 401 h 1628"/>
                  <a:gd name="T30" fmla="*/ 0 w 732"/>
                  <a:gd name="T31" fmla="*/ 500 h 1628"/>
                  <a:gd name="T32" fmla="*/ 32 w 732"/>
                  <a:gd name="T33" fmla="*/ 564 h 1628"/>
                  <a:gd name="T34" fmla="*/ 63 w 732"/>
                  <a:gd name="T35" fmla="*/ 614 h 1628"/>
                  <a:gd name="T36" fmla="*/ 64 w 732"/>
                  <a:gd name="T37" fmla="*/ 724 h 1628"/>
                  <a:gd name="T38" fmla="*/ 68 w 732"/>
                  <a:gd name="T39" fmla="*/ 786 h 1628"/>
                  <a:gd name="T40" fmla="*/ 83 w 732"/>
                  <a:gd name="T41" fmla="*/ 872 h 1628"/>
                  <a:gd name="T42" fmla="*/ 87 w 732"/>
                  <a:gd name="T43" fmla="*/ 944 h 1628"/>
                  <a:gd name="T44" fmla="*/ 95 w 732"/>
                  <a:gd name="T45" fmla="*/ 990 h 1628"/>
                  <a:gd name="T46" fmla="*/ 129 w 732"/>
                  <a:gd name="T47" fmla="*/ 1082 h 1628"/>
                  <a:gd name="T48" fmla="*/ 143 w 732"/>
                  <a:gd name="T49" fmla="*/ 1145 h 1628"/>
                  <a:gd name="T50" fmla="*/ 170 w 732"/>
                  <a:gd name="T51" fmla="*/ 1213 h 1628"/>
                  <a:gd name="T52" fmla="*/ 205 w 732"/>
                  <a:gd name="T53" fmla="*/ 1257 h 1628"/>
                  <a:gd name="T54" fmla="*/ 217 w 732"/>
                  <a:gd name="T55" fmla="*/ 1321 h 1628"/>
                  <a:gd name="T56" fmla="*/ 210 w 732"/>
                  <a:gd name="T57" fmla="*/ 1394 h 1628"/>
                  <a:gd name="T58" fmla="*/ 214 w 732"/>
                  <a:gd name="T59" fmla="*/ 1450 h 1628"/>
                  <a:gd name="T60" fmla="*/ 216 w 732"/>
                  <a:gd name="T61" fmla="*/ 1513 h 1628"/>
                  <a:gd name="T62" fmla="*/ 290 w 732"/>
                  <a:gd name="T63" fmla="*/ 1562 h 1628"/>
                  <a:gd name="T64" fmla="*/ 347 w 732"/>
                  <a:gd name="T65" fmla="*/ 1612 h 1628"/>
                  <a:gd name="T66" fmla="*/ 437 w 732"/>
                  <a:gd name="T67" fmla="*/ 1628 h 1628"/>
                  <a:gd name="T68" fmla="*/ 438 w 732"/>
                  <a:gd name="T69" fmla="*/ 1589 h 1628"/>
                  <a:gd name="T70" fmla="*/ 409 w 732"/>
                  <a:gd name="T71" fmla="*/ 1534 h 1628"/>
                  <a:gd name="T72" fmla="*/ 412 w 732"/>
                  <a:gd name="T73" fmla="*/ 1501 h 1628"/>
                  <a:gd name="T74" fmla="*/ 441 w 732"/>
                  <a:gd name="T75" fmla="*/ 1451 h 1628"/>
                  <a:gd name="T76" fmla="*/ 476 w 732"/>
                  <a:gd name="T77" fmla="*/ 1359 h 1628"/>
                  <a:gd name="T78" fmla="*/ 379 w 732"/>
                  <a:gd name="T79" fmla="*/ 1301 h 1628"/>
                  <a:gd name="T80" fmla="*/ 407 w 732"/>
                  <a:gd name="T81" fmla="*/ 1240 h 1628"/>
                  <a:gd name="T82" fmla="*/ 443 w 732"/>
                  <a:gd name="T83" fmla="*/ 1217 h 1628"/>
                  <a:gd name="T84" fmla="*/ 456 w 732"/>
                  <a:gd name="T85" fmla="*/ 1130 h 1628"/>
                  <a:gd name="T86" fmla="*/ 486 w 732"/>
                  <a:gd name="T87" fmla="*/ 1113 h 1628"/>
                  <a:gd name="T88" fmla="*/ 404 w 732"/>
                  <a:gd name="T89" fmla="*/ 1089 h 1628"/>
                  <a:gd name="T90" fmla="*/ 465 w 732"/>
                  <a:gd name="T91" fmla="*/ 1039 h 1628"/>
                  <a:gd name="T92" fmla="*/ 501 w 732"/>
                  <a:gd name="T93" fmla="*/ 948 h 1628"/>
                  <a:gd name="T94" fmla="*/ 494 w 732"/>
                  <a:gd name="T95" fmla="*/ 934 h 1628"/>
                  <a:gd name="T96" fmla="*/ 554 w 732"/>
                  <a:gd name="T97" fmla="*/ 920 h 1628"/>
                  <a:gd name="T98" fmla="*/ 688 w 732"/>
                  <a:gd name="T99" fmla="*/ 847 h 1628"/>
                  <a:gd name="T100" fmla="*/ 667 w 732"/>
                  <a:gd name="T101" fmla="*/ 766 h 1628"/>
                  <a:gd name="T102" fmla="*/ 601 w 732"/>
                  <a:gd name="T103" fmla="*/ 696 h 1628"/>
                  <a:gd name="T104" fmla="*/ 570 w 732"/>
                  <a:gd name="T105" fmla="*/ 601 h 1628"/>
                  <a:gd name="T106" fmla="*/ 568 w 732"/>
                  <a:gd name="T107" fmla="*/ 536 h 1628"/>
                  <a:gd name="T108" fmla="*/ 587 w 732"/>
                  <a:gd name="T109" fmla="*/ 484 h 1628"/>
                  <a:gd name="T110" fmla="*/ 604 w 732"/>
                  <a:gd name="T111" fmla="*/ 419 h 1628"/>
                  <a:gd name="T112" fmla="*/ 619 w 732"/>
                  <a:gd name="T113" fmla="*/ 681 h 1628"/>
                  <a:gd name="T114" fmla="*/ 619 w 732"/>
                  <a:gd name="T115" fmla="*/ 681 h 1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32" h="1628">
                    <a:moveTo>
                      <a:pt x="634" y="355"/>
                    </a:moveTo>
                    <a:cubicBezTo>
                      <a:pt x="650" y="351"/>
                      <a:pt x="650" y="351"/>
                      <a:pt x="650" y="351"/>
                    </a:cubicBezTo>
                    <a:cubicBezTo>
                      <a:pt x="653" y="335"/>
                      <a:pt x="653" y="335"/>
                      <a:pt x="653" y="335"/>
                    </a:cubicBezTo>
                    <a:cubicBezTo>
                      <a:pt x="659" y="333"/>
                      <a:pt x="659" y="333"/>
                      <a:pt x="659" y="333"/>
                    </a:cubicBezTo>
                    <a:cubicBezTo>
                      <a:pt x="660" y="322"/>
                      <a:pt x="660" y="322"/>
                      <a:pt x="660" y="322"/>
                    </a:cubicBezTo>
                    <a:cubicBezTo>
                      <a:pt x="681" y="320"/>
                      <a:pt x="681" y="320"/>
                      <a:pt x="681" y="320"/>
                    </a:cubicBezTo>
                    <a:cubicBezTo>
                      <a:pt x="681" y="320"/>
                      <a:pt x="681" y="302"/>
                      <a:pt x="692" y="297"/>
                    </a:cubicBezTo>
                    <a:cubicBezTo>
                      <a:pt x="703" y="292"/>
                      <a:pt x="720" y="290"/>
                      <a:pt x="726" y="284"/>
                    </a:cubicBezTo>
                    <a:cubicBezTo>
                      <a:pt x="732" y="278"/>
                      <a:pt x="724" y="240"/>
                      <a:pt x="724" y="231"/>
                    </a:cubicBezTo>
                    <a:cubicBezTo>
                      <a:pt x="724" y="222"/>
                      <a:pt x="713" y="223"/>
                      <a:pt x="713" y="223"/>
                    </a:cubicBezTo>
                    <a:cubicBezTo>
                      <a:pt x="713" y="223"/>
                      <a:pt x="709" y="202"/>
                      <a:pt x="702" y="198"/>
                    </a:cubicBezTo>
                    <a:cubicBezTo>
                      <a:pt x="695" y="194"/>
                      <a:pt x="679" y="205"/>
                      <a:pt x="679" y="205"/>
                    </a:cubicBezTo>
                    <a:cubicBezTo>
                      <a:pt x="679" y="205"/>
                      <a:pt x="681" y="240"/>
                      <a:pt x="679" y="251"/>
                    </a:cubicBezTo>
                    <a:cubicBezTo>
                      <a:pt x="677" y="262"/>
                      <a:pt x="656" y="276"/>
                      <a:pt x="649" y="276"/>
                    </a:cubicBezTo>
                    <a:cubicBezTo>
                      <a:pt x="642" y="276"/>
                      <a:pt x="640" y="293"/>
                      <a:pt x="636" y="300"/>
                    </a:cubicBezTo>
                    <a:cubicBezTo>
                      <a:pt x="632" y="307"/>
                      <a:pt x="631" y="298"/>
                      <a:pt x="622" y="296"/>
                    </a:cubicBezTo>
                    <a:cubicBezTo>
                      <a:pt x="613" y="294"/>
                      <a:pt x="613" y="313"/>
                      <a:pt x="613" y="313"/>
                    </a:cubicBezTo>
                    <a:cubicBezTo>
                      <a:pt x="606" y="302"/>
                      <a:pt x="606" y="302"/>
                      <a:pt x="606" y="302"/>
                    </a:cubicBezTo>
                    <a:cubicBezTo>
                      <a:pt x="606" y="302"/>
                      <a:pt x="584" y="304"/>
                      <a:pt x="567" y="300"/>
                    </a:cubicBezTo>
                    <a:cubicBezTo>
                      <a:pt x="550" y="296"/>
                      <a:pt x="543" y="289"/>
                      <a:pt x="534" y="286"/>
                    </a:cubicBezTo>
                    <a:cubicBezTo>
                      <a:pt x="525" y="283"/>
                      <a:pt x="509" y="293"/>
                      <a:pt x="504" y="286"/>
                    </a:cubicBezTo>
                    <a:cubicBezTo>
                      <a:pt x="499" y="279"/>
                      <a:pt x="519" y="252"/>
                      <a:pt x="519" y="252"/>
                    </a:cubicBezTo>
                    <a:cubicBezTo>
                      <a:pt x="519" y="230"/>
                      <a:pt x="519" y="230"/>
                      <a:pt x="519" y="230"/>
                    </a:cubicBezTo>
                    <a:cubicBezTo>
                      <a:pt x="519" y="230"/>
                      <a:pt x="531" y="230"/>
                      <a:pt x="535" y="223"/>
                    </a:cubicBezTo>
                    <a:cubicBezTo>
                      <a:pt x="539" y="216"/>
                      <a:pt x="526" y="208"/>
                      <a:pt x="526" y="208"/>
                    </a:cubicBezTo>
                    <a:cubicBezTo>
                      <a:pt x="526" y="208"/>
                      <a:pt x="536" y="191"/>
                      <a:pt x="538" y="183"/>
                    </a:cubicBezTo>
                    <a:cubicBezTo>
                      <a:pt x="540" y="175"/>
                      <a:pt x="506" y="168"/>
                      <a:pt x="500" y="167"/>
                    </a:cubicBezTo>
                    <a:cubicBezTo>
                      <a:pt x="494" y="166"/>
                      <a:pt x="444" y="138"/>
                      <a:pt x="444" y="138"/>
                    </a:cubicBezTo>
                    <a:cubicBezTo>
                      <a:pt x="444" y="138"/>
                      <a:pt x="423" y="118"/>
                      <a:pt x="413" y="122"/>
                    </a:cubicBezTo>
                    <a:cubicBezTo>
                      <a:pt x="403" y="126"/>
                      <a:pt x="368" y="106"/>
                      <a:pt x="368" y="106"/>
                    </a:cubicBezTo>
                    <a:cubicBezTo>
                      <a:pt x="364" y="92"/>
                      <a:pt x="364" y="92"/>
                      <a:pt x="364" y="92"/>
                    </a:cubicBezTo>
                    <a:cubicBezTo>
                      <a:pt x="364" y="92"/>
                      <a:pt x="337" y="75"/>
                      <a:pt x="328" y="70"/>
                    </a:cubicBezTo>
                    <a:cubicBezTo>
                      <a:pt x="319" y="65"/>
                      <a:pt x="303" y="36"/>
                      <a:pt x="303" y="36"/>
                    </a:cubicBezTo>
                    <a:cubicBezTo>
                      <a:pt x="290" y="24"/>
                      <a:pt x="290" y="24"/>
                      <a:pt x="290" y="24"/>
                    </a:cubicBezTo>
                    <a:cubicBezTo>
                      <a:pt x="267" y="7"/>
                      <a:pt x="267" y="7"/>
                      <a:pt x="267" y="7"/>
                    </a:cubicBezTo>
                    <a:cubicBezTo>
                      <a:pt x="216" y="13"/>
                      <a:pt x="216" y="13"/>
                      <a:pt x="216" y="13"/>
                    </a:cubicBezTo>
                    <a:cubicBezTo>
                      <a:pt x="211" y="50"/>
                      <a:pt x="211" y="50"/>
                      <a:pt x="211" y="50"/>
                    </a:cubicBezTo>
                    <a:cubicBezTo>
                      <a:pt x="189" y="16"/>
                      <a:pt x="189" y="16"/>
                      <a:pt x="189" y="16"/>
                    </a:cubicBezTo>
                    <a:cubicBezTo>
                      <a:pt x="189" y="16"/>
                      <a:pt x="147" y="17"/>
                      <a:pt x="134" y="13"/>
                    </a:cubicBezTo>
                    <a:cubicBezTo>
                      <a:pt x="120" y="9"/>
                      <a:pt x="115" y="0"/>
                      <a:pt x="115" y="0"/>
                    </a:cubicBezTo>
                    <a:cubicBezTo>
                      <a:pt x="107" y="17"/>
                      <a:pt x="107" y="17"/>
                      <a:pt x="107" y="17"/>
                    </a:cubicBezTo>
                    <a:cubicBezTo>
                      <a:pt x="92" y="20"/>
                      <a:pt x="92" y="20"/>
                      <a:pt x="92" y="20"/>
                    </a:cubicBezTo>
                    <a:cubicBezTo>
                      <a:pt x="92" y="34"/>
                      <a:pt x="92" y="34"/>
                      <a:pt x="92" y="34"/>
                    </a:cubicBezTo>
                    <a:cubicBezTo>
                      <a:pt x="81" y="32"/>
                      <a:pt x="81" y="32"/>
                      <a:pt x="81" y="32"/>
                    </a:cubicBezTo>
                    <a:cubicBezTo>
                      <a:pt x="81" y="51"/>
                      <a:pt x="81" y="51"/>
                      <a:pt x="81" y="51"/>
                    </a:cubicBezTo>
                    <a:cubicBezTo>
                      <a:pt x="81" y="51"/>
                      <a:pt x="78" y="52"/>
                      <a:pt x="74" y="52"/>
                    </a:cubicBezTo>
                    <a:cubicBezTo>
                      <a:pt x="74" y="52"/>
                      <a:pt x="75" y="52"/>
                      <a:pt x="75" y="52"/>
                    </a:cubicBezTo>
                    <a:cubicBezTo>
                      <a:pt x="82" y="63"/>
                      <a:pt x="82" y="63"/>
                      <a:pt x="82" y="63"/>
                    </a:cubicBezTo>
                    <a:cubicBezTo>
                      <a:pt x="76" y="119"/>
                      <a:pt x="76" y="119"/>
                      <a:pt x="76" y="119"/>
                    </a:cubicBezTo>
                    <a:cubicBezTo>
                      <a:pt x="76" y="119"/>
                      <a:pt x="21" y="143"/>
                      <a:pt x="22" y="157"/>
                    </a:cubicBezTo>
                    <a:cubicBezTo>
                      <a:pt x="23" y="171"/>
                      <a:pt x="50" y="165"/>
                      <a:pt x="41" y="174"/>
                    </a:cubicBezTo>
                    <a:cubicBezTo>
                      <a:pt x="32" y="183"/>
                      <a:pt x="22" y="192"/>
                      <a:pt x="27" y="199"/>
                    </a:cubicBezTo>
                    <a:cubicBezTo>
                      <a:pt x="32" y="206"/>
                      <a:pt x="51" y="214"/>
                      <a:pt x="50" y="224"/>
                    </a:cubicBezTo>
                    <a:cubicBezTo>
                      <a:pt x="49" y="234"/>
                      <a:pt x="32" y="246"/>
                      <a:pt x="32" y="246"/>
                    </a:cubicBezTo>
                    <a:cubicBezTo>
                      <a:pt x="32" y="246"/>
                      <a:pt x="63" y="257"/>
                      <a:pt x="60" y="268"/>
                    </a:cubicBezTo>
                    <a:cubicBezTo>
                      <a:pt x="57" y="279"/>
                      <a:pt x="35" y="280"/>
                      <a:pt x="35" y="280"/>
                    </a:cubicBezTo>
                    <a:cubicBezTo>
                      <a:pt x="35" y="280"/>
                      <a:pt x="29" y="318"/>
                      <a:pt x="28" y="323"/>
                    </a:cubicBezTo>
                    <a:cubicBezTo>
                      <a:pt x="27" y="328"/>
                      <a:pt x="9" y="336"/>
                      <a:pt x="9" y="346"/>
                    </a:cubicBezTo>
                    <a:cubicBezTo>
                      <a:pt x="9" y="356"/>
                      <a:pt x="14" y="381"/>
                      <a:pt x="12" y="385"/>
                    </a:cubicBezTo>
                    <a:cubicBezTo>
                      <a:pt x="10" y="389"/>
                      <a:pt x="1" y="397"/>
                      <a:pt x="2" y="401"/>
                    </a:cubicBezTo>
                    <a:cubicBezTo>
                      <a:pt x="3" y="405"/>
                      <a:pt x="26" y="450"/>
                      <a:pt x="21" y="455"/>
                    </a:cubicBezTo>
                    <a:cubicBezTo>
                      <a:pt x="16" y="460"/>
                      <a:pt x="7" y="455"/>
                      <a:pt x="7" y="455"/>
                    </a:cubicBezTo>
                    <a:cubicBezTo>
                      <a:pt x="10" y="494"/>
                      <a:pt x="10" y="494"/>
                      <a:pt x="10" y="494"/>
                    </a:cubicBezTo>
                    <a:cubicBezTo>
                      <a:pt x="10" y="494"/>
                      <a:pt x="0" y="495"/>
                      <a:pt x="0" y="500"/>
                    </a:cubicBezTo>
                    <a:cubicBezTo>
                      <a:pt x="0" y="505"/>
                      <a:pt x="2" y="522"/>
                      <a:pt x="2" y="522"/>
                    </a:cubicBezTo>
                    <a:cubicBezTo>
                      <a:pt x="2" y="522"/>
                      <a:pt x="25" y="537"/>
                      <a:pt x="23" y="541"/>
                    </a:cubicBezTo>
                    <a:cubicBezTo>
                      <a:pt x="21" y="545"/>
                      <a:pt x="19" y="554"/>
                      <a:pt x="19" y="554"/>
                    </a:cubicBezTo>
                    <a:cubicBezTo>
                      <a:pt x="32" y="564"/>
                      <a:pt x="32" y="564"/>
                      <a:pt x="32" y="564"/>
                    </a:cubicBezTo>
                    <a:cubicBezTo>
                      <a:pt x="40" y="585"/>
                      <a:pt x="40" y="585"/>
                      <a:pt x="40" y="585"/>
                    </a:cubicBezTo>
                    <a:cubicBezTo>
                      <a:pt x="43" y="591"/>
                      <a:pt x="43" y="591"/>
                      <a:pt x="43" y="591"/>
                    </a:cubicBezTo>
                    <a:cubicBezTo>
                      <a:pt x="43" y="591"/>
                      <a:pt x="35" y="610"/>
                      <a:pt x="47" y="613"/>
                    </a:cubicBezTo>
                    <a:cubicBezTo>
                      <a:pt x="59" y="616"/>
                      <a:pt x="63" y="614"/>
                      <a:pt x="63" y="614"/>
                    </a:cubicBezTo>
                    <a:cubicBezTo>
                      <a:pt x="65" y="639"/>
                      <a:pt x="65" y="639"/>
                      <a:pt x="65" y="639"/>
                    </a:cubicBezTo>
                    <a:cubicBezTo>
                      <a:pt x="65" y="639"/>
                      <a:pt x="80" y="658"/>
                      <a:pt x="77" y="664"/>
                    </a:cubicBezTo>
                    <a:cubicBezTo>
                      <a:pt x="74" y="670"/>
                      <a:pt x="65" y="677"/>
                      <a:pt x="65" y="681"/>
                    </a:cubicBezTo>
                    <a:cubicBezTo>
                      <a:pt x="65" y="685"/>
                      <a:pt x="64" y="724"/>
                      <a:pt x="64" y="724"/>
                    </a:cubicBezTo>
                    <a:cubicBezTo>
                      <a:pt x="55" y="725"/>
                      <a:pt x="55" y="725"/>
                      <a:pt x="55" y="725"/>
                    </a:cubicBezTo>
                    <a:cubicBezTo>
                      <a:pt x="55" y="725"/>
                      <a:pt x="72" y="743"/>
                      <a:pt x="73" y="753"/>
                    </a:cubicBezTo>
                    <a:cubicBezTo>
                      <a:pt x="74" y="763"/>
                      <a:pt x="70" y="774"/>
                      <a:pt x="70" y="774"/>
                    </a:cubicBezTo>
                    <a:cubicBezTo>
                      <a:pt x="68" y="786"/>
                      <a:pt x="68" y="786"/>
                      <a:pt x="68" y="786"/>
                    </a:cubicBezTo>
                    <a:cubicBezTo>
                      <a:pt x="51" y="787"/>
                      <a:pt x="51" y="787"/>
                      <a:pt x="51" y="787"/>
                    </a:cubicBezTo>
                    <a:cubicBezTo>
                      <a:pt x="51" y="787"/>
                      <a:pt x="63" y="820"/>
                      <a:pt x="63" y="827"/>
                    </a:cubicBezTo>
                    <a:cubicBezTo>
                      <a:pt x="63" y="834"/>
                      <a:pt x="63" y="855"/>
                      <a:pt x="63" y="855"/>
                    </a:cubicBezTo>
                    <a:cubicBezTo>
                      <a:pt x="83" y="872"/>
                      <a:pt x="83" y="872"/>
                      <a:pt x="83" y="872"/>
                    </a:cubicBezTo>
                    <a:cubicBezTo>
                      <a:pt x="84" y="884"/>
                      <a:pt x="84" y="884"/>
                      <a:pt x="84" y="884"/>
                    </a:cubicBezTo>
                    <a:cubicBezTo>
                      <a:pt x="84" y="884"/>
                      <a:pt x="103" y="893"/>
                      <a:pt x="98" y="902"/>
                    </a:cubicBezTo>
                    <a:cubicBezTo>
                      <a:pt x="93" y="911"/>
                      <a:pt x="79" y="916"/>
                      <a:pt x="79" y="916"/>
                    </a:cubicBezTo>
                    <a:cubicBezTo>
                      <a:pt x="87" y="944"/>
                      <a:pt x="87" y="944"/>
                      <a:pt x="87" y="944"/>
                    </a:cubicBezTo>
                    <a:cubicBezTo>
                      <a:pt x="74" y="953"/>
                      <a:pt x="74" y="953"/>
                      <a:pt x="74" y="953"/>
                    </a:cubicBezTo>
                    <a:cubicBezTo>
                      <a:pt x="74" y="953"/>
                      <a:pt x="84" y="958"/>
                      <a:pt x="85" y="966"/>
                    </a:cubicBezTo>
                    <a:cubicBezTo>
                      <a:pt x="86" y="974"/>
                      <a:pt x="81" y="982"/>
                      <a:pt x="81" y="982"/>
                    </a:cubicBezTo>
                    <a:cubicBezTo>
                      <a:pt x="95" y="990"/>
                      <a:pt x="95" y="990"/>
                      <a:pt x="95" y="990"/>
                    </a:cubicBezTo>
                    <a:cubicBezTo>
                      <a:pt x="95" y="990"/>
                      <a:pt x="90" y="1008"/>
                      <a:pt x="91" y="1014"/>
                    </a:cubicBezTo>
                    <a:cubicBezTo>
                      <a:pt x="92" y="1020"/>
                      <a:pt x="99" y="1031"/>
                      <a:pt x="99" y="1031"/>
                    </a:cubicBezTo>
                    <a:cubicBezTo>
                      <a:pt x="99" y="1031"/>
                      <a:pt x="99" y="1050"/>
                      <a:pt x="102" y="1056"/>
                    </a:cubicBezTo>
                    <a:cubicBezTo>
                      <a:pt x="105" y="1062"/>
                      <a:pt x="134" y="1083"/>
                      <a:pt x="129" y="1082"/>
                    </a:cubicBezTo>
                    <a:cubicBezTo>
                      <a:pt x="124" y="1081"/>
                      <a:pt x="113" y="1090"/>
                      <a:pt x="113" y="1090"/>
                    </a:cubicBezTo>
                    <a:cubicBezTo>
                      <a:pt x="113" y="1090"/>
                      <a:pt x="118" y="1120"/>
                      <a:pt x="121" y="1128"/>
                    </a:cubicBezTo>
                    <a:cubicBezTo>
                      <a:pt x="124" y="1136"/>
                      <a:pt x="133" y="1140"/>
                      <a:pt x="133" y="1140"/>
                    </a:cubicBezTo>
                    <a:cubicBezTo>
                      <a:pt x="143" y="1145"/>
                      <a:pt x="143" y="1145"/>
                      <a:pt x="143" y="1145"/>
                    </a:cubicBezTo>
                    <a:cubicBezTo>
                      <a:pt x="139" y="1163"/>
                      <a:pt x="139" y="1163"/>
                      <a:pt x="139" y="1163"/>
                    </a:cubicBezTo>
                    <a:cubicBezTo>
                      <a:pt x="139" y="1163"/>
                      <a:pt x="155" y="1164"/>
                      <a:pt x="156" y="1175"/>
                    </a:cubicBezTo>
                    <a:cubicBezTo>
                      <a:pt x="157" y="1186"/>
                      <a:pt x="158" y="1203"/>
                      <a:pt x="158" y="1203"/>
                    </a:cubicBezTo>
                    <a:cubicBezTo>
                      <a:pt x="158" y="1203"/>
                      <a:pt x="163" y="1213"/>
                      <a:pt x="170" y="1213"/>
                    </a:cubicBezTo>
                    <a:cubicBezTo>
                      <a:pt x="177" y="1213"/>
                      <a:pt x="196" y="1208"/>
                      <a:pt x="194" y="1219"/>
                    </a:cubicBezTo>
                    <a:cubicBezTo>
                      <a:pt x="192" y="1230"/>
                      <a:pt x="160" y="1227"/>
                      <a:pt x="161" y="1230"/>
                    </a:cubicBezTo>
                    <a:cubicBezTo>
                      <a:pt x="162" y="1233"/>
                      <a:pt x="185" y="1240"/>
                      <a:pt x="185" y="1240"/>
                    </a:cubicBezTo>
                    <a:cubicBezTo>
                      <a:pt x="185" y="1240"/>
                      <a:pt x="208" y="1249"/>
                      <a:pt x="205" y="1257"/>
                    </a:cubicBezTo>
                    <a:cubicBezTo>
                      <a:pt x="202" y="1265"/>
                      <a:pt x="189" y="1276"/>
                      <a:pt x="189" y="1276"/>
                    </a:cubicBezTo>
                    <a:cubicBezTo>
                      <a:pt x="205" y="1288"/>
                      <a:pt x="205" y="1288"/>
                      <a:pt x="205" y="1288"/>
                    </a:cubicBezTo>
                    <a:cubicBezTo>
                      <a:pt x="202" y="1303"/>
                      <a:pt x="202" y="1303"/>
                      <a:pt x="202" y="1303"/>
                    </a:cubicBezTo>
                    <a:cubicBezTo>
                      <a:pt x="217" y="1321"/>
                      <a:pt x="217" y="1321"/>
                      <a:pt x="217" y="1321"/>
                    </a:cubicBezTo>
                    <a:cubicBezTo>
                      <a:pt x="214" y="1343"/>
                      <a:pt x="214" y="1343"/>
                      <a:pt x="214" y="1343"/>
                    </a:cubicBezTo>
                    <a:cubicBezTo>
                      <a:pt x="224" y="1360"/>
                      <a:pt x="224" y="1360"/>
                      <a:pt x="224" y="1360"/>
                    </a:cubicBezTo>
                    <a:cubicBezTo>
                      <a:pt x="213" y="1364"/>
                      <a:pt x="213" y="1364"/>
                      <a:pt x="213" y="1364"/>
                    </a:cubicBezTo>
                    <a:cubicBezTo>
                      <a:pt x="210" y="1394"/>
                      <a:pt x="210" y="1394"/>
                      <a:pt x="210" y="1394"/>
                    </a:cubicBezTo>
                    <a:cubicBezTo>
                      <a:pt x="210" y="1394"/>
                      <a:pt x="229" y="1405"/>
                      <a:pt x="230" y="1408"/>
                    </a:cubicBezTo>
                    <a:cubicBezTo>
                      <a:pt x="231" y="1411"/>
                      <a:pt x="215" y="1420"/>
                      <a:pt x="215" y="1420"/>
                    </a:cubicBezTo>
                    <a:cubicBezTo>
                      <a:pt x="215" y="1420"/>
                      <a:pt x="235" y="1435"/>
                      <a:pt x="232" y="1440"/>
                    </a:cubicBezTo>
                    <a:cubicBezTo>
                      <a:pt x="229" y="1445"/>
                      <a:pt x="214" y="1450"/>
                      <a:pt x="214" y="1450"/>
                    </a:cubicBezTo>
                    <a:cubicBezTo>
                      <a:pt x="213" y="1463"/>
                      <a:pt x="213" y="1463"/>
                      <a:pt x="213" y="1463"/>
                    </a:cubicBezTo>
                    <a:cubicBezTo>
                      <a:pt x="206" y="1467"/>
                      <a:pt x="206" y="1467"/>
                      <a:pt x="206" y="1467"/>
                    </a:cubicBezTo>
                    <a:cubicBezTo>
                      <a:pt x="206" y="1467"/>
                      <a:pt x="208" y="1483"/>
                      <a:pt x="213" y="1488"/>
                    </a:cubicBezTo>
                    <a:cubicBezTo>
                      <a:pt x="218" y="1493"/>
                      <a:pt x="216" y="1513"/>
                      <a:pt x="216" y="1513"/>
                    </a:cubicBezTo>
                    <a:cubicBezTo>
                      <a:pt x="236" y="1517"/>
                      <a:pt x="236" y="1517"/>
                      <a:pt x="236" y="1517"/>
                    </a:cubicBezTo>
                    <a:cubicBezTo>
                      <a:pt x="236" y="1517"/>
                      <a:pt x="240" y="1542"/>
                      <a:pt x="250" y="1542"/>
                    </a:cubicBezTo>
                    <a:cubicBezTo>
                      <a:pt x="260" y="1542"/>
                      <a:pt x="266" y="1524"/>
                      <a:pt x="281" y="1537"/>
                    </a:cubicBezTo>
                    <a:cubicBezTo>
                      <a:pt x="296" y="1550"/>
                      <a:pt x="290" y="1562"/>
                      <a:pt x="290" y="1562"/>
                    </a:cubicBezTo>
                    <a:cubicBezTo>
                      <a:pt x="304" y="1578"/>
                      <a:pt x="304" y="1578"/>
                      <a:pt x="304" y="1578"/>
                    </a:cubicBezTo>
                    <a:cubicBezTo>
                      <a:pt x="311" y="1589"/>
                      <a:pt x="311" y="1589"/>
                      <a:pt x="311" y="1589"/>
                    </a:cubicBezTo>
                    <a:cubicBezTo>
                      <a:pt x="335" y="1600"/>
                      <a:pt x="335" y="1600"/>
                      <a:pt x="335" y="1600"/>
                    </a:cubicBezTo>
                    <a:cubicBezTo>
                      <a:pt x="347" y="1612"/>
                      <a:pt x="347" y="1612"/>
                      <a:pt x="347" y="1612"/>
                    </a:cubicBezTo>
                    <a:cubicBezTo>
                      <a:pt x="347" y="1612"/>
                      <a:pt x="373" y="1605"/>
                      <a:pt x="389" y="1607"/>
                    </a:cubicBezTo>
                    <a:cubicBezTo>
                      <a:pt x="405" y="1609"/>
                      <a:pt x="425" y="1608"/>
                      <a:pt x="425" y="1608"/>
                    </a:cubicBezTo>
                    <a:cubicBezTo>
                      <a:pt x="440" y="1620"/>
                      <a:pt x="440" y="1620"/>
                      <a:pt x="440" y="1620"/>
                    </a:cubicBezTo>
                    <a:cubicBezTo>
                      <a:pt x="437" y="1628"/>
                      <a:pt x="437" y="1628"/>
                      <a:pt x="437" y="1628"/>
                    </a:cubicBezTo>
                    <a:cubicBezTo>
                      <a:pt x="442" y="1616"/>
                      <a:pt x="442" y="1616"/>
                      <a:pt x="442" y="1616"/>
                    </a:cubicBezTo>
                    <a:cubicBezTo>
                      <a:pt x="449" y="1606"/>
                      <a:pt x="478" y="1625"/>
                      <a:pt x="478" y="1625"/>
                    </a:cubicBezTo>
                    <a:cubicBezTo>
                      <a:pt x="451" y="1588"/>
                      <a:pt x="451" y="1588"/>
                      <a:pt x="451" y="1588"/>
                    </a:cubicBezTo>
                    <a:cubicBezTo>
                      <a:pt x="438" y="1589"/>
                      <a:pt x="438" y="1589"/>
                      <a:pt x="438" y="1589"/>
                    </a:cubicBezTo>
                    <a:cubicBezTo>
                      <a:pt x="441" y="1579"/>
                      <a:pt x="441" y="1579"/>
                      <a:pt x="441" y="1579"/>
                    </a:cubicBezTo>
                    <a:cubicBezTo>
                      <a:pt x="417" y="1562"/>
                      <a:pt x="417" y="1562"/>
                      <a:pt x="417" y="1562"/>
                    </a:cubicBezTo>
                    <a:cubicBezTo>
                      <a:pt x="418" y="1538"/>
                      <a:pt x="418" y="1538"/>
                      <a:pt x="418" y="1538"/>
                    </a:cubicBezTo>
                    <a:cubicBezTo>
                      <a:pt x="409" y="1534"/>
                      <a:pt x="409" y="1534"/>
                      <a:pt x="409" y="1534"/>
                    </a:cubicBezTo>
                    <a:cubicBezTo>
                      <a:pt x="414" y="1522"/>
                      <a:pt x="414" y="1522"/>
                      <a:pt x="414" y="1522"/>
                    </a:cubicBezTo>
                    <a:cubicBezTo>
                      <a:pt x="414" y="1522"/>
                      <a:pt x="423" y="1522"/>
                      <a:pt x="426" y="1514"/>
                    </a:cubicBezTo>
                    <a:cubicBezTo>
                      <a:pt x="430" y="1506"/>
                      <a:pt x="400" y="1506"/>
                      <a:pt x="400" y="1506"/>
                    </a:cubicBezTo>
                    <a:cubicBezTo>
                      <a:pt x="412" y="1501"/>
                      <a:pt x="412" y="1501"/>
                      <a:pt x="412" y="1501"/>
                    </a:cubicBezTo>
                    <a:cubicBezTo>
                      <a:pt x="408" y="1488"/>
                      <a:pt x="408" y="1488"/>
                      <a:pt x="408" y="1488"/>
                    </a:cubicBezTo>
                    <a:cubicBezTo>
                      <a:pt x="424" y="1505"/>
                      <a:pt x="424" y="1505"/>
                      <a:pt x="424" y="1505"/>
                    </a:cubicBezTo>
                    <a:cubicBezTo>
                      <a:pt x="424" y="1505"/>
                      <a:pt x="438" y="1515"/>
                      <a:pt x="448" y="1503"/>
                    </a:cubicBezTo>
                    <a:cubicBezTo>
                      <a:pt x="458" y="1491"/>
                      <a:pt x="440" y="1465"/>
                      <a:pt x="441" y="1451"/>
                    </a:cubicBezTo>
                    <a:cubicBezTo>
                      <a:pt x="442" y="1438"/>
                      <a:pt x="485" y="1409"/>
                      <a:pt x="488" y="1400"/>
                    </a:cubicBezTo>
                    <a:cubicBezTo>
                      <a:pt x="492" y="1391"/>
                      <a:pt x="467" y="1391"/>
                      <a:pt x="467" y="1391"/>
                    </a:cubicBezTo>
                    <a:cubicBezTo>
                      <a:pt x="483" y="1389"/>
                      <a:pt x="483" y="1389"/>
                      <a:pt x="483" y="1389"/>
                    </a:cubicBezTo>
                    <a:cubicBezTo>
                      <a:pt x="483" y="1389"/>
                      <a:pt x="484" y="1369"/>
                      <a:pt x="476" y="1359"/>
                    </a:cubicBezTo>
                    <a:cubicBezTo>
                      <a:pt x="468" y="1349"/>
                      <a:pt x="456" y="1354"/>
                      <a:pt x="456" y="1354"/>
                    </a:cubicBezTo>
                    <a:cubicBezTo>
                      <a:pt x="444" y="1345"/>
                      <a:pt x="444" y="1345"/>
                      <a:pt x="444" y="1345"/>
                    </a:cubicBezTo>
                    <a:cubicBezTo>
                      <a:pt x="431" y="1345"/>
                      <a:pt x="431" y="1345"/>
                      <a:pt x="431" y="1345"/>
                    </a:cubicBezTo>
                    <a:cubicBezTo>
                      <a:pt x="431" y="1345"/>
                      <a:pt x="391" y="1328"/>
                      <a:pt x="379" y="1301"/>
                    </a:cubicBezTo>
                    <a:cubicBezTo>
                      <a:pt x="366" y="1274"/>
                      <a:pt x="386" y="1269"/>
                      <a:pt x="386" y="1269"/>
                    </a:cubicBezTo>
                    <a:cubicBezTo>
                      <a:pt x="392" y="1252"/>
                      <a:pt x="392" y="1252"/>
                      <a:pt x="392" y="1252"/>
                    </a:cubicBezTo>
                    <a:cubicBezTo>
                      <a:pt x="401" y="1252"/>
                      <a:pt x="401" y="1252"/>
                      <a:pt x="401" y="1252"/>
                    </a:cubicBezTo>
                    <a:cubicBezTo>
                      <a:pt x="407" y="1240"/>
                      <a:pt x="407" y="1240"/>
                      <a:pt x="407" y="1240"/>
                    </a:cubicBezTo>
                    <a:cubicBezTo>
                      <a:pt x="443" y="1239"/>
                      <a:pt x="443" y="1239"/>
                      <a:pt x="443" y="1239"/>
                    </a:cubicBezTo>
                    <a:cubicBezTo>
                      <a:pt x="435" y="1232"/>
                      <a:pt x="435" y="1232"/>
                      <a:pt x="435" y="1232"/>
                    </a:cubicBezTo>
                    <a:cubicBezTo>
                      <a:pt x="434" y="1218"/>
                      <a:pt x="434" y="1218"/>
                      <a:pt x="434" y="1218"/>
                    </a:cubicBezTo>
                    <a:cubicBezTo>
                      <a:pt x="443" y="1217"/>
                      <a:pt x="443" y="1217"/>
                      <a:pt x="443" y="1217"/>
                    </a:cubicBezTo>
                    <a:cubicBezTo>
                      <a:pt x="443" y="1217"/>
                      <a:pt x="448" y="1198"/>
                      <a:pt x="440" y="1191"/>
                    </a:cubicBezTo>
                    <a:cubicBezTo>
                      <a:pt x="432" y="1184"/>
                      <a:pt x="423" y="1168"/>
                      <a:pt x="430" y="1152"/>
                    </a:cubicBezTo>
                    <a:cubicBezTo>
                      <a:pt x="436" y="1137"/>
                      <a:pt x="456" y="1137"/>
                      <a:pt x="456" y="1137"/>
                    </a:cubicBezTo>
                    <a:cubicBezTo>
                      <a:pt x="456" y="1130"/>
                      <a:pt x="456" y="1130"/>
                      <a:pt x="456" y="1130"/>
                    </a:cubicBezTo>
                    <a:cubicBezTo>
                      <a:pt x="456" y="1130"/>
                      <a:pt x="439" y="1130"/>
                      <a:pt x="431" y="1125"/>
                    </a:cubicBezTo>
                    <a:cubicBezTo>
                      <a:pt x="423" y="1121"/>
                      <a:pt x="432" y="1112"/>
                      <a:pt x="440" y="1111"/>
                    </a:cubicBezTo>
                    <a:cubicBezTo>
                      <a:pt x="448" y="1110"/>
                      <a:pt x="462" y="1127"/>
                      <a:pt x="469" y="1127"/>
                    </a:cubicBezTo>
                    <a:cubicBezTo>
                      <a:pt x="476" y="1127"/>
                      <a:pt x="485" y="1123"/>
                      <a:pt x="486" y="1113"/>
                    </a:cubicBezTo>
                    <a:cubicBezTo>
                      <a:pt x="487" y="1103"/>
                      <a:pt x="474" y="1080"/>
                      <a:pt x="461" y="1085"/>
                    </a:cubicBezTo>
                    <a:cubicBezTo>
                      <a:pt x="449" y="1089"/>
                      <a:pt x="468" y="1099"/>
                      <a:pt x="456" y="1105"/>
                    </a:cubicBezTo>
                    <a:cubicBezTo>
                      <a:pt x="443" y="1111"/>
                      <a:pt x="431" y="1094"/>
                      <a:pt x="431" y="1094"/>
                    </a:cubicBezTo>
                    <a:cubicBezTo>
                      <a:pt x="431" y="1094"/>
                      <a:pt x="407" y="1096"/>
                      <a:pt x="404" y="1089"/>
                    </a:cubicBezTo>
                    <a:cubicBezTo>
                      <a:pt x="400" y="1083"/>
                      <a:pt x="404" y="1055"/>
                      <a:pt x="404" y="1052"/>
                    </a:cubicBezTo>
                    <a:cubicBezTo>
                      <a:pt x="404" y="1049"/>
                      <a:pt x="387" y="1032"/>
                      <a:pt x="391" y="1017"/>
                    </a:cubicBezTo>
                    <a:cubicBezTo>
                      <a:pt x="396" y="1003"/>
                      <a:pt x="409" y="1019"/>
                      <a:pt x="424" y="1023"/>
                    </a:cubicBezTo>
                    <a:cubicBezTo>
                      <a:pt x="439" y="1026"/>
                      <a:pt x="456" y="1039"/>
                      <a:pt x="465" y="1039"/>
                    </a:cubicBezTo>
                    <a:cubicBezTo>
                      <a:pt x="474" y="1039"/>
                      <a:pt x="507" y="1021"/>
                      <a:pt x="515" y="1015"/>
                    </a:cubicBezTo>
                    <a:cubicBezTo>
                      <a:pt x="523" y="1009"/>
                      <a:pt x="490" y="991"/>
                      <a:pt x="490" y="991"/>
                    </a:cubicBezTo>
                    <a:cubicBezTo>
                      <a:pt x="489" y="975"/>
                      <a:pt x="489" y="975"/>
                      <a:pt x="489" y="975"/>
                    </a:cubicBezTo>
                    <a:cubicBezTo>
                      <a:pt x="489" y="975"/>
                      <a:pt x="498" y="959"/>
                      <a:pt x="501" y="948"/>
                    </a:cubicBezTo>
                    <a:cubicBezTo>
                      <a:pt x="503" y="938"/>
                      <a:pt x="480" y="938"/>
                      <a:pt x="480" y="938"/>
                    </a:cubicBezTo>
                    <a:cubicBezTo>
                      <a:pt x="478" y="924"/>
                      <a:pt x="478" y="924"/>
                      <a:pt x="478" y="924"/>
                    </a:cubicBezTo>
                    <a:cubicBezTo>
                      <a:pt x="478" y="924"/>
                      <a:pt x="470" y="915"/>
                      <a:pt x="477" y="907"/>
                    </a:cubicBezTo>
                    <a:cubicBezTo>
                      <a:pt x="484" y="899"/>
                      <a:pt x="494" y="934"/>
                      <a:pt x="494" y="934"/>
                    </a:cubicBezTo>
                    <a:cubicBezTo>
                      <a:pt x="502" y="933"/>
                      <a:pt x="502" y="933"/>
                      <a:pt x="502" y="933"/>
                    </a:cubicBezTo>
                    <a:cubicBezTo>
                      <a:pt x="497" y="919"/>
                      <a:pt x="497" y="919"/>
                      <a:pt x="497" y="919"/>
                    </a:cubicBezTo>
                    <a:cubicBezTo>
                      <a:pt x="551" y="926"/>
                      <a:pt x="551" y="926"/>
                      <a:pt x="551" y="926"/>
                    </a:cubicBezTo>
                    <a:cubicBezTo>
                      <a:pt x="554" y="920"/>
                      <a:pt x="554" y="920"/>
                      <a:pt x="554" y="920"/>
                    </a:cubicBezTo>
                    <a:cubicBezTo>
                      <a:pt x="554" y="920"/>
                      <a:pt x="567" y="912"/>
                      <a:pt x="595" y="909"/>
                    </a:cubicBezTo>
                    <a:cubicBezTo>
                      <a:pt x="624" y="906"/>
                      <a:pt x="676" y="881"/>
                      <a:pt x="676" y="881"/>
                    </a:cubicBezTo>
                    <a:cubicBezTo>
                      <a:pt x="673" y="855"/>
                      <a:pt x="673" y="855"/>
                      <a:pt x="673" y="855"/>
                    </a:cubicBezTo>
                    <a:cubicBezTo>
                      <a:pt x="688" y="847"/>
                      <a:pt x="688" y="847"/>
                      <a:pt x="688" y="847"/>
                    </a:cubicBezTo>
                    <a:cubicBezTo>
                      <a:pt x="696" y="814"/>
                      <a:pt x="696" y="814"/>
                      <a:pt x="696" y="814"/>
                    </a:cubicBezTo>
                    <a:cubicBezTo>
                      <a:pt x="689" y="797"/>
                      <a:pt x="689" y="797"/>
                      <a:pt x="689" y="797"/>
                    </a:cubicBezTo>
                    <a:cubicBezTo>
                      <a:pt x="689" y="779"/>
                      <a:pt x="689" y="779"/>
                      <a:pt x="689" y="779"/>
                    </a:cubicBezTo>
                    <a:cubicBezTo>
                      <a:pt x="689" y="779"/>
                      <a:pt x="678" y="770"/>
                      <a:pt x="667" y="766"/>
                    </a:cubicBezTo>
                    <a:cubicBezTo>
                      <a:pt x="661" y="764"/>
                      <a:pt x="654" y="769"/>
                      <a:pt x="649" y="765"/>
                    </a:cubicBezTo>
                    <a:cubicBezTo>
                      <a:pt x="641" y="759"/>
                      <a:pt x="655" y="753"/>
                      <a:pt x="658" y="748"/>
                    </a:cubicBezTo>
                    <a:cubicBezTo>
                      <a:pt x="662" y="741"/>
                      <a:pt x="657" y="735"/>
                      <a:pt x="657" y="727"/>
                    </a:cubicBezTo>
                    <a:cubicBezTo>
                      <a:pt x="657" y="712"/>
                      <a:pt x="624" y="707"/>
                      <a:pt x="601" y="696"/>
                    </a:cubicBezTo>
                    <a:cubicBezTo>
                      <a:pt x="578" y="685"/>
                      <a:pt x="578" y="674"/>
                      <a:pt x="588" y="660"/>
                    </a:cubicBezTo>
                    <a:cubicBezTo>
                      <a:pt x="589" y="659"/>
                      <a:pt x="589" y="658"/>
                      <a:pt x="590" y="658"/>
                    </a:cubicBezTo>
                    <a:cubicBezTo>
                      <a:pt x="570" y="633"/>
                      <a:pt x="570" y="633"/>
                      <a:pt x="570" y="633"/>
                    </a:cubicBezTo>
                    <a:cubicBezTo>
                      <a:pt x="570" y="601"/>
                      <a:pt x="570" y="601"/>
                      <a:pt x="570" y="601"/>
                    </a:cubicBezTo>
                    <a:cubicBezTo>
                      <a:pt x="570" y="601"/>
                      <a:pt x="593" y="600"/>
                      <a:pt x="594" y="595"/>
                    </a:cubicBezTo>
                    <a:cubicBezTo>
                      <a:pt x="595" y="590"/>
                      <a:pt x="575" y="567"/>
                      <a:pt x="575" y="567"/>
                    </a:cubicBezTo>
                    <a:cubicBezTo>
                      <a:pt x="582" y="557"/>
                      <a:pt x="582" y="557"/>
                      <a:pt x="582" y="557"/>
                    </a:cubicBezTo>
                    <a:cubicBezTo>
                      <a:pt x="582" y="557"/>
                      <a:pt x="569" y="545"/>
                      <a:pt x="568" y="536"/>
                    </a:cubicBezTo>
                    <a:cubicBezTo>
                      <a:pt x="567" y="527"/>
                      <a:pt x="586" y="528"/>
                      <a:pt x="586" y="528"/>
                    </a:cubicBezTo>
                    <a:cubicBezTo>
                      <a:pt x="569" y="518"/>
                      <a:pt x="569" y="518"/>
                      <a:pt x="569" y="518"/>
                    </a:cubicBezTo>
                    <a:cubicBezTo>
                      <a:pt x="569" y="491"/>
                      <a:pt x="569" y="491"/>
                      <a:pt x="569" y="491"/>
                    </a:cubicBezTo>
                    <a:cubicBezTo>
                      <a:pt x="587" y="484"/>
                      <a:pt x="587" y="484"/>
                      <a:pt x="587" y="484"/>
                    </a:cubicBezTo>
                    <a:cubicBezTo>
                      <a:pt x="587" y="484"/>
                      <a:pt x="566" y="471"/>
                      <a:pt x="566" y="467"/>
                    </a:cubicBezTo>
                    <a:cubicBezTo>
                      <a:pt x="566" y="463"/>
                      <a:pt x="580" y="452"/>
                      <a:pt x="580" y="452"/>
                    </a:cubicBezTo>
                    <a:cubicBezTo>
                      <a:pt x="580" y="452"/>
                      <a:pt x="584" y="435"/>
                      <a:pt x="584" y="429"/>
                    </a:cubicBezTo>
                    <a:cubicBezTo>
                      <a:pt x="584" y="423"/>
                      <a:pt x="599" y="424"/>
                      <a:pt x="604" y="419"/>
                    </a:cubicBezTo>
                    <a:cubicBezTo>
                      <a:pt x="609" y="414"/>
                      <a:pt x="612" y="399"/>
                      <a:pt x="612" y="396"/>
                    </a:cubicBezTo>
                    <a:cubicBezTo>
                      <a:pt x="612" y="393"/>
                      <a:pt x="621" y="388"/>
                      <a:pt x="626" y="383"/>
                    </a:cubicBezTo>
                    <a:cubicBezTo>
                      <a:pt x="631" y="378"/>
                      <a:pt x="634" y="355"/>
                      <a:pt x="634" y="355"/>
                    </a:cubicBezTo>
                    <a:close/>
                    <a:moveTo>
                      <a:pt x="619" y="681"/>
                    </a:moveTo>
                    <a:cubicBezTo>
                      <a:pt x="624" y="681"/>
                      <a:pt x="624" y="681"/>
                      <a:pt x="624" y="681"/>
                    </a:cubicBezTo>
                    <a:cubicBezTo>
                      <a:pt x="617" y="677"/>
                      <a:pt x="617" y="677"/>
                      <a:pt x="617" y="677"/>
                    </a:cubicBezTo>
                    <a:cubicBezTo>
                      <a:pt x="617" y="677"/>
                      <a:pt x="617" y="677"/>
                      <a:pt x="617" y="677"/>
                    </a:cubicBezTo>
                    <a:cubicBezTo>
                      <a:pt x="618" y="679"/>
                      <a:pt x="619" y="681"/>
                      <a:pt x="619" y="68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206">
                <a:extLst>
                  <a:ext uri="{FF2B5EF4-FFF2-40B4-BE49-F238E27FC236}">
                    <a16:creationId xmlns:a16="http://schemas.microsoft.com/office/drawing/2014/main" id="{15C578B6-E548-4986-5745-68D60D6F0F5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5560" y="-10185"/>
                <a:ext cx="661" cy="834"/>
              </a:xfrm>
              <a:custGeom>
                <a:avLst/>
                <a:gdLst>
                  <a:gd name="T0" fmla="*/ 42 w 280"/>
                  <a:gd name="T1" fmla="*/ 249 h 353"/>
                  <a:gd name="T2" fmla="*/ 49 w 280"/>
                  <a:gd name="T3" fmla="*/ 229 h 353"/>
                  <a:gd name="T4" fmla="*/ 42 w 280"/>
                  <a:gd name="T5" fmla="*/ 249 h 353"/>
                  <a:gd name="T6" fmla="*/ 277 w 280"/>
                  <a:gd name="T7" fmla="*/ 114 h 353"/>
                  <a:gd name="T8" fmla="*/ 261 w 280"/>
                  <a:gd name="T9" fmla="*/ 102 h 353"/>
                  <a:gd name="T10" fmla="*/ 271 w 280"/>
                  <a:gd name="T11" fmla="*/ 84 h 353"/>
                  <a:gd name="T12" fmla="*/ 252 w 280"/>
                  <a:gd name="T13" fmla="*/ 83 h 353"/>
                  <a:gd name="T14" fmla="*/ 230 w 280"/>
                  <a:gd name="T15" fmla="*/ 61 h 353"/>
                  <a:gd name="T16" fmla="*/ 218 w 280"/>
                  <a:gd name="T17" fmla="*/ 73 h 353"/>
                  <a:gd name="T18" fmla="*/ 195 w 280"/>
                  <a:gd name="T19" fmla="*/ 65 h 353"/>
                  <a:gd name="T20" fmla="*/ 175 w 280"/>
                  <a:gd name="T21" fmla="*/ 64 h 353"/>
                  <a:gd name="T22" fmla="*/ 163 w 280"/>
                  <a:gd name="T23" fmla="*/ 43 h 353"/>
                  <a:gd name="T24" fmla="*/ 140 w 280"/>
                  <a:gd name="T25" fmla="*/ 40 h 353"/>
                  <a:gd name="T26" fmla="*/ 121 w 280"/>
                  <a:gd name="T27" fmla="*/ 22 h 353"/>
                  <a:gd name="T28" fmla="*/ 98 w 280"/>
                  <a:gd name="T29" fmla="*/ 0 h 353"/>
                  <a:gd name="T30" fmla="*/ 101 w 280"/>
                  <a:gd name="T31" fmla="*/ 23 h 353"/>
                  <a:gd name="T32" fmla="*/ 68 w 280"/>
                  <a:gd name="T33" fmla="*/ 37 h 353"/>
                  <a:gd name="T34" fmla="*/ 66 w 280"/>
                  <a:gd name="T35" fmla="*/ 27 h 353"/>
                  <a:gd name="T36" fmla="*/ 44 w 280"/>
                  <a:gd name="T37" fmla="*/ 46 h 353"/>
                  <a:gd name="T38" fmla="*/ 49 w 280"/>
                  <a:gd name="T39" fmla="*/ 77 h 353"/>
                  <a:gd name="T40" fmla="*/ 31 w 280"/>
                  <a:gd name="T41" fmla="*/ 97 h 353"/>
                  <a:gd name="T42" fmla="*/ 39 w 280"/>
                  <a:gd name="T43" fmla="*/ 119 h 353"/>
                  <a:gd name="T44" fmla="*/ 27 w 280"/>
                  <a:gd name="T45" fmla="*/ 119 h 353"/>
                  <a:gd name="T46" fmla="*/ 26 w 280"/>
                  <a:gd name="T47" fmla="*/ 130 h 353"/>
                  <a:gd name="T48" fmla="*/ 3 w 280"/>
                  <a:gd name="T49" fmla="*/ 144 h 353"/>
                  <a:gd name="T50" fmla="*/ 19 w 280"/>
                  <a:gd name="T51" fmla="*/ 154 h 353"/>
                  <a:gd name="T52" fmla="*/ 8 w 280"/>
                  <a:gd name="T53" fmla="*/ 173 h 353"/>
                  <a:gd name="T54" fmla="*/ 18 w 280"/>
                  <a:gd name="T55" fmla="*/ 187 h 353"/>
                  <a:gd name="T56" fmla="*/ 3 w 280"/>
                  <a:gd name="T57" fmla="*/ 201 h 353"/>
                  <a:gd name="T58" fmla="*/ 12 w 280"/>
                  <a:gd name="T59" fmla="*/ 207 h 353"/>
                  <a:gd name="T60" fmla="*/ 22 w 280"/>
                  <a:gd name="T61" fmla="*/ 228 h 353"/>
                  <a:gd name="T62" fmla="*/ 48 w 280"/>
                  <a:gd name="T63" fmla="*/ 214 h 353"/>
                  <a:gd name="T64" fmla="*/ 65 w 280"/>
                  <a:gd name="T65" fmla="*/ 219 h 353"/>
                  <a:gd name="T66" fmla="*/ 61 w 280"/>
                  <a:gd name="T67" fmla="*/ 258 h 353"/>
                  <a:gd name="T68" fmla="*/ 36 w 280"/>
                  <a:gd name="T69" fmla="*/ 271 h 353"/>
                  <a:gd name="T70" fmla="*/ 51 w 280"/>
                  <a:gd name="T71" fmla="*/ 286 h 353"/>
                  <a:gd name="T72" fmla="*/ 30 w 280"/>
                  <a:gd name="T73" fmla="*/ 307 h 353"/>
                  <a:gd name="T74" fmla="*/ 40 w 280"/>
                  <a:gd name="T75" fmla="*/ 315 h 353"/>
                  <a:gd name="T76" fmla="*/ 33 w 280"/>
                  <a:gd name="T77" fmla="*/ 329 h 353"/>
                  <a:gd name="T78" fmla="*/ 53 w 280"/>
                  <a:gd name="T79" fmla="*/ 315 h 353"/>
                  <a:gd name="T80" fmla="*/ 62 w 280"/>
                  <a:gd name="T81" fmla="*/ 326 h 353"/>
                  <a:gd name="T82" fmla="*/ 81 w 280"/>
                  <a:gd name="T83" fmla="*/ 324 h 353"/>
                  <a:gd name="T84" fmla="*/ 96 w 280"/>
                  <a:gd name="T85" fmla="*/ 353 h 353"/>
                  <a:gd name="T86" fmla="*/ 108 w 280"/>
                  <a:gd name="T87" fmla="*/ 339 h 353"/>
                  <a:gd name="T88" fmla="*/ 121 w 280"/>
                  <a:gd name="T89" fmla="*/ 335 h 353"/>
                  <a:gd name="T90" fmla="*/ 125 w 280"/>
                  <a:gd name="T91" fmla="*/ 299 h 353"/>
                  <a:gd name="T92" fmla="*/ 135 w 280"/>
                  <a:gd name="T93" fmla="*/ 284 h 353"/>
                  <a:gd name="T94" fmla="*/ 132 w 280"/>
                  <a:gd name="T95" fmla="*/ 272 h 353"/>
                  <a:gd name="T96" fmla="*/ 140 w 280"/>
                  <a:gd name="T97" fmla="*/ 269 h 353"/>
                  <a:gd name="T98" fmla="*/ 154 w 280"/>
                  <a:gd name="T99" fmla="*/ 251 h 353"/>
                  <a:gd name="T100" fmla="*/ 211 w 280"/>
                  <a:gd name="T101" fmla="*/ 226 h 353"/>
                  <a:gd name="T102" fmla="*/ 262 w 280"/>
                  <a:gd name="T103" fmla="*/ 170 h 353"/>
                  <a:gd name="T104" fmla="*/ 270 w 280"/>
                  <a:gd name="T105" fmla="*/ 141 h 353"/>
                  <a:gd name="T106" fmla="*/ 280 w 280"/>
                  <a:gd name="T107" fmla="*/ 136 h 353"/>
                  <a:gd name="T108" fmla="*/ 277 w 280"/>
                  <a:gd name="T109" fmla="*/ 114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80" h="353">
                    <a:moveTo>
                      <a:pt x="42" y="249"/>
                    </a:moveTo>
                    <a:cubicBezTo>
                      <a:pt x="57" y="245"/>
                      <a:pt x="59" y="225"/>
                      <a:pt x="49" y="229"/>
                    </a:cubicBezTo>
                    <a:cubicBezTo>
                      <a:pt x="40" y="233"/>
                      <a:pt x="34" y="250"/>
                      <a:pt x="42" y="249"/>
                    </a:cubicBezTo>
                    <a:close/>
                    <a:moveTo>
                      <a:pt x="277" y="114"/>
                    </a:moveTo>
                    <a:cubicBezTo>
                      <a:pt x="261" y="102"/>
                      <a:pt x="261" y="102"/>
                      <a:pt x="261" y="102"/>
                    </a:cubicBezTo>
                    <a:cubicBezTo>
                      <a:pt x="261" y="102"/>
                      <a:pt x="272" y="102"/>
                      <a:pt x="271" y="84"/>
                    </a:cubicBezTo>
                    <a:cubicBezTo>
                      <a:pt x="265" y="83"/>
                      <a:pt x="258" y="83"/>
                      <a:pt x="252" y="83"/>
                    </a:cubicBezTo>
                    <a:cubicBezTo>
                      <a:pt x="239" y="82"/>
                      <a:pt x="247" y="64"/>
                      <a:pt x="230" y="61"/>
                    </a:cubicBezTo>
                    <a:cubicBezTo>
                      <a:pt x="213" y="58"/>
                      <a:pt x="225" y="71"/>
                      <a:pt x="218" y="73"/>
                    </a:cubicBezTo>
                    <a:cubicBezTo>
                      <a:pt x="211" y="75"/>
                      <a:pt x="195" y="65"/>
                      <a:pt x="195" y="65"/>
                    </a:cubicBezTo>
                    <a:cubicBezTo>
                      <a:pt x="195" y="65"/>
                      <a:pt x="184" y="70"/>
                      <a:pt x="175" y="64"/>
                    </a:cubicBezTo>
                    <a:cubicBezTo>
                      <a:pt x="166" y="58"/>
                      <a:pt x="173" y="51"/>
                      <a:pt x="163" y="43"/>
                    </a:cubicBezTo>
                    <a:cubicBezTo>
                      <a:pt x="153" y="35"/>
                      <a:pt x="140" y="40"/>
                      <a:pt x="140" y="40"/>
                    </a:cubicBezTo>
                    <a:cubicBezTo>
                      <a:pt x="140" y="40"/>
                      <a:pt x="132" y="28"/>
                      <a:pt x="121" y="22"/>
                    </a:cubicBezTo>
                    <a:cubicBezTo>
                      <a:pt x="113" y="19"/>
                      <a:pt x="103" y="6"/>
                      <a:pt x="98" y="0"/>
                    </a:cubicBezTo>
                    <a:cubicBezTo>
                      <a:pt x="99" y="10"/>
                      <a:pt x="105" y="14"/>
                      <a:pt x="101" y="23"/>
                    </a:cubicBezTo>
                    <a:cubicBezTo>
                      <a:pt x="98" y="32"/>
                      <a:pt x="68" y="37"/>
                      <a:pt x="68" y="37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7"/>
                      <a:pt x="46" y="38"/>
                      <a:pt x="44" y="46"/>
                    </a:cubicBezTo>
                    <a:cubicBezTo>
                      <a:pt x="41" y="54"/>
                      <a:pt x="51" y="64"/>
                      <a:pt x="49" y="77"/>
                    </a:cubicBezTo>
                    <a:cubicBezTo>
                      <a:pt x="48" y="90"/>
                      <a:pt x="35" y="89"/>
                      <a:pt x="31" y="97"/>
                    </a:cubicBezTo>
                    <a:cubicBezTo>
                      <a:pt x="26" y="105"/>
                      <a:pt x="39" y="119"/>
                      <a:pt x="39" y="119"/>
                    </a:cubicBezTo>
                    <a:cubicBezTo>
                      <a:pt x="27" y="119"/>
                      <a:pt x="27" y="119"/>
                      <a:pt x="27" y="119"/>
                    </a:cubicBezTo>
                    <a:cubicBezTo>
                      <a:pt x="26" y="130"/>
                      <a:pt x="26" y="130"/>
                      <a:pt x="26" y="130"/>
                    </a:cubicBezTo>
                    <a:cubicBezTo>
                      <a:pt x="3" y="144"/>
                      <a:pt x="3" y="144"/>
                      <a:pt x="3" y="144"/>
                    </a:cubicBezTo>
                    <a:cubicBezTo>
                      <a:pt x="19" y="154"/>
                      <a:pt x="19" y="154"/>
                      <a:pt x="19" y="154"/>
                    </a:cubicBezTo>
                    <a:cubicBezTo>
                      <a:pt x="8" y="173"/>
                      <a:pt x="8" y="173"/>
                      <a:pt x="8" y="173"/>
                    </a:cubicBezTo>
                    <a:cubicBezTo>
                      <a:pt x="8" y="173"/>
                      <a:pt x="19" y="176"/>
                      <a:pt x="18" y="187"/>
                    </a:cubicBezTo>
                    <a:cubicBezTo>
                      <a:pt x="16" y="198"/>
                      <a:pt x="3" y="201"/>
                      <a:pt x="3" y="201"/>
                    </a:cubicBezTo>
                    <a:cubicBezTo>
                      <a:pt x="12" y="207"/>
                      <a:pt x="12" y="207"/>
                      <a:pt x="12" y="207"/>
                    </a:cubicBezTo>
                    <a:cubicBezTo>
                      <a:pt x="12" y="207"/>
                      <a:pt x="0" y="221"/>
                      <a:pt x="22" y="228"/>
                    </a:cubicBezTo>
                    <a:cubicBezTo>
                      <a:pt x="45" y="235"/>
                      <a:pt x="48" y="214"/>
                      <a:pt x="48" y="214"/>
                    </a:cubicBezTo>
                    <a:cubicBezTo>
                      <a:pt x="65" y="219"/>
                      <a:pt x="65" y="219"/>
                      <a:pt x="65" y="219"/>
                    </a:cubicBezTo>
                    <a:cubicBezTo>
                      <a:pt x="73" y="227"/>
                      <a:pt x="64" y="246"/>
                      <a:pt x="61" y="258"/>
                    </a:cubicBezTo>
                    <a:cubicBezTo>
                      <a:pt x="59" y="270"/>
                      <a:pt x="36" y="271"/>
                      <a:pt x="36" y="271"/>
                    </a:cubicBezTo>
                    <a:cubicBezTo>
                      <a:pt x="36" y="271"/>
                      <a:pt x="60" y="277"/>
                      <a:pt x="51" y="286"/>
                    </a:cubicBezTo>
                    <a:cubicBezTo>
                      <a:pt x="43" y="295"/>
                      <a:pt x="30" y="307"/>
                      <a:pt x="30" y="307"/>
                    </a:cubicBezTo>
                    <a:cubicBezTo>
                      <a:pt x="40" y="315"/>
                      <a:pt x="40" y="315"/>
                      <a:pt x="40" y="315"/>
                    </a:cubicBezTo>
                    <a:cubicBezTo>
                      <a:pt x="40" y="315"/>
                      <a:pt x="24" y="324"/>
                      <a:pt x="33" y="329"/>
                    </a:cubicBezTo>
                    <a:cubicBezTo>
                      <a:pt x="43" y="333"/>
                      <a:pt x="53" y="315"/>
                      <a:pt x="53" y="315"/>
                    </a:cubicBezTo>
                    <a:cubicBezTo>
                      <a:pt x="62" y="326"/>
                      <a:pt x="62" y="326"/>
                      <a:pt x="62" y="326"/>
                    </a:cubicBezTo>
                    <a:cubicBezTo>
                      <a:pt x="62" y="326"/>
                      <a:pt x="75" y="320"/>
                      <a:pt x="81" y="324"/>
                    </a:cubicBezTo>
                    <a:cubicBezTo>
                      <a:pt x="86" y="329"/>
                      <a:pt x="82" y="353"/>
                      <a:pt x="96" y="353"/>
                    </a:cubicBezTo>
                    <a:cubicBezTo>
                      <a:pt x="109" y="353"/>
                      <a:pt x="104" y="342"/>
                      <a:pt x="108" y="339"/>
                    </a:cubicBezTo>
                    <a:cubicBezTo>
                      <a:pt x="112" y="337"/>
                      <a:pt x="121" y="335"/>
                      <a:pt x="121" y="335"/>
                    </a:cubicBezTo>
                    <a:cubicBezTo>
                      <a:pt x="121" y="335"/>
                      <a:pt x="124" y="308"/>
                      <a:pt x="125" y="299"/>
                    </a:cubicBezTo>
                    <a:cubicBezTo>
                      <a:pt x="127" y="289"/>
                      <a:pt x="135" y="284"/>
                      <a:pt x="135" y="284"/>
                    </a:cubicBezTo>
                    <a:cubicBezTo>
                      <a:pt x="132" y="272"/>
                      <a:pt x="132" y="272"/>
                      <a:pt x="132" y="272"/>
                    </a:cubicBezTo>
                    <a:cubicBezTo>
                      <a:pt x="140" y="269"/>
                      <a:pt x="140" y="269"/>
                      <a:pt x="140" y="269"/>
                    </a:cubicBezTo>
                    <a:cubicBezTo>
                      <a:pt x="140" y="269"/>
                      <a:pt x="140" y="262"/>
                      <a:pt x="154" y="251"/>
                    </a:cubicBezTo>
                    <a:cubicBezTo>
                      <a:pt x="167" y="240"/>
                      <a:pt x="188" y="240"/>
                      <a:pt x="211" y="226"/>
                    </a:cubicBezTo>
                    <a:cubicBezTo>
                      <a:pt x="234" y="211"/>
                      <a:pt x="262" y="170"/>
                      <a:pt x="262" y="170"/>
                    </a:cubicBezTo>
                    <a:cubicBezTo>
                      <a:pt x="270" y="141"/>
                      <a:pt x="270" y="141"/>
                      <a:pt x="270" y="141"/>
                    </a:cubicBezTo>
                    <a:cubicBezTo>
                      <a:pt x="280" y="136"/>
                      <a:pt x="280" y="136"/>
                      <a:pt x="280" y="136"/>
                    </a:cubicBezTo>
                    <a:lnTo>
                      <a:pt x="277" y="11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07">
                <a:extLst>
                  <a:ext uri="{FF2B5EF4-FFF2-40B4-BE49-F238E27FC236}">
                    <a16:creationId xmlns:a16="http://schemas.microsoft.com/office/drawing/2014/main" id="{47741DAA-F034-3DF0-0F7B-07CFB4F6409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37" y="-11222"/>
                <a:ext cx="322" cy="538"/>
              </a:xfrm>
              <a:custGeom>
                <a:avLst/>
                <a:gdLst>
                  <a:gd name="T0" fmla="*/ 19 w 136"/>
                  <a:gd name="T1" fmla="*/ 9 h 228"/>
                  <a:gd name="T2" fmla="*/ 62 w 136"/>
                  <a:gd name="T3" fmla="*/ 29 h 228"/>
                  <a:gd name="T4" fmla="*/ 91 w 136"/>
                  <a:gd name="T5" fmla="*/ 65 h 228"/>
                  <a:gd name="T6" fmla="*/ 87 w 136"/>
                  <a:gd name="T7" fmla="*/ 86 h 228"/>
                  <a:gd name="T8" fmla="*/ 104 w 136"/>
                  <a:gd name="T9" fmla="*/ 82 h 228"/>
                  <a:gd name="T10" fmla="*/ 105 w 136"/>
                  <a:gd name="T11" fmla="*/ 120 h 228"/>
                  <a:gd name="T12" fmla="*/ 105 w 136"/>
                  <a:gd name="T13" fmla="*/ 190 h 228"/>
                  <a:gd name="T14" fmla="*/ 19 w 136"/>
                  <a:gd name="T15" fmla="*/ 194 h 228"/>
                  <a:gd name="T16" fmla="*/ 10 w 136"/>
                  <a:gd name="T17" fmla="*/ 99 h 228"/>
                  <a:gd name="T18" fmla="*/ 25 w 136"/>
                  <a:gd name="T19" fmla="*/ 59 h 228"/>
                  <a:gd name="T20" fmla="*/ 5 w 136"/>
                  <a:gd name="T21" fmla="*/ 32 h 228"/>
                  <a:gd name="T22" fmla="*/ 18 w 136"/>
                  <a:gd name="T23" fmla="*/ 32 h 228"/>
                  <a:gd name="T24" fmla="*/ 19 w 136"/>
                  <a:gd name="T25" fmla="*/ 9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6" h="228">
                    <a:moveTo>
                      <a:pt x="19" y="9"/>
                    </a:moveTo>
                    <a:cubicBezTo>
                      <a:pt x="35" y="0"/>
                      <a:pt x="46" y="7"/>
                      <a:pt x="62" y="29"/>
                    </a:cubicBezTo>
                    <a:cubicBezTo>
                      <a:pt x="78" y="50"/>
                      <a:pt x="91" y="65"/>
                      <a:pt x="91" y="65"/>
                    </a:cubicBezTo>
                    <a:cubicBezTo>
                      <a:pt x="87" y="86"/>
                      <a:pt x="87" y="86"/>
                      <a:pt x="87" y="86"/>
                    </a:cubicBezTo>
                    <a:cubicBezTo>
                      <a:pt x="104" y="82"/>
                      <a:pt x="104" y="82"/>
                      <a:pt x="104" y="82"/>
                    </a:cubicBezTo>
                    <a:cubicBezTo>
                      <a:pt x="105" y="120"/>
                      <a:pt x="105" y="120"/>
                      <a:pt x="105" y="120"/>
                    </a:cubicBezTo>
                    <a:cubicBezTo>
                      <a:pt x="105" y="120"/>
                      <a:pt x="136" y="176"/>
                      <a:pt x="105" y="190"/>
                    </a:cubicBezTo>
                    <a:cubicBezTo>
                      <a:pt x="75" y="204"/>
                      <a:pt x="37" y="228"/>
                      <a:pt x="19" y="194"/>
                    </a:cubicBezTo>
                    <a:cubicBezTo>
                      <a:pt x="1" y="160"/>
                      <a:pt x="0" y="106"/>
                      <a:pt x="10" y="99"/>
                    </a:cubicBezTo>
                    <a:cubicBezTo>
                      <a:pt x="21" y="91"/>
                      <a:pt x="25" y="59"/>
                      <a:pt x="25" y="59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18" y="32"/>
                      <a:pt x="18" y="32"/>
                      <a:pt x="18" y="32"/>
                    </a:cubicBezTo>
                    <a:lnTo>
                      <a:pt x="19" y="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208">
                <a:extLst>
                  <a:ext uri="{FF2B5EF4-FFF2-40B4-BE49-F238E27FC236}">
                    <a16:creationId xmlns:a16="http://schemas.microsoft.com/office/drawing/2014/main" id="{98866414-7057-EC64-D0DE-98918F86FE9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616" y="-12361"/>
                <a:ext cx="1151" cy="1892"/>
              </a:xfrm>
              <a:custGeom>
                <a:avLst/>
                <a:gdLst>
                  <a:gd name="T0" fmla="*/ 475 w 487"/>
                  <a:gd name="T1" fmla="*/ 801 h 801"/>
                  <a:gd name="T2" fmla="*/ 476 w 487"/>
                  <a:gd name="T3" fmla="*/ 763 h 801"/>
                  <a:gd name="T4" fmla="*/ 395 w 487"/>
                  <a:gd name="T5" fmla="*/ 758 h 801"/>
                  <a:gd name="T6" fmla="*/ 187 w 487"/>
                  <a:gd name="T7" fmla="*/ 700 h 801"/>
                  <a:gd name="T8" fmla="*/ 175 w 487"/>
                  <a:gd name="T9" fmla="*/ 693 h 801"/>
                  <a:gd name="T10" fmla="*/ 346 w 487"/>
                  <a:gd name="T11" fmla="*/ 393 h 801"/>
                  <a:gd name="T12" fmla="*/ 408 w 487"/>
                  <a:gd name="T13" fmla="*/ 418 h 801"/>
                  <a:gd name="T14" fmla="*/ 321 w 487"/>
                  <a:gd name="T15" fmla="*/ 337 h 801"/>
                  <a:gd name="T16" fmla="*/ 325 w 487"/>
                  <a:gd name="T17" fmla="*/ 499 h 801"/>
                  <a:gd name="T18" fmla="*/ 301 w 487"/>
                  <a:gd name="T19" fmla="*/ 414 h 801"/>
                  <a:gd name="T20" fmla="*/ 358 w 487"/>
                  <a:gd name="T21" fmla="*/ 492 h 801"/>
                  <a:gd name="T22" fmla="*/ 337 w 487"/>
                  <a:gd name="T23" fmla="*/ 494 h 801"/>
                  <a:gd name="T24" fmla="*/ 360 w 487"/>
                  <a:gd name="T25" fmla="*/ 416 h 801"/>
                  <a:gd name="T26" fmla="*/ 352 w 487"/>
                  <a:gd name="T27" fmla="*/ 436 h 801"/>
                  <a:gd name="T28" fmla="*/ 391 w 487"/>
                  <a:gd name="T29" fmla="*/ 441 h 801"/>
                  <a:gd name="T30" fmla="*/ 103 w 487"/>
                  <a:gd name="T31" fmla="*/ 405 h 801"/>
                  <a:gd name="T32" fmla="*/ 79 w 487"/>
                  <a:gd name="T33" fmla="*/ 472 h 801"/>
                  <a:gd name="T34" fmla="*/ 55 w 487"/>
                  <a:gd name="T35" fmla="*/ 514 h 801"/>
                  <a:gd name="T36" fmla="*/ 31 w 487"/>
                  <a:gd name="T37" fmla="*/ 557 h 801"/>
                  <a:gd name="T38" fmla="*/ 71 w 487"/>
                  <a:gd name="T39" fmla="*/ 503 h 801"/>
                  <a:gd name="T40" fmla="*/ 117 w 487"/>
                  <a:gd name="T41" fmla="*/ 403 h 801"/>
                  <a:gd name="T42" fmla="*/ 259 w 487"/>
                  <a:gd name="T43" fmla="*/ 679 h 801"/>
                  <a:gd name="T44" fmla="*/ 451 w 487"/>
                  <a:gd name="T45" fmla="*/ 560 h 801"/>
                  <a:gd name="T46" fmla="*/ 413 w 487"/>
                  <a:gd name="T47" fmla="*/ 526 h 801"/>
                  <a:gd name="T48" fmla="*/ 362 w 487"/>
                  <a:gd name="T49" fmla="*/ 552 h 801"/>
                  <a:gd name="T50" fmla="*/ 307 w 487"/>
                  <a:gd name="T51" fmla="*/ 568 h 801"/>
                  <a:gd name="T52" fmla="*/ 251 w 487"/>
                  <a:gd name="T53" fmla="*/ 627 h 801"/>
                  <a:gd name="T54" fmla="*/ 287 w 487"/>
                  <a:gd name="T55" fmla="*/ 643 h 801"/>
                  <a:gd name="T56" fmla="*/ 340 w 487"/>
                  <a:gd name="T57" fmla="*/ 657 h 801"/>
                  <a:gd name="T58" fmla="*/ 413 w 487"/>
                  <a:gd name="T59" fmla="*/ 701 h 801"/>
                  <a:gd name="T60" fmla="*/ 430 w 487"/>
                  <a:gd name="T61" fmla="*/ 693 h 801"/>
                  <a:gd name="T62" fmla="*/ 444 w 487"/>
                  <a:gd name="T63" fmla="*/ 676 h 801"/>
                  <a:gd name="T64" fmla="*/ 451 w 487"/>
                  <a:gd name="T65" fmla="*/ 560 h 801"/>
                  <a:gd name="T66" fmla="*/ 286 w 487"/>
                  <a:gd name="T67" fmla="*/ 309 h 801"/>
                  <a:gd name="T68" fmla="*/ 259 w 487"/>
                  <a:gd name="T69" fmla="*/ 240 h 801"/>
                  <a:gd name="T70" fmla="*/ 184 w 487"/>
                  <a:gd name="T71" fmla="*/ 201 h 801"/>
                  <a:gd name="T72" fmla="*/ 193 w 487"/>
                  <a:gd name="T73" fmla="*/ 93 h 801"/>
                  <a:gd name="T74" fmla="*/ 184 w 487"/>
                  <a:gd name="T75" fmla="*/ 16 h 801"/>
                  <a:gd name="T76" fmla="*/ 126 w 487"/>
                  <a:gd name="T77" fmla="*/ 10 h 801"/>
                  <a:gd name="T78" fmla="*/ 100 w 487"/>
                  <a:gd name="T79" fmla="*/ 53 h 801"/>
                  <a:gd name="T80" fmla="*/ 112 w 487"/>
                  <a:gd name="T81" fmla="*/ 109 h 801"/>
                  <a:gd name="T82" fmla="*/ 92 w 487"/>
                  <a:gd name="T83" fmla="*/ 152 h 801"/>
                  <a:gd name="T84" fmla="*/ 135 w 487"/>
                  <a:gd name="T85" fmla="*/ 233 h 801"/>
                  <a:gd name="T86" fmla="*/ 219 w 487"/>
                  <a:gd name="T87" fmla="*/ 274 h 801"/>
                  <a:gd name="T88" fmla="*/ 146 w 487"/>
                  <a:gd name="T89" fmla="*/ 285 h 801"/>
                  <a:gd name="T90" fmla="*/ 197 w 487"/>
                  <a:gd name="T91" fmla="*/ 339 h 801"/>
                  <a:gd name="T92" fmla="*/ 232 w 487"/>
                  <a:gd name="T93" fmla="*/ 434 h 801"/>
                  <a:gd name="T94" fmla="*/ 271 w 487"/>
                  <a:gd name="T95" fmla="*/ 463 h 801"/>
                  <a:gd name="T96" fmla="*/ 273 w 487"/>
                  <a:gd name="T97" fmla="*/ 535 h 801"/>
                  <a:gd name="T98" fmla="*/ 295 w 487"/>
                  <a:gd name="T99" fmla="*/ 431 h 801"/>
                  <a:gd name="T100" fmla="*/ 249 w 487"/>
                  <a:gd name="T101" fmla="*/ 378 h 801"/>
                  <a:gd name="T102" fmla="*/ 232 w 487"/>
                  <a:gd name="T103" fmla="*/ 434 h 8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87" h="801">
                    <a:moveTo>
                      <a:pt x="476" y="763"/>
                    </a:moveTo>
                    <a:cubicBezTo>
                      <a:pt x="472" y="782"/>
                      <a:pt x="472" y="782"/>
                      <a:pt x="472" y="782"/>
                    </a:cubicBezTo>
                    <a:cubicBezTo>
                      <a:pt x="475" y="801"/>
                      <a:pt x="475" y="801"/>
                      <a:pt x="475" y="801"/>
                    </a:cubicBezTo>
                    <a:cubicBezTo>
                      <a:pt x="487" y="791"/>
                      <a:pt x="487" y="791"/>
                      <a:pt x="487" y="791"/>
                    </a:cubicBezTo>
                    <a:cubicBezTo>
                      <a:pt x="487" y="763"/>
                      <a:pt x="487" y="763"/>
                      <a:pt x="487" y="763"/>
                    </a:cubicBezTo>
                    <a:lnTo>
                      <a:pt x="476" y="763"/>
                    </a:lnTo>
                    <a:close/>
                    <a:moveTo>
                      <a:pt x="399" y="785"/>
                    </a:moveTo>
                    <a:cubicBezTo>
                      <a:pt x="410" y="763"/>
                      <a:pt x="410" y="763"/>
                      <a:pt x="410" y="763"/>
                    </a:cubicBezTo>
                    <a:cubicBezTo>
                      <a:pt x="395" y="758"/>
                      <a:pt x="395" y="758"/>
                      <a:pt x="395" y="758"/>
                    </a:cubicBezTo>
                    <a:lnTo>
                      <a:pt x="399" y="785"/>
                    </a:lnTo>
                    <a:close/>
                    <a:moveTo>
                      <a:pt x="175" y="693"/>
                    </a:moveTo>
                    <a:cubicBezTo>
                      <a:pt x="187" y="700"/>
                      <a:pt x="187" y="700"/>
                      <a:pt x="187" y="700"/>
                    </a:cubicBezTo>
                    <a:cubicBezTo>
                      <a:pt x="199" y="682"/>
                      <a:pt x="199" y="682"/>
                      <a:pt x="199" y="682"/>
                    </a:cubicBezTo>
                    <a:cubicBezTo>
                      <a:pt x="182" y="672"/>
                      <a:pt x="182" y="672"/>
                      <a:pt x="182" y="672"/>
                    </a:cubicBezTo>
                    <a:lnTo>
                      <a:pt x="175" y="693"/>
                    </a:lnTo>
                    <a:close/>
                    <a:moveTo>
                      <a:pt x="345" y="372"/>
                    </a:moveTo>
                    <a:cubicBezTo>
                      <a:pt x="370" y="385"/>
                      <a:pt x="370" y="385"/>
                      <a:pt x="370" y="385"/>
                    </a:cubicBezTo>
                    <a:cubicBezTo>
                      <a:pt x="370" y="401"/>
                      <a:pt x="346" y="393"/>
                      <a:pt x="346" y="393"/>
                    </a:cubicBezTo>
                    <a:cubicBezTo>
                      <a:pt x="389" y="427"/>
                      <a:pt x="389" y="427"/>
                      <a:pt x="389" y="427"/>
                    </a:cubicBezTo>
                    <a:cubicBezTo>
                      <a:pt x="391" y="413"/>
                      <a:pt x="391" y="413"/>
                      <a:pt x="391" y="413"/>
                    </a:cubicBezTo>
                    <a:cubicBezTo>
                      <a:pt x="408" y="418"/>
                      <a:pt x="408" y="418"/>
                      <a:pt x="408" y="418"/>
                    </a:cubicBezTo>
                    <a:cubicBezTo>
                      <a:pt x="394" y="395"/>
                      <a:pt x="394" y="395"/>
                      <a:pt x="394" y="395"/>
                    </a:cubicBezTo>
                    <a:cubicBezTo>
                      <a:pt x="394" y="395"/>
                      <a:pt x="391" y="370"/>
                      <a:pt x="379" y="357"/>
                    </a:cubicBezTo>
                    <a:cubicBezTo>
                      <a:pt x="367" y="344"/>
                      <a:pt x="328" y="321"/>
                      <a:pt x="321" y="337"/>
                    </a:cubicBezTo>
                    <a:cubicBezTo>
                      <a:pt x="312" y="357"/>
                      <a:pt x="345" y="372"/>
                      <a:pt x="345" y="372"/>
                    </a:cubicBezTo>
                    <a:close/>
                    <a:moveTo>
                      <a:pt x="318" y="445"/>
                    </a:moveTo>
                    <a:cubicBezTo>
                      <a:pt x="325" y="499"/>
                      <a:pt x="325" y="499"/>
                      <a:pt x="325" y="499"/>
                    </a:cubicBezTo>
                    <a:cubicBezTo>
                      <a:pt x="333" y="449"/>
                      <a:pt x="333" y="449"/>
                      <a:pt x="333" y="449"/>
                    </a:cubicBezTo>
                    <a:cubicBezTo>
                      <a:pt x="316" y="414"/>
                      <a:pt x="316" y="414"/>
                      <a:pt x="316" y="414"/>
                    </a:cubicBezTo>
                    <a:cubicBezTo>
                      <a:pt x="301" y="414"/>
                      <a:pt x="301" y="414"/>
                      <a:pt x="301" y="414"/>
                    </a:cubicBezTo>
                    <a:lnTo>
                      <a:pt x="318" y="445"/>
                    </a:lnTo>
                    <a:close/>
                    <a:moveTo>
                      <a:pt x="337" y="494"/>
                    </a:moveTo>
                    <a:cubicBezTo>
                      <a:pt x="358" y="492"/>
                      <a:pt x="358" y="492"/>
                      <a:pt x="358" y="492"/>
                    </a:cubicBezTo>
                    <a:cubicBezTo>
                      <a:pt x="361" y="475"/>
                      <a:pt x="361" y="475"/>
                      <a:pt x="361" y="475"/>
                    </a:cubicBezTo>
                    <a:cubicBezTo>
                      <a:pt x="343" y="469"/>
                      <a:pt x="343" y="469"/>
                      <a:pt x="343" y="469"/>
                    </a:cubicBezTo>
                    <a:lnTo>
                      <a:pt x="337" y="494"/>
                    </a:lnTo>
                    <a:close/>
                    <a:moveTo>
                      <a:pt x="391" y="441"/>
                    </a:moveTo>
                    <a:cubicBezTo>
                      <a:pt x="372" y="434"/>
                      <a:pt x="372" y="434"/>
                      <a:pt x="372" y="434"/>
                    </a:cubicBezTo>
                    <a:cubicBezTo>
                      <a:pt x="372" y="434"/>
                      <a:pt x="364" y="424"/>
                      <a:pt x="360" y="416"/>
                    </a:cubicBezTo>
                    <a:cubicBezTo>
                      <a:pt x="357" y="408"/>
                      <a:pt x="333" y="413"/>
                      <a:pt x="333" y="413"/>
                    </a:cubicBezTo>
                    <a:cubicBezTo>
                      <a:pt x="336" y="442"/>
                      <a:pt x="336" y="442"/>
                      <a:pt x="336" y="442"/>
                    </a:cubicBezTo>
                    <a:cubicBezTo>
                      <a:pt x="352" y="436"/>
                      <a:pt x="352" y="436"/>
                      <a:pt x="352" y="436"/>
                    </a:cubicBezTo>
                    <a:cubicBezTo>
                      <a:pt x="358" y="452"/>
                      <a:pt x="358" y="452"/>
                      <a:pt x="358" y="452"/>
                    </a:cubicBezTo>
                    <a:cubicBezTo>
                      <a:pt x="391" y="477"/>
                      <a:pt x="391" y="477"/>
                      <a:pt x="391" y="477"/>
                    </a:cubicBezTo>
                    <a:lnTo>
                      <a:pt x="391" y="441"/>
                    </a:lnTo>
                    <a:close/>
                    <a:moveTo>
                      <a:pt x="117" y="403"/>
                    </a:move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3" y="405"/>
                      <a:pt x="103" y="405"/>
                      <a:pt x="103" y="405"/>
                    </a:cubicBezTo>
                    <a:cubicBezTo>
                      <a:pt x="103" y="405"/>
                      <a:pt x="84" y="421"/>
                      <a:pt x="91" y="436"/>
                    </a:cubicBezTo>
                    <a:cubicBezTo>
                      <a:pt x="98" y="450"/>
                      <a:pt x="115" y="450"/>
                      <a:pt x="105" y="457"/>
                    </a:cubicBezTo>
                    <a:cubicBezTo>
                      <a:pt x="95" y="463"/>
                      <a:pt x="79" y="472"/>
                      <a:pt x="79" y="472"/>
                    </a:cubicBezTo>
                    <a:cubicBezTo>
                      <a:pt x="72" y="490"/>
                      <a:pt x="72" y="490"/>
                      <a:pt x="72" y="490"/>
                    </a:cubicBezTo>
                    <a:cubicBezTo>
                      <a:pt x="57" y="499"/>
                      <a:pt x="57" y="499"/>
                      <a:pt x="57" y="499"/>
                    </a:cubicBezTo>
                    <a:cubicBezTo>
                      <a:pt x="57" y="499"/>
                      <a:pt x="62" y="508"/>
                      <a:pt x="55" y="514"/>
                    </a:cubicBezTo>
                    <a:cubicBezTo>
                      <a:pt x="48" y="521"/>
                      <a:pt x="23" y="532"/>
                      <a:pt x="23" y="532"/>
                    </a:cubicBezTo>
                    <a:cubicBezTo>
                      <a:pt x="23" y="532"/>
                      <a:pt x="0" y="568"/>
                      <a:pt x="11" y="576"/>
                    </a:cubicBezTo>
                    <a:cubicBezTo>
                      <a:pt x="31" y="557"/>
                      <a:pt x="31" y="557"/>
                      <a:pt x="31" y="557"/>
                    </a:cubicBezTo>
                    <a:cubicBezTo>
                      <a:pt x="31" y="557"/>
                      <a:pt x="28" y="542"/>
                      <a:pt x="36" y="542"/>
                    </a:cubicBezTo>
                    <a:cubicBezTo>
                      <a:pt x="45" y="542"/>
                      <a:pt x="55" y="539"/>
                      <a:pt x="62" y="534"/>
                    </a:cubicBezTo>
                    <a:cubicBezTo>
                      <a:pt x="69" y="529"/>
                      <a:pt x="62" y="513"/>
                      <a:pt x="71" y="503"/>
                    </a:cubicBezTo>
                    <a:cubicBezTo>
                      <a:pt x="79" y="493"/>
                      <a:pt x="127" y="478"/>
                      <a:pt x="127" y="467"/>
                    </a:cubicBezTo>
                    <a:cubicBezTo>
                      <a:pt x="127" y="455"/>
                      <a:pt x="117" y="444"/>
                      <a:pt x="115" y="434"/>
                    </a:cubicBezTo>
                    <a:cubicBezTo>
                      <a:pt x="114" y="424"/>
                      <a:pt x="117" y="403"/>
                      <a:pt x="117" y="403"/>
                    </a:cubicBezTo>
                    <a:close/>
                    <a:moveTo>
                      <a:pt x="232" y="684"/>
                    </a:moveTo>
                    <a:cubicBezTo>
                      <a:pt x="257" y="706"/>
                      <a:pt x="257" y="706"/>
                      <a:pt x="257" y="706"/>
                    </a:cubicBezTo>
                    <a:cubicBezTo>
                      <a:pt x="259" y="679"/>
                      <a:pt x="259" y="679"/>
                      <a:pt x="259" y="679"/>
                    </a:cubicBezTo>
                    <a:cubicBezTo>
                      <a:pt x="244" y="668"/>
                      <a:pt x="244" y="668"/>
                      <a:pt x="244" y="668"/>
                    </a:cubicBezTo>
                    <a:lnTo>
                      <a:pt x="232" y="684"/>
                    </a:lnTo>
                    <a:close/>
                    <a:moveTo>
                      <a:pt x="451" y="560"/>
                    </a:moveTo>
                    <a:cubicBezTo>
                      <a:pt x="451" y="560"/>
                      <a:pt x="451" y="529"/>
                      <a:pt x="441" y="524"/>
                    </a:cubicBezTo>
                    <a:cubicBezTo>
                      <a:pt x="430" y="519"/>
                      <a:pt x="405" y="483"/>
                      <a:pt x="396" y="491"/>
                    </a:cubicBezTo>
                    <a:cubicBezTo>
                      <a:pt x="388" y="499"/>
                      <a:pt x="420" y="522"/>
                      <a:pt x="413" y="526"/>
                    </a:cubicBezTo>
                    <a:cubicBezTo>
                      <a:pt x="406" y="529"/>
                      <a:pt x="376" y="532"/>
                      <a:pt x="376" y="532"/>
                    </a:cubicBezTo>
                    <a:cubicBezTo>
                      <a:pt x="376" y="553"/>
                      <a:pt x="376" y="553"/>
                      <a:pt x="376" y="553"/>
                    </a:cubicBezTo>
                    <a:cubicBezTo>
                      <a:pt x="362" y="552"/>
                      <a:pt x="362" y="552"/>
                      <a:pt x="362" y="552"/>
                    </a:cubicBezTo>
                    <a:cubicBezTo>
                      <a:pt x="358" y="567"/>
                      <a:pt x="358" y="567"/>
                      <a:pt x="358" y="567"/>
                    </a:cubicBezTo>
                    <a:cubicBezTo>
                      <a:pt x="341" y="576"/>
                      <a:pt x="341" y="576"/>
                      <a:pt x="341" y="576"/>
                    </a:cubicBezTo>
                    <a:cubicBezTo>
                      <a:pt x="341" y="576"/>
                      <a:pt x="316" y="560"/>
                      <a:pt x="307" y="568"/>
                    </a:cubicBezTo>
                    <a:cubicBezTo>
                      <a:pt x="299" y="576"/>
                      <a:pt x="283" y="604"/>
                      <a:pt x="283" y="604"/>
                    </a:cubicBezTo>
                    <a:cubicBezTo>
                      <a:pt x="283" y="604"/>
                      <a:pt x="273" y="585"/>
                      <a:pt x="268" y="594"/>
                    </a:cubicBezTo>
                    <a:cubicBezTo>
                      <a:pt x="263" y="604"/>
                      <a:pt x="251" y="627"/>
                      <a:pt x="251" y="627"/>
                    </a:cubicBezTo>
                    <a:cubicBezTo>
                      <a:pt x="264" y="640"/>
                      <a:pt x="264" y="640"/>
                      <a:pt x="264" y="640"/>
                    </a:cubicBezTo>
                    <a:cubicBezTo>
                      <a:pt x="278" y="627"/>
                      <a:pt x="278" y="627"/>
                      <a:pt x="278" y="627"/>
                    </a:cubicBezTo>
                    <a:cubicBezTo>
                      <a:pt x="287" y="643"/>
                      <a:pt x="287" y="643"/>
                      <a:pt x="287" y="643"/>
                    </a:cubicBezTo>
                    <a:cubicBezTo>
                      <a:pt x="287" y="643"/>
                      <a:pt x="314" y="621"/>
                      <a:pt x="321" y="621"/>
                    </a:cubicBezTo>
                    <a:cubicBezTo>
                      <a:pt x="328" y="621"/>
                      <a:pt x="350" y="642"/>
                      <a:pt x="350" y="642"/>
                    </a:cubicBezTo>
                    <a:cubicBezTo>
                      <a:pt x="350" y="642"/>
                      <a:pt x="340" y="648"/>
                      <a:pt x="340" y="657"/>
                    </a:cubicBezTo>
                    <a:cubicBezTo>
                      <a:pt x="340" y="665"/>
                      <a:pt x="358" y="701"/>
                      <a:pt x="367" y="704"/>
                    </a:cubicBezTo>
                    <a:cubicBezTo>
                      <a:pt x="376" y="707"/>
                      <a:pt x="400" y="714"/>
                      <a:pt x="400" y="714"/>
                    </a:cubicBezTo>
                    <a:cubicBezTo>
                      <a:pt x="413" y="701"/>
                      <a:pt x="413" y="701"/>
                      <a:pt x="413" y="701"/>
                    </a:cubicBezTo>
                    <a:cubicBezTo>
                      <a:pt x="415" y="717"/>
                      <a:pt x="415" y="717"/>
                      <a:pt x="415" y="717"/>
                    </a:cubicBezTo>
                    <a:cubicBezTo>
                      <a:pt x="429" y="719"/>
                      <a:pt x="429" y="719"/>
                      <a:pt x="429" y="719"/>
                    </a:cubicBezTo>
                    <a:cubicBezTo>
                      <a:pt x="430" y="693"/>
                      <a:pt x="430" y="693"/>
                      <a:pt x="430" y="693"/>
                    </a:cubicBezTo>
                    <a:cubicBezTo>
                      <a:pt x="430" y="693"/>
                      <a:pt x="410" y="671"/>
                      <a:pt x="415" y="658"/>
                    </a:cubicBezTo>
                    <a:cubicBezTo>
                      <a:pt x="420" y="645"/>
                      <a:pt x="427" y="642"/>
                      <a:pt x="427" y="642"/>
                    </a:cubicBezTo>
                    <a:cubicBezTo>
                      <a:pt x="444" y="676"/>
                      <a:pt x="444" y="676"/>
                      <a:pt x="444" y="676"/>
                    </a:cubicBezTo>
                    <a:cubicBezTo>
                      <a:pt x="444" y="676"/>
                      <a:pt x="463" y="650"/>
                      <a:pt x="463" y="634"/>
                    </a:cubicBezTo>
                    <a:cubicBezTo>
                      <a:pt x="463" y="617"/>
                      <a:pt x="451" y="599"/>
                      <a:pt x="451" y="599"/>
                    </a:cubicBezTo>
                    <a:lnTo>
                      <a:pt x="451" y="560"/>
                    </a:lnTo>
                    <a:close/>
                    <a:moveTo>
                      <a:pt x="230" y="258"/>
                    </a:moveTo>
                    <a:cubicBezTo>
                      <a:pt x="248" y="256"/>
                      <a:pt x="255" y="265"/>
                      <a:pt x="259" y="279"/>
                    </a:cubicBezTo>
                    <a:cubicBezTo>
                      <a:pt x="262" y="291"/>
                      <a:pt x="272" y="303"/>
                      <a:pt x="286" y="309"/>
                    </a:cubicBezTo>
                    <a:cubicBezTo>
                      <a:pt x="311" y="322"/>
                      <a:pt x="313" y="261"/>
                      <a:pt x="282" y="264"/>
                    </a:cubicBezTo>
                    <a:cubicBezTo>
                      <a:pt x="281" y="258"/>
                      <a:pt x="286" y="256"/>
                      <a:pt x="288" y="251"/>
                    </a:cubicBezTo>
                    <a:cubicBezTo>
                      <a:pt x="276" y="250"/>
                      <a:pt x="272" y="236"/>
                      <a:pt x="259" y="240"/>
                    </a:cubicBezTo>
                    <a:cubicBezTo>
                      <a:pt x="251" y="257"/>
                      <a:pt x="236" y="236"/>
                      <a:pt x="224" y="236"/>
                    </a:cubicBezTo>
                    <a:cubicBezTo>
                      <a:pt x="208" y="235"/>
                      <a:pt x="201" y="259"/>
                      <a:pt x="188" y="239"/>
                    </a:cubicBezTo>
                    <a:cubicBezTo>
                      <a:pt x="181" y="228"/>
                      <a:pt x="184" y="213"/>
                      <a:pt x="184" y="201"/>
                    </a:cubicBezTo>
                    <a:cubicBezTo>
                      <a:pt x="184" y="189"/>
                      <a:pt x="180" y="170"/>
                      <a:pt x="185" y="159"/>
                    </a:cubicBezTo>
                    <a:cubicBezTo>
                      <a:pt x="192" y="143"/>
                      <a:pt x="203" y="148"/>
                      <a:pt x="202" y="128"/>
                    </a:cubicBezTo>
                    <a:cubicBezTo>
                      <a:pt x="202" y="114"/>
                      <a:pt x="191" y="105"/>
                      <a:pt x="193" y="93"/>
                    </a:cubicBezTo>
                    <a:cubicBezTo>
                      <a:pt x="194" y="80"/>
                      <a:pt x="202" y="64"/>
                      <a:pt x="198" y="50"/>
                    </a:cubicBezTo>
                    <a:cubicBezTo>
                      <a:pt x="195" y="44"/>
                      <a:pt x="188" y="41"/>
                      <a:pt x="185" y="35"/>
                    </a:cubicBezTo>
                    <a:cubicBezTo>
                      <a:pt x="182" y="29"/>
                      <a:pt x="185" y="22"/>
                      <a:pt x="184" y="16"/>
                    </a:cubicBezTo>
                    <a:cubicBezTo>
                      <a:pt x="183" y="11"/>
                      <a:pt x="181" y="0"/>
                      <a:pt x="172" y="0"/>
                    </a:cubicBezTo>
                    <a:cubicBezTo>
                      <a:pt x="167" y="1"/>
                      <a:pt x="165" y="9"/>
                      <a:pt x="162" y="12"/>
                    </a:cubicBezTo>
                    <a:cubicBezTo>
                      <a:pt x="145" y="26"/>
                      <a:pt x="142" y="9"/>
                      <a:pt x="126" y="10"/>
                    </a:cubicBezTo>
                    <a:cubicBezTo>
                      <a:pt x="117" y="13"/>
                      <a:pt x="117" y="13"/>
                      <a:pt x="117" y="13"/>
                    </a:cubicBezTo>
                    <a:cubicBezTo>
                      <a:pt x="114" y="20"/>
                      <a:pt x="117" y="27"/>
                      <a:pt x="115" y="34"/>
                    </a:cubicBezTo>
                    <a:cubicBezTo>
                      <a:pt x="113" y="41"/>
                      <a:pt x="104" y="47"/>
                      <a:pt x="100" y="53"/>
                    </a:cubicBezTo>
                    <a:cubicBezTo>
                      <a:pt x="92" y="65"/>
                      <a:pt x="94" y="57"/>
                      <a:pt x="101" y="69"/>
                    </a:cubicBezTo>
                    <a:cubicBezTo>
                      <a:pt x="104" y="74"/>
                      <a:pt x="108" y="83"/>
                      <a:pt x="110" y="89"/>
                    </a:cubicBezTo>
                    <a:cubicBezTo>
                      <a:pt x="112" y="95"/>
                      <a:pt x="113" y="102"/>
                      <a:pt x="112" y="109"/>
                    </a:cubicBezTo>
                    <a:cubicBezTo>
                      <a:pt x="111" y="116"/>
                      <a:pt x="103" y="122"/>
                      <a:pt x="103" y="127"/>
                    </a:cubicBezTo>
                    <a:cubicBezTo>
                      <a:pt x="103" y="135"/>
                      <a:pt x="114" y="137"/>
                      <a:pt x="110" y="145"/>
                    </a:cubicBezTo>
                    <a:cubicBezTo>
                      <a:pt x="108" y="150"/>
                      <a:pt x="96" y="153"/>
                      <a:pt x="92" y="152"/>
                    </a:cubicBezTo>
                    <a:cubicBezTo>
                      <a:pt x="92" y="146"/>
                      <a:pt x="90" y="140"/>
                      <a:pt x="85" y="138"/>
                    </a:cubicBezTo>
                    <a:cubicBezTo>
                      <a:pt x="84" y="161"/>
                      <a:pt x="87" y="175"/>
                      <a:pt x="103" y="194"/>
                    </a:cubicBezTo>
                    <a:cubicBezTo>
                      <a:pt x="115" y="207"/>
                      <a:pt x="127" y="217"/>
                      <a:pt x="135" y="233"/>
                    </a:cubicBezTo>
                    <a:cubicBezTo>
                      <a:pt x="140" y="245"/>
                      <a:pt x="156" y="275"/>
                      <a:pt x="171" y="274"/>
                    </a:cubicBezTo>
                    <a:cubicBezTo>
                      <a:pt x="181" y="273"/>
                      <a:pt x="185" y="260"/>
                      <a:pt x="196" y="259"/>
                    </a:cubicBezTo>
                    <a:cubicBezTo>
                      <a:pt x="207" y="258"/>
                      <a:pt x="212" y="268"/>
                      <a:pt x="219" y="274"/>
                    </a:cubicBezTo>
                    <a:cubicBezTo>
                      <a:pt x="241" y="293"/>
                      <a:pt x="240" y="275"/>
                      <a:pt x="230" y="258"/>
                    </a:cubicBezTo>
                    <a:close/>
                    <a:moveTo>
                      <a:pt x="182" y="288"/>
                    </a:moveTo>
                    <a:cubicBezTo>
                      <a:pt x="175" y="282"/>
                      <a:pt x="146" y="285"/>
                      <a:pt x="146" y="285"/>
                    </a:cubicBezTo>
                    <a:cubicBezTo>
                      <a:pt x="167" y="313"/>
                      <a:pt x="167" y="313"/>
                      <a:pt x="167" y="313"/>
                    </a:cubicBezTo>
                    <a:cubicBezTo>
                      <a:pt x="180" y="357"/>
                      <a:pt x="180" y="357"/>
                      <a:pt x="180" y="357"/>
                    </a:cubicBezTo>
                    <a:cubicBezTo>
                      <a:pt x="180" y="357"/>
                      <a:pt x="192" y="347"/>
                      <a:pt x="197" y="339"/>
                    </a:cubicBezTo>
                    <a:cubicBezTo>
                      <a:pt x="203" y="331"/>
                      <a:pt x="191" y="315"/>
                      <a:pt x="191" y="315"/>
                    </a:cubicBezTo>
                    <a:cubicBezTo>
                      <a:pt x="191" y="315"/>
                      <a:pt x="189" y="295"/>
                      <a:pt x="182" y="288"/>
                    </a:cubicBezTo>
                    <a:close/>
                    <a:moveTo>
                      <a:pt x="232" y="434"/>
                    </a:moveTo>
                    <a:cubicBezTo>
                      <a:pt x="237" y="444"/>
                      <a:pt x="245" y="454"/>
                      <a:pt x="245" y="454"/>
                    </a:cubicBezTo>
                    <a:cubicBezTo>
                      <a:pt x="245" y="454"/>
                      <a:pt x="261" y="437"/>
                      <a:pt x="266" y="441"/>
                    </a:cubicBezTo>
                    <a:cubicBezTo>
                      <a:pt x="271" y="444"/>
                      <a:pt x="271" y="463"/>
                      <a:pt x="271" y="463"/>
                    </a:cubicBezTo>
                    <a:cubicBezTo>
                      <a:pt x="280" y="472"/>
                      <a:pt x="280" y="472"/>
                      <a:pt x="280" y="472"/>
                    </a:cubicBezTo>
                    <a:cubicBezTo>
                      <a:pt x="280" y="472"/>
                      <a:pt x="257" y="506"/>
                      <a:pt x="257" y="513"/>
                    </a:cubicBezTo>
                    <a:cubicBezTo>
                      <a:pt x="257" y="519"/>
                      <a:pt x="257" y="539"/>
                      <a:pt x="273" y="535"/>
                    </a:cubicBezTo>
                    <a:cubicBezTo>
                      <a:pt x="288" y="532"/>
                      <a:pt x="311" y="527"/>
                      <a:pt x="302" y="513"/>
                    </a:cubicBezTo>
                    <a:cubicBezTo>
                      <a:pt x="293" y="498"/>
                      <a:pt x="292" y="486"/>
                      <a:pt x="300" y="463"/>
                    </a:cubicBezTo>
                    <a:cubicBezTo>
                      <a:pt x="309" y="441"/>
                      <a:pt x="302" y="424"/>
                      <a:pt x="295" y="431"/>
                    </a:cubicBezTo>
                    <a:cubicBezTo>
                      <a:pt x="288" y="437"/>
                      <a:pt x="275" y="445"/>
                      <a:pt x="275" y="437"/>
                    </a:cubicBezTo>
                    <a:cubicBezTo>
                      <a:pt x="275" y="429"/>
                      <a:pt x="295" y="398"/>
                      <a:pt x="283" y="395"/>
                    </a:cubicBezTo>
                    <a:cubicBezTo>
                      <a:pt x="271" y="391"/>
                      <a:pt x="249" y="378"/>
                      <a:pt x="249" y="378"/>
                    </a:cubicBezTo>
                    <a:cubicBezTo>
                      <a:pt x="249" y="378"/>
                      <a:pt x="228" y="373"/>
                      <a:pt x="227" y="380"/>
                    </a:cubicBezTo>
                    <a:cubicBezTo>
                      <a:pt x="225" y="387"/>
                      <a:pt x="239" y="398"/>
                      <a:pt x="239" y="398"/>
                    </a:cubicBezTo>
                    <a:cubicBezTo>
                      <a:pt x="239" y="398"/>
                      <a:pt x="227" y="424"/>
                      <a:pt x="232" y="434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209">
                <a:extLst>
                  <a:ext uri="{FF2B5EF4-FFF2-40B4-BE49-F238E27FC236}">
                    <a16:creationId xmlns:a16="http://schemas.microsoft.com/office/drawing/2014/main" id="{30B2CC6A-19A4-425D-4CFD-81DCAE5BC8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80" y="-13199"/>
                <a:ext cx="201" cy="427"/>
              </a:xfrm>
              <a:custGeom>
                <a:avLst/>
                <a:gdLst>
                  <a:gd name="T0" fmla="*/ 62 w 85"/>
                  <a:gd name="T1" fmla="*/ 181 h 181"/>
                  <a:gd name="T2" fmla="*/ 62 w 85"/>
                  <a:gd name="T3" fmla="*/ 148 h 181"/>
                  <a:gd name="T4" fmla="*/ 75 w 85"/>
                  <a:gd name="T5" fmla="*/ 118 h 181"/>
                  <a:gd name="T6" fmla="*/ 75 w 85"/>
                  <a:gd name="T7" fmla="*/ 68 h 181"/>
                  <a:gd name="T8" fmla="*/ 84 w 85"/>
                  <a:gd name="T9" fmla="*/ 43 h 181"/>
                  <a:gd name="T10" fmla="*/ 85 w 85"/>
                  <a:gd name="T11" fmla="*/ 17 h 181"/>
                  <a:gd name="T12" fmla="*/ 56 w 85"/>
                  <a:gd name="T13" fmla="*/ 0 h 181"/>
                  <a:gd name="T14" fmla="*/ 39 w 85"/>
                  <a:gd name="T15" fmla="*/ 20 h 181"/>
                  <a:gd name="T16" fmla="*/ 8 w 85"/>
                  <a:gd name="T17" fmla="*/ 114 h 181"/>
                  <a:gd name="T18" fmla="*/ 34 w 85"/>
                  <a:gd name="T19" fmla="*/ 147 h 181"/>
                  <a:gd name="T20" fmla="*/ 62 w 85"/>
                  <a:gd name="T21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" h="181">
                    <a:moveTo>
                      <a:pt x="62" y="181"/>
                    </a:moveTo>
                    <a:cubicBezTo>
                      <a:pt x="62" y="148"/>
                      <a:pt x="62" y="148"/>
                      <a:pt x="62" y="148"/>
                    </a:cubicBezTo>
                    <a:cubicBezTo>
                      <a:pt x="62" y="148"/>
                      <a:pt x="75" y="139"/>
                      <a:pt x="75" y="118"/>
                    </a:cubicBezTo>
                    <a:cubicBezTo>
                      <a:pt x="75" y="97"/>
                      <a:pt x="75" y="68"/>
                      <a:pt x="75" y="68"/>
                    </a:cubicBezTo>
                    <a:cubicBezTo>
                      <a:pt x="75" y="68"/>
                      <a:pt x="85" y="55"/>
                      <a:pt x="84" y="43"/>
                    </a:cubicBezTo>
                    <a:cubicBezTo>
                      <a:pt x="83" y="31"/>
                      <a:pt x="85" y="17"/>
                      <a:pt x="85" y="17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39" y="20"/>
                      <a:pt x="0" y="102"/>
                      <a:pt x="8" y="114"/>
                    </a:cubicBezTo>
                    <a:cubicBezTo>
                      <a:pt x="16" y="126"/>
                      <a:pt x="34" y="147"/>
                      <a:pt x="34" y="147"/>
                    </a:cubicBezTo>
                    <a:cubicBezTo>
                      <a:pt x="34" y="147"/>
                      <a:pt x="47" y="181"/>
                      <a:pt x="62" y="18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210">
                <a:extLst>
                  <a:ext uri="{FF2B5EF4-FFF2-40B4-BE49-F238E27FC236}">
                    <a16:creationId xmlns:a16="http://schemas.microsoft.com/office/drawing/2014/main" id="{AC8EDED0-F9F8-433A-E2B3-1FF61D1903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1064" y="-9139"/>
                <a:ext cx="584" cy="555"/>
              </a:xfrm>
              <a:custGeom>
                <a:avLst/>
                <a:gdLst>
                  <a:gd name="T0" fmla="*/ 21 w 247"/>
                  <a:gd name="T1" fmla="*/ 14 h 235"/>
                  <a:gd name="T2" fmla="*/ 9 w 247"/>
                  <a:gd name="T3" fmla="*/ 0 h 235"/>
                  <a:gd name="T4" fmla="*/ 2 w 247"/>
                  <a:gd name="T5" fmla="*/ 16 h 235"/>
                  <a:gd name="T6" fmla="*/ 15 w 247"/>
                  <a:gd name="T7" fmla="*/ 32 h 235"/>
                  <a:gd name="T8" fmla="*/ 21 w 247"/>
                  <a:gd name="T9" fmla="*/ 14 h 235"/>
                  <a:gd name="T10" fmla="*/ 0 w 247"/>
                  <a:gd name="T11" fmla="*/ 84 h 235"/>
                  <a:gd name="T12" fmla="*/ 13 w 247"/>
                  <a:gd name="T13" fmla="*/ 89 h 235"/>
                  <a:gd name="T14" fmla="*/ 22 w 247"/>
                  <a:gd name="T15" fmla="*/ 67 h 235"/>
                  <a:gd name="T16" fmla="*/ 0 w 247"/>
                  <a:gd name="T17" fmla="*/ 70 h 235"/>
                  <a:gd name="T18" fmla="*/ 0 w 247"/>
                  <a:gd name="T19" fmla="*/ 84 h 235"/>
                  <a:gd name="T20" fmla="*/ 51 w 247"/>
                  <a:gd name="T21" fmla="*/ 81 h 235"/>
                  <a:gd name="T22" fmla="*/ 25 w 247"/>
                  <a:gd name="T23" fmla="*/ 81 h 235"/>
                  <a:gd name="T24" fmla="*/ 26 w 247"/>
                  <a:gd name="T25" fmla="*/ 97 h 235"/>
                  <a:gd name="T26" fmla="*/ 53 w 247"/>
                  <a:gd name="T27" fmla="*/ 91 h 235"/>
                  <a:gd name="T28" fmla="*/ 51 w 247"/>
                  <a:gd name="T29" fmla="*/ 81 h 235"/>
                  <a:gd name="T30" fmla="*/ 39 w 247"/>
                  <a:gd name="T31" fmla="*/ 126 h 235"/>
                  <a:gd name="T32" fmla="*/ 64 w 247"/>
                  <a:gd name="T33" fmla="*/ 123 h 235"/>
                  <a:gd name="T34" fmla="*/ 32 w 247"/>
                  <a:gd name="T35" fmla="*/ 103 h 235"/>
                  <a:gd name="T36" fmla="*/ 39 w 247"/>
                  <a:gd name="T37" fmla="*/ 126 h 235"/>
                  <a:gd name="T38" fmla="*/ 163 w 247"/>
                  <a:gd name="T39" fmla="*/ 149 h 235"/>
                  <a:gd name="T40" fmla="*/ 128 w 247"/>
                  <a:gd name="T41" fmla="*/ 142 h 235"/>
                  <a:gd name="T42" fmla="*/ 142 w 247"/>
                  <a:gd name="T43" fmla="*/ 169 h 235"/>
                  <a:gd name="T44" fmla="*/ 183 w 247"/>
                  <a:gd name="T45" fmla="*/ 172 h 235"/>
                  <a:gd name="T46" fmla="*/ 163 w 247"/>
                  <a:gd name="T47" fmla="*/ 149 h 235"/>
                  <a:gd name="T48" fmla="*/ 205 w 247"/>
                  <a:gd name="T49" fmla="*/ 193 h 235"/>
                  <a:gd name="T50" fmla="*/ 238 w 247"/>
                  <a:gd name="T51" fmla="*/ 235 h 235"/>
                  <a:gd name="T52" fmla="*/ 247 w 247"/>
                  <a:gd name="T53" fmla="*/ 215 h 235"/>
                  <a:gd name="T54" fmla="*/ 205 w 247"/>
                  <a:gd name="T55" fmla="*/ 193 h 235"/>
                  <a:gd name="T56" fmla="*/ 189 w 247"/>
                  <a:gd name="T57" fmla="*/ 84 h 235"/>
                  <a:gd name="T58" fmla="*/ 184 w 247"/>
                  <a:gd name="T59" fmla="*/ 130 h 235"/>
                  <a:gd name="T60" fmla="*/ 218 w 247"/>
                  <a:gd name="T61" fmla="*/ 160 h 235"/>
                  <a:gd name="T62" fmla="*/ 189 w 247"/>
                  <a:gd name="T63" fmla="*/ 84 h 235"/>
                  <a:gd name="T64" fmla="*/ 81 w 247"/>
                  <a:gd name="T65" fmla="*/ 41 h 235"/>
                  <a:gd name="T66" fmla="*/ 138 w 247"/>
                  <a:gd name="T67" fmla="*/ 102 h 235"/>
                  <a:gd name="T68" fmla="*/ 81 w 247"/>
                  <a:gd name="T69" fmla="*/ 41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7" h="235">
                    <a:moveTo>
                      <a:pt x="21" y="14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15" y="32"/>
                      <a:pt x="15" y="32"/>
                      <a:pt x="15" y="32"/>
                    </a:cubicBezTo>
                    <a:lnTo>
                      <a:pt x="21" y="14"/>
                    </a:lnTo>
                    <a:close/>
                    <a:moveTo>
                      <a:pt x="0" y="84"/>
                    </a:moveTo>
                    <a:cubicBezTo>
                      <a:pt x="13" y="89"/>
                      <a:pt x="13" y="89"/>
                      <a:pt x="13" y="89"/>
                    </a:cubicBezTo>
                    <a:cubicBezTo>
                      <a:pt x="22" y="67"/>
                      <a:pt x="22" y="67"/>
                      <a:pt x="22" y="67"/>
                    </a:cubicBezTo>
                    <a:cubicBezTo>
                      <a:pt x="0" y="70"/>
                      <a:pt x="0" y="70"/>
                      <a:pt x="0" y="70"/>
                    </a:cubicBezTo>
                    <a:lnTo>
                      <a:pt x="0" y="84"/>
                    </a:lnTo>
                    <a:close/>
                    <a:moveTo>
                      <a:pt x="51" y="81"/>
                    </a:moveTo>
                    <a:cubicBezTo>
                      <a:pt x="25" y="81"/>
                      <a:pt x="25" y="81"/>
                      <a:pt x="25" y="81"/>
                    </a:cubicBezTo>
                    <a:cubicBezTo>
                      <a:pt x="26" y="97"/>
                      <a:pt x="26" y="97"/>
                      <a:pt x="26" y="97"/>
                    </a:cubicBezTo>
                    <a:cubicBezTo>
                      <a:pt x="53" y="91"/>
                      <a:pt x="53" y="91"/>
                      <a:pt x="53" y="91"/>
                    </a:cubicBezTo>
                    <a:lnTo>
                      <a:pt x="51" y="81"/>
                    </a:lnTo>
                    <a:close/>
                    <a:moveTo>
                      <a:pt x="39" y="126"/>
                    </a:moveTo>
                    <a:cubicBezTo>
                      <a:pt x="64" y="123"/>
                      <a:pt x="64" y="123"/>
                      <a:pt x="64" y="123"/>
                    </a:cubicBezTo>
                    <a:cubicBezTo>
                      <a:pt x="32" y="103"/>
                      <a:pt x="32" y="103"/>
                      <a:pt x="32" y="103"/>
                    </a:cubicBezTo>
                    <a:lnTo>
                      <a:pt x="39" y="126"/>
                    </a:lnTo>
                    <a:close/>
                    <a:moveTo>
                      <a:pt x="163" y="149"/>
                    </a:moveTo>
                    <a:cubicBezTo>
                      <a:pt x="145" y="139"/>
                      <a:pt x="128" y="142"/>
                      <a:pt x="128" y="142"/>
                    </a:cubicBezTo>
                    <a:cubicBezTo>
                      <a:pt x="128" y="142"/>
                      <a:pt x="124" y="161"/>
                      <a:pt x="142" y="169"/>
                    </a:cubicBezTo>
                    <a:cubicBezTo>
                      <a:pt x="168" y="180"/>
                      <a:pt x="183" y="172"/>
                      <a:pt x="183" y="172"/>
                    </a:cubicBezTo>
                    <a:cubicBezTo>
                      <a:pt x="183" y="172"/>
                      <a:pt x="182" y="160"/>
                      <a:pt x="163" y="149"/>
                    </a:cubicBezTo>
                    <a:close/>
                    <a:moveTo>
                      <a:pt x="205" y="193"/>
                    </a:moveTo>
                    <a:cubicBezTo>
                      <a:pt x="238" y="235"/>
                      <a:pt x="238" y="235"/>
                      <a:pt x="238" y="235"/>
                    </a:cubicBezTo>
                    <a:cubicBezTo>
                      <a:pt x="247" y="215"/>
                      <a:pt x="247" y="215"/>
                      <a:pt x="247" y="215"/>
                    </a:cubicBezTo>
                    <a:lnTo>
                      <a:pt x="205" y="193"/>
                    </a:lnTo>
                    <a:close/>
                    <a:moveTo>
                      <a:pt x="189" y="84"/>
                    </a:moveTo>
                    <a:cubicBezTo>
                      <a:pt x="189" y="84"/>
                      <a:pt x="178" y="119"/>
                      <a:pt x="184" y="130"/>
                    </a:cubicBezTo>
                    <a:cubicBezTo>
                      <a:pt x="191" y="140"/>
                      <a:pt x="218" y="160"/>
                      <a:pt x="218" y="160"/>
                    </a:cubicBezTo>
                    <a:lnTo>
                      <a:pt x="189" y="84"/>
                    </a:lnTo>
                    <a:close/>
                    <a:moveTo>
                      <a:pt x="81" y="41"/>
                    </a:moveTo>
                    <a:cubicBezTo>
                      <a:pt x="75" y="51"/>
                      <a:pt x="130" y="104"/>
                      <a:pt x="138" y="102"/>
                    </a:cubicBezTo>
                    <a:cubicBezTo>
                      <a:pt x="154" y="100"/>
                      <a:pt x="86" y="30"/>
                      <a:pt x="81" y="4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Freeform 211">
                <a:extLst>
                  <a:ext uri="{FF2B5EF4-FFF2-40B4-BE49-F238E27FC236}">
                    <a16:creationId xmlns:a16="http://schemas.microsoft.com/office/drawing/2014/main" id="{DE85A39B-2E11-AB70-BF04-EC2253187D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29" y="-10840"/>
                <a:ext cx="489" cy="693"/>
              </a:xfrm>
              <a:custGeom>
                <a:avLst/>
                <a:gdLst>
                  <a:gd name="T0" fmla="*/ 1 w 207"/>
                  <a:gd name="T1" fmla="*/ 30 h 293"/>
                  <a:gd name="T2" fmla="*/ 6 w 207"/>
                  <a:gd name="T3" fmla="*/ 91 h 293"/>
                  <a:gd name="T4" fmla="*/ 38 w 207"/>
                  <a:gd name="T5" fmla="*/ 99 h 293"/>
                  <a:gd name="T6" fmla="*/ 39 w 207"/>
                  <a:gd name="T7" fmla="*/ 153 h 293"/>
                  <a:gd name="T8" fmla="*/ 62 w 207"/>
                  <a:gd name="T9" fmla="*/ 153 h 293"/>
                  <a:gd name="T10" fmla="*/ 65 w 207"/>
                  <a:gd name="T11" fmla="*/ 203 h 293"/>
                  <a:gd name="T12" fmla="*/ 114 w 207"/>
                  <a:gd name="T13" fmla="*/ 236 h 293"/>
                  <a:gd name="T14" fmla="*/ 121 w 207"/>
                  <a:gd name="T15" fmla="*/ 258 h 293"/>
                  <a:gd name="T16" fmla="*/ 153 w 207"/>
                  <a:gd name="T17" fmla="*/ 271 h 293"/>
                  <a:gd name="T18" fmla="*/ 169 w 207"/>
                  <a:gd name="T19" fmla="*/ 293 h 293"/>
                  <a:gd name="T20" fmla="*/ 202 w 207"/>
                  <a:gd name="T21" fmla="*/ 290 h 293"/>
                  <a:gd name="T22" fmla="*/ 205 w 207"/>
                  <a:gd name="T23" fmla="*/ 252 h 293"/>
                  <a:gd name="T24" fmla="*/ 172 w 207"/>
                  <a:gd name="T25" fmla="*/ 210 h 293"/>
                  <a:gd name="T26" fmla="*/ 170 w 207"/>
                  <a:gd name="T27" fmla="*/ 184 h 293"/>
                  <a:gd name="T28" fmla="*/ 168 w 207"/>
                  <a:gd name="T29" fmla="*/ 160 h 293"/>
                  <a:gd name="T30" fmla="*/ 167 w 207"/>
                  <a:gd name="T31" fmla="*/ 87 h 293"/>
                  <a:gd name="T32" fmla="*/ 115 w 207"/>
                  <a:gd name="T33" fmla="*/ 41 h 293"/>
                  <a:gd name="T34" fmla="*/ 103 w 207"/>
                  <a:gd name="T35" fmla="*/ 31 h 293"/>
                  <a:gd name="T36" fmla="*/ 91 w 207"/>
                  <a:gd name="T37" fmla="*/ 55 h 293"/>
                  <a:gd name="T38" fmla="*/ 72 w 207"/>
                  <a:gd name="T39" fmla="*/ 47 h 293"/>
                  <a:gd name="T40" fmla="*/ 49 w 207"/>
                  <a:gd name="T41" fmla="*/ 54 h 293"/>
                  <a:gd name="T42" fmla="*/ 52 w 207"/>
                  <a:gd name="T43" fmla="*/ 32 h 293"/>
                  <a:gd name="T44" fmla="*/ 45 w 207"/>
                  <a:gd name="T45" fmla="*/ 28 h 293"/>
                  <a:gd name="T46" fmla="*/ 39 w 207"/>
                  <a:gd name="T47" fmla="*/ 16 h 293"/>
                  <a:gd name="T48" fmla="*/ 21 w 207"/>
                  <a:gd name="T49" fmla="*/ 12 h 293"/>
                  <a:gd name="T50" fmla="*/ 12 w 207"/>
                  <a:gd name="T51" fmla="*/ 1 h 293"/>
                  <a:gd name="T52" fmla="*/ 7 w 207"/>
                  <a:gd name="T53" fmla="*/ 17 h 293"/>
                  <a:gd name="T54" fmla="*/ 0 w 207"/>
                  <a:gd name="T55" fmla="*/ 29 h 293"/>
                  <a:gd name="T56" fmla="*/ 1 w 207"/>
                  <a:gd name="T57" fmla="*/ 3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07" h="293">
                    <a:moveTo>
                      <a:pt x="1" y="30"/>
                    </a:moveTo>
                    <a:cubicBezTo>
                      <a:pt x="6" y="91"/>
                      <a:pt x="6" y="91"/>
                      <a:pt x="6" y="91"/>
                    </a:cubicBezTo>
                    <a:cubicBezTo>
                      <a:pt x="6" y="91"/>
                      <a:pt x="38" y="79"/>
                      <a:pt x="38" y="99"/>
                    </a:cubicBezTo>
                    <a:cubicBezTo>
                      <a:pt x="37" y="119"/>
                      <a:pt x="28" y="141"/>
                      <a:pt x="39" y="153"/>
                    </a:cubicBezTo>
                    <a:cubicBezTo>
                      <a:pt x="50" y="166"/>
                      <a:pt x="62" y="153"/>
                      <a:pt x="62" y="153"/>
                    </a:cubicBezTo>
                    <a:cubicBezTo>
                      <a:pt x="62" y="153"/>
                      <a:pt x="55" y="194"/>
                      <a:pt x="65" y="203"/>
                    </a:cubicBezTo>
                    <a:cubicBezTo>
                      <a:pt x="75" y="212"/>
                      <a:pt x="114" y="236"/>
                      <a:pt x="114" y="236"/>
                    </a:cubicBezTo>
                    <a:cubicBezTo>
                      <a:pt x="114" y="236"/>
                      <a:pt x="116" y="256"/>
                      <a:pt x="121" y="258"/>
                    </a:cubicBezTo>
                    <a:cubicBezTo>
                      <a:pt x="126" y="259"/>
                      <a:pt x="153" y="271"/>
                      <a:pt x="153" y="271"/>
                    </a:cubicBezTo>
                    <a:cubicBezTo>
                      <a:pt x="169" y="293"/>
                      <a:pt x="169" y="293"/>
                      <a:pt x="169" y="293"/>
                    </a:cubicBezTo>
                    <a:cubicBezTo>
                      <a:pt x="202" y="290"/>
                      <a:pt x="202" y="290"/>
                      <a:pt x="202" y="290"/>
                    </a:cubicBezTo>
                    <a:cubicBezTo>
                      <a:pt x="202" y="290"/>
                      <a:pt x="207" y="270"/>
                      <a:pt x="205" y="252"/>
                    </a:cubicBezTo>
                    <a:cubicBezTo>
                      <a:pt x="203" y="235"/>
                      <a:pt x="173" y="215"/>
                      <a:pt x="172" y="210"/>
                    </a:cubicBezTo>
                    <a:cubicBezTo>
                      <a:pt x="171" y="205"/>
                      <a:pt x="177" y="193"/>
                      <a:pt x="170" y="184"/>
                    </a:cubicBezTo>
                    <a:cubicBezTo>
                      <a:pt x="162" y="175"/>
                      <a:pt x="168" y="173"/>
                      <a:pt x="168" y="160"/>
                    </a:cubicBezTo>
                    <a:cubicBezTo>
                      <a:pt x="169" y="148"/>
                      <a:pt x="172" y="109"/>
                      <a:pt x="167" y="87"/>
                    </a:cubicBezTo>
                    <a:cubicBezTo>
                      <a:pt x="163" y="65"/>
                      <a:pt x="121" y="50"/>
                      <a:pt x="115" y="41"/>
                    </a:cubicBezTo>
                    <a:cubicBezTo>
                      <a:pt x="113" y="38"/>
                      <a:pt x="108" y="34"/>
                      <a:pt x="103" y="31"/>
                    </a:cubicBezTo>
                    <a:cubicBezTo>
                      <a:pt x="100" y="39"/>
                      <a:pt x="95" y="50"/>
                      <a:pt x="91" y="55"/>
                    </a:cubicBezTo>
                    <a:cubicBezTo>
                      <a:pt x="85" y="63"/>
                      <a:pt x="83" y="46"/>
                      <a:pt x="72" y="47"/>
                    </a:cubicBezTo>
                    <a:cubicBezTo>
                      <a:pt x="61" y="48"/>
                      <a:pt x="62" y="58"/>
                      <a:pt x="49" y="54"/>
                    </a:cubicBezTo>
                    <a:cubicBezTo>
                      <a:pt x="36" y="50"/>
                      <a:pt x="52" y="38"/>
                      <a:pt x="52" y="32"/>
                    </a:cubicBezTo>
                    <a:cubicBezTo>
                      <a:pt x="52" y="26"/>
                      <a:pt x="45" y="28"/>
                      <a:pt x="45" y="28"/>
                    </a:cubicBezTo>
                    <a:cubicBezTo>
                      <a:pt x="45" y="28"/>
                      <a:pt x="46" y="20"/>
                      <a:pt x="39" y="16"/>
                    </a:cubicBezTo>
                    <a:cubicBezTo>
                      <a:pt x="32" y="12"/>
                      <a:pt x="21" y="12"/>
                      <a:pt x="21" y="12"/>
                    </a:cubicBezTo>
                    <a:cubicBezTo>
                      <a:pt x="21" y="12"/>
                      <a:pt x="19" y="0"/>
                      <a:pt x="12" y="1"/>
                    </a:cubicBezTo>
                    <a:cubicBezTo>
                      <a:pt x="5" y="2"/>
                      <a:pt x="6" y="8"/>
                      <a:pt x="7" y="17"/>
                    </a:cubicBezTo>
                    <a:cubicBezTo>
                      <a:pt x="7" y="21"/>
                      <a:pt x="4" y="25"/>
                      <a:pt x="0" y="29"/>
                    </a:cubicBezTo>
                    <a:cubicBezTo>
                      <a:pt x="1" y="29"/>
                      <a:pt x="1" y="30"/>
                      <a:pt x="1" y="3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 212">
                <a:extLst>
                  <a:ext uri="{FF2B5EF4-FFF2-40B4-BE49-F238E27FC236}">
                    <a16:creationId xmlns:a16="http://schemas.microsoft.com/office/drawing/2014/main" id="{3710DF4A-7AC5-7F02-0124-1C4E6C48F80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41" y="-11832"/>
                <a:ext cx="596" cy="529"/>
              </a:xfrm>
              <a:custGeom>
                <a:avLst/>
                <a:gdLst>
                  <a:gd name="T0" fmla="*/ 214 w 252"/>
                  <a:gd name="T1" fmla="*/ 0 h 224"/>
                  <a:gd name="T2" fmla="*/ 206 w 252"/>
                  <a:gd name="T3" fmla="*/ 9 h 224"/>
                  <a:gd name="T4" fmla="*/ 184 w 252"/>
                  <a:gd name="T5" fmla="*/ 0 h 224"/>
                  <a:gd name="T6" fmla="*/ 175 w 252"/>
                  <a:gd name="T7" fmla="*/ 8 h 224"/>
                  <a:gd name="T8" fmla="*/ 164 w 252"/>
                  <a:gd name="T9" fmla="*/ 16 h 224"/>
                  <a:gd name="T10" fmla="*/ 168 w 252"/>
                  <a:gd name="T11" fmla="*/ 36 h 224"/>
                  <a:gd name="T12" fmla="*/ 151 w 252"/>
                  <a:gd name="T13" fmla="*/ 24 h 224"/>
                  <a:gd name="T14" fmla="*/ 131 w 252"/>
                  <a:gd name="T15" fmla="*/ 22 h 224"/>
                  <a:gd name="T16" fmla="*/ 128 w 252"/>
                  <a:gd name="T17" fmla="*/ 13 h 224"/>
                  <a:gd name="T18" fmla="*/ 123 w 252"/>
                  <a:gd name="T19" fmla="*/ 16 h 224"/>
                  <a:gd name="T20" fmla="*/ 101 w 252"/>
                  <a:gd name="T21" fmla="*/ 8 h 224"/>
                  <a:gd name="T22" fmla="*/ 74 w 252"/>
                  <a:gd name="T23" fmla="*/ 15 h 224"/>
                  <a:gd name="T24" fmla="*/ 46 w 252"/>
                  <a:gd name="T25" fmla="*/ 10 h 224"/>
                  <a:gd name="T26" fmla="*/ 19 w 252"/>
                  <a:gd name="T27" fmla="*/ 34 h 224"/>
                  <a:gd name="T28" fmla="*/ 0 w 252"/>
                  <a:gd name="T29" fmla="*/ 54 h 224"/>
                  <a:gd name="T30" fmla="*/ 2 w 252"/>
                  <a:gd name="T31" fmla="*/ 79 h 224"/>
                  <a:gd name="T32" fmla="*/ 9 w 252"/>
                  <a:gd name="T33" fmla="*/ 85 h 224"/>
                  <a:gd name="T34" fmla="*/ 9 w 252"/>
                  <a:gd name="T35" fmla="*/ 104 h 224"/>
                  <a:gd name="T36" fmla="*/ 20 w 252"/>
                  <a:gd name="T37" fmla="*/ 114 h 224"/>
                  <a:gd name="T38" fmla="*/ 17 w 252"/>
                  <a:gd name="T39" fmla="*/ 133 h 224"/>
                  <a:gd name="T40" fmla="*/ 26 w 252"/>
                  <a:gd name="T41" fmla="*/ 139 h 224"/>
                  <a:gd name="T42" fmla="*/ 27 w 252"/>
                  <a:gd name="T43" fmla="*/ 168 h 224"/>
                  <a:gd name="T44" fmla="*/ 46 w 252"/>
                  <a:gd name="T45" fmla="*/ 191 h 224"/>
                  <a:gd name="T46" fmla="*/ 59 w 252"/>
                  <a:gd name="T47" fmla="*/ 178 h 224"/>
                  <a:gd name="T48" fmla="*/ 68 w 252"/>
                  <a:gd name="T49" fmla="*/ 204 h 224"/>
                  <a:gd name="T50" fmla="*/ 91 w 252"/>
                  <a:gd name="T51" fmla="*/ 208 h 224"/>
                  <a:gd name="T52" fmla="*/ 97 w 252"/>
                  <a:gd name="T53" fmla="*/ 223 h 224"/>
                  <a:gd name="T54" fmla="*/ 110 w 252"/>
                  <a:gd name="T55" fmla="*/ 224 h 224"/>
                  <a:gd name="T56" fmla="*/ 139 w 252"/>
                  <a:gd name="T57" fmla="*/ 213 h 224"/>
                  <a:gd name="T58" fmla="*/ 135 w 252"/>
                  <a:gd name="T59" fmla="*/ 197 h 224"/>
                  <a:gd name="T60" fmla="*/ 153 w 252"/>
                  <a:gd name="T61" fmla="*/ 197 h 224"/>
                  <a:gd name="T62" fmla="*/ 169 w 252"/>
                  <a:gd name="T63" fmla="*/ 190 h 224"/>
                  <a:gd name="T64" fmla="*/ 193 w 252"/>
                  <a:gd name="T65" fmla="*/ 205 h 224"/>
                  <a:gd name="T66" fmla="*/ 183 w 252"/>
                  <a:gd name="T67" fmla="*/ 186 h 224"/>
                  <a:gd name="T68" fmla="*/ 175 w 252"/>
                  <a:gd name="T69" fmla="*/ 154 h 224"/>
                  <a:gd name="T70" fmla="*/ 204 w 252"/>
                  <a:gd name="T71" fmla="*/ 152 h 224"/>
                  <a:gd name="T72" fmla="*/ 201 w 252"/>
                  <a:gd name="T73" fmla="*/ 138 h 224"/>
                  <a:gd name="T74" fmla="*/ 222 w 252"/>
                  <a:gd name="T75" fmla="*/ 137 h 224"/>
                  <a:gd name="T76" fmla="*/ 228 w 252"/>
                  <a:gd name="T77" fmla="*/ 123 h 224"/>
                  <a:gd name="T78" fmla="*/ 245 w 252"/>
                  <a:gd name="T79" fmla="*/ 125 h 224"/>
                  <a:gd name="T80" fmla="*/ 248 w 252"/>
                  <a:gd name="T81" fmla="*/ 111 h 224"/>
                  <a:gd name="T82" fmla="*/ 237 w 252"/>
                  <a:gd name="T83" fmla="*/ 72 h 224"/>
                  <a:gd name="T84" fmla="*/ 252 w 252"/>
                  <a:gd name="T85" fmla="*/ 56 h 224"/>
                  <a:gd name="T86" fmla="*/ 231 w 252"/>
                  <a:gd name="T87" fmla="*/ 32 h 224"/>
                  <a:gd name="T88" fmla="*/ 231 w 252"/>
                  <a:gd name="T89" fmla="*/ 4 h 224"/>
                  <a:gd name="T90" fmla="*/ 214 w 252"/>
                  <a:gd name="T91" fmla="*/ 0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52" h="224">
                    <a:moveTo>
                      <a:pt x="214" y="0"/>
                    </a:moveTo>
                    <a:cubicBezTo>
                      <a:pt x="206" y="9"/>
                      <a:pt x="206" y="9"/>
                      <a:pt x="206" y="9"/>
                    </a:cubicBezTo>
                    <a:cubicBezTo>
                      <a:pt x="184" y="0"/>
                      <a:pt x="184" y="0"/>
                      <a:pt x="184" y="0"/>
                    </a:cubicBezTo>
                    <a:cubicBezTo>
                      <a:pt x="175" y="8"/>
                      <a:pt x="175" y="8"/>
                      <a:pt x="175" y="8"/>
                    </a:cubicBezTo>
                    <a:cubicBezTo>
                      <a:pt x="164" y="16"/>
                      <a:pt x="164" y="16"/>
                      <a:pt x="164" y="16"/>
                    </a:cubicBezTo>
                    <a:cubicBezTo>
                      <a:pt x="164" y="16"/>
                      <a:pt x="176" y="28"/>
                      <a:pt x="168" y="36"/>
                    </a:cubicBezTo>
                    <a:cubicBezTo>
                      <a:pt x="160" y="44"/>
                      <a:pt x="151" y="24"/>
                      <a:pt x="151" y="24"/>
                    </a:cubicBezTo>
                    <a:cubicBezTo>
                      <a:pt x="151" y="24"/>
                      <a:pt x="135" y="23"/>
                      <a:pt x="131" y="22"/>
                    </a:cubicBezTo>
                    <a:cubicBezTo>
                      <a:pt x="128" y="21"/>
                      <a:pt x="128" y="16"/>
                      <a:pt x="128" y="13"/>
                    </a:cubicBezTo>
                    <a:cubicBezTo>
                      <a:pt x="125" y="15"/>
                      <a:pt x="123" y="16"/>
                      <a:pt x="123" y="16"/>
                    </a:cubicBezTo>
                    <a:cubicBezTo>
                      <a:pt x="123" y="16"/>
                      <a:pt x="106" y="7"/>
                      <a:pt x="101" y="8"/>
                    </a:cubicBezTo>
                    <a:cubicBezTo>
                      <a:pt x="96" y="9"/>
                      <a:pt x="74" y="15"/>
                      <a:pt x="74" y="15"/>
                    </a:cubicBezTo>
                    <a:cubicBezTo>
                      <a:pt x="74" y="15"/>
                      <a:pt x="73" y="5"/>
                      <a:pt x="46" y="10"/>
                    </a:cubicBezTo>
                    <a:cubicBezTo>
                      <a:pt x="19" y="15"/>
                      <a:pt x="19" y="34"/>
                      <a:pt x="19" y="34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2" y="79"/>
                      <a:pt x="2" y="79"/>
                      <a:pt x="2" y="79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9" y="104"/>
                      <a:pt x="9" y="104"/>
                      <a:pt x="9" y="104"/>
                    </a:cubicBezTo>
                    <a:cubicBezTo>
                      <a:pt x="20" y="114"/>
                      <a:pt x="20" y="114"/>
                      <a:pt x="20" y="114"/>
                    </a:cubicBezTo>
                    <a:cubicBezTo>
                      <a:pt x="17" y="133"/>
                      <a:pt x="17" y="133"/>
                      <a:pt x="17" y="133"/>
                    </a:cubicBezTo>
                    <a:cubicBezTo>
                      <a:pt x="20" y="134"/>
                      <a:pt x="23" y="136"/>
                      <a:pt x="26" y="139"/>
                    </a:cubicBezTo>
                    <a:cubicBezTo>
                      <a:pt x="41" y="156"/>
                      <a:pt x="27" y="168"/>
                      <a:pt x="27" y="168"/>
                    </a:cubicBezTo>
                    <a:cubicBezTo>
                      <a:pt x="27" y="168"/>
                      <a:pt x="36" y="190"/>
                      <a:pt x="46" y="191"/>
                    </a:cubicBezTo>
                    <a:cubicBezTo>
                      <a:pt x="56" y="191"/>
                      <a:pt x="59" y="178"/>
                      <a:pt x="59" y="178"/>
                    </a:cubicBezTo>
                    <a:cubicBezTo>
                      <a:pt x="59" y="178"/>
                      <a:pt x="58" y="202"/>
                      <a:pt x="68" y="204"/>
                    </a:cubicBezTo>
                    <a:cubicBezTo>
                      <a:pt x="79" y="206"/>
                      <a:pt x="89" y="198"/>
                      <a:pt x="91" y="208"/>
                    </a:cubicBezTo>
                    <a:cubicBezTo>
                      <a:pt x="92" y="212"/>
                      <a:pt x="95" y="218"/>
                      <a:pt x="97" y="223"/>
                    </a:cubicBezTo>
                    <a:cubicBezTo>
                      <a:pt x="110" y="224"/>
                      <a:pt x="110" y="224"/>
                      <a:pt x="110" y="224"/>
                    </a:cubicBezTo>
                    <a:cubicBezTo>
                      <a:pt x="112" y="219"/>
                      <a:pt x="124" y="214"/>
                      <a:pt x="139" y="213"/>
                    </a:cubicBezTo>
                    <a:cubicBezTo>
                      <a:pt x="159" y="211"/>
                      <a:pt x="135" y="197"/>
                      <a:pt x="135" y="197"/>
                    </a:cubicBezTo>
                    <a:cubicBezTo>
                      <a:pt x="135" y="197"/>
                      <a:pt x="149" y="197"/>
                      <a:pt x="153" y="197"/>
                    </a:cubicBezTo>
                    <a:cubicBezTo>
                      <a:pt x="157" y="197"/>
                      <a:pt x="159" y="190"/>
                      <a:pt x="169" y="190"/>
                    </a:cubicBezTo>
                    <a:cubicBezTo>
                      <a:pt x="179" y="190"/>
                      <a:pt x="186" y="206"/>
                      <a:pt x="193" y="205"/>
                    </a:cubicBezTo>
                    <a:cubicBezTo>
                      <a:pt x="200" y="204"/>
                      <a:pt x="193" y="194"/>
                      <a:pt x="183" y="186"/>
                    </a:cubicBezTo>
                    <a:cubicBezTo>
                      <a:pt x="173" y="178"/>
                      <a:pt x="173" y="160"/>
                      <a:pt x="175" y="154"/>
                    </a:cubicBezTo>
                    <a:cubicBezTo>
                      <a:pt x="177" y="148"/>
                      <a:pt x="204" y="152"/>
                      <a:pt x="204" y="152"/>
                    </a:cubicBezTo>
                    <a:cubicBezTo>
                      <a:pt x="201" y="138"/>
                      <a:pt x="201" y="138"/>
                      <a:pt x="201" y="138"/>
                    </a:cubicBezTo>
                    <a:cubicBezTo>
                      <a:pt x="222" y="137"/>
                      <a:pt x="222" y="137"/>
                      <a:pt x="222" y="137"/>
                    </a:cubicBezTo>
                    <a:cubicBezTo>
                      <a:pt x="222" y="137"/>
                      <a:pt x="223" y="126"/>
                      <a:pt x="228" y="123"/>
                    </a:cubicBezTo>
                    <a:cubicBezTo>
                      <a:pt x="233" y="120"/>
                      <a:pt x="245" y="125"/>
                      <a:pt x="245" y="125"/>
                    </a:cubicBezTo>
                    <a:cubicBezTo>
                      <a:pt x="248" y="111"/>
                      <a:pt x="248" y="111"/>
                      <a:pt x="248" y="111"/>
                    </a:cubicBezTo>
                    <a:cubicBezTo>
                      <a:pt x="248" y="111"/>
                      <a:pt x="238" y="75"/>
                      <a:pt x="237" y="72"/>
                    </a:cubicBezTo>
                    <a:cubicBezTo>
                      <a:pt x="236" y="69"/>
                      <a:pt x="252" y="69"/>
                      <a:pt x="252" y="56"/>
                    </a:cubicBezTo>
                    <a:cubicBezTo>
                      <a:pt x="252" y="43"/>
                      <a:pt x="231" y="32"/>
                      <a:pt x="231" y="32"/>
                    </a:cubicBezTo>
                    <a:cubicBezTo>
                      <a:pt x="231" y="4"/>
                      <a:pt x="231" y="4"/>
                      <a:pt x="231" y="4"/>
                    </a:cubicBezTo>
                    <a:lnTo>
                      <a:pt x="214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213">
                <a:extLst>
                  <a:ext uri="{FF2B5EF4-FFF2-40B4-BE49-F238E27FC236}">
                    <a16:creationId xmlns:a16="http://schemas.microsoft.com/office/drawing/2014/main" id="{D53DC41B-56B5-B5B1-3F5D-84AD13ECABD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826" y="-14872"/>
                <a:ext cx="452" cy="671"/>
              </a:xfrm>
              <a:custGeom>
                <a:avLst/>
                <a:gdLst>
                  <a:gd name="T0" fmla="*/ 100 w 191"/>
                  <a:gd name="T1" fmla="*/ 267 h 284"/>
                  <a:gd name="T2" fmla="*/ 101 w 191"/>
                  <a:gd name="T3" fmla="*/ 284 h 284"/>
                  <a:gd name="T4" fmla="*/ 100 w 191"/>
                  <a:gd name="T5" fmla="*/ 267 h 284"/>
                  <a:gd name="T6" fmla="*/ 185 w 191"/>
                  <a:gd name="T7" fmla="*/ 165 h 284"/>
                  <a:gd name="T8" fmla="*/ 166 w 191"/>
                  <a:gd name="T9" fmla="*/ 132 h 284"/>
                  <a:gd name="T10" fmla="*/ 162 w 191"/>
                  <a:gd name="T11" fmla="*/ 101 h 284"/>
                  <a:gd name="T12" fmla="*/ 111 w 191"/>
                  <a:gd name="T13" fmla="*/ 50 h 284"/>
                  <a:gd name="T14" fmla="*/ 98 w 191"/>
                  <a:gd name="T15" fmla="*/ 45 h 284"/>
                  <a:gd name="T16" fmla="*/ 82 w 191"/>
                  <a:gd name="T17" fmla="*/ 21 h 284"/>
                  <a:gd name="T18" fmla="*/ 64 w 191"/>
                  <a:gd name="T19" fmla="*/ 0 h 284"/>
                  <a:gd name="T20" fmla="*/ 54 w 191"/>
                  <a:gd name="T21" fmla="*/ 10 h 284"/>
                  <a:gd name="T22" fmla="*/ 16 w 191"/>
                  <a:gd name="T23" fmla="*/ 16 h 284"/>
                  <a:gd name="T24" fmla="*/ 13 w 191"/>
                  <a:gd name="T25" fmla="*/ 29 h 284"/>
                  <a:gd name="T26" fmla="*/ 0 w 191"/>
                  <a:gd name="T27" fmla="*/ 39 h 284"/>
                  <a:gd name="T28" fmla="*/ 8 w 191"/>
                  <a:gd name="T29" fmla="*/ 56 h 284"/>
                  <a:gd name="T30" fmla="*/ 30 w 191"/>
                  <a:gd name="T31" fmla="*/ 64 h 284"/>
                  <a:gd name="T32" fmla="*/ 41 w 191"/>
                  <a:gd name="T33" fmla="*/ 89 h 284"/>
                  <a:gd name="T34" fmla="*/ 6 w 191"/>
                  <a:gd name="T35" fmla="*/ 82 h 284"/>
                  <a:gd name="T36" fmla="*/ 27 w 191"/>
                  <a:gd name="T37" fmla="*/ 102 h 284"/>
                  <a:gd name="T38" fmla="*/ 37 w 191"/>
                  <a:gd name="T39" fmla="*/ 130 h 284"/>
                  <a:gd name="T40" fmla="*/ 60 w 191"/>
                  <a:gd name="T41" fmla="*/ 134 h 284"/>
                  <a:gd name="T42" fmla="*/ 60 w 191"/>
                  <a:gd name="T43" fmla="*/ 153 h 284"/>
                  <a:gd name="T44" fmla="*/ 54 w 191"/>
                  <a:gd name="T45" fmla="*/ 180 h 284"/>
                  <a:gd name="T46" fmla="*/ 74 w 191"/>
                  <a:gd name="T47" fmla="*/ 199 h 284"/>
                  <a:gd name="T48" fmla="*/ 80 w 191"/>
                  <a:gd name="T49" fmla="*/ 222 h 284"/>
                  <a:gd name="T50" fmla="*/ 100 w 191"/>
                  <a:gd name="T51" fmla="*/ 203 h 284"/>
                  <a:gd name="T52" fmla="*/ 133 w 191"/>
                  <a:gd name="T53" fmla="*/ 188 h 284"/>
                  <a:gd name="T54" fmla="*/ 150 w 191"/>
                  <a:gd name="T55" fmla="*/ 193 h 284"/>
                  <a:gd name="T56" fmla="*/ 155 w 191"/>
                  <a:gd name="T57" fmla="*/ 181 h 284"/>
                  <a:gd name="T58" fmla="*/ 185 w 191"/>
                  <a:gd name="T59" fmla="*/ 165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91" h="284">
                    <a:moveTo>
                      <a:pt x="100" y="267"/>
                    </a:moveTo>
                    <a:cubicBezTo>
                      <a:pt x="76" y="275"/>
                      <a:pt x="86" y="284"/>
                      <a:pt x="101" y="284"/>
                    </a:cubicBezTo>
                    <a:cubicBezTo>
                      <a:pt x="120" y="284"/>
                      <a:pt x="124" y="259"/>
                      <a:pt x="100" y="267"/>
                    </a:cubicBezTo>
                    <a:close/>
                    <a:moveTo>
                      <a:pt x="185" y="165"/>
                    </a:moveTo>
                    <a:cubicBezTo>
                      <a:pt x="179" y="146"/>
                      <a:pt x="166" y="132"/>
                      <a:pt x="166" y="132"/>
                    </a:cubicBezTo>
                    <a:cubicBezTo>
                      <a:pt x="166" y="132"/>
                      <a:pt x="171" y="115"/>
                      <a:pt x="162" y="101"/>
                    </a:cubicBezTo>
                    <a:cubicBezTo>
                      <a:pt x="153" y="87"/>
                      <a:pt x="111" y="50"/>
                      <a:pt x="111" y="50"/>
                    </a:cubicBezTo>
                    <a:cubicBezTo>
                      <a:pt x="98" y="45"/>
                      <a:pt x="98" y="45"/>
                      <a:pt x="98" y="45"/>
                    </a:cubicBezTo>
                    <a:cubicBezTo>
                      <a:pt x="98" y="45"/>
                      <a:pt x="94" y="34"/>
                      <a:pt x="82" y="21"/>
                    </a:cubicBezTo>
                    <a:cubicBezTo>
                      <a:pt x="76" y="14"/>
                      <a:pt x="69" y="6"/>
                      <a:pt x="64" y="0"/>
                    </a:cubicBezTo>
                    <a:cubicBezTo>
                      <a:pt x="54" y="10"/>
                      <a:pt x="54" y="10"/>
                      <a:pt x="54" y="10"/>
                    </a:cubicBezTo>
                    <a:cubicBezTo>
                      <a:pt x="54" y="10"/>
                      <a:pt x="30" y="9"/>
                      <a:pt x="16" y="16"/>
                    </a:cubicBezTo>
                    <a:cubicBezTo>
                      <a:pt x="2" y="24"/>
                      <a:pt x="14" y="26"/>
                      <a:pt x="13" y="29"/>
                    </a:cubicBezTo>
                    <a:cubicBezTo>
                      <a:pt x="12" y="32"/>
                      <a:pt x="0" y="39"/>
                      <a:pt x="0" y="39"/>
                    </a:cubicBezTo>
                    <a:cubicBezTo>
                      <a:pt x="0" y="39"/>
                      <a:pt x="1" y="50"/>
                      <a:pt x="8" y="56"/>
                    </a:cubicBezTo>
                    <a:cubicBezTo>
                      <a:pt x="15" y="62"/>
                      <a:pt x="30" y="64"/>
                      <a:pt x="30" y="64"/>
                    </a:cubicBezTo>
                    <a:cubicBezTo>
                      <a:pt x="41" y="89"/>
                      <a:pt x="41" y="89"/>
                      <a:pt x="41" y="89"/>
                    </a:cubicBezTo>
                    <a:cubicBezTo>
                      <a:pt x="41" y="89"/>
                      <a:pt x="7" y="75"/>
                      <a:pt x="6" y="82"/>
                    </a:cubicBezTo>
                    <a:cubicBezTo>
                      <a:pt x="5" y="89"/>
                      <a:pt x="27" y="102"/>
                      <a:pt x="27" y="102"/>
                    </a:cubicBezTo>
                    <a:cubicBezTo>
                      <a:pt x="37" y="130"/>
                      <a:pt x="37" y="130"/>
                      <a:pt x="37" y="130"/>
                    </a:cubicBezTo>
                    <a:cubicBezTo>
                      <a:pt x="60" y="134"/>
                      <a:pt x="60" y="134"/>
                      <a:pt x="60" y="134"/>
                    </a:cubicBezTo>
                    <a:cubicBezTo>
                      <a:pt x="60" y="153"/>
                      <a:pt x="60" y="153"/>
                      <a:pt x="60" y="153"/>
                    </a:cubicBezTo>
                    <a:cubicBezTo>
                      <a:pt x="60" y="153"/>
                      <a:pt x="49" y="161"/>
                      <a:pt x="54" y="180"/>
                    </a:cubicBezTo>
                    <a:cubicBezTo>
                      <a:pt x="59" y="199"/>
                      <a:pt x="74" y="199"/>
                      <a:pt x="74" y="199"/>
                    </a:cubicBezTo>
                    <a:cubicBezTo>
                      <a:pt x="74" y="199"/>
                      <a:pt x="61" y="225"/>
                      <a:pt x="80" y="222"/>
                    </a:cubicBezTo>
                    <a:cubicBezTo>
                      <a:pt x="99" y="219"/>
                      <a:pt x="100" y="203"/>
                      <a:pt x="100" y="203"/>
                    </a:cubicBezTo>
                    <a:cubicBezTo>
                      <a:pt x="133" y="188"/>
                      <a:pt x="133" y="188"/>
                      <a:pt x="133" y="188"/>
                    </a:cubicBezTo>
                    <a:cubicBezTo>
                      <a:pt x="150" y="193"/>
                      <a:pt x="150" y="193"/>
                      <a:pt x="150" y="193"/>
                    </a:cubicBezTo>
                    <a:cubicBezTo>
                      <a:pt x="155" y="181"/>
                      <a:pt x="155" y="181"/>
                      <a:pt x="155" y="181"/>
                    </a:cubicBezTo>
                    <a:cubicBezTo>
                      <a:pt x="155" y="181"/>
                      <a:pt x="191" y="184"/>
                      <a:pt x="185" y="165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214">
                <a:extLst>
                  <a:ext uri="{FF2B5EF4-FFF2-40B4-BE49-F238E27FC236}">
                    <a16:creationId xmlns:a16="http://schemas.microsoft.com/office/drawing/2014/main" id="{5D5D9F64-232E-AE14-7261-28AC9C621C3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66" y="-12838"/>
                <a:ext cx="954" cy="1110"/>
              </a:xfrm>
              <a:custGeom>
                <a:avLst/>
                <a:gdLst>
                  <a:gd name="T0" fmla="*/ 28 w 404"/>
                  <a:gd name="T1" fmla="*/ 124 h 470"/>
                  <a:gd name="T2" fmla="*/ 47 w 404"/>
                  <a:gd name="T3" fmla="*/ 163 h 470"/>
                  <a:gd name="T4" fmla="*/ 68 w 404"/>
                  <a:gd name="T5" fmla="*/ 160 h 470"/>
                  <a:gd name="T6" fmla="*/ 74 w 404"/>
                  <a:gd name="T7" fmla="*/ 196 h 470"/>
                  <a:gd name="T8" fmla="*/ 73 w 404"/>
                  <a:gd name="T9" fmla="*/ 224 h 470"/>
                  <a:gd name="T10" fmla="*/ 88 w 404"/>
                  <a:gd name="T11" fmla="*/ 254 h 470"/>
                  <a:gd name="T12" fmla="*/ 143 w 404"/>
                  <a:gd name="T13" fmla="*/ 245 h 470"/>
                  <a:gd name="T14" fmla="*/ 187 w 404"/>
                  <a:gd name="T15" fmla="*/ 228 h 470"/>
                  <a:gd name="T16" fmla="*/ 215 w 404"/>
                  <a:gd name="T17" fmla="*/ 247 h 470"/>
                  <a:gd name="T18" fmla="*/ 248 w 404"/>
                  <a:gd name="T19" fmla="*/ 298 h 470"/>
                  <a:gd name="T20" fmla="*/ 283 w 404"/>
                  <a:gd name="T21" fmla="*/ 347 h 470"/>
                  <a:gd name="T22" fmla="*/ 294 w 404"/>
                  <a:gd name="T23" fmla="*/ 367 h 470"/>
                  <a:gd name="T24" fmla="*/ 302 w 404"/>
                  <a:gd name="T25" fmla="*/ 425 h 470"/>
                  <a:gd name="T26" fmla="*/ 290 w 404"/>
                  <a:gd name="T27" fmla="*/ 448 h 470"/>
                  <a:gd name="T28" fmla="*/ 327 w 404"/>
                  <a:gd name="T29" fmla="*/ 462 h 470"/>
                  <a:gd name="T30" fmla="*/ 334 w 404"/>
                  <a:gd name="T31" fmla="*/ 434 h 470"/>
                  <a:gd name="T32" fmla="*/ 365 w 404"/>
                  <a:gd name="T33" fmla="*/ 435 h 470"/>
                  <a:gd name="T34" fmla="*/ 390 w 404"/>
                  <a:gd name="T35" fmla="*/ 430 h 470"/>
                  <a:gd name="T36" fmla="*/ 391 w 404"/>
                  <a:gd name="T37" fmla="*/ 410 h 470"/>
                  <a:gd name="T38" fmla="*/ 369 w 404"/>
                  <a:gd name="T39" fmla="*/ 369 h 470"/>
                  <a:gd name="T40" fmla="*/ 361 w 404"/>
                  <a:gd name="T41" fmla="*/ 331 h 470"/>
                  <a:gd name="T42" fmla="*/ 334 w 404"/>
                  <a:gd name="T43" fmla="*/ 299 h 470"/>
                  <a:gd name="T44" fmla="*/ 319 w 404"/>
                  <a:gd name="T45" fmla="*/ 289 h 470"/>
                  <a:gd name="T46" fmla="*/ 285 w 404"/>
                  <a:gd name="T47" fmla="*/ 236 h 470"/>
                  <a:gd name="T48" fmla="*/ 256 w 404"/>
                  <a:gd name="T49" fmla="*/ 203 h 470"/>
                  <a:gd name="T50" fmla="*/ 193 w 404"/>
                  <a:gd name="T51" fmla="*/ 168 h 470"/>
                  <a:gd name="T52" fmla="*/ 218 w 404"/>
                  <a:gd name="T53" fmla="*/ 156 h 470"/>
                  <a:gd name="T54" fmla="*/ 212 w 404"/>
                  <a:gd name="T55" fmla="*/ 112 h 470"/>
                  <a:gd name="T56" fmla="*/ 184 w 404"/>
                  <a:gd name="T57" fmla="*/ 79 h 470"/>
                  <a:gd name="T58" fmla="*/ 160 w 404"/>
                  <a:gd name="T59" fmla="*/ 90 h 470"/>
                  <a:gd name="T60" fmla="*/ 128 w 404"/>
                  <a:gd name="T61" fmla="*/ 63 h 470"/>
                  <a:gd name="T62" fmla="*/ 118 w 404"/>
                  <a:gd name="T63" fmla="*/ 40 h 470"/>
                  <a:gd name="T64" fmla="*/ 91 w 404"/>
                  <a:gd name="T65" fmla="*/ 2 h 470"/>
                  <a:gd name="T66" fmla="*/ 60 w 404"/>
                  <a:gd name="T67" fmla="*/ 22 h 470"/>
                  <a:gd name="T68" fmla="*/ 79 w 404"/>
                  <a:gd name="T69" fmla="*/ 72 h 470"/>
                  <a:gd name="T70" fmla="*/ 48 w 404"/>
                  <a:gd name="T71" fmla="*/ 57 h 470"/>
                  <a:gd name="T72" fmla="*/ 26 w 404"/>
                  <a:gd name="T73" fmla="*/ 74 h 470"/>
                  <a:gd name="T74" fmla="*/ 26 w 404"/>
                  <a:gd name="T75" fmla="*/ 89 h 470"/>
                  <a:gd name="T76" fmla="*/ 2 w 404"/>
                  <a:gd name="T77" fmla="*/ 110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04" h="470">
                    <a:moveTo>
                      <a:pt x="17" y="121"/>
                    </a:moveTo>
                    <a:cubicBezTo>
                      <a:pt x="17" y="121"/>
                      <a:pt x="27" y="116"/>
                      <a:pt x="28" y="124"/>
                    </a:cubicBezTo>
                    <a:cubicBezTo>
                      <a:pt x="29" y="132"/>
                      <a:pt x="22" y="153"/>
                      <a:pt x="28" y="158"/>
                    </a:cubicBezTo>
                    <a:cubicBezTo>
                      <a:pt x="34" y="163"/>
                      <a:pt x="47" y="163"/>
                      <a:pt x="47" y="163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45" y="155"/>
                      <a:pt x="68" y="146"/>
                      <a:pt x="68" y="160"/>
                    </a:cubicBezTo>
                    <a:cubicBezTo>
                      <a:pt x="68" y="174"/>
                      <a:pt x="66" y="180"/>
                      <a:pt x="66" y="180"/>
                    </a:cubicBezTo>
                    <a:cubicBezTo>
                      <a:pt x="66" y="180"/>
                      <a:pt x="74" y="187"/>
                      <a:pt x="74" y="196"/>
                    </a:cubicBezTo>
                    <a:cubicBezTo>
                      <a:pt x="74" y="205"/>
                      <a:pt x="60" y="216"/>
                      <a:pt x="60" y="216"/>
                    </a:cubicBezTo>
                    <a:cubicBezTo>
                      <a:pt x="60" y="216"/>
                      <a:pt x="73" y="215"/>
                      <a:pt x="73" y="224"/>
                    </a:cubicBezTo>
                    <a:cubicBezTo>
                      <a:pt x="73" y="233"/>
                      <a:pt x="49" y="264"/>
                      <a:pt x="59" y="267"/>
                    </a:cubicBezTo>
                    <a:cubicBezTo>
                      <a:pt x="69" y="270"/>
                      <a:pt x="88" y="254"/>
                      <a:pt x="88" y="254"/>
                    </a:cubicBezTo>
                    <a:cubicBezTo>
                      <a:pt x="88" y="254"/>
                      <a:pt x="101" y="229"/>
                      <a:pt x="108" y="231"/>
                    </a:cubicBezTo>
                    <a:cubicBezTo>
                      <a:pt x="115" y="233"/>
                      <a:pt x="129" y="244"/>
                      <a:pt x="143" y="245"/>
                    </a:cubicBezTo>
                    <a:cubicBezTo>
                      <a:pt x="157" y="246"/>
                      <a:pt x="154" y="221"/>
                      <a:pt x="164" y="220"/>
                    </a:cubicBezTo>
                    <a:cubicBezTo>
                      <a:pt x="174" y="219"/>
                      <a:pt x="187" y="228"/>
                      <a:pt x="187" y="228"/>
                    </a:cubicBezTo>
                    <a:cubicBezTo>
                      <a:pt x="187" y="228"/>
                      <a:pt x="194" y="226"/>
                      <a:pt x="202" y="228"/>
                    </a:cubicBezTo>
                    <a:cubicBezTo>
                      <a:pt x="210" y="230"/>
                      <a:pt x="197" y="236"/>
                      <a:pt x="215" y="247"/>
                    </a:cubicBezTo>
                    <a:cubicBezTo>
                      <a:pt x="233" y="258"/>
                      <a:pt x="247" y="270"/>
                      <a:pt x="247" y="270"/>
                    </a:cubicBezTo>
                    <a:cubicBezTo>
                      <a:pt x="248" y="298"/>
                      <a:pt x="248" y="298"/>
                      <a:pt x="248" y="298"/>
                    </a:cubicBezTo>
                    <a:cubicBezTo>
                      <a:pt x="248" y="298"/>
                      <a:pt x="255" y="318"/>
                      <a:pt x="260" y="327"/>
                    </a:cubicBezTo>
                    <a:cubicBezTo>
                      <a:pt x="265" y="336"/>
                      <a:pt x="283" y="343"/>
                      <a:pt x="283" y="347"/>
                    </a:cubicBezTo>
                    <a:cubicBezTo>
                      <a:pt x="283" y="351"/>
                      <a:pt x="285" y="364"/>
                      <a:pt x="285" y="364"/>
                    </a:cubicBezTo>
                    <a:cubicBezTo>
                      <a:pt x="285" y="364"/>
                      <a:pt x="288" y="357"/>
                      <a:pt x="294" y="367"/>
                    </a:cubicBezTo>
                    <a:cubicBezTo>
                      <a:pt x="300" y="377"/>
                      <a:pt x="285" y="390"/>
                      <a:pt x="287" y="394"/>
                    </a:cubicBezTo>
                    <a:cubicBezTo>
                      <a:pt x="289" y="398"/>
                      <a:pt x="312" y="413"/>
                      <a:pt x="302" y="425"/>
                    </a:cubicBezTo>
                    <a:cubicBezTo>
                      <a:pt x="296" y="432"/>
                      <a:pt x="291" y="436"/>
                      <a:pt x="287" y="439"/>
                    </a:cubicBezTo>
                    <a:cubicBezTo>
                      <a:pt x="287" y="442"/>
                      <a:pt x="287" y="447"/>
                      <a:pt x="290" y="448"/>
                    </a:cubicBezTo>
                    <a:cubicBezTo>
                      <a:pt x="294" y="449"/>
                      <a:pt x="310" y="450"/>
                      <a:pt x="310" y="450"/>
                    </a:cubicBezTo>
                    <a:cubicBezTo>
                      <a:pt x="310" y="450"/>
                      <a:pt x="319" y="470"/>
                      <a:pt x="327" y="462"/>
                    </a:cubicBezTo>
                    <a:cubicBezTo>
                      <a:pt x="335" y="454"/>
                      <a:pt x="323" y="442"/>
                      <a:pt x="323" y="442"/>
                    </a:cubicBezTo>
                    <a:cubicBezTo>
                      <a:pt x="334" y="434"/>
                      <a:pt x="334" y="434"/>
                      <a:pt x="334" y="434"/>
                    </a:cubicBezTo>
                    <a:cubicBezTo>
                      <a:pt x="343" y="426"/>
                      <a:pt x="343" y="426"/>
                      <a:pt x="343" y="426"/>
                    </a:cubicBezTo>
                    <a:cubicBezTo>
                      <a:pt x="365" y="435"/>
                      <a:pt x="365" y="435"/>
                      <a:pt x="365" y="435"/>
                    </a:cubicBezTo>
                    <a:cubicBezTo>
                      <a:pt x="373" y="426"/>
                      <a:pt x="373" y="426"/>
                      <a:pt x="373" y="426"/>
                    </a:cubicBezTo>
                    <a:cubicBezTo>
                      <a:pt x="390" y="430"/>
                      <a:pt x="390" y="430"/>
                      <a:pt x="390" y="430"/>
                    </a:cubicBezTo>
                    <a:cubicBezTo>
                      <a:pt x="390" y="430"/>
                      <a:pt x="396" y="431"/>
                      <a:pt x="400" y="423"/>
                    </a:cubicBezTo>
                    <a:cubicBezTo>
                      <a:pt x="404" y="415"/>
                      <a:pt x="391" y="410"/>
                      <a:pt x="391" y="410"/>
                    </a:cubicBezTo>
                    <a:cubicBezTo>
                      <a:pt x="402" y="389"/>
                      <a:pt x="402" y="389"/>
                      <a:pt x="402" y="389"/>
                    </a:cubicBezTo>
                    <a:cubicBezTo>
                      <a:pt x="402" y="389"/>
                      <a:pt x="383" y="380"/>
                      <a:pt x="369" y="369"/>
                    </a:cubicBezTo>
                    <a:cubicBezTo>
                      <a:pt x="355" y="358"/>
                      <a:pt x="369" y="355"/>
                      <a:pt x="377" y="350"/>
                    </a:cubicBezTo>
                    <a:cubicBezTo>
                      <a:pt x="385" y="345"/>
                      <a:pt x="361" y="331"/>
                      <a:pt x="361" y="331"/>
                    </a:cubicBezTo>
                    <a:cubicBezTo>
                      <a:pt x="361" y="331"/>
                      <a:pt x="351" y="330"/>
                      <a:pt x="344" y="323"/>
                    </a:cubicBezTo>
                    <a:cubicBezTo>
                      <a:pt x="337" y="316"/>
                      <a:pt x="334" y="299"/>
                      <a:pt x="334" y="299"/>
                    </a:cubicBezTo>
                    <a:cubicBezTo>
                      <a:pt x="320" y="300"/>
                      <a:pt x="320" y="300"/>
                      <a:pt x="320" y="300"/>
                    </a:cubicBezTo>
                    <a:cubicBezTo>
                      <a:pt x="319" y="289"/>
                      <a:pt x="319" y="289"/>
                      <a:pt x="319" y="289"/>
                    </a:cubicBezTo>
                    <a:cubicBezTo>
                      <a:pt x="319" y="289"/>
                      <a:pt x="308" y="278"/>
                      <a:pt x="295" y="267"/>
                    </a:cubicBezTo>
                    <a:cubicBezTo>
                      <a:pt x="282" y="256"/>
                      <a:pt x="285" y="236"/>
                      <a:pt x="285" y="236"/>
                    </a:cubicBezTo>
                    <a:cubicBezTo>
                      <a:pt x="285" y="236"/>
                      <a:pt x="263" y="228"/>
                      <a:pt x="259" y="224"/>
                    </a:cubicBezTo>
                    <a:cubicBezTo>
                      <a:pt x="255" y="220"/>
                      <a:pt x="256" y="203"/>
                      <a:pt x="256" y="203"/>
                    </a:cubicBezTo>
                    <a:cubicBezTo>
                      <a:pt x="256" y="203"/>
                      <a:pt x="238" y="198"/>
                      <a:pt x="232" y="193"/>
                    </a:cubicBezTo>
                    <a:cubicBezTo>
                      <a:pt x="226" y="188"/>
                      <a:pt x="193" y="168"/>
                      <a:pt x="193" y="168"/>
                    </a:cubicBezTo>
                    <a:cubicBezTo>
                      <a:pt x="193" y="168"/>
                      <a:pt x="193" y="156"/>
                      <a:pt x="191" y="152"/>
                    </a:cubicBezTo>
                    <a:cubicBezTo>
                      <a:pt x="189" y="148"/>
                      <a:pt x="218" y="156"/>
                      <a:pt x="218" y="156"/>
                    </a:cubicBezTo>
                    <a:cubicBezTo>
                      <a:pt x="218" y="156"/>
                      <a:pt x="237" y="142"/>
                      <a:pt x="243" y="132"/>
                    </a:cubicBezTo>
                    <a:cubicBezTo>
                      <a:pt x="249" y="122"/>
                      <a:pt x="230" y="120"/>
                      <a:pt x="212" y="112"/>
                    </a:cubicBezTo>
                    <a:cubicBezTo>
                      <a:pt x="194" y="104"/>
                      <a:pt x="214" y="98"/>
                      <a:pt x="214" y="98"/>
                    </a:cubicBezTo>
                    <a:cubicBezTo>
                      <a:pt x="214" y="98"/>
                      <a:pt x="192" y="80"/>
                      <a:pt x="184" y="79"/>
                    </a:cubicBezTo>
                    <a:cubicBezTo>
                      <a:pt x="176" y="78"/>
                      <a:pt x="179" y="90"/>
                      <a:pt x="172" y="98"/>
                    </a:cubicBezTo>
                    <a:cubicBezTo>
                      <a:pt x="165" y="106"/>
                      <a:pt x="160" y="90"/>
                      <a:pt x="160" y="90"/>
                    </a:cubicBezTo>
                    <a:cubicBezTo>
                      <a:pt x="151" y="90"/>
                      <a:pt x="151" y="90"/>
                      <a:pt x="151" y="90"/>
                    </a:cubicBezTo>
                    <a:cubicBezTo>
                      <a:pt x="151" y="90"/>
                      <a:pt x="138" y="76"/>
                      <a:pt x="128" y="63"/>
                    </a:cubicBezTo>
                    <a:cubicBezTo>
                      <a:pt x="118" y="50"/>
                      <a:pt x="131" y="41"/>
                      <a:pt x="127" y="37"/>
                    </a:cubicBezTo>
                    <a:cubicBezTo>
                      <a:pt x="123" y="33"/>
                      <a:pt x="118" y="40"/>
                      <a:pt x="118" y="40"/>
                    </a:cubicBezTo>
                    <a:cubicBezTo>
                      <a:pt x="118" y="40"/>
                      <a:pt x="102" y="22"/>
                      <a:pt x="96" y="15"/>
                    </a:cubicBezTo>
                    <a:cubicBezTo>
                      <a:pt x="93" y="12"/>
                      <a:pt x="92" y="7"/>
                      <a:pt x="91" y="2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7" y="0"/>
                      <a:pt x="59" y="9"/>
                      <a:pt x="60" y="22"/>
                    </a:cubicBezTo>
                    <a:cubicBezTo>
                      <a:pt x="61" y="35"/>
                      <a:pt x="79" y="47"/>
                      <a:pt x="79" y="47"/>
                    </a:cubicBezTo>
                    <a:cubicBezTo>
                      <a:pt x="79" y="72"/>
                      <a:pt x="79" y="72"/>
                      <a:pt x="79" y="72"/>
                    </a:cubicBezTo>
                    <a:cubicBezTo>
                      <a:pt x="50" y="70"/>
                      <a:pt x="50" y="70"/>
                      <a:pt x="50" y="70"/>
                    </a:cubicBezTo>
                    <a:cubicBezTo>
                      <a:pt x="48" y="57"/>
                      <a:pt x="48" y="57"/>
                      <a:pt x="48" y="57"/>
                    </a:cubicBezTo>
                    <a:cubicBezTo>
                      <a:pt x="26" y="67"/>
                      <a:pt x="26" y="67"/>
                      <a:pt x="26" y="67"/>
                    </a:cubicBezTo>
                    <a:cubicBezTo>
                      <a:pt x="26" y="74"/>
                      <a:pt x="26" y="74"/>
                      <a:pt x="26" y="74"/>
                    </a:cubicBezTo>
                    <a:cubicBezTo>
                      <a:pt x="21" y="82"/>
                      <a:pt x="21" y="82"/>
                      <a:pt x="21" y="82"/>
                    </a:cubicBezTo>
                    <a:cubicBezTo>
                      <a:pt x="26" y="89"/>
                      <a:pt x="26" y="89"/>
                      <a:pt x="26" y="89"/>
                    </a:cubicBezTo>
                    <a:cubicBezTo>
                      <a:pt x="26" y="89"/>
                      <a:pt x="18" y="92"/>
                      <a:pt x="9" y="95"/>
                    </a:cubicBezTo>
                    <a:cubicBezTo>
                      <a:pt x="0" y="98"/>
                      <a:pt x="2" y="110"/>
                      <a:pt x="2" y="110"/>
                    </a:cubicBezTo>
                    <a:cubicBezTo>
                      <a:pt x="6" y="111"/>
                      <a:pt x="17" y="121"/>
                      <a:pt x="17" y="12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215">
                <a:extLst>
                  <a:ext uri="{FF2B5EF4-FFF2-40B4-BE49-F238E27FC236}">
                    <a16:creationId xmlns:a16="http://schemas.microsoft.com/office/drawing/2014/main" id="{7FA2A2F3-D9B9-C9E1-64BD-56430A3A36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11" y="-12581"/>
                <a:ext cx="992" cy="1890"/>
              </a:xfrm>
              <a:custGeom>
                <a:avLst/>
                <a:gdLst>
                  <a:gd name="T0" fmla="*/ 402 w 420"/>
                  <a:gd name="T1" fmla="*/ 258 h 800"/>
                  <a:gd name="T2" fmla="*/ 391 w 420"/>
                  <a:gd name="T3" fmla="*/ 238 h 800"/>
                  <a:gd name="T4" fmla="*/ 356 w 420"/>
                  <a:gd name="T5" fmla="*/ 189 h 800"/>
                  <a:gd name="T6" fmla="*/ 323 w 420"/>
                  <a:gd name="T7" fmla="*/ 138 h 800"/>
                  <a:gd name="T8" fmla="*/ 295 w 420"/>
                  <a:gd name="T9" fmla="*/ 119 h 800"/>
                  <a:gd name="T10" fmla="*/ 251 w 420"/>
                  <a:gd name="T11" fmla="*/ 136 h 800"/>
                  <a:gd name="T12" fmla="*/ 196 w 420"/>
                  <a:gd name="T13" fmla="*/ 145 h 800"/>
                  <a:gd name="T14" fmla="*/ 181 w 420"/>
                  <a:gd name="T15" fmla="*/ 115 h 800"/>
                  <a:gd name="T16" fmla="*/ 182 w 420"/>
                  <a:gd name="T17" fmla="*/ 87 h 800"/>
                  <a:gd name="T18" fmla="*/ 176 w 420"/>
                  <a:gd name="T19" fmla="*/ 51 h 800"/>
                  <a:gd name="T20" fmla="*/ 155 w 420"/>
                  <a:gd name="T21" fmla="*/ 54 h 800"/>
                  <a:gd name="T22" fmla="*/ 136 w 420"/>
                  <a:gd name="T23" fmla="*/ 15 h 800"/>
                  <a:gd name="T24" fmla="*/ 110 w 420"/>
                  <a:gd name="T25" fmla="*/ 1 h 800"/>
                  <a:gd name="T26" fmla="*/ 82 w 420"/>
                  <a:gd name="T27" fmla="*/ 21 h 800"/>
                  <a:gd name="T28" fmla="*/ 53 w 420"/>
                  <a:gd name="T29" fmla="*/ 43 h 800"/>
                  <a:gd name="T30" fmla="*/ 19 w 420"/>
                  <a:gd name="T31" fmla="*/ 64 h 800"/>
                  <a:gd name="T32" fmla="*/ 17 w 420"/>
                  <a:gd name="T33" fmla="*/ 102 h 800"/>
                  <a:gd name="T34" fmla="*/ 8 w 420"/>
                  <a:gd name="T35" fmla="*/ 120 h 800"/>
                  <a:gd name="T36" fmla="*/ 22 w 420"/>
                  <a:gd name="T37" fmla="*/ 145 h 800"/>
                  <a:gd name="T38" fmla="*/ 67 w 420"/>
                  <a:gd name="T39" fmla="*/ 188 h 800"/>
                  <a:gd name="T40" fmla="*/ 79 w 420"/>
                  <a:gd name="T41" fmla="*/ 219 h 800"/>
                  <a:gd name="T42" fmla="*/ 73 w 420"/>
                  <a:gd name="T43" fmla="*/ 236 h 800"/>
                  <a:gd name="T44" fmla="*/ 65 w 420"/>
                  <a:gd name="T45" fmla="*/ 279 h 800"/>
                  <a:gd name="T46" fmla="*/ 79 w 420"/>
                  <a:gd name="T47" fmla="*/ 326 h 800"/>
                  <a:gd name="T48" fmla="*/ 112 w 420"/>
                  <a:gd name="T49" fmla="*/ 409 h 800"/>
                  <a:gd name="T50" fmla="*/ 133 w 420"/>
                  <a:gd name="T51" fmla="*/ 450 h 800"/>
                  <a:gd name="T52" fmla="*/ 110 w 420"/>
                  <a:gd name="T53" fmla="*/ 522 h 800"/>
                  <a:gd name="T54" fmla="*/ 98 w 420"/>
                  <a:gd name="T55" fmla="*/ 567 h 800"/>
                  <a:gd name="T56" fmla="*/ 84 w 420"/>
                  <a:gd name="T57" fmla="*/ 676 h 800"/>
                  <a:gd name="T58" fmla="*/ 101 w 420"/>
                  <a:gd name="T59" fmla="*/ 653 h 800"/>
                  <a:gd name="T60" fmla="*/ 132 w 420"/>
                  <a:gd name="T61" fmla="*/ 698 h 800"/>
                  <a:gd name="T62" fmla="*/ 159 w 420"/>
                  <a:gd name="T63" fmla="*/ 743 h 800"/>
                  <a:gd name="T64" fmla="*/ 184 w 420"/>
                  <a:gd name="T65" fmla="*/ 754 h 800"/>
                  <a:gd name="T66" fmla="*/ 198 w 420"/>
                  <a:gd name="T67" fmla="*/ 749 h 800"/>
                  <a:gd name="T68" fmla="*/ 222 w 420"/>
                  <a:gd name="T69" fmla="*/ 765 h 800"/>
                  <a:gd name="T70" fmla="*/ 226 w 420"/>
                  <a:gd name="T71" fmla="*/ 791 h 800"/>
                  <a:gd name="T72" fmla="*/ 268 w 420"/>
                  <a:gd name="T73" fmla="*/ 792 h 800"/>
                  <a:gd name="T74" fmla="*/ 261 w 420"/>
                  <a:gd name="T75" fmla="*/ 755 h 800"/>
                  <a:gd name="T76" fmla="*/ 215 w 420"/>
                  <a:gd name="T77" fmla="*/ 727 h 800"/>
                  <a:gd name="T78" fmla="*/ 190 w 420"/>
                  <a:gd name="T79" fmla="*/ 705 h 800"/>
                  <a:gd name="T80" fmla="*/ 190 w 420"/>
                  <a:gd name="T81" fmla="*/ 679 h 800"/>
                  <a:gd name="T82" fmla="*/ 165 w 420"/>
                  <a:gd name="T83" fmla="*/ 635 h 800"/>
                  <a:gd name="T84" fmla="*/ 131 w 420"/>
                  <a:gd name="T85" fmla="*/ 608 h 800"/>
                  <a:gd name="T86" fmla="*/ 120 w 420"/>
                  <a:gd name="T87" fmla="*/ 524 h 800"/>
                  <a:gd name="T88" fmla="*/ 138 w 420"/>
                  <a:gd name="T89" fmla="*/ 456 h 800"/>
                  <a:gd name="T90" fmla="*/ 147 w 420"/>
                  <a:gd name="T91" fmla="*/ 396 h 800"/>
                  <a:gd name="T92" fmla="*/ 158 w 420"/>
                  <a:gd name="T93" fmla="*/ 374 h 800"/>
                  <a:gd name="T94" fmla="*/ 201 w 420"/>
                  <a:gd name="T95" fmla="*/ 381 h 800"/>
                  <a:gd name="T96" fmla="*/ 199 w 420"/>
                  <a:gd name="T97" fmla="*/ 419 h 800"/>
                  <a:gd name="T98" fmla="*/ 265 w 420"/>
                  <a:gd name="T99" fmla="*/ 457 h 800"/>
                  <a:gd name="T100" fmla="*/ 287 w 420"/>
                  <a:gd name="T101" fmla="*/ 431 h 800"/>
                  <a:gd name="T102" fmla="*/ 276 w 420"/>
                  <a:gd name="T103" fmla="*/ 402 h 800"/>
                  <a:gd name="T104" fmla="*/ 267 w 420"/>
                  <a:gd name="T105" fmla="*/ 371 h 800"/>
                  <a:gd name="T106" fmla="*/ 313 w 420"/>
                  <a:gd name="T107" fmla="*/ 327 h 800"/>
                  <a:gd name="T108" fmla="*/ 368 w 420"/>
                  <a:gd name="T109" fmla="*/ 325 h 800"/>
                  <a:gd name="T110" fmla="*/ 410 w 420"/>
                  <a:gd name="T111" fmla="*/ 316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20" h="800">
                    <a:moveTo>
                      <a:pt x="395" y="285"/>
                    </a:moveTo>
                    <a:cubicBezTo>
                      <a:pt x="393" y="281"/>
                      <a:pt x="408" y="268"/>
                      <a:pt x="402" y="258"/>
                    </a:cubicBezTo>
                    <a:cubicBezTo>
                      <a:pt x="396" y="248"/>
                      <a:pt x="393" y="255"/>
                      <a:pt x="393" y="255"/>
                    </a:cubicBezTo>
                    <a:cubicBezTo>
                      <a:pt x="393" y="255"/>
                      <a:pt x="391" y="242"/>
                      <a:pt x="391" y="238"/>
                    </a:cubicBezTo>
                    <a:cubicBezTo>
                      <a:pt x="391" y="234"/>
                      <a:pt x="373" y="227"/>
                      <a:pt x="368" y="218"/>
                    </a:cubicBezTo>
                    <a:cubicBezTo>
                      <a:pt x="363" y="209"/>
                      <a:pt x="356" y="189"/>
                      <a:pt x="356" y="189"/>
                    </a:cubicBezTo>
                    <a:cubicBezTo>
                      <a:pt x="355" y="161"/>
                      <a:pt x="355" y="161"/>
                      <a:pt x="355" y="161"/>
                    </a:cubicBezTo>
                    <a:cubicBezTo>
                      <a:pt x="355" y="161"/>
                      <a:pt x="341" y="149"/>
                      <a:pt x="323" y="138"/>
                    </a:cubicBezTo>
                    <a:cubicBezTo>
                      <a:pt x="305" y="127"/>
                      <a:pt x="318" y="121"/>
                      <a:pt x="310" y="119"/>
                    </a:cubicBezTo>
                    <a:cubicBezTo>
                      <a:pt x="302" y="117"/>
                      <a:pt x="295" y="119"/>
                      <a:pt x="295" y="119"/>
                    </a:cubicBezTo>
                    <a:cubicBezTo>
                      <a:pt x="295" y="119"/>
                      <a:pt x="282" y="110"/>
                      <a:pt x="272" y="111"/>
                    </a:cubicBezTo>
                    <a:cubicBezTo>
                      <a:pt x="262" y="112"/>
                      <a:pt x="265" y="137"/>
                      <a:pt x="251" y="136"/>
                    </a:cubicBezTo>
                    <a:cubicBezTo>
                      <a:pt x="237" y="135"/>
                      <a:pt x="223" y="124"/>
                      <a:pt x="216" y="122"/>
                    </a:cubicBezTo>
                    <a:cubicBezTo>
                      <a:pt x="209" y="120"/>
                      <a:pt x="196" y="145"/>
                      <a:pt x="196" y="145"/>
                    </a:cubicBezTo>
                    <a:cubicBezTo>
                      <a:pt x="196" y="145"/>
                      <a:pt x="177" y="161"/>
                      <a:pt x="167" y="158"/>
                    </a:cubicBezTo>
                    <a:cubicBezTo>
                      <a:pt x="157" y="155"/>
                      <a:pt x="181" y="124"/>
                      <a:pt x="181" y="115"/>
                    </a:cubicBezTo>
                    <a:cubicBezTo>
                      <a:pt x="181" y="106"/>
                      <a:pt x="168" y="107"/>
                      <a:pt x="168" y="107"/>
                    </a:cubicBezTo>
                    <a:cubicBezTo>
                      <a:pt x="168" y="107"/>
                      <a:pt x="182" y="96"/>
                      <a:pt x="182" y="87"/>
                    </a:cubicBezTo>
                    <a:cubicBezTo>
                      <a:pt x="182" y="78"/>
                      <a:pt x="174" y="71"/>
                      <a:pt x="174" y="71"/>
                    </a:cubicBezTo>
                    <a:cubicBezTo>
                      <a:pt x="174" y="71"/>
                      <a:pt x="176" y="65"/>
                      <a:pt x="176" y="51"/>
                    </a:cubicBezTo>
                    <a:cubicBezTo>
                      <a:pt x="176" y="37"/>
                      <a:pt x="153" y="46"/>
                      <a:pt x="153" y="46"/>
                    </a:cubicBezTo>
                    <a:cubicBezTo>
                      <a:pt x="155" y="54"/>
                      <a:pt x="155" y="54"/>
                      <a:pt x="155" y="54"/>
                    </a:cubicBezTo>
                    <a:cubicBezTo>
                      <a:pt x="155" y="54"/>
                      <a:pt x="142" y="54"/>
                      <a:pt x="136" y="49"/>
                    </a:cubicBezTo>
                    <a:cubicBezTo>
                      <a:pt x="130" y="44"/>
                      <a:pt x="137" y="23"/>
                      <a:pt x="136" y="15"/>
                    </a:cubicBezTo>
                    <a:cubicBezTo>
                      <a:pt x="135" y="7"/>
                      <a:pt x="125" y="12"/>
                      <a:pt x="125" y="12"/>
                    </a:cubicBezTo>
                    <a:cubicBezTo>
                      <a:pt x="125" y="12"/>
                      <a:pt x="114" y="2"/>
                      <a:pt x="110" y="1"/>
                    </a:cubicBezTo>
                    <a:cubicBezTo>
                      <a:pt x="106" y="0"/>
                      <a:pt x="87" y="6"/>
                      <a:pt x="87" y="6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65" y="22"/>
                      <a:pt x="65" y="22"/>
                      <a:pt x="65" y="22"/>
                    </a:cubicBezTo>
                    <a:cubicBezTo>
                      <a:pt x="65" y="22"/>
                      <a:pt x="63" y="40"/>
                      <a:pt x="53" y="43"/>
                    </a:cubicBezTo>
                    <a:cubicBezTo>
                      <a:pt x="43" y="46"/>
                      <a:pt x="34" y="35"/>
                      <a:pt x="23" y="37"/>
                    </a:cubicBezTo>
                    <a:cubicBezTo>
                      <a:pt x="12" y="39"/>
                      <a:pt x="20" y="55"/>
                      <a:pt x="19" y="64"/>
                    </a:cubicBezTo>
                    <a:cubicBezTo>
                      <a:pt x="18" y="73"/>
                      <a:pt x="8" y="74"/>
                      <a:pt x="7" y="78"/>
                    </a:cubicBezTo>
                    <a:cubicBezTo>
                      <a:pt x="6" y="82"/>
                      <a:pt x="17" y="93"/>
                      <a:pt x="17" y="102"/>
                    </a:cubicBezTo>
                    <a:cubicBezTo>
                      <a:pt x="17" y="111"/>
                      <a:pt x="6" y="105"/>
                      <a:pt x="3" y="108"/>
                    </a:cubicBezTo>
                    <a:cubicBezTo>
                      <a:pt x="0" y="111"/>
                      <a:pt x="3" y="116"/>
                      <a:pt x="8" y="120"/>
                    </a:cubicBezTo>
                    <a:cubicBezTo>
                      <a:pt x="13" y="124"/>
                      <a:pt x="26" y="130"/>
                      <a:pt x="26" y="130"/>
                    </a:cubicBezTo>
                    <a:cubicBezTo>
                      <a:pt x="22" y="145"/>
                      <a:pt x="22" y="145"/>
                      <a:pt x="22" y="145"/>
                    </a:cubicBezTo>
                    <a:cubicBezTo>
                      <a:pt x="22" y="145"/>
                      <a:pt x="27" y="148"/>
                      <a:pt x="30" y="158"/>
                    </a:cubicBezTo>
                    <a:cubicBezTo>
                      <a:pt x="33" y="168"/>
                      <a:pt x="59" y="177"/>
                      <a:pt x="67" y="188"/>
                    </a:cubicBezTo>
                    <a:cubicBezTo>
                      <a:pt x="75" y="199"/>
                      <a:pt x="61" y="194"/>
                      <a:pt x="66" y="206"/>
                    </a:cubicBezTo>
                    <a:cubicBezTo>
                      <a:pt x="71" y="218"/>
                      <a:pt x="79" y="219"/>
                      <a:pt x="79" y="219"/>
                    </a:cubicBezTo>
                    <a:cubicBezTo>
                      <a:pt x="79" y="219"/>
                      <a:pt x="85" y="211"/>
                      <a:pt x="85" y="224"/>
                    </a:cubicBezTo>
                    <a:cubicBezTo>
                      <a:pt x="85" y="237"/>
                      <a:pt x="73" y="236"/>
                      <a:pt x="73" y="236"/>
                    </a:cubicBezTo>
                    <a:cubicBezTo>
                      <a:pt x="73" y="236"/>
                      <a:pt x="76" y="247"/>
                      <a:pt x="76" y="253"/>
                    </a:cubicBezTo>
                    <a:cubicBezTo>
                      <a:pt x="76" y="259"/>
                      <a:pt x="75" y="269"/>
                      <a:pt x="65" y="279"/>
                    </a:cubicBezTo>
                    <a:cubicBezTo>
                      <a:pt x="55" y="289"/>
                      <a:pt x="63" y="302"/>
                      <a:pt x="63" y="302"/>
                    </a:cubicBezTo>
                    <a:cubicBezTo>
                      <a:pt x="63" y="302"/>
                      <a:pt x="75" y="316"/>
                      <a:pt x="79" y="326"/>
                    </a:cubicBezTo>
                    <a:cubicBezTo>
                      <a:pt x="83" y="336"/>
                      <a:pt x="105" y="349"/>
                      <a:pt x="109" y="364"/>
                    </a:cubicBezTo>
                    <a:cubicBezTo>
                      <a:pt x="113" y="379"/>
                      <a:pt x="108" y="403"/>
                      <a:pt x="112" y="409"/>
                    </a:cubicBezTo>
                    <a:cubicBezTo>
                      <a:pt x="116" y="415"/>
                      <a:pt x="131" y="427"/>
                      <a:pt x="131" y="427"/>
                    </a:cubicBezTo>
                    <a:cubicBezTo>
                      <a:pt x="131" y="427"/>
                      <a:pt x="129" y="437"/>
                      <a:pt x="133" y="450"/>
                    </a:cubicBezTo>
                    <a:cubicBezTo>
                      <a:pt x="137" y="463"/>
                      <a:pt x="130" y="488"/>
                      <a:pt x="127" y="498"/>
                    </a:cubicBezTo>
                    <a:cubicBezTo>
                      <a:pt x="124" y="508"/>
                      <a:pt x="119" y="515"/>
                      <a:pt x="110" y="522"/>
                    </a:cubicBezTo>
                    <a:cubicBezTo>
                      <a:pt x="101" y="529"/>
                      <a:pt x="109" y="536"/>
                      <a:pt x="108" y="545"/>
                    </a:cubicBezTo>
                    <a:cubicBezTo>
                      <a:pt x="107" y="554"/>
                      <a:pt x="98" y="567"/>
                      <a:pt x="98" y="567"/>
                    </a:cubicBezTo>
                    <a:cubicBezTo>
                      <a:pt x="98" y="567"/>
                      <a:pt x="86" y="599"/>
                      <a:pt x="84" y="615"/>
                    </a:cubicBezTo>
                    <a:cubicBezTo>
                      <a:pt x="82" y="631"/>
                      <a:pt x="84" y="676"/>
                      <a:pt x="84" y="676"/>
                    </a:cubicBezTo>
                    <a:cubicBezTo>
                      <a:pt x="84" y="676"/>
                      <a:pt x="94" y="686"/>
                      <a:pt x="96" y="676"/>
                    </a:cubicBezTo>
                    <a:cubicBezTo>
                      <a:pt x="97" y="666"/>
                      <a:pt x="97" y="642"/>
                      <a:pt x="101" y="653"/>
                    </a:cubicBezTo>
                    <a:cubicBezTo>
                      <a:pt x="104" y="665"/>
                      <a:pt x="96" y="665"/>
                      <a:pt x="110" y="667"/>
                    </a:cubicBezTo>
                    <a:cubicBezTo>
                      <a:pt x="124" y="668"/>
                      <a:pt x="132" y="698"/>
                      <a:pt x="132" y="698"/>
                    </a:cubicBezTo>
                    <a:cubicBezTo>
                      <a:pt x="155" y="718"/>
                      <a:pt x="155" y="718"/>
                      <a:pt x="155" y="718"/>
                    </a:cubicBezTo>
                    <a:cubicBezTo>
                      <a:pt x="155" y="718"/>
                      <a:pt x="150" y="729"/>
                      <a:pt x="159" y="743"/>
                    </a:cubicBezTo>
                    <a:cubicBezTo>
                      <a:pt x="165" y="754"/>
                      <a:pt x="173" y="762"/>
                      <a:pt x="177" y="766"/>
                    </a:cubicBezTo>
                    <a:cubicBezTo>
                      <a:pt x="181" y="762"/>
                      <a:pt x="184" y="758"/>
                      <a:pt x="184" y="754"/>
                    </a:cubicBezTo>
                    <a:cubicBezTo>
                      <a:pt x="183" y="745"/>
                      <a:pt x="182" y="739"/>
                      <a:pt x="189" y="738"/>
                    </a:cubicBezTo>
                    <a:cubicBezTo>
                      <a:pt x="196" y="737"/>
                      <a:pt x="198" y="749"/>
                      <a:pt x="198" y="749"/>
                    </a:cubicBezTo>
                    <a:cubicBezTo>
                      <a:pt x="198" y="749"/>
                      <a:pt x="209" y="749"/>
                      <a:pt x="216" y="753"/>
                    </a:cubicBezTo>
                    <a:cubicBezTo>
                      <a:pt x="223" y="757"/>
                      <a:pt x="222" y="765"/>
                      <a:pt x="222" y="765"/>
                    </a:cubicBezTo>
                    <a:cubicBezTo>
                      <a:pt x="222" y="765"/>
                      <a:pt x="229" y="763"/>
                      <a:pt x="229" y="769"/>
                    </a:cubicBezTo>
                    <a:cubicBezTo>
                      <a:pt x="229" y="775"/>
                      <a:pt x="213" y="787"/>
                      <a:pt x="226" y="791"/>
                    </a:cubicBezTo>
                    <a:cubicBezTo>
                      <a:pt x="239" y="795"/>
                      <a:pt x="238" y="785"/>
                      <a:pt x="249" y="784"/>
                    </a:cubicBezTo>
                    <a:cubicBezTo>
                      <a:pt x="260" y="783"/>
                      <a:pt x="262" y="800"/>
                      <a:pt x="268" y="792"/>
                    </a:cubicBezTo>
                    <a:cubicBezTo>
                      <a:pt x="272" y="787"/>
                      <a:pt x="277" y="776"/>
                      <a:pt x="280" y="768"/>
                    </a:cubicBezTo>
                    <a:cubicBezTo>
                      <a:pt x="271" y="761"/>
                      <a:pt x="261" y="755"/>
                      <a:pt x="261" y="755"/>
                    </a:cubicBezTo>
                    <a:cubicBezTo>
                      <a:pt x="261" y="755"/>
                      <a:pt x="256" y="731"/>
                      <a:pt x="253" y="721"/>
                    </a:cubicBezTo>
                    <a:cubicBezTo>
                      <a:pt x="250" y="711"/>
                      <a:pt x="223" y="731"/>
                      <a:pt x="215" y="727"/>
                    </a:cubicBezTo>
                    <a:cubicBezTo>
                      <a:pt x="208" y="723"/>
                      <a:pt x="201" y="686"/>
                      <a:pt x="196" y="689"/>
                    </a:cubicBezTo>
                    <a:cubicBezTo>
                      <a:pt x="191" y="693"/>
                      <a:pt x="196" y="704"/>
                      <a:pt x="190" y="705"/>
                    </a:cubicBezTo>
                    <a:cubicBezTo>
                      <a:pt x="184" y="706"/>
                      <a:pt x="169" y="683"/>
                      <a:pt x="177" y="675"/>
                    </a:cubicBezTo>
                    <a:cubicBezTo>
                      <a:pt x="185" y="667"/>
                      <a:pt x="182" y="682"/>
                      <a:pt x="190" y="679"/>
                    </a:cubicBezTo>
                    <a:cubicBezTo>
                      <a:pt x="198" y="676"/>
                      <a:pt x="180" y="645"/>
                      <a:pt x="178" y="639"/>
                    </a:cubicBezTo>
                    <a:cubicBezTo>
                      <a:pt x="176" y="633"/>
                      <a:pt x="165" y="635"/>
                      <a:pt x="165" y="635"/>
                    </a:cubicBezTo>
                    <a:cubicBezTo>
                      <a:pt x="166" y="598"/>
                      <a:pt x="166" y="598"/>
                      <a:pt x="166" y="598"/>
                    </a:cubicBezTo>
                    <a:cubicBezTo>
                      <a:pt x="131" y="608"/>
                      <a:pt x="131" y="608"/>
                      <a:pt x="131" y="608"/>
                    </a:cubicBezTo>
                    <a:cubicBezTo>
                      <a:pt x="131" y="608"/>
                      <a:pt x="127" y="549"/>
                      <a:pt x="126" y="542"/>
                    </a:cubicBezTo>
                    <a:cubicBezTo>
                      <a:pt x="125" y="534"/>
                      <a:pt x="120" y="524"/>
                      <a:pt x="120" y="524"/>
                    </a:cubicBezTo>
                    <a:cubicBezTo>
                      <a:pt x="120" y="524"/>
                      <a:pt x="136" y="516"/>
                      <a:pt x="137" y="498"/>
                    </a:cubicBezTo>
                    <a:cubicBezTo>
                      <a:pt x="138" y="479"/>
                      <a:pt x="138" y="456"/>
                      <a:pt x="138" y="456"/>
                    </a:cubicBezTo>
                    <a:cubicBezTo>
                      <a:pt x="138" y="456"/>
                      <a:pt x="152" y="449"/>
                      <a:pt x="153" y="425"/>
                    </a:cubicBezTo>
                    <a:cubicBezTo>
                      <a:pt x="154" y="400"/>
                      <a:pt x="147" y="396"/>
                      <a:pt x="147" y="396"/>
                    </a:cubicBezTo>
                    <a:cubicBezTo>
                      <a:pt x="151" y="374"/>
                      <a:pt x="151" y="374"/>
                      <a:pt x="151" y="374"/>
                    </a:cubicBezTo>
                    <a:cubicBezTo>
                      <a:pt x="158" y="374"/>
                      <a:pt x="158" y="374"/>
                      <a:pt x="158" y="374"/>
                    </a:cubicBezTo>
                    <a:cubicBezTo>
                      <a:pt x="158" y="374"/>
                      <a:pt x="159" y="366"/>
                      <a:pt x="171" y="367"/>
                    </a:cubicBezTo>
                    <a:cubicBezTo>
                      <a:pt x="182" y="367"/>
                      <a:pt x="201" y="381"/>
                      <a:pt x="201" y="381"/>
                    </a:cubicBezTo>
                    <a:cubicBezTo>
                      <a:pt x="193" y="387"/>
                      <a:pt x="193" y="387"/>
                      <a:pt x="193" y="387"/>
                    </a:cubicBezTo>
                    <a:cubicBezTo>
                      <a:pt x="193" y="387"/>
                      <a:pt x="188" y="419"/>
                      <a:pt x="199" y="419"/>
                    </a:cubicBezTo>
                    <a:cubicBezTo>
                      <a:pt x="211" y="420"/>
                      <a:pt x="247" y="403"/>
                      <a:pt x="247" y="403"/>
                    </a:cubicBezTo>
                    <a:cubicBezTo>
                      <a:pt x="265" y="457"/>
                      <a:pt x="265" y="457"/>
                      <a:pt x="265" y="457"/>
                    </a:cubicBezTo>
                    <a:cubicBezTo>
                      <a:pt x="265" y="457"/>
                      <a:pt x="273" y="445"/>
                      <a:pt x="284" y="450"/>
                    </a:cubicBezTo>
                    <a:cubicBezTo>
                      <a:pt x="287" y="431"/>
                      <a:pt x="287" y="431"/>
                      <a:pt x="287" y="431"/>
                    </a:cubicBezTo>
                    <a:cubicBezTo>
                      <a:pt x="276" y="421"/>
                      <a:pt x="276" y="421"/>
                      <a:pt x="276" y="421"/>
                    </a:cubicBezTo>
                    <a:cubicBezTo>
                      <a:pt x="276" y="402"/>
                      <a:pt x="276" y="402"/>
                      <a:pt x="276" y="402"/>
                    </a:cubicBezTo>
                    <a:cubicBezTo>
                      <a:pt x="269" y="396"/>
                      <a:pt x="269" y="396"/>
                      <a:pt x="269" y="396"/>
                    </a:cubicBezTo>
                    <a:cubicBezTo>
                      <a:pt x="267" y="371"/>
                      <a:pt x="267" y="371"/>
                      <a:pt x="267" y="371"/>
                    </a:cubicBezTo>
                    <a:cubicBezTo>
                      <a:pt x="286" y="351"/>
                      <a:pt x="286" y="351"/>
                      <a:pt x="286" y="351"/>
                    </a:cubicBezTo>
                    <a:cubicBezTo>
                      <a:pt x="286" y="351"/>
                      <a:pt x="286" y="332"/>
                      <a:pt x="313" y="327"/>
                    </a:cubicBezTo>
                    <a:cubicBezTo>
                      <a:pt x="340" y="322"/>
                      <a:pt x="341" y="332"/>
                      <a:pt x="341" y="332"/>
                    </a:cubicBezTo>
                    <a:cubicBezTo>
                      <a:pt x="341" y="332"/>
                      <a:pt x="363" y="326"/>
                      <a:pt x="368" y="325"/>
                    </a:cubicBezTo>
                    <a:cubicBezTo>
                      <a:pt x="373" y="324"/>
                      <a:pt x="390" y="333"/>
                      <a:pt x="390" y="333"/>
                    </a:cubicBezTo>
                    <a:cubicBezTo>
                      <a:pt x="390" y="333"/>
                      <a:pt x="400" y="328"/>
                      <a:pt x="410" y="316"/>
                    </a:cubicBezTo>
                    <a:cubicBezTo>
                      <a:pt x="420" y="304"/>
                      <a:pt x="397" y="289"/>
                      <a:pt x="395" y="285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216">
                <a:extLst>
                  <a:ext uri="{FF2B5EF4-FFF2-40B4-BE49-F238E27FC236}">
                    <a16:creationId xmlns:a16="http://schemas.microsoft.com/office/drawing/2014/main" id="{758C0AA5-9460-0D64-1D87-BEE58A26157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78" y="-12949"/>
                <a:ext cx="962" cy="1878"/>
              </a:xfrm>
              <a:custGeom>
                <a:avLst/>
                <a:gdLst>
                  <a:gd name="T0" fmla="*/ 6 w 407"/>
                  <a:gd name="T1" fmla="*/ 62 h 795"/>
                  <a:gd name="T2" fmla="*/ 37 w 407"/>
                  <a:gd name="T3" fmla="*/ 84 h 795"/>
                  <a:gd name="T4" fmla="*/ 61 w 407"/>
                  <a:gd name="T5" fmla="*/ 137 h 795"/>
                  <a:gd name="T6" fmla="*/ 82 w 407"/>
                  <a:gd name="T7" fmla="*/ 145 h 795"/>
                  <a:gd name="T8" fmla="*/ 124 w 407"/>
                  <a:gd name="T9" fmla="*/ 145 h 795"/>
                  <a:gd name="T10" fmla="*/ 153 w 407"/>
                  <a:gd name="T11" fmla="*/ 179 h 795"/>
                  <a:gd name="T12" fmla="*/ 101 w 407"/>
                  <a:gd name="T13" fmla="*/ 199 h 795"/>
                  <a:gd name="T14" fmla="*/ 142 w 407"/>
                  <a:gd name="T15" fmla="*/ 240 h 795"/>
                  <a:gd name="T16" fmla="*/ 169 w 407"/>
                  <a:gd name="T17" fmla="*/ 271 h 795"/>
                  <a:gd name="T18" fmla="*/ 205 w 407"/>
                  <a:gd name="T19" fmla="*/ 314 h 795"/>
                  <a:gd name="T20" fmla="*/ 230 w 407"/>
                  <a:gd name="T21" fmla="*/ 347 h 795"/>
                  <a:gd name="T22" fmla="*/ 254 w 407"/>
                  <a:gd name="T23" fmla="*/ 370 h 795"/>
                  <a:gd name="T24" fmla="*/ 287 w 407"/>
                  <a:gd name="T25" fmla="*/ 397 h 795"/>
                  <a:gd name="T26" fmla="*/ 312 w 407"/>
                  <a:gd name="T27" fmla="*/ 436 h 795"/>
                  <a:gd name="T28" fmla="*/ 310 w 407"/>
                  <a:gd name="T29" fmla="*/ 470 h 795"/>
                  <a:gd name="T30" fmla="*/ 300 w 407"/>
                  <a:gd name="T31" fmla="*/ 505 h 795"/>
                  <a:gd name="T32" fmla="*/ 306 w 407"/>
                  <a:gd name="T33" fmla="*/ 545 h 795"/>
                  <a:gd name="T34" fmla="*/ 314 w 407"/>
                  <a:gd name="T35" fmla="*/ 598 h 795"/>
                  <a:gd name="T36" fmla="*/ 291 w 407"/>
                  <a:gd name="T37" fmla="*/ 610 h 795"/>
                  <a:gd name="T38" fmla="*/ 273 w 407"/>
                  <a:gd name="T39" fmla="*/ 625 h 795"/>
                  <a:gd name="T40" fmla="*/ 252 w 407"/>
                  <a:gd name="T41" fmla="*/ 659 h 795"/>
                  <a:gd name="T42" fmla="*/ 238 w 407"/>
                  <a:gd name="T43" fmla="*/ 663 h 795"/>
                  <a:gd name="T44" fmla="*/ 204 w 407"/>
                  <a:gd name="T45" fmla="*/ 670 h 795"/>
                  <a:gd name="T46" fmla="*/ 180 w 407"/>
                  <a:gd name="T47" fmla="*/ 703 h 795"/>
                  <a:gd name="T48" fmla="*/ 196 w 407"/>
                  <a:gd name="T49" fmla="*/ 734 h 795"/>
                  <a:gd name="T50" fmla="*/ 194 w 407"/>
                  <a:gd name="T51" fmla="*/ 789 h 795"/>
                  <a:gd name="T52" fmla="*/ 228 w 407"/>
                  <a:gd name="T53" fmla="*/ 783 h 795"/>
                  <a:gd name="T54" fmla="*/ 255 w 407"/>
                  <a:gd name="T55" fmla="*/ 752 h 795"/>
                  <a:gd name="T56" fmla="*/ 285 w 407"/>
                  <a:gd name="T57" fmla="*/ 735 h 795"/>
                  <a:gd name="T58" fmla="*/ 300 w 407"/>
                  <a:gd name="T59" fmla="*/ 693 h 795"/>
                  <a:gd name="T60" fmla="*/ 391 w 407"/>
                  <a:gd name="T61" fmla="*/ 639 h 795"/>
                  <a:gd name="T62" fmla="*/ 385 w 407"/>
                  <a:gd name="T63" fmla="*/ 539 h 795"/>
                  <a:gd name="T64" fmla="*/ 390 w 407"/>
                  <a:gd name="T65" fmla="*/ 485 h 795"/>
                  <a:gd name="T66" fmla="*/ 363 w 407"/>
                  <a:gd name="T67" fmla="*/ 418 h 795"/>
                  <a:gd name="T68" fmla="*/ 256 w 407"/>
                  <a:gd name="T69" fmla="*/ 332 h 795"/>
                  <a:gd name="T70" fmla="*/ 193 w 407"/>
                  <a:gd name="T71" fmla="*/ 235 h 795"/>
                  <a:gd name="T72" fmla="*/ 197 w 407"/>
                  <a:gd name="T73" fmla="*/ 160 h 795"/>
                  <a:gd name="T74" fmla="*/ 229 w 407"/>
                  <a:gd name="T75" fmla="*/ 129 h 795"/>
                  <a:gd name="T76" fmla="*/ 259 w 407"/>
                  <a:gd name="T77" fmla="*/ 100 h 795"/>
                  <a:gd name="T78" fmla="*/ 257 w 407"/>
                  <a:gd name="T79" fmla="*/ 92 h 795"/>
                  <a:gd name="T80" fmla="*/ 218 w 407"/>
                  <a:gd name="T81" fmla="*/ 75 h 795"/>
                  <a:gd name="T82" fmla="*/ 207 w 407"/>
                  <a:gd name="T83" fmla="*/ 61 h 795"/>
                  <a:gd name="T84" fmla="*/ 196 w 407"/>
                  <a:gd name="T85" fmla="*/ 47 h 795"/>
                  <a:gd name="T86" fmla="*/ 182 w 407"/>
                  <a:gd name="T87" fmla="*/ 25 h 795"/>
                  <a:gd name="T88" fmla="*/ 156 w 407"/>
                  <a:gd name="T89" fmla="*/ 22 h 795"/>
                  <a:gd name="T90" fmla="*/ 115 w 407"/>
                  <a:gd name="T91" fmla="*/ 9 h 795"/>
                  <a:gd name="T92" fmla="*/ 95 w 407"/>
                  <a:gd name="T93" fmla="*/ 36 h 795"/>
                  <a:gd name="T94" fmla="*/ 80 w 407"/>
                  <a:gd name="T95" fmla="*/ 29 h 795"/>
                  <a:gd name="T96" fmla="*/ 72 w 407"/>
                  <a:gd name="T97" fmla="*/ 42 h 795"/>
                  <a:gd name="T98" fmla="*/ 58 w 407"/>
                  <a:gd name="T99" fmla="*/ 30 h 795"/>
                  <a:gd name="T100" fmla="*/ 48 w 407"/>
                  <a:gd name="T101" fmla="*/ 31 h 795"/>
                  <a:gd name="T102" fmla="*/ 4 w 407"/>
                  <a:gd name="T103" fmla="*/ 32 h 7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07" h="795">
                    <a:moveTo>
                      <a:pt x="4" y="32"/>
                    </a:moveTo>
                    <a:cubicBezTo>
                      <a:pt x="0" y="40"/>
                      <a:pt x="0" y="55"/>
                      <a:pt x="6" y="62"/>
                    </a:cubicBezTo>
                    <a:cubicBezTo>
                      <a:pt x="12" y="69"/>
                      <a:pt x="28" y="87"/>
                      <a:pt x="28" y="87"/>
                    </a:cubicBezTo>
                    <a:cubicBezTo>
                      <a:pt x="28" y="87"/>
                      <a:pt x="33" y="80"/>
                      <a:pt x="37" y="84"/>
                    </a:cubicBezTo>
                    <a:cubicBezTo>
                      <a:pt x="41" y="88"/>
                      <a:pt x="28" y="97"/>
                      <a:pt x="38" y="110"/>
                    </a:cubicBezTo>
                    <a:cubicBezTo>
                      <a:pt x="48" y="123"/>
                      <a:pt x="61" y="137"/>
                      <a:pt x="61" y="137"/>
                    </a:cubicBezTo>
                    <a:cubicBezTo>
                      <a:pt x="70" y="137"/>
                      <a:pt x="70" y="137"/>
                      <a:pt x="70" y="137"/>
                    </a:cubicBezTo>
                    <a:cubicBezTo>
                      <a:pt x="70" y="137"/>
                      <a:pt x="75" y="153"/>
                      <a:pt x="82" y="145"/>
                    </a:cubicBezTo>
                    <a:cubicBezTo>
                      <a:pt x="89" y="137"/>
                      <a:pt x="86" y="125"/>
                      <a:pt x="94" y="126"/>
                    </a:cubicBezTo>
                    <a:cubicBezTo>
                      <a:pt x="102" y="127"/>
                      <a:pt x="124" y="145"/>
                      <a:pt x="124" y="145"/>
                    </a:cubicBezTo>
                    <a:cubicBezTo>
                      <a:pt x="124" y="145"/>
                      <a:pt x="104" y="151"/>
                      <a:pt x="122" y="159"/>
                    </a:cubicBezTo>
                    <a:cubicBezTo>
                      <a:pt x="140" y="167"/>
                      <a:pt x="159" y="169"/>
                      <a:pt x="153" y="179"/>
                    </a:cubicBezTo>
                    <a:cubicBezTo>
                      <a:pt x="147" y="189"/>
                      <a:pt x="128" y="203"/>
                      <a:pt x="128" y="203"/>
                    </a:cubicBezTo>
                    <a:cubicBezTo>
                      <a:pt x="128" y="203"/>
                      <a:pt x="99" y="195"/>
                      <a:pt x="101" y="199"/>
                    </a:cubicBezTo>
                    <a:cubicBezTo>
                      <a:pt x="103" y="203"/>
                      <a:pt x="103" y="215"/>
                      <a:pt x="103" y="215"/>
                    </a:cubicBezTo>
                    <a:cubicBezTo>
                      <a:pt x="103" y="215"/>
                      <a:pt x="136" y="235"/>
                      <a:pt x="142" y="240"/>
                    </a:cubicBezTo>
                    <a:cubicBezTo>
                      <a:pt x="148" y="245"/>
                      <a:pt x="166" y="250"/>
                      <a:pt x="166" y="250"/>
                    </a:cubicBezTo>
                    <a:cubicBezTo>
                      <a:pt x="166" y="250"/>
                      <a:pt x="165" y="267"/>
                      <a:pt x="169" y="271"/>
                    </a:cubicBezTo>
                    <a:cubicBezTo>
                      <a:pt x="173" y="275"/>
                      <a:pt x="195" y="283"/>
                      <a:pt x="195" y="283"/>
                    </a:cubicBezTo>
                    <a:cubicBezTo>
                      <a:pt x="195" y="283"/>
                      <a:pt x="192" y="303"/>
                      <a:pt x="205" y="314"/>
                    </a:cubicBezTo>
                    <a:cubicBezTo>
                      <a:pt x="218" y="325"/>
                      <a:pt x="229" y="336"/>
                      <a:pt x="229" y="336"/>
                    </a:cubicBezTo>
                    <a:cubicBezTo>
                      <a:pt x="230" y="347"/>
                      <a:pt x="230" y="347"/>
                      <a:pt x="230" y="347"/>
                    </a:cubicBezTo>
                    <a:cubicBezTo>
                      <a:pt x="244" y="346"/>
                      <a:pt x="244" y="346"/>
                      <a:pt x="244" y="346"/>
                    </a:cubicBezTo>
                    <a:cubicBezTo>
                      <a:pt x="244" y="346"/>
                      <a:pt x="247" y="363"/>
                      <a:pt x="254" y="370"/>
                    </a:cubicBezTo>
                    <a:cubicBezTo>
                      <a:pt x="261" y="377"/>
                      <a:pt x="271" y="378"/>
                      <a:pt x="271" y="378"/>
                    </a:cubicBezTo>
                    <a:cubicBezTo>
                      <a:pt x="271" y="378"/>
                      <a:pt x="295" y="392"/>
                      <a:pt x="287" y="397"/>
                    </a:cubicBezTo>
                    <a:cubicBezTo>
                      <a:pt x="279" y="402"/>
                      <a:pt x="265" y="405"/>
                      <a:pt x="279" y="416"/>
                    </a:cubicBezTo>
                    <a:cubicBezTo>
                      <a:pt x="293" y="427"/>
                      <a:pt x="312" y="436"/>
                      <a:pt x="312" y="436"/>
                    </a:cubicBezTo>
                    <a:cubicBezTo>
                      <a:pt x="301" y="457"/>
                      <a:pt x="301" y="457"/>
                      <a:pt x="301" y="457"/>
                    </a:cubicBezTo>
                    <a:cubicBezTo>
                      <a:pt x="301" y="457"/>
                      <a:pt x="314" y="462"/>
                      <a:pt x="310" y="470"/>
                    </a:cubicBezTo>
                    <a:cubicBezTo>
                      <a:pt x="306" y="478"/>
                      <a:pt x="300" y="477"/>
                      <a:pt x="300" y="477"/>
                    </a:cubicBezTo>
                    <a:cubicBezTo>
                      <a:pt x="300" y="505"/>
                      <a:pt x="300" y="505"/>
                      <a:pt x="300" y="505"/>
                    </a:cubicBezTo>
                    <a:cubicBezTo>
                      <a:pt x="300" y="505"/>
                      <a:pt x="321" y="516"/>
                      <a:pt x="321" y="529"/>
                    </a:cubicBezTo>
                    <a:cubicBezTo>
                      <a:pt x="321" y="542"/>
                      <a:pt x="305" y="542"/>
                      <a:pt x="306" y="545"/>
                    </a:cubicBezTo>
                    <a:cubicBezTo>
                      <a:pt x="307" y="548"/>
                      <a:pt x="317" y="584"/>
                      <a:pt x="317" y="584"/>
                    </a:cubicBezTo>
                    <a:cubicBezTo>
                      <a:pt x="314" y="598"/>
                      <a:pt x="314" y="598"/>
                      <a:pt x="314" y="598"/>
                    </a:cubicBezTo>
                    <a:cubicBezTo>
                      <a:pt x="314" y="598"/>
                      <a:pt x="302" y="593"/>
                      <a:pt x="297" y="596"/>
                    </a:cubicBezTo>
                    <a:cubicBezTo>
                      <a:pt x="292" y="599"/>
                      <a:pt x="291" y="610"/>
                      <a:pt x="291" y="610"/>
                    </a:cubicBezTo>
                    <a:cubicBezTo>
                      <a:pt x="270" y="611"/>
                      <a:pt x="270" y="611"/>
                      <a:pt x="270" y="611"/>
                    </a:cubicBezTo>
                    <a:cubicBezTo>
                      <a:pt x="273" y="625"/>
                      <a:pt x="273" y="625"/>
                      <a:pt x="273" y="625"/>
                    </a:cubicBezTo>
                    <a:cubicBezTo>
                      <a:pt x="273" y="625"/>
                      <a:pt x="246" y="621"/>
                      <a:pt x="244" y="627"/>
                    </a:cubicBezTo>
                    <a:cubicBezTo>
                      <a:pt x="242" y="633"/>
                      <a:pt x="242" y="651"/>
                      <a:pt x="252" y="659"/>
                    </a:cubicBezTo>
                    <a:cubicBezTo>
                      <a:pt x="262" y="667"/>
                      <a:pt x="269" y="677"/>
                      <a:pt x="262" y="678"/>
                    </a:cubicBezTo>
                    <a:cubicBezTo>
                      <a:pt x="255" y="679"/>
                      <a:pt x="248" y="663"/>
                      <a:pt x="238" y="663"/>
                    </a:cubicBezTo>
                    <a:cubicBezTo>
                      <a:pt x="228" y="663"/>
                      <a:pt x="226" y="670"/>
                      <a:pt x="222" y="670"/>
                    </a:cubicBezTo>
                    <a:cubicBezTo>
                      <a:pt x="218" y="670"/>
                      <a:pt x="204" y="670"/>
                      <a:pt x="204" y="670"/>
                    </a:cubicBezTo>
                    <a:cubicBezTo>
                      <a:pt x="204" y="670"/>
                      <a:pt x="228" y="684"/>
                      <a:pt x="208" y="686"/>
                    </a:cubicBezTo>
                    <a:cubicBezTo>
                      <a:pt x="188" y="688"/>
                      <a:pt x="174" y="695"/>
                      <a:pt x="180" y="703"/>
                    </a:cubicBezTo>
                    <a:cubicBezTo>
                      <a:pt x="186" y="711"/>
                      <a:pt x="209" y="723"/>
                      <a:pt x="209" y="723"/>
                    </a:cubicBezTo>
                    <a:cubicBezTo>
                      <a:pt x="196" y="734"/>
                      <a:pt x="196" y="734"/>
                      <a:pt x="196" y="734"/>
                    </a:cubicBezTo>
                    <a:cubicBezTo>
                      <a:pt x="196" y="734"/>
                      <a:pt x="210" y="769"/>
                      <a:pt x="203" y="775"/>
                    </a:cubicBezTo>
                    <a:cubicBezTo>
                      <a:pt x="199" y="778"/>
                      <a:pt x="196" y="784"/>
                      <a:pt x="194" y="789"/>
                    </a:cubicBezTo>
                    <a:cubicBezTo>
                      <a:pt x="195" y="789"/>
                      <a:pt x="195" y="789"/>
                      <a:pt x="195" y="789"/>
                    </a:cubicBezTo>
                    <a:cubicBezTo>
                      <a:pt x="204" y="795"/>
                      <a:pt x="218" y="795"/>
                      <a:pt x="228" y="783"/>
                    </a:cubicBezTo>
                    <a:cubicBezTo>
                      <a:pt x="239" y="772"/>
                      <a:pt x="252" y="768"/>
                      <a:pt x="252" y="768"/>
                    </a:cubicBezTo>
                    <a:cubicBezTo>
                      <a:pt x="255" y="752"/>
                      <a:pt x="255" y="752"/>
                      <a:pt x="255" y="752"/>
                    </a:cubicBezTo>
                    <a:cubicBezTo>
                      <a:pt x="255" y="736"/>
                      <a:pt x="255" y="736"/>
                      <a:pt x="255" y="736"/>
                    </a:cubicBezTo>
                    <a:cubicBezTo>
                      <a:pt x="255" y="736"/>
                      <a:pt x="280" y="747"/>
                      <a:pt x="285" y="735"/>
                    </a:cubicBezTo>
                    <a:cubicBezTo>
                      <a:pt x="289" y="723"/>
                      <a:pt x="269" y="711"/>
                      <a:pt x="273" y="708"/>
                    </a:cubicBezTo>
                    <a:cubicBezTo>
                      <a:pt x="277" y="704"/>
                      <a:pt x="300" y="693"/>
                      <a:pt x="300" y="693"/>
                    </a:cubicBezTo>
                    <a:cubicBezTo>
                      <a:pt x="300" y="693"/>
                      <a:pt x="311" y="702"/>
                      <a:pt x="334" y="690"/>
                    </a:cubicBezTo>
                    <a:cubicBezTo>
                      <a:pt x="356" y="679"/>
                      <a:pt x="387" y="656"/>
                      <a:pt x="391" y="639"/>
                    </a:cubicBezTo>
                    <a:cubicBezTo>
                      <a:pt x="394" y="622"/>
                      <a:pt x="407" y="577"/>
                      <a:pt x="405" y="567"/>
                    </a:cubicBezTo>
                    <a:cubicBezTo>
                      <a:pt x="403" y="557"/>
                      <a:pt x="385" y="539"/>
                      <a:pt x="385" y="539"/>
                    </a:cubicBezTo>
                    <a:cubicBezTo>
                      <a:pt x="395" y="535"/>
                      <a:pt x="395" y="535"/>
                      <a:pt x="395" y="535"/>
                    </a:cubicBezTo>
                    <a:cubicBezTo>
                      <a:pt x="395" y="535"/>
                      <a:pt x="395" y="498"/>
                      <a:pt x="390" y="485"/>
                    </a:cubicBezTo>
                    <a:cubicBezTo>
                      <a:pt x="384" y="471"/>
                      <a:pt x="368" y="448"/>
                      <a:pt x="368" y="448"/>
                    </a:cubicBezTo>
                    <a:cubicBezTo>
                      <a:pt x="368" y="448"/>
                      <a:pt x="379" y="434"/>
                      <a:pt x="363" y="418"/>
                    </a:cubicBezTo>
                    <a:cubicBezTo>
                      <a:pt x="347" y="403"/>
                      <a:pt x="302" y="361"/>
                      <a:pt x="288" y="354"/>
                    </a:cubicBezTo>
                    <a:cubicBezTo>
                      <a:pt x="274" y="348"/>
                      <a:pt x="259" y="340"/>
                      <a:pt x="256" y="332"/>
                    </a:cubicBezTo>
                    <a:cubicBezTo>
                      <a:pt x="252" y="325"/>
                      <a:pt x="260" y="319"/>
                      <a:pt x="254" y="309"/>
                    </a:cubicBezTo>
                    <a:cubicBezTo>
                      <a:pt x="248" y="299"/>
                      <a:pt x="200" y="258"/>
                      <a:pt x="193" y="235"/>
                    </a:cubicBezTo>
                    <a:cubicBezTo>
                      <a:pt x="187" y="211"/>
                      <a:pt x="182" y="185"/>
                      <a:pt x="188" y="180"/>
                    </a:cubicBezTo>
                    <a:cubicBezTo>
                      <a:pt x="195" y="176"/>
                      <a:pt x="197" y="160"/>
                      <a:pt x="197" y="160"/>
                    </a:cubicBezTo>
                    <a:cubicBezTo>
                      <a:pt x="197" y="160"/>
                      <a:pt x="215" y="147"/>
                      <a:pt x="220" y="143"/>
                    </a:cubicBezTo>
                    <a:cubicBezTo>
                      <a:pt x="226" y="140"/>
                      <a:pt x="229" y="129"/>
                      <a:pt x="229" y="129"/>
                    </a:cubicBezTo>
                    <a:cubicBezTo>
                      <a:pt x="229" y="129"/>
                      <a:pt x="248" y="132"/>
                      <a:pt x="254" y="127"/>
                    </a:cubicBezTo>
                    <a:cubicBezTo>
                      <a:pt x="259" y="122"/>
                      <a:pt x="259" y="100"/>
                      <a:pt x="259" y="100"/>
                    </a:cubicBezTo>
                    <a:cubicBezTo>
                      <a:pt x="266" y="95"/>
                      <a:pt x="266" y="95"/>
                      <a:pt x="266" y="95"/>
                    </a:cubicBezTo>
                    <a:cubicBezTo>
                      <a:pt x="264" y="94"/>
                      <a:pt x="261" y="92"/>
                      <a:pt x="257" y="92"/>
                    </a:cubicBezTo>
                    <a:cubicBezTo>
                      <a:pt x="249" y="91"/>
                      <a:pt x="236" y="94"/>
                      <a:pt x="229" y="87"/>
                    </a:cubicBezTo>
                    <a:cubicBezTo>
                      <a:pt x="222" y="80"/>
                      <a:pt x="218" y="75"/>
                      <a:pt x="218" y="75"/>
                    </a:cubicBezTo>
                    <a:cubicBezTo>
                      <a:pt x="207" y="74"/>
                      <a:pt x="207" y="74"/>
                      <a:pt x="207" y="74"/>
                    </a:cubicBezTo>
                    <a:cubicBezTo>
                      <a:pt x="207" y="61"/>
                      <a:pt x="207" y="61"/>
                      <a:pt x="207" y="61"/>
                    </a:cubicBezTo>
                    <a:cubicBezTo>
                      <a:pt x="200" y="57"/>
                      <a:pt x="200" y="57"/>
                      <a:pt x="200" y="57"/>
                    </a:cubicBezTo>
                    <a:cubicBezTo>
                      <a:pt x="196" y="47"/>
                      <a:pt x="196" y="47"/>
                      <a:pt x="196" y="47"/>
                    </a:cubicBezTo>
                    <a:cubicBezTo>
                      <a:pt x="196" y="47"/>
                      <a:pt x="212" y="40"/>
                      <a:pt x="207" y="32"/>
                    </a:cubicBezTo>
                    <a:cubicBezTo>
                      <a:pt x="202" y="24"/>
                      <a:pt x="182" y="25"/>
                      <a:pt x="182" y="25"/>
                    </a:cubicBezTo>
                    <a:cubicBezTo>
                      <a:pt x="177" y="17"/>
                      <a:pt x="177" y="17"/>
                      <a:pt x="177" y="17"/>
                    </a:cubicBezTo>
                    <a:cubicBezTo>
                      <a:pt x="156" y="22"/>
                      <a:pt x="156" y="22"/>
                      <a:pt x="156" y="22"/>
                    </a:cubicBezTo>
                    <a:cubicBezTo>
                      <a:pt x="134" y="0"/>
                      <a:pt x="134" y="0"/>
                      <a:pt x="134" y="0"/>
                    </a:cubicBezTo>
                    <a:cubicBezTo>
                      <a:pt x="134" y="0"/>
                      <a:pt x="119" y="4"/>
                      <a:pt x="115" y="9"/>
                    </a:cubicBezTo>
                    <a:cubicBezTo>
                      <a:pt x="111" y="14"/>
                      <a:pt x="117" y="28"/>
                      <a:pt x="110" y="30"/>
                    </a:cubicBezTo>
                    <a:cubicBezTo>
                      <a:pt x="103" y="32"/>
                      <a:pt x="95" y="36"/>
                      <a:pt x="95" y="36"/>
                    </a:cubicBezTo>
                    <a:cubicBezTo>
                      <a:pt x="91" y="29"/>
                      <a:pt x="91" y="29"/>
                      <a:pt x="91" y="29"/>
                    </a:cubicBezTo>
                    <a:cubicBezTo>
                      <a:pt x="80" y="29"/>
                      <a:pt x="80" y="29"/>
                      <a:pt x="80" y="29"/>
                    </a:cubicBezTo>
                    <a:cubicBezTo>
                      <a:pt x="80" y="29"/>
                      <a:pt x="97" y="45"/>
                      <a:pt x="84" y="46"/>
                    </a:cubicBezTo>
                    <a:cubicBezTo>
                      <a:pt x="71" y="47"/>
                      <a:pt x="72" y="42"/>
                      <a:pt x="72" y="42"/>
                    </a:cubicBezTo>
                    <a:cubicBezTo>
                      <a:pt x="63" y="29"/>
                      <a:pt x="63" y="29"/>
                      <a:pt x="63" y="29"/>
                    </a:cubicBezTo>
                    <a:cubicBezTo>
                      <a:pt x="58" y="30"/>
                      <a:pt x="58" y="30"/>
                      <a:pt x="58" y="30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48" y="31"/>
                      <a:pt x="39" y="47"/>
                      <a:pt x="33" y="47"/>
                    </a:cubicBezTo>
                    <a:cubicBezTo>
                      <a:pt x="27" y="47"/>
                      <a:pt x="8" y="24"/>
                      <a:pt x="4" y="32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217">
                <a:extLst>
                  <a:ext uri="{FF2B5EF4-FFF2-40B4-BE49-F238E27FC236}">
                    <a16:creationId xmlns:a16="http://schemas.microsoft.com/office/drawing/2014/main" id="{3E1E93ED-5679-6705-821A-4D4C744967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08" y="-13873"/>
                <a:ext cx="945" cy="551"/>
              </a:xfrm>
              <a:custGeom>
                <a:avLst/>
                <a:gdLst>
                  <a:gd name="T0" fmla="*/ 203 w 400"/>
                  <a:gd name="T1" fmla="*/ 166 h 233"/>
                  <a:gd name="T2" fmla="*/ 213 w 400"/>
                  <a:gd name="T3" fmla="*/ 179 h 233"/>
                  <a:gd name="T4" fmla="*/ 227 w 400"/>
                  <a:gd name="T5" fmla="*/ 176 h 233"/>
                  <a:gd name="T6" fmla="*/ 244 w 400"/>
                  <a:gd name="T7" fmla="*/ 194 h 233"/>
                  <a:gd name="T8" fmla="*/ 262 w 400"/>
                  <a:gd name="T9" fmla="*/ 213 h 233"/>
                  <a:gd name="T10" fmla="*/ 274 w 400"/>
                  <a:gd name="T11" fmla="*/ 204 h 233"/>
                  <a:gd name="T12" fmla="*/ 296 w 400"/>
                  <a:gd name="T13" fmla="*/ 218 h 233"/>
                  <a:gd name="T14" fmla="*/ 313 w 400"/>
                  <a:gd name="T15" fmla="*/ 213 h 233"/>
                  <a:gd name="T16" fmla="*/ 337 w 400"/>
                  <a:gd name="T17" fmla="*/ 230 h 233"/>
                  <a:gd name="T18" fmla="*/ 351 w 400"/>
                  <a:gd name="T19" fmla="*/ 219 h 233"/>
                  <a:gd name="T20" fmla="*/ 361 w 400"/>
                  <a:gd name="T21" fmla="*/ 229 h 233"/>
                  <a:gd name="T22" fmla="*/ 377 w 400"/>
                  <a:gd name="T23" fmla="*/ 230 h 233"/>
                  <a:gd name="T24" fmla="*/ 399 w 400"/>
                  <a:gd name="T25" fmla="*/ 224 h 233"/>
                  <a:gd name="T26" fmla="*/ 400 w 400"/>
                  <a:gd name="T27" fmla="*/ 206 h 233"/>
                  <a:gd name="T28" fmla="*/ 390 w 400"/>
                  <a:gd name="T29" fmla="*/ 191 h 233"/>
                  <a:gd name="T30" fmla="*/ 390 w 400"/>
                  <a:gd name="T31" fmla="*/ 159 h 233"/>
                  <a:gd name="T32" fmla="*/ 384 w 400"/>
                  <a:gd name="T33" fmla="*/ 144 h 233"/>
                  <a:gd name="T34" fmla="*/ 363 w 400"/>
                  <a:gd name="T35" fmla="*/ 153 h 233"/>
                  <a:gd name="T36" fmla="*/ 316 w 400"/>
                  <a:gd name="T37" fmla="*/ 134 h 233"/>
                  <a:gd name="T38" fmla="*/ 304 w 400"/>
                  <a:gd name="T39" fmla="*/ 143 h 233"/>
                  <a:gd name="T40" fmla="*/ 295 w 400"/>
                  <a:gd name="T41" fmla="*/ 130 h 233"/>
                  <a:gd name="T42" fmla="*/ 284 w 400"/>
                  <a:gd name="T43" fmla="*/ 143 h 233"/>
                  <a:gd name="T44" fmla="*/ 275 w 400"/>
                  <a:gd name="T45" fmla="*/ 124 h 233"/>
                  <a:gd name="T46" fmla="*/ 247 w 400"/>
                  <a:gd name="T47" fmla="*/ 126 h 233"/>
                  <a:gd name="T48" fmla="*/ 243 w 400"/>
                  <a:gd name="T49" fmla="*/ 109 h 233"/>
                  <a:gd name="T50" fmla="*/ 223 w 400"/>
                  <a:gd name="T51" fmla="*/ 113 h 233"/>
                  <a:gd name="T52" fmla="*/ 201 w 400"/>
                  <a:gd name="T53" fmla="*/ 95 h 233"/>
                  <a:gd name="T54" fmla="*/ 187 w 400"/>
                  <a:gd name="T55" fmla="*/ 66 h 233"/>
                  <a:gd name="T56" fmla="*/ 168 w 400"/>
                  <a:gd name="T57" fmla="*/ 83 h 233"/>
                  <a:gd name="T58" fmla="*/ 149 w 400"/>
                  <a:gd name="T59" fmla="*/ 50 h 233"/>
                  <a:gd name="T60" fmla="*/ 118 w 400"/>
                  <a:gd name="T61" fmla="*/ 44 h 233"/>
                  <a:gd name="T62" fmla="*/ 86 w 400"/>
                  <a:gd name="T63" fmla="*/ 15 h 233"/>
                  <a:gd name="T64" fmla="*/ 59 w 400"/>
                  <a:gd name="T65" fmla="*/ 17 h 233"/>
                  <a:gd name="T66" fmla="*/ 44 w 400"/>
                  <a:gd name="T67" fmla="*/ 30 h 233"/>
                  <a:gd name="T68" fmla="*/ 32 w 400"/>
                  <a:gd name="T69" fmla="*/ 19 h 233"/>
                  <a:gd name="T70" fmla="*/ 26 w 400"/>
                  <a:gd name="T71" fmla="*/ 32 h 233"/>
                  <a:gd name="T72" fmla="*/ 11 w 400"/>
                  <a:gd name="T73" fmla="*/ 50 h 233"/>
                  <a:gd name="T74" fmla="*/ 17 w 400"/>
                  <a:gd name="T75" fmla="*/ 59 h 233"/>
                  <a:gd name="T76" fmla="*/ 10 w 400"/>
                  <a:gd name="T77" fmla="*/ 67 h 233"/>
                  <a:gd name="T78" fmla="*/ 19 w 400"/>
                  <a:gd name="T79" fmla="*/ 73 h 233"/>
                  <a:gd name="T80" fmla="*/ 7 w 400"/>
                  <a:gd name="T81" fmla="*/ 91 h 233"/>
                  <a:gd name="T82" fmla="*/ 26 w 400"/>
                  <a:gd name="T83" fmla="*/ 110 h 233"/>
                  <a:gd name="T84" fmla="*/ 36 w 400"/>
                  <a:gd name="T85" fmla="*/ 104 h 233"/>
                  <a:gd name="T86" fmla="*/ 47 w 400"/>
                  <a:gd name="T87" fmla="*/ 122 h 233"/>
                  <a:gd name="T88" fmla="*/ 65 w 400"/>
                  <a:gd name="T89" fmla="*/ 122 h 233"/>
                  <a:gd name="T90" fmla="*/ 72 w 400"/>
                  <a:gd name="T91" fmla="*/ 132 h 233"/>
                  <a:gd name="T92" fmla="*/ 100 w 400"/>
                  <a:gd name="T93" fmla="*/ 147 h 233"/>
                  <a:gd name="T94" fmla="*/ 109 w 400"/>
                  <a:gd name="T95" fmla="*/ 146 h 233"/>
                  <a:gd name="T96" fmla="*/ 124 w 400"/>
                  <a:gd name="T97" fmla="*/ 160 h 233"/>
                  <a:gd name="T98" fmla="*/ 142 w 400"/>
                  <a:gd name="T99" fmla="*/ 159 h 233"/>
                  <a:gd name="T100" fmla="*/ 148 w 400"/>
                  <a:gd name="T101" fmla="*/ 168 h 233"/>
                  <a:gd name="T102" fmla="*/ 168 w 400"/>
                  <a:gd name="T103" fmla="*/ 174 h 233"/>
                  <a:gd name="T104" fmla="*/ 171 w 400"/>
                  <a:gd name="T105" fmla="*/ 181 h 233"/>
                  <a:gd name="T106" fmla="*/ 185 w 400"/>
                  <a:gd name="T107" fmla="*/ 173 h 233"/>
                  <a:gd name="T108" fmla="*/ 195 w 400"/>
                  <a:gd name="T109" fmla="*/ 180 h 233"/>
                  <a:gd name="T110" fmla="*/ 203 w 400"/>
                  <a:gd name="T111" fmla="*/ 166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00" h="233">
                    <a:moveTo>
                      <a:pt x="203" y="166"/>
                    </a:moveTo>
                    <a:cubicBezTo>
                      <a:pt x="212" y="171"/>
                      <a:pt x="213" y="179"/>
                      <a:pt x="213" y="179"/>
                    </a:cubicBezTo>
                    <a:cubicBezTo>
                      <a:pt x="227" y="176"/>
                      <a:pt x="227" y="176"/>
                      <a:pt x="227" y="176"/>
                    </a:cubicBezTo>
                    <a:cubicBezTo>
                      <a:pt x="227" y="176"/>
                      <a:pt x="235" y="186"/>
                      <a:pt x="244" y="194"/>
                    </a:cubicBezTo>
                    <a:cubicBezTo>
                      <a:pt x="253" y="202"/>
                      <a:pt x="262" y="213"/>
                      <a:pt x="262" y="213"/>
                    </a:cubicBezTo>
                    <a:cubicBezTo>
                      <a:pt x="274" y="204"/>
                      <a:pt x="274" y="204"/>
                      <a:pt x="274" y="204"/>
                    </a:cubicBezTo>
                    <a:cubicBezTo>
                      <a:pt x="296" y="218"/>
                      <a:pt x="296" y="218"/>
                      <a:pt x="296" y="218"/>
                    </a:cubicBezTo>
                    <a:cubicBezTo>
                      <a:pt x="296" y="218"/>
                      <a:pt x="300" y="209"/>
                      <a:pt x="313" y="213"/>
                    </a:cubicBezTo>
                    <a:cubicBezTo>
                      <a:pt x="326" y="217"/>
                      <a:pt x="337" y="230"/>
                      <a:pt x="337" y="230"/>
                    </a:cubicBezTo>
                    <a:cubicBezTo>
                      <a:pt x="337" y="230"/>
                      <a:pt x="345" y="219"/>
                      <a:pt x="351" y="219"/>
                    </a:cubicBezTo>
                    <a:cubicBezTo>
                      <a:pt x="357" y="219"/>
                      <a:pt x="352" y="229"/>
                      <a:pt x="361" y="229"/>
                    </a:cubicBezTo>
                    <a:cubicBezTo>
                      <a:pt x="370" y="229"/>
                      <a:pt x="377" y="230"/>
                      <a:pt x="377" y="230"/>
                    </a:cubicBezTo>
                    <a:cubicBezTo>
                      <a:pt x="377" y="230"/>
                      <a:pt x="398" y="233"/>
                      <a:pt x="399" y="224"/>
                    </a:cubicBezTo>
                    <a:cubicBezTo>
                      <a:pt x="400" y="215"/>
                      <a:pt x="400" y="206"/>
                      <a:pt x="400" y="206"/>
                    </a:cubicBezTo>
                    <a:cubicBezTo>
                      <a:pt x="390" y="191"/>
                      <a:pt x="390" y="191"/>
                      <a:pt x="390" y="191"/>
                    </a:cubicBezTo>
                    <a:cubicBezTo>
                      <a:pt x="390" y="159"/>
                      <a:pt x="390" y="159"/>
                      <a:pt x="390" y="159"/>
                    </a:cubicBezTo>
                    <a:cubicBezTo>
                      <a:pt x="384" y="144"/>
                      <a:pt x="384" y="144"/>
                      <a:pt x="384" y="144"/>
                    </a:cubicBezTo>
                    <a:cubicBezTo>
                      <a:pt x="376" y="148"/>
                      <a:pt x="369" y="152"/>
                      <a:pt x="363" y="153"/>
                    </a:cubicBezTo>
                    <a:cubicBezTo>
                      <a:pt x="349" y="154"/>
                      <a:pt x="316" y="134"/>
                      <a:pt x="316" y="134"/>
                    </a:cubicBezTo>
                    <a:cubicBezTo>
                      <a:pt x="316" y="134"/>
                      <a:pt x="314" y="142"/>
                      <a:pt x="304" y="143"/>
                    </a:cubicBezTo>
                    <a:cubicBezTo>
                      <a:pt x="294" y="144"/>
                      <a:pt x="295" y="130"/>
                      <a:pt x="295" y="130"/>
                    </a:cubicBezTo>
                    <a:cubicBezTo>
                      <a:pt x="295" y="130"/>
                      <a:pt x="293" y="144"/>
                      <a:pt x="284" y="143"/>
                    </a:cubicBezTo>
                    <a:cubicBezTo>
                      <a:pt x="275" y="142"/>
                      <a:pt x="275" y="124"/>
                      <a:pt x="275" y="124"/>
                    </a:cubicBezTo>
                    <a:cubicBezTo>
                      <a:pt x="275" y="124"/>
                      <a:pt x="263" y="133"/>
                      <a:pt x="247" y="126"/>
                    </a:cubicBezTo>
                    <a:cubicBezTo>
                      <a:pt x="231" y="119"/>
                      <a:pt x="248" y="116"/>
                      <a:pt x="243" y="109"/>
                    </a:cubicBezTo>
                    <a:cubicBezTo>
                      <a:pt x="238" y="102"/>
                      <a:pt x="223" y="113"/>
                      <a:pt x="223" y="113"/>
                    </a:cubicBezTo>
                    <a:cubicBezTo>
                      <a:pt x="223" y="113"/>
                      <a:pt x="209" y="101"/>
                      <a:pt x="201" y="95"/>
                    </a:cubicBezTo>
                    <a:cubicBezTo>
                      <a:pt x="193" y="89"/>
                      <a:pt x="198" y="73"/>
                      <a:pt x="187" y="66"/>
                    </a:cubicBezTo>
                    <a:cubicBezTo>
                      <a:pt x="176" y="59"/>
                      <a:pt x="172" y="84"/>
                      <a:pt x="168" y="83"/>
                    </a:cubicBezTo>
                    <a:cubicBezTo>
                      <a:pt x="164" y="82"/>
                      <a:pt x="149" y="50"/>
                      <a:pt x="149" y="50"/>
                    </a:cubicBezTo>
                    <a:cubicBezTo>
                      <a:pt x="118" y="44"/>
                      <a:pt x="118" y="44"/>
                      <a:pt x="118" y="44"/>
                    </a:cubicBezTo>
                    <a:cubicBezTo>
                      <a:pt x="118" y="44"/>
                      <a:pt x="100" y="30"/>
                      <a:pt x="86" y="15"/>
                    </a:cubicBezTo>
                    <a:cubicBezTo>
                      <a:pt x="72" y="0"/>
                      <a:pt x="59" y="17"/>
                      <a:pt x="59" y="17"/>
                    </a:cubicBezTo>
                    <a:cubicBezTo>
                      <a:pt x="44" y="30"/>
                      <a:pt x="44" y="30"/>
                      <a:pt x="44" y="30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26" y="32"/>
                      <a:pt x="26" y="32"/>
                      <a:pt x="26" y="32"/>
                    </a:cubicBezTo>
                    <a:cubicBezTo>
                      <a:pt x="11" y="50"/>
                      <a:pt x="11" y="50"/>
                      <a:pt x="11" y="50"/>
                    </a:cubicBezTo>
                    <a:cubicBezTo>
                      <a:pt x="17" y="59"/>
                      <a:pt x="17" y="59"/>
                      <a:pt x="17" y="59"/>
                    </a:cubicBezTo>
                    <a:cubicBezTo>
                      <a:pt x="17" y="59"/>
                      <a:pt x="6" y="61"/>
                      <a:pt x="10" y="67"/>
                    </a:cubicBezTo>
                    <a:cubicBezTo>
                      <a:pt x="14" y="73"/>
                      <a:pt x="19" y="73"/>
                      <a:pt x="19" y="73"/>
                    </a:cubicBezTo>
                    <a:cubicBezTo>
                      <a:pt x="19" y="73"/>
                      <a:pt x="0" y="83"/>
                      <a:pt x="7" y="91"/>
                    </a:cubicBezTo>
                    <a:cubicBezTo>
                      <a:pt x="14" y="99"/>
                      <a:pt x="26" y="110"/>
                      <a:pt x="26" y="110"/>
                    </a:cubicBezTo>
                    <a:cubicBezTo>
                      <a:pt x="36" y="104"/>
                      <a:pt x="36" y="104"/>
                      <a:pt x="36" y="104"/>
                    </a:cubicBezTo>
                    <a:cubicBezTo>
                      <a:pt x="47" y="122"/>
                      <a:pt x="47" y="122"/>
                      <a:pt x="47" y="122"/>
                    </a:cubicBezTo>
                    <a:cubicBezTo>
                      <a:pt x="65" y="122"/>
                      <a:pt x="65" y="122"/>
                      <a:pt x="65" y="122"/>
                    </a:cubicBezTo>
                    <a:cubicBezTo>
                      <a:pt x="72" y="132"/>
                      <a:pt x="72" y="132"/>
                      <a:pt x="72" y="132"/>
                    </a:cubicBezTo>
                    <a:cubicBezTo>
                      <a:pt x="100" y="147"/>
                      <a:pt x="100" y="147"/>
                      <a:pt x="100" y="147"/>
                    </a:cubicBezTo>
                    <a:cubicBezTo>
                      <a:pt x="109" y="146"/>
                      <a:pt x="109" y="146"/>
                      <a:pt x="109" y="146"/>
                    </a:cubicBezTo>
                    <a:cubicBezTo>
                      <a:pt x="109" y="146"/>
                      <a:pt x="116" y="160"/>
                      <a:pt x="124" y="160"/>
                    </a:cubicBezTo>
                    <a:cubicBezTo>
                      <a:pt x="132" y="160"/>
                      <a:pt x="137" y="157"/>
                      <a:pt x="142" y="159"/>
                    </a:cubicBezTo>
                    <a:cubicBezTo>
                      <a:pt x="147" y="161"/>
                      <a:pt x="135" y="166"/>
                      <a:pt x="148" y="168"/>
                    </a:cubicBezTo>
                    <a:cubicBezTo>
                      <a:pt x="161" y="170"/>
                      <a:pt x="168" y="174"/>
                      <a:pt x="168" y="174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6" y="173"/>
                      <a:pt x="185" y="173"/>
                    </a:cubicBezTo>
                    <a:cubicBezTo>
                      <a:pt x="194" y="173"/>
                      <a:pt x="195" y="180"/>
                      <a:pt x="195" y="180"/>
                    </a:cubicBezTo>
                    <a:cubicBezTo>
                      <a:pt x="195" y="180"/>
                      <a:pt x="194" y="161"/>
                      <a:pt x="203" y="166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Freeform 218">
                <a:extLst>
                  <a:ext uri="{FF2B5EF4-FFF2-40B4-BE49-F238E27FC236}">
                    <a16:creationId xmlns:a16="http://schemas.microsoft.com/office/drawing/2014/main" id="{492CA7F6-6867-69CE-96DA-CAC8E4078F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9" y="-13589"/>
                <a:ext cx="416" cy="219"/>
              </a:xfrm>
              <a:custGeom>
                <a:avLst/>
                <a:gdLst>
                  <a:gd name="T0" fmla="*/ 66 w 176"/>
                  <a:gd name="T1" fmla="*/ 92 h 93"/>
                  <a:gd name="T2" fmla="*/ 88 w 176"/>
                  <a:gd name="T3" fmla="*/ 84 h 93"/>
                  <a:gd name="T4" fmla="*/ 113 w 176"/>
                  <a:gd name="T5" fmla="*/ 90 h 93"/>
                  <a:gd name="T6" fmla="*/ 139 w 176"/>
                  <a:gd name="T7" fmla="*/ 86 h 93"/>
                  <a:gd name="T8" fmla="*/ 162 w 176"/>
                  <a:gd name="T9" fmla="*/ 86 h 93"/>
                  <a:gd name="T10" fmla="*/ 161 w 176"/>
                  <a:gd name="T11" fmla="*/ 68 h 93"/>
                  <a:gd name="T12" fmla="*/ 161 w 176"/>
                  <a:gd name="T13" fmla="*/ 54 h 93"/>
                  <a:gd name="T14" fmla="*/ 140 w 176"/>
                  <a:gd name="T15" fmla="*/ 48 h 93"/>
                  <a:gd name="T16" fmla="*/ 142 w 176"/>
                  <a:gd name="T17" fmla="*/ 39 h 93"/>
                  <a:gd name="T18" fmla="*/ 129 w 176"/>
                  <a:gd name="T19" fmla="*/ 18 h 93"/>
                  <a:gd name="T20" fmla="*/ 80 w 176"/>
                  <a:gd name="T21" fmla="*/ 25 h 93"/>
                  <a:gd name="T22" fmla="*/ 80 w 176"/>
                  <a:gd name="T23" fmla="*/ 11 h 93"/>
                  <a:gd name="T24" fmla="*/ 56 w 176"/>
                  <a:gd name="T25" fmla="*/ 5 h 93"/>
                  <a:gd name="T26" fmla="*/ 18 w 176"/>
                  <a:gd name="T27" fmla="*/ 56 h 93"/>
                  <a:gd name="T28" fmla="*/ 23 w 176"/>
                  <a:gd name="T29" fmla="*/ 76 h 93"/>
                  <a:gd name="T30" fmla="*/ 50 w 176"/>
                  <a:gd name="T31" fmla="*/ 81 h 93"/>
                  <a:gd name="T32" fmla="*/ 66 w 176"/>
                  <a:gd name="T33" fmla="*/ 92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6" h="93">
                    <a:moveTo>
                      <a:pt x="66" y="92"/>
                    </a:moveTo>
                    <a:cubicBezTo>
                      <a:pt x="85" y="92"/>
                      <a:pt x="79" y="84"/>
                      <a:pt x="88" y="84"/>
                    </a:cubicBezTo>
                    <a:cubicBezTo>
                      <a:pt x="97" y="84"/>
                      <a:pt x="95" y="90"/>
                      <a:pt x="113" y="90"/>
                    </a:cubicBezTo>
                    <a:cubicBezTo>
                      <a:pt x="131" y="90"/>
                      <a:pt x="139" y="86"/>
                      <a:pt x="139" y="86"/>
                    </a:cubicBezTo>
                    <a:cubicBezTo>
                      <a:pt x="139" y="86"/>
                      <a:pt x="148" y="93"/>
                      <a:pt x="162" y="86"/>
                    </a:cubicBezTo>
                    <a:cubicBezTo>
                      <a:pt x="176" y="79"/>
                      <a:pt x="161" y="68"/>
                      <a:pt x="161" y="68"/>
                    </a:cubicBezTo>
                    <a:cubicBezTo>
                      <a:pt x="161" y="54"/>
                      <a:pt x="161" y="54"/>
                      <a:pt x="161" y="54"/>
                    </a:cubicBezTo>
                    <a:cubicBezTo>
                      <a:pt x="161" y="54"/>
                      <a:pt x="144" y="55"/>
                      <a:pt x="140" y="48"/>
                    </a:cubicBezTo>
                    <a:cubicBezTo>
                      <a:pt x="136" y="41"/>
                      <a:pt x="142" y="39"/>
                      <a:pt x="142" y="39"/>
                    </a:cubicBezTo>
                    <a:cubicBezTo>
                      <a:pt x="142" y="39"/>
                      <a:pt x="142" y="29"/>
                      <a:pt x="129" y="18"/>
                    </a:cubicBezTo>
                    <a:cubicBezTo>
                      <a:pt x="116" y="7"/>
                      <a:pt x="80" y="25"/>
                      <a:pt x="80" y="25"/>
                    </a:cubicBezTo>
                    <a:cubicBezTo>
                      <a:pt x="80" y="11"/>
                      <a:pt x="80" y="11"/>
                      <a:pt x="80" y="11"/>
                    </a:cubicBezTo>
                    <a:cubicBezTo>
                      <a:pt x="80" y="11"/>
                      <a:pt x="70" y="10"/>
                      <a:pt x="56" y="5"/>
                    </a:cubicBezTo>
                    <a:cubicBezTo>
                      <a:pt x="42" y="0"/>
                      <a:pt x="18" y="56"/>
                      <a:pt x="18" y="56"/>
                    </a:cubicBezTo>
                    <a:cubicBezTo>
                      <a:pt x="18" y="56"/>
                      <a:pt x="0" y="60"/>
                      <a:pt x="23" y="76"/>
                    </a:cubicBezTo>
                    <a:cubicBezTo>
                      <a:pt x="46" y="92"/>
                      <a:pt x="50" y="81"/>
                      <a:pt x="50" y="81"/>
                    </a:cubicBezTo>
                    <a:cubicBezTo>
                      <a:pt x="50" y="81"/>
                      <a:pt x="47" y="92"/>
                      <a:pt x="66" y="92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219">
                <a:extLst>
                  <a:ext uri="{FF2B5EF4-FFF2-40B4-BE49-F238E27FC236}">
                    <a16:creationId xmlns:a16="http://schemas.microsoft.com/office/drawing/2014/main" id="{B8B59BD1-EC69-0A64-8DD7-C85CBDC5BB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60" y="-13353"/>
                <a:ext cx="584" cy="671"/>
              </a:xfrm>
              <a:custGeom>
                <a:avLst/>
                <a:gdLst>
                  <a:gd name="T0" fmla="*/ 90 w 247"/>
                  <a:gd name="T1" fmla="*/ 275 h 284"/>
                  <a:gd name="T2" fmla="*/ 92 w 247"/>
                  <a:gd name="T3" fmla="*/ 236 h 284"/>
                  <a:gd name="T4" fmla="*/ 142 w 247"/>
                  <a:gd name="T5" fmla="*/ 250 h 284"/>
                  <a:gd name="T6" fmla="*/ 143 w 247"/>
                  <a:gd name="T7" fmla="*/ 227 h 284"/>
                  <a:gd name="T8" fmla="*/ 182 w 247"/>
                  <a:gd name="T9" fmla="*/ 240 h 284"/>
                  <a:gd name="T10" fmla="*/ 190 w 247"/>
                  <a:gd name="T11" fmla="*/ 223 h 284"/>
                  <a:gd name="T12" fmla="*/ 182 w 247"/>
                  <a:gd name="T13" fmla="*/ 202 h 284"/>
                  <a:gd name="T14" fmla="*/ 213 w 247"/>
                  <a:gd name="T15" fmla="*/ 235 h 284"/>
                  <a:gd name="T16" fmla="*/ 210 w 247"/>
                  <a:gd name="T17" fmla="*/ 280 h 284"/>
                  <a:gd name="T18" fmla="*/ 222 w 247"/>
                  <a:gd name="T19" fmla="*/ 284 h 284"/>
                  <a:gd name="T20" fmla="*/ 226 w 247"/>
                  <a:gd name="T21" fmla="*/ 273 h 284"/>
                  <a:gd name="T22" fmla="*/ 247 w 247"/>
                  <a:gd name="T23" fmla="*/ 276 h 284"/>
                  <a:gd name="T24" fmla="*/ 240 w 247"/>
                  <a:gd name="T25" fmla="*/ 237 h 284"/>
                  <a:gd name="T26" fmla="*/ 220 w 247"/>
                  <a:gd name="T27" fmla="*/ 187 h 284"/>
                  <a:gd name="T28" fmla="*/ 204 w 247"/>
                  <a:gd name="T29" fmla="*/ 153 h 284"/>
                  <a:gd name="T30" fmla="*/ 194 w 247"/>
                  <a:gd name="T31" fmla="*/ 170 h 284"/>
                  <a:gd name="T32" fmla="*/ 187 w 247"/>
                  <a:gd name="T33" fmla="*/ 193 h 284"/>
                  <a:gd name="T34" fmla="*/ 178 w 247"/>
                  <a:gd name="T35" fmla="*/ 178 h 284"/>
                  <a:gd name="T36" fmla="*/ 158 w 247"/>
                  <a:gd name="T37" fmla="*/ 159 h 284"/>
                  <a:gd name="T38" fmla="*/ 168 w 247"/>
                  <a:gd name="T39" fmla="*/ 130 h 284"/>
                  <a:gd name="T40" fmla="*/ 193 w 247"/>
                  <a:gd name="T41" fmla="*/ 115 h 284"/>
                  <a:gd name="T42" fmla="*/ 196 w 247"/>
                  <a:gd name="T43" fmla="*/ 92 h 284"/>
                  <a:gd name="T44" fmla="*/ 206 w 247"/>
                  <a:gd name="T45" fmla="*/ 86 h 284"/>
                  <a:gd name="T46" fmla="*/ 184 w 247"/>
                  <a:gd name="T47" fmla="*/ 68 h 284"/>
                  <a:gd name="T48" fmla="*/ 154 w 247"/>
                  <a:gd name="T49" fmla="*/ 79 h 284"/>
                  <a:gd name="T50" fmla="*/ 113 w 247"/>
                  <a:gd name="T51" fmla="*/ 75 h 284"/>
                  <a:gd name="T52" fmla="*/ 86 w 247"/>
                  <a:gd name="T53" fmla="*/ 69 h 284"/>
                  <a:gd name="T54" fmla="*/ 85 w 247"/>
                  <a:gd name="T55" fmla="*/ 46 h 284"/>
                  <a:gd name="T56" fmla="*/ 81 w 247"/>
                  <a:gd name="T57" fmla="*/ 44 h 284"/>
                  <a:gd name="T58" fmla="*/ 77 w 247"/>
                  <a:gd name="T59" fmla="*/ 23 h 284"/>
                  <a:gd name="T60" fmla="*/ 67 w 247"/>
                  <a:gd name="T61" fmla="*/ 17 h 284"/>
                  <a:gd name="T62" fmla="*/ 66 w 247"/>
                  <a:gd name="T63" fmla="*/ 29 h 284"/>
                  <a:gd name="T64" fmla="*/ 50 w 247"/>
                  <a:gd name="T65" fmla="*/ 21 h 284"/>
                  <a:gd name="T66" fmla="*/ 41 w 247"/>
                  <a:gd name="T67" fmla="*/ 3 h 284"/>
                  <a:gd name="T68" fmla="*/ 30 w 247"/>
                  <a:gd name="T69" fmla="*/ 4 h 284"/>
                  <a:gd name="T70" fmla="*/ 33 w 247"/>
                  <a:gd name="T71" fmla="*/ 11 h 284"/>
                  <a:gd name="T72" fmla="*/ 17 w 247"/>
                  <a:gd name="T73" fmla="*/ 3 h 284"/>
                  <a:gd name="T74" fmla="*/ 6 w 247"/>
                  <a:gd name="T75" fmla="*/ 0 h 284"/>
                  <a:gd name="T76" fmla="*/ 11 w 247"/>
                  <a:gd name="T77" fmla="*/ 12 h 284"/>
                  <a:gd name="T78" fmla="*/ 2 w 247"/>
                  <a:gd name="T79" fmla="*/ 35 h 284"/>
                  <a:gd name="T80" fmla="*/ 26 w 247"/>
                  <a:gd name="T81" fmla="*/ 54 h 284"/>
                  <a:gd name="T82" fmla="*/ 43 w 247"/>
                  <a:gd name="T83" fmla="*/ 65 h 284"/>
                  <a:gd name="T84" fmla="*/ 44 w 247"/>
                  <a:gd name="T85" fmla="*/ 73 h 284"/>
                  <a:gd name="T86" fmla="*/ 22 w 247"/>
                  <a:gd name="T87" fmla="*/ 74 h 284"/>
                  <a:gd name="T88" fmla="*/ 22 w 247"/>
                  <a:gd name="T89" fmla="*/ 93 h 284"/>
                  <a:gd name="T90" fmla="*/ 13 w 247"/>
                  <a:gd name="T91" fmla="*/ 106 h 284"/>
                  <a:gd name="T92" fmla="*/ 47 w 247"/>
                  <a:gd name="T93" fmla="*/ 126 h 284"/>
                  <a:gd name="T94" fmla="*/ 35 w 247"/>
                  <a:gd name="T95" fmla="*/ 150 h 284"/>
                  <a:gd name="T96" fmla="*/ 44 w 247"/>
                  <a:gd name="T97" fmla="*/ 170 h 284"/>
                  <a:gd name="T98" fmla="*/ 64 w 247"/>
                  <a:gd name="T99" fmla="*/ 186 h 284"/>
                  <a:gd name="T100" fmla="*/ 63 w 247"/>
                  <a:gd name="T101" fmla="*/ 206 h 284"/>
                  <a:gd name="T102" fmla="*/ 75 w 247"/>
                  <a:gd name="T103" fmla="*/ 234 h 284"/>
                  <a:gd name="T104" fmla="*/ 73 w 247"/>
                  <a:gd name="T105" fmla="*/ 252 h 284"/>
                  <a:gd name="T106" fmla="*/ 90 w 247"/>
                  <a:gd name="T107" fmla="*/ 275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47" h="284">
                    <a:moveTo>
                      <a:pt x="90" y="275"/>
                    </a:moveTo>
                    <a:cubicBezTo>
                      <a:pt x="92" y="236"/>
                      <a:pt x="92" y="236"/>
                      <a:pt x="92" y="236"/>
                    </a:cubicBezTo>
                    <a:cubicBezTo>
                      <a:pt x="92" y="236"/>
                      <a:pt x="134" y="252"/>
                      <a:pt x="142" y="250"/>
                    </a:cubicBezTo>
                    <a:cubicBezTo>
                      <a:pt x="150" y="247"/>
                      <a:pt x="134" y="229"/>
                      <a:pt x="143" y="227"/>
                    </a:cubicBezTo>
                    <a:cubicBezTo>
                      <a:pt x="152" y="225"/>
                      <a:pt x="169" y="245"/>
                      <a:pt x="182" y="240"/>
                    </a:cubicBezTo>
                    <a:cubicBezTo>
                      <a:pt x="195" y="236"/>
                      <a:pt x="190" y="223"/>
                      <a:pt x="190" y="223"/>
                    </a:cubicBezTo>
                    <a:cubicBezTo>
                      <a:pt x="182" y="202"/>
                      <a:pt x="182" y="202"/>
                      <a:pt x="182" y="202"/>
                    </a:cubicBezTo>
                    <a:cubicBezTo>
                      <a:pt x="213" y="235"/>
                      <a:pt x="213" y="235"/>
                      <a:pt x="213" y="235"/>
                    </a:cubicBezTo>
                    <a:cubicBezTo>
                      <a:pt x="213" y="235"/>
                      <a:pt x="201" y="274"/>
                      <a:pt x="210" y="280"/>
                    </a:cubicBezTo>
                    <a:cubicBezTo>
                      <a:pt x="213" y="282"/>
                      <a:pt x="218" y="283"/>
                      <a:pt x="222" y="284"/>
                    </a:cubicBezTo>
                    <a:cubicBezTo>
                      <a:pt x="224" y="277"/>
                      <a:pt x="226" y="273"/>
                      <a:pt x="226" y="273"/>
                    </a:cubicBezTo>
                    <a:cubicBezTo>
                      <a:pt x="247" y="276"/>
                      <a:pt x="247" y="276"/>
                      <a:pt x="247" y="276"/>
                    </a:cubicBezTo>
                    <a:cubicBezTo>
                      <a:pt x="240" y="237"/>
                      <a:pt x="240" y="237"/>
                      <a:pt x="240" y="237"/>
                    </a:cubicBezTo>
                    <a:cubicBezTo>
                      <a:pt x="240" y="237"/>
                      <a:pt x="224" y="198"/>
                      <a:pt x="220" y="187"/>
                    </a:cubicBezTo>
                    <a:cubicBezTo>
                      <a:pt x="216" y="176"/>
                      <a:pt x="222" y="157"/>
                      <a:pt x="204" y="153"/>
                    </a:cubicBezTo>
                    <a:cubicBezTo>
                      <a:pt x="186" y="149"/>
                      <a:pt x="194" y="170"/>
                      <a:pt x="194" y="170"/>
                    </a:cubicBezTo>
                    <a:cubicBezTo>
                      <a:pt x="187" y="193"/>
                      <a:pt x="187" y="193"/>
                      <a:pt x="187" y="193"/>
                    </a:cubicBezTo>
                    <a:cubicBezTo>
                      <a:pt x="178" y="178"/>
                      <a:pt x="178" y="178"/>
                      <a:pt x="178" y="178"/>
                    </a:cubicBezTo>
                    <a:cubicBezTo>
                      <a:pt x="178" y="178"/>
                      <a:pt x="158" y="175"/>
                      <a:pt x="158" y="159"/>
                    </a:cubicBezTo>
                    <a:cubicBezTo>
                      <a:pt x="158" y="143"/>
                      <a:pt x="160" y="133"/>
                      <a:pt x="168" y="130"/>
                    </a:cubicBezTo>
                    <a:cubicBezTo>
                      <a:pt x="176" y="127"/>
                      <a:pt x="190" y="129"/>
                      <a:pt x="193" y="115"/>
                    </a:cubicBezTo>
                    <a:cubicBezTo>
                      <a:pt x="196" y="101"/>
                      <a:pt x="196" y="92"/>
                      <a:pt x="196" y="92"/>
                    </a:cubicBezTo>
                    <a:cubicBezTo>
                      <a:pt x="196" y="92"/>
                      <a:pt x="206" y="96"/>
                      <a:pt x="206" y="86"/>
                    </a:cubicBezTo>
                    <a:cubicBezTo>
                      <a:pt x="206" y="76"/>
                      <a:pt x="184" y="68"/>
                      <a:pt x="184" y="68"/>
                    </a:cubicBezTo>
                    <a:cubicBezTo>
                      <a:pt x="154" y="79"/>
                      <a:pt x="154" y="79"/>
                      <a:pt x="154" y="79"/>
                    </a:cubicBezTo>
                    <a:cubicBezTo>
                      <a:pt x="154" y="79"/>
                      <a:pt x="123" y="75"/>
                      <a:pt x="113" y="75"/>
                    </a:cubicBezTo>
                    <a:cubicBezTo>
                      <a:pt x="103" y="75"/>
                      <a:pt x="86" y="72"/>
                      <a:pt x="86" y="69"/>
                    </a:cubicBezTo>
                    <a:cubicBezTo>
                      <a:pt x="86" y="66"/>
                      <a:pt x="85" y="46"/>
                      <a:pt x="85" y="46"/>
                    </a:cubicBezTo>
                    <a:cubicBezTo>
                      <a:pt x="81" y="44"/>
                      <a:pt x="81" y="44"/>
                      <a:pt x="81" y="44"/>
                    </a:cubicBezTo>
                    <a:cubicBezTo>
                      <a:pt x="81" y="44"/>
                      <a:pt x="81" y="26"/>
                      <a:pt x="77" y="23"/>
                    </a:cubicBezTo>
                    <a:cubicBezTo>
                      <a:pt x="73" y="20"/>
                      <a:pt x="67" y="17"/>
                      <a:pt x="67" y="17"/>
                    </a:cubicBezTo>
                    <a:cubicBezTo>
                      <a:pt x="66" y="29"/>
                      <a:pt x="66" y="29"/>
                      <a:pt x="66" y="29"/>
                    </a:cubicBezTo>
                    <a:cubicBezTo>
                      <a:pt x="66" y="29"/>
                      <a:pt x="56" y="27"/>
                      <a:pt x="50" y="21"/>
                    </a:cubicBezTo>
                    <a:cubicBezTo>
                      <a:pt x="44" y="15"/>
                      <a:pt x="41" y="3"/>
                      <a:pt x="41" y="3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0" y="24"/>
                      <a:pt x="2" y="35"/>
                    </a:cubicBezTo>
                    <a:cubicBezTo>
                      <a:pt x="4" y="46"/>
                      <a:pt x="26" y="54"/>
                      <a:pt x="26" y="54"/>
                    </a:cubicBezTo>
                    <a:cubicBezTo>
                      <a:pt x="43" y="65"/>
                      <a:pt x="43" y="65"/>
                      <a:pt x="43" y="65"/>
                    </a:cubicBezTo>
                    <a:cubicBezTo>
                      <a:pt x="44" y="73"/>
                      <a:pt x="44" y="73"/>
                      <a:pt x="44" y="73"/>
                    </a:cubicBezTo>
                    <a:cubicBezTo>
                      <a:pt x="22" y="74"/>
                      <a:pt x="22" y="74"/>
                      <a:pt x="22" y="74"/>
                    </a:cubicBezTo>
                    <a:cubicBezTo>
                      <a:pt x="22" y="93"/>
                      <a:pt x="22" y="93"/>
                      <a:pt x="22" y="93"/>
                    </a:cubicBezTo>
                    <a:cubicBezTo>
                      <a:pt x="22" y="93"/>
                      <a:pt x="3" y="96"/>
                      <a:pt x="13" y="106"/>
                    </a:cubicBezTo>
                    <a:cubicBezTo>
                      <a:pt x="23" y="116"/>
                      <a:pt x="50" y="110"/>
                      <a:pt x="47" y="126"/>
                    </a:cubicBezTo>
                    <a:cubicBezTo>
                      <a:pt x="44" y="142"/>
                      <a:pt x="35" y="150"/>
                      <a:pt x="35" y="150"/>
                    </a:cubicBezTo>
                    <a:cubicBezTo>
                      <a:pt x="44" y="170"/>
                      <a:pt x="44" y="170"/>
                      <a:pt x="44" y="170"/>
                    </a:cubicBezTo>
                    <a:cubicBezTo>
                      <a:pt x="64" y="186"/>
                      <a:pt x="64" y="186"/>
                      <a:pt x="64" y="186"/>
                    </a:cubicBezTo>
                    <a:cubicBezTo>
                      <a:pt x="63" y="206"/>
                      <a:pt x="63" y="206"/>
                      <a:pt x="63" y="206"/>
                    </a:cubicBezTo>
                    <a:cubicBezTo>
                      <a:pt x="75" y="234"/>
                      <a:pt x="75" y="234"/>
                      <a:pt x="75" y="234"/>
                    </a:cubicBezTo>
                    <a:cubicBezTo>
                      <a:pt x="73" y="252"/>
                      <a:pt x="73" y="252"/>
                      <a:pt x="73" y="252"/>
                    </a:cubicBezTo>
                    <a:lnTo>
                      <a:pt x="90" y="275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Freeform 220">
                <a:extLst>
                  <a:ext uri="{FF2B5EF4-FFF2-40B4-BE49-F238E27FC236}">
                    <a16:creationId xmlns:a16="http://schemas.microsoft.com/office/drawing/2014/main" id="{14A58540-181D-D102-3A73-D39F682F46B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046" y="-14560"/>
                <a:ext cx="3080" cy="3728"/>
              </a:xfrm>
              <a:custGeom>
                <a:avLst/>
                <a:gdLst>
                  <a:gd name="T0" fmla="*/ 1202 w 1304"/>
                  <a:gd name="T1" fmla="*/ 1237 h 1578"/>
                  <a:gd name="T2" fmla="*/ 1259 w 1304"/>
                  <a:gd name="T3" fmla="*/ 1543 h 1578"/>
                  <a:gd name="T4" fmla="*/ 1302 w 1304"/>
                  <a:gd name="T5" fmla="*/ 417 h 1578"/>
                  <a:gd name="T6" fmla="*/ 1231 w 1304"/>
                  <a:gd name="T7" fmla="*/ 379 h 1578"/>
                  <a:gd name="T8" fmla="*/ 1133 w 1304"/>
                  <a:gd name="T9" fmla="*/ 390 h 1578"/>
                  <a:gd name="T10" fmla="*/ 1045 w 1304"/>
                  <a:gd name="T11" fmla="*/ 450 h 1578"/>
                  <a:gd name="T12" fmla="*/ 1042 w 1304"/>
                  <a:gd name="T13" fmla="*/ 497 h 1578"/>
                  <a:gd name="T14" fmla="*/ 926 w 1304"/>
                  <a:gd name="T15" fmla="*/ 487 h 1578"/>
                  <a:gd name="T16" fmla="*/ 882 w 1304"/>
                  <a:gd name="T17" fmla="*/ 450 h 1578"/>
                  <a:gd name="T18" fmla="*/ 853 w 1304"/>
                  <a:gd name="T19" fmla="*/ 520 h 1578"/>
                  <a:gd name="T20" fmla="*/ 766 w 1304"/>
                  <a:gd name="T21" fmla="*/ 495 h 1578"/>
                  <a:gd name="T22" fmla="*/ 695 w 1304"/>
                  <a:gd name="T23" fmla="*/ 457 h 1578"/>
                  <a:gd name="T24" fmla="*/ 640 w 1304"/>
                  <a:gd name="T25" fmla="*/ 459 h 1578"/>
                  <a:gd name="T26" fmla="*/ 564 w 1304"/>
                  <a:gd name="T27" fmla="*/ 423 h 1578"/>
                  <a:gd name="T28" fmla="*/ 499 w 1304"/>
                  <a:gd name="T29" fmla="*/ 382 h 1578"/>
                  <a:gd name="T30" fmla="*/ 518 w 1304"/>
                  <a:gd name="T31" fmla="*/ 323 h 1578"/>
                  <a:gd name="T32" fmla="*/ 481 w 1304"/>
                  <a:gd name="T33" fmla="*/ 283 h 1578"/>
                  <a:gd name="T34" fmla="*/ 412 w 1304"/>
                  <a:gd name="T35" fmla="*/ 221 h 1578"/>
                  <a:gd name="T36" fmla="*/ 423 w 1304"/>
                  <a:gd name="T37" fmla="*/ 194 h 1578"/>
                  <a:gd name="T38" fmla="*/ 395 w 1304"/>
                  <a:gd name="T39" fmla="*/ 129 h 1578"/>
                  <a:gd name="T40" fmla="*/ 438 w 1304"/>
                  <a:gd name="T41" fmla="*/ 69 h 1578"/>
                  <a:gd name="T42" fmla="*/ 319 w 1304"/>
                  <a:gd name="T43" fmla="*/ 29 h 1578"/>
                  <a:gd name="T44" fmla="*/ 266 w 1304"/>
                  <a:gd name="T45" fmla="*/ 74 h 1578"/>
                  <a:gd name="T46" fmla="*/ 156 w 1304"/>
                  <a:gd name="T47" fmla="*/ 89 h 1578"/>
                  <a:gd name="T48" fmla="*/ 186 w 1304"/>
                  <a:gd name="T49" fmla="*/ 141 h 1578"/>
                  <a:gd name="T50" fmla="*/ 219 w 1304"/>
                  <a:gd name="T51" fmla="*/ 196 h 1578"/>
                  <a:gd name="T52" fmla="*/ 235 w 1304"/>
                  <a:gd name="T53" fmla="*/ 268 h 1578"/>
                  <a:gd name="T54" fmla="*/ 179 w 1304"/>
                  <a:gd name="T55" fmla="*/ 372 h 1578"/>
                  <a:gd name="T56" fmla="*/ 107 w 1304"/>
                  <a:gd name="T57" fmla="*/ 437 h 1578"/>
                  <a:gd name="T58" fmla="*/ 33 w 1304"/>
                  <a:gd name="T59" fmla="*/ 493 h 1578"/>
                  <a:gd name="T60" fmla="*/ 74 w 1304"/>
                  <a:gd name="T61" fmla="*/ 551 h 1578"/>
                  <a:gd name="T62" fmla="*/ 98 w 1304"/>
                  <a:gd name="T63" fmla="*/ 635 h 1578"/>
                  <a:gd name="T64" fmla="*/ 15 w 1304"/>
                  <a:gd name="T65" fmla="*/ 630 h 1578"/>
                  <a:gd name="T66" fmla="*/ 78 w 1304"/>
                  <a:gd name="T67" fmla="*/ 697 h 1578"/>
                  <a:gd name="T68" fmla="*/ 70 w 1304"/>
                  <a:gd name="T69" fmla="*/ 779 h 1578"/>
                  <a:gd name="T70" fmla="*/ 213 w 1304"/>
                  <a:gd name="T71" fmla="*/ 781 h 1578"/>
                  <a:gd name="T72" fmla="*/ 267 w 1304"/>
                  <a:gd name="T73" fmla="*/ 1062 h 1578"/>
                  <a:gd name="T74" fmla="*/ 407 w 1304"/>
                  <a:gd name="T75" fmla="*/ 1335 h 1578"/>
                  <a:gd name="T76" fmla="*/ 550 w 1304"/>
                  <a:gd name="T77" fmla="*/ 1443 h 1578"/>
                  <a:gd name="T78" fmla="*/ 601 w 1304"/>
                  <a:gd name="T79" fmla="*/ 1311 h 1578"/>
                  <a:gd name="T80" fmla="*/ 594 w 1304"/>
                  <a:gd name="T81" fmla="*/ 1107 h 1578"/>
                  <a:gd name="T82" fmla="*/ 688 w 1304"/>
                  <a:gd name="T83" fmla="*/ 1044 h 1578"/>
                  <a:gd name="T84" fmla="*/ 820 w 1304"/>
                  <a:gd name="T85" fmla="*/ 866 h 1578"/>
                  <a:gd name="T86" fmla="*/ 873 w 1304"/>
                  <a:gd name="T87" fmla="*/ 795 h 1578"/>
                  <a:gd name="T88" fmla="*/ 942 w 1304"/>
                  <a:gd name="T89" fmla="*/ 744 h 1578"/>
                  <a:gd name="T90" fmla="*/ 959 w 1304"/>
                  <a:gd name="T91" fmla="*/ 697 h 1578"/>
                  <a:gd name="T92" fmla="*/ 917 w 1304"/>
                  <a:gd name="T93" fmla="*/ 604 h 1578"/>
                  <a:gd name="T94" fmla="*/ 897 w 1304"/>
                  <a:gd name="T95" fmla="*/ 546 h 1578"/>
                  <a:gd name="T96" fmla="*/ 925 w 1304"/>
                  <a:gd name="T97" fmla="*/ 515 h 1578"/>
                  <a:gd name="T98" fmla="*/ 972 w 1304"/>
                  <a:gd name="T99" fmla="*/ 534 h 1578"/>
                  <a:gd name="T100" fmla="*/ 1049 w 1304"/>
                  <a:gd name="T101" fmla="*/ 590 h 1578"/>
                  <a:gd name="T102" fmla="*/ 1063 w 1304"/>
                  <a:gd name="T103" fmla="*/ 641 h 1578"/>
                  <a:gd name="T104" fmla="*/ 1099 w 1304"/>
                  <a:gd name="T105" fmla="*/ 664 h 1578"/>
                  <a:gd name="T106" fmla="*/ 1161 w 1304"/>
                  <a:gd name="T107" fmla="*/ 750 h 1578"/>
                  <a:gd name="T108" fmla="*/ 1143 w 1304"/>
                  <a:gd name="T109" fmla="*/ 648 h 1578"/>
                  <a:gd name="T110" fmla="*/ 1199 w 1304"/>
                  <a:gd name="T111" fmla="*/ 576 h 1578"/>
                  <a:gd name="T112" fmla="*/ 1238 w 1304"/>
                  <a:gd name="T113" fmla="*/ 497 h 1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04" h="1578">
                    <a:moveTo>
                      <a:pt x="1204" y="1196"/>
                    </a:moveTo>
                    <a:cubicBezTo>
                      <a:pt x="1184" y="1198"/>
                      <a:pt x="1188" y="1259"/>
                      <a:pt x="1188" y="1259"/>
                    </a:cubicBezTo>
                    <a:cubicBezTo>
                      <a:pt x="1191" y="1325"/>
                      <a:pt x="1191" y="1325"/>
                      <a:pt x="1191" y="1325"/>
                    </a:cubicBezTo>
                    <a:cubicBezTo>
                      <a:pt x="1202" y="1305"/>
                      <a:pt x="1202" y="1305"/>
                      <a:pt x="1202" y="1305"/>
                    </a:cubicBezTo>
                    <a:cubicBezTo>
                      <a:pt x="1202" y="1237"/>
                      <a:pt x="1202" y="1237"/>
                      <a:pt x="1202" y="1237"/>
                    </a:cubicBezTo>
                    <a:cubicBezTo>
                      <a:pt x="1202" y="1237"/>
                      <a:pt x="1220" y="1194"/>
                      <a:pt x="1204" y="1196"/>
                    </a:cubicBezTo>
                    <a:close/>
                    <a:moveTo>
                      <a:pt x="1195" y="1357"/>
                    </a:moveTo>
                    <a:cubicBezTo>
                      <a:pt x="1180" y="1357"/>
                      <a:pt x="1196" y="1389"/>
                      <a:pt x="1196" y="1389"/>
                    </a:cubicBezTo>
                    <a:cubicBezTo>
                      <a:pt x="1196" y="1389"/>
                      <a:pt x="1209" y="1357"/>
                      <a:pt x="1195" y="1357"/>
                    </a:cubicBezTo>
                    <a:close/>
                    <a:moveTo>
                      <a:pt x="1259" y="1543"/>
                    </a:moveTo>
                    <a:cubicBezTo>
                      <a:pt x="1251" y="1544"/>
                      <a:pt x="1255" y="1578"/>
                      <a:pt x="1270" y="1578"/>
                    </a:cubicBezTo>
                    <a:cubicBezTo>
                      <a:pt x="1270" y="1578"/>
                      <a:pt x="1267" y="1542"/>
                      <a:pt x="1259" y="1543"/>
                    </a:cubicBezTo>
                    <a:close/>
                    <a:moveTo>
                      <a:pt x="1280" y="454"/>
                    </a:moveTo>
                    <a:cubicBezTo>
                      <a:pt x="1280" y="445"/>
                      <a:pt x="1304" y="436"/>
                      <a:pt x="1304" y="436"/>
                    </a:cubicBezTo>
                    <a:cubicBezTo>
                      <a:pt x="1302" y="417"/>
                      <a:pt x="1302" y="417"/>
                      <a:pt x="1302" y="417"/>
                    </a:cubicBezTo>
                    <a:cubicBezTo>
                      <a:pt x="1302" y="417"/>
                      <a:pt x="1287" y="413"/>
                      <a:pt x="1280" y="413"/>
                    </a:cubicBezTo>
                    <a:cubicBezTo>
                      <a:pt x="1273" y="413"/>
                      <a:pt x="1258" y="413"/>
                      <a:pt x="1250" y="411"/>
                    </a:cubicBezTo>
                    <a:cubicBezTo>
                      <a:pt x="1242" y="409"/>
                      <a:pt x="1262" y="400"/>
                      <a:pt x="1262" y="400"/>
                    </a:cubicBezTo>
                    <a:cubicBezTo>
                      <a:pt x="1251" y="380"/>
                      <a:pt x="1251" y="380"/>
                      <a:pt x="1251" y="380"/>
                    </a:cubicBezTo>
                    <a:cubicBezTo>
                      <a:pt x="1251" y="380"/>
                      <a:pt x="1240" y="381"/>
                      <a:pt x="1231" y="379"/>
                    </a:cubicBezTo>
                    <a:cubicBezTo>
                      <a:pt x="1222" y="377"/>
                      <a:pt x="1238" y="369"/>
                      <a:pt x="1238" y="369"/>
                    </a:cubicBezTo>
                    <a:cubicBezTo>
                      <a:pt x="1238" y="369"/>
                      <a:pt x="1237" y="364"/>
                      <a:pt x="1219" y="355"/>
                    </a:cubicBezTo>
                    <a:cubicBezTo>
                      <a:pt x="1201" y="346"/>
                      <a:pt x="1209" y="377"/>
                      <a:pt x="1198" y="377"/>
                    </a:cubicBezTo>
                    <a:cubicBezTo>
                      <a:pt x="1187" y="377"/>
                      <a:pt x="1173" y="363"/>
                      <a:pt x="1165" y="363"/>
                    </a:cubicBezTo>
                    <a:cubicBezTo>
                      <a:pt x="1157" y="363"/>
                      <a:pt x="1140" y="382"/>
                      <a:pt x="1133" y="390"/>
                    </a:cubicBezTo>
                    <a:cubicBezTo>
                      <a:pt x="1126" y="398"/>
                      <a:pt x="1102" y="394"/>
                      <a:pt x="1102" y="394"/>
                    </a:cubicBezTo>
                    <a:cubicBezTo>
                      <a:pt x="1102" y="394"/>
                      <a:pt x="1109" y="410"/>
                      <a:pt x="1107" y="415"/>
                    </a:cubicBezTo>
                    <a:cubicBezTo>
                      <a:pt x="1105" y="420"/>
                      <a:pt x="1084" y="422"/>
                      <a:pt x="1084" y="422"/>
                    </a:cubicBezTo>
                    <a:cubicBezTo>
                      <a:pt x="1084" y="422"/>
                      <a:pt x="1092" y="438"/>
                      <a:pt x="1084" y="445"/>
                    </a:cubicBezTo>
                    <a:cubicBezTo>
                      <a:pt x="1076" y="452"/>
                      <a:pt x="1045" y="450"/>
                      <a:pt x="1045" y="450"/>
                    </a:cubicBezTo>
                    <a:cubicBezTo>
                      <a:pt x="1045" y="450"/>
                      <a:pt x="1039" y="452"/>
                      <a:pt x="1043" y="459"/>
                    </a:cubicBezTo>
                    <a:cubicBezTo>
                      <a:pt x="1047" y="466"/>
                      <a:pt x="1064" y="465"/>
                      <a:pt x="1064" y="465"/>
                    </a:cubicBezTo>
                    <a:cubicBezTo>
                      <a:pt x="1064" y="479"/>
                      <a:pt x="1064" y="479"/>
                      <a:pt x="1064" y="479"/>
                    </a:cubicBezTo>
                    <a:cubicBezTo>
                      <a:pt x="1064" y="479"/>
                      <a:pt x="1079" y="490"/>
                      <a:pt x="1065" y="497"/>
                    </a:cubicBezTo>
                    <a:cubicBezTo>
                      <a:pt x="1051" y="504"/>
                      <a:pt x="1042" y="497"/>
                      <a:pt x="1042" y="497"/>
                    </a:cubicBezTo>
                    <a:cubicBezTo>
                      <a:pt x="1042" y="497"/>
                      <a:pt x="1034" y="501"/>
                      <a:pt x="1016" y="501"/>
                    </a:cubicBezTo>
                    <a:cubicBezTo>
                      <a:pt x="998" y="501"/>
                      <a:pt x="1000" y="495"/>
                      <a:pt x="991" y="495"/>
                    </a:cubicBezTo>
                    <a:cubicBezTo>
                      <a:pt x="982" y="495"/>
                      <a:pt x="988" y="503"/>
                      <a:pt x="969" y="503"/>
                    </a:cubicBezTo>
                    <a:cubicBezTo>
                      <a:pt x="950" y="503"/>
                      <a:pt x="953" y="492"/>
                      <a:pt x="953" y="492"/>
                    </a:cubicBezTo>
                    <a:cubicBezTo>
                      <a:pt x="953" y="492"/>
                      <a:pt x="949" y="503"/>
                      <a:pt x="926" y="487"/>
                    </a:cubicBezTo>
                    <a:cubicBezTo>
                      <a:pt x="903" y="471"/>
                      <a:pt x="921" y="467"/>
                      <a:pt x="921" y="467"/>
                    </a:cubicBezTo>
                    <a:cubicBezTo>
                      <a:pt x="921" y="467"/>
                      <a:pt x="916" y="468"/>
                      <a:pt x="911" y="466"/>
                    </a:cubicBezTo>
                    <a:cubicBezTo>
                      <a:pt x="906" y="464"/>
                      <a:pt x="917" y="436"/>
                      <a:pt x="906" y="427"/>
                    </a:cubicBezTo>
                    <a:cubicBezTo>
                      <a:pt x="899" y="422"/>
                      <a:pt x="888" y="428"/>
                      <a:pt x="876" y="435"/>
                    </a:cubicBezTo>
                    <a:cubicBezTo>
                      <a:pt x="882" y="450"/>
                      <a:pt x="882" y="450"/>
                      <a:pt x="882" y="450"/>
                    </a:cubicBezTo>
                    <a:cubicBezTo>
                      <a:pt x="882" y="482"/>
                      <a:pt x="882" y="482"/>
                      <a:pt x="882" y="482"/>
                    </a:cubicBezTo>
                    <a:cubicBezTo>
                      <a:pt x="892" y="497"/>
                      <a:pt x="892" y="497"/>
                      <a:pt x="892" y="497"/>
                    </a:cubicBezTo>
                    <a:cubicBezTo>
                      <a:pt x="892" y="497"/>
                      <a:pt x="892" y="506"/>
                      <a:pt x="891" y="515"/>
                    </a:cubicBezTo>
                    <a:cubicBezTo>
                      <a:pt x="890" y="524"/>
                      <a:pt x="869" y="521"/>
                      <a:pt x="869" y="521"/>
                    </a:cubicBezTo>
                    <a:cubicBezTo>
                      <a:pt x="869" y="521"/>
                      <a:pt x="862" y="520"/>
                      <a:pt x="853" y="520"/>
                    </a:cubicBezTo>
                    <a:cubicBezTo>
                      <a:pt x="844" y="520"/>
                      <a:pt x="849" y="510"/>
                      <a:pt x="843" y="510"/>
                    </a:cubicBezTo>
                    <a:cubicBezTo>
                      <a:pt x="837" y="510"/>
                      <a:pt x="829" y="521"/>
                      <a:pt x="829" y="521"/>
                    </a:cubicBezTo>
                    <a:cubicBezTo>
                      <a:pt x="829" y="521"/>
                      <a:pt x="818" y="508"/>
                      <a:pt x="805" y="504"/>
                    </a:cubicBezTo>
                    <a:cubicBezTo>
                      <a:pt x="792" y="500"/>
                      <a:pt x="788" y="509"/>
                      <a:pt x="788" y="509"/>
                    </a:cubicBezTo>
                    <a:cubicBezTo>
                      <a:pt x="766" y="495"/>
                      <a:pt x="766" y="495"/>
                      <a:pt x="766" y="495"/>
                    </a:cubicBezTo>
                    <a:cubicBezTo>
                      <a:pt x="754" y="504"/>
                      <a:pt x="754" y="504"/>
                      <a:pt x="754" y="504"/>
                    </a:cubicBezTo>
                    <a:cubicBezTo>
                      <a:pt x="754" y="504"/>
                      <a:pt x="745" y="493"/>
                      <a:pt x="736" y="485"/>
                    </a:cubicBezTo>
                    <a:cubicBezTo>
                      <a:pt x="727" y="477"/>
                      <a:pt x="719" y="467"/>
                      <a:pt x="719" y="467"/>
                    </a:cubicBezTo>
                    <a:cubicBezTo>
                      <a:pt x="705" y="470"/>
                      <a:pt x="705" y="470"/>
                      <a:pt x="705" y="470"/>
                    </a:cubicBezTo>
                    <a:cubicBezTo>
                      <a:pt x="705" y="470"/>
                      <a:pt x="704" y="462"/>
                      <a:pt x="695" y="457"/>
                    </a:cubicBezTo>
                    <a:cubicBezTo>
                      <a:pt x="686" y="452"/>
                      <a:pt x="687" y="471"/>
                      <a:pt x="687" y="471"/>
                    </a:cubicBezTo>
                    <a:cubicBezTo>
                      <a:pt x="687" y="471"/>
                      <a:pt x="686" y="464"/>
                      <a:pt x="677" y="464"/>
                    </a:cubicBezTo>
                    <a:cubicBezTo>
                      <a:pt x="668" y="464"/>
                      <a:pt x="663" y="472"/>
                      <a:pt x="663" y="472"/>
                    </a:cubicBezTo>
                    <a:cubicBezTo>
                      <a:pt x="660" y="465"/>
                      <a:pt x="660" y="465"/>
                      <a:pt x="660" y="465"/>
                    </a:cubicBezTo>
                    <a:cubicBezTo>
                      <a:pt x="660" y="465"/>
                      <a:pt x="653" y="461"/>
                      <a:pt x="640" y="459"/>
                    </a:cubicBezTo>
                    <a:cubicBezTo>
                      <a:pt x="627" y="457"/>
                      <a:pt x="639" y="452"/>
                      <a:pt x="634" y="450"/>
                    </a:cubicBezTo>
                    <a:cubicBezTo>
                      <a:pt x="629" y="448"/>
                      <a:pt x="624" y="451"/>
                      <a:pt x="616" y="451"/>
                    </a:cubicBezTo>
                    <a:cubicBezTo>
                      <a:pt x="608" y="451"/>
                      <a:pt x="601" y="437"/>
                      <a:pt x="601" y="437"/>
                    </a:cubicBezTo>
                    <a:cubicBezTo>
                      <a:pt x="592" y="438"/>
                      <a:pt x="592" y="438"/>
                      <a:pt x="592" y="438"/>
                    </a:cubicBezTo>
                    <a:cubicBezTo>
                      <a:pt x="564" y="423"/>
                      <a:pt x="564" y="423"/>
                      <a:pt x="564" y="423"/>
                    </a:cubicBezTo>
                    <a:cubicBezTo>
                      <a:pt x="557" y="413"/>
                      <a:pt x="557" y="413"/>
                      <a:pt x="557" y="413"/>
                    </a:cubicBezTo>
                    <a:cubicBezTo>
                      <a:pt x="539" y="413"/>
                      <a:pt x="539" y="413"/>
                      <a:pt x="539" y="413"/>
                    </a:cubicBezTo>
                    <a:cubicBezTo>
                      <a:pt x="528" y="395"/>
                      <a:pt x="528" y="395"/>
                      <a:pt x="528" y="395"/>
                    </a:cubicBezTo>
                    <a:cubicBezTo>
                      <a:pt x="518" y="401"/>
                      <a:pt x="518" y="401"/>
                      <a:pt x="518" y="401"/>
                    </a:cubicBezTo>
                    <a:cubicBezTo>
                      <a:pt x="518" y="401"/>
                      <a:pt x="506" y="390"/>
                      <a:pt x="499" y="382"/>
                    </a:cubicBezTo>
                    <a:cubicBezTo>
                      <a:pt x="492" y="374"/>
                      <a:pt x="511" y="364"/>
                      <a:pt x="511" y="364"/>
                    </a:cubicBezTo>
                    <a:cubicBezTo>
                      <a:pt x="511" y="364"/>
                      <a:pt x="506" y="364"/>
                      <a:pt x="502" y="358"/>
                    </a:cubicBezTo>
                    <a:cubicBezTo>
                      <a:pt x="498" y="352"/>
                      <a:pt x="509" y="350"/>
                      <a:pt x="509" y="350"/>
                    </a:cubicBezTo>
                    <a:cubicBezTo>
                      <a:pt x="503" y="341"/>
                      <a:pt x="503" y="341"/>
                      <a:pt x="503" y="341"/>
                    </a:cubicBezTo>
                    <a:cubicBezTo>
                      <a:pt x="518" y="323"/>
                      <a:pt x="518" y="323"/>
                      <a:pt x="518" y="323"/>
                    </a:cubicBezTo>
                    <a:cubicBezTo>
                      <a:pt x="524" y="310"/>
                      <a:pt x="524" y="310"/>
                      <a:pt x="524" y="310"/>
                    </a:cubicBezTo>
                    <a:cubicBezTo>
                      <a:pt x="509" y="296"/>
                      <a:pt x="509" y="296"/>
                      <a:pt x="509" y="296"/>
                    </a:cubicBezTo>
                    <a:cubicBezTo>
                      <a:pt x="509" y="296"/>
                      <a:pt x="498" y="296"/>
                      <a:pt x="492" y="293"/>
                    </a:cubicBezTo>
                    <a:cubicBezTo>
                      <a:pt x="486" y="290"/>
                      <a:pt x="492" y="282"/>
                      <a:pt x="492" y="282"/>
                    </a:cubicBezTo>
                    <a:cubicBezTo>
                      <a:pt x="481" y="283"/>
                      <a:pt x="481" y="283"/>
                      <a:pt x="481" y="283"/>
                    </a:cubicBezTo>
                    <a:cubicBezTo>
                      <a:pt x="466" y="272"/>
                      <a:pt x="466" y="272"/>
                      <a:pt x="466" y="272"/>
                    </a:cubicBezTo>
                    <a:cubicBezTo>
                      <a:pt x="466" y="272"/>
                      <a:pt x="456" y="270"/>
                      <a:pt x="445" y="266"/>
                    </a:cubicBezTo>
                    <a:cubicBezTo>
                      <a:pt x="434" y="262"/>
                      <a:pt x="430" y="247"/>
                      <a:pt x="430" y="247"/>
                    </a:cubicBezTo>
                    <a:cubicBezTo>
                      <a:pt x="430" y="247"/>
                      <a:pt x="419" y="252"/>
                      <a:pt x="412" y="249"/>
                    </a:cubicBezTo>
                    <a:cubicBezTo>
                      <a:pt x="405" y="246"/>
                      <a:pt x="412" y="221"/>
                      <a:pt x="412" y="221"/>
                    </a:cubicBezTo>
                    <a:cubicBezTo>
                      <a:pt x="412" y="221"/>
                      <a:pt x="392" y="210"/>
                      <a:pt x="390" y="200"/>
                    </a:cubicBezTo>
                    <a:cubicBezTo>
                      <a:pt x="388" y="190"/>
                      <a:pt x="401" y="185"/>
                      <a:pt x="405" y="185"/>
                    </a:cubicBezTo>
                    <a:cubicBezTo>
                      <a:pt x="409" y="185"/>
                      <a:pt x="407" y="195"/>
                      <a:pt x="407" y="195"/>
                    </a:cubicBezTo>
                    <a:cubicBezTo>
                      <a:pt x="417" y="203"/>
                      <a:pt x="417" y="203"/>
                      <a:pt x="417" y="203"/>
                    </a:cubicBezTo>
                    <a:cubicBezTo>
                      <a:pt x="423" y="194"/>
                      <a:pt x="423" y="194"/>
                      <a:pt x="423" y="194"/>
                    </a:cubicBezTo>
                    <a:cubicBezTo>
                      <a:pt x="423" y="194"/>
                      <a:pt x="432" y="191"/>
                      <a:pt x="440" y="186"/>
                    </a:cubicBezTo>
                    <a:cubicBezTo>
                      <a:pt x="448" y="181"/>
                      <a:pt x="429" y="166"/>
                      <a:pt x="429" y="166"/>
                    </a:cubicBezTo>
                    <a:cubicBezTo>
                      <a:pt x="424" y="157"/>
                      <a:pt x="424" y="157"/>
                      <a:pt x="424" y="157"/>
                    </a:cubicBezTo>
                    <a:cubicBezTo>
                      <a:pt x="424" y="157"/>
                      <a:pt x="419" y="154"/>
                      <a:pt x="404" y="147"/>
                    </a:cubicBezTo>
                    <a:cubicBezTo>
                      <a:pt x="389" y="140"/>
                      <a:pt x="395" y="129"/>
                      <a:pt x="395" y="129"/>
                    </a:cubicBezTo>
                    <a:cubicBezTo>
                      <a:pt x="406" y="123"/>
                      <a:pt x="406" y="123"/>
                      <a:pt x="406" y="123"/>
                    </a:cubicBezTo>
                    <a:cubicBezTo>
                      <a:pt x="394" y="107"/>
                      <a:pt x="394" y="107"/>
                      <a:pt x="394" y="107"/>
                    </a:cubicBezTo>
                    <a:cubicBezTo>
                      <a:pt x="394" y="107"/>
                      <a:pt x="413" y="108"/>
                      <a:pt x="422" y="103"/>
                    </a:cubicBezTo>
                    <a:cubicBezTo>
                      <a:pt x="431" y="98"/>
                      <a:pt x="425" y="74"/>
                      <a:pt x="425" y="74"/>
                    </a:cubicBezTo>
                    <a:cubicBezTo>
                      <a:pt x="425" y="74"/>
                      <a:pt x="434" y="74"/>
                      <a:pt x="438" y="69"/>
                    </a:cubicBezTo>
                    <a:cubicBezTo>
                      <a:pt x="442" y="64"/>
                      <a:pt x="438" y="28"/>
                      <a:pt x="438" y="28"/>
                    </a:cubicBezTo>
                    <a:cubicBezTo>
                      <a:pt x="438" y="28"/>
                      <a:pt x="424" y="30"/>
                      <a:pt x="413" y="28"/>
                    </a:cubicBezTo>
                    <a:cubicBezTo>
                      <a:pt x="402" y="26"/>
                      <a:pt x="400" y="12"/>
                      <a:pt x="383" y="6"/>
                    </a:cubicBezTo>
                    <a:cubicBezTo>
                      <a:pt x="366" y="0"/>
                      <a:pt x="335" y="29"/>
                      <a:pt x="335" y="29"/>
                    </a:cubicBezTo>
                    <a:cubicBezTo>
                      <a:pt x="335" y="29"/>
                      <a:pt x="328" y="29"/>
                      <a:pt x="319" y="29"/>
                    </a:cubicBezTo>
                    <a:cubicBezTo>
                      <a:pt x="304" y="51"/>
                      <a:pt x="304" y="51"/>
                      <a:pt x="304" y="51"/>
                    </a:cubicBezTo>
                    <a:cubicBezTo>
                      <a:pt x="289" y="57"/>
                      <a:pt x="289" y="57"/>
                      <a:pt x="289" y="57"/>
                    </a:cubicBezTo>
                    <a:cubicBezTo>
                      <a:pt x="289" y="57"/>
                      <a:pt x="289" y="68"/>
                      <a:pt x="286" y="69"/>
                    </a:cubicBezTo>
                    <a:cubicBezTo>
                      <a:pt x="283" y="70"/>
                      <a:pt x="272" y="69"/>
                      <a:pt x="272" y="69"/>
                    </a:cubicBezTo>
                    <a:cubicBezTo>
                      <a:pt x="266" y="74"/>
                      <a:pt x="266" y="74"/>
                      <a:pt x="266" y="74"/>
                    </a:cubicBezTo>
                    <a:cubicBezTo>
                      <a:pt x="262" y="70"/>
                      <a:pt x="262" y="70"/>
                      <a:pt x="262" y="70"/>
                    </a:cubicBezTo>
                    <a:cubicBezTo>
                      <a:pt x="262" y="70"/>
                      <a:pt x="244" y="83"/>
                      <a:pt x="237" y="84"/>
                    </a:cubicBezTo>
                    <a:cubicBezTo>
                      <a:pt x="230" y="85"/>
                      <a:pt x="227" y="73"/>
                      <a:pt x="227" y="73"/>
                    </a:cubicBezTo>
                    <a:cubicBezTo>
                      <a:pt x="227" y="73"/>
                      <a:pt x="198" y="67"/>
                      <a:pt x="176" y="70"/>
                    </a:cubicBezTo>
                    <a:cubicBezTo>
                      <a:pt x="154" y="73"/>
                      <a:pt x="156" y="89"/>
                      <a:pt x="156" y="89"/>
                    </a:cubicBezTo>
                    <a:cubicBezTo>
                      <a:pt x="171" y="99"/>
                      <a:pt x="171" y="99"/>
                      <a:pt x="171" y="99"/>
                    </a:cubicBezTo>
                    <a:cubicBezTo>
                      <a:pt x="167" y="108"/>
                      <a:pt x="167" y="108"/>
                      <a:pt x="167" y="108"/>
                    </a:cubicBezTo>
                    <a:cubicBezTo>
                      <a:pt x="187" y="112"/>
                      <a:pt x="187" y="112"/>
                      <a:pt x="187" y="112"/>
                    </a:cubicBezTo>
                    <a:cubicBezTo>
                      <a:pt x="187" y="112"/>
                      <a:pt x="178" y="120"/>
                      <a:pt x="175" y="130"/>
                    </a:cubicBezTo>
                    <a:cubicBezTo>
                      <a:pt x="172" y="140"/>
                      <a:pt x="186" y="141"/>
                      <a:pt x="186" y="141"/>
                    </a:cubicBezTo>
                    <a:cubicBezTo>
                      <a:pt x="186" y="141"/>
                      <a:pt x="185" y="149"/>
                      <a:pt x="184" y="157"/>
                    </a:cubicBezTo>
                    <a:cubicBezTo>
                      <a:pt x="183" y="165"/>
                      <a:pt x="194" y="162"/>
                      <a:pt x="194" y="162"/>
                    </a:cubicBezTo>
                    <a:cubicBezTo>
                      <a:pt x="202" y="172"/>
                      <a:pt x="202" y="172"/>
                      <a:pt x="202" y="172"/>
                    </a:cubicBezTo>
                    <a:cubicBezTo>
                      <a:pt x="216" y="173"/>
                      <a:pt x="216" y="173"/>
                      <a:pt x="216" y="173"/>
                    </a:cubicBezTo>
                    <a:cubicBezTo>
                      <a:pt x="219" y="196"/>
                      <a:pt x="219" y="196"/>
                      <a:pt x="219" y="196"/>
                    </a:cubicBezTo>
                    <a:cubicBezTo>
                      <a:pt x="243" y="195"/>
                      <a:pt x="243" y="195"/>
                      <a:pt x="243" y="195"/>
                    </a:cubicBezTo>
                    <a:cubicBezTo>
                      <a:pt x="243" y="195"/>
                      <a:pt x="255" y="200"/>
                      <a:pt x="256" y="209"/>
                    </a:cubicBezTo>
                    <a:cubicBezTo>
                      <a:pt x="257" y="218"/>
                      <a:pt x="228" y="222"/>
                      <a:pt x="224" y="224"/>
                    </a:cubicBezTo>
                    <a:cubicBezTo>
                      <a:pt x="220" y="226"/>
                      <a:pt x="223" y="240"/>
                      <a:pt x="223" y="244"/>
                    </a:cubicBezTo>
                    <a:cubicBezTo>
                      <a:pt x="223" y="248"/>
                      <a:pt x="235" y="268"/>
                      <a:pt x="235" y="268"/>
                    </a:cubicBezTo>
                    <a:cubicBezTo>
                      <a:pt x="217" y="281"/>
                      <a:pt x="217" y="281"/>
                      <a:pt x="217" y="281"/>
                    </a:cubicBezTo>
                    <a:cubicBezTo>
                      <a:pt x="200" y="305"/>
                      <a:pt x="200" y="305"/>
                      <a:pt x="200" y="305"/>
                    </a:cubicBezTo>
                    <a:cubicBezTo>
                      <a:pt x="211" y="322"/>
                      <a:pt x="211" y="322"/>
                      <a:pt x="211" y="322"/>
                    </a:cubicBezTo>
                    <a:cubicBezTo>
                      <a:pt x="211" y="322"/>
                      <a:pt x="192" y="323"/>
                      <a:pt x="188" y="332"/>
                    </a:cubicBezTo>
                    <a:cubicBezTo>
                      <a:pt x="184" y="341"/>
                      <a:pt x="187" y="359"/>
                      <a:pt x="179" y="372"/>
                    </a:cubicBezTo>
                    <a:cubicBezTo>
                      <a:pt x="171" y="385"/>
                      <a:pt x="155" y="388"/>
                      <a:pt x="151" y="391"/>
                    </a:cubicBezTo>
                    <a:cubicBezTo>
                      <a:pt x="147" y="394"/>
                      <a:pt x="146" y="414"/>
                      <a:pt x="146" y="414"/>
                    </a:cubicBezTo>
                    <a:cubicBezTo>
                      <a:pt x="137" y="419"/>
                      <a:pt x="137" y="419"/>
                      <a:pt x="137" y="419"/>
                    </a:cubicBezTo>
                    <a:cubicBezTo>
                      <a:pt x="137" y="419"/>
                      <a:pt x="136" y="429"/>
                      <a:pt x="129" y="437"/>
                    </a:cubicBezTo>
                    <a:cubicBezTo>
                      <a:pt x="122" y="445"/>
                      <a:pt x="107" y="437"/>
                      <a:pt x="107" y="437"/>
                    </a:cubicBezTo>
                    <a:cubicBezTo>
                      <a:pt x="107" y="437"/>
                      <a:pt x="102" y="445"/>
                      <a:pt x="89" y="447"/>
                    </a:cubicBezTo>
                    <a:cubicBezTo>
                      <a:pt x="76" y="449"/>
                      <a:pt x="84" y="432"/>
                      <a:pt x="70" y="434"/>
                    </a:cubicBezTo>
                    <a:cubicBezTo>
                      <a:pt x="56" y="436"/>
                      <a:pt x="57" y="450"/>
                      <a:pt x="57" y="450"/>
                    </a:cubicBezTo>
                    <a:cubicBezTo>
                      <a:pt x="57" y="450"/>
                      <a:pt x="50" y="462"/>
                      <a:pt x="42" y="469"/>
                    </a:cubicBezTo>
                    <a:cubicBezTo>
                      <a:pt x="34" y="476"/>
                      <a:pt x="33" y="476"/>
                      <a:pt x="33" y="493"/>
                    </a:cubicBezTo>
                    <a:cubicBezTo>
                      <a:pt x="33" y="510"/>
                      <a:pt x="48" y="508"/>
                      <a:pt x="48" y="508"/>
                    </a:cubicBezTo>
                    <a:cubicBezTo>
                      <a:pt x="66" y="506"/>
                      <a:pt x="66" y="506"/>
                      <a:pt x="66" y="506"/>
                    </a:cubicBezTo>
                    <a:cubicBezTo>
                      <a:pt x="67" y="516"/>
                      <a:pt x="67" y="516"/>
                      <a:pt x="67" y="516"/>
                    </a:cubicBezTo>
                    <a:cubicBezTo>
                      <a:pt x="65" y="536"/>
                      <a:pt x="65" y="536"/>
                      <a:pt x="65" y="536"/>
                    </a:cubicBezTo>
                    <a:cubicBezTo>
                      <a:pt x="65" y="536"/>
                      <a:pt x="67" y="544"/>
                      <a:pt x="74" y="551"/>
                    </a:cubicBezTo>
                    <a:cubicBezTo>
                      <a:pt x="81" y="558"/>
                      <a:pt x="97" y="558"/>
                      <a:pt x="97" y="558"/>
                    </a:cubicBezTo>
                    <a:cubicBezTo>
                      <a:pt x="97" y="573"/>
                      <a:pt x="97" y="573"/>
                      <a:pt x="97" y="573"/>
                    </a:cubicBezTo>
                    <a:cubicBezTo>
                      <a:pt x="111" y="601"/>
                      <a:pt x="111" y="601"/>
                      <a:pt x="111" y="601"/>
                    </a:cubicBezTo>
                    <a:cubicBezTo>
                      <a:pt x="111" y="601"/>
                      <a:pt x="122" y="616"/>
                      <a:pt x="120" y="625"/>
                    </a:cubicBezTo>
                    <a:cubicBezTo>
                      <a:pt x="118" y="634"/>
                      <a:pt x="109" y="635"/>
                      <a:pt x="98" y="635"/>
                    </a:cubicBezTo>
                    <a:cubicBezTo>
                      <a:pt x="87" y="635"/>
                      <a:pt x="97" y="624"/>
                      <a:pt x="86" y="626"/>
                    </a:cubicBezTo>
                    <a:cubicBezTo>
                      <a:pt x="75" y="628"/>
                      <a:pt x="77" y="638"/>
                      <a:pt x="63" y="638"/>
                    </a:cubicBezTo>
                    <a:cubicBezTo>
                      <a:pt x="49" y="638"/>
                      <a:pt x="52" y="630"/>
                      <a:pt x="52" y="630"/>
                    </a:cubicBezTo>
                    <a:cubicBezTo>
                      <a:pt x="35" y="636"/>
                      <a:pt x="35" y="636"/>
                      <a:pt x="35" y="636"/>
                    </a:cubicBezTo>
                    <a:cubicBezTo>
                      <a:pt x="35" y="636"/>
                      <a:pt x="26" y="629"/>
                      <a:pt x="15" y="630"/>
                    </a:cubicBezTo>
                    <a:cubicBezTo>
                      <a:pt x="4" y="631"/>
                      <a:pt x="13" y="647"/>
                      <a:pt x="13" y="647"/>
                    </a:cubicBezTo>
                    <a:cubicBezTo>
                      <a:pt x="0" y="652"/>
                      <a:pt x="0" y="652"/>
                      <a:pt x="0" y="652"/>
                    </a:cubicBezTo>
                    <a:cubicBezTo>
                      <a:pt x="11" y="653"/>
                      <a:pt x="23" y="653"/>
                      <a:pt x="23" y="653"/>
                    </a:cubicBezTo>
                    <a:cubicBezTo>
                      <a:pt x="23" y="653"/>
                      <a:pt x="13" y="677"/>
                      <a:pt x="26" y="686"/>
                    </a:cubicBezTo>
                    <a:cubicBezTo>
                      <a:pt x="38" y="696"/>
                      <a:pt x="71" y="699"/>
                      <a:pt x="78" y="697"/>
                    </a:cubicBezTo>
                    <a:cubicBezTo>
                      <a:pt x="84" y="695"/>
                      <a:pt x="108" y="678"/>
                      <a:pt x="108" y="678"/>
                    </a:cubicBezTo>
                    <a:cubicBezTo>
                      <a:pt x="108" y="678"/>
                      <a:pt x="118" y="690"/>
                      <a:pt x="106" y="701"/>
                    </a:cubicBezTo>
                    <a:cubicBezTo>
                      <a:pt x="94" y="712"/>
                      <a:pt x="70" y="719"/>
                      <a:pt x="70" y="719"/>
                    </a:cubicBezTo>
                    <a:cubicBezTo>
                      <a:pt x="70" y="719"/>
                      <a:pt x="32" y="724"/>
                      <a:pt x="30" y="735"/>
                    </a:cubicBezTo>
                    <a:cubicBezTo>
                      <a:pt x="28" y="746"/>
                      <a:pt x="58" y="770"/>
                      <a:pt x="70" y="779"/>
                    </a:cubicBezTo>
                    <a:cubicBezTo>
                      <a:pt x="83" y="788"/>
                      <a:pt x="106" y="816"/>
                      <a:pt x="136" y="818"/>
                    </a:cubicBezTo>
                    <a:cubicBezTo>
                      <a:pt x="167" y="821"/>
                      <a:pt x="205" y="794"/>
                      <a:pt x="201" y="775"/>
                    </a:cubicBezTo>
                    <a:cubicBezTo>
                      <a:pt x="197" y="757"/>
                      <a:pt x="207" y="742"/>
                      <a:pt x="217" y="733"/>
                    </a:cubicBezTo>
                    <a:cubicBezTo>
                      <a:pt x="226" y="723"/>
                      <a:pt x="248" y="718"/>
                      <a:pt x="238" y="735"/>
                    </a:cubicBezTo>
                    <a:cubicBezTo>
                      <a:pt x="229" y="752"/>
                      <a:pt x="206" y="767"/>
                      <a:pt x="213" y="781"/>
                    </a:cubicBezTo>
                    <a:cubicBezTo>
                      <a:pt x="220" y="795"/>
                      <a:pt x="238" y="793"/>
                      <a:pt x="238" y="808"/>
                    </a:cubicBezTo>
                    <a:cubicBezTo>
                      <a:pt x="237" y="822"/>
                      <a:pt x="233" y="838"/>
                      <a:pt x="227" y="861"/>
                    </a:cubicBezTo>
                    <a:cubicBezTo>
                      <a:pt x="220" y="885"/>
                      <a:pt x="220" y="907"/>
                      <a:pt x="227" y="936"/>
                    </a:cubicBezTo>
                    <a:cubicBezTo>
                      <a:pt x="235" y="964"/>
                      <a:pt x="247" y="1014"/>
                      <a:pt x="258" y="1029"/>
                    </a:cubicBezTo>
                    <a:cubicBezTo>
                      <a:pt x="269" y="1045"/>
                      <a:pt x="272" y="1039"/>
                      <a:pt x="267" y="1062"/>
                    </a:cubicBezTo>
                    <a:cubicBezTo>
                      <a:pt x="262" y="1085"/>
                      <a:pt x="299" y="1092"/>
                      <a:pt x="299" y="1092"/>
                    </a:cubicBezTo>
                    <a:cubicBezTo>
                      <a:pt x="299" y="1092"/>
                      <a:pt x="304" y="1124"/>
                      <a:pt x="312" y="1135"/>
                    </a:cubicBezTo>
                    <a:cubicBezTo>
                      <a:pt x="321" y="1147"/>
                      <a:pt x="339" y="1156"/>
                      <a:pt x="339" y="1156"/>
                    </a:cubicBezTo>
                    <a:cubicBezTo>
                      <a:pt x="339" y="1156"/>
                      <a:pt x="344" y="1222"/>
                      <a:pt x="354" y="1252"/>
                    </a:cubicBezTo>
                    <a:cubicBezTo>
                      <a:pt x="365" y="1282"/>
                      <a:pt x="402" y="1323"/>
                      <a:pt x="407" y="1335"/>
                    </a:cubicBezTo>
                    <a:cubicBezTo>
                      <a:pt x="412" y="1348"/>
                      <a:pt x="414" y="1374"/>
                      <a:pt x="413" y="1386"/>
                    </a:cubicBezTo>
                    <a:cubicBezTo>
                      <a:pt x="411" y="1398"/>
                      <a:pt x="479" y="1502"/>
                      <a:pt x="479" y="1502"/>
                    </a:cubicBezTo>
                    <a:cubicBezTo>
                      <a:pt x="479" y="1502"/>
                      <a:pt x="512" y="1493"/>
                      <a:pt x="518" y="1484"/>
                    </a:cubicBezTo>
                    <a:cubicBezTo>
                      <a:pt x="523" y="1474"/>
                      <a:pt x="515" y="1452"/>
                      <a:pt x="526" y="1445"/>
                    </a:cubicBezTo>
                    <a:cubicBezTo>
                      <a:pt x="536" y="1438"/>
                      <a:pt x="540" y="1446"/>
                      <a:pt x="550" y="1443"/>
                    </a:cubicBezTo>
                    <a:cubicBezTo>
                      <a:pt x="561" y="1440"/>
                      <a:pt x="578" y="1427"/>
                      <a:pt x="578" y="1427"/>
                    </a:cubicBezTo>
                    <a:cubicBezTo>
                      <a:pt x="578" y="1427"/>
                      <a:pt x="563" y="1431"/>
                      <a:pt x="566" y="1414"/>
                    </a:cubicBezTo>
                    <a:cubicBezTo>
                      <a:pt x="568" y="1397"/>
                      <a:pt x="575" y="1394"/>
                      <a:pt x="587" y="1388"/>
                    </a:cubicBezTo>
                    <a:cubicBezTo>
                      <a:pt x="599" y="1382"/>
                      <a:pt x="613" y="1379"/>
                      <a:pt x="613" y="1371"/>
                    </a:cubicBezTo>
                    <a:cubicBezTo>
                      <a:pt x="614" y="1362"/>
                      <a:pt x="601" y="1330"/>
                      <a:pt x="601" y="1311"/>
                    </a:cubicBezTo>
                    <a:cubicBezTo>
                      <a:pt x="600" y="1293"/>
                      <a:pt x="599" y="1264"/>
                      <a:pt x="605" y="1261"/>
                    </a:cubicBezTo>
                    <a:cubicBezTo>
                      <a:pt x="612" y="1257"/>
                      <a:pt x="609" y="1249"/>
                      <a:pt x="610" y="1217"/>
                    </a:cubicBezTo>
                    <a:cubicBezTo>
                      <a:pt x="612" y="1185"/>
                      <a:pt x="592" y="1185"/>
                      <a:pt x="590" y="1172"/>
                    </a:cubicBezTo>
                    <a:cubicBezTo>
                      <a:pt x="588" y="1160"/>
                      <a:pt x="598" y="1154"/>
                      <a:pt x="599" y="1142"/>
                    </a:cubicBezTo>
                    <a:cubicBezTo>
                      <a:pt x="601" y="1130"/>
                      <a:pt x="594" y="1123"/>
                      <a:pt x="594" y="1107"/>
                    </a:cubicBezTo>
                    <a:cubicBezTo>
                      <a:pt x="595" y="1091"/>
                      <a:pt x="631" y="1089"/>
                      <a:pt x="631" y="1082"/>
                    </a:cubicBezTo>
                    <a:cubicBezTo>
                      <a:pt x="631" y="1075"/>
                      <a:pt x="631" y="1059"/>
                      <a:pt x="638" y="1054"/>
                    </a:cubicBezTo>
                    <a:cubicBezTo>
                      <a:pt x="646" y="1049"/>
                      <a:pt x="660" y="1050"/>
                      <a:pt x="660" y="1050"/>
                    </a:cubicBezTo>
                    <a:cubicBezTo>
                      <a:pt x="663" y="1044"/>
                      <a:pt x="663" y="1044"/>
                      <a:pt x="663" y="1044"/>
                    </a:cubicBezTo>
                    <a:cubicBezTo>
                      <a:pt x="663" y="1044"/>
                      <a:pt x="686" y="1055"/>
                      <a:pt x="688" y="1044"/>
                    </a:cubicBezTo>
                    <a:cubicBezTo>
                      <a:pt x="690" y="1033"/>
                      <a:pt x="709" y="998"/>
                      <a:pt x="715" y="988"/>
                    </a:cubicBezTo>
                    <a:cubicBezTo>
                      <a:pt x="722" y="979"/>
                      <a:pt x="744" y="980"/>
                      <a:pt x="751" y="966"/>
                    </a:cubicBezTo>
                    <a:cubicBezTo>
                      <a:pt x="758" y="953"/>
                      <a:pt x="769" y="925"/>
                      <a:pt x="779" y="916"/>
                    </a:cubicBezTo>
                    <a:cubicBezTo>
                      <a:pt x="788" y="906"/>
                      <a:pt x="827" y="886"/>
                      <a:pt x="827" y="886"/>
                    </a:cubicBezTo>
                    <a:cubicBezTo>
                      <a:pt x="820" y="866"/>
                      <a:pt x="820" y="866"/>
                      <a:pt x="820" y="866"/>
                    </a:cubicBezTo>
                    <a:cubicBezTo>
                      <a:pt x="826" y="861"/>
                      <a:pt x="826" y="861"/>
                      <a:pt x="826" y="861"/>
                    </a:cubicBezTo>
                    <a:cubicBezTo>
                      <a:pt x="839" y="880"/>
                      <a:pt x="839" y="880"/>
                      <a:pt x="839" y="880"/>
                    </a:cubicBezTo>
                    <a:cubicBezTo>
                      <a:pt x="880" y="841"/>
                      <a:pt x="880" y="841"/>
                      <a:pt x="880" y="841"/>
                    </a:cubicBezTo>
                    <a:cubicBezTo>
                      <a:pt x="887" y="823"/>
                      <a:pt x="887" y="823"/>
                      <a:pt x="887" y="823"/>
                    </a:cubicBezTo>
                    <a:cubicBezTo>
                      <a:pt x="887" y="823"/>
                      <a:pt x="873" y="806"/>
                      <a:pt x="873" y="795"/>
                    </a:cubicBezTo>
                    <a:cubicBezTo>
                      <a:pt x="874" y="784"/>
                      <a:pt x="897" y="788"/>
                      <a:pt x="909" y="773"/>
                    </a:cubicBezTo>
                    <a:cubicBezTo>
                      <a:pt x="921" y="757"/>
                      <a:pt x="917" y="744"/>
                      <a:pt x="917" y="744"/>
                    </a:cubicBezTo>
                    <a:cubicBezTo>
                      <a:pt x="928" y="749"/>
                      <a:pt x="928" y="749"/>
                      <a:pt x="928" y="749"/>
                    </a:cubicBezTo>
                    <a:cubicBezTo>
                      <a:pt x="934" y="767"/>
                      <a:pt x="934" y="767"/>
                      <a:pt x="934" y="767"/>
                    </a:cubicBezTo>
                    <a:cubicBezTo>
                      <a:pt x="942" y="744"/>
                      <a:pt x="942" y="744"/>
                      <a:pt x="942" y="744"/>
                    </a:cubicBezTo>
                    <a:cubicBezTo>
                      <a:pt x="942" y="744"/>
                      <a:pt x="950" y="786"/>
                      <a:pt x="957" y="789"/>
                    </a:cubicBezTo>
                    <a:cubicBezTo>
                      <a:pt x="965" y="791"/>
                      <a:pt x="968" y="763"/>
                      <a:pt x="968" y="763"/>
                    </a:cubicBezTo>
                    <a:cubicBezTo>
                      <a:pt x="970" y="745"/>
                      <a:pt x="970" y="745"/>
                      <a:pt x="970" y="745"/>
                    </a:cubicBezTo>
                    <a:cubicBezTo>
                      <a:pt x="958" y="717"/>
                      <a:pt x="958" y="717"/>
                      <a:pt x="958" y="717"/>
                    </a:cubicBezTo>
                    <a:cubicBezTo>
                      <a:pt x="959" y="697"/>
                      <a:pt x="959" y="697"/>
                      <a:pt x="959" y="697"/>
                    </a:cubicBezTo>
                    <a:cubicBezTo>
                      <a:pt x="939" y="681"/>
                      <a:pt x="939" y="681"/>
                      <a:pt x="939" y="681"/>
                    </a:cubicBezTo>
                    <a:cubicBezTo>
                      <a:pt x="930" y="661"/>
                      <a:pt x="930" y="661"/>
                      <a:pt x="930" y="661"/>
                    </a:cubicBezTo>
                    <a:cubicBezTo>
                      <a:pt x="930" y="661"/>
                      <a:pt x="939" y="653"/>
                      <a:pt x="942" y="637"/>
                    </a:cubicBezTo>
                    <a:cubicBezTo>
                      <a:pt x="945" y="621"/>
                      <a:pt x="918" y="627"/>
                      <a:pt x="908" y="617"/>
                    </a:cubicBezTo>
                    <a:cubicBezTo>
                      <a:pt x="898" y="607"/>
                      <a:pt x="917" y="604"/>
                      <a:pt x="917" y="604"/>
                    </a:cubicBezTo>
                    <a:cubicBezTo>
                      <a:pt x="917" y="585"/>
                      <a:pt x="917" y="585"/>
                      <a:pt x="917" y="585"/>
                    </a:cubicBezTo>
                    <a:cubicBezTo>
                      <a:pt x="939" y="584"/>
                      <a:pt x="939" y="584"/>
                      <a:pt x="939" y="584"/>
                    </a:cubicBezTo>
                    <a:cubicBezTo>
                      <a:pt x="938" y="576"/>
                      <a:pt x="938" y="576"/>
                      <a:pt x="938" y="576"/>
                    </a:cubicBezTo>
                    <a:cubicBezTo>
                      <a:pt x="921" y="565"/>
                      <a:pt x="921" y="565"/>
                      <a:pt x="921" y="565"/>
                    </a:cubicBezTo>
                    <a:cubicBezTo>
                      <a:pt x="921" y="565"/>
                      <a:pt x="899" y="557"/>
                      <a:pt x="897" y="546"/>
                    </a:cubicBezTo>
                    <a:cubicBezTo>
                      <a:pt x="895" y="535"/>
                      <a:pt x="906" y="523"/>
                      <a:pt x="906" y="523"/>
                    </a:cubicBezTo>
                    <a:cubicBezTo>
                      <a:pt x="901" y="511"/>
                      <a:pt x="901" y="511"/>
                      <a:pt x="901" y="511"/>
                    </a:cubicBezTo>
                    <a:cubicBezTo>
                      <a:pt x="912" y="514"/>
                      <a:pt x="912" y="514"/>
                      <a:pt x="912" y="514"/>
                    </a:cubicBezTo>
                    <a:cubicBezTo>
                      <a:pt x="928" y="522"/>
                      <a:pt x="928" y="522"/>
                      <a:pt x="928" y="522"/>
                    </a:cubicBezTo>
                    <a:cubicBezTo>
                      <a:pt x="925" y="515"/>
                      <a:pt x="925" y="515"/>
                      <a:pt x="925" y="515"/>
                    </a:cubicBezTo>
                    <a:cubicBezTo>
                      <a:pt x="936" y="514"/>
                      <a:pt x="936" y="514"/>
                      <a:pt x="936" y="514"/>
                    </a:cubicBezTo>
                    <a:cubicBezTo>
                      <a:pt x="936" y="514"/>
                      <a:pt x="939" y="526"/>
                      <a:pt x="945" y="532"/>
                    </a:cubicBezTo>
                    <a:cubicBezTo>
                      <a:pt x="951" y="538"/>
                      <a:pt x="961" y="540"/>
                      <a:pt x="961" y="540"/>
                    </a:cubicBezTo>
                    <a:cubicBezTo>
                      <a:pt x="962" y="528"/>
                      <a:pt x="962" y="528"/>
                      <a:pt x="962" y="528"/>
                    </a:cubicBezTo>
                    <a:cubicBezTo>
                      <a:pt x="962" y="528"/>
                      <a:pt x="968" y="531"/>
                      <a:pt x="972" y="534"/>
                    </a:cubicBezTo>
                    <a:cubicBezTo>
                      <a:pt x="976" y="537"/>
                      <a:pt x="976" y="555"/>
                      <a:pt x="976" y="555"/>
                    </a:cubicBezTo>
                    <a:cubicBezTo>
                      <a:pt x="980" y="557"/>
                      <a:pt x="980" y="557"/>
                      <a:pt x="980" y="557"/>
                    </a:cubicBezTo>
                    <a:cubicBezTo>
                      <a:pt x="980" y="557"/>
                      <a:pt x="981" y="577"/>
                      <a:pt x="981" y="580"/>
                    </a:cubicBezTo>
                    <a:cubicBezTo>
                      <a:pt x="981" y="583"/>
                      <a:pt x="998" y="586"/>
                      <a:pt x="1008" y="586"/>
                    </a:cubicBezTo>
                    <a:cubicBezTo>
                      <a:pt x="1018" y="586"/>
                      <a:pt x="1049" y="590"/>
                      <a:pt x="1049" y="590"/>
                    </a:cubicBezTo>
                    <a:cubicBezTo>
                      <a:pt x="1079" y="579"/>
                      <a:pt x="1079" y="579"/>
                      <a:pt x="1079" y="579"/>
                    </a:cubicBezTo>
                    <a:cubicBezTo>
                      <a:pt x="1079" y="579"/>
                      <a:pt x="1101" y="587"/>
                      <a:pt x="1101" y="597"/>
                    </a:cubicBezTo>
                    <a:cubicBezTo>
                      <a:pt x="1101" y="607"/>
                      <a:pt x="1091" y="603"/>
                      <a:pt x="1091" y="603"/>
                    </a:cubicBezTo>
                    <a:cubicBezTo>
                      <a:pt x="1091" y="603"/>
                      <a:pt x="1091" y="612"/>
                      <a:pt x="1088" y="626"/>
                    </a:cubicBezTo>
                    <a:cubicBezTo>
                      <a:pt x="1085" y="640"/>
                      <a:pt x="1071" y="638"/>
                      <a:pt x="1063" y="641"/>
                    </a:cubicBezTo>
                    <a:cubicBezTo>
                      <a:pt x="1055" y="644"/>
                      <a:pt x="1053" y="654"/>
                      <a:pt x="1053" y="670"/>
                    </a:cubicBezTo>
                    <a:cubicBezTo>
                      <a:pt x="1053" y="686"/>
                      <a:pt x="1073" y="689"/>
                      <a:pt x="1073" y="689"/>
                    </a:cubicBezTo>
                    <a:cubicBezTo>
                      <a:pt x="1082" y="704"/>
                      <a:pt x="1082" y="704"/>
                      <a:pt x="1082" y="704"/>
                    </a:cubicBezTo>
                    <a:cubicBezTo>
                      <a:pt x="1089" y="681"/>
                      <a:pt x="1089" y="681"/>
                      <a:pt x="1089" y="681"/>
                    </a:cubicBezTo>
                    <a:cubicBezTo>
                      <a:pt x="1089" y="681"/>
                      <a:pt x="1081" y="660"/>
                      <a:pt x="1099" y="664"/>
                    </a:cubicBezTo>
                    <a:cubicBezTo>
                      <a:pt x="1117" y="668"/>
                      <a:pt x="1111" y="687"/>
                      <a:pt x="1115" y="698"/>
                    </a:cubicBezTo>
                    <a:cubicBezTo>
                      <a:pt x="1119" y="709"/>
                      <a:pt x="1135" y="748"/>
                      <a:pt x="1135" y="748"/>
                    </a:cubicBezTo>
                    <a:cubicBezTo>
                      <a:pt x="1149" y="760"/>
                      <a:pt x="1149" y="760"/>
                      <a:pt x="1149" y="760"/>
                    </a:cubicBezTo>
                    <a:cubicBezTo>
                      <a:pt x="1149" y="760"/>
                      <a:pt x="1148" y="752"/>
                      <a:pt x="1148" y="746"/>
                    </a:cubicBezTo>
                    <a:cubicBezTo>
                      <a:pt x="1148" y="740"/>
                      <a:pt x="1152" y="752"/>
                      <a:pt x="1161" y="750"/>
                    </a:cubicBezTo>
                    <a:cubicBezTo>
                      <a:pt x="1170" y="748"/>
                      <a:pt x="1160" y="736"/>
                      <a:pt x="1156" y="732"/>
                    </a:cubicBezTo>
                    <a:cubicBezTo>
                      <a:pt x="1152" y="728"/>
                      <a:pt x="1152" y="714"/>
                      <a:pt x="1149" y="705"/>
                    </a:cubicBezTo>
                    <a:cubicBezTo>
                      <a:pt x="1146" y="696"/>
                      <a:pt x="1163" y="694"/>
                      <a:pt x="1163" y="694"/>
                    </a:cubicBezTo>
                    <a:cubicBezTo>
                      <a:pt x="1161" y="661"/>
                      <a:pt x="1161" y="661"/>
                      <a:pt x="1161" y="661"/>
                    </a:cubicBezTo>
                    <a:cubicBezTo>
                      <a:pt x="1161" y="661"/>
                      <a:pt x="1147" y="650"/>
                      <a:pt x="1143" y="648"/>
                    </a:cubicBezTo>
                    <a:cubicBezTo>
                      <a:pt x="1139" y="646"/>
                      <a:pt x="1164" y="647"/>
                      <a:pt x="1168" y="648"/>
                    </a:cubicBezTo>
                    <a:cubicBezTo>
                      <a:pt x="1172" y="649"/>
                      <a:pt x="1197" y="653"/>
                      <a:pt x="1197" y="653"/>
                    </a:cubicBezTo>
                    <a:cubicBezTo>
                      <a:pt x="1197" y="629"/>
                      <a:pt x="1197" y="629"/>
                      <a:pt x="1197" y="629"/>
                    </a:cubicBezTo>
                    <a:cubicBezTo>
                      <a:pt x="1209" y="594"/>
                      <a:pt x="1209" y="594"/>
                      <a:pt x="1209" y="594"/>
                    </a:cubicBezTo>
                    <a:cubicBezTo>
                      <a:pt x="1209" y="594"/>
                      <a:pt x="1199" y="586"/>
                      <a:pt x="1199" y="576"/>
                    </a:cubicBezTo>
                    <a:cubicBezTo>
                      <a:pt x="1199" y="566"/>
                      <a:pt x="1213" y="562"/>
                      <a:pt x="1213" y="562"/>
                    </a:cubicBezTo>
                    <a:cubicBezTo>
                      <a:pt x="1225" y="541"/>
                      <a:pt x="1225" y="541"/>
                      <a:pt x="1225" y="541"/>
                    </a:cubicBezTo>
                    <a:cubicBezTo>
                      <a:pt x="1225" y="541"/>
                      <a:pt x="1219" y="530"/>
                      <a:pt x="1218" y="525"/>
                    </a:cubicBezTo>
                    <a:cubicBezTo>
                      <a:pt x="1217" y="520"/>
                      <a:pt x="1215" y="506"/>
                      <a:pt x="1215" y="506"/>
                    </a:cubicBezTo>
                    <a:cubicBezTo>
                      <a:pt x="1215" y="506"/>
                      <a:pt x="1226" y="501"/>
                      <a:pt x="1238" y="497"/>
                    </a:cubicBezTo>
                    <a:cubicBezTo>
                      <a:pt x="1250" y="493"/>
                      <a:pt x="1245" y="478"/>
                      <a:pt x="1253" y="476"/>
                    </a:cubicBezTo>
                    <a:cubicBezTo>
                      <a:pt x="1261" y="474"/>
                      <a:pt x="1276" y="473"/>
                      <a:pt x="1276" y="473"/>
                    </a:cubicBezTo>
                    <a:cubicBezTo>
                      <a:pt x="1276" y="473"/>
                      <a:pt x="1299" y="481"/>
                      <a:pt x="1301" y="477"/>
                    </a:cubicBezTo>
                    <a:cubicBezTo>
                      <a:pt x="1303" y="473"/>
                      <a:pt x="1280" y="463"/>
                      <a:pt x="1280" y="454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221">
                <a:extLst>
                  <a:ext uri="{FF2B5EF4-FFF2-40B4-BE49-F238E27FC236}">
                    <a16:creationId xmlns:a16="http://schemas.microsoft.com/office/drawing/2014/main" id="{A230D737-9A26-CD74-3FA1-CEE83F5935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85" y="-13606"/>
                <a:ext cx="1006" cy="2365"/>
              </a:xfrm>
              <a:custGeom>
                <a:avLst/>
                <a:gdLst>
                  <a:gd name="T0" fmla="*/ 9 w 426"/>
                  <a:gd name="T1" fmla="*/ 422 h 1001"/>
                  <a:gd name="T2" fmla="*/ 81 w 426"/>
                  <a:gd name="T3" fmla="*/ 465 h 1001"/>
                  <a:gd name="T4" fmla="*/ 132 w 426"/>
                  <a:gd name="T5" fmla="*/ 562 h 1001"/>
                  <a:gd name="T6" fmla="*/ 145 w 426"/>
                  <a:gd name="T7" fmla="*/ 654 h 1001"/>
                  <a:gd name="T8" fmla="*/ 168 w 426"/>
                  <a:gd name="T9" fmla="*/ 671 h 1001"/>
                  <a:gd name="T10" fmla="*/ 240 w 426"/>
                  <a:gd name="T11" fmla="*/ 641 h 1001"/>
                  <a:gd name="T12" fmla="*/ 267 w 426"/>
                  <a:gd name="T13" fmla="*/ 638 h 1001"/>
                  <a:gd name="T14" fmla="*/ 303 w 426"/>
                  <a:gd name="T15" fmla="*/ 745 h 1001"/>
                  <a:gd name="T16" fmla="*/ 350 w 426"/>
                  <a:gd name="T17" fmla="*/ 849 h 1001"/>
                  <a:gd name="T18" fmla="*/ 337 w 426"/>
                  <a:gd name="T19" fmla="*/ 918 h 1001"/>
                  <a:gd name="T20" fmla="*/ 355 w 426"/>
                  <a:gd name="T21" fmla="*/ 970 h 1001"/>
                  <a:gd name="T22" fmla="*/ 375 w 426"/>
                  <a:gd name="T23" fmla="*/ 956 h 1001"/>
                  <a:gd name="T24" fmla="*/ 396 w 426"/>
                  <a:gd name="T25" fmla="*/ 861 h 1001"/>
                  <a:gd name="T26" fmla="*/ 344 w 426"/>
                  <a:gd name="T27" fmla="*/ 760 h 1001"/>
                  <a:gd name="T28" fmla="*/ 341 w 426"/>
                  <a:gd name="T29" fmla="*/ 687 h 1001"/>
                  <a:gd name="T30" fmla="*/ 344 w 426"/>
                  <a:gd name="T31" fmla="*/ 653 h 1001"/>
                  <a:gd name="T32" fmla="*/ 295 w 426"/>
                  <a:gd name="T33" fmla="*/ 592 h 1001"/>
                  <a:gd name="T34" fmla="*/ 273 w 426"/>
                  <a:gd name="T35" fmla="*/ 554 h 1001"/>
                  <a:gd name="T36" fmla="*/ 272 w 426"/>
                  <a:gd name="T37" fmla="*/ 512 h 1001"/>
                  <a:gd name="T38" fmla="*/ 318 w 426"/>
                  <a:gd name="T39" fmla="*/ 477 h 1001"/>
                  <a:gd name="T40" fmla="*/ 352 w 426"/>
                  <a:gd name="T41" fmla="*/ 440 h 1001"/>
                  <a:gd name="T42" fmla="*/ 399 w 426"/>
                  <a:gd name="T43" fmla="*/ 414 h 1001"/>
                  <a:gd name="T44" fmla="*/ 399 w 426"/>
                  <a:gd name="T45" fmla="*/ 392 h 1001"/>
                  <a:gd name="T46" fmla="*/ 397 w 426"/>
                  <a:gd name="T47" fmla="*/ 380 h 1001"/>
                  <a:gd name="T48" fmla="*/ 361 w 426"/>
                  <a:gd name="T49" fmla="*/ 370 h 1001"/>
                  <a:gd name="T50" fmla="*/ 326 w 426"/>
                  <a:gd name="T51" fmla="*/ 329 h 1001"/>
                  <a:gd name="T52" fmla="*/ 301 w 426"/>
                  <a:gd name="T53" fmla="*/ 292 h 1001"/>
                  <a:gd name="T54" fmla="*/ 297 w 426"/>
                  <a:gd name="T55" fmla="*/ 237 h 1001"/>
                  <a:gd name="T56" fmla="*/ 242 w 426"/>
                  <a:gd name="T57" fmla="*/ 235 h 1001"/>
                  <a:gd name="T58" fmla="*/ 233 w 426"/>
                  <a:gd name="T59" fmla="*/ 203 h 1001"/>
                  <a:gd name="T60" fmla="*/ 243 w 426"/>
                  <a:gd name="T61" fmla="*/ 156 h 1001"/>
                  <a:gd name="T62" fmla="*/ 253 w 426"/>
                  <a:gd name="T63" fmla="*/ 133 h 1001"/>
                  <a:gd name="T64" fmla="*/ 255 w 426"/>
                  <a:gd name="T65" fmla="*/ 74 h 1001"/>
                  <a:gd name="T66" fmla="*/ 211 w 426"/>
                  <a:gd name="T67" fmla="*/ 15 h 1001"/>
                  <a:gd name="T68" fmla="*/ 187 w 426"/>
                  <a:gd name="T69" fmla="*/ 32 h 1001"/>
                  <a:gd name="T70" fmla="*/ 159 w 426"/>
                  <a:gd name="T71" fmla="*/ 69 h 1001"/>
                  <a:gd name="T72" fmla="*/ 98 w 426"/>
                  <a:gd name="T73" fmla="*/ 102 h 1001"/>
                  <a:gd name="T74" fmla="*/ 96 w 426"/>
                  <a:gd name="T75" fmla="*/ 158 h 1001"/>
                  <a:gd name="T76" fmla="*/ 80 w 426"/>
                  <a:gd name="T77" fmla="*/ 225 h 1001"/>
                  <a:gd name="T78" fmla="*/ 26 w 426"/>
                  <a:gd name="T79" fmla="*/ 244 h 1001"/>
                  <a:gd name="T80" fmla="*/ 32 w 426"/>
                  <a:gd name="T81" fmla="*/ 301 h 1001"/>
                  <a:gd name="T82" fmla="*/ 31 w 426"/>
                  <a:gd name="T83" fmla="*/ 342 h 1001"/>
                  <a:gd name="T84" fmla="*/ 25 w 426"/>
                  <a:gd name="T85" fmla="*/ 383 h 10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6" h="1001">
                    <a:moveTo>
                      <a:pt x="0" y="391"/>
                    </a:moveTo>
                    <a:cubicBezTo>
                      <a:pt x="5" y="391"/>
                      <a:pt x="9" y="391"/>
                      <a:pt x="9" y="391"/>
                    </a:cubicBezTo>
                    <a:cubicBezTo>
                      <a:pt x="9" y="422"/>
                      <a:pt x="9" y="422"/>
                      <a:pt x="9" y="422"/>
                    </a:cubicBezTo>
                    <a:cubicBezTo>
                      <a:pt x="9" y="422"/>
                      <a:pt x="32" y="428"/>
                      <a:pt x="41" y="438"/>
                    </a:cubicBezTo>
                    <a:cubicBezTo>
                      <a:pt x="51" y="448"/>
                      <a:pt x="59" y="470"/>
                      <a:pt x="59" y="470"/>
                    </a:cubicBezTo>
                    <a:cubicBezTo>
                      <a:pt x="81" y="465"/>
                      <a:pt x="81" y="465"/>
                      <a:pt x="81" y="465"/>
                    </a:cubicBezTo>
                    <a:cubicBezTo>
                      <a:pt x="67" y="494"/>
                      <a:pt x="67" y="494"/>
                      <a:pt x="67" y="494"/>
                    </a:cubicBezTo>
                    <a:cubicBezTo>
                      <a:pt x="67" y="494"/>
                      <a:pt x="98" y="501"/>
                      <a:pt x="110" y="510"/>
                    </a:cubicBezTo>
                    <a:cubicBezTo>
                      <a:pt x="122" y="519"/>
                      <a:pt x="130" y="555"/>
                      <a:pt x="132" y="562"/>
                    </a:cubicBezTo>
                    <a:cubicBezTo>
                      <a:pt x="134" y="568"/>
                      <a:pt x="148" y="581"/>
                      <a:pt x="148" y="581"/>
                    </a:cubicBezTo>
                    <a:cubicBezTo>
                      <a:pt x="137" y="593"/>
                      <a:pt x="137" y="593"/>
                      <a:pt x="137" y="593"/>
                    </a:cubicBezTo>
                    <a:cubicBezTo>
                      <a:pt x="145" y="654"/>
                      <a:pt x="145" y="654"/>
                      <a:pt x="145" y="654"/>
                    </a:cubicBezTo>
                    <a:cubicBezTo>
                      <a:pt x="134" y="662"/>
                      <a:pt x="134" y="662"/>
                      <a:pt x="134" y="662"/>
                    </a:cubicBezTo>
                    <a:cubicBezTo>
                      <a:pt x="134" y="662"/>
                      <a:pt x="140" y="681"/>
                      <a:pt x="149" y="680"/>
                    </a:cubicBezTo>
                    <a:cubicBezTo>
                      <a:pt x="158" y="679"/>
                      <a:pt x="168" y="671"/>
                      <a:pt x="168" y="671"/>
                    </a:cubicBezTo>
                    <a:cubicBezTo>
                      <a:pt x="168" y="671"/>
                      <a:pt x="172" y="686"/>
                      <a:pt x="183" y="681"/>
                    </a:cubicBezTo>
                    <a:cubicBezTo>
                      <a:pt x="195" y="677"/>
                      <a:pt x="206" y="654"/>
                      <a:pt x="206" y="654"/>
                    </a:cubicBezTo>
                    <a:cubicBezTo>
                      <a:pt x="206" y="654"/>
                      <a:pt x="228" y="650"/>
                      <a:pt x="240" y="641"/>
                    </a:cubicBezTo>
                    <a:cubicBezTo>
                      <a:pt x="252" y="631"/>
                      <a:pt x="238" y="602"/>
                      <a:pt x="245" y="596"/>
                    </a:cubicBezTo>
                    <a:cubicBezTo>
                      <a:pt x="253" y="590"/>
                      <a:pt x="268" y="617"/>
                      <a:pt x="268" y="617"/>
                    </a:cubicBezTo>
                    <a:cubicBezTo>
                      <a:pt x="267" y="638"/>
                      <a:pt x="267" y="638"/>
                      <a:pt x="267" y="638"/>
                    </a:cubicBezTo>
                    <a:cubicBezTo>
                      <a:pt x="267" y="638"/>
                      <a:pt x="288" y="639"/>
                      <a:pt x="289" y="656"/>
                    </a:cubicBezTo>
                    <a:cubicBezTo>
                      <a:pt x="289" y="673"/>
                      <a:pt x="296" y="685"/>
                      <a:pt x="298" y="698"/>
                    </a:cubicBezTo>
                    <a:cubicBezTo>
                      <a:pt x="300" y="712"/>
                      <a:pt x="303" y="745"/>
                      <a:pt x="303" y="745"/>
                    </a:cubicBezTo>
                    <a:cubicBezTo>
                      <a:pt x="303" y="745"/>
                      <a:pt x="304" y="757"/>
                      <a:pt x="311" y="766"/>
                    </a:cubicBezTo>
                    <a:cubicBezTo>
                      <a:pt x="319" y="775"/>
                      <a:pt x="322" y="788"/>
                      <a:pt x="322" y="788"/>
                    </a:cubicBezTo>
                    <a:cubicBezTo>
                      <a:pt x="350" y="849"/>
                      <a:pt x="350" y="849"/>
                      <a:pt x="350" y="849"/>
                    </a:cubicBezTo>
                    <a:cubicBezTo>
                      <a:pt x="360" y="879"/>
                      <a:pt x="360" y="879"/>
                      <a:pt x="360" y="879"/>
                    </a:cubicBezTo>
                    <a:cubicBezTo>
                      <a:pt x="360" y="879"/>
                      <a:pt x="346" y="876"/>
                      <a:pt x="345" y="884"/>
                    </a:cubicBezTo>
                    <a:cubicBezTo>
                      <a:pt x="343" y="893"/>
                      <a:pt x="337" y="918"/>
                      <a:pt x="337" y="918"/>
                    </a:cubicBezTo>
                    <a:cubicBezTo>
                      <a:pt x="366" y="908"/>
                      <a:pt x="366" y="908"/>
                      <a:pt x="366" y="908"/>
                    </a:cubicBezTo>
                    <a:cubicBezTo>
                      <a:pt x="358" y="945"/>
                      <a:pt x="358" y="945"/>
                      <a:pt x="358" y="945"/>
                    </a:cubicBezTo>
                    <a:cubicBezTo>
                      <a:pt x="358" y="945"/>
                      <a:pt x="354" y="957"/>
                      <a:pt x="355" y="970"/>
                    </a:cubicBezTo>
                    <a:cubicBezTo>
                      <a:pt x="356" y="982"/>
                      <a:pt x="363" y="1001"/>
                      <a:pt x="363" y="1001"/>
                    </a:cubicBezTo>
                    <a:cubicBezTo>
                      <a:pt x="363" y="1001"/>
                      <a:pt x="372" y="988"/>
                      <a:pt x="373" y="979"/>
                    </a:cubicBezTo>
                    <a:cubicBezTo>
                      <a:pt x="374" y="970"/>
                      <a:pt x="366" y="963"/>
                      <a:pt x="375" y="956"/>
                    </a:cubicBezTo>
                    <a:cubicBezTo>
                      <a:pt x="384" y="949"/>
                      <a:pt x="389" y="942"/>
                      <a:pt x="392" y="932"/>
                    </a:cubicBezTo>
                    <a:cubicBezTo>
                      <a:pt x="395" y="922"/>
                      <a:pt x="402" y="897"/>
                      <a:pt x="398" y="884"/>
                    </a:cubicBezTo>
                    <a:cubicBezTo>
                      <a:pt x="394" y="871"/>
                      <a:pt x="396" y="861"/>
                      <a:pt x="396" y="861"/>
                    </a:cubicBezTo>
                    <a:cubicBezTo>
                      <a:pt x="396" y="861"/>
                      <a:pt x="381" y="849"/>
                      <a:pt x="377" y="843"/>
                    </a:cubicBezTo>
                    <a:cubicBezTo>
                      <a:pt x="373" y="837"/>
                      <a:pt x="378" y="813"/>
                      <a:pt x="374" y="798"/>
                    </a:cubicBezTo>
                    <a:cubicBezTo>
                      <a:pt x="370" y="783"/>
                      <a:pt x="348" y="770"/>
                      <a:pt x="344" y="760"/>
                    </a:cubicBezTo>
                    <a:cubicBezTo>
                      <a:pt x="340" y="750"/>
                      <a:pt x="328" y="736"/>
                      <a:pt x="328" y="736"/>
                    </a:cubicBezTo>
                    <a:cubicBezTo>
                      <a:pt x="328" y="736"/>
                      <a:pt x="320" y="723"/>
                      <a:pt x="330" y="713"/>
                    </a:cubicBezTo>
                    <a:cubicBezTo>
                      <a:pt x="340" y="703"/>
                      <a:pt x="341" y="693"/>
                      <a:pt x="341" y="687"/>
                    </a:cubicBezTo>
                    <a:cubicBezTo>
                      <a:pt x="341" y="681"/>
                      <a:pt x="338" y="670"/>
                      <a:pt x="338" y="670"/>
                    </a:cubicBezTo>
                    <a:cubicBezTo>
                      <a:pt x="338" y="670"/>
                      <a:pt x="350" y="671"/>
                      <a:pt x="350" y="658"/>
                    </a:cubicBezTo>
                    <a:cubicBezTo>
                      <a:pt x="350" y="645"/>
                      <a:pt x="344" y="653"/>
                      <a:pt x="344" y="653"/>
                    </a:cubicBezTo>
                    <a:cubicBezTo>
                      <a:pt x="344" y="653"/>
                      <a:pt x="336" y="652"/>
                      <a:pt x="331" y="640"/>
                    </a:cubicBezTo>
                    <a:cubicBezTo>
                      <a:pt x="326" y="628"/>
                      <a:pt x="340" y="633"/>
                      <a:pt x="332" y="622"/>
                    </a:cubicBezTo>
                    <a:cubicBezTo>
                      <a:pt x="324" y="611"/>
                      <a:pt x="298" y="602"/>
                      <a:pt x="295" y="592"/>
                    </a:cubicBezTo>
                    <a:cubicBezTo>
                      <a:pt x="292" y="582"/>
                      <a:pt x="287" y="579"/>
                      <a:pt x="287" y="579"/>
                    </a:cubicBezTo>
                    <a:cubicBezTo>
                      <a:pt x="291" y="564"/>
                      <a:pt x="291" y="564"/>
                      <a:pt x="291" y="564"/>
                    </a:cubicBezTo>
                    <a:cubicBezTo>
                      <a:pt x="291" y="564"/>
                      <a:pt x="278" y="558"/>
                      <a:pt x="273" y="554"/>
                    </a:cubicBezTo>
                    <a:cubicBezTo>
                      <a:pt x="268" y="550"/>
                      <a:pt x="265" y="545"/>
                      <a:pt x="268" y="542"/>
                    </a:cubicBezTo>
                    <a:cubicBezTo>
                      <a:pt x="271" y="539"/>
                      <a:pt x="282" y="545"/>
                      <a:pt x="282" y="536"/>
                    </a:cubicBezTo>
                    <a:cubicBezTo>
                      <a:pt x="282" y="527"/>
                      <a:pt x="271" y="516"/>
                      <a:pt x="272" y="512"/>
                    </a:cubicBezTo>
                    <a:cubicBezTo>
                      <a:pt x="273" y="508"/>
                      <a:pt x="283" y="507"/>
                      <a:pt x="284" y="498"/>
                    </a:cubicBezTo>
                    <a:cubicBezTo>
                      <a:pt x="285" y="489"/>
                      <a:pt x="277" y="473"/>
                      <a:pt x="288" y="471"/>
                    </a:cubicBezTo>
                    <a:cubicBezTo>
                      <a:pt x="299" y="469"/>
                      <a:pt x="308" y="480"/>
                      <a:pt x="318" y="477"/>
                    </a:cubicBezTo>
                    <a:cubicBezTo>
                      <a:pt x="328" y="474"/>
                      <a:pt x="330" y="456"/>
                      <a:pt x="330" y="456"/>
                    </a:cubicBezTo>
                    <a:cubicBezTo>
                      <a:pt x="347" y="455"/>
                      <a:pt x="347" y="455"/>
                      <a:pt x="347" y="455"/>
                    </a:cubicBezTo>
                    <a:cubicBezTo>
                      <a:pt x="352" y="440"/>
                      <a:pt x="352" y="440"/>
                      <a:pt x="352" y="440"/>
                    </a:cubicBezTo>
                    <a:cubicBezTo>
                      <a:pt x="352" y="440"/>
                      <a:pt x="371" y="434"/>
                      <a:pt x="375" y="435"/>
                    </a:cubicBezTo>
                    <a:cubicBezTo>
                      <a:pt x="375" y="435"/>
                      <a:pt x="373" y="423"/>
                      <a:pt x="382" y="420"/>
                    </a:cubicBezTo>
                    <a:cubicBezTo>
                      <a:pt x="391" y="417"/>
                      <a:pt x="399" y="414"/>
                      <a:pt x="399" y="414"/>
                    </a:cubicBezTo>
                    <a:cubicBezTo>
                      <a:pt x="394" y="407"/>
                      <a:pt x="394" y="407"/>
                      <a:pt x="394" y="407"/>
                    </a:cubicBezTo>
                    <a:cubicBezTo>
                      <a:pt x="399" y="399"/>
                      <a:pt x="399" y="399"/>
                      <a:pt x="399" y="399"/>
                    </a:cubicBezTo>
                    <a:cubicBezTo>
                      <a:pt x="399" y="392"/>
                      <a:pt x="399" y="392"/>
                      <a:pt x="399" y="392"/>
                    </a:cubicBezTo>
                    <a:cubicBezTo>
                      <a:pt x="421" y="382"/>
                      <a:pt x="421" y="382"/>
                      <a:pt x="421" y="382"/>
                    </a:cubicBezTo>
                    <a:cubicBezTo>
                      <a:pt x="421" y="382"/>
                      <a:pt x="426" y="364"/>
                      <a:pt x="416" y="363"/>
                    </a:cubicBezTo>
                    <a:cubicBezTo>
                      <a:pt x="406" y="362"/>
                      <a:pt x="397" y="380"/>
                      <a:pt x="397" y="380"/>
                    </a:cubicBezTo>
                    <a:cubicBezTo>
                      <a:pt x="397" y="380"/>
                      <a:pt x="378" y="381"/>
                      <a:pt x="375" y="381"/>
                    </a:cubicBezTo>
                    <a:cubicBezTo>
                      <a:pt x="372" y="381"/>
                      <a:pt x="372" y="369"/>
                      <a:pt x="372" y="369"/>
                    </a:cubicBezTo>
                    <a:cubicBezTo>
                      <a:pt x="361" y="370"/>
                      <a:pt x="361" y="370"/>
                      <a:pt x="361" y="370"/>
                    </a:cubicBezTo>
                    <a:cubicBezTo>
                      <a:pt x="356" y="350"/>
                      <a:pt x="356" y="350"/>
                      <a:pt x="356" y="350"/>
                    </a:cubicBezTo>
                    <a:cubicBezTo>
                      <a:pt x="317" y="346"/>
                      <a:pt x="317" y="346"/>
                      <a:pt x="317" y="346"/>
                    </a:cubicBezTo>
                    <a:cubicBezTo>
                      <a:pt x="317" y="346"/>
                      <a:pt x="323" y="332"/>
                      <a:pt x="326" y="329"/>
                    </a:cubicBezTo>
                    <a:cubicBezTo>
                      <a:pt x="329" y="326"/>
                      <a:pt x="320" y="314"/>
                      <a:pt x="320" y="314"/>
                    </a:cubicBezTo>
                    <a:cubicBezTo>
                      <a:pt x="320" y="314"/>
                      <a:pt x="343" y="305"/>
                      <a:pt x="336" y="299"/>
                    </a:cubicBezTo>
                    <a:cubicBezTo>
                      <a:pt x="329" y="293"/>
                      <a:pt x="301" y="292"/>
                      <a:pt x="301" y="292"/>
                    </a:cubicBezTo>
                    <a:cubicBezTo>
                      <a:pt x="296" y="265"/>
                      <a:pt x="296" y="265"/>
                      <a:pt x="296" y="265"/>
                    </a:cubicBezTo>
                    <a:cubicBezTo>
                      <a:pt x="280" y="252"/>
                      <a:pt x="280" y="252"/>
                      <a:pt x="280" y="252"/>
                    </a:cubicBezTo>
                    <a:cubicBezTo>
                      <a:pt x="297" y="237"/>
                      <a:pt x="297" y="237"/>
                      <a:pt x="297" y="237"/>
                    </a:cubicBezTo>
                    <a:cubicBezTo>
                      <a:pt x="297" y="237"/>
                      <a:pt x="268" y="237"/>
                      <a:pt x="260" y="238"/>
                    </a:cubicBezTo>
                    <a:cubicBezTo>
                      <a:pt x="252" y="239"/>
                      <a:pt x="236" y="249"/>
                      <a:pt x="236" y="249"/>
                    </a:cubicBezTo>
                    <a:cubicBezTo>
                      <a:pt x="242" y="235"/>
                      <a:pt x="242" y="235"/>
                      <a:pt x="242" y="235"/>
                    </a:cubicBezTo>
                    <a:cubicBezTo>
                      <a:pt x="242" y="235"/>
                      <a:pt x="237" y="225"/>
                      <a:pt x="232" y="220"/>
                    </a:cubicBezTo>
                    <a:cubicBezTo>
                      <a:pt x="227" y="215"/>
                      <a:pt x="226" y="206"/>
                      <a:pt x="226" y="206"/>
                    </a:cubicBezTo>
                    <a:cubicBezTo>
                      <a:pt x="233" y="203"/>
                      <a:pt x="233" y="203"/>
                      <a:pt x="233" y="203"/>
                    </a:cubicBezTo>
                    <a:cubicBezTo>
                      <a:pt x="231" y="183"/>
                      <a:pt x="231" y="183"/>
                      <a:pt x="231" y="183"/>
                    </a:cubicBezTo>
                    <a:cubicBezTo>
                      <a:pt x="231" y="183"/>
                      <a:pt x="242" y="187"/>
                      <a:pt x="243" y="176"/>
                    </a:cubicBezTo>
                    <a:cubicBezTo>
                      <a:pt x="244" y="165"/>
                      <a:pt x="243" y="156"/>
                      <a:pt x="243" y="156"/>
                    </a:cubicBezTo>
                    <a:cubicBezTo>
                      <a:pt x="243" y="156"/>
                      <a:pt x="255" y="164"/>
                      <a:pt x="258" y="157"/>
                    </a:cubicBezTo>
                    <a:cubicBezTo>
                      <a:pt x="261" y="150"/>
                      <a:pt x="262" y="144"/>
                      <a:pt x="262" y="144"/>
                    </a:cubicBezTo>
                    <a:cubicBezTo>
                      <a:pt x="262" y="144"/>
                      <a:pt x="246" y="133"/>
                      <a:pt x="253" y="133"/>
                    </a:cubicBezTo>
                    <a:cubicBezTo>
                      <a:pt x="260" y="133"/>
                      <a:pt x="270" y="127"/>
                      <a:pt x="270" y="127"/>
                    </a:cubicBezTo>
                    <a:cubicBezTo>
                      <a:pt x="263" y="90"/>
                      <a:pt x="263" y="90"/>
                      <a:pt x="263" y="90"/>
                    </a:cubicBezTo>
                    <a:cubicBezTo>
                      <a:pt x="255" y="74"/>
                      <a:pt x="255" y="74"/>
                      <a:pt x="255" y="74"/>
                    </a:cubicBezTo>
                    <a:cubicBezTo>
                      <a:pt x="255" y="74"/>
                      <a:pt x="257" y="52"/>
                      <a:pt x="250" y="50"/>
                    </a:cubicBezTo>
                    <a:cubicBezTo>
                      <a:pt x="243" y="48"/>
                      <a:pt x="228" y="50"/>
                      <a:pt x="228" y="50"/>
                    </a:cubicBezTo>
                    <a:cubicBezTo>
                      <a:pt x="228" y="50"/>
                      <a:pt x="219" y="23"/>
                      <a:pt x="211" y="15"/>
                    </a:cubicBezTo>
                    <a:cubicBezTo>
                      <a:pt x="203" y="7"/>
                      <a:pt x="189" y="0"/>
                      <a:pt x="189" y="0"/>
                    </a:cubicBezTo>
                    <a:cubicBezTo>
                      <a:pt x="185" y="13"/>
                      <a:pt x="185" y="13"/>
                      <a:pt x="185" y="13"/>
                    </a:cubicBezTo>
                    <a:cubicBezTo>
                      <a:pt x="187" y="32"/>
                      <a:pt x="187" y="32"/>
                      <a:pt x="187" y="32"/>
                    </a:cubicBezTo>
                    <a:cubicBezTo>
                      <a:pt x="187" y="32"/>
                      <a:pt x="163" y="41"/>
                      <a:pt x="163" y="50"/>
                    </a:cubicBezTo>
                    <a:cubicBezTo>
                      <a:pt x="163" y="59"/>
                      <a:pt x="186" y="69"/>
                      <a:pt x="184" y="73"/>
                    </a:cubicBezTo>
                    <a:cubicBezTo>
                      <a:pt x="182" y="77"/>
                      <a:pt x="159" y="69"/>
                      <a:pt x="159" y="69"/>
                    </a:cubicBezTo>
                    <a:cubicBezTo>
                      <a:pt x="159" y="69"/>
                      <a:pt x="144" y="70"/>
                      <a:pt x="136" y="72"/>
                    </a:cubicBezTo>
                    <a:cubicBezTo>
                      <a:pt x="128" y="74"/>
                      <a:pt x="133" y="89"/>
                      <a:pt x="121" y="93"/>
                    </a:cubicBezTo>
                    <a:cubicBezTo>
                      <a:pt x="109" y="97"/>
                      <a:pt x="98" y="102"/>
                      <a:pt x="98" y="102"/>
                    </a:cubicBezTo>
                    <a:cubicBezTo>
                      <a:pt x="98" y="102"/>
                      <a:pt x="100" y="116"/>
                      <a:pt x="101" y="121"/>
                    </a:cubicBezTo>
                    <a:cubicBezTo>
                      <a:pt x="102" y="126"/>
                      <a:pt x="108" y="137"/>
                      <a:pt x="108" y="137"/>
                    </a:cubicBezTo>
                    <a:cubicBezTo>
                      <a:pt x="96" y="158"/>
                      <a:pt x="96" y="158"/>
                      <a:pt x="96" y="158"/>
                    </a:cubicBezTo>
                    <a:cubicBezTo>
                      <a:pt x="96" y="158"/>
                      <a:pt x="82" y="162"/>
                      <a:pt x="82" y="172"/>
                    </a:cubicBezTo>
                    <a:cubicBezTo>
                      <a:pt x="82" y="182"/>
                      <a:pt x="92" y="190"/>
                      <a:pt x="92" y="190"/>
                    </a:cubicBezTo>
                    <a:cubicBezTo>
                      <a:pt x="80" y="225"/>
                      <a:pt x="80" y="225"/>
                      <a:pt x="80" y="225"/>
                    </a:cubicBezTo>
                    <a:cubicBezTo>
                      <a:pt x="80" y="249"/>
                      <a:pt x="80" y="249"/>
                      <a:pt x="80" y="249"/>
                    </a:cubicBezTo>
                    <a:cubicBezTo>
                      <a:pt x="80" y="249"/>
                      <a:pt x="55" y="245"/>
                      <a:pt x="51" y="244"/>
                    </a:cubicBezTo>
                    <a:cubicBezTo>
                      <a:pt x="47" y="243"/>
                      <a:pt x="22" y="242"/>
                      <a:pt x="26" y="244"/>
                    </a:cubicBezTo>
                    <a:cubicBezTo>
                      <a:pt x="30" y="246"/>
                      <a:pt x="44" y="257"/>
                      <a:pt x="44" y="257"/>
                    </a:cubicBezTo>
                    <a:cubicBezTo>
                      <a:pt x="46" y="290"/>
                      <a:pt x="46" y="290"/>
                      <a:pt x="46" y="290"/>
                    </a:cubicBezTo>
                    <a:cubicBezTo>
                      <a:pt x="46" y="290"/>
                      <a:pt x="29" y="292"/>
                      <a:pt x="32" y="301"/>
                    </a:cubicBezTo>
                    <a:cubicBezTo>
                      <a:pt x="35" y="310"/>
                      <a:pt x="35" y="324"/>
                      <a:pt x="39" y="328"/>
                    </a:cubicBezTo>
                    <a:cubicBezTo>
                      <a:pt x="43" y="332"/>
                      <a:pt x="53" y="344"/>
                      <a:pt x="44" y="346"/>
                    </a:cubicBezTo>
                    <a:cubicBezTo>
                      <a:pt x="35" y="348"/>
                      <a:pt x="31" y="336"/>
                      <a:pt x="31" y="342"/>
                    </a:cubicBezTo>
                    <a:cubicBezTo>
                      <a:pt x="31" y="348"/>
                      <a:pt x="32" y="356"/>
                      <a:pt x="32" y="356"/>
                    </a:cubicBezTo>
                    <a:cubicBezTo>
                      <a:pt x="18" y="344"/>
                      <a:pt x="18" y="344"/>
                      <a:pt x="18" y="344"/>
                    </a:cubicBezTo>
                    <a:cubicBezTo>
                      <a:pt x="25" y="383"/>
                      <a:pt x="25" y="383"/>
                      <a:pt x="25" y="383"/>
                    </a:cubicBezTo>
                    <a:cubicBezTo>
                      <a:pt x="4" y="380"/>
                      <a:pt x="4" y="380"/>
                      <a:pt x="4" y="380"/>
                    </a:cubicBezTo>
                    <a:cubicBezTo>
                      <a:pt x="4" y="380"/>
                      <a:pt x="2" y="384"/>
                      <a:pt x="0" y="391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222">
                <a:extLst>
                  <a:ext uri="{FF2B5EF4-FFF2-40B4-BE49-F238E27FC236}">
                    <a16:creationId xmlns:a16="http://schemas.microsoft.com/office/drawing/2014/main" id="{BDF23FC8-3E7D-D39E-9194-9F7D6C5C23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65" y="-15429"/>
                <a:ext cx="520" cy="661"/>
              </a:xfrm>
              <a:custGeom>
                <a:avLst/>
                <a:gdLst>
                  <a:gd name="T0" fmla="*/ 182 w 220"/>
                  <a:gd name="T1" fmla="*/ 0 h 280"/>
                  <a:gd name="T2" fmla="*/ 160 w 220"/>
                  <a:gd name="T3" fmla="*/ 0 h 280"/>
                  <a:gd name="T4" fmla="*/ 171 w 220"/>
                  <a:gd name="T5" fmla="*/ 27 h 280"/>
                  <a:gd name="T6" fmla="*/ 153 w 220"/>
                  <a:gd name="T7" fmla="*/ 28 h 280"/>
                  <a:gd name="T8" fmla="*/ 153 w 220"/>
                  <a:gd name="T9" fmla="*/ 49 h 280"/>
                  <a:gd name="T10" fmla="*/ 113 w 220"/>
                  <a:gd name="T11" fmla="*/ 50 h 280"/>
                  <a:gd name="T12" fmla="*/ 135 w 220"/>
                  <a:gd name="T13" fmla="*/ 71 h 280"/>
                  <a:gd name="T14" fmla="*/ 134 w 220"/>
                  <a:gd name="T15" fmla="*/ 81 h 280"/>
                  <a:gd name="T16" fmla="*/ 87 w 220"/>
                  <a:gd name="T17" fmla="*/ 77 h 280"/>
                  <a:gd name="T18" fmla="*/ 61 w 220"/>
                  <a:gd name="T19" fmla="*/ 63 h 280"/>
                  <a:gd name="T20" fmla="*/ 47 w 220"/>
                  <a:gd name="T21" fmla="*/ 115 h 280"/>
                  <a:gd name="T22" fmla="*/ 13 w 220"/>
                  <a:gd name="T23" fmla="*/ 138 h 280"/>
                  <a:gd name="T24" fmla="*/ 7 w 220"/>
                  <a:gd name="T25" fmla="*/ 154 h 280"/>
                  <a:gd name="T26" fmla="*/ 0 w 220"/>
                  <a:gd name="T27" fmla="*/ 165 h 280"/>
                  <a:gd name="T28" fmla="*/ 8 w 220"/>
                  <a:gd name="T29" fmla="*/ 152 h 280"/>
                  <a:gd name="T30" fmla="*/ 14 w 220"/>
                  <a:gd name="T31" fmla="*/ 166 h 280"/>
                  <a:gd name="T32" fmla="*/ 26 w 220"/>
                  <a:gd name="T33" fmla="*/ 180 h 280"/>
                  <a:gd name="T34" fmla="*/ 33 w 220"/>
                  <a:gd name="T35" fmla="*/ 168 h 280"/>
                  <a:gd name="T36" fmla="*/ 47 w 220"/>
                  <a:gd name="T37" fmla="*/ 181 h 280"/>
                  <a:gd name="T38" fmla="*/ 64 w 220"/>
                  <a:gd name="T39" fmla="*/ 182 h 280"/>
                  <a:gd name="T40" fmla="*/ 68 w 220"/>
                  <a:gd name="T41" fmla="*/ 223 h 280"/>
                  <a:gd name="T42" fmla="*/ 93 w 220"/>
                  <a:gd name="T43" fmla="*/ 223 h 280"/>
                  <a:gd name="T44" fmla="*/ 96 w 220"/>
                  <a:gd name="T45" fmla="*/ 233 h 280"/>
                  <a:gd name="T46" fmla="*/ 69 w 220"/>
                  <a:gd name="T47" fmla="*/ 234 h 280"/>
                  <a:gd name="T48" fmla="*/ 80 w 220"/>
                  <a:gd name="T49" fmla="*/ 263 h 280"/>
                  <a:gd name="T50" fmla="*/ 87 w 220"/>
                  <a:gd name="T51" fmla="*/ 274 h 280"/>
                  <a:gd name="T52" fmla="*/ 106 w 220"/>
                  <a:gd name="T53" fmla="*/ 266 h 280"/>
                  <a:gd name="T54" fmla="*/ 135 w 220"/>
                  <a:gd name="T55" fmla="*/ 279 h 280"/>
                  <a:gd name="T56" fmla="*/ 153 w 220"/>
                  <a:gd name="T57" fmla="*/ 275 h 280"/>
                  <a:gd name="T58" fmla="*/ 166 w 220"/>
                  <a:gd name="T59" fmla="*/ 265 h 280"/>
                  <a:gd name="T60" fmla="*/ 169 w 220"/>
                  <a:gd name="T61" fmla="*/ 252 h 280"/>
                  <a:gd name="T62" fmla="*/ 207 w 220"/>
                  <a:gd name="T63" fmla="*/ 246 h 280"/>
                  <a:gd name="T64" fmla="*/ 217 w 220"/>
                  <a:gd name="T65" fmla="*/ 236 h 280"/>
                  <a:gd name="T66" fmla="*/ 208 w 220"/>
                  <a:gd name="T67" fmla="*/ 224 h 280"/>
                  <a:gd name="T68" fmla="*/ 177 w 220"/>
                  <a:gd name="T69" fmla="*/ 207 h 280"/>
                  <a:gd name="T70" fmla="*/ 162 w 220"/>
                  <a:gd name="T71" fmla="*/ 202 h 280"/>
                  <a:gd name="T72" fmla="*/ 169 w 220"/>
                  <a:gd name="T73" fmla="*/ 189 h 280"/>
                  <a:gd name="T74" fmla="*/ 154 w 220"/>
                  <a:gd name="T75" fmla="*/ 167 h 280"/>
                  <a:gd name="T76" fmla="*/ 190 w 220"/>
                  <a:gd name="T77" fmla="*/ 146 h 280"/>
                  <a:gd name="T78" fmla="*/ 200 w 220"/>
                  <a:gd name="T79" fmla="*/ 117 h 280"/>
                  <a:gd name="T80" fmla="*/ 216 w 220"/>
                  <a:gd name="T81" fmla="*/ 109 h 280"/>
                  <a:gd name="T82" fmla="*/ 211 w 220"/>
                  <a:gd name="T83" fmla="*/ 88 h 280"/>
                  <a:gd name="T84" fmla="*/ 196 w 220"/>
                  <a:gd name="T85" fmla="*/ 60 h 280"/>
                  <a:gd name="T86" fmla="*/ 220 w 220"/>
                  <a:gd name="T87" fmla="*/ 38 h 280"/>
                  <a:gd name="T88" fmla="*/ 211 w 220"/>
                  <a:gd name="T89" fmla="*/ 23 h 280"/>
                  <a:gd name="T90" fmla="*/ 192 w 220"/>
                  <a:gd name="T91" fmla="*/ 17 h 280"/>
                  <a:gd name="T92" fmla="*/ 182 w 220"/>
                  <a:gd name="T93" fmla="*/ 0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20" h="280">
                    <a:moveTo>
                      <a:pt x="182" y="0"/>
                    </a:moveTo>
                    <a:cubicBezTo>
                      <a:pt x="160" y="0"/>
                      <a:pt x="160" y="0"/>
                      <a:pt x="160" y="0"/>
                    </a:cubicBezTo>
                    <a:cubicBezTo>
                      <a:pt x="160" y="0"/>
                      <a:pt x="173" y="22"/>
                      <a:pt x="171" y="27"/>
                    </a:cubicBezTo>
                    <a:cubicBezTo>
                      <a:pt x="169" y="32"/>
                      <a:pt x="153" y="28"/>
                      <a:pt x="153" y="28"/>
                    </a:cubicBezTo>
                    <a:cubicBezTo>
                      <a:pt x="153" y="28"/>
                      <a:pt x="163" y="40"/>
                      <a:pt x="153" y="49"/>
                    </a:cubicBezTo>
                    <a:cubicBezTo>
                      <a:pt x="143" y="58"/>
                      <a:pt x="119" y="42"/>
                      <a:pt x="113" y="50"/>
                    </a:cubicBezTo>
                    <a:cubicBezTo>
                      <a:pt x="107" y="58"/>
                      <a:pt x="135" y="71"/>
                      <a:pt x="135" y="71"/>
                    </a:cubicBezTo>
                    <a:cubicBezTo>
                      <a:pt x="134" y="81"/>
                      <a:pt x="134" y="81"/>
                      <a:pt x="134" y="81"/>
                    </a:cubicBezTo>
                    <a:cubicBezTo>
                      <a:pt x="134" y="81"/>
                      <a:pt x="94" y="82"/>
                      <a:pt x="87" y="77"/>
                    </a:cubicBezTo>
                    <a:cubicBezTo>
                      <a:pt x="80" y="72"/>
                      <a:pt x="65" y="61"/>
                      <a:pt x="61" y="63"/>
                    </a:cubicBezTo>
                    <a:cubicBezTo>
                      <a:pt x="57" y="65"/>
                      <a:pt x="62" y="103"/>
                      <a:pt x="47" y="115"/>
                    </a:cubicBezTo>
                    <a:cubicBezTo>
                      <a:pt x="32" y="127"/>
                      <a:pt x="25" y="128"/>
                      <a:pt x="13" y="138"/>
                    </a:cubicBezTo>
                    <a:cubicBezTo>
                      <a:pt x="3" y="146"/>
                      <a:pt x="5" y="152"/>
                      <a:pt x="7" y="154"/>
                    </a:cubicBezTo>
                    <a:cubicBezTo>
                      <a:pt x="0" y="165"/>
                      <a:pt x="0" y="165"/>
                      <a:pt x="0" y="165"/>
                    </a:cubicBezTo>
                    <a:cubicBezTo>
                      <a:pt x="8" y="152"/>
                      <a:pt x="8" y="152"/>
                      <a:pt x="8" y="152"/>
                    </a:cubicBezTo>
                    <a:cubicBezTo>
                      <a:pt x="14" y="166"/>
                      <a:pt x="14" y="166"/>
                      <a:pt x="14" y="166"/>
                    </a:cubicBezTo>
                    <a:cubicBezTo>
                      <a:pt x="26" y="180"/>
                      <a:pt x="26" y="180"/>
                      <a:pt x="26" y="180"/>
                    </a:cubicBezTo>
                    <a:cubicBezTo>
                      <a:pt x="33" y="168"/>
                      <a:pt x="33" y="168"/>
                      <a:pt x="33" y="168"/>
                    </a:cubicBezTo>
                    <a:cubicBezTo>
                      <a:pt x="33" y="168"/>
                      <a:pt x="42" y="181"/>
                      <a:pt x="47" y="181"/>
                    </a:cubicBezTo>
                    <a:cubicBezTo>
                      <a:pt x="52" y="181"/>
                      <a:pt x="60" y="175"/>
                      <a:pt x="64" y="182"/>
                    </a:cubicBezTo>
                    <a:cubicBezTo>
                      <a:pt x="68" y="189"/>
                      <a:pt x="68" y="223"/>
                      <a:pt x="68" y="223"/>
                    </a:cubicBezTo>
                    <a:cubicBezTo>
                      <a:pt x="93" y="223"/>
                      <a:pt x="93" y="223"/>
                      <a:pt x="93" y="223"/>
                    </a:cubicBezTo>
                    <a:cubicBezTo>
                      <a:pt x="96" y="233"/>
                      <a:pt x="96" y="233"/>
                      <a:pt x="96" y="233"/>
                    </a:cubicBezTo>
                    <a:cubicBezTo>
                      <a:pt x="96" y="233"/>
                      <a:pt x="73" y="221"/>
                      <a:pt x="69" y="234"/>
                    </a:cubicBezTo>
                    <a:cubicBezTo>
                      <a:pt x="65" y="247"/>
                      <a:pt x="80" y="263"/>
                      <a:pt x="80" y="263"/>
                    </a:cubicBezTo>
                    <a:cubicBezTo>
                      <a:pt x="87" y="274"/>
                      <a:pt x="87" y="274"/>
                      <a:pt x="87" y="274"/>
                    </a:cubicBezTo>
                    <a:cubicBezTo>
                      <a:pt x="106" y="266"/>
                      <a:pt x="106" y="266"/>
                      <a:pt x="106" y="266"/>
                    </a:cubicBezTo>
                    <a:cubicBezTo>
                      <a:pt x="106" y="266"/>
                      <a:pt x="126" y="280"/>
                      <a:pt x="135" y="279"/>
                    </a:cubicBezTo>
                    <a:cubicBezTo>
                      <a:pt x="144" y="278"/>
                      <a:pt x="153" y="275"/>
                      <a:pt x="153" y="275"/>
                    </a:cubicBezTo>
                    <a:cubicBezTo>
                      <a:pt x="153" y="275"/>
                      <a:pt x="165" y="268"/>
                      <a:pt x="166" y="265"/>
                    </a:cubicBezTo>
                    <a:cubicBezTo>
                      <a:pt x="167" y="262"/>
                      <a:pt x="155" y="260"/>
                      <a:pt x="169" y="252"/>
                    </a:cubicBezTo>
                    <a:cubicBezTo>
                      <a:pt x="183" y="245"/>
                      <a:pt x="207" y="246"/>
                      <a:pt x="207" y="246"/>
                    </a:cubicBezTo>
                    <a:cubicBezTo>
                      <a:pt x="217" y="236"/>
                      <a:pt x="217" y="236"/>
                      <a:pt x="217" y="236"/>
                    </a:cubicBezTo>
                    <a:cubicBezTo>
                      <a:pt x="212" y="229"/>
                      <a:pt x="208" y="224"/>
                      <a:pt x="208" y="224"/>
                    </a:cubicBezTo>
                    <a:cubicBezTo>
                      <a:pt x="177" y="207"/>
                      <a:pt x="177" y="207"/>
                      <a:pt x="177" y="207"/>
                    </a:cubicBezTo>
                    <a:cubicBezTo>
                      <a:pt x="177" y="207"/>
                      <a:pt x="155" y="215"/>
                      <a:pt x="162" y="202"/>
                    </a:cubicBezTo>
                    <a:cubicBezTo>
                      <a:pt x="169" y="189"/>
                      <a:pt x="169" y="189"/>
                      <a:pt x="169" y="189"/>
                    </a:cubicBezTo>
                    <a:cubicBezTo>
                      <a:pt x="169" y="189"/>
                      <a:pt x="144" y="178"/>
                      <a:pt x="154" y="167"/>
                    </a:cubicBezTo>
                    <a:cubicBezTo>
                      <a:pt x="164" y="156"/>
                      <a:pt x="185" y="160"/>
                      <a:pt x="190" y="146"/>
                    </a:cubicBezTo>
                    <a:cubicBezTo>
                      <a:pt x="195" y="132"/>
                      <a:pt x="200" y="117"/>
                      <a:pt x="200" y="117"/>
                    </a:cubicBezTo>
                    <a:cubicBezTo>
                      <a:pt x="216" y="109"/>
                      <a:pt x="216" y="109"/>
                      <a:pt x="216" y="109"/>
                    </a:cubicBezTo>
                    <a:cubicBezTo>
                      <a:pt x="211" y="88"/>
                      <a:pt x="211" y="88"/>
                      <a:pt x="211" y="88"/>
                    </a:cubicBezTo>
                    <a:cubicBezTo>
                      <a:pt x="211" y="88"/>
                      <a:pt x="195" y="77"/>
                      <a:pt x="196" y="60"/>
                    </a:cubicBezTo>
                    <a:cubicBezTo>
                      <a:pt x="197" y="43"/>
                      <a:pt x="220" y="38"/>
                      <a:pt x="220" y="38"/>
                    </a:cubicBezTo>
                    <a:cubicBezTo>
                      <a:pt x="211" y="23"/>
                      <a:pt x="211" y="23"/>
                      <a:pt x="211" y="23"/>
                    </a:cubicBezTo>
                    <a:cubicBezTo>
                      <a:pt x="192" y="17"/>
                      <a:pt x="192" y="17"/>
                      <a:pt x="192" y="17"/>
                    </a:cubicBezTo>
                    <a:lnTo>
                      <a:pt x="182" y="0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Freeform 223">
                <a:extLst>
                  <a:ext uri="{FF2B5EF4-FFF2-40B4-BE49-F238E27FC236}">
                    <a16:creationId xmlns:a16="http://schemas.microsoft.com/office/drawing/2014/main" id="{5E65E404-EA25-EC42-6C95-6E88E09692C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256" y="-16752"/>
                <a:ext cx="5766" cy="4445"/>
              </a:xfrm>
              <a:custGeom>
                <a:avLst/>
                <a:gdLst>
                  <a:gd name="T0" fmla="*/ 1905 w 2441"/>
                  <a:gd name="T1" fmla="*/ 1857 h 1882"/>
                  <a:gd name="T2" fmla="*/ 2423 w 2441"/>
                  <a:gd name="T3" fmla="*/ 352 h 1882"/>
                  <a:gd name="T4" fmla="*/ 2365 w 2441"/>
                  <a:gd name="T5" fmla="*/ 288 h 1882"/>
                  <a:gd name="T6" fmla="*/ 2248 w 2441"/>
                  <a:gd name="T7" fmla="*/ 288 h 1882"/>
                  <a:gd name="T8" fmla="*/ 2077 w 2441"/>
                  <a:gd name="T9" fmla="*/ 209 h 1882"/>
                  <a:gd name="T10" fmla="*/ 1934 w 2441"/>
                  <a:gd name="T11" fmla="*/ 76 h 1882"/>
                  <a:gd name="T12" fmla="*/ 1769 w 2441"/>
                  <a:gd name="T13" fmla="*/ 0 h 1882"/>
                  <a:gd name="T14" fmla="*/ 1704 w 2441"/>
                  <a:gd name="T15" fmla="*/ 80 h 1882"/>
                  <a:gd name="T16" fmla="*/ 1653 w 2441"/>
                  <a:gd name="T17" fmla="*/ 209 h 1882"/>
                  <a:gd name="T18" fmla="*/ 1639 w 2441"/>
                  <a:gd name="T19" fmla="*/ 310 h 1882"/>
                  <a:gd name="T20" fmla="*/ 1786 w 2441"/>
                  <a:gd name="T21" fmla="*/ 322 h 1882"/>
                  <a:gd name="T22" fmla="*/ 1753 w 2441"/>
                  <a:gd name="T23" fmla="*/ 371 h 1882"/>
                  <a:gd name="T24" fmla="*/ 1627 w 2441"/>
                  <a:gd name="T25" fmla="*/ 462 h 1882"/>
                  <a:gd name="T26" fmla="*/ 1536 w 2441"/>
                  <a:gd name="T27" fmla="*/ 569 h 1882"/>
                  <a:gd name="T28" fmla="*/ 1228 w 2441"/>
                  <a:gd name="T29" fmla="*/ 608 h 1882"/>
                  <a:gd name="T30" fmla="*/ 973 w 2441"/>
                  <a:gd name="T31" fmla="*/ 571 h 1882"/>
                  <a:gd name="T32" fmla="*/ 775 w 2441"/>
                  <a:gd name="T33" fmla="*/ 459 h 1882"/>
                  <a:gd name="T34" fmla="*/ 612 w 2441"/>
                  <a:gd name="T35" fmla="*/ 353 h 1882"/>
                  <a:gd name="T36" fmla="*/ 452 w 2441"/>
                  <a:gd name="T37" fmla="*/ 264 h 1882"/>
                  <a:gd name="T38" fmla="*/ 373 w 2441"/>
                  <a:gd name="T39" fmla="*/ 309 h 1882"/>
                  <a:gd name="T40" fmla="*/ 273 w 2441"/>
                  <a:gd name="T41" fmla="*/ 425 h 1882"/>
                  <a:gd name="T42" fmla="*/ 216 w 2441"/>
                  <a:gd name="T43" fmla="*/ 499 h 1882"/>
                  <a:gd name="T44" fmla="*/ 199 w 2441"/>
                  <a:gd name="T45" fmla="*/ 625 h 1882"/>
                  <a:gd name="T46" fmla="*/ 63 w 2441"/>
                  <a:gd name="T47" fmla="*/ 683 h 1882"/>
                  <a:gd name="T48" fmla="*/ 15 w 2441"/>
                  <a:gd name="T49" fmla="*/ 765 h 1882"/>
                  <a:gd name="T50" fmla="*/ 111 w 2441"/>
                  <a:gd name="T51" fmla="*/ 880 h 1882"/>
                  <a:gd name="T52" fmla="*/ 294 w 2441"/>
                  <a:gd name="T53" fmla="*/ 934 h 1882"/>
                  <a:gd name="T54" fmla="*/ 306 w 2441"/>
                  <a:gd name="T55" fmla="*/ 1057 h 1882"/>
                  <a:gd name="T56" fmla="*/ 316 w 2441"/>
                  <a:gd name="T57" fmla="*/ 1113 h 1882"/>
                  <a:gd name="T58" fmla="*/ 403 w 2441"/>
                  <a:gd name="T59" fmla="*/ 1210 h 1882"/>
                  <a:gd name="T60" fmla="*/ 571 w 2441"/>
                  <a:gd name="T61" fmla="*/ 1302 h 1882"/>
                  <a:gd name="T62" fmla="*/ 698 w 2441"/>
                  <a:gd name="T63" fmla="*/ 1349 h 1882"/>
                  <a:gd name="T64" fmla="*/ 894 w 2441"/>
                  <a:gd name="T65" fmla="*/ 1350 h 1882"/>
                  <a:gd name="T66" fmla="*/ 1044 w 2441"/>
                  <a:gd name="T67" fmla="*/ 1318 h 1882"/>
                  <a:gd name="T68" fmla="*/ 1161 w 2441"/>
                  <a:gd name="T69" fmla="*/ 1339 h 1882"/>
                  <a:gd name="T70" fmla="*/ 1291 w 2441"/>
                  <a:gd name="T71" fmla="*/ 1422 h 1882"/>
                  <a:gd name="T72" fmla="*/ 1261 w 2441"/>
                  <a:gd name="T73" fmla="*/ 1535 h 1882"/>
                  <a:gd name="T74" fmla="*/ 1324 w 2441"/>
                  <a:gd name="T75" fmla="*/ 1597 h 1882"/>
                  <a:gd name="T76" fmla="*/ 1400 w 2441"/>
                  <a:gd name="T77" fmla="*/ 1701 h 1882"/>
                  <a:gd name="T78" fmla="*/ 1461 w 2441"/>
                  <a:gd name="T79" fmla="*/ 1679 h 1882"/>
                  <a:gd name="T80" fmla="*/ 1554 w 2441"/>
                  <a:gd name="T81" fmla="*/ 1639 h 1882"/>
                  <a:gd name="T82" fmla="*/ 1625 w 2441"/>
                  <a:gd name="T83" fmla="*/ 1610 h 1882"/>
                  <a:gd name="T84" fmla="*/ 1698 w 2441"/>
                  <a:gd name="T85" fmla="*/ 1684 h 1882"/>
                  <a:gd name="T86" fmla="*/ 1846 w 2441"/>
                  <a:gd name="T87" fmla="*/ 1750 h 1882"/>
                  <a:gd name="T88" fmla="*/ 2036 w 2441"/>
                  <a:gd name="T89" fmla="*/ 1660 h 1882"/>
                  <a:gd name="T90" fmla="*/ 2205 w 2441"/>
                  <a:gd name="T91" fmla="*/ 1544 h 1882"/>
                  <a:gd name="T92" fmla="*/ 2274 w 2441"/>
                  <a:gd name="T93" fmla="*/ 1405 h 1882"/>
                  <a:gd name="T94" fmla="*/ 2335 w 2441"/>
                  <a:gd name="T95" fmla="*/ 1231 h 1882"/>
                  <a:gd name="T96" fmla="*/ 2240 w 2441"/>
                  <a:gd name="T97" fmla="*/ 1164 h 1882"/>
                  <a:gd name="T98" fmla="*/ 2236 w 2441"/>
                  <a:gd name="T99" fmla="*/ 1155 h 1882"/>
                  <a:gd name="T100" fmla="*/ 2157 w 2441"/>
                  <a:gd name="T101" fmla="*/ 1022 h 1882"/>
                  <a:gd name="T102" fmla="*/ 2131 w 2441"/>
                  <a:gd name="T103" fmla="*/ 897 h 1882"/>
                  <a:gd name="T104" fmla="*/ 2161 w 2441"/>
                  <a:gd name="T105" fmla="*/ 854 h 1882"/>
                  <a:gd name="T106" fmla="*/ 2004 w 2441"/>
                  <a:gd name="T107" fmla="*/ 828 h 1882"/>
                  <a:gd name="T108" fmla="*/ 1997 w 2441"/>
                  <a:gd name="T109" fmla="*/ 758 h 1882"/>
                  <a:gd name="T110" fmla="*/ 2079 w 2441"/>
                  <a:gd name="T111" fmla="*/ 665 h 1882"/>
                  <a:gd name="T112" fmla="*/ 2131 w 2441"/>
                  <a:gd name="T113" fmla="*/ 770 h 1882"/>
                  <a:gd name="T114" fmla="*/ 2292 w 2441"/>
                  <a:gd name="T115" fmla="*/ 637 h 1882"/>
                  <a:gd name="T116" fmla="*/ 2387 w 2441"/>
                  <a:gd name="T117" fmla="*/ 560 h 1882"/>
                  <a:gd name="T118" fmla="*/ 2379 w 2441"/>
                  <a:gd name="T119" fmla="*/ 455 h 1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441" h="1882">
                    <a:moveTo>
                      <a:pt x="1912" y="1793"/>
                    </a:moveTo>
                    <a:cubicBezTo>
                      <a:pt x="1898" y="1783"/>
                      <a:pt x="1850" y="1789"/>
                      <a:pt x="1850" y="1789"/>
                    </a:cubicBezTo>
                    <a:cubicBezTo>
                      <a:pt x="1846" y="1801"/>
                      <a:pt x="1846" y="1801"/>
                      <a:pt x="1846" y="1801"/>
                    </a:cubicBezTo>
                    <a:cubicBezTo>
                      <a:pt x="1835" y="1795"/>
                      <a:pt x="1835" y="1795"/>
                      <a:pt x="1835" y="1795"/>
                    </a:cubicBezTo>
                    <a:cubicBezTo>
                      <a:pt x="1829" y="1812"/>
                      <a:pt x="1829" y="1812"/>
                      <a:pt x="1829" y="1812"/>
                    </a:cubicBezTo>
                    <a:cubicBezTo>
                      <a:pt x="1829" y="1812"/>
                      <a:pt x="1799" y="1835"/>
                      <a:pt x="1818" y="1859"/>
                    </a:cubicBezTo>
                    <a:cubicBezTo>
                      <a:pt x="1838" y="1882"/>
                      <a:pt x="1851" y="1882"/>
                      <a:pt x="1851" y="1882"/>
                    </a:cubicBezTo>
                    <a:cubicBezTo>
                      <a:pt x="1907" y="1881"/>
                      <a:pt x="1903" y="1864"/>
                      <a:pt x="1905" y="1857"/>
                    </a:cubicBezTo>
                    <a:cubicBezTo>
                      <a:pt x="1906" y="1851"/>
                      <a:pt x="1902" y="1836"/>
                      <a:pt x="1902" y="1836"/>
                    </a:cubicBezTo>
                    <a:cubicBezTo>
                      <a:pt x="1902" y="1836"/>
                      <a:pt x="1927" y="1804"/>
                      <a:pt x="1912" y="1793"/>
                    </a:cubicBezTo>
                    <a:close/>
                    <a:moveTo>
                      <a:pt x="2441" y="416"/>
                    </a:moveTo>
                    <a:cubicBezTo>
                      <a:pt x="2438" y="399"/>
                      <a:pt x="2438" y="399"/>
                      <a:pt x="2438" y="399"/>
                    </a:cubicBezTo>
                    <a:cubicBezTo>
                      <a:pt x="2441" y="382"/>
                      <a:pt x="2441" y="382"/>
                      <a:pt x="2441" y="382"/>
                    </a:cubicBezTo>
                    <a:cubicBezTo>
                      <a:pt x="2430" y="375"/>
                      <a:pt x="2430" y="375"/>
                      <a:pt x="2430" y="375"/>
                    </a:cubicBezTo>
                    <a:cubicBezTo>
                      <a:pt x="2430" y="362"/>
                      <a:pt x="2430" y="362"/>
                      <a:pt x="2430" y="362"/>
                    </a:cubicBezTo>
                    <a:cubicBezTo>
                      <a:pt x="2423" y="352"/>
                      <a:pt x="2423" y="352"/>
                      <a:pt x="2423" y="352"/>
                    </a:cubicBezTo>
                    <a:cubicBezTo>
                      <a:pt x="2423" y="340"/>
                      <a:pt x="2423" y="340"/>
                      <a:pt x="2423" y="340"/>
                    </a:cubicBezTo>
                    <a:cubicBezTo>
                      <a:pt x="2415" y="330"/>
                      <a:pt x="2415" y="330"/>
                      <a:pt x="2415" y="330"/>
                    </a:cubicBezTo>
                    <a:cubicBezTo>
                      <a:pt x="2427" y="325"/>
                      <a:pt x="2427" y="325"/>
                      <a:pt x="2427" y="325"/>
                    </a:cubicBezTo>
                    <a:cubicBezTo>
                      <a:pt x="2427" y="305"/>
                      <a:pt x="2427" y="305"/>
                      <a:pt x="2427" y="305"/>
                    </a:cubicBezTo>
                    <a:cubicBezTo>
                      <a:pt x="2409" y="297"/>
                      <a:pt x="2409" y="297"/>
                      <a:pt x="2409" y="297"/>
                    </a:cubicBezTo>
                    <a:cubicBezTo>
                      <a:pt x="2409" y="297"/>
                      <a:pt x="2415" y="284"/>
                      <a:pt x="2405" y="276"/>
                    </a:cubicBezTo>
                    <a:cubicBezTo>
                      <a:pt x="2395" y="268"/>
                      <a:pt x="2370" y="274"/>
                      <a:pt x="2370" y="274"/>
                    </a:cubicBezTo>
                    <a:cubicBezTo>
                      <a:pt x="2365" y="288"/>
                      <a:pt x="2365" y="288"/>
                      <a:pt x="2365" y="288"/>
                    </a:cubicBezTo>
                    <a:cubicBezTo>
                      <a:pt x="2365" y="288"/>
                      <a:pt x="2337" y="287"/>
                      <a:pt x="2334" y="292"/>
                    </a:cubicBezTo>
                    <a:cubicBezTo>
                      <a:pt x="2331" y="297"/>
                      <a:pt x="2330" y="308"/>
                      <a:pt x="2330" y="308"/>
                    </a:cubicBezTo>
                    <a:cubicBezTo>
                      <a:pt x="2311" y="306"/>
                      <a:pt x="2311" y="306"/>
                      <a:pt x="2311" y="306"/>
                    </a:cubicBezTo>
                    <a:cubicBezTo>
                      <a:pt x="2311" y="313"/>
                      <a:pt x="2311" y="313"/>
                      <a:pt x="2311" y="313"/>
                    </a:cubicBezTo>
                    <a:cubicBezTo>
                      <a:pt x="2298" y="314"/>
                      <a:pt x="2298" y="314"/>
                      <a:pt x="2298" y="314"/>
                    </a:cubicBezTo>
                    <a:cubicBezTo>
                      <a:pt x="2290" y="304"/>
                      <a:pt x="2290" y="304"/>
                      <a:pt x="2290" y="304"/>
                    </a:cubicBezTo>
                    <a:cubicBezTo>
                      <a:pt x="2273" y="308"/>
                      <a:pt x="2273" y="308"/>
                      <a:pt x="2273" y="308"/>
                    </a:cubicBezTo>
                    <a:cubicBezTo>
                      <a:pt x="2248" y="288"/>
                      <a:pt x="2248" y="288"/>
                      <a:pt x="2248" y="288"/>
                    </a:cubicBezTo>
                    <a:cubicBezTo>
                      <a:pt x="2248" y="288"/>
                      <a:pt x="2247" y="280"/>
                      <a:pt x="2244" y="273"/>
                    </a:cubicBezTo>
                    <a:cubicBezTo>
                      <a:pt x="2241" y="266"/>
                      <a:pt x="2225" y="265"/>
                      <a:pt x="2225" y="265"/>
                    </a:cubicBezTo>
                    <a:cubicBezTo>
                      <a:pt x="2216" y="246"/>
                      <a:pt x="2216" y="246"/>
                      <a:pt x="2216" y="246"/>
                    </a:cubicBezTo>
                    <a:cubicBezTo>
                      <a:pt x="2192" y="246"/>
                      <a:pt x="2192" y="246"/>
                      <a:pt x="2192" y="246"/>
                    </a:cubicBezTo>
                    <a:cubicBezTo>
                      <a:pt x="2192" y="246"/>
                      <a:pt x="2154" y="218"/>
                      <a:pt x="2150" y="218"/>
                    </a:cubicBezTo>
                    <a:cubicBezTo>
                      <a:pt x="2146" y="218"/>
                      <a:pt x="2138" y="225"/>
                      <a:pt x="2138" y="225"/>
                    </a:cubicBezTo>
                    <a:cubicBezTo>
                      <a:pt x="2138" y="225"/>
                      <a:pt x="2122" y="209"/>
                      <a:pt x="2112" y="211"/>
                    </a:cubicBezTo>
                    <a:cubicBezTo>
                      <a:pt x="2102" y="213"/>
                      <a:pt x="2085" y="214"/>
                      <a:pt x="2077" y="209"/>
                    </a:cubicBezTo>
                    <a:cubicBezTo>
                      <a:pt x="2069" y="204"/>
                      <a:pt x="2050" y="194"/>
                      <a:pt x="2050" y="194"/>
                    </a:cubicBezTo>
                    <a:cubicBezTo>
                      <a:pt x="2046" y="178"/>
                      <a:pt x="2046" y="178"/>
                      <a:pt x="2046" y="178"/>
                    </a:cubicBezTo>
                    <a:cubicBezTo>
                      <a:pt x="2039" y="178"/>
                      <a:pt x="2039" y="178"/>
                      <a:pt x="2039" y="178"/>
                    </a:cubicBezTo>
                    <a:cubicBezTo>
                      <a:pt x="2039" y="178"/>
                      <a:pt x="2021" y="154"/>
                      <a:pt x="2011" y="145"/>
                    </a:cubicBezTo>
                    <a:cubicBezTo>
                      <a:pt x="2001" y="136"/>
                      <a:pt x="1980" y="134"/>
                      <a:pt x="1980" y="134"/>
                    </a:cubicBezTo>
                    <a:cubicBezTo>
                      <a:pt x="1969" y="112"/>
                      <a:pt x="1969" y="112"/>
                      <a:pt x="1969" y="112"/>
                    </a:cubicBezTo>
                    <a:cubicBezTo>
                      <a:pt x="1937" y="95"/>
                      <a:pt x="1937" y="95"/>
                      <a:pt x="1937" y="95"/>
                    </a:cubicBezTo>
                    <a:cubicBezTo>
                      <a:pt x="1934" y="76"/>
                      <a:pt x="1934" y="76"/>
                      <a:pt x="1934" y="76"/>
                    </a:cubicBezTo>
                    <a:cubicBezTo>
                      <a:pt x="1934" y="76"/>
                      <a:pt x="1919" y="71"/>
                      <a:pt x="1914" y="67"/>
                    </a:cubicBezTo>
                    <a:cubicBezTo>
                      <a:pt x="1909" y="63"/>
                      <a:pt x="1891" y="53"/>
                      <a:pt x="1891" y="53"/>
                    </a:cubicBezTo>
                    <a:cubicBezTo>
                      <a:pt x="1889" y="44"/>
                      <a:pt x="1889" y="44"/>
                      <a:pt x="1889" y="44"/>
                    </a:cubicBezTo>
                    <a:cubicBezTo>
                      <a:pt x="1889" y="44"/>
                      <a:pt x="1868" y="30"/>
                      <a:pt x="1861" y="29"/>
                    </a:cubicBezTo>
                    <a:cubicBezTo>
                      <a:pt x="1854" y="28"/>
                      <a:pt x="1835" y="27"/>
                      <a:pt x="1835" y="27"/>
                    </a:cubicBezTo>
                    <a:cubicBezTo>
                      <a:pt x="1820" y="30"/>
                      <a:pt x="1820" y="30"/>
                      <a:pt x="1820" y="30"/>
                    </a:cubicBezTo>
                    <a:cubicBezTo>
                      <a:pt x="1794" y="13"/>
                      <a:pt x="1794" y="13"/>
                      <a:pt x="1794" y="13"/>
                    </a:cubicBezTo>
                    <a:cubicBezTo>
                      <a:pt x="1769" y="0"/>
                      <a:pt x="1769" y="0"/>
                      <a:pt x="1769" y="0"/>
                    </a:cubicBezTo>
                    <a:cubicBezTo>
                      <a:pt x="1734" y="7"/>
                      <a:pt x="1734" y="7"/>
                      <a:pt x="1734" y="7"/>
                    </a:cubicBezTo>
                    <a:cubicBezTo>
                      <a:pt x="1706" y="5"/>
                      <a:pt x="1706" y="5"/>
                      <a:pt x="1706" y="5"/>
                    </a:cubicBezTo>
                    <a:cubicBezTo>
                      <a:pt x="1702" y="13"/>
                      <a:pt x="1702" y="13"/>
                      <a:pt x="1702" y="13"/>
                    </a:cubicBezTo>
                    <a:cubicBezTo>
                      <a:pt x="1678" y="16"/>
                      <a:pt x="1678" y="16"/>
                      <a:pt x="1678" y="16"/>
                    </a:cubicBezTo>
                    <a:cubicBezTo>
                      <a:pt x="1658" y="36"/>
                      <a:pt x="1658" y="36"/>
                      <a:pt x="1658" y="36"/>
                    </a:cubicBezTo>
                    <a:cubicBezTo>
                      <a:pt x="1658" y="36"/>
                      <a:pt x="1636" y="51"/>
                      <a:pt x="1651" y="54"/>
                    </a:cubicBezTo>
                    <a:cubicBezTo>
                      <a:pt x="1666" y="57"/>
                      <a:pt x="1678" y="59"/>
                      <a:pt x="1678" y="59"/>
                    </a:cubicBezTo>
                    <a:cubicBezTo>
                      <a:pt x="1678" y="59"/>
                      <a:pt x="1705" y="74"/>
                      <a:pt x="1704" y="80"/>
                    </a:cubicBezTo>
                    <a:cubicBezTo>
                      <a:pt x="1703" y="86"/>
                      <a:pt x="1691" y="91"/>
                      <a:pt x="1689" y="100"/>
                    </a:cubicBezTo>
                    <a:cubicBezTo>
                      <a:pt x="1687" y="109"/>
                      <a:pt x="1692" y="127"/>
                      <a:pt x="1692" y="127"/>
                    </a:cubicBezTo>
                    <a:cubicBezTo>
                      <a:pt x="1692" y="146"/>
                      <a:pt x="1692" y="146"/>
                      <a:pt x="1692" y="146"/>
                    </a:cubicBezTo>
                    <a:cubicBezTo>
                      <a:pt x="1693" y="171"/>
                      <a:pt x="1693" y="171"/>
                      <a:pt x="1693" y="171"/>
                    </a:cubicBezTo>
                    <a:cubicBezTo>
                      <a:pt x="1693" y="171"/>
                      <a:pt x="1717" y="181"/>
                      <a:pt x="1704" y="189"/>
                    </a:cubicBezTo>
                    <a:cubicBezTo>
                      <a:pt x="1691" y="197"/>
                      <a:pt x="1680" y="192"/>
                      <a:pt x="1680" y="192"/>
                    </a:cubicBezTo>
                    <a:cubicBezTo>
                      <a:pt x="1680" y="192"/>
                      <a:pt x="1676" y="214"/>
                      <a:pt x="1666" y="214"/>
                    </a:cubicBezTo>
                    <a:cubicBezTo>
                      <a:pt x="1656" y="214"/>
                      <a:pt x="1653" y="209"/>
                      <a:pt x="1653" y="209"/>
                    </a:cubicBezTo>
                    <a:cubicBezTo>
                      <a:pt x="1629" y="208"/>
                      <a:pt x="1629" y="208"/>
                      <a:pt x="1629" y="208"/>
                    </a:cubicBezTo>
                    <a:cubicBezTo>
                      <a:pt x="1606" y="194"/>
                      <a:pt x="1606" y="194"/>
                      <a:pt x="1606" y="194"/>
                    </a:cubicBezTo>
                    <a:cubicBezTo>
                      <a:pt x="1607" y="249"/>
                      <a:pt x="1607" y="249"/>
                      <a:pt x="1607" y="249"/>
                    </a:cubicBezTo>
                    <a:cubicBezTo>
                      <a:pt x="1612" y="255"/>
                      <a:pt x="1612" y="255"/>
                      <a:pt x="1612" y="255"/>
                    </a:cubicBezTo>
                    <a:cubicBezTo>
                      <a:pt x="1613" y="273"/>
                      <a:pt x="1613" y="273"/>
                      <a:pt x="1613" y="273"/>
                    </a:cubicBezTo>
                    <a:cubicBezTo>
                      <a:pt x="1617" y="279"/>
                      <a:pt x="1617" y="279"/>
                      <a:pt x="1617" y="279"/>
                    </a:cubicBezTo>
                    <a:cubicBezTo>
                      <a:pt x="1617" y="279"/>
                      <a:pt x="1612" y="282"/>
                      <a:pt x="1615" y="292"/>
                    </a:cubicBezTo>
                    <a:cubicBezTo>
                      <a:pt x="1618" y="302"/>
                      <a:pt x="1630" y="313"/>
                      <a:pt x="1639" y="310"/>
                    </a:cubicBezTo>
                    <a:cubicBezTo>
                      <a:pt x="1648" y="307"/>
                      <a:pt x="1632" y="300"/>
                      <a:pt x="1651" y="299"/>
                    </a:cubicBezTo>
                    <a:cubicBezTo>
                      <a:pt x="1670" y="298"/>
                      <a:pt x="1680" y="302"/>
                      <a:pt x="1680" y="302"/>
                    </a:cubicBezTo>
                    <a:cubicBezTo>
                      <a:pt x="1680" y="302"/>
                      <a:pt x="1691" y="313"/>
                      <a:pt x="1697" y="311"/>
                    </a:cubicBezTo>
                    <a:cubicBezTo>
                      <a:pt x="1703" y="309"/>
                      <a:pt x="1704" y="291"/>
                      <a:pt x="1704" y="291"/>
                    </a:cubicBezTo>
                    <a:cubicBezTo>
                      <a:pt x="1745" y="291"/>
                      <a:pt x="1745" y="291"/>
                      <a:pt x="1745" y="291"/>
                    </a:cubicBezTo>
                    <a:cubicBezTo>
                      <a:pt x="1745" y="291"/>
                      <a:pt x="1748" y="306"/>
                      <a:pt x="1757" y="307"/>
                    </a:cubicBezTo>
                    <a:cubicBezTo>
                      <a:pt x="1766" y="308"/>
                      <a:pt x="1769" y="308"/>
                      <a:pt x="1769" y="308"/>
                    </a:cubicBezTo>
                    <a:cubicBezTo>
                      <a:pt x="1769" y="308"/>
                      <a:pt x="1777" y="315"/>
                      <a:pt x="1786" y="322"/>
                    </a:cubicBezTo>
                    <a:cubicBezTo>
                      <a:pt x="1795" y="329"/>
                      <a:pt x="1813" y="333"/>
                      <a:pt x="1813" y="333"/>
                    </a:cubicBezTo>
                    <a:cubicBezTo>
                      <a:pt x="1813" y="333"/>
                      <a:pt x="1818" y="344"/>
                      <a:pt x="1827" y="350"/>
                    </a:cubicBezTo>
                    <a:cubicBezTo>
                      <a:pt x="1836" y="356"/>
                      <a:pt x="1839" y="362"/>
                      <a:pt x="1831" y="363"/>
                    </a:cubicBezTo>
                    <a:cubicBezTo>
                      <a:pt x="1823" y="364"/>
                      <a:pt x="1805" y="365"/>
                      <a:pt x="1805" y="365"/>
                    </a:cubicBezTo>
                    <a:cubicBezTo>
                      <a:pt x="1805" y="365"/>
                      <a:pt x="1797" y="356"/>
                      <a:pt x="1788" y="356"/>
                    </a:cubicBezTo>
                    <a:cubicBezTo>
                      <a:pt x="1779" y="356"/>
                      <a:pt x="1768" y="359"/>
                      <a:pt x="1768" y="359"/>
                    </a:cubicBezTo>
                    <a:cubicBezTo>
                      <a:pt x="1759" y="368"/>
                      <a:pt x="1759" y="368"/>
                      <a:pt x="1759" y="368"/>
                    </a:cubicBezTo>
                    <a:cubicBezTo>
                      <a:pt x="1753" y="371"/>
                      <a:pt x="1753" y="371"/>
                      <a:pt x="1753" y="371"/>
                    </a:cubicBezTo>
                    <a:cubicBezTo>
                      <a:pt x="1735" y="368"/>
                      <a:pt x="1735" y="368"/>
                      <a:pt x="1735" y="368"/>
                    </a:cubicBezTo>
                    <a:cubicBezTo>
                      <a:pt x="1735" y="379"/>
                      <a:pt x="1735" y="379"/>
                      <a:pt x="1735" y="379"/>
                    </a:cubicBezTo>
                    <a:cubicBezTo>
                      <a:pt x="1735" y="379"/>
                      <a:pt x="1710" y="380"/>
                      <a:pt x="1703" y="391"/>
                    </a:cubicBezTo>
                    <a:cubicBezTo>
                      <a:pt x="1696" y="402"/>
                      <a:pt x="1711" y="413"/>
                      <a:pt x="1711" y="413"/>
                    </a:cubicBezTo>
                    <a:cubicBezTo>
                      <a:pt x="1695" y="427"/>
                      <a:pt x="1695" y="427"/>
                      <a:pt x="1695" y="427"/>
                    </a:cubicBezTo>
                    <a:cubicBezTo>
                      <a:pt x="1695" y="427"/>
                      <a:pt x="1649" y="424"/>
                      <a:pt x="1646" y="427"/>
                    </a:cubicBezTo>
                    <a:cubicBezTo>
                      <a:pt x="1643" y="430"/>
                      <a:pt x="1645" y="446"/>
                      <a:pt x="1645" y="446"/>
                    </a:cubicBezTo>
                    <a:cubicBezTo>
                      <a:pt x="1645" y="446"/>
                      <a:pt x="1634" y="460"/>
                      <a:pt x="1627" y="462"/>
                    </a:cubicBezTo>
                    <a:cubicBezTo>
                      <a:pt x="1620" y="464"/>
                      <a:pt x="1593" y="465"/>
                      <a:pt x="1593" y="465"/>
                    </a:cubicBezTo>
                    <a:cubicBezTo>
                      <a:pt x="1593" y="465"/>
                      <a:pt x="1571" y="448"/>
                      <a:pt x="1567" y="447"/>
                    </a:cubicBezTo>
                    <a:cubicBezTo>
                      <a:pt x="1563" y="446"/>
                      <a:pt x="1545" y="440"/>
                      <a:pt x="1539" y="450"/>
                    </a:cubicBezTo>
                    <a:cubicBezTo>
                      <a:pt x="1533" y="460"/>
                      <a:pt x="1535" y="480"/>
                      <a:pt x="1541" y="484"/>
                    </a:cubicBezTo>
                    <a:cubicBezTo>
                      <a:pt x="1547" y="488"/>
                      <a:pt x="1578" y="511"/>
                      <a:pt x="1577" y="516"/>
                    </a:cubicBezTo>
                    <a:cubicBezTo>
                      <a:pt x="1576" y="521"/>
                      <a:pt x="1566" y="536"/>
                      <a:pt x="1562" y="536"/>
                    </a:cubicBezTo>
                    <a:cubicBezTo>
                      <a:pt x="1558" y="536"/>
                      <a:pt x="1548" y="533"/>
                      <a:pt x="1545" y="540"/>
                    </a:cubicBezTo>
                    <a:cubicBezTo>
                      <a:pt x="1542" y="547"/>
                      <a:pt x="1544" y="562"/>
                      <a:pt x="1536" y="569"/>
                    </a:cubicBezTo>
                    <a:cubicBezTo>
                      <a:pt x="1528" y="576"/>
                      <a:pt x="1511" y="574"/>
                      <a:pt x="1511" y="574"/>
                    </a:cubicBezTo>
                    <a:cubicBezTo>
                      <a:pt x="1499" y="587"/>
                      <a:pt x="1499" y="587"/>
                      <a:pt x="1499" y="587"/>
                    </a:cubicBezTo>
                    <a:cubicBezTo>
                      <a:pt x="1499" y="587"/>
                      <a:pt x="1409" y="584"/>
                      <a:pt x="1395" y="590"/>
                    </a:cubicBezTo>
                    <a:cubicBezTo>
                      <a:pt x="1381" y="596"/>
                      <a:pt x="1338" y="625"/>
                      <a:pt x="1332" y="630"/>
                    </a:cubicBezTo>
                    <a:cubicBezTo>
                      <a:pt x="1326" y="635"/>
                      <a:pt x="1306" y="627"/>
                      <a:pt x="1306" y="627"/>
                    </a:cubicBezTo>
                    <a:cubicBezTo>
                      <a:pt x="1306" y="627"/>
                      <a:pt x="1303" y="615"/>
                      <a:pt x="1297" y="615"/>
                    </a:cubicBezTo>
                    <a:cubicBezTo>
                      <a:pt x="1291" y="615"/>
                      <a:pt x="1270" y="624"/>
                      <a:pt x="1270" y="624"/>
                    </a:cubicBezTo>
                    <a:cubicBezTo>
                      <a:pt x="1270" y="624"/>
                      <a:pt x="1242" y="609"/>
                      <a:pt x="1228" y="608"/>
                    </a:cubicBezTo>
                    <a:cubicBezTo>
                      <a:pt x="1214" y="607"/>
                      <a:pt x="1203" y="609"/>
                      <a:pt x="1188" y="604"/>
                    </a:cubicBezTo>
                    <a:cubicBezTo>
                      <a:pt x="1173" y="599"/>
                      <a:pt x="1171" y="584"/>
                      <a:pt x="1161" y="581"/>
                    </a:cubicBezTo>
                    <a:cubicBezTo>
                      <a:pt x="1151" y="578"/>
                      <a:pt x="1112" y="578"/>
                      <a:pt x="1112" y="578"/>
                    </a:cubicBezTo>
                    <a:cubicBezTo>
                      <a:pt x="1112" y="578"/>
                      <a:pt x="1092" y="570"/>
                      <a:pt x="1087" y="570"/>
                    </a:cubicBezTo>
                    <a:cubicBezTo>
                      <a:pt x="1082" y="570"/>
                      <a:pt x="1068" y="581"/>
                      <a:pt x="1068" y="581"/>
                    </a:cubicBezTo>
                    <a:cubicBezTo>
                      <a:pt x="1043" y="576"/>
                      <a:pt x="1043" y="576"/>
                      <a:pt x="1043" y="576"/>
                    </a:cubicBezTo>
                    <a:cubicBezTo>
                      <a:pt x="1012" y="576"/>
                      <a:pt x="1012" y="576"/>
                      <a:pt x="1012" y="576"/>
                    </a:cubicBezTo>
                    <a:cubicBezTo>
                      <a:pt x="973" y="571"/>
                      <a:pt x="973" y="571"/>
                      <a:pt x="973" y="571"/>
                    </a:cubicBezTo>
                    <a:cubicBezTo>
                      <a:pt x="935" y="575"/>
                      <a:pt x="935" y="575"/>
                      <a:pt x="935" y="575"/>
                    </a:cubicBezTo>
                    <a:cubicBezTo>
                      <a:pt x="935" y="575"/>
                      <a:pt x="902" y="550"/>
                      <a:pt x="898" y="544"/>
                    </a:cubicBezTo>
                    <a:cubicBezTo>
                      <a:pt x="894" y="538"/>
                      <a:pt x="880" y="519"/>
                      <a:pt x="876" y="515"/>
                    </a:cubicBezTo>
                    <a:cubicBezTo>
                      <a:pt x="872" y="511"/>
                      <a:pt x="863" y="506"/>
                      <a:pt x="863" y="506"/>
                    </a:cubicBezTo>
                    <a:cubicBezTo>
                      <a:pt x="856" y="490"/>
                      <a:pt x="856" y="490"/>
                      <a:pt x="856" y="490"/>
                    </a:cubicBezTo>
                    <a:cubicBezTo>
                      <a:pt x="834" y="487"/>
                      <a:pt x="834" y="487"/>
                      <a:pt x="834" y="487"/>
                    </a:cubicBezTo>
                    <a:cubicBezTo>
                      <a:pt x="834" y="487"/>
                      <a:pt x="797" y="475"/>
                      <a:pt x="794" y="474"/>
                    </a:cubicBezTo>
                    <a:cubicBezTo>
                      <a:pt x="791" y="473"/>
                      <a:pt x="784" y="461"/>
                      <a:pt x="775" y="459"/>
                    </a:cubicBezTo>
                    <a:cubicBezTo>
                      <a:pt x="766" y="457"/>
                      <a:pt x="755" y="452"/>
                      <a:pt x="755" y="452"/>
                    </a:cubicBezTo>
                    <a:cubicBezTo>
                      <a:pt x="755" y="452"/>
                      <a:pt x="721" y="450"/>
                      <a:pt x="707" y="451"/>
                    </a:cubicBezTo>
                    <a:cubicBezTo>
                      <a:pt x="693" y="452"/>
                      <a:pt x="679" y="449"/>
                      <a:pt x="668" y="445"/>
                    </a:cubicBezTo>
                    <a:cubicBezTo>
                      <a:pt x="657" y="441"/>
                      <a:pt x="636" y="439"/>
                      <a:pt x="631" y="426"/>
                    </a:cubicBezTo>
                    <a:cubicBezTo>
                      <a:pt x="626" y="413"/>
                      <a:pt x="625" y="403"/>
                      <a:pt x="625" y="403"/>
                    </a:cubicBezTo>
                    <a:cubicBezTo>
                      <a:pt x="625" y="403"/>
                      <a:pt x="635" y="399"/>
                      <a:pt x="633" y="392"/>
                    </a:cubicBezTo>
                    <a:cubicBezTo>
                      <a:pt x="631" y="385"/>
                      <a:pt x="621" y="377"/>
                      <a:pt x="621" y="377"/>
                    </a:cubicBezTo>
                    <a:cubicBezTo>
                      <a:pt x="621" y="377"/>
                      <a:pt x="624" y="361"/>
                      <a:pt x="612" y="353"/>
                    </a:cubicBezTo>
                    <a:cubicBezTo>
                      <a:pt x="600" y="345"/>
                      <a:pt x="591" y="336"/>
                      <a:pt x="586" y="329"/>
                    </a:cubicBezTo>
                    <a:cubicBezTo>
                      <a:pt x="581" y="322"/>
                      <a:pt x="574" y="308"/>
                      <a:pt x="560" y="304"/>
                    </a:cubicBezTo>
                    <a:cubicBezTo>
                      <a:pt x="546" y="300"/>
                      <a:pt x="540" y="298"/>
                      <a:pt x="540" y="298"/>
                    </a:cubicBezTo>
                    <a:cubicBezTo>
                      <a:pt x="525" y="290"/>
                      <a:pt x="525" y="290"/>
                      <a:pt x="525" y="290"/>
                    </a:cubicBezTo>
                    <a:cubicBezTo>
                      <a:pt x="504" y="296"/>
                      <a:pt x="504" y="296"/>
                      <a:pt x="504" y="296"/>
                    </a:cubicBezTo>
                    <a:cubicBezTo>
                      <a:pt x="487" y="280"/>
                      <a:pt x="487" y="280"/>
                      <a:pt x="487" y="280"/>
                    </a:cubicBezTo>
                    <a:cubicBezTo>
                      <a:pt x="481" y="272"/>
                      <a:pt x="481" y="272"/>
                      <a:pt x="481" y="272"/>
                    </a:cubicBezTo>
                    <a:cubicBezTo>
                      <a:pt x="481" y="272"/>
                      <a:pt x="457" y="269"/>
                      <a:pt x="452" y="264"/>
                    </a:cubicBezTo>
                    <a:cubicBezTo>
                      <a:pt x="447" y="259"/>
                      <a:pt x="451" y="251"/>
                      <a:pt x="451" y="251"/>
                    </a:cubicBezTo>
                    <a:cubicBezTo>
                      <a:pt x="433" y="251"/>
                      <a:pt x="433" y="251"/>
                      <a:pt x="433" y="251"/>
                    </a:cubicBezTo>
                    <a:cubicBezTo>
                      <a:pt x="433" y="251"/>
                      <a:pt x="443" y="239"/>
                      <a:pt x="435" y="235"/>
                    </a:cubicBezTo>
                    <a:cubicBezTo>
                      <a:pt x="427" y="231"/>
                      <a:pt x="414" y="238"/>
                      <a:pt x="414" y="238"/>
                    </a:cubicBezTo>
                    <a:cubicBezTo>
                      <a:pt x="414" y="238"/>
                      <a:pt x="388" y="230"/>
                      <a:pt x="387" y="239"/>
                    </a:cubicBezTo>
                    <a:cubicBezTo>
                      <a:pt x="386" y="248"/>
                      <a:pt x="405" y="251"/>
                      <a:pt x="399" y="260"/>
                    </a:cubicBezTo>
                    <a:cubicBezTo>
                      <a:pt x="393" y="269"/>
                      <a:pt x="364" y="259"/>
                      <a:pt x="359" y="273"/>
                    </a:cubicBezTo>
                    <a:cubicBezTo>
                      <a:pt x="354" y="287"/>
                      <a:pt x="364" y="296"/>
                      <a:pt x="373" y="309"/>
                    </a:cubicBezTo>
                    <a:cubicBezTo>
                      <a:pt x="382" y="322"/>
                      <a:pt x="388" y="333"/>
                      <a:pt x="381" y="338"/>
                    </a:cubicBezTo>
                    <a:cubicBezTo>
                      <a:pt x="374" y="343"/>
                      <a:pt x="366" y="342"/>
                      <a:pt x="366" y="342"/>
                    </a:cubicBezTo>
                    <a:cubicBezTo>
                      <a:pt x="355" y="354"/>
                      <a:pt x="355" y="354"/>
                      <a:pt x="355" y="354"/>
                    </a:cubicBezTo>
                    <a:cubicBezTo>
                      <a:pt x="346" y="346"/>
                      <a:pt x="346" y="346"/>
                      <a:pt x="346" y="346"/>
                    </a:cubicBezTo>
                    <a:cubicBezTo>
                      <a:pt x="346" y="346"/>
                      <a:pt x="325" y="348"/>
                      <a:pt x="317" y="346"/>
                    </a:cubicBezTo>
                    <a:cubicBezTo>
                      <a:pt x="309" y="344"/>
                      <a:pt x="284" y="332"/>
                      <a:pt x="278" y="332"/>
                    </a:cubicBezTo>
                    <a:cubicBezTo>
                      <a:pt x="272" y="332"/>
                      <a:pt x="273" y="347"/>
                      <a:pt x="273" y="359"/>
                    </a:cubicBezTo>
                    <a:cubicBezTo>
                      <a:pt x="273" y="371"/>
                      <a:pt x="269" y="423"/>
                      <a:pt x="273" y="425"/>
                    </a:cubicBezTo>
                    <a:cubicBezTo>
                      <a:pt x="277" y="427"/>
                      <a:pt x="300" y="429"/>
                      <a:pt x="291" y="440"/>
                    </a:cubicBezTo>
                    <a:cubicBezTo>
                      <a:pt x="282" y="451"/>
                      <a:pt x="275" y="437"/>
                      <a:pt x="275" y="437"/>
                    </a:cubicBezTo>
                    <a:cubicBezTo>
                      <a:pt x="262" y="444"/>
                      <a:pt x="262" y="444"/>
                      <a:pt x="262" y="444"/>
                    </a:cubicBezTo>
                    <a:cubicBezTo>
                      <a:pt x="262" y="444"/>
                      <a:pt x="253" y="430"/>
                      <a:pt x="248" y="430"/>
                    </a:cubicBezTo>
                    <a:cubicBezTo>
                      <a:pt x="243" y="430"/>
                      <a:pt x="219" y="440"/>
                      <a:pt x="213" y="441"/>
                    </a:cubicBezTo>
                    <a:cubicBezTo>
                      <a:pt x="207" y="442"/>
                      <a:pt x="176" y="449"/>
                      <a:pt x="183" y="458"/>
                    </a:cubicBezTo>
                    <a:cubicBezTo>
                      <a:pt x="190" y="467"/>
                      <a:pt x="208" y="464"/>
                      <a:pt x="208" y="464"/>
                    </a:cubicBezTo>
                    <a:cubicBezTo>
                      <a:pt x="208" y="464"/>
                      <a:pt x="208" y="490"/>
                      <a:pt x="216" y="499"/>
                    </a:cubicBezTo>
                    <a:cubicBezTo>
                      <a:pt x="224" y="508"/>
                      <a:pt x="254" y="539"/>
                      <a:pt x="254" y="546"/>
                    </a:cubicBezTo>
                    <a:cubicBezTo>
                      <a:pt x="254" y="553"/>
                      <a:pt x="238" y="550"/>
                      <a:pt x="238" y="553"/>
                    </a:cubicBezTo>
                    <a:cubicBezTo>
                      <a:pt x="238" y="556"/>
                      <a:pt x="249" y="568"/>
                      <a:pt x="249" y="568"/>
                    </a:cubicBezTo>
                    <a:cubicBezTo>
                      <a:pt x="249" y="568"/>
                      <a:pt x="235" y="566"/>
                      <a:pt x="235" y="571"/>
                    </a:cubicBezTo>
                    <a:cubicBezTo>
                      <a:pt x="235" y="576"/>
                      <a:pt x="239" y="587"/>
                      <a:pt x="244" y="592"/>
                    </a:cubicBezTo>
                    <a:cubicBezTo>
                      <a:pt x="249" y="597"/>
                      <a:pt x="251" y="610"/>
                      <a:pt x="248" y="611"/>
                    </a:cubicBezTo>
                    <a:cubicBezTo>
                      <a:pt x="245" y="612"/>
                      <a:pt x="231" y="612"/>
                      <a:pt x="231" y="612"/>
                    </a:cubicBezTo>
                    <a:cubicBezTo>
                      <a:pt x="199" y="625"/>
                      <a:pt x="199" y="625"/>
                      <a:pt x="199" y="625"/>
                    </a:cubicBezTo>
                    <a:cubicBezTo>
                      <a:pt x="199" y="625"/>
                      <a:pt x="180" y="642"/>
                      <a:pt x="180" y="645"/>
                    </a:cubicBezTo>
                    <a:cubicBezTo>
                      <a:pt x="180" y="648"/>
                      <a:pt x="180" y="666"/>
                      <a:pt x="168" y="666"/>
                    </a:cubicBezTo>
                    <a:cubicBezTo>
                      <a:pt x="156" y="666"/>
                      <a:pt x="137" y="658"/>
                      <a:pt x="129" y="659"/>
                    </a:cubicBezTo>
                    <a:cubicBezTo>
                      <a:pt x="121" y="660"/>
                      <a:pt x="113" y="673"/>
                      <a:pt x="112" y="682"/>
                    </a:cubicBezTo>
                    <a:cubicBezTo>
                      <a:pt x="111" y="691"/>
                      <a:pt x="106" y="700"/>
                      <a:pt x="106" y="700"/>
                    </a:cubicBezTo>
                    <a:cubicBezTo>
                      <a:pt x="87" y="695"/>
                      <a:pt x="87" y="695"/>
                      <a:pt x="87" y="695"/>
                    </a:cubicBezTo>
                    <a:cubicBezTo>
                      <a:pt x="80" y="702"/>
                      <a:pt x="80" y="702"/>
                      <a:pt x="80" y="702"/>
                    </a:cubicBezTo>
                    <a:cubicBezTo>
                      <a:pt x="80" y="702"/>
                      <a:pt x="69" y="683"/>
                      <a:pt x="63" y="683"/>
                    </a:cubicBezTo>
                    <a:cubicBezTo>
                      <a:pt x="57" y="683"/>
                      <a:pt x="52" y="692"/>
                      <a:pt x="52" y="692"/>
                    </a:cubicBezTo>
                    <a:cubicBezTo>
                      <a:pt x="33" y="694"/>
                      <a:pt x="33" y="694"/>
                      <a:pt x="33" y="694"/>
                    </a:cubicBezTo>
                    <a:cubicBezTo>
                      <a:pt x="33" y="704"/>
                      <a:pt x="33" y="704"/>
                      <a:pt x="33" y="704"/>
                    </a:cubicBezTo>
                    <a:cubicBezTo>
                      <a:pt x="33" y="704"/>
                      <a:pt x="0" y="719"/>
                      <a:pt x="1" y="722"/>
                    </a:cubicBezTo>
                    <a:cubicBezTo>
                      <a:pt x="2" y="725"/>
                      <a:pt x="13" y="738"/>
                      <a:pt x="13" y="742"/>
                    </a:cubicBezTo>
                    <a:cubicBezTo>
                      <a:pt x="13" y="746"/>
                      <a:pt x="1" y="744"/>
                      <a:pt x="1" y="744"/>
                    </a:cubicBezTo>
                    <a:cubicBezTo>
                      <a:pt x="1" y="761"/>
                      <a:pt x="1" y="761"/>
                      <a:pt x="1" y="761"/>
                    </a:cubicBezTo>
                    <a:cubicBezTo>
                      <a:pt x="1" y="761"/>
                      <a:pt x="15" y="758"/>
                      <a:pt x="15" y="765"/>
                    </a:cubicBezTo>
                    <a:cubicBezTo>
                      <a:pt x="15" y="772"/>
                      <a:pt x="7" y="790"/>
                      <a:pt x="17" y="794"/>
                    </a:cubicBezTo>
                    <a:cubicBezTo>
                      <a:pt x="27" y="798"/>
                      <a:pt x="31" y="783"/>
                      <a:pt x="45" y="787"/>
                    </a:cubicBezTo>
                    <a:cubicBezTo>
                      <a:pt x="59" y="791"/>
                      <a:pt x="71" y="794"/>
                      <a:pt x="71" y="804"/>
                    </a:cubicBezTo>
                    <a:cubicBezTo>
                      <a:pt x="71" y="814"/>
                      <a:pt x="72" y="836"/>
                      <a:pt x="79" y="843"/>
                    </a:cubicBezTo>
                    <a:cubicBezTo>
                      <a:pt x="86" y="850"/>
                      <a:pt x="98" y="853"/>
                      <a:pt x="90" y="859"/>
                    </a:cubicBezTo>
                    <a:cubicBezTo>
                      <a:pt x="82" y="865"/>
                      <a:pt x="62" y="857"/>
                      <a:pt x="65" y="868"/>
                    </a:cubicBezTo>
                    <a:cubicBezTo>
                      <a:pt x="68" y="879"/>
                      <a:pt x="90" y="880"/>
                      <a:pt x="90" y="880"/>
                    </a:cubicBezTo>
                    <a:cubicBezTo>
                      <a:pt x="111" y="880"/>
                      <a:pt x="111" y="880"/>
                      <a:pt x="111" y="880"/>
                    </a:cubicBezTo>
                    <a:cubicBezTo>
                      <a:pt x="114" y="889"/>
                      <a:pt x="114" y="889"/>
                      <a:pt x="114" y="889"/>
                    </a:cubicBezTo>
                    <a:cubicBezTo>
                      <a:pt x="114" y="889"/>
                      <a:pt x="129" y="890"/>
                      <a:pt x="138" y="900"/>
                    </a:cubicBezTo>
                    <a:cubicBezTo>
                      <a:pt x="147" y="910"/>
                      <a:pt x="148" y="931"/>
                      <a:pt x="148" y="931"/>
                    </a:cubicBezTo>
                    <a:cubicBezTo>
                      <a:pt x="169" y="939"/>
                      <a:pt x="169" y="939"/>
                      <a:pt x="169" y="939"/>
                    </a:cubicBezTo>
                    <a:cubicBezTo>
                      <a:pt x="177" y="935"/>
                      <a:pt x="177" y="935"/>
                      <a:pt x="177" y="935"/>
                    </a:cubicBezTo>
                    <a:cubicBezTo>
                      <a:pt x="177" y="935"/>
                      <a:pt x="182" y="955"/>
                      <a:pt x="201" y="956"/>
                    </a:cubicBezTo>
                    <a:cubicBezTo>
                      <a:pt x="220" y="957"/>
                      <a:pt x="246" y="957"/>
                      <a:pt x="246" y="957"/>
                    </a:cubicBezTo>
                    <a:cubicBezTo>
                      <a:pt x="246" y="957"/>
                      <a:pt x="277" y="928"/>
                      <a:pt x="294" y="934"/>
                    </a:cubicBezTo>
                    <a:cubicBezTo>
                      <a:pt x="311" y="940"/>
                      <a:pt x="313" y="954"/>
                      <a:pt x="324" y="956"/>
                    </a:cubicBezTo>
                    <a:cubicBezTo>
                      <a:pt x="335" y="958"/>
                      <a:pt x="349" y="956"/>
                      <a:pt x="349" y="956"/>
                    </a:cubicBezTo>
                    <a:cubicBezTo>
                      <a:pt x="349" y="956"/>
                      <a:pt x="353" y="992"/>
                      <a:pt x="349" y="997"/>
                    </a:cubicBezTo>
                    <a:cubicBezTo>
                      <a:pt x="345" y="1002"/>
                      <a:pt x="336" y="1002"/>
                      <a:pt x="336" y="1002"/>
                    </a:cubicBezTo>
                    <a:cubicBezTo>
                      <a:pt x="336" y="1002"/>
                      <a:pt x="342" y="1026"/>
                      <a:pt x="333" y="1031"/>
                    </a:cubicBezTo>
                    <a:cubicBezTo>
                      <a:pt x="324" y="1036"/>
                      <a:pt x="305" y="1035"/>
                      <a:pt x="305" y="1035"/>
                    </a:cubicBezTo>
                    <a:cubicBezTo>
                      <a:pt x="317" y="1051"/>
                      <a:pt x="317" y="1051"/>
                      <a:pt x="317" y="1051"/>
                    </a:cubicBezTo>
                    <a:cubicBezTo>
                      <a:pt x="306" y="1057"/>
                      <a:pt x="306" y="1057"/>
                      <a:pt x="306" y="1057"/>
                    </a:cubicBezTo>
                    <a:cubicBezTo>
                      <a:pt x="306" y="1057"/>
                      <a:pt x="300" y="1068"/>
                      <a:pt x="315" y="1075"/>
                    </a:cubicBezTo>
                    <a:cubicBezTo>
                      <a:pt x="330" y="1082"/>
                      <a:pt x="335" y="1085"/>
                      <a:pt x="335" y="1085"/>
                    </a:cubicBezTo>
                    <a:cubicBezTo>
                      <a:pt x="340" y="1094"/>
                      <a:pt x="340" y="1094"/>
                      <a:pt x="340" y="1094"/>
                    </a:cubicBezTo>
                    <a:cubicBezTo>
                      <a:pt x="340" y="1094"/>
                      <a:pt x="359" y="1109"/>
                      <a:pt x="351" y="1114"/>
                    </a:cubicBezTo>
                    <a:cubicBezTo>
                      <a:pt x="343" y="1119"/>
                      <a:pt x="334" y="1122"/>
                      <a:pt x="334" y="1122"/>
                    </a:cubicBezTo>
                    <a:cubicBezTo>
                      <a:pt x="328" y="1131"/>
                      <a:pt x="328" y="1131"/>
                      <a:pt x="328" y="1131"/>
                    </a:cubicBezTo>
                    <a:cubicBezTo>
                      <a:pt x="318" y="1123"/>
                      <a:pt x="318" y="1123"/>
                      <a:pt x="318" y="1123"/>
                    </a:cubicBezTo>
                    <a:cubicBezTo>
                      <a:pt x="318" y="1123"/>
                      <a:pt x="320" y="1113"/>
                      <a:pt x="316" y="1113"/>
                    </a:cubicBezTo>
                    <a:cubicBezTo>
                      <a:pt x="312" y="1113"/>
                      <a:pt x="299" y="1118"/>
                      <a:pt x="301" y="1128"/>
                    </a:cubicBezTo>
                    <a:cubicBezTo>
                      <a:pt x="303" y="1138"/>
                      <a:pt x="323" y="1149"/>
                      <a:pt x="323" y="1149"/>
                    </a:cubicBezTo>
                    <a:cubicBezTo>
                      <a:pt x="323" y="1149"/>
                      <a:pt x="316" y="1174"/>
                      <a:pt x="323" y="1177"/>
                    </a:cubicBezTo>
                    <a:cubicBezTo>
                      <a:pt x="330" y="1180"/>
                      <a:pt x="341" y="1175"/>
                      <a:pt x="341" y="1175"/>
                    </a:cubicBezTo>
                    <a:cubicBezTo>
                      <a:pt x="341" y="1175"/>
                      <a:pt x="345" y="1190"/>
                      <a:pt x="356" y="1194"/>
                    </a:cubicBezTo>
                    <a:cubicBezTo>
                      <a:pt x="367" y="1198"/>
                      <a:pt x="377" y="1200"/>
                      <a:pt x="377" y="1200"/>
                    </a:cubicBezTo>
                    <a:cubicBezTo>
                      <a:pt x="392" y="1211"/>
                      <a:pt x="392" y="1211"/>
                      <a:pt x="392" y="1211"/>
                    </a:cubicBezTo>
                    <a:cubicBezTo>
                      <a:pt x="403" y="1210"/>
                      <a:pt x="403" y="1210"/>
                      <a:pt x="403" y="1210"/>
                    </a:cubicBezTo>
                    <a:cubicBezTo>
                      <a:pt x="403" y="1210"/>
                      <a:pt x="397" y="1218"/>
                      <a:pt x="403" y="1221"/>
                    </a:cubicBezTo>
                    <a:cubicBezTo>
                      <a:pt x="409" y="1224"/>
                      <a:pt x="420" y="1224"/>
                      <a:pt x="420" y="1224"/>
                    </a:cubicBezTo>
                    <a:cubicBezTo>
                      <a:pt x="447" y="1249"/>
                      <a:pt x="447" y="1249"/>
                      <a:pt x="447" y="1249"/>
                    </a:cubicBezTo>
                    <a:cubicBezTo>
                      <a:pt x="462" y="1236"/>
                      <a:pt x="462" y="1236"/>
                      <a:pt x="462" y="1236"/>
                    </a:cubicBezTo>
                    <a:cubicBezTo>
                      <a:pt x="462" y="1236"/>
                      <a:pt x="475" y="1219"/>
                      <a:pt x="489" y="1234"/>
                    </a:cubicBezTo>
                    <a:cubicBezTo>
                      <a:pt x="503" y="1249"/>
                      <a:pt x="521" y="1263"/>
                      <a:pt x="521" y="1263"/>
                    </a:cubicBezTo>
                    <a:cubicBezTo>
                      <a:pt x="552" y="1269"/>
                      <a:pt x="552" y="1269"/>
                      <a:pt x="552" y="1269"/>
                    </a:cubicBezTo>
                    <a:cubicBezTo>
                      <a:pt x="552" y="1269"/>
                      <a:pt x="567" y="1301"/>
                      <a:pt x="571" y="1302"/>
                    </a:cubicBezTo>
                    <a:cubicBezTo>
                      <a:pt x="575" y="1303"/>
                      <a:pt x="579" y="1278"/>
                      <a:pt x="590" y="1285"/>
                    </a:cubicBezTo>
                    <a:cubicBezTo>
                      <a:pt x="601" y="1292"/>
                      <a:pt x="596" y="1308"/>
                      <a:pt x="604" y="1314"/>
                    </a:cubicBezTo>
                    <a:cubicBezTo>
                      <a:pt x="612" y="1320"/>
                      <a:pt x="626" y="1332"/>
                      <a:pt x="626" y="1332"/>
                    </a:cubicBezTo>
                    <a:cubicBezTo>
                      <a:pt x="626" y="1332"/>
                      <a:pt x="641" y="1321"/>
                      <a:pt x="646" y="1328"/>
                    </a:cubicBezTo>
                    <a:cubicBezTo>
                      <a:pt x="651" y="1335"/>
                      <a:pt x="634" y="1338"/>
                      <a:pt x="650" y="1345"/>
                    </a:cubicBezTo>
                    <a:cubicBezTo>
                      <a:pt x="666" y="1352"/>
                      <a:pt x="678" y="1343"/>
                      <a:pt x="678" y="1343"/>
                    </a:cubicBezTo>
                    <a:cubicBezTo>
                      <a:pt x="678" y="1343"/>
                      <a:pt x="678" y="1361"/>
                      <a:pt x="687" y="1362"/>
                    </a:cubicBezTo>
                    <a:cubicBezTo>
                      <a:pt x="696" y="1363"/>
                      <a:pt x="698" y="1349"/>
                      <a:pt x="698" y="1349"/>
                    </a:cubicBezTo>
                    <a:cubicBezTo>
                      <a:pt x="698" y="1349"/>
                      <a:pt x="697" y="1363"/>
                      <a:pt x="707" y="1362"/>
                    </a:cubicBezTo>
                    <a:cubicBezTo>
                      <a:pt x="717" y="1361"/>
                      <a:pt x="719" y="1353"/>
                      <a:pt x="719" y="1353"/>
                    </a:cubicBezTo>
                    <a:cubicBezTo>
                      <a:pt x="719" y="1353"/>
                      <a:pt x="752" y="1373"/>
                      <a:pt x="766" y="1372"/>
                    </a:cubicBezTo>
                    <a:cubicBezTo>
                      <a:pt x="780" y="1371"/>
                      <a:pt x="806" y="1346"/>
                      <a:pt x="817" y="1355"/>
                    </a:cubicBezTo>
                    <a:cubicBezTo>
                      <a:pt x="828" y="1364"/>
                      <a:pt x="817" y="1392"/>
                      <a:pt x="822" y="1394"/>
                    </a:cubicBezTo>
                    <a:cubicBezTo>
                      <a:pt x="827" y="1396"/>
                      <a:pt x="832" y="1395"/>
                      <a:pt x="832" y="1395"/>
                    </a:cubicBezTo>
                    <a:cubicBezTo>
                      <a:pt x="832" y="1395"/>
                      <a:pt x="856" y="1339"/>
                      <a:pt x="870" y="1344"/>
                    </a:cubicBezTo>
                    <a:cubicBezTo>
                      <a:pt x="884" y="1349"/>
                      <a:pt x="894" y="1350"/>
                      <a:pt x="894" y="1350"/>
                    </a:cubicBezTo>
                    <a:cubicBezTo>
                      <a:pt x="894" y="1364"/>
                      <a:pt x="894" y="1364"/>
                      <a:pt x="894" y="1364"/>
                    </a:cubicBezTo>
                    <a:cubicBezTo>
                      <a:pt x="894" y="1364"/>
                      <a:pt x="930" y="1346"/>
                      <a:pt x="943" y="1357"/>
                    </a:cubicBezTo>
                    <a:cubicBezTo>
                      <a:pt x="956" y="1368"/>
                      <a:pt x="956" y="1378"/>
                      <a:pt x="956" y="1378"/>
                    </a:cubicBezTo>
                    <a:cubicBezTo>
                      <a:pt x="956" y="1378"/>
                      <a:pt x="987" y="1380"/>
                      <a:pt x="995" y="1373"/>
                    </a:cubicBezTo>
                    <a:cubicBezTo>
                      <a:pt x="1003" y="1366"/>
                      <a:pt x="995" y="1350"/>
                      <a:pt x="995" y="1350"/>
                    </a:cubicBezTo>
                    <a:cubicBezTo>
                      <a:pt x="995" y="1350"/>
                      <a:pt x="1016" y="1348"/>
                      <a:pt x="1018" y="1343"/>
                    </a:cubicBezTo>
                    <a:cubicBezTo>
                      <a:pt x="1020" y="1338"/>
                      <a:pt x="1013" y="1322"/>
                      <a:pt x="1013" y="1322"/>
                    </a:cubicBezTo>
                    <a:cubicBezTo>
                      <a:pt x="1013" y="1322"/>
                      <a:pt x="1037" y="1326"/>
                      <a:pt x="1044" y="1318"/>
                    </a:cubicBezTo>
                    <a:cubicBezTo>
                      <a:pt x="1051" y="1310"/>
                      <a:pt x="1068" y="1291"/>
                      <a:pt x="1076" y="1291"/>
                    </a:cubicBezTo>
                    <a:cubicBezTo>
                      <a:pt x="1084" y="1291"/>
                      <a:pt x="1098" y="1305"/>
                      <a:pt x="1109" y="1305"/>
                    </a:cubicBezTo>
                    <a:cubicBezTo>
                      <a:pt x="1120" y="1305"/>
                      <a:pt x="1112" y="1274"/>
                      <a:pt x="1130" y="1283"/>
                    </a:cubicBezTo>
                    <a:cubicBezTo>
                      <a:pt x="1148" y="1292"/>
                      <a:pt x="1149" y="1297"/>
                      <a:pt x="1149" y="1297"/>
                    </a:cubicBezTo>
                    <a:cubicBezTo>
                      <a:pt x="1149" y="1297"/>
                      <a:pt x="1133" y="1305"/>
                      <a:pt x="1142" y="1307"/>
                    </a:cubicBezTo>
                    <a:cubicBezTo>
                      <a:pt x="1151" y="1309"/>
                      <a:pt x="1162" y="1308"/>
                      <a:pt x="1162" y="1308"/>
                    </a:cubicBezTo>
                    <a:cubicBezTo>
                      <a:pt x="1173" y="1328"/>
                      <a:pt x="1173" y="1328"/>
                      <a:pt x="1173" y="1328"/>
                    </a:cubicBezTo>
                    <a:cubicBezTo>
                      <a:pt x="1173" y="1328"/>
                      <a:pt x="1153" y="1337"/>
                      <a:pt x="1161" y="1339"/>
                    </a:cubicBezTo>
                    <a:cubicBezTo>
                      <a:pt x="1169" y="1341"/>
                      <a:pt x="1184" y="1341"/>
                      <a:pt x="1191" y="1341"/>
                    </a:cubicBezTo>
                    <a:cubicBezTo>
                      <a:pt x="1198" y="1341"/>
                      <a:pt x="1213" y="1345"/>
                      <a:pt x="1213" y="1345"/>
                    </a:cubicBezTo>
                    <a:cubicBezTo>
                      <a:pt x="1217" y="1332"/>
                      <a:pt x="1217" y="1332"/>
                      <a:pt x="1217" y="1332"/>
                    </a:cubicBezTo>
                    <a:cubicBezTo>
                      <a:pt x="1217" y="1332"/>
                      <a:pt x="1231" y="1339"/>
                      <a:pt x="1239" y="1347"/>
                    </a:cubicBezTo>
                    <a:cubicBezTo>
                      <a:pt x="1247" y="1355"/>
                      <a:pt x="1256" y="1382"/>
                      <a:pt x="1256" y="1382"/>
                    </a:cubicBezTo>
                    <a:cubicBezTo>
                      <a:pt x="1256" y="1382"/>
                      <a:pt x="1271" y="1380"/>
                      <a:pt x="1278" y="1382"/>
                    </a:cubicBezTo>
                    <a:cubicBezTo>
                      <a:pt x="1285" y="1384"/>
                      <a:pt x="1283" y="1406"/>
                      <a:pt x="1283" y="1406"/>
                    </a:cubicBezTo>
                    <a:cubicBezTo>
                      <a:pt x="1291" y="1422"/>
                      <a:pt x="1291" y="1422"/>
                      <a:pt x="1291" y="1422"/>
                    </a:cubicBezTo>
                    <a:cubicBezTo>
                      <a:pt x="1298" y="1459"/>
                      <a:pt x="1298" y="1459"/>
                      <a:pt x="1298" y="1459"/>
                    </a:cubicBezTo>
                    <a:cubicBezTo>
                      <a:pt x="1298" y="1459"/>
                      <a:pt x="1288" y="1465"/>
                      <a:pt x="1281" y="1465"/>
                    </a:cubicBezTo>
                    <a:cubicBezTo>
                      <a:pt x="1274" y="1465"/>
                      <a:pt x="1290" y="1476"/>
                      <a:pt x="1290" y="1476"/>
                    </a:cubicBezTo>
                    <a:cubicBezTo>
                      <a:pt x="1290" y="1476"/>
                      <a:pt x="1289" y="1482"/>
                      <a:pt x="1286" y="1489"/>
                    </a:cubicBezTo>
                    <a:cubicBezTo>
                      <a:pt x="1283" y="1496"/>
                      <a:pt x="1271" y="1488"/>
                      <a:pt x="1271" y="1488"/>
                    </a:cubicBezTo>
                    <a:cubicBezTo>
                      <a:pt x="1271" y="1488"/>
                      <a:pt x="1272" y="1497"/>
                      <a:pt x="1271" y="1508"/>
                    </a:cubicBezTo>
                    <a:cubicBezTo>
                      <a:pt x="1270" y="1519"/>
                      <a:pt x="1259" y="1515"/>
                      <a:pt x="1259" y="1515"/>
                    </a:cubicBezTo>
                    <a:cubicBezTo>
                      <a:pt x="1261" y="1535"/>
                      <a:pt x="1261" y="1535"/>
                      <a:pt x="1261" y="1535"/>
                    </a:cubicBezTo>
                    <a:cubicBezTo>
                      <a:pt x="1254" y="1538"/>
                      <a:pt x="1254" y="1538"/>
                      <a:pt x="1254" y="1538"/>
                    </a:cubicBezTo>
                    <a:cubicBezTo>
                      <a:pt x="1254" y="1538"/>
                      <a:pt x="1255" y="1547"/>
                      <a:pt x="1260" y="1552"/>
                    </a:cubicBezTo>
                    <a:cubicBezTo>
                      <a:pt x="1265" y="1557"/>
                      <a:pt x="1270" y="1567"/>
                      <a:pt x="1270" y="1567"/>
                    </a:cubicBezTo>
                    <a:cubicBezTo>
                      <a:pt x="1264" y="1581"/>
                      <a:pt x="1264" y="1581"/>
                      <a:pt x="1264" y="1581"/>
                    </a:cubicBezTo>
                    <a:cubicBezTo>
                      <a:pt x="1264" y="1581"/>
                      <a:pt x="1280" y="1571"/>
                      <a:pt x="1288" y="1570"/>
                    </a:cubicBezTo>
                    <a:cubicBezTo>
                      <a:pt x="1296" y="1569"/>
                      <a:pt x="1325" y="1569"/>
                      <a:pt x="1325" y="1569"/>
                    </a:cubicBezTo>
                    <a:cubicBezTo>
                      <a:pt x="1308" y="1584"/>
                      <a:pt x="1308" y="1584"/>
                      <a:pt x="1308" y="1584"/>
                    </a:cubicBezTo>
                    <a:cubicBezTo>
                      <a:pt x="1324" y="1597"/>
                      <a:pt x="1324" y="1597"/>
                      <a:pt x="1324" y="1597"/>
                    </a:cubicBezTo>
                    <a:cubicBezTo>
                      <a:pt x="1329" y="1624"/>
                      <a:pt x="1329" y="1624"/>
                      <a:pt x="1329" y="1624"/>
                    </a:cubicBezTo>
                    <a:cubicBezTo>
                      <a:pt x="1329" y="1624"/>
                      <a:pt x="1357" y="1625"/>
                      <a:pt x="1364" y="1631"/>
                    </a:cubicBezTo>
                    <a:cubicBezTo>
                      <a:pt x="1371" y="1637"/>
                      <a:pt x="1348" y="1646"/>
                      <a:pt x="1348" y="1646"/>
                    </a:cubicBezTo>
                    <a:cubicBezTo>
                      <a:pt x="1348" y="1646"/>
                      <a:pt x="1357" y="1658"/>
                      <a:pt x="1354" y="1661"/>
                    </a:cubicBezTo>
                    <a:cubicBezTo>
                      <a:pt x="1351" y="1664"/>
                      <a:pt x="1345" y="1678"/>
                      <a:pt x="1345" y="1678"/>
                    </a:cubicBezTo>
                    <a:cubicBezTo>
                      <a:pt x="1384" y="1682"/>
                      <a:pt x="1384" y="1682"/>
                      <a:pt x="1384" y="1682"/>
                    </a:cubicBezTo>
                    <a:cubicBezTo>
                      <a:pt x="1389" y="1702"/>
                      <a:pt x="1389" y="1702"/>
                      <a:pt x="1389" y="1702"/>
                    </a:cubicBezTo>
                    <a:cubicBezTo>
                      <a:pt x="1400" y="1701"/>
                      <a:pt x="1400" y="1701"/>
                      <a:pt x="1400" y="1701"/>
                    </a:cubicBezTo>
                    <a:cubicBezTo>
                      <a:pt x="1400" y="1701"/>
                      <a:pt x="1400" y="1713"/>
                      <a:pt x="1403" y="1713"/>
                    </a:cubicBezTo>
                    <a:cubicBezTo>
                      <a:pt x="1406" y="1713"/>
                      <a:pt x="1425" y="1712"/>
                      <a:pt x="1425" y="1712"/>
                    </a:cubicBezTo>
                    <a:cubicBezTo>
                      <a:pt x="1425" y="1712"/>
                      <a:pt x="1434" y="1694"/>
                      <a:pt x="1444" y="1695"/>
                    </a:cubicBezTo>
                    <a:cubicBezTo>
                      <a:pt x="1454" y="1696"/>
                      <a:pt x="1449" y="1714"/>
                      <a:pt x="1449" y="1714"/>
                    </a:cubicBezTo>
                    <a:cubicBezTo>
                      <a:pt x="1451" y="1727"/>
                      <a:pt x="1451" y="1727"/>
                      <a:pt x="1451" y="1727"/>
                    </a:cubicBezTo>
                    <a:cubicBezTo>
                      <a:pt x="1480" y="1729"/>
                      <a:pt x="1480" y="1729"/>
                      <a:pt x="1480" y="1729"/>
                    </a:cubicBezTo>
                    <a:cubicBezTo>
                      <a:pt x="1480" y="1704"/>
                      <a:pt x="1480" y="1704"/>
                      <a:pt x="1480" y="1704"/>
                    </a:cubicBezTo>
                    <a:cubicBezTo>
                      <a:pt x="1480" y="1704"/>
                      <a:pt x="1462" y="1692"/>
                      <a:pt x="1461" y="1679"/>
                    </a:cubicBezTo>
                    <a:cubicBezTo>
                      <a:pt x="1460" y="1666"/>
                      <a:pt x="1468" y="1657"/>
                      <a:pt x="1468" y="1657"/>
                    </a:cubicBezTo>
                    <a:cubicBezTo>
                      <a:pt x="1492" y="1659"/>
                      <a:pt x="1492" y="1659"/>
                      <a:pt x="1492" y="1659"/>
                    </a:cubicBezTo>
                    <a:cubicBezTo>
                      <a:pt x="1492" y="1653"/>
                      <a:pt x="1493" y="1646"/>
                      <a:pt x="1495" y="1642"/>
                    </a:cubicBezTo>
                    <a:cubicBezTo>
                      <a:pt x="1499" y="1634"/>
                      <a:pt x="1518" y="1657"/>
                      <a:pt x="1524" y="1657"/>
                    </a:cubicBezTo>
                    <a:cubicBezTo>
                      <a:pt x="1530" y="1657"/>
                      <a:pt x="1539" y="1641"/>
                      <a:pt x="1539" y="1641"/>
                    </a:cubicBezTo>
                    <a:cubicBezTo>
                      <a:pt x="1550" y="1653"/>
                      <a:pt x="1550" y="1653"/>
                      <a:pt x="1550" y="1653"/>
                    </a:cubicBezTo>
                    <a:cubicBezTo>
                      <a:pt x="1549" y="1640"/>
                      <a:pt x="1549" y="1640"/>
                      <a:pt x="1549" y="1640"/>
                    </a:cubicBezTo>
                    <a:cubicBezTo>
                      <a:pt x="1554" y="1639"/>
                      <a:pt x="1554" y="1639"/>
                      <a:pt x="1554" y="1639"/>
                    </a:cubicBezTo>
                    <a:cubicBezTo>
                      <a:pt x="1563" y="1652"/>
                      <a:pt x="1563" y="1652"/>
                      <a:pt x="1563" y="1652"/>
                    </a:cubicBezTo>
                    <a:cubicBezTo>
                      <a:pt x="1563" y="1652"/>
                      <a:pt x="1562" y="1657"/>
                      <a:pt x="1575" y="1656"/>
                    </a:cubicBezTo>
                    <a:cubicBezTo>
                      <a:pt x="1588" y="1655"/>
                      <a:pt x="1571" y="1639"/>
                      <a:pt x="1571" y="1639"/>
                    </a:cubicBezTo>
                    <a:cubicBezTo>
                      <a:pt x="1582" y="1639"/>
                      <a:pt x="1582" y="1639"/>
                      <a:pt x="1582" y="1639"/>
                    </a:cubicBezTo>
                    <a:cubicBezTo>
                      <a:pt x="1586" y="1646"/>
                      <a:pt x="1586" y="1646"/>
                      <a:pt x="1586" y="1646"/>
                    </a:cubicBezTo>
                    <a:cubicBezTo>
                      <a:pt x="1586" y="1646"/>
                      <a:pt x="1594" y="1642"/>
                      <a:pt x="1601" y="1640"/>
                    </a:cubicBezTo>
                    <a:cubicBezTo>
                      <a:pt x="1608" y="1638"/>
                      <a:pt x="1602" y="1624"/>
                      <a:pt x="1606" y="1619"/>
                    </a:cubicBezTo>
                    <a:cubicBezTo>
                      <a:pt x="1610" y="1614"/>
                      <a:pt x="1625" y="1610"/>
                      <a:pt x="1625" y="1610"/>
                    </a:cubicBezTo>
                    <a:cubicBezTo>
                      <a:pt x="1647" y="1632"/>
                      <a:pt x="1647" y="1632"/>
                      <a:pt x="1647" y="1632"/>
                    </a:cubicBezTo>
                    <a:cubicBezTo>
                      <a:pt x="1668" y="1627"/>
                      <a:pt x="1668" y="1627"/>
                      <a:pt x="1668" y="1627"/>
                    </a:cubicBezTo>
                    <a:cubicBezTo>
                      <a:pt x="1673" y="1635"/>
                      <a:pt x="1673" y="1635"/>
                      <a:pt x="1673" y="1635"/>
                    </a:cubicBezTo>
                    <a:cubicBezTo>
                      <a:pt x="1673" y="1635"/>
                      <a:pt x="1693" y="1634"/>
                      <a:pt x="1698" y="1642"/>
                    </a:cubicBezTo>
                    <a:cubicBezTo>
                      <a:pt x="1703" y="1650"/>
                      <a:pt x="1687" y="1657"/>
                      <a:pt x="1687" y="1657"/>
                    </a:cubicBezTo>
                    <a:cubicBezTo>
                      <a:pt x="1691" y="1667"/>
                      <a:pt x="1691" y="1667"/>
                      <a:pt x="1691" y="1667"/>
                    </a:cubicBezTo>
                    <a:cubicBezTo>
                      <a:pt x="1698" y="1671"/>
                      <a:pt x="1698" y="1671"/>
                      <a:pt x="1698" y="1671"/>
                    </a:cubicBezTo>
                    <a:cubicBezTo>
                      <a:pt x="1698" y="1684"/>
                      <a:pt x="1698" y="1684"/>
                      <a:pt x="1698" y="1684"/>
                    </a:cubicBezTo>
                    <a:cubicBezTo>
                      <a:pt x="1709" y="1685"/>
                      <a:pt x="1709" y="1685"/>
                      <a:pt x="1709" y="1685"/>
                    </a:cubicBezTo>
                    <a:cubicBezTo>
                      <a:pt x="1709" y="1685"/>
                      <a:pt x="1713" y="1690"/>
                      <a:pt x="1720" y="1697"/>
                    </a:cubicBezTo>
                    <a:cubicBezTo>
                      <a:pt x="1727" y="1704"/>
                      <a:pt x="1740" y="1701"/>
                      <a:pt x="1748" y="1702"/>
                    </a:cubicBezTo>
                    <a:cubicBezTo>
                      <a:pt x="1752" y="1702"/>
                      <a:pt x="1755" y="1704"/>
                      <a:pt x="1757" y="1705"/>
                    </a:cubicBezTo>
                    <a:cubicBezTo>
                      <a:pt x="1786" y="1686"/>
                      <a:pt x="1786" y="1686"/>
                      <a:pt x="1786" y="1686"/>
                    </a:cubicBezTo>
                    <a:cubicBezTo>
                      <a:pt x="1798" y="1694"/>
                      <a:pt x="1798" y="1694"/>
                      <a:pt x="1798" y="1694"/>
                    </a:cubicBezTo>
                    <a:cubicBezTo>
                      <a:pt x="1798" y="1694"/>
                      <a:pt x="1843" y="1694"/>
                      <a:pt x="1849" y="1705"/>
                    </a:cubicBezTo>
                    <a:cubicBezTo>
                      <a:pt x="1854" y="1717"/>
                      <a:pt x="1839" y="1739"/>
                      <a:pt x="1846" y="1750"/>
                    </a:cubicBezTo>
                    <a:cubicBezTo>
                      <a:pt x="1854" y="1761"/>
                      <a:pt x="1875" y="1776"/>
                      <a:pt x="1875" y="1776"/>
                    </a:cubicBezTo>
                    <a:cubicBezTo>
                      <a:pt x="1889" y="1774"/>
                      <a:pt x="1889" y="1774"/>
                      <a:pt x="1889" y="1774"/>
                    </a:cubicBezTo>
                    <a:cubicBezTo>
                      <a:pt x="1889" y="1762"/>
                      <a:pt x="1889" y="1762"/>
                      <a:pt x="1889" y="1762"/>
                    </a:cubicBezTo>
                    <a:cubicBezTo>
                      <a:pt x="1889" y="1762"/>
                      <a:pt x="1880" y="1730"/>
                      <a:pt x="1892" y="1713"/>
                    </a:cubicBezTo>
                    <a:cubicBezTo>
                      <a:pt x="1904" y="1697"/>
                      <a:pt x="1931" y="1699"/>
                      <a:pt x="1945" y="1696"/>
                    </a:cubicBezTo>
                    <a:cubicBezTo>
                      <a:pt x="1958" y="1693"/>
                      <a:pt x="2001" y="1684"/>
                      <a:pt x="2001" y="1674"/>
                    </a:cubicBezTo>
                    <a:cubicBezTo>
                      <a:pt x="2002" y="1664"/>
                      <a:pt x="2002" y="1634"/>
                      <a:pt x="2011" y="1632"/>
                    </a:cubicBezTo>
                    <a:cubicBezTo>
                      <a:pt x="2020" y="1630"/>
                      <a:pt x="2027" y="1664"/>
                      <a:pt x="2036" y="1660"/>
                    </a:cubicBezTo>
                    <a:cubicBezTo>
                      <a:pt x="2046" y="1657"/>
                      <a:pt x="2066" y="1626"/>
                      <a:pt x="2066" y="1626"/>
                    </a:cubicBezTo>
                    <a:cubicBezTo>
                      <a:pt x="2077" y="1636"/>
                      <a:pt x="2077" y="1636"/>
                      <a:pt x="2077" y="1636"/>
                    </a:cubicBezTo>
                    <a:cubicBezTo>
                      <a:pt x="2099" y="1629"/>
                      <a:pt x="2099" y="1629"/>
                      <a:pt x="2099" y="1629"/>
                    </a:cubicBezTo>
                    <a:cubicBezTo>
                      <a:pt x="2099" y="1629"/>
                      <a:pt x="2124" y="1636"/>
                      <a:pt x="2136" y="1629"/>
                    </a:cubicBezTo>
                    <a:cubicBezTo>
                      <a:pt x="2149" y="1622"/>
                      <a:pt x="2154" y="1619"/>
                      <a:pt x="2161" y="1614"/>
                    </a:cubicBezTo>
                    <a:cubicBezTo>
                      <a:pt x="2167" y="1609"/>
                      <a:pt x="2196" y="1584"/>
                      <a:pt x="2201" y="1574"/>
                    </a:cubicBezTo>
                    <a:cubicBezTo>
                      <a:pt x="2205" y="1564"/>
                      <a:pt x="2192" y="1544"/>
                      <a:pt x="2192" y="1544"/>
                    </a:cubicBezTo>
                    <a:cubicBezTo>
                      <a:pt x="2205" y="1544"/>
                      <a:pt x="2205" y="1544"/>
                      <a:pt x="2205" y="1544"/>
                    </a:cubicBezTo>
                    <a:cubicBezTo>
                      <a:pt x="2211" y="1524"/>
                      <a:pt x="2211" y="1524"/>
                      <a:pt x="2211" y="1524"/>
                    </a:cubicBezTo>
                    <a:cubicBezTo>
                      <a:pt x="2226" y="1525"/>
                      <a:pt x="2226" y="1525"/>
                      <a:pt x="2226" y="1525"/>
                    </a:cubicBezTo>
                    <a:cubicBezTo>
                      <a:pt x="2233" y="1500"/>
                      <a:pt x="2233" y="1500"/>
                      <a:pt x="2233" y="1500"/>
                    </a:cubicBezTo>
                    <a:cubicBezTo>
                      <a:pt x="2241" y="1500"/>
                      <a:pt x="2241" y="1500"/>
                      <a:pt x="2241" y="1500"/>
                    </a:cubicBezTo>
                    <a:cubicBezTo>
                      <a:pt x="2245" y="1473"/>
                      <a:pt x="2245" y="1473"/>
                      <a:pt x="2245" y="1473"/>
                    </a:cubicBezTo>
                    <a:cubicBezTo>
                      <a:pt x="2245" y="1473"/>
                      <a:pt x="2259" y="1478"/>
                      <a:pt x="2259" y="1456"/>
                    </a:cubicBezTo>
                    <a:cubicBezTo>
                      <a:pt x="2259" y="1434"/>
                      <a:pt x="2246" y="1437"/>
                      <a:pt x="2251" y="1429"/>
                    </a:cubicBezTo>
                    <a:cubicBezTo>
                      <a:pt x="2255" y="1420"/>
                      <a:pt x="2274" y="1423"/>
                      <a:pt x="2274" y="1405"/>
                    </a:cubicBezTo>
                    <a:cubicBezTo>
                      <a:pt x="2275" y="1388"/>
                      <a:pt x="2263" y="1388"/>
                      <a:pt x="2264" y="1381"/>
                    </a:cubicBezTo>
                    <a:cubicBezTo>
                      <a:pt x="2264" y="1373"/>
                      <a:pt x="2275" y="1370"/>
                      <a:pt x="2275" y="1370"/>
                    </a:cubicBezTo>
                    <a:cubicBezTo>
                      <a:pt x="2276" y="1344"/>
                      <a:pt x="2276" y="1344"/>
                      <a:pt x="2276" y="1344"/>
                    </a:cubicBezTo>
                    <a:cubicBezTo>
                      <a:pt x="2276" y="1344"/>
                      <a:pt x="2303" y="1336"/>
                      <a:pt x="2310" y="1320"/>
                    </a:cubicBezTo>
                    <a:cubicBezTo>
                      <a:pt x="2317" y="1304"/>
                      <a:pt x="2300" y="1303"/>
                      <a:pt x="2300" y="1303"/>
                    </a:cubicBezTo>
                    <a:cubicBezTo>
                      <a:pt x="2300" y="1303"/>
                      <a:pt x="2332" y="1298"/>
                      <a:pt x="2332" y="1289"/>
                    </a:cubicBezTo>
                    <a:cubicBezTo>
                      <a:pt x="2333" y="1280"/>
                      <a:pt x="2314" y="1275"/>
                      <a:pt x="2314" y="1275"/>
                    </a:cubicBezTo>
                    <a:cubicBezTo>
                      <a:pt x="2314" y="1275"/>
                      <a:pt x="2352" y="1241"/>
                      <a:pt x="2335" y="1231"/>
                    </a:cubicBezTo>
                    <a:cubicBezTo>
                      <a:pt x="2318" y="1222"/>
                      <a:pt x="2238" y="1244"/>
                      <a:pt x="2238" y="1244"/>
                    </a:cubicBezTo>
                    <a:cubicBezTo>
                      <a:pt x="2228" y="1233"/>
                      <a:pt x="2228" y="1233"/>
                      <a:pt x="2228" y="1233"/>
                    </a:cubicBezTo>
                    <a:cubicBezTo>
                      <a:pt x="2253" y="1232"/>
                      <a:pt x="2253" y="1232"/>
                      <a:pt x="2253" y="1232"/>
                    </a:cubicBezTo>
                    <a:cubicBezTo>
                      <a:pt x="2253" y="1232"/>
                      <a:pt x="2253" y="1217"/>
                      <a:pt x="2263" y="1213"/>
                    </a:cubicBezTo>
                    <a:cubicBezTo>
                      <a:pt x="2273" y="1209"/>
                      <a:pt x="2292" y="1207"/>
                      <a:pt x="2292" y="1207"/>
                    </a:cubicBezTo>
                    <a:cubicBezTo>
                      <a:pt x="2292" y="1207"/>
                      <a:pt x="2279" y="1183"/>
                      <a:pt x="2275" y="1182"/>
                    </a:cubicBezTo>
                    <a:cubicBezTo>
                      <a:pt x="2271" y="1181"/>
                      <a:pt x="2248" y="1175"/>
                      <a:pt x="2248" y="1175"/>
                    </a:cubicBezTo>
                    <a:cubicBezTo>
                      <a:pt x="2240" y="1164"/>
                      <a:pt x="2240" y="1164"/>
                      <a:pt x="2240" y="1164"/>
                    </a:cubicBezTo>
                    <a:cubicBezTo>
                      <a:pt x="2231" y="1165"/>
                      <a:pt x="2231" y="1165"/>
                      <a:pt x="2231" y="1165"/>
                    </a:cubicBezTo>
                    <a:cubicBezTo>
                      <a:pt x="2231" y="1165"/>
                      <a:pt x="2222" y="1153"/>
                      <a:pt x="2215" y="1152"/>
                    </a:cubicBezTo>
                    <a:cubicBezTo>
                      <a:pt x="2208" y="1151"/>
                      <a:pt x="2190" y="1157"/>
                      <a:pt x="2190" y="1157"/>
                    </a:cubicBezTo>
                    <a:cubicBezTo>
                      <a:pt x="2167" y="1126"/>
                      <a:pt x="2167" y="1126"/>
                      <a:pt x="2167" y="1126"/>
                    </a:cubicBezTo>
                    <a:cubicBezTo>
                      <a:pt x="2167" y="1126"/>
                      <a:pt x="2188" y="1147"/>
                      <a:pt x="2194" y="1145"/>
                    </a:cubicBezTo>
                    <a:cubicBezTo>
                      <a:pt x="2200" y="1143"/>
                      <a:pt x="2207" y="1139"/>
                      <a:pt x="2207" y="1139"/>
                    </a:cubicBezTo>
                    <a:cubicBezTo>
                      <a:pt x="2226" y="1144"/>
                      <a:pt x="2226" y="1144"/>
                      <a:pt x="2226" y="1144"/>
                    </a:cubicBezTo>
                    <a:cubicBezTo>
                      <a:pt x="2236" y="1155"/>
                      <a:pt x="2236" y="1155"/>
                      <a:pt x="2236" y="1155"/>
                    </a:cubicBezTo>
                    <a:cubicBezTo>
                      <a:pt x="2245" y="1151"/>
                      <a:pt x="2245" y="1151"/>
                      <a:pt x="2245" y="1151"/>
                    </a:cubicBezTo>
                    <a:cubicBezTo>
                      <a:pt x="2276" y="1161"/>
                      <a:pt x="2276" y="1161"/>
                      <a:pt x="2276" y="1161"/>
                    </a:cubicBezTo>
                    <a:cubicBezTo>
                      <a:pt x="2263" y="1144"/>
                      <a:pt x="2263" y="1144"/>
                      <a:pt x="2263" y="1144"/>
                    </a:cubicBezTo>
                    <a:cubicBezTo>
                      <a:pt x="2252" y="1142"/>
                      <a:pt x="2252" y="1142"/>
                      <a:pt x="2252" y="1142"/>
                    </a:cubicBezTo>
                    <a:cubicBezTo>
                      <a:pt x="2252" y="1142"/>
                      <a:pt x="2251" y="1120"/>
                      <a:pt x="2243" y="1119"/>
                    </a:cubicBezTo>
                    <a:cubicBezTo>
                      <a:pt x="2235" y="1118"/>
                      <a:pt x="2223" y="1115"/>
                      <a:pt x="2218" y="1111"/>
                    </a:cubicBezTo>
                    <a:cubicBezTo>
                      <a:pt x="2213" y="1107"/>
                      <a:pt x="2211" y="1088"/>
                      <a:pt x="2211" y="1088"/>
                    </a:cubicBezTo>
                    <a:cubicBezTo>
                      <a:pt x="2157" y="1022"/>
                      <a:pt x="2157" y="1022"/>
                      <a:pt x="2157" y="1022"/>
                    </a:cubicBezTo>
                    <a:cubicBezTo>
                      <a:pt x="2135" y="1016"/>
                      <a:pt x="2135" y="1016"/>
                      <a:pt x="2135" y="1016"/>
                    </a:cubicBezTo>
                    <a:cubicBezTo>
                      <a:pt x="2112" y="998"/>
                      <a:pt x="2112" y="998"/>
                      <a:pt x="2112" y="998"/>
                    </a:cubicBezTo>
                    <a:cubicBezTo>
                      <a:pt x="2097" y="1000"/>
                      <a:pt x="2097" y="1000"/>
                      <a:pt x="2097" y="1000"/>
                    </a:cubicBezTo>
                    <a:cubicBezTo>
                      <a:pt x="2097" y="1000"/>
                      <a:pt x="2084" y="975"/>
                      <a:pt x="2090" y="971"/>
                    </a:cubicBezTo>
                    <a:cubicBezTo>
                      <a:pt x="2096" y="967"/>
                      <a:pt x="2114" y="955"/>
                      <a:pt x="2114" y="946"/>
                    </a:cubicBezTo>
                    <a:cubicBezTo>
                      <a:pt x="2114" y="937"/>
                      <a:pt x="2107" y="919"/>
                      <a:pt x="2107" y="919"/>
                    </a:cubicBezTo>
                    <a:cubicBezTo>
                      <a:pt x="2107" y="919"/>
                      <a:pt x="2124" y="936"/>
                      <a:pt x="2132" y="930"/>
                    </a:cubicBezTo>
                    <a:cubicBezTo>
                      <a:pt x="2140" y="924"/>
                      <a:pt x="2131" y="897"/>
                      <a:pt x="2131" y="897"/>
                    </a:cubicBezTo>
                    <a:cubicBezTo>
                      <a:pt x="2146" y="898"/>
                      <a:pt x="2146" y="898"/>
                      <a:pt x="2146" y="898"/>
                    </a:cubicBezTo>
                    <a:cubicBezTo>
                      <a:pt x="2171" y="879"/>
                      <a:pt x="2171" y="879"/>
                      <a:pt x="2171" y="879"/>
                    </a:cubicBezTo>
                    <a:cubicBezTo>
                      <a:pt x="2171" y="879"/>
                      <a:pt x="2191" y="885"/>
                      <a:pt x="2196" y="884"/>
                    </a:cubicBezTo>
                    <a:cubicBezTo>
                      <a:pt x="2201" y="883"/>
                      <a:pt x="2192" y="869"/>
                      <a:pt x="2192" y="869"/>
                    </a:cubicBezTo>
                    <a:cubicBezTo>
                      <a:pt x="2196" y="853"/>
                      <a:pt x="2196" y="853"/>
                      <a:pt x="2196" y="853"/>
                    </a:cubicBezTo>
                    <a:cubicBezTo>
                      <a:pt x="2174" y="853"/>
                      <a:pt x="2174" y="853"/>
                      <a:pt x="2174" y="853"/>
                    </a:cubicBezTo>
                    <a:cubicBezTo>
                      <a:pt x="2166" y="846"/>
                      <a:pt x="2166" y="846"/>
                      <a:pt x="2166" y="846"/>
                    </a:cubicBezTo>
                    <a:cubicBezTo>
                      <a:pt x="2161" y="854"/>
                      <a:pt x="2161" y="854"/>
                      <a:pt x="2161" y="854"/>
                    </a:cubicBezTo>
                    <a:cubicBezTo>
                      <a:pt x="2140" y="851"/>
                      <a:pt x="2140" y="851"/>
                      <a:pt x="2140" y="851"/>
                    </a:cubicBezTo>
                    <a:cubicBezTo>
                      <a:pt x="2140" y="851"/>
                      <a:pt x="2124" y="833"/>
                      <a:pt x="2111" y="833"/>
                    </a:cubicBezTo>
                    <a:cubicBezTo>
                      <a:pt x="2098" y="833"/>
                      <a:pt x="2080" y="856"/>
                      <a:pt x="2079" y="861"/>
                    </a:cubicBezTo>
                    <a:cubicBezTo>
                      <a:pt x="2078" y="866"/>
                      <a:pt x="2074" y="875"/>
                      <a:pt x="2064" y="873"/>
                    </a:cubicBezTo>
                    <a:cubicBezTo>
                      <a:pt x="2054" y="871"/>
                      <a:pt x="2032" y="865"/>
                      <a:pt x="2030" y="851"/>
                    </a:cubicBezTo>
                    <a:cubicBezTo>
                      <a:pt x="2028" y="837"/>
                      <a:pt x="2020" y="820"/>
                      <a:pt x="2014" y="816"/>
                    </a:cubicBezTo>
                    <a:cubicBezTo>
                      <a:pt x="2008" y="812"/>
                      <a:pt x="2004" y="819"/>
                      <a:pt x="2004" y="819"/>
                    </a:cubicBezTo>
                    <a:cubicBezTo>
                      <a:pt x="2004" y="828"/>
                      <a:pt x="2004" y="828"/>
                      <a:pt x="2004" y="828"/>
                    </a:cubicBezTo>
                    <a:cubicBezTo>
                      <a:pt x="1996" y="816"/>
                      <a:pt x="1996" y="816"/>
                      <a:pt x="1996" y="816"/>
                    </a:cubicBezTo>
                    <a:cubicBezTo>
                      <a:pt x="1996" y="816"/>
                      <a:pt x="1968" y="819"/>
                      <a:pt x="1959" y="810"/>
                    </a:cubicBezTo>
                    <a:cubicBezTo>
                      <a:pt x="1950" y="801"/>
                      <a:pt x="1939" y="782"/>
                      <a:pt x="1942" y="776"/>
                    </a:cubicBezTo>
                    <a:cubicBezTo>
                      <a:pt x="1945" y="770"/>
                      <a:pt x="1944" y="760"/>
                      <a:pt x="1944" y="760"/>
                    </a:cubicBezTo>
                    <a:cubicBezTo>
                      <a:pt x="1955" y="759"/>
                      <a:pt x="1955" y="759"/>
                      <a:pt x="1955" y="759"/>
                    </a:cubicBezTo>
                    <a:cubicBezTo>
                      <a:pt x="1955" y="759"/>
                      <a:pt x="1961" y="768"/>
                      <a:pt x="1965" y="767"/>
                    </a:cubicBezTo>
                    <a:cubicBezTo>
                      <a:pt x="1969" y="766"/>
                      <a:pt x="1975" y="758"/>
                      <a:pt x="1975" y="758"/>
                    </a:cubicBezTo>
                    <a:cubicBezTo>
                      <a:pt x="1975" y="758"/>
                      <a:pt x="1988" y="766"/>
                      <a:pt x="1997" y="758"/>
                    </a:cubicBezTo>
                    <a:cubicBezTo>
                      <a:pt x="2006" y="750"/>
                      <a:pt x="1998" y="742"/>
                      <a:pt x="1998" y="742"/>
                    </a:cubicBezTo>
                    <a:cubicBezTo>
                      <a:pt x="1998" y="742"/>
                      <a:pt x="1997" y="718"/>
                      <a:pt x="2003" y="714"/>
                    </a:cubicBezTo>
                    <a:cubicBezTo>
                      <a:pt x="2009" y="710"/>
                      <a:pt x="2028" y="718"/>
                      <a:pt x="2032" y="707"/>
                    </a:cubicBezTo>
                    <a:cubicBezTo>
                      <a:pt x="2036" y="696"/>
                      <a:pt x="2037" y="683"/>
                      <a:pt x="2037" y="683"/>
                    </a:cubicBezTo>
                    <a:cubicBezTo>
                      <a:pt x="2049" y="676"/>
                      <a:pt x="2049" y="676"/>
                      <a:pt x="2049" y="676"/>
                    </a:cubicBezTo>
                    <a:cubicBezTo>
                      <a:pt x="2043" y="668"/>
                      <a:pt x="2043" y="668"/>
                      <a:pt x="2043" y="668"/>
                    </a:cubicBezTo>
                    <a:cubicBezTo>
                      <a:pt x="2068" y="675"/>
                      <a:pt x="2068" y="675"/>
                      <a:pt x="2068" y="675"/>
                    </a:cubicBezTo>
                    <a:cubicBezTo>
                      <a:pt x="2079" y="665"/>
                      <a:pt x="2079" y="665"/>
                      <a:pt x="2079" y="665"/>
                    </a:cubicBezTo>
                    <a:cubicBezTo>
                      <a:pt x="2079" y="665"/>
                      <a:pt x="2110" y="688"/>
                      <a:pt x="2108" y="702"/>
                    </a:cubicBezTo>
                    <a:cubicBezTo>
                      <a:pt x="2106" y="716"/>
                      <a:pt x="2088" y="719"/>
                      <a:pt x="2087" y="728"/>
                    </a:cubicBezTo>
                    <a:cubicBezTo>
                      <a:pt x="2086" y="737"/>
                      <a:pt x="2091" y="752"/>
                      <a:pt x="2098" y="752"/>
                    </a:cubicBezTo>
                    <a:cubicBezTo>
                      <a:pt x="2105" y="752"/>
                      <a:pt x="2114" y="749"/>
                      <a:pt x="2114" y="749"/>
                    </a:cubicBezTo>
                    <a:cubicBezTo>
                      <a:pt x="2109" y="767"/>
                      <a:pt x="2109" y="767"/>
                      <a:pt x="2109" y="767"/>
                    </a:cubicBezTo>
                    <a:cubicBezTo>
                      <a:pt x="2109" y="767"/>
                      <a:pt x="2090" y="784"/>
                      <a:pt x="2099" y="786"/>
                    </a:cubicBezTo>
                    <a:cubicBezTo>
                      <a:pt x="2108" y="788"/>
                      <a:pt x="2122" y="774"/>
                      <a:pt x="2122" y="774"/>
                    </a:cubicBezTo>
                    <a:cubicBezTo>
                      <a:pt x="2122" y="774"/>
                      <a:pt x="2126" y="775"/>
                      <a:pt x="2131" y="770"/>
                    </a:cubicBezTo>
                    <a:cubicBezTo>
                      <a:pt x="2136" y="765"/>
                      <a:pt x="2135" y="750"/>
                      <a:pt x="2135" y="750"/>
                    </a:cubicBezTo>
                    <a:cubicBezTo>
                      <a:pt x="2135" y="750"/>
                      <a:pt x="2176" y="729"/>
                      <a:pt x="2180" y="726"/>
                    </a:cubicBezTo>
                    <a:cubicBezTo>
                      <a:pt x="2184" y="723"/>
                      <a:pt x="2205" y="725"/>
                      <a:pt x="2205" y="725"/>
                    </a:cubicBezTo>
                    <a:cubicBezTo>
                      <a:pt x="2212" y="714"/>
                      <a:pt x="2212" y="714"/>
                      <a:pt x="2212" y="714"/>
                    </a:cubicBezTo>
                    <a:cubicBezTo>
                      <a:pt x="2210" y="712"/>
                      <a:pt x="2208" y="706"/>
                      <a:pt x="2218" y="698"/>
                    </a:cubicBezTo>
                    <a:cubicBezTo>
                      <a:pt x="2230" y="688"/>
                      <a:pt x="2237" y="687"/>
                      <a:pt x="2252" y="675"/>
                    </a:cubicBezTo>
                    <a:cubicBezTo>
                      <a:pt x="2267" y="663"/>
                      <a:pt x="2262" y="625"/>
                      <a:pt x="2266" y="623"/>
                    </a:cubicBezTo>
                    <a:cubicBezTo>
                      <a:pt x="2270" y="621"/>
                      <a:pt x="2285" y="632"/>
                      <a:pt x="2292" y="637"/>
                    </a:cubicBezTo>
                    <a:cubicBezTo>
                      <a:pt x="2299" y="642"/>
                      <a:pt x="2339" y="641"/>
                      <a:pt x="2339" y="641"/>
                    </a:cubicBezTo>
                    <a:cubicBezTo>
                      <a:pt x="2340" y="631"/>
                      <a:pt x="2340" y="631"/>
                      <a:pt x="2340" y="631"/>
                    </a:cubicBezTo>
                    <a:cubicBezTo>
                      <a:pt x="2340" y="631"/>
                      <a:pt x="2312" y="618"/>
                      <a:pt x="2318" y="610"/>
                    </a:cubicBezTo>
                    <a:cubicBezTo>
                      <a:pt x="2324" y="602"/>
                      <a:pt x="2348" y="618"/>
                      <a:pt x="2358" y="609"/>
                    </a:cubicBezTo>
                    <a:cubicBezTo>
                      <a:pt x="2368" y="600"/>
                      <a:pt x="2358" y="588"/>
                      <a:pt x="2358" y="588"/>
                    </a:cubicBezTo>
                    <a:cubicBezTo>
                      <a:pt x="2358" y="588"/>
                      <a:pt x="2374" y="592"/>
                      <a:pt x="2376" y="587"/>
                    </a:cubicBezTo>
                    <a:cubicBezTo>
                      <a:pt x="2378" y="582"/>
                      <a:pt x="2365" y="560"/>
                      <a:pt x="2365" y="560"/>
                    </a:cubicBezTo>
                    <a:cubicBezTo>
                      <a:pt x="2387" y="560"/>
                      <a:pt x="2387" y="560"/>
                      <a:pt x="2387" y="560"/>
                    </a:cubicBezTo>
                    <a:cubicBezTo>
                      <a:pt x="2397" y="577"/>
                      <a:pt x="2397" y="577"/>
                      <a:pt x="2397" y="577"/>
                    </a:cubicBezTo>
                    <a:cubicBezTo>
                      <a:pt x="2404" y="559"/>
                      <a:pt x="2404" y="559"/>
                      <a:pt x="2404" y="559"/>
                    </a:cubicBezTo>
                    <a:cubicBezTo>
                      <a:pt x="2421" y="563"/>
                      <a:pt x="2421" y="563"/>
                      <a:pt x="2421" y="563"/>
                    </a:cubicBezTo>
                    <a:cubicBezTo>
                      <a:pt x="2420" y="540"/>
                      <a:pt x="2420" y="540"/>
                      <a:pt x="2420" y="540"/>
                    </a:cubicBezTo>
                    <a:cubicBezTo>
                      <a:pt x="2420" y="540"/>
                      <a:pt x="2409" y="529"/>
                      <a:pt x="2407" y="523"/>
                    </a:cubicBezTo>
                    <a:cubicBezTo>
                      <a:pt x="2405" y="517"/>
                      <a:pt x="2401" y="498"/>
                      <a:pt x="2387" y="485"/>
                    </a:cubicBezTo>
                    <a:cubicBezTo>
                      <a:pt x="2373" y="472"/>
                      <a:pt x="2358" y="471"/>
                      <a:pt x="2361" y="461"/>
                    </a:cubicBezTo>
                    <a:cubicBezTo>
                      <a:pt x="2364" y="451"/>
                      <a:pt x="2377" y="460"/>
                      <a:pt x="2379" y="455"/>
                    </a:cubicBezTo>
                    <a:cubicBezTo>
                      <a:pt x="2381" y="450"/>
                      <a:pt x="2369" y="444"/>
                      <a:pt x="2380" y="439"/>
                    </a:cubicBezTo>
                    <a:cubicBezTo>
                      <a:pt x="2391" y="434"/>
                      <a:pt x="2427" y="457"/>
                      <a:pt x="2434" y="451"/>
                    </a:cubicBezTo>
                    <a:cubicBezTo>
                      <a:pt x="2441" y="445"/>
                      <a:pt x="2439" y="444"/>
                      <a:pt x="2434" y="432"/>
                    </a:cubicBezTo>
                    <a:cubicBezTo>
                      <a:pt x="2429" y="420"/>
                      <a:pt x="2441" y="416"/>
                      <a:pt x="2441" y="416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Freeform 224">
                <a:extLst>
                  <a:ext uri="{FF2B5EF4-FFF2-40B4-BE49-F238E27FC236}">
                    <a16:creationId xmlns:a16="http://schemas.microsoft.com/office/drawing/2014/main" id="{045044FF-AB2F-331E-3D88-6A20B9BD09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923" y="-14605"/>
                <a:ext cx="80" cy="78"/>
              </a:xfrm>
              <a:custGeom>
                <a:avLst/>
                <a:gdLst>
                  <a:gd name="T0" fmla="*/ 23 w 34"/>
                  <a:gd name="T1" fmla="*/ 33 h 33"/>
                  <a:gd name="T2" fmla="*/ 8 w 34"/>
                  <a:gd name="T3" fmla="*/ 14 h 33"/>
                  <a:gd name="T4" fmla="*/ 23 w 34"/>
                  <a:gd name="T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4" h="33">
                    <a:moveTo>
                      <a:pt x="23" y="33"/>
                    </a:moveTo>
                    <a:cubicBezTo>
                      <a:pt x="34" y="20"/>
                      <a:pt x="16" y="0"/>
                      <a:pt x="8" y="14"/>
                    </a:cubicBezTo>
                    <a:cubicBezTo>
                      <a:pt x="0" y="28"/>
                      <a:pt x="23" y="33"/>
                      <a:pt x="23" y="33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Freeform 225">
                <a:extLst>
                  <a:ext uri="{FF2B5EF4-FFF2-40B4-BE49-F238E27FC236}">
                    <a16:creationId xmlns:a16="http://schemas.microsoft.com/office/drawing/2014/main" id="{14B0459E-B2D1-B999-DBD6-B7EA44BDCA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996" y="-14506"/>
                <a:ext cx="232" cy="142"/>
              </a:xfrm>
              <a:custGeom>
                <a:avLst/>
                <a:gdLst>
                  <a:gd name="T0" fmla="*/ 1 w 98"/>
                  <a:gd name="T1" fmla="*/ 31 h 60"/>
                  <a:gd name="T2" fmla="*/ 36 w 98"/>
                  <a:gd name="T3" fmla="*/ 57 h 60"/>
                  <a:gd name="T4" fmla="*/ 61 w 98"/>
                  <a:gd name="T5" fmla="*/ 38 h 60"/>
                  <a:gd name="T6" fmla="*/ 80 w 98"/>
                  <a:gd name="T7" fmla="*/ 39 h 60"/>
                  <a:gd name="T8" fmla="*/ 77 w 98"/>
                  <a:gd name="T9" fmla="*/ 24 h 60"/>
                  <a:gd name="T10" fmla="*/ 98 w 98"/>
                  <a:gd name="T11" fmla="*/ 0 h 60"/>
                  <a:gd name="T12" fmla="*/ 71 w 98"/>
                  <a:gd name="T13" fmla="*/ 17 h 60"/>
                  <a:gd name="T14" fmla="*/ 38 w 98"/>
                  <a:gd name="T15" fmla="*/ 15 h 60"/>
                  <a:gd name="T16" fmla="*/ 32 w 98"/>
                  <a:gd name="T17" fmla="*/ 26 h 60"/>
                  <a:gd name="T18" fmla="*/ 1 w 98"/>
                  <a:gd name="T19" fmla="*/ 3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8" h="60">
                    <a:moveTo>
                      <a:pt x="1" y="31"/>
                    </a:moveTo>
                    <a:cubicBezTo>
                      <a:pt x="2" y="45"/>
                      <a:pt x="29" y="60"/>
                      <a:pt x="36" y="57"/>
                    </a:cubicBezTo>
                    <a:cubicBezTo>
                      <a:pt x="43" y="54"/>
                      <a:pt x="61" y="38"/>
                      <a:pt x="61" y="38"/>
                    </a:cubicBezTo>
                    <a:cubicBezTo>
                      <a:pt x="61" y="38"/>
                      <a:pt x="77" y="45"/>
                      <a:pt x="80" y="39"/>
                    </a:cubicBezTo>
                    <a:cubicBezTo>
                      <a:pt x="84" y="33"/>
                      <a:pt x="77" y="24"/>
                      <a:pt x="77" y="24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71" y="17"/>
                      <a:pt x="71" y="17"/>
                      <a:pt x="71" y="17"/>
                    </a:cubicBezTo>
                    <a:cubicBezTo>
                      <a:pt x="71" y="17"/>
                      <a:pt x="47" y="13"/>
                      <a:pt x="38" y="15"/>
                    </a:cubicBezTo>
                    <a:cubicBezTo>
                      <a:pt x="29" y="17"/>
                      <a:pt x="32" y="26"/>
                      <a:pt x="32" y="26"/>
                    </a:cubicBezTo>
                    <a:cubicBezTo>
                      <a:pt x="32" y="26"/>
                      <a:pt x="0" y="20"/>
                      <a:pt x="1" y="3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Freeform 226">
                <a:extLst>
                  <a:ext uri="{FF2B5EF4-FFF2-40B4-BE49-F238E27FC236}">
                    <a16:creationId xmlns:a16="http://schemas.microsoft.com/office/drawing/2014/main" id="{8E79682A-65C7-6918-E3E5-28FEFBFAC64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8252" y="-18248"/>
                <a:ext cx="936" cy="359"/>
              </a:xfrm>
              <a:custGeom>
                <a:avLst/>
                <a:gdLst>
                  <a:gd name="T0" fmla="*/ 207 w 396"/>
                  <a:gd name="T1" fmla="*/ 144 h 152"/>
                  <a:gd name="T2" fmla="*/ 238 w 396"/>
                  <a:gd name="T3" fmla="*/ 136 h 152"/>
                  <a:gd name="T4" fmla="*/ 262 w 396"/>
                  <a:gd name="T5" fmla="*/ 130 h 152"/>
                  <a:gd name="T6" fmla="*/ 339 w 396"/>
                  <a:gd name="T7" fmla="*/ 105 h 152"/>
                  <a:gd name="T8" fmla="*/ 363 w 396"/>
                  <a:gd name="T9" fmla="*/ 83 h 152"/>
                  <a:gd name="T10" fmla="*/ 373 w 396"/>
                  <a:gd name="T11" fmla="*/ 68 h 152"/>
                  <a:gd name="T12" fmla="*/ 356 w 396"/>
                  <a:gd name="T13" fmla="*/ 50 h 152"/>
                  <a:gd name="T14" fmla="*/ 341 w 396"/>
                  <a:gd name="T15" fmla="*/ 41 h 152"/>
                  <a:gd name="T16" fmla="*/ 342 w 396"/>
                  <a:gd name="T17" fmla="*/ 24 h 152"/>
                  <a:gd name="T18" fmla="*/ 325 w 396"/>
                  <a:gd name="T19" fmla="*/ 17 h 152"/>
                  <a:gd name="T20" fmla="*/ 294 w 396"/>
                  <a:gd name="T21" fmla="*/ 16 h 152"/>
                  <a:gd name="T22" fmla="*/ 262 w 396"/>
                  <a:gd name="T23" fmla="*/ 19 h 152"/>
                  <a:gd name="T24" fmla="*/ 227 w 396"/>
                  <a:gd name="T25" fmla="*/ 19 h 152"/>
                  <a:gd name="T26" fmla="*/ 201 w 396"/>
                  <a:gd name="T27" fmla="*/ 16 h 152"/>
                  <a:gd name="T28" fmla="*/ 182 w 396"/>
                  <a:gd name="T29" fmla="*/ 26 h 152"/>
                  <a:gd name="T30" fmla="*/ 171 w 396"/>
                  <a:gd name="T31" fmla="*/ 39 h 152"/>
                  <a:gd name="T32" fmla="*/ 145 w 396"/>
                  <a:gd name="T33" fmla="*/ 50 h 152"/>
                  <a:gd name="T34" fmla="*/ 112 w 396"/>
                  <a:gd name="T35" fmla="*/ 63 h 152"/>
                  <a:gd name="T36" fmla="*/ 102 w 396"/>
                  <a:gd name="T37" fmla="*/ 40 h 152"/>
                  <a:gd name="T38" fmla="*/ 68 w 396"/>
                  <a:gd name="T39" fmla="*/ 7 h 152"/>
                  <a:gd name="T40" fmla="*/ 43 w 396"/>
                  <a:gd name="T41" fmla="*/ 19 h 152"/>
                  <a:gd name="T42" fmla="*/ 35 w 396"/>
                  <a:gd name="T43" fmla="*/ 37 h 152"/>
                  <a:gd name="T44" fmla="*/ 4 w 396"/>
                  <a:gd name="T45" fmla="*/ 47 h 152"/>
                  <a:gd name="T46" fmla="*/ 55 w 396"/>
                  <a:gd name="T47" fmla="*/ 43 h 152"/>
                  <a:gd name="T48" fmla="*/ 64 w 396"/>
                  <a:gd name="T49" fmla="*/ 61 h 152"/>
                  <a:gd name="T50" fmla="*/ 35 w 396"/>
                  <a:gd name="T51" fmla="*/ 73 h 152"/>
                  <a:gd name="T52" fmla="*/ 38 w 396"/>
                  <a:gd name="T53" fmla="*/ 82 h 152"/>
                  <a:gd name="T54" fmla="*/ 88 w 396"/>
                  <a:gd name="T55" fmla="*/ 91 h 152"/>
                  <a:gd name="T56" fmla="*/ 85 w 396"/>
                  <a:gd name="T57" fmla="*/ 105 h 152"/>
                  <a:gd name="T58" fmla="*/ 41 w 396"/>
                  <a:gd name="T59" fmla="*/ 125 h 152"/>
                  <a:gd name="T60" fmla="*/ 98 w 396"/>
                  <a:gd name="T61" fmla="*/ 123 h 152"/>
                  <a:gd name="T62" fmla="*/ 124 w 396"/>
                  <a:gd name="T63" fmla="*/ 127 h 152"/>
                  <a:gd name="T64" fmla="*/ 172 w 396"/>
                  <a:gd name="T65" fmla="*/ 15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96" h="152">
                    <a:moveTo>
                      <a:pt x="172" y="150"/>
                    </a:moveTo>
                    <a:cubicBezTo>
                      <a:pt x="200" y="143"/>
                      <a:pt x="200" y="149"/>
                      <a:pt x="207" y="144"/>
                    </a:cubicBezTo>
                    <a:cubicBezTo>
                      <a:pt x="214" y="139"/>
                      <a:pt x="211" y="131"/>
                      <a:pt x="211" y="131"/>
                    </a:cubicBezTo>
                    <a:cubicBezTo>
                      <a:pt x="211" y="131"/>
                      <a:pt x="230" y="139"/>
                      <a:pt x="238" y="136"/>
                    </a:cubicBezTo>
                    <a:cubicBezTo>
                      <a:pt x="246" y="133"/>
                      <a:pt x="246" y="126"/>
                      <a:pt x="246" y="126"/>
                    </a:cubicBezTo>
                    <a:cubicBezTo>
                      <a:pt x="246" y="126"/>
                      <a:pt x="257" y="130"/>
                      <a:pt x="262" y="130"/>
                    </a:cubicBezTo>
                    <a:cubicBezTo>
                      <a:pt x="267" y="130"/>
                      <a:pt x="305" y="107"/>
                      <a:pt x="313" y="106"/>
                    </a:cubicBezTo>
                    <a:cubicBezTo>
                      <a:pt x="321" y="105"/>
                      <a:pt x="332" y="112"/>
                      <a:pt x="339" y="105"/>
                    </a:cubicBezTo>
                    <a:cubicBezTo>
                      <a:pt x="346" y="98"/>
                      <a:pt x="347" y="87"/>
                      <a:pt x="347" y="87"/>
                    </a:cubicBezTo>
                    <a:cubicBezTo>
                      <a:pt x="347" y="87"/>
                      <a:pt x="354" y="87"/>
                      <a:pt x="363" y="83"/>
                    </a:cubicBezTo>
                    <a:cubicBezTo>
                      <a:pt x="372" y="79"/>
                      <a:pt x="383" y="69"/>
                      <a:pt x="383" y="69"/>
                    </a:cubicBezTo>
                    <a:cubicBezTo>
                      <a:pt x="373" y="68"/>
                      <a:pt x="373" y="68"/>
                      <a:pt x="373" y="68"/>
                    </a:cubicBezTo>
                    <a:cubicBezTo>
                      <a:pt x="373" y="68"/>
                      <a:pt x="396" y="57"/>
                      <a:pt x="382" y="50"/>
                    </a:cubicBezTo>
                    <a:cubicBezTo>
                      <a:pt x="368" y="43"/>
                      <a:pt x="356" y="50"/>
                      <a:pt x="356" y="50"/>
                    </a:cubicBezTo>
                    <a:cubicBezTo>
                      <a:pt x="359" y="40"/>
                      <a:pt x="359" y="40"/>
                      <a:pt x="359" y="40"/>
                    </a:cubicBezTo>
                    <a:cubicBezTo>
                      <a:pt x="341" y="41"/>
                      <a:pt x="341" y="41"/>
                      <a:pt x="341" y="41"/>
                    </a:cubicBezTo>
                    <a:cubicBezTo>
                      <a:pt x="351" y="26"/>
                      <a:pt x="351" y="26"/>
                      <a:pt x="351" y="26"/>
                    </a:cubicBezTo>
                    <a:cubicBezTo>
                      <a:pt x="342" y="24"/>
                      <a:pt x="342" y="24"/>
                      <a:pt x="342" y="24"/>
                    </a:cubicBezTo>
                    <a:cubicBezTo>
                      <a:pt x="346" y="12"/>
                      <a:pt x="346" y="12"/>
                      <a:pt x="346" y="12"/>
                    </a:cubicBezTo>
                    <a:cubicBezTo>
                      <a:pt x="325" y="17"/>
                      <a:pt x="325" y="17"/>
                      <a:pt x="325" y="17"/>
                    </a:cubicBezTo>
                    <a:cubicBezTo>
                      <a:pt x="325" y="17"/>
                      <a:pt x="304" y="0"/>
                      <a:pt x="297" y="0"/>
                    </a:cubicBezTo>
                    <a:cubicBezTo>
                      <a:pt x="290" y="0"/>
                      <a:pt x="294" y="16"/>
                      <a:pt x="294" y="16"/>
                    </a:cubicBezTo>
                    <a:cubicBezTo>
                      <a:pt x="280" y="22"/>
                      <a:pt x="280" y="22"/>
                      <a:pt x="280" y="22"/>
                    </a:cubicBezTo>
                    <a:cubicBezTo>
                      <a:pt x="280" y="22"/>
                      <a:pt x="268" y="19"/>
                      <a:pt x="262" y="19"/>
                    </a:cubicBezTo>
                    <a:cubicBezTo>
                      <a:pt x="256" y="19"/>
                      <a:pt x="249" y="29"/>
                      <a:pt x="249" y="29"/>
                    </a:cubicBezTo>
                    <a:cubicBezTo>
                      <a:pt x="249" y="29"/>
                      <a:pt x="233" y="17"/>
                      <a:pt x="227" y="19"/>
                    </a:cubicBezTo>
                    <a:cubicBezTo>
                      <a:pt x="221" y="21"/>
                      <a:pt x="226" y="41"/>
                      <a:pt x="226" y="41"/>
                    </a:cubicBezTo>
                    <a:cubicBezTo>
                      <a:pt x="226" y="41"/>
                      <a:pt x="208" y="16"/>
                      <a:pt x="201" y="16"/>
                    </a:cubicBezTo>
                    <a:cubicBezTo>
                      <a:pt x="194" y="16"/>
                      <a:pt x="198" y="23"/>
                      <a:pt x="198" y="23"/>
                    </a:cubicBezTo>
                    <a:cubicBezTo>
                      <a:pt x="198" y="23"/>
                      <a:pt x="183" y="23"/>
                      <a:pt x="182" y="26"/>
                    </a:cubicBezTo>
                    <a:cubicBezTo>
                      <a:pt x="181" y="29"/>
                      <a:pt x="181" y="38"/>
                      <a:pt x="181" y="38"/>
                    </a:cubicBezTo>
                    <a:cubicBezTo>
                      <a:pt x="171" y="39"/>
                      <a:pt x="171" y="39"/>
                      <a:pt x="171" y="39"/>
                    </a:cubicBezTo>
                    <a:cubicBezTo>
                      <a:pt x="171" y="39"/>
                      <a:pt x="155" y="18"/>
                      <a:pt x="150" y="22"/>
                    </a:cubicBezTo>
                    <a:cubicBezTo>
                      <a:pt x="145" y="26"/>
                      <a:pt x="150" y="49"/>
                      <a:pt x="145" y="50"/>
                    </a:cubicBezTo>
                    <a:cubicBezTo>
                      <a:pt x="140" y="51"/>
                      <a:pt x="133" y="42"/>
                      <a:pt x="129" y="42"/>
                    </a:cubicBezTo>
                    <a:cubicBezTo>
                      <a:pt x="125" y="42"/>
                      <a:pt x="112" y="63"/>
                      <a:pt x="112" y="63"/>
                    </a:cubicBezTo>
                    <a:cubicBezTo>
                      <a:pt x="110" y="56"/>
                      <a:pt x="110" y="56"/>
                      <a:pt x="110" y="56"/>
                    </a:cubicBezTo>
                    <a:cubicBezTo>
                      <a:pt x="102" y="40"/>
                      <a:pt x="102" y="40"/>
                      <a:pt x="102" y="40"/>
                    </a:cubicBezTo>
                    <a:cubicBezTo>
                      <a:pt x="102" y="40"/>
                      <a:pt x="118" y="35"/>
                      <a:pt x="112" y="26"/>
                    </a:cubicBezTo>
                    <a:cubicBezTo>
                      <a:pt x="106" y="17"/>
                      <a:pt x="73" y="3"/>
                      <a:pt x="68" y="7"/>
                    </a:cubicBezTo>
                    <a:cubicBezTo>
                      <a:pt x="63" y="11"/>
                      <a:pt x="69" y="26"/>
                      <a:pt x="69" y="26"/>
                    </a:cubicBezTo>
                    <a:cubicBezTo>
                      <a:pt x="69" y="26"/>
                      <a:pt x="49" y="19"/>
                      <a:pt x="43" y="19"/>
                    </a:cubicBezTo>
                    <a:cubicBezTo>
                      <a:pt x="37" y="19"/>
                      <a:pt x="25" y="31"/>
                      <a:pt x="25" y="31"/>
                    </a:cubicBezTo>
                    <a:cubicBezTo>
                      <a:pt x="35" y="37"/>
                      <a:pt x="35" y="37"/>
                      <a:pt x="35" y="37"/>
                    </a:cubicBezTo>
                    <a:cubicBezTo>
                      <a:pt x="35" y="37"/>
                      <a:pt x="23" y="35"/>
                      <a:pt x="17" y="41"/>
                    </a:cubicBezTo>
                    <a:cubicBezTo>
                      <a:pt x="11" y="47"/>
                      <a:pt x="4" y="47"/>
                      <a:pt x="4" y="47"/>
                    </a:cubicBezTo>
                    <a:cubicBezTo>
                      <a:pt x="4" y="47"/>
                      <a:pt x="12" y="54"/>
                      <a:pt x="20" y="54"/>
                    </a:cubicBezTo>
                    <a:cubicBezTo>
                      <a:pt x="28" y="54"/>
                      <a:pt x="55" y="43"/>
                      <a:pt x="55" y="43"/>
                    </a:cubicBezTo>
                    <a:cubicBezTo>
                      <a:pt x="90" y="49"/>
                      <a:pt x="90" y="49"/>
                      <a:pt x="90" y="49"/>
                    </a:cubicBezTo>
                    <a:cubicBezTo>
                      <a:pt x="64" y="61"/>
                      <a:pt x="64" y="61"/>
                      <a:pt x="64" y="61"/>
                    </a:cubicBezTo>
                    <a:cubicBezTo>
                      <a:pt x="64" y="61"/>
                      <a:pt x="84" y="64"/>
                      <a:pt x="84" y="68"/>
                    </a:cubicBezTo>
                    <a:cubicBezTo>
                      <a:pt x="84" y="72"/>
                      <a:pt x="39" y="72"/>
                      <a:pt x="35" y="73"/>
                    </a:cubicBezTo>
                    <a:cubicBezTo>
                      <a:pt x="31" y="74"/>
                      <a:pt x="0" y="72"/>
                      <a:pt x="6" y="79"/>
                    </a:cubicBezTo>
                    <a:cubicBezTo>
                      <a:pt x="12" y="86"/>
                      <a:pt x="25" y="81"/>
                      <a:pt x="38" y="82"/>
                    </a:cubicBezTo>
                    <a:cubicBezTo>
                      <a:pt x="51" y="83"/>
                      <a:pt x="65" y="95"/>
                      <a:pt x="65" y="95"/>
                    </a:cubicBezTo>
                    <a:cubicBezTo>
                      <a:pt x="88" y="91"/>
                      <a:pt x="88" y="91"/>
                      <a:pt x="88" y="91"/>
                    </a:cubicBezTo>
                    <a:cubicBezTo>
                      <a:pt x="75" y="101"/>
                      <a:pt x="75" y="101"/>
                      <a:pt x="75" y="101"/>
                    </a:cubicBezTo>
                    <a:cubicBezTo>
                      <a:pt x="85" y="105"/>
                      <a:pt x="85" y="105"/>
                      <a:pt x="85" y="105"/>
                    </a:cubicBezTo>
                    <a:cubicBezTo>
                      <a:pt x="85" y="105"/>
                      <a:pt x="82" y="114"/>
                      <a:pt x="75" y="118"/>
                    </a:cubicBezTo>
                    <a:cubicBezTo>
                      <a:pt x="68" y="122"/>
                      <a:pt x="35" y="116"/>
                      <a:pt x="41" y="125"/>
                    </a:cubicBezTo>
                    <a:cubicBezTo>
                      <a:pt x="47" y="134"/>
                      <a:pt x="75" y="130"/>
                      <a:pt x="82" y="130"/>
                    </a:cubicBezTo>
                    <a:cubicBezTo>
                      <a:pt x="89" y="130"/>
                      <a:pt x="98" y="123"/>
                      <a:pt x="98" y="123"/>
                    </a:cubicBezTo>
                    <a:cubicBezTo>
                      <a:pt x="116" y="134"/>
                      <a:pt x="116" y="134"/>
                      <a:pt x="116" y="134"/>
                    </a:cubicBezTo>
                    <a:cubicBezTo>
                      <a:pt x="124" y="127"/>
                      <a:pt x="124" y="127"/>
                      <a:pt x="124" y="127"/>
                    </a:cubicBezTo>
                    <a:cubicBezTo>
                      <a:pt x="124" y="127"/>
                      <a:pt x="121" y="133"/>
                      <a:pt x="131" y="138"/>
                    </a:cubicBezTo>
                    <a:cubicBezTo>
                      <a:pt x="141" y="143"/>
                      <a:pt x="164" y="152"/>
                      <a:pt x="172" y="15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Freeform 227">
                <a:extLst>
                  <a:ext uri="{FF2B5EF4-FFF2-40B4-BE49-F238E27FC236}">
                    <a16:creationId xmlns:a16="http://schemas.microsoft.com/office/drawing/2014/main" id="{33D2870F-ED58-D4E2-FAC0-0716FE02B4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94" y="-13358"/>
                <a:ext cx="529" cy="508"/>
              </a:xfrm>
              <a:custGeom>
                <a:avLst/>
                <a:gdLst>
                  <a:gd name="T0" fmla="*/ 198 w 224"/>
                  <a:gd name="T1" fmla="*/ 84 h 215"/>
                  <a:gd name="T2" fmla="*/ 208 w 224"/>
                  <a:gd name="T3" fmla="*/ 97 h 215"/>
                  <a:gd name="T4" fmla="*/ 224 w 224"/>
                  <a:gd name="T5" fmla="*/ 91 h 215"/>
                  <a:gd name="T6" fmla="*/ 214 w 224"/>
                  <a:gd name="T7" fmla="*/ 51 h 215"/>
                  <a:gd name="T8" fmla="*/ 215 w 224"/>
                  <a:gd name="T9" fmla="*/ 3 h 215"/>
                  <a:gd name="T10" fmla="*/ 186 w 224"/>
                  <a:gd name="T11" fmla="*/ 51 h 215"/>
                  <a:gd name="T12" fmla="*/ 166 w 224"/>
                  <a:gd name="T13" fmla="*/ 61 h 215"/>
                  <a:gd name="T14" fmla="*/ 131 w 224"/>
                  <a:gd name="T15" fmla="*/ 102 h 215"/>
                  <a:gd name="T16" fmla="*/ 122 w 224"/>
                  <a:gd name="T17" fmla="*/ 131 h 215"/>
                  <a:gd name="T18" fmla="*/ 62 w 224"/>
                  <a:gd name="T19" fmla="*/ 127 h 215"/>
                  <a:gd name="T20" fmla="*/ 16 w 224"/>
                  <a:gd name="T21" fmla="*/ 140 h 215"/>
                  <a:gd name="T22" fmla="*/ 1 w 224"/>
                  <a:gd name="T23" fmla="*/ 127 h 215"/>
                  <a:gd name="T24" fmla="*/ 5 w 224"/>
                  <a:gd name="T25" fmla="*/ 145 h 215"/>
                  <a:gd name="T26" fmla="*/ 52 w 224"/>
                  <a:gd name="T27" fmla="*/ 200 h 215"/>
                  <a:gd name="T28" fmla="*/ 177 w 224"/>
                  <a:gd name="T29" fmla="*/ 215 h 215"/>
                  <a:gd name="T30" fmla="*/ 168 w 224"/>
                  <a:gd name="T31" fmla="*/ 192 h 215"/>
                  <a:gd name="T32" fmla="*/ 181 w 224"/>
                  <a:gd name="T33" fmla="*/ 163 h 215"/>
                  <a:gd name="T34" fmla="*/ 189 w 224"/>
                  <a:gd name="T35" fmla="*/ 136 h 215"/>
                  <a:gd name="T36" fmla="*/ 201 w 224"/>
                  <a:gd name="T37" fmla="*/ 135 h 215"/>
                  <a:gd name="T38" fmla="*/ 191 w 224"/>
                  <a:gd name="T39" fmla="*/ 118 h 215"/>
                  <a:gd name="T40" fmla="*/ 198 w 224"/>
                  <a:gd name="T41" fmla="*/ 84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24" h="215">
                    <a:moveTo>
                      <a:pt x="198" y="84"/>
                    </a:moveTo>
                    <a:cubicBezTo>
                      <a:pt x="202" y="84"/>
                      <a:pt x="208" y="97"/>
                      <a:pt x="208" y="97"/>
                    </a:cubicBezTo>
                    <a:cubicBezTo>
                      <a:pt x="224" y="91"/>
                      <a:pt x="224" y="91"/>
                      <a:pt x="224" y="91"/>
                    </a:cubicBezTo>
                    <a:cubicBezTo>
                      <a:pt x="219" y="78"/>
                      <a:pt x="212" y="63"/>
                      <a:pt x="214" y="51"/>
                    </a:cubicBezTo>
                    <a:cubicBezTo>
                      <a:pt x="217" y="34"/>
                      <a:pt x="222" y="6"/>
                      <a:pt x="215" y="3"/>
                    </a:cubicBezTo>
                    <a:cubicBezTo>
                      <a:pt x="207" y="0"/>
                      <a:pt x="186" y="51"/>
                      <a:pt x="186" y="51"/>
                    </a:cubicBezTo>
                    <a:cubicBezTo>
                      <a:pt x="186" y="51"/>
                      <a:pt x="172" y="53"/>
                      <a:pt x="166" y="61"/>
                    </a:cubicBezTo>
                    <a:cubicBezTo>
                      <a:pt x="161" y="70"/>
                      <a:pt x="131" y="102"/>
                      <a:pt x="131" y="102"/>
                    </a:cubicBezTo>
                    <a:cubicBezTo>
                      <a:pt x="131" y="102"/>
                      <a:pt x="131" y="130"/>
                      <a:pt x="122" y="131"/>
                    </a:cubicBezTo>
                    <a:cubicBezTo>
                      <a:pt x="113" y="132"/>
                      <a:pt x="69" y="127"/>
                      <a:pt x="62" y="127"/>
                    </a:cubicBezTo>
                    <a:cubicBezTo>
                      <a:pt x="56" y="127"/>
                      <a:pt x="25" y="144"/>
                      <a:pt x="16" y="140"/>
                    </a:cubicBezTo>
                    <a:cubicBezTo>
                      <a:pt x="11" y="138"/>
                      <a:pt x="5" y="132"/>
                      <a:pt x="1" y="127"/>
                    </a:cubicBezTo>
                    <a:cubicBezTo>
                      <a:pt x="0" y="132"/>
                      <a:pt x="0" y="140"/>
                      <a:pt x="5" y="145"/>
                    </a:cubicBezTo>
                    <a:cubicBezTo>
                      <a:pt x="12" y="152"/>
                      <a:pt x="49" y="200"/>
                      <a:pt x="52" y="200"/>
                    </a:cubicBezTo>
                    <a:cubicBezTo>
                      <a:pt x="54" y="200"/>
                      <a:pt x="143" y="211"/>
                      <a:pt x="177" y="215"/>
                    </a:cubicBezTo>
                    <a:cubicBezTo>
                      <a:pt x="173" y="207"/>
                      <a:pt x="168" y="196"/>
                      <a:pt x="168" y="192"/>
                    </a:cubicBezTo>
                    <a:cubicBezTo>
                      <a:pt x="168" y="186"/>
                      <a:pt x="181" y="163"/>
                      <a:pt x="181" y="163"/>
                    </a:cubicBezTo>
                    <a:cubicBezTo>
                      <a:pt x="181" y="163"/>
                      <a:pt x="187" y="143"/>
                      <a:pt x="189" y="136"/>
                    </a:cubicBezTo>
                    <a:cubicBezTo>
                      <a:pt x="191" y="129"/>
                      <a:pt x="197" y="137"/>
                      <a:pt x="201" y="135"/>
                    </a:cubicBezTo>
                    <a:cubicBezTo>
                      <a:pt x="205" y="133"/>
                      <a:pt x="195" y="122"/>
                      <a:pt x="191" y="118"/>
                    </a:cubicBezTo>
                    <a:cubicBezTo>
                      <a:pt x="187" y="114"/>
                      <a:pt x="194" y="84"/>
                      <a:pt x="198" y="84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Freeform 228">
                <a:extLst>
                  <a:ext uri="{FF2B5EF4-FFF2-40B4-BE49-F238E27FC236}">
                    <a16:creationId xmlns:a16="http://schemas.microsoft.com/office/drawing/2014/main" id="{534E62B2-FCC4-188D-43AC-3A7EA3C338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00" y="-13159"/>
                <a:ext cx="860" cy="1051"/>
              </a:xfrm>
              <a:custGeom>
                <a:avLst/>
                <a:gdLst>
                  <a:gd name="T0" fmla="*/ 169 w 364"/>
                  <a:gd name="T1" fmla="*/ 375 h 445"/>
                  <a:gd name="T2" fmla="*/ 220 w 364"/>
                  <a:gd name="T3" fmla="*/ 358 h 445"/>
                  <a:gd name="T4" fmla="*/ 228 w 364"/>
                  <a:gd name="T5" fmla="*/ 330 h 445"/>
                  <a:gd name="T6" fmla="*/ 269 w 364"/>
                  <a:gd name="T7" fmla="*/ 304 h 445"/>
                  <a:gd name="T8" fmla="*/ 283 w 364"/>
                  <a:gd name="T9" fmla="*/ 249 h 445"/>
                  <a:gd name="T10" fmla="*/ 312 w 364"/>
                  <a:gd name="T11" fmla="*/ 249 h 445"/>
                  <a:gd name="T12" fmla="*/ 318 w 364"/>
                  <a:gd name="T13" fmla="*/ 218 h 445"/>
                  <a:gd name="T14" fmla="*/ 355 w 364"/>
                  <a:gd name="T15" fmla="*/ 184 h 445"/>
                  <a:gd name="T16" fmla="*/ 359 w 364"/>
                  <a:gd name="T17" fmla="*/ 134 h 445"/>
                  <a:gd name="T18" fmla="*/ 339 w 364"/>
                  <a:gd name="T19" fmla="*/ 127 h 445"/>
                  <a:gd name="T20" fmla="*/ 302 w 364"/>
                  <a:gd name="T21" fmla="*/ 74 h 445"/>
                  <a:gd name="T22" fmla="*/ 237 w 364"/>
                  <a:gd name="T23" fmla="*/ 52 h 445"/>
                  <a:gd name="T24" fmla="*/ 191 w 364"/>
                  <a:gd name="T25" fmla="*/ 23 h 445"/>
                  <a:gd name="T26" fmla="*/ 184 w 364"/>
                  <a:gd name="T27" fmla="*/ 7 h 445"/>
                  <a:gd name="T28" fmla="*/ 168 w 364"/>
                  <a:gd name="T29" fmla="*/ 13 h 445"/>
                  <a:gd name="T30" fmla="*/ 158 w 364"/>
                  <a:gd name="T31" fmla="*/ 0 h 445"/>
                  <a:gd name="T32" fmla="*/ 151 w 364"/>
                  <a:gd name="T33" fmla="*/ 34 h 445"/>
                  <a:gd name="T34" fmla="*/ 161 w 364"/>
                  <a:gd name="T35" fmla="*/ 51 h 445"/>
                  <a:gd name="T36" fmla="*/ 149 w 364"/>
                  <a:gd name="T37" fmla="*/ 52 h 445"/>
                  <a:gd name="T38" fmla="*/ 141 w 364"/>
                  <a:gd name="T39" fmla="*/ 79 h 445"/>
                  <a:gd name="T40" fmla="*/ 128 w 364"/>
                  <a:gd name="T41" fmla="*/ 108 h 445"/>
                  <a:gd name="T42" fmla="*/ 141 w 364"/>
                  <a:gd name="T43" fmla="*/ 142 h 445"/>
                  <a:gd name="T44" fmla="*/ 159 w 364"/>
                  <a:gd name="T45" fmla="*/ 161 h 445"/>
                  <a:gd name="T46" fmla="*/ 133 w 364"/>
                  <a:gd name="T47" fmla="*/ 276 h 445"/>
                  <a:gd name="T48" fmla="*/ 0 w 364"/>
                  <a:gd name="T49" fmla="*/ 325 h 445"/>
                  <a:gd name="T50" fmla="*/ 54 w 364"/>
                  <a:gd name="T51" fmla="*/ 445 h 445"/>
                  <a:gd name="T52" fmla="*/ 162 w 364"/>
                  <a:gd name="T53" fmla="*/ 410 h 445"/>
                  <a:gd name="T54" fmla="*/ 169 w 364"/>
                  <a:gd name="T55" fmla="*/ 375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64" h="445">
                    <a:moveTo>
                      <a:pt x="169" y="375"/>
                    </a:moveTo>
                    <a:cubicBezTo>
                      <a:pt x="169" y="375"/>
                      <a:pt x="211" y="369"/>
                      <a:pt x="220" y="358"/>
                    </a:cubicBezTo>
                    <a:cubicBezTo>
                      <a:pt x="228" y="348"/>
                      <a:pt x="228" y="330"/>
                      <a:pt x="228" y="330"/>
                    </a:cubicBezTo>
                    <a:cubicBezTo>
                      <a:pt x="228" y="330"/>
                      <a:pt x="260" y="319"/>
                      <a:pt x="269" y="304"/>
                    </a:cubicBezTo>
                    <a:cubicBezTo>
                      <a:pt x="279" y="288"/>
                      <a:pt x="274" y="250"/>
                      <a:pt x="283" y="249"/>
                    </a:cubicBezTo>
                    <a:cubicBezTo>
                      <a:pt x="292" y="248"/>
                      <a:pt x="302" y="260"/>
                      <a:pt x="312" y="249"/>
                    </a:cubicBezTo>
                    <a:cubicBezTo>
                      <a:pt x="323" y="238"/>
                      <a:pt x="318" y="218"/>
                      <a:pt x="318" y="218"/>
                    </a:cubicBezTo>
                    <a:cubicBezTo>
                      <a:pt x="355" y="184"/>
                      <a:pt x="355" y="184"/>
                      <a:pt x="355" y="184"/>
                    </a:cubicBezTo>
                    <a:cubicBezTo>
                      <a:pt x="355" y="184"/>
                      <a:pt x="364" y="144"/>
                      <a:pt x="359" y="134"/>
                    </a:cubicBezTo>
                    <a:cubicBezTo>
                      <a:pt x="355" y="124"/>
                      <a:pt x="339" y="127"/>
                      <a:pt x="339" y="127"/>
                    </a:cubicBezTo>
                    <a:cubicBezTo>
                      <a:pt x="339" y="127"/>
                      <a:pt x="317" y="87"/>
                      <a:pt x="302" y="74"/>
                    </a:cubicBezTo>
                    <a:cubicBezTo>
                      <a:pt x="287" y="61"/>
                      <a:pt x="237" y="52"/>
                      <a:pt x="237" y="52"/>
                    </a:cubicBezTo>
                    <a:cubicBezTo>
                      <a:pt x="237" y="52"/>
                      <a:pt x="194" y="38"/>
                      <a:pt x="191" y="23"/>
                    </a:cubicBezTo>
                    <a:cubicBezTo>
                      <a:pt x="190" y="18"/>
                      <a:pt x="187" y="13"/>
                      <a:pt x="184" y="7"/>
                    </a:cubicBezTo>
                    <a:cubicBezTo>
                      <a:pt x="168" y="13"/>
                      <a:pt x="168" y="13"/>
                      <a:pt x="168" y="13"/>
                    </a:cubicBezTo>
                    <a:cubicBezTo>
                      <a:pt x="168" y="13"/>
                      <a:pt x="162" y="0"/>
                      <a:pt x="158" y="0"/>
                    </a:cubicBezTo>
                    <a:cubicBezTo>
                      <a:pt x="154" y="0"/>
                      <a:pt x="147" y="30"/>
                      <a:pt x="151" y="34"/>
                    </a:cubicBezTo>
                    <a:cubicBezTo>
                      <a:pt x="155" y="38"/>
                      <a:pt x="165" y="49"/>
                      <a:pt x="161" y="51"/>
                    </a:cubicBezTo>
                    <a:cubicBezTo>
                      <a:pt x="157" y="53"/>
                      <a:pt x="151" y="45"/>
                      <a:pt x="149" y="52"/>
                    </a:cubicBezTo>
                    <a:cubicBezTo>
                      <a:pt x="147" y="59"/>
                      <a:pt x="141" y="79"/>
                      <a:pt x="141" y="79"/>
                    </a:cubicBezTo>
                    <a:cubicBezTo>
                      <a:pt x="141" y="79"/>
                      <a:pt x="128" y="102"/>
                      <a:pt x="128" y="108"/>
                    </a:cubicBezTo>
                    <a:cubicBezTo>
                      <a:pt x="128" y="114"/>
                      <a:pt x="141" y="138"/>
                      <a:pt x="141" y="142"/>
                    </a:cubicBezTo>
                    <a:cubicBezTo>
                      <a:pt x="141" y="146"/>
                      <a:pt x="159" y="161"/>
                      <a:pt x="159" y="161"/>
                    </a:cubicBezTo>
                    <a:cubicBezTo>
                      <a:pt x="133" y="276"/>
                      <a:pt x="133" y="276"/>
                      <a:pt x="133" y="276"/>
                    </a:cubicBezTo>
                    <a:cubicBezTo>
                      <a:pt x="0" y="325"/>
                      <a:pt x="0" y="325"/>
                      <a:pt x="0" y="325"/>
                    </a:cubicBezTo>
                    <a:cubicBezTo>
                      <a:pt x="54" y="445"/>
                      <a:pt x="54" y="445"/>
                      <a:pt x="54" y="445"/>
                    </a:cubicBezTo>
                    <a:cubicBezTo>
                      <a:pt x="81" y="434"/>
                      <a:pt x="159" y="415"/>
                      <a:pt x="162" y="410"/>
                    </a:cubicBezTo>
                    <a:cubicBezTo>
                      <a:pt x="167" y="404"/>
                      <a:pt x="169" y="375"/>
                      <a:pt x="169" y="375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Freeform 229">
                <a:extLst>
                  <a:ext uri="{FF2B5EF4-FFF2-40B4-BE49-F238E27FC236}">
                    <a16:creationId xmlns:a16="http://schemas.microsoft.com/office/drawing/2014/main" id="{9F13BAD5-1624-FFFE-F060-19214D4F153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877" y="-13320"/>
                <a:ext cx="116" cy="232"/>
              </a:xfrm>
              <a:custGeom>
                <a:avLst/>
                <a:gdLst>
                  <a:gd name="T0" fmla="*/ 16 w 49"/>
                  <a:gd name="T1" fmla="*/ 90 h 98"/>
                  <a:gd name="T2" fmla="*/ 24 w 49"/>
                  <a:gd name="T3" fmla="*/ 98 h 98"/>
                  <a:gd name="T4" fmla="*/ 30 w 49"/>
                  <a:gd name="T5" fmla="*/ 96 h 98"/>
                  <a:gd name="T6" fmla="*/ 30 w 49"/>
                  <a:gd name="T7" fmla="*/ 95 h 98"/>
                  <a:gd name="T8" fmla="*/ 47 w 49"/>
                  <a:gd name="T9" fmla="*/ 35 h 98"/>
                  <a:gd name="T10" fmla="*/ 22 w 49"/>
                  <a:gd name="T11" fmla="*/ 3 h 98"/>
                  <a:gd name="T12" fmla="*/ 9 w 49"/>
                  <a:gd name="T13" fmla="*/ 47 h 98"/>
                  <a:gd name="T14" fmla="*/ 1 w 49"/>
                  <a:gd name="T15" fmla="*/ 84 h 98"/>
                  <a:gd name="T16" fmla="*/ 0 w 49"/>
                  <a:gd name="T17" fmla="*/ 83 h 98"/>
                  <a:gd name="T18" fmla="*/ 6 w 49"/>
                  <a:gd name="T19" fmla="*/ 93 h 98"/>
                  <a:gd name="T20" fmla="*/ 16 w 49"/>
                  <a:gd name="T21" fmla="*/ 9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9" h="98">
                    <a:moveTo>
                      <a:pt x="16" y="90"/>
                    </a:moveTo>
                    <a:cubicBezTo>
                      <a:pt x="24" y="98"/>
                      <a:pt x="24" y="98"/>
                      <a:pt x="24" y="98"/>
                    </a:cubicBezTo>
                    <a:cubicBezTo>
                      <a:pt x="30" y="96"/>
                      <a:pt x="30" y="96"/>
                      <a:pt x="30" y="96"/>
                    </a:cubicBezTo>
                    <a:cubicBezTo>
                      <a:pt x="30" y="96"/>
                      <a:pt x="30" y="95"/>
                      <a:pt x="30" y="95"/>
                    </a:cubicBezTo>
                    <a:cubicBezTo>
                      <a:pt x="35" y="86"/>
                      <a:pt x="49" y="56"/>
                      <a:pt x="47" y="35"/>
                    </a:cubicBezTo>
                    <a:cubicBezTo>
                      <a:pt x="45" y="14"/>
                      <a:pt x="31" y="0"/>
                      <a:pt x="22" y="3"/>
                    </a:cubicBezTo>
                    <a:cubicBezTo>
                      <a:pt x="12" y="6"/>
                      <a:pt x="10" y="32"/>
                      <a:pt x="9" y="47"/>
                    </a:cubicBezTo>
                    <a:cubicBezTo>
                      <a:pt x="9" y="62"/>
                      <a:pt x="9" y="83"/>
                      <a:pt x="1" y="84"/>
                    </a:cubicBezTo>
                    <a:cubicBezTo>
                      <a:pt x="1" y="84"/>
                      <a:pt x="1" y="84"/>
                      <a:pt x="0" y="83"/>
                    </a:cubicBezTo>
                    <a:cubicBezTo>
                      <a:pt x="6" y="93"/>
                      <a:pt x="6" y="93"/>
                      <a:pt x="6" y="93"/>
                    </a:cubicBezTo>
                    <a:lnTo>
                      <a:pt x="16" y="9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Freeform 230">
                <a:extLst>
                  <a:ext uri="{FF2B5EF4-FFF2-40B4-BE49-F238E27FC236}">
                    <a16:creationId xmlns:a16="http://schemas.microsoft.com/office/drawing/2014/main" id="{7A9A5DB8-1DDA-4B2F-37E1-44F433867E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6" y="-14685"/>
                <a:ext cx="1656" cy="1665"/>
              </a:xfrm>
              <a:custGeom>
                <a:avLst/>
                <a:gdLst>
                  <a:gd name="T0" fmla="*/ 639 w 701"/>
                  <a:gd name="T1" fmla="*/ 64 h 705"/>
                  <a:gd name="T2" fmla="*/ 584 w 701"/>
                  <a:gd name="T3" fmla="*/ 14 h 705"/>
                  <a:gd name="T4" fmla="*/ 541 w 701"/>
                  <a:gd name="T5" fmla="*/ 0 h 705"/>
                  <a:gd name="T6" fmla="*/ 479 w 701"/>
                  <a:gd name="T7" fmla="*/ 10 h 705"/>
                  <a:gd name="T8" fmla="*/ 408 w 701"/>
                  <a:gd name="T9" fmla="*/ 46 h 705"/>
                  <a:gd name="T10" fmla="*/ 433 w 701"/>
                  <a:gd name="T11" fmla="*/ 110 h 705"/>
                  <a:gd name="T12" fmla="*/ 418 w 701"/>
                  <a:gd name="T13" fmla="*/ 160 h 705"/>
                  <a:gd name="T14" fmla="*/ 395 w 701"/>
                  <a:gd name="T15" fmla="*/ 168 h 705"/>
                  <a:gd name="T16" fmla="*/ 370 w 701"/>
                  <a:gd name="T17" fmla="*/ 171 h 705"/>
                  <a:gd name="T18" fmla="*/ 401 w 701"/>
                  <a:gd name="T19" fmla="*/ 197 h 705"/>
                  <a:gd name="T20" fmla="*/ 363 w 701"/>
                  <a:gd name="T21" fmla="*/ 238 h 705"/>
                  <a:gd name="T22" fmla="*/ 348 w 701"/>
                  <a:gd name="T23" fmla="*/ 293 h 705"/>
                  <a:gd name="T24" fmla="*/ 305 w 701"/>
                  <a:gd name="T25" fmla="*/ 289 h 705"/>
                  <a:gd name="T26" fmla="*/ 266 w 701"/>
                  <a:gd name="T27" fmla="*/ 312 h 705"/>
                  <a:gd name="T28" fmla="*/ 242 w 701"/>
                  <a:gd name="T29" fmla="*/ 355 h 705"/>
                  <a:gd name="T30" fmla="*/ 157 w 701"/>
                  <a:gd name="T31" fmla="*/ 404 h 705"/>
                  <a:gd name="T32" fmla="*/ 100 w 701"/>
                  <a:gd name="T33" fmla="*/ 405 h 705"/>
                  <a:gd name="T34" fmla="*/ 0 w 701"/>
                  <a:gd name="T35" fmla="*/ 389 h 705"/>
                  <a:gd name="T36" fmla="*/ 77 w 701"/>
                  <a:gd name="T37" fmla="*/ 462 h 705"/>
                  <a:gd name="T38" fmla="*/ 98 w 701"/>
                  <a:gd name="T39" fmla="*/ 492 h 705"/>
                  <a:gd name="T40" fmla="*/ 120 w 701"/>
                  <a:gd name="T41" fmla="*/ 529 h 705"/>
                  <a:gd name="T42" fmla="*/ 85 w 701"/>
                  <a:gd name="T43" fmla="*/ 575 h 705"/>
                  <a:gd name="T44" fmla="*/ 60 w 701"/>
                  <a:gd name="T45" fmla="*/ 600 h 705"/>
                  <a:gd name="T46" fmla="*/ 110 w 701"/>
                  <a:gd name="T47" fmla="*/ 635 h 705"/>
                  <a:gd name="T48" fmla="*/ 208 w 701"/>
                  <a:gd name="T49" fmla="*/ 615 h 705"/>
                  <a:gd name="T50" fmla="*/ 299 w 701"/>
                  <a:gd name="T51" fmla="*/ 662 h 705"/>
                  <a:gd name="T52" fmla="*/ 381 w 701"/>
                  <a:gd name="T53" fmla="*/ 705 h 705"/>
                  <a:gd name="T54" fmla="*/ 416 w 701"/>
                  <a:gd name="T55" fmla="*/ 689 h 705"/>
                  <a:gd name="T56" fmla="*/ 467 w 701"/>
                  <a:gd name="T57" fmla="*/ 679 h 705"/>
                  <a:gd name="T58" fmla="*/ 492 w 701"/>
                  <a:gd name="T59" fmla="*/ 654 h 705"/>
                  <a:gd name="T60" fmla="*/ 455 w 701"/>
                  <a:gd name="T61" fmla="*/ 604 h 705"/>
                  <a:gd name="T62" fmla="*/ 447 w 701"/>
                  <a:gd name="T63" fmla="*/ 559 h 705"/>
                  <a:gd name="T64" fmla="*/ 423 w 701"/>
                  <a:gd name="T65" fmla="*/ 522 h 705"/>
                  <a:gd name="T66" fmla="*/ 470 w 701"/>
                  <a:gd name="T67" fmla="*/ 500 h 705"/>
                  <a:gd name="T68" fmla="*/ 518 w 701"/>
                  <a:gd name="T69" fmla="*/ 472 h 705"/>
                  <a:gd name="T70" fmla="*/ 560 w 701"/>
                  <a:gd name="T71" fmla="*/ 425 h 705"/>
                  <a:gd name="T72" fmla="*/ 581 w 701"/>
                  <a:gd name="T73" fmla="*/ 358 h 705"/>
                  <a:gd name="T74" fmla="*/ 604 w 701"/>
                  <a:gd name="T75" fmla="*/ 297 h 705"/>
                  <a:gd name="T76" fmla="*/ 624 w 701"/>
                  <a:gd name="T77" fmla="*/ 248 h 705"/>
                  <a:gd name="T78" fmla="*/ 583 w 701"/>
                  <a:gd name="T79" fmla="*/ 225 h 705"/>
                  <a:gd name="T80" fmla="*/ 567 w 701"/>
                  <a:gd name="T81" fmla="*/ 194 h 705"/>
                  <a:gd name="T82" fmla="*/ 548 w 701"/>
                  <a:gd name="T83" fmla="*/ 161 h 705"/>
                  <a:gd name="T84" fmla="*/ 557 w 701"/>
                  <a:gd name="T85" fmla="*/ 123 h 705"/>
                  <a:gd name="T86" fmla="*/ 643 w 701"/>
                  <a:gd name="T87" fmla="*/ 123 h 705"/>
                  <a:gd name="T88" fmla="*/ 667 w 701"/>
                  <a:gd name="T89" fmla="*/ 122 h 705"/>
                  <a:gd name="T90" fmla="*/ 700 w 701"/>
                  <a:gd name="T91" fmla="*/ 8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01" h="705">
                    <a:moveTo>
                      <a:pt x="671" y="81"/>
                    </a:moveTo>
                    <a:cubicBezTo>
                      <a:pt x="652" y="80"/>
                      <a:pt x="647" y="60"/>
                      <a:pt x="647" y="60"/>
                    </a:cubicBezTo>
                    <a:cubicBezTo>
                      <a:pt x="639" y="64"/>
                      <a:pt x="639" y="64"/>
                      <a:pt x="639" y="64"/>
                    </a:cubicBezTo>
                    <a:cubicBezTo>
                      <a:pt x="618" y="56"/>
                      <a:pt x="618" y="56"/>
                      <a:pt x="618" y="56"/>
                    </a:cubicBezTo>
                    <a:cubicBezTo>
                      <a:pt x="618" y="56"/>
                      <a:pt x="617" y="35"/>
                      <a:pt x="608" y="25"/>
                    </a:cubicBezTo>
                    <a:cubicBezTo>
                      <a:pt x="599" y="15"/>
                      <a:pt x="584" y="14"/>
                      <a:pt x="584" y="14"/>
                    </a:cubicBezTo>
                    <a:cubicBezTo>
                      <a:pt x="581" y="5"/>
                      <a:pt x="581" y="5"/>
                      <a:pt x="581" y="5"/>
                    </a:cubicBezTo>
                    <a:cubicBezTo>
                      <a:pt x="560" y="5"/>
                      <a:pt x="560" y="5"/>
                      <a:pt x="560" y="5"/>
                    </a:cubicBezTo>
                    <a:cubicBezTo>
                      <a:pt x="560" y="5"/>
                      <a:pt x="549" y="4"/>
                      <a:pt x="541" y="0"/>
                    </a:cubicBezTo>
                    <a:cubicBezTo>
                      <a:pt x="535" y="4"/>
                      <a:pt x="526" y="9"/>
                      <a:pt x="523" y="10"/>
                    </a:cubicBezTo>
                    <a:cubicBezTo>
                      <a:pt x="518" y="11"/>
                      <a:pt x="508" y="5"/>
                      <a:pt x="505" y="5"/>
                    </a:cubicBezTo>
                    <a:cubicBezTo>
                      <a:pt x="502" y="5"/>
                      <a:pt x="479" y="10"/>
                      <a:pt x="479" y="10"/>
                    </a:cubicBezTo>
                    <a:cubicBezTo>
                      <a:pt x="479" y="10"/>
                      <a:pt x="462" y="9"/>
                      <a:pt x="455" y="12"/>
                    </a:cubicBezTo>
                    <a:cubicBezTo>
                      <a:pt x="448" y="15"/>
                      <a:pt x="425" y="31"/>
                      <a:pt x="425" y="31"/>
                    </a:cubicBezTo>
                    <a:cubicBezTo>
                      <a:pt x="425" y="31"/>
                      <a:pt x="414" y="34"/>
                      <a:pt x="408" y="46"/>
                    </a:cubicBezTo>
                    <a:cubicBezTo>
                      <a:pt x="402" y="58"/>
                      <a:pt x="407" y="54"/>
                      <a:pt x="418" y="66"/>
                    </a:cubicBezTo>
                    <a:cubicBezTo>
                      <a:pt x="429" y="78"/>
                      <a:pt x="426" y="95"/>
                      <a:pt x="426" y="95"/>
                    </a:cubicBezTo>
                    <a:cubicBezTo>
                      <a:pt x="426" y="95"/>
                      <a:pt x="436" y="103"/>
                      <a:pt x="433" y="110"/>
                    </a:cubicBezTo>
                    <a:cubicBezTo>
                      <a:pt x="430" y="117"/>
                      <a:pt x="413" y="125"/>
                      <a:pt x="412" y="134"/>
                    </a:cubicBezTo>
                    <a:cubicBezTo>
                      <a:pt x="411" y="143"/>
                      <a:pt x="418" y="144"/>
                      <a:pt x="418" y="144"/>
                    </a:cubicBezTo>
                    <a:cubicBezTo>
                      <a:pt x="418" y="144"/>
                      <a:pt x="419" y="153"/>
                      <a:pt x="418" y="160"/>
                    </a:cubicBezTo>
                    <a:cubicBezTo>
                      <a:pt x="417" y="167"/>
                      <a:pt x="406" y="164"/>
                      <a:pt x="406" y="164"/>
                    </a:cubicBezTo>
                    <a:cubicBezTo>
                      <a:pt x="402" y="171"/>
                      <a:pt x="402" y="171"/>
                      <a:pt x="402" y="171"/>
                    </a:cubicBezTo>
                    <a:cubicBezTo>
                      <a:pt x="395" y="168"/>
                      <a:pt x="395" y="168"/>
                      <a:pt x="395" y="168"/>
                    </a:cubicBezTo>
                    <a:cubicBezTo>
                      <a:pt x="384" y="167"/>
                      <a:pt x="384" y="167"/>
                      <a:pt x="384" y="167"/>
                    </a:cubicBezTo>
                    <a:cubicBezTo>
                      <a:pt x="384" y="167"/>
                      <a:pt x="377" y="159"/>
                      <a:pt x="373" y="160"/>
                    </a:cubicBezTo>
                    <a:cubicBezTo>
                      <a:pt x="369" y="161"/>
                      <a:pt x="369" y="166"/>
                      <a:pt x="370" y="171"/>
                    </a:cubicBezTo>
                    <a:cubicBezTo>
                      <a:pt x="371" y="176"/>
                      <a:pt x="386" y="180"/>
                      <a:pt x="386" y="180"/>
                    </a:cubicBezTo>
                    <a:cubicBezTo>
                      <a:pt x="386" y="180"/>
                      <a:pt x="386" y="184"/>
                      <a:pt x="388" y="191"/>
                    </a:cubicBezTo>
                    <a:cubicBezTo>
                      <a:pt x="390" y="198"/>
                      <a:pt x="401" y="197"/>
                      <a:pt x="401" y="197"/>
                    </a:cubicBezTo>
                    <a:cubicBezTo>
                      <a:pt x="381" y="211"/>
                      <a:pt x="381" y="211"/>
                      <a:pt x="381" y="211"/>
                    </a:cubicBezTo>
                    <a:cubicBezTo>
                      <a:pt x="381" y="211"/>
                      <a:pt x="368" y="210"/>
                      <a:pt x="364" y="213"/>
                    </a:cubicBezTo>
                    <a:cubicBezTo>
                      <a:pt x="360" y="216"/>
                      <a:pt x="363" y="238"/>
                      <a:pt x="363" y="238"/>
                    </a:cubicBezTo>
                    <a:cubicBezTo>
                      <a:pt x="363" y="238"/>
                      <a:pt x="357" y="235"/>
                      <a:pt x="356" y="247"/>
                    </a:cubicBezTo>
                    <a:cubicBezTo>
                      <a:pt x="355" y="259"/>
                      <a:pt x="364" y="277"/>
                      <a:pt x="364" y="277"/>
                    </a:cubicBezTo>
                    <a:cubicBezTo>
                      <a:pt x="364" y="277"/>
                      <a:pt x="361" y="286"/>
                      <a:pt x="348" y="293"/>
                    </a:cubicBezTo>
                    <a:cubicBezTo>
                      <a:pt x="335" y="300"/>
                      <a:pt x="338" y="281"/>
                      <a:pt x="338" y="281"/>
                    </a:cubicBezTo>
                    <a:cubicBezTo>
                      <a:pt x="338" y="281"/>
                      <a:pt x="328" y="283"/>
                      <a:pt x="320" y="283"/>
                    </a:cubicBezTo>
                    <a:cubicBezTo>
                      <a:pt x="312" y="283"/>
                      <a:pt x="305" y="289"/>
                      <a:pt x="305" y="289"/>
                    </a:cubicBezTo>
                    <a:cubicBezTo>
                      <a:pt x="305" y="289"/>
                      <a:pt x="291" y="293"/>
                      <a:pt x="287" y="298"/>
                    </a:cubicBezTo>
                    <a:cubicBezTo>
                      <a:pt x="283" y="303"/>
                      <a:pt x="300" y="305"/>
                      <a:pt x="298" y="311"/>
                    </a:cubicBezTo>
                    <a:cubicBezTo>
                      <a:pt x="296" y="317"/>
                      <a:pt x="266" y="312"/>
                      <a:pt x="266" y="312"/>
                    </a:cubicBezTo>
                    <a:cubicBezTo>
                      <a:pt x="266" y="312"/>
                      <a:pt x="270" y="306"/>
                      <a:pt x="262" y="306"/>
                    </a:cubicBezTo>
                    <a:cubicBezTo>
                      <a:pt x="254" y="306"/>
                      <a:pt x="239" y="319"/>
                      <a:pt x="237" y="325"/>
                    </a:cubicBezTo>
                    <a:cubicBezTo>
                      <a:pt x="235" y="331"/>
                      <a:pt x="242" y="355"/>
                      <a:pt x="242" y="355"/>
                    </a:cubicBezTo>
                    <a:cubicBezTo>
                      <a:pt x="242" y="355"/>
                      <a:pt x="248" y="375"/>
                      <a:pt x="246" y="381"/>
                    </a:cubicBezTo>
                    <a:cubicBezTo>
                      <a:pt x="244" y="387"/>
                      <a:pt x="205" y="400"/>
                      <a:pt x="202" y="401"/>
                    </a:cubicBezTo>
                    <a:cubicBezTo>
                      <a:pt x="199" y="402"/>
                      <a:pt x="157" y="404"/>
                      <a:pt x="157" y="404"/>
                    </a:cubicBezTo>
                    <a:cubicBezTo>
                      <a:pt x="157" y="404"/>
                      <a:pt x="156" y="410"/>
                      <a:pt x="144" y="410"/>
                    </a:cubicBezTo>
                    <a:cubicBezTo>
                      <a:pt x="132" y="410"/>
                      <a:pt x="135" y="406"/>
                      <a:pt x="135" y="406"/>
                    </a:cubicBezTo>
                    <a:cubicBezTo>
                      <a:pt x="100" y="405"/>
                      <a:pt x="100" y="405"/>
                      <a:pt x="100" y="405"/>
                    </a:cubicBezTo>
                    <a:cubicBezTo>
                      <a:pt x="100" y="405"/>
                      <a:pt x="102" y="410"/>
                      <a:pt x="81" y="412"/>
                    </a:cubicBezTo>
                    <a:cubicBezTo>
                      <a:pt x="60" y="414"/>
                      <a:pt x="30" y="396"/>
                      <a:pt x="21" y="391"/>
                    </a:cubicBezTo>
                    <a:cubicBezTo>
                      <a:pt x="12" y="386"/>
                      <a:pt x="0" y="389"/>
                      <a:pt x="0" y="389"/>
                    </a:cubicBezTo>
                    <a:cubicBezTo>
                      <a:pt x="0" y="389"/>
                      <a:pt x="20" y="408"/>
                      <a:pt x="26" y="419"/>
                    </a:cubicBezTo>
                    <a:cubicBezTo>
                      <a:pt x="32" y="430"/>
                      <a:pt x="46" y="450"/>
                      <a:pt x="54" y="460"/>
                    </a:cubicBezTo>
                    <a:cubicBezTo>
                      <a:pt x="62" y="470"/>
                      <a:pt x="77" y="462"/>
                      <a:pt x="77" y="462"/>
                    </a:cubicBezTo>
                    <a:cubicBezTo>
                      <a:pt x="86" y="473"/>
                      <a:pt x="86" y="473"/>
                      <a:pt x="86" y="473"/>
                    </a:cubicBezTo>
                    <a:cubicBezTo>
                      <a:pt x="99" y="472"/>
                      <a:pt x="99" y="472"/>
                      <a:pt x="99" y="472"/>
                    </a:cubicBezTo>
                    <a:cubicBezTo>
                      <a:pt x="98" y="492"/>
                      <a:pt x="98" y="492"/>
                      <a:pt x="98" y="492"/>
                    </a:cubicBezTo>
                    <a:cubicBezTo>
                      <a:pt x="101" y="494"/>
                      <a:pt x="101" y="494"/>
                      <a:pt x="101" y="494"/>
                    </a:cubicBezTo>
                    <a:cubicBezTo>
                      <a:pt x="101" y="494"/>
                      <a:pt x="100" y="517"/>
                      <a:pt x="103" y="524"/>
                    </a:cubicBezTo>
                    <a:cubicBezTo>
                      <a:pt x="106" y="531"/>
                      <a:pt x="112" y="518"/>
                      <a:pt x="120" y="529"/>
                    </a:cubicBezTo>
                    <a:cubicBezTo>
                      <a:pt x="128" y="540"/>
                      <a:pt x="129" y="556"/>
                      <a:pt x="125" y="561"/>
                    </a:cubicBezTo>
                    <a:cubicBezTo>
                      <a:pt x="121" y="566"/>
                      <a:pt x="119" y="553"/>
                      <a:pt x="101" y="559"/>
                    </a:cubicBezTo>
                    <a:cubicBezTo>
                      <a:pt x="83" y="565"/>
                      <a:pt x="89" y="569"/>
                      <a:pt x="85" y="575"/>
                    </a:cubicBezTo>
                    <a:cubicBezTo>
                      <a:pt x="81" y="581"/>
                      <a:pt x="72" y="579"/>
                      <a:pt x="72" y="579"/>
                    </a:cubicBezTo>
                    <a:cubicBezTo>
                      <a:pt x="70" y="590"/>
                      <a:pt x="70" y="590"/>
                      <a:pt x="70" y="590"/>
                    </a:cubicBezTo>
                    <a:cubicBezTo>
                      <a:pt x="70" y="590"/>
                      <a:pt x="66" y="597"/>
                      <a:pt x="60" y="600"/>
                    </a:cubicBezTo>
                    <a:cubicBezTo>
                      <a:pt x="55" y="602"/>
                      <a:pt x="59" y="630"/>
                      <a:pt x="60" y="637"/>
                    </a:cubicBezTo>
                    <a:cubicBezTo>
                      <a:pt x="70" y="633"/>
                      <a:pt x="78" y="628"/>
                      <a:pt x="78" y="628"/>
                    </a:cubicBezTo>
                    <a:cubicBezTo>
                      <a:pt x="78" y="628"/>
                      <a:pt x="100" y="635"/>
                      <a:pt x="110" y="635"/>
                    </a:cubicBezTo>
                    <a:cubicBezTo>
                      <a:pt x="120" y="636"/>
                      <a:pt x="149" y="620"/>
                      <a:pt x="149" y="620"/>
                    </a:cubicBezTo>
                    <a:cubicBezTo>
                      <a:pt x="149" y="620"/>
                      <a:pt x="165" y="628"/>
                      <a:pt x="175" y="626"/>
                    </a:cubicBezTo>
                    <a:cubicBezTo>
                      <a:pt x="186" y="624"/>
                      <a:pt x="208" y="615"/>
                      <a:pt x="208" y="615"/>
                    </a:cubicBezTo>
                    <a:cubicBezTo>
                      <a:pt x="234" y="622"/>
                      <a:pt x="234" y="622"/>
                      <a:pt x="234" y="622"/>
                    </a:cubicBezTo>
                    <a:cubicBezTo>
                      <a:pt x="234" y="622"/>
                      <a:pt x="249" y="601"/>
                      <a:pt x="267" y="613"/>
                    </a:cubicBezTo>
                    <a:cubicBezTo>
                      <a:pt x="284" y="624"/>
                      <a:pt x="285" y="659"/>
                      <a:pt x="299" y="662"/>
                    </a:cubicBezTo>
                    <a:cubicBezTo>
                      <a:pt x="313" y="665"/>
                      <a:pt x="339" y="665"/>
                      <a:pt x="348" y="674"/>
                    </a:cubicBezTo>
                    <a:cubicBezTo>
                      <a:pt x="358" y="683"/>
                      <a:pt x="359" y="704"/>
                      <a:pt x="370" y="705"/>
                    </a:cubicBezTo>
                    <a:cubicBezTo>
                      <a:pt x="373" y="705"/>
                      <a:pt x="377" y="705"/>
                      <a:pt x="381" y="705"/>
                    </a:cubicBezTo>
                    <a:cubicBezTo>
                      <a:pt x="394" y="700"/>
                      <a:pt x="394" y="700"/>
                      <a:pt x="394" y="700"/>
                    </a:cubicBezTo>
                    <a:cubicBezTo>
                      <a:pt x="394" y="700"/>
                      <a:pt x="385" y="684"/>
                      <a:pt x="396" y="683"/>
                    </a:cubicBezTo>
                    <a:cubicBezTo>
                      <a:pt x="407" y="682"/>
                      <a:pt x="416" y="689"/>
                      <a:pt x="416" y="689"/>
                    </a:cubicBezTo>
                    <a:cubicBezTo>
                      <a:pt x="433" y="683"/>
                      <a:pt x="433" y="683"/>
                      <a:pt x="433" y="683"/>
                    </a:cubicBezTo>
                    <a:cubicBezTo>
                      <a:pt x="433" y="683"/>
                      <a:pt x="430" y="691"/>
                      <a:pt x="444" y="691"/>
                    </a:cubicBezTo>
                    <a:cubicBezTo>
                      <a:pt x="458" y="691"/>
                      <a:pt x="456" y="681"/>
                      <a:pt x="467" y="679"/>
                    </a:cubicBezTo>
                    <a:cubicBezTo>
                      <a:pt x="478" y="677"/>
                      <a:pt x="468" y="688"/>
                      <a:pt x="479" y="688"/>
                    </a:cubicBezTo>
                    <a:cubicBezTo>
                      <a:pt x="490" y="688"/>
                      <a:pt x="499" y="687"/>
                      <a:pt x="501" y="678"/>
                    </a:cubicBezTo>
                    <a:cubicBezTo>
                      <a:pt x="503" y="669"/>
                      <a:pt x="492" y="654"/>
                      <a:pt x="492" y="654"/>
                    </a:cubicBezTo>
                    <a:cubicBezTo>
                      <a:pt x="478" y="626"/>
                      <a:pt x="478" y="626"/>
                      <a:pt x="478" y="626"/>
                    </a:cubicBezTo>
                    <a:cubicBezTo>
                      <a:pt x="478" y="611"/>
                      <a:pt x="478" y="611"/>
                      <a:pt x="478" y="611"/>
                    </a:cubicBezTo>
                    <a:cubicBezTo>
                      <a:pt x="478" y="611"/>
                      <a:pt x="462" y="611"/>
                      <a:pt x="455" y="604"/>
                    </a:cubicBezTo>
                    <a:cubicBezTo>
                      <a:pt x="448" y="597"/>
                      <a:pt x="446" y="589"/>
                      <a:pt x="446" y="589"/>
                    </a:cubicBezTo>
                    <a:cubicBezTo>
                      <a:pt x="448" y="569"/>
                      <a:pt x="448" y="569"/>
                      <a:pt x="448" y="569"/>
                    </a:cubicBezTo>
                    <a:cubicBezTo>
                      <a:pt x="447" y="559"/>
                      <a:pt x="447" y="559"/>
                      <a:pt x="447" y="559"/>
                    </a:cubicBezTo>
                    <a:cubicBezTo>
                      <a:pt x="429" y="561"/>
                      <a:pt x="429" y="561"/>
                      <a:pt x="429" y="561"/>
                    </a:cubicBezTo>
                    <a:cubicBezTo>
                      <a:pt x="429" y="561"/>
                      <a:pt x="414" y="563"/>
                      <a:pt x="414" y="546"/>
                    </a:cubicBezTo>
                    <a:cubicBezTo>
                      <a:pt x="414" y="529"/>
                      <a:pt x="415" y="529"/>
                      <a:pt x="423" y="522"/>
                    </a:cubicBezTo>
                    <a:cubicBezTo>
                      <a:pt x="431" y="515"/>
                      <a:pt x="438" y="503"/>
                      <a:pt x="438" y="503"/>
                    </a:cubicBezTo>
                    <a:cubicBezTo>
                      <a:pt x="438" y="503"/>
                      <a:pt x="437" y="489"/>
                      <a:pt x="451" y="487"/>
                    </a:cubicBezTo>
                    <a:cubicBezTo>
                      <a:pt x="465" y="485"/>
                      <a:pt x="457" y="502"/>
                      <a:pt x="470" y="500"/>
                    </a:cubicBezTo>
                    <a:cubicBezTo>
                      <a:pt x="483" y="498"/>
                      <a:pt x="488" y="490"/>
                      <a:pt x="488" y="490"/>
                    </a:cubicBezTo>
                    <a:cubicBezTo>
                      <a:pt x="488" y="490"/>
                      <a:pt x="503" y="498"/>
                      <a:pt x="510" y="490"/>
                    </a:cubicBezTo>
                    <a:cubicBezTo>
                      <a:pt x="517" y="482"/>
                      <a:pt x="518" y="472"/>
                      <a:pt x="518" y="472"/>
                    </a:cubicBezTo>
                    <a:cubicBezTo>
                      <a:pt x="527" y="467"/>
                      <a:pt x="527" y="467"/>
                      <a:pt x="527" y="467"/>
                    </a:cubicBezTo>
                    <a:cubicBezTo>
                      <a:pt x="527" y="467"/>
                      <a:pt x="528" y="447"/>
                      <a:pt x="532" y="444"/>
                    </a:cubicBezTo>
                    <a:cubicBezTo>
                      <a:pt x="536" y="441"/>
                      <a:pt x="552" y="438"/>
                      <a:pt x="560" y="425"/>
                    </a:cubicBezTo>
                    <a:cubicBezTo>
                      <a:pt x="568" y="412"/>
                      <a:pt x="565" y="394"/>
                      <a:pt x="569" y="385"/>
                    </a:cubicBezTo>
                    <a:cubicBezTo>
                      <a:pt x="573" y="376"/>
                      <a:pt x="592" y="375"/>
                      <a:pt x="592" y="375"/>
                    </a:cubicBezTo>
                    <a:cubicBezTo>
                      <a:pt x="581" y="358"/>
                      <a:pt x="581" y="358"/>
                      <a:pt x="581" y="358"/>
                    </a:cubicBezTo>
                    <a:cubicBezTo>
                      <a:pt x="598" y="334"/>
                      <a:pt x="598" y="334"/>
                      <a:pt x="598" y="334"/>
                    </a:cubicBezTo>
                    <a:cubicBezTo>
                      <a:pt x="616" y="321"/>
                      <a:pt x="616" y="321"/>
                      <a:pt x="616" y="321"/>
                    </a:cubicBezTo>
                    <a:cubicBezTo>
                      <a:pt x="616" y="321"/>
                      <a:pt x="604" y="301"/>
                      <a:pt x="604" y="297"/>
                    </a:cubicBezTo>
                    <a:cubicBezTo>
                      <a:pt x="604" y="293"/>
                      <a:pt x="601" y="279"/>
                      <a:pt x="605" y="277"/>
                    </a:cubicBezTo>
                    <a:cubicBezTo>
                      <a:pt x="609" y="275"/>
                      <a:pt x="638" y="271"/>
                      <a:pt x="637" y="262"/>
                    </a:cubicBezTo>
                    <a:cubicBezTo>
                      <a:pt x="636" y="253"/>
                      <a:pt x="624" y="248"/>
                      <a:pt x="624" y="248"/>
                    </a:cubicBezTo>
                    <a:cubicBezTo>
                      <a:pt x="600" y="249"/>
                      <a:pt x="600" y="249"/>
                      <a:pt x="600" y="249"/>
                    </a:cubicBezTo>
                    <a:cubicBezTo>
                      <a:pt x="597" y="226"/>
                      <a:pt x="597" y="226"/>
                      <a:pt x="597" y="226"/>
                    </a:cubicBezTo>
                    <a:cubicBezTo>
                      <a:pt x="583" y="225"/>
                      <a:pt x="583" y="225"/>
                      <a:pt x="583" y="225"/>
                    </a:cubicBezTo>
                    <a:cubicBezTo>
                      <a:pt x="575" y="215"/>
                      <a:pt x="575" y="215"/>
                      <a:pt x="575" y="215"/>
                    </a:cubicBezTo>
                    <a:cubicBezTo>
                      <a:pt x="575" y="215"/>
                      <a:pt x="564" y="218"/>
                      <a:pt x="565" y="210"/>
                    </a:cubicBezTo>
                    <a:cubicBezTo>
                      <a:pt x="566" y="202"/>
                      <a:pt x="567" y="194"/>
                      <a:pt x="567" y="194"/>
                    </a:cubicBezTo>
                    <a:cubicBezTo>
                      <a:pt x="567" y="194"/>
                      <a:pt x="553" y="193"/>
                      <a:pt x="556" y="183"/>
                    </a:cubicBezTo>
                    <a:cubicBezTo>
                      <a:pt x="559" y="173"/>
                      <a:pt x="568" y="165"/>
                      <a:pt x="568" y="165"/>
                    </a:cubicBezTo>
                    <a:cubicBezTo>
                      <a:pt x="548" y="161"/>
                      <a:pt x="548" y="161"/>
                      <a:pt x="548" y="161"/>
                    </a:cubicBezTo>
                    <a:cubicBezTo>
                      <a:pt x="552" y="152"/>
                      <a:pt x="552" y="152"/>
                      <a:pt x="552" y="152"/>
                    </a:cubicBezTo>
                    <a:cubicBezTo>
                      <a:pt x="537" y="142"/>
                      <a:pt x="537" y="142"/>
                      <a:pt x="537" y="142"/>
                    </a:cubicBezTo>
                    <a:cubicBezTo>
                      <a:pt x="537" y="142"/>
                      <a:pt x="535" y="126"/>
                      <a:pt x="557" y="123"/>
                    </a:cubicBezTo>
                    <a:cubicBezTo>
                      <a:pt x="579" y="120"/>
                      <a:pt x="608" y="126"/>
                      <a:pt x="608" y="126"/>
                    </a:cubicBezTo>
                    <a:cubicBezTo>
                      <a:pt x="608" y="126"/>
                      <a:pt x="611" y="138"/>
                      <a:pt x="618" y="137"/>
                    </a:cubicBezTo>
                    <a:cubicBezTo>
                      <a:pt x="625" y="136"/>
                      <a:pt x="643" y="123"/>
                      <a:pt x="643" y="123"/>
                    </a:cubicBezTo>
                    <a:cubicBezTo>
                      <a:pt x="647" y="127"/>
                      <a:pt x="647" y="127"/>
                      <a:pt x="647" y="127"/>
                    </a:cubicBezTo>
                    <a:cubicBezTo>
                      <a:pt x="653" y="122"/>
                      <a:pt x="653" y="122"/>
                      <a:pt x="653" y="122"/>
                    </a:cubicBezTo>
                    <a:cubicBezTo>
                      <a:pt x="653" y="122"/>
                      <a:pt x="664" y="123"/>
                      <a:pt x="667" y="122"/>
                    </a:cubicBezTo>
                    <a:cubicBezTo>
                      <a:pt x="670" y="121"/>
                      <a:pt x="670" y="110"/>
                      <a:pt x="670" y="110"/>
                    </a:cubicBezTo>
                    <a:cubicBezTo>
                      <a:pt x="685" y="104"/>
                      <a:pt x="685" y="104"/>
                      <a:pt x="685" y="104"/>
                    </a:cubicBezTo>
                    <a:cubicBezTo>
                      <a:pt x="700" y="82"/>
                      <a:pt x="700" y="82"/>
                      <a:pt x="700" y="82"/>
                    </a:cubicBezTo>
                    <a:cubicBezTo>
                      <a:pt x="701" y="82"/>
                      <a:pt x="701" y="82"/>
                      <a:pt x="701" y="82"/>
                    </a:cubicBezTo>
                    <a:cubicBezTo>
                      <a:pt x="692" y="82"/>
                      <a:pt x="680" y="81"/>
                      <a:pt x="671" y="8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231">
                <a:extLst>
                  <a:ext uri="{FF2B5EF4-FFF2-40B4-BE49-F238E27FC236}">
                    <a16:creationId xmlns:a16="http://schemas.microsoft.com/office/drawing/2014/main" id="{487DE37C-4A79-D495-3E4D-72861B2E112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275" y="-14726"/>
                <a:ext cx="1072" cy="1045"/>
              </a:xfrm>
              <a:custGeom>
                <a:avLst/>
                <a:gdLst>
                  <a:gd name="T0" fmla="*/ 448 w 454"/>
                  <a:gd name="T1" fmla="*/ 378 h 442"/>
                  <a:gd name="T2" fmla="*/ 432 w 454"/>
                  <a:gd name="T3" fmla="*/ 365 h 442"/>
                  <a:gd name="T4" fmla="*/ 428 w 454"/>
                  <a:gd name="T5" fmla="*/ 346 h 442"/>
                  <a:gd name="T6" fmla="*/ 415 w 454"/>
                  <a:gd name="T7" fmla="*/ 340 h 442"/>
                  <a:gd name="T8" fmla="*/ 415 w 454"/>
                  <a:gd name="T9" fmla="*/ 295 h 442"/>
                  <a:gd name="T10" fmla="*/ 393 w 454"/>
                  <a:gd name="T11" fmla="*/ 270 h 442"/>
                  <a:gd name="T12" fmla="*/ 380 w 454"/>
                  <a:gd name="T13" fmla="*/ 258 h 442"/>
                  <a:gd name="T14" fmla="*/ 348 w 454"/>
                  <a:gd name="T15" fmla="*/ 240 h 442"/>
                  <a:gd name="T16" fmla="*/ 335 w 454"/>
                  <a:gd name="T17" fmla="*/ 239 h 442"/>
                  <a:gd name="T18" fmla="*/ 335 w 454"/>
                  <a:gd name="T19" fmla="*/ 212 h 442"/>
                  <a:gd name="T20" fmla="*/ 291 w 454"/>
                  <a:gd name="T21" fmla="*/ 182 h 442"/>
                  <a:gd name="T22" fmla="*/ 299 w 454"/>
                  <a:gd name="T23" fmla="*/ 168 h 442"/>
                  <a:gd name="T24" fmla="*/ 291 w 454"/>
                  <a:gd name="T25" fmla="*/ 154 h 442"/>
                  <a:gd name="T26" fmla="*/ 305 w 454"/>
                  <a:gd name="T27" fmla="*/ 148 h 442"/>
                  <a:gd name="T28" fmla="*/ 304 w 454"/>
                  <a:gd name="T29" fmla="*/ 135 h 442"/>
                  <a:gd name="T30" fmla="*/ 305 w 454"/>
                  <a:gd name="T31" fmla="*/ 126 h 442"/>
                  <a:gd name="T32" fmla="*/ 318 w 454"/>
                  <a:gd name="T33" fmla="*/ 118 h 442"/>
                  <a:gd name="T34" fmla="*/ 307 w 454"/>
                  <a:gd name="T35" fmla="*/ 97 h 442"/>
                  <a:gd name="T36" fmla="*/ 318 w 454"/>
                  <a:gd name="T37" fmla="*/ 80 h 442"/>
                  <a:gd name="T38" fmla="*/ 299 w 454"/>
                  <a:gd name="T39" fmla="*/ 85 h 442"/>
                  <a:gd name="T40" fmla="*/ 288 w 454"/>
                  <a:gd name="T41" fmla="*/ 73 h 442"/>
                  <a:gd name="T42" fmla="*/ 274 w 454"/>
                  <a:gd name="T43" fmla="*/ 71 h 442"/>
                  <a:gd name="T44" fmla="*/ 265 w 454"/>
                  <a:gd name="T45" fmla="*/ 50 h 442"/>
                  <a:gd name="T46" fmla="*/ 249 w 454"/>
                  <a:gd name="T47" fmla="*/ 8 h 442"/>
                  <a:gd name="T48" fmla="*/ 222 w 454"/>
                  <a:gd name="T49" fmla="*/ 19 h 442"/>
                  <a:gd name="T50" fmla="*/ 210 w 454"/>
                  <a:gd name="T51" fmla="*/ 1 h 442"/>
                  <a:gd name="T52" fmla="*/ 196 w 454"/>
                  <a:gd name="T53" fmla="*/ 10 h 442"/>
                  <a:gd name="T54" fmla="*/ 179 w 454"/>
                  <a:gd name="T55" fmla="*/ 1 h 442"/>
                  <a:gd name="T56" fmla="*/ 153 w 454"/>
                  <a:gd name="T57" fmla="*/ 1 h 442"/>
                  <a:gd name="T58" fmla="*/ 142 w 454"/>
                  <a:gd name="T59" fmla="*/ 17 h 442"/>
                  <a:gd name="T60" fmla="*/ 140 w 454"/>
                  <a:gd name="T61" fmla="*/ 17 h 442"/>
                  <a:gd name="T62" fmla="*/ 124 w 454"/>
                  <a:gd name="T63" fmla="*/ 37 h 442"/>
                  <a:gd name="T64" fmla="*/ 92 w 454"/>
                  <a:gd name="T65" fmla="*/ 53 h 442"/>
                  <a:gd name="T66" fmla="*/ 103 w 454"/>
                  <a:gd name="T67" fmla="*/ 75 h 442"/>
                  <a:gd name="T68" fmla="*/ 107 w 454"/>
                  <a:gd name="T69" fmla="*/ 110 h 442"/>
                  <a:gd name="T70" fmla="*/ 98 w 454"/>
                  <a:gd name="T71" fmla="*/ 129 h 442"/>
                  <a:gd name="T72" fmla="*/ 104 w 454"/>
                  <a:gd name="T73" fmla="*/ 154 h 442"/>
                  <a:gd name="T74" fmla="*/ 43 w 454"/>
                  <a:gd name="T75" fmla="*/ 181 h 442"/>
                  <a:gd name="T76" fmla="*/ 0 w 454"/>
                  <a:gd name="T77" fmla="*/ 216 h 442"/>
                  <a:gd name="T78" fmla="*/ 0 w 454"/>
                  <a:gd name="T79" fmla="*/ 216 h 442"/>
                  <a:gd name="T80" fmla="*/ 12 w 454"/>
                  <a:gd name="T81" fmla="*/ 246 h 442"/>
                  <a:gd name="T82" fmla="*/ 12 w 454"/>
                  <a:gd name="T83" fmla="*/ 260 h 442"/>
                  <a:gd name="T84" fmla="*/ 29 w 454"/>
                  <a:gd name="T85" fmla="*/ 269 h 442"/>
                  <a:gd name="T86" fmla="*/ 28 w 454"/>
                  <a:gd name="T87" fmla="*/ 278 h 442"/>
                  <a:gd name="T88" fmla="*/ 44 w 454"/>
                  <a:gd name="T89" fmla="*/ 287 h 442"/>
                  <a:gd name="T90" fmla="*/ 78 w 454"/>
                  <a:gd name="T91" fmla="*/ 287 h 442"/>
                  <a:gd name="T92" fmla="*/ 127 w 454"/>
                  <a:gd name="T93" fmla="*/ 321 h 442"/>
                  <a:gd name="T94" fmla="*/ 160 w 454"/>
                  <a:gd name="T95" fmla="*/ 341 h 442"/>
                  <a:gd name="T96" fmla="*/ 288 w 454"/>
                  <a:gd name="T97" fmla="*/ 438 h 442"/>
                  <a:gd name="T98" fmla="*/ 376 w 454"/>
                  <a:gd name="T99" fmla="*/ 442 h 442"/>
                  <a:gd name="T100" fmla="*/ 376 w 454"/>
                  <a:gd name="T101" fmla="*/ 442 h 442"/>
                  <a:gd name="T102" fmla="*/ 387 w 454"/>
                  <a:gd name="T103" fmla="*/ 422 h 442"/>
                  <a:gd name="T104" fmla="*/ 396 w 454"/>
                  <a:gd name="T105" fmla="*/ 395 h 442"/>
                  <a:gd name="T106" fmla="*/ 411 w 454"/>
                  <a:gd name="T107" fmla="*/ 393 h 442"/>
                  <a:gd name="T108" fmla="*/ 431 w 454"/>
                  <a:gd name="T109" fmla="*/ 393 h 442"/>
                  <a:gd name="T110" fmla="*/ 433 w 454"/>
                  <a:gd name="T111" fmla="*/ 398 h 442"/>
                  <a:gd name="T112" fmla="*/ 451 w 454"/>
                  <a:gd name="T113" fmla="*/ 392 h 442"/>
                  <a:gd name="T114" fmla="*/ 454 w 454"/>
                  <a:gd name="T115" fmla="*/ 387 h 442"/>
                  <a:gd name="T116" fmla="*/ 448 w 454"/>
                  <a:gd name="T117" fmla="*/ 378 h 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54" h="442">
                    <a:moveTo>
                      <a:pt x="448" y="378"/>
                    </a:moveTo>
                    <a:cubicBezTo>
                      <a:pt x="447" y="369"/>
                      <a:pt x="432" y="365"/>
                      <a:pt x="432" y="365"/>
                    </a:cubicBezTo>
                    <a:cubicBezTo>
                      <a:pt x="428" y="346"/>
                      <a:pt x="428" y="346"/>
                      <a:pt x="428" y="346"/>
                    </a:cubicBezTo>
                    <a:cubicBezTo>
                      <a:pt x="428" y="346"/>
                      <a:pt x="423" y="346"/>
                      <a:pt x="415" y="340"/>
                    </a:cubicBezTo>
                    <a:cubicBezTo>
                      <a:pt x="407" y="334"/>
                      <a:pt x="415" y="295"/>
                      <a:pt x="415" y="295"/>
                    </a:cubicBezTo>
                    <a:cubicBezTo>
                      <a:pt x="393" y="270"/>
                      <a:pt x="393" y="270"/>
                      <a:pt x="393" y="270"/>
                    </a:cubicBezTo>
                    <a:cubicBezTo>
                      <a:pt x="393" y="270"/>
                      <a:pt x="391" y="258"/>
                      <a:pt x="380" y="258"/>
                    </a:cubicBezTo>
                    <a:cubicBezTo>
                      <a:pt x="369" y="258"/>
                      <a:pt x="348" y="240"/>
                      <a:pt x="348" y="240"/>
                    </a:cubicBezTo>
                    <a:cubicBezTo>
                      <a:pt x="335" y="239"/>
                      <a:pt x="335" y="239"/>
                      <a:pt x="335" y="239"/>
                    </a:cubicBezTo>
                    <a:cubicBezTo>
                      <a:pt x="335" y="212"/>
                      <a:pt x="335" y="212"/>
                      <a:pt x="335" y="212"/>
                    </a:cubicBezTo>
                    <a:cubicBezTo>
                      <a:pt x="335" y="212"/>
                      <a:pt x="293" y="191"/>
                      <a:pt x="291" y="182"/>
                    </a:cubicBezTo>
                    <a:cubicBezTo>
                      <a:pt x="289" y="173"/>
                      <a:pt x="299" y="168"/>
                      <a:pt x="299" y="168"/>
                    </a:cubicBezTo>
                    <a:cubicBezTo>
                      <a:pt x="299" y="168"/>
                      <a:pt x="290" y="161"/>
                      <a:pt x="291" y="154"/>
                    </a:cubicBezTo>
                    <a:cubicBezTo>
                      <a:pt x="292" y="147"/>
                      <a:pt x="305" y="148"/>
                      <a:pt x="305" y="148"/>
                    </a:cubicBezTo>
                    <a:cubicBezTo>
                      <a:pt x="304" y="135"/>
                      <a:pt x="304" y="135"/>
                      <a:pt x="304" y="135"/>
                    </a:cubicBezTo>
                    <a:cubicBezTo>
                      <a:pt x="305" y="126"/>
                      <a:pt x="305" y="126"/>
                      <a:pt x="305" y="126"/>
                    </a:cubicBezTo>
                    <a:cubicBezTo>
                      <a:pt x="305" y="126"/>
                      <a:pt x="315" y="126"/>
                      <a:pt x="318" y="118"/>
                    </a:cubicBezTo>
                    <a:cubicBezTo>
                      <a:pt x="321" y="110"/>
                      <a:pt x="307" y="101"/>
                      <a:pt x="307" y="97"/>
                    </a:cubicBezTo>
                    <a:cubicBezTo>
                      <a:pt x="307" y="93"/>
                      <a:pt x="323" y="84"/>
                      <a:pt x="318" y="80"/>
                    </a:cubicBezTo>
                    <a:cubicBezTo>
                      <a:pt x="313" y="76"/>
                      <a:pt x="299" y="85"/>
                      <a:pt x="299" y="85"/>
                    </a:cubicBezTo>
                    <a:cubicBezTo>
                      <a:pt x="288" y="73"/>
                      <a:pt x="288" y="73"/>
                      <a:pt x="288" y="73"/>
                    </a:cubicBezTo>
                    <a:cubicBezTo>
                      <a:pt x="274" y="71"/>
                      <a:pt x="274" y="71"/>
                      <a:pt x="274" y="71"/>
                    </a:cubicBezTo>
                    <a:cubicBezTo>
                      <a:pt x="274" y="71"/>
                      <a:pt x="277" y="61"/>
                      <a:pt x="265" y="50"/>
                    </a:cubicBezTo>
                    <a:cubicBezTo>
                      <a:pt x="256" y="42"/>
                      <a:pt x="251" y="19"/>
                      <a:pt x="249" y="8"/>
                    </a:cubicBezTo>
                    <a:cubicBezTo>
                      <a:pt x="222" y="19"/>
                      <a:pt x="222" y="19"/>
                      <a:pt x="222" y="19"/>
                    </a:cubicBezTo>
                    <a:cubicBezTo>
                      <a:pt x="222" y="19"/>
                      <a:pt x="224" y="2"/>
                      <a:pt x="210" y="1"/>
                    </a:cubicBezTo>
                    <a:cubicBezTo>
                      <a:pt x="196" y="0"/>
                      <a:pt x="204" y="8"/>
                      <a:pt x="196" y="10"/>
                    </a:cubicBezTo>
                    <a:cubicBezTo>
                      <a:pt x="188" y="12"/>
                      <a:pt x="179" y="1"/>
                      <a:pt x="179" y="1"/>
                    </a:cubicBezTo>
                    <a:cubicBezTo>
                      <a:pt x="153" y="1"/>
                      <a:pt x="153" y="1"/>
                      <a:pt x="153" y="1"/>
                    </a:cubicBezTo>
                    <a:cubicBezTo>
                      <a:pt x="153" y="1"/>
                      <a:pt x="154" y="14"/>
                      <a:pt x="142" y="17"/>
                    </a:cubicBezTo>
                    <a:cubicBezTo>
                      <a:pt x="141" y="17"/>
                      <a:pt x="141" y="17"/>
                      <a:pt x="140" y="17"/>
                    </a:cubicBezTo>
                    <a:cubicBezTo>
                      <a:pt x="138" y="24"/>
                      <a:pt x="133" y="33"/>
                      <a:pt x="124" y="37"/>
                    </a:cubicBezTo>
                    <a:cubicBezTo>
                      <a:pt x="108" y="44"/>
                      <a:pt x="96" y="39"/>
                      <a:pt x="92" y="53"/>
                    </a:cubicBezTo>
                    <a:cubicBezTo>
                      <a:pt x="88" y="67"/>
                      <a:pt x="103" y="75"/>
                      <a:pt x="103" y="75"/>
                    </a:cubicBezTo>
                    <a:cubicBezTo>
                      <a:pt x="103" y="75"/>
                      <a:pt x="111" y="105"/>
                      <a:pt x="107" y="110"/>
                    </a:cubicBezTo>
                    <a:cubicBezTo>
                      <a:pt x="103" y="115"/>
                      <a:pt x="97" y="122"/>
                      <a:pt x="98" y="129"/>
                    </a:cubicBezTo>
                    <a:cubicBezTo>
                      <a:pt x="99" y="136"/>
                      <a:pt x="116" y="145"/>
                      <a:pt x="104" y="154"/>
                    </a:cubicBezTo>
                    <a:cubicBezTo>
                      <a:pt x="92" y="163"/>
                      <a:pt x="43" y="181"/>
                      <a:pt x="43" y="181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12" y="246"/>
                      <a:pt x="12" y="246"/>
                      <a:pt x="12" y="246"/>
                    </a:cubicBezTo>
                    <a:cubicBezTo>
                      <a:pt x="12" y="260"/>
                      <a:pt x="12" y="260"/>
                      <a:pt x="12" y="260"/>
                    </a:cubicBezTo>
                    <a:cubicBezTo>
                      <a:pt x="29" y="269"/>
                      <a:pt x="29" y="269"/>
                      <a:pt x="29" y="269"/>
                    </a:cubicBezTo>
                    <a:cubicBezTo>
                      <a:pt x="28" y="278"/>
                      <a:pt x="28" y="278"/>
                      <a:pt x="28" y="278"/>
                    </a:cubicBezTo>
                    <a:cubicBezTo>
                      <a:pt x="28" y="278"/>
                      <a:pt x="35" y="288"/>
                      <a:pt x="44" y="287"/>
                    </a:cubicBezTo>
                    <a:cubicBezTo>
                      <a:pt x="53" y="286"/>
                      <a:pt x="78" y="287"/>
                      <a:pt x="78" y="287"/>
                    </a:cubicBezTo>
                    <a:cubicBezTo>
                      <a:pt x="78" y="287"/>
                      <a:pt x="115" y="315"/>
                      <a:pt x="127" y="321"/>
                    </a:cubicBezTo>
                    <a:cubicBezTo>
                      <a:pt x="139" y="327"/>
                      <a:pt x="160" y="341"/>
                      <a:pt x="160" y="341"/>
                    </a:cubicBezTo>
                    <a:cubicBezTo>
                      <a:pt x="288" y="438"/>
                      <a:pt x="288" y="438"/>
                      <a:pt x="288" y="438"/>
                    </a:cubicBezTo>
                    <a:cubicBezTo>
                      <a:pt x="288" y="438"/>
                      <a:pt x="339" y="439"/>
                      <a:pt x="376" y="442"/>
                    </a:cubicBezTo>
                    <a:cubicBezTo>
                      <a:pt x="376" y="442"/>
                      <a:pt x="376" y="442"/>
                      <a:pt x="376" y="442"/>
                    </a:cubicBezTo>
                    <a:cubicBezTo>
                      <a:pt x="379" y="438"/>
                      <a:pt x="386" y="431"/>
                      <a:pt x="387" y="422"/>
                    </a:cubicBezTo>
                    <a:cubicBezTo>
                      <a:pt x="389" y="410"/>
                      <a:pt x="396" y="395"/>
                      <a:pt x="396" y="395"/>
                    </a:cubicBezTo>
                    <a:cubicBezTo>
                      <a:pt x="411" y="393"/>
                      <a:pt x="411" y="393"/>
                      <a:pt x="411" y="393"/>
                    </a:cubicBezTo>
                    <a:cubicBezTo>
                      <a:pt x="431" y="393"/>
                      <a:pt x="431" y="393"/>
                      <a:pt x="431" y="393"/>
                    </a:cubicBezTo>
                    <a:cubicBezTo>
                      <a:pt x="433" y="398"/>
                      <a:pt x="433" y="398"/>
                      <a:pt x="433" y="398"/>
                    </a:cubicBezTo>
                    <a:cubicBezTo>
                      <a:pt x="451" y="392"/>
                      <a:pt x="451" y="392"/>
                      <a:pt x="451" y="392"/>
                    </a:cubicBezTo>
                    <a:cubicBezTo>
                      <a:pt x="454" y="387"/>
                      <a:pt x="454" y="387"/>
                      <a:pt x="454" y="387"/>
                    </a:cubicBezTo>
                    <a:cubicBezTo>
                      <a:pt x="451" y="384"/>
                      <a:pt x="448" y="381"/>
                      <a:pt x="448" y="378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232">
                <a:extLst>
                  <a:ext uri="{FF2B5EF4-FFF2-40B4-BE49-F238E27FC236}">
                    <a16:creationId xmlns:a16="http://schemas.microsoft.com/office/drawing/2014/main" id="{D039C7A4-FB18-1792-1712-A01D412F9F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387" y="-13797"/>
                <a:ext cx="210" cy="191"/>
              </a:xfrm>
              <a:custGeom>
                <a:avLst/>
                <a:gdLst>
                  <a:gd name="T0" fmla="*/ 35 w 89"/>
                  <a:gd name="T1" fmla="*/ 0 h 81"/>
                  <a:gd name="T2" fmla="*/ 20 w 89"/>
                  <a:gd name="T3" fmla="*/ 2 h 81"/>
                  <a:gd name="T4" fmla="*/ 11 w 89"/>
                  <a:gd name="T5" fmla="*/ 29 h 81"/>
                  <a:gd name="T6" fmla="*/ 0 w 89"/>
                  <a:gd name="T7" fmla="*/ 49 h 81"/>
                  <a:gd name="T8" fmla="*/ 40 w 89"/>
                  <a:gd name="T9" fmla="*/ 55 h 81"/>
                  <a:gd name="T10" fmla="*/ 50 w 89"/>
                  <a:gd name="T11" fmla="*/ 81 h 81"/>
                  <a:gd name="T12" fmla="*/ 89 w 89"/>
                  <a:gd name="T13" fmla="*/ 80 h 81"/>
                  <a:gd name="T14" fmla="*/ 64 w 89"/>
                  <a:gd name="T15" fmla="*/ 47 h 81"/>
                  <a:gd name="T16" fmla="*/ 64 w 89"/>
                  <a:gd name="T17" fmla="*/ 46 h 81"/>
                  <a:gd name="T18" fmla="*/ 56 w 89"/>
                  <a:gd name="T19" fmla="*/ 41 h 81"/>
                  <a:gd name="T20" fmla="*/ 55 w 89"/>
                  <a:gd name="T21" fmla="*/ 27 h 81"/>
                  <a:gd name="T22" fmla="*/ 73 w 89"/>
                  <a:gd name="T23" fmla="*/ 25 h 81"/>
                  <a:gd name="T24" fmla="*/ 77 w 89"/>
                  <a:gd name="T25" fmla="*/ 16 h 81"/>
                  <a:gd name="T26" fmla="*/ 68 w 89"/>
                  <a:gd name="T27" fmla="*/ 8 h 81"/>
                  <a:gd name="T28" fmla="*/ 59 w 89"/>
                  <a:gd name="T29" fmla="*/ 13 h 81"/>
                  <a:gd name="T30" fmla="*/ 55 w 89"/>
                  <a:gd name="T31" fmla="*/ 0 h 81"/>
                  <a:gd name="T32" fmla="*/ 35 w 89"/>
                  <a:gd name="T33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9" h="81">
                    <a:moveTo>
                      <a:pt x="35" y="0"/>
                    </a:moveTo>
                    <a:cubicBezTo>
                      <a:pt x="20" y="2"/>
                      <a:pt x="20" y="2"/>
                      <a:pt x="20" y="2"/>
                    </a:cubicBezTo>
                    <a:cubicBezTo>
                      <a:pt x="20" y="2"/>
                      <a:pt x="13" y="17"/>
                      <a:pt x="11" y="29"/>
                    </a:cubicBezTo>
                    <a:cubicBezTo>
                      <a:pt x="10" y="38"/>
                      <a:pt x="3" y="45"/>
                      <a:pt x="0" y="49"/>
                    </a:cubicBezTo>
                    <a:cubicBezTo>
                      <a:pt x="21" y="50"/>
                      <a:pt x="38" y="52"/>
                      <a:pt x="40" y="55"/>
                    </a:cubicBezTo>
                    <a:cubicBezTo>
                      <a:pt x="46" y="62"/>
                      <a:pt x="36" y="80"/>
                      <a:pt x="50" y="81"/>
                    </a:cubicBezTo>
                    <a:cubicBezTo>
                      <a:pt x="58" y="81"/>
                      <a:pt x="76" y="81"/>
                      <a:pt x="89" y="80"/>
                    </a:cubicBezTo>
                    <a:cubicBezTo>
                      <a:pt x="79" y="72"/>
                      <a:pt x="63" y="58"/>
                      <a:pt x="64" y="47"/>
                    </a:cubicBezTo>
                    <a:cubicBezTo>
                      <a:pt x="64" y="47"/>
                      <a:pt x="64" y="47"/>
                      <a:pt x="64" y="46"/>
                    </a:cubicBezTo>
                    <a:cubicBezTo>
                      <a:pt x="56" y="41"/>
                      <a:pt x="56" y="41"/>
                      <a:pt x="56" y="41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55" y="27"/>
                      <a:pt x="69" y="25"/>
                      <a:pt x="73" y="25"/>
                    </a:cubicBezTo>
                    <a:cubicBezTo>
                      <a:pt x="77" y="25"/>
                      <a:pt x="77" y="16"/>
                      <a:pt x="77" y="16"/>
                    </a:cubicBezTo>
                    <a:cubicBezTo>
                      <a:pt x="77" y="16"/>
                      <a:pt x="77" y="8"/>
                      <a:pt x="68" y="8"/>
                    </a:cubicBezTo>
                    <a:cubicBezTo>
                      <a:pt x="59" y="8"/>
                      <a:pt x="59" y="13"/>
                      <a:pt x="59" y="13"/>
                    </a:cubicBezTo>
                    <a:cubicBezTo>
                      <a:pt x="55" y="0"/>
                      <a:pt x="55" y="0"/>
                      <a:pt x="55" y="0"/>
                    </a:cubicBezTo>
                    <a:lnTo>
                      <a:pt x="35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Freeform 233">
                <a:extLst>
                  <a:ext uri="{FF2B5EF4-FFF2-40B4-BE49-F238E27FC236}">
                    <a16:creationId xmlns:a16="http://schemas.microsoft.com/office/drawing/2014/main" id="{3CA46636-5859-0830-F4C8-81DBEDAA55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815" y="-15037"/>
                <a:ext cx="2266" cy="1864"/>
              </a:xfrm>
              <a:custGeom>
                <a:avLst/>
                <a:gdLst>
                  <a:gd name="T0" fmla="*/ 900 w 959"/>
                  <a:gd name="T1" fmla="*/ 739 h 789"/>
                  <a:gd name="T2" fmla="*/ 931 w 959"/>
                  <a:gd name="T3" fmla="*/ 708 h 789"/>
                  <a:gd name="T4" fmla="*/ 933 w 959"/>
                  <a:gd name="T5" fmla="*/ 673 h 789"/>
                  <a:gd name="T6" fmla="*/ 929 w 959"/>
                  <a:gd name="T7" fmla="*/ 621 h 789"/>
                  <a:gd name="T8" fmla="*/ 884 w 959"/>
                  <a:gd name="T9" fmla="*/ 609 h 789"/>
                  <a:gd name="T10" fmla="*/ 825 w 959"/>
                  <a:gd name="T11" fmla="*/ 533 h 789"/>
                  <a:gd name="T12" fmla="*/ 839 w 959"/>
                  <a:gd name="T13" fmla="*/ 453 h 789"/>
                  <a:gd name="T14" fmla="*/ 784 w 959"/>
                  <a:gd name="T15" fmla="*/ 364 h 789"/>
                  <a:gd name="T16" fmla="*/ 780 w 959"/>
                  <a:gd name="T17" fmla="*/ 315 h 789"/>
                  <a:gd name="T18" fmla="*/ 784 w 959"/>
                  <a:gd name="T19" fmla="*/ 280 h 789"/>
                  <a:gd name="T20" fmla="*/ 799 w 959"/>
                  <a:gd name="T21" fmla="*/ 225 h 789"/>
                  <a:gd name="T22" fmla="*/ 786 w 959"/>
                  <a:gd name="T23" fmla="*/ 189 h 789"/>
                  <a:gd name="T24" fmla="*/ 723 w 959"/>
                  <a:gd name="T25" fmla="*/ 149 h 789"/>
                  <a:gd name="T26" fmla="*/ 648 w 959"/>
                  <a:gd name="T27" fmla="*/ 116 h 789"/>
                  <a:gd name="T28" fmla="*/ 602 w 959"/>
                  <a:gd name="T29" fmla="*/ 103 h 789"/>
                  <a:gd name="T30" fmla="*/ 556 w 959"/>
                  <a:gd name="T31" fmla="*/ 85 h 789"/>
                  <a:gd name="T32" fmla="*/ 487 w 959"/>
                  <a:gd name="T33" fmla="*/ 115 h 789"/>
                  <a:gd name="T34" fmla="*/ 452 w 959"/>
                  <a:gd name="T35" fmla="*/ 133 h 789"/>
                  <a:gd name="T36" fmla="*/ 399 w 959"/>
                  <a:gd name="T37" fmla="*/ 164 h 789"/>
                  <a:gd name="T38" fmla="*/ 309 w 959"/>
                  <a:gd name="T39" fmla="*/ 155 h 789"/>
                  <a:gd name="T40" fmla="*/ 233 w 959"/>
                  <a:gd name="T41" fmla="*/ 110 h 789"/>
                  <a:gd name="T42" fmla="*/ 199 w 959"/>
                  <a:gd name="T43" fmla="*/ 69 h 789"/>
                  <a:gd name="T44" fmla="*/ 181 w 959"/>
                  <a:gd name="T45" fmla="*/ 33 h 789"/>
                  <a:gd name="T46" fmla="*/ 128 w 959"/>
                  <a:gd name="T47" fmla="*/ 35 h 789"/>
                  <a:gd name="T48" fmla="*/ 45 w 959"/>
                  <a:gd name="T49" fmla="*/ 30 h 789"/>
                  <a:gd name="T50" fmla="*/ 0 w 959"/>
                  <a:gd name="T51" fmla="*/ 24 h 789"/>
                  <a:gd name="T52" fmla="*/ 24 w 959"/>
                  <a:gd name="T53" fmla="*/ 78 h 789"/>
                  <a:gd name="T54" fmla="*/ 37 w 959"/>
                  <a:gd name="T55" fmla="*/ 129 h 789"/>
                  <a:gd name="T56" fmla="*/ 79 w 959"/>
                  <a:gd name="T57" fmla="*/ 203 h 789"/>
                  <a:gd name="T58" fmla="*/ 123 w 959"/>
                  <a:gd name="T59" fmla="*/ 212 h 789"/>
                  <a:gd name="T60" fmla="*/ 110 w 959"/>
                  <a:gd name="T61" fmla="*/ 258 h 789"/>
                  <a:gd name="T62" fmla="*/ 96 w 959"/>
                  <a:gd name="T63" fmla="*/ 286 h 789"/>
                  <a:gd name="T64" fmla="*/ 140 w 959"/>
                  <a:gd name="T65" fmla="*/ 344 h 789"/>
                  <a:gd name="T66" fmla="*/ 185 w 959"/>
                  <a:gd name="T67" fmla="*/ 390 h 789"/>
                  <a:gd name="T68" fmla="*/ 220 w 959"/>
                  <a:gd name="T69" fmla="*/ 472 h 789"/>
                  <a:gd name="T70" fmla="*/ 253 w 959"/>
                  <a:gd name="T71" fmla="*/ 510 h 789"/>
                  <a:gd name="T72" fmla="*/ 298 w 959"/>
                  <a:gd name="T73" fmla="*/ 516 h 789"/>
                  <a:gd name="T74" fmla="*/ 316 w 959"/>
                  <a:gd name="T75" fmla="*/ 524 h 789"/>
                  <a:gd name="T76" fmla="*/ 338 w 959"/>
                  <a:gd name="T77" fmla="*/ 541 h 789"/>
                  <a:gd name="T78" fmla="*/ 371 w 959"/>
                  <a:gd name="T79" fmla="*/ 583 h 789"/>
                  <a:gd name="T80" fmla="*/ 387 w 959"/>
                  <a:gd name="T81" fmla="*/ 600 h 789"/>
                  <a:gd name="T82" fmla="*/ 431 w 959"/>
                  <a:gd name="T83" fmla="*/ 644 h 789"/>
                  <a:gd name="T84" fmla="*/ 526 w 959"/>
                  <a:gd name="T85" fmla="*/ 703 h 789"/>
                  <a:gd name="T86" fmla="*/ 565 w 959"/>
                  <a:gd name="T87" fmla="*/ 715 h 789"/>
                  <a:gd name="T88" fmla="*/ 606 w 959"/>
                  <a:gd name="T89" fmla="*/ 691 h 789"/>
                  <a:gd name="T90" fmla="*/ 641 w 959"/>
                  <a:gd name="T91" fmla="*/ 682 h 789"/>
                  <a:gd name="T92" fmla="*/ 718 w 959"/>
                  <a:gd name="T93" fmla="*/ 752 h 789"/>
                  <a:gd name="T94" fmla="*/ 805 w 959"/>
                  <a:gd name="T95" fmla="*/ 781 h 789"/>
                  <a:gd name="T96" fmla="*/ 889 w 959"/>
                  <a:gd name="T97" fmla="*/ 786 h 7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959" h="789">
                    <a:moveTo>
                      <a:pt x="890" y="786"/>
                    </a:moveTo>
                    <a:cubicBezTo>
                      <a:pt x="889" y="779"/>
                      <a:pt x="885" y="751"/>
                      <a:pt x="890" y="749"/>
                    </a:cubicBezTo>
                    <a:cubicBezTo>
                      <a:pt x="896" y="746"/>
                      <a:pt x="900" y="739"/>
                      <a:pt x="900" y="739"/>
                    </a:cubicBezTo>
                    <a:cubicBezTo>
                      <a:pt x="902" y="728"/>
                      <a:pt x="902" y="728"/>
                      <a:pt x="902" y="728"/>
                    </a:cubicBezTo>
                    <a:cubicBezTo>
                      <a:pt x="902" y="728"/>
                      <a:pt x="911" y="730"/>
                      <a:pt x="915" y="724"/>
                    </a:cubicBezTo>
                    <a:cubicBezTo>
                      <a:pt x="919" y="718"/>
                      <a:pt x="913" y="714"/>
                      <a:pt x="931" y="708"/>
                    </a:cubicBezTo>
                    <a:cubicBezTo>
                      <a:pt x="949" y="702"/>
                      <a:pt x="951" y="715"/>
                      <a:pt x="955" y="710"/>
                    </a:cubicBezTo>
                    <a:cubicBezTo>
                      <a:pt x="959" y="705"/>
                      <a:pt x="958" y="689"/>
                      <a:pt x="950" y="678"/>
                    </a:cubicBezTo>
                    <a:cubicBezTo>
                      <a:pt x="942" y="667"/>
                      <a:pt x="936" y="680"/>
                      <a:pt x="933" y="673"/>
                    </a:cubicBezTo>
                    <a:cubicBezTo>
                      <a:pt x="930" y="666"/>
                      <a:pt x="931" y="643"/>
                      <a:pt x="931" y="643"/>
                    </a:cubicBezTo>
                    <a:cubicBezTo>
                      <a:pt x="928" y="641"/>
                      <a:pt x="928" y="641"/>
                      <a:pt x="928" y="641"/>
                    </a:cubicBezTo>
                    <a:cubicBezTo>
                      <a:pt x="929" y="621"/>
                      <a:pt x="929" y="621"/>
                      <a:pt x="929" y="621"/>
                    </a:cubicBezTo>
                    <a:cubicBezTo>
                      <a:pt x="916" y="622"/>
                      <a:pt x="916" y="622"/>
                      <a:pt x="916" y="622"/>
                    </a:cubicBezTo>
                    <a:cubicBezTo>
                      <a:pt x="907" y="611"/>
                      <a:pt x="907" y="611"/>
                      <a:pt x="907" y="611"/>
                    </a:cubicBezTo>
                    <a:cubicBezTo>
                      <a:pt x="907" y="611"/>
                      <a:pt x="892" y="619"/>
                      <a:pt x="884" y="609"/>
                    </a:cubicBezTo>
                    <a:cubicBezTo>
                      <a:pt x="876" y="599"/>
                      <a:pt x="862" y="579"/>
                      <a:pt x="856" y="568"/>
                    </a:cubicBezTo>
                    <a:cubicBezTo>
                      <a:pt x="850" y="557"/>
                      <a:pt x="830" y="538"/>
                      <a:pt x="830" y="538"/>
                    </a:cubicBezTo>
                    <a:cubicBezTo>
                      <a:pt x="830" y="538"/>
                      <a:pt x="825" y="537"/>
                      <a:pt x="825" y="533"/>
                    </a:cubicBezTo>
                    <a:cubicBezTo>
                      <a:pt x="825" y="529"/>
                      <a:pt x="841" y="515"/>
                      <a:pt x="848" y="505"/>
                    </a:cubicBezTo>
                    <a:cubicBezTo>
                      <a:pt x="855" y="495"/>
                      <a:pt x="866" y="482"/>
                      <a:pt x="860" y="465"/>
                    </a:cubicBezTo>
                    <a:cubicBezTo>
                      <a:pt x="854" y="448"/>
                      <a:pt x="839" y="453"/>
                      <a:pt x="839" y="453"/>
                    </a:cubicBezTo>
                    <a:cubicBezTo>
                      <a:pt x="839" y="453"/>
                      <a:pt x="809" y="453"/>
                      <a:pt x="809" y="445"/>
                    </a:cubicBezTo>
                    <a:cubicBezTo>
                      <a:pt x="809" y="437"/>
                      <a:pt x="809" y="423"/>
                      <a:pt x="809" y="412"/>
                    </a:cubicBezTo>
                    <a:cubicBezTo>
                      <a:pt x="809" y="401"/>
                      <a:pt x="782" y="377"/>
                      <a:pt x="784" y="364"/>
                    </a:cubicBezTo>
                    <a:cubicBezTo>
                      <a:pt x="786" y="351"/>
                      <a:pt x="801" y="343"/>
                      <a:pt x="800" y="337"/>
                    </a:cubicBezTo>
                    <a:cubicBezTo>
                      <a:pt x="799" y="331"/>
                      <a:pt x="778" y="334"/>
                      <a:pt x="778" y="334"/>
                    </a:cubicBezTo>
                    <a:cubicBezTo>
                      <a:pt x="780" y="315"/>
                      <a:pt x="780" y="315"/>
                      <a:pt x="780" y="315"/>
                    </a:cubicBezTo>
                    <a:cubicBezTo>
                      <a:pt x="780" y="315"/>
                      <a:pt x="769" y="306"/>
                      <a:pt x="772" y="301"/>
                    </a:cubicBezTo>
                    <a:cubicBezTo>
                      <a:pt x="775" y="296"/>
                      <a:pt x="789" y="291"/>
                      <a:pt x="789" y="291"/>
                    </a:cubicBezTo>
                    <a:cubicBezTo>
                      <a:pt x="784" y="280"/>
                      <a:pt x="784" y="280"/>
                      <a:pt x="784" y="280"/>
                    </a:cubicBezTo>
                    <a:cubicBezTo>
                      <a:pt x="798" y="276"/>
                      <a:pt x="798" y="276"/>
                      <a:pt x="798" y="276"/>
                    </a:cubicBezTo>
                    <a:cubicBezTo>
                      <a:pt x="798" y="276"/>
                      <a:pt x="791" y="246"/>
                      <a:pt x="792" y="239"/>
                    </a:cubicBezTo>
                    <a:cubicBezTo>
                      <a:pt x="793" y="232"/>
                      <a:pt x="799" y="225"/>
                      <a:pt x="799" y="225"/>
                    </a:cubicBezTo>
                    <a:cubicBezTo>
                      <a:pt x="792" y="207"/>
                      <a:pt x="792" y="207"/>
                      <a:pt x="792" y="207"/>
                    </a:cubicBezTo>
                    <a:cubicBezTo>
                      <a:pt x="793" y="192"/>
                      <a:pt x="793" y="192"/>
                      <a:pt x="793" y="192"/>
                    </a:cubicBezTo>
                    <a:cubicBezTo>
                      <a:pt x="786" y="189"/>
                      <a:pt x="786" y="189"/>
                      <a:pt x="786" y="189"/>
                    </a:cubicBezTo>
                    <a:cubicBezTo>
                      <a:pt x="785" y="167"/>
                      <a:pt x="785" y="167"/>
                      <a:pt x="785" y="167"/>
                    </a:cubicBezTo>
                    <a:cubicBezTo>
                      <a:pt x="743" y="169"/>
                      <a:pt x="743" y="169"/>
                      <a:pt x="743" y="169"/>
                    </a:cubicBezTo>
                    <a:cubicBezTo>
                      <a:pt x="743" y="169"/>
                      <a:pt x="729" y="153"/>
                      <a:pt x="723" y="149"/>
                    </a:cubicBezTo>
                    <a:cubicBezTo>
                      <a:pt x="717" y="145"/>
                      <a:pt x="704" y="143"/>
                      <a:pt x="704" y="143"/>
                    </a:cubicBezTo>
                    <a:cubicBezTo>
                      <a:pt x="704" y="143"/>
                      <a:pt x="696" y="125"/>
                      <a:pt x="691" y="121"/>
                    </a:cubicBezTo>
                    <a:cubicBezTo>
                      <a:pt x="686" y="117"/>
                      <a:pt x="648" y="116"/>
                      <a:pt x="648" y="116"/>
                    </a:cubicBezTo>
                    <a:cubicBezTo>
                      <a:pt x="645" y="120"/>
                      <a:pt x="645" y="120"/>
                      <a:pt x="645" y="120"/>
                    </a:cubicBezTo>
                    <a:cubicBezTo>
                      <a:pt x="645" y="120"/>
                      <a:pt x="624" y="103"/>
                      <a:pt x="619" y="103"/>
                    </a:cubicBezTo>
                    <a:cubicBezTo>
                      <a:pt x="614" y="103"/>
                      <a:pt x="602" y="103"/>
                      <a:pt x="602" y="103"/>
                    </a:cubicBezTo>
                    <a:cubicBezTo>
                      <a:pt x="602" y="103"/>
                      <a:pt x="601" y="89"/>
                      <a:pt x="595" y="85"/>
                    </a:cubicBezTo>
                    <a:cubicBezTo>
                      <a:pt x="589" y="81"/>
                      <a:pt x="580" y="86"/>
                      <a:pt x="580" y="86"/>
                    </a:cubicBezTo>
                    <a:cubicBezTo>
                      <a:pt x="580" y="86"/>
                      <a:pt x="559" y="83"/>
                      <a:pt x="556" y="85"/>
                    </a:cubicBezTo>
                    <a:cubicBezTo>
                      <a:pt x="553" y="87"/>
                      <a:pt x="551" y="93"/>
                      <a:pt x="551" y="93"/>
                    </a:cubicBezTo>
                    <a:cubicBezTo>
                      <a:pt x="551" y="93"/>
                      <a:pt x="535" y="88"/>
                      <a:pt x="524" y="90"/>
                    </a:cubicBezTo>
                    <a:cubicBezTo>
                      <a:pt x="513" y="92"/>
                      <a:pt x="487" y="115"/>
                      <a:pt x="487" y="115"/>
                    </a:cubicBezTo>
                    <a:cubicBezTo>
                      <a:pt x="487" y="123"/>
                      <a:pt x="487" y="123"/>
                      <a:pt x="487" y="123"/>
                    </a:cubicBezTo>
                    <a:cubicBezTo>
                      <a:pt x="487" y="123"/>
                      <a:pt x="476" y="132"/>
                      <a:pt x="472" y="133"/>
                    </a:cubicBezTo>
                    <a:cubicBezTo>
                      <a:pt x="468" y="134"/>
                      <a:pt x="452" y="133"/>
                      <a:pt x="452" y="133"/>
                    </a:cubicBezTo>
                    <a:cubicBezTo>
                      <a:pt x="452" y="133"/>
                      <a:pt x="472" y="159"/>
                      <a:pt x="460" y="161"/>
                    </a:cubicBezTo>
                    <a:cubicBezTo>
                      <a:pt x="448" y="163"/>
                      <a:pt x="437" y="156"/>
                      <a:pt x="437" y="156"/>
                    </a:cubicBezTo>
                    <a:cubicBezTo>
                      <a:pt x="437" y="156"/>
                      <a:pt x="412" y="161"/>
                      <a:pt x="399" y="164"/>
                    </a:cubicBezTo>
                    <a:cubicBezTo>
                      <a:pt x="386" y="167"/>
                      <a:pt x="379" y="176"/>
                      <a:pt x="371" y="175"/>
                    </a:cubicBezTo>
                    <a:cubicBezTo>
                      <a:pt x="363" y="174"/>
                      <a:pt x="355" y="165"/>
                      <a:pt x="345" y="165"/>
                    </a:cubicBezTo>
                    <a:cubicBezTo>
                      <a:pt x="335" y="165"/>
                      <a:pt x="323" y="165"/>
                      <a:pt x="309" y="155"/>
                    </a:cubicBezTo>
                    <a:cubicBezTo>
                      <a:pt x="295" y="145"/>
                      <a:pt x="287" y="128"/>
                      <a:pt x="287" y="128"/>
                    </a:cubicBezTo>
                    <a:cubicBezTo>
                      <a:pt x="287" y="128"/>
                      <a:pt x="258" y="125"/>
                      <a:pt x="255" y="125"/>
                    </a:cubicBezTo>
                    <a:cubicBezTo>
                      <a:pt x="252" y="125"/>
                      <a:pt x="240" y="118"/>
                      <a:pt x="233" y="110"/>
                    </a:cubicBezTo>
                    <a:cubicBezTo>
                      <a:pt x="226" y="102"/>
                      <a:pt x="218" y="80"/>
                      <a:pt x="218" y="80"/>
                    </a:cubicBezTo>
                    <a:cubicBezTo>
                      <a:pt x="208" y="78"/>
                      <a:pt x="208" y="78"/>
                      <a:pt x="208" y="78"/>
                    </a:cubicBezTo>
                    <a:cubicBezTo>
                      <a:pt x="208" y="78"/>
                      <a:pt x="205" y="72"/>
                      <a:pt x="199" y="69"/>
                    </a:cubicBezTo>
                    <a:cubicBezTo>
                      <a:pt x="193" y="66"/>
                      <a:pt x="180" y="58"/>
                      <a:pt x="180" y="53"/>
                    </a:cubicBezTo>
                    <a:cubicBezTo>
                      <a:pt x="180" y="48"/>
                      <a:pt x="190" y="52"/>
                      <a:pt x="190" y="46"/>
                    </a:cubicBezTo>
                    <a:cubicBezTo>
                      <a:pt x="190" y="40"/>
                      <a:pt x="181" y="38"/>
                      <a:pt x="181" y="33"/>
                    </a:cubicBezTo>
                    <a:cubicBezTo>
                      <a:pt x="181" y="28"/>
                      <a:pt x="190" y="28"/>
                      <a:pt x="188" y="22"/>
                    </a:cubicBezTo>
                    <a:cubicBezTo>
                      <a:pt x="186" y="16"/>
                      <a:pt x="179" y="4"/>
                      <a:pt x="173" y="4"/>
                    </a:cubicBezTo>
                    <a:cubicBezTo>
                      <a:pt x="167" y="4"/>
                      <a:pt x="131" y="31"/>
                      <a:pt x="128" y="35"/>
                    </a:cubicBezTo>
                    <a:cubicBezTo>
                      <a:pt x="125" y="39"/>
                      <a:pt x="117" y="50"/>
                      <a:pt x="114" y="51"/>
                    </a:cubicBezTo>
                    <a:cubicBezTo>
                      <a:pt x="111" y="52"/>
                      <a:pt x="102" y="52"/>
                      <a:pt x="87" y="52"/>
                    </a:cubicBezTo>
                    <a:cubicBezTo>
                      <a:pt x="72" y="52"/>
                      <a:pt x="55" y="38"/>
                      <a:pt x="45" y="30"/>
                    </a:cubicBezTo>
                    <a:cubicBezTo>
                      <a:pt x="35" y="22"/>
                      <a:pt x="38" y="4"/>
                      <a:pt x="29" y="2"/>
                    </a:cubicBezTo>
                    <a:cubicBezTo>
                      <a:pt x="20" y="0"/>
                      <a:pt x="16" y="22"/>
                      <a:pt x="16" y="22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12" y="55"/>
                      <a:pt x="12" y="55"/>
                      <a:pt x="12" y="55"/>
                    </a:cubicBezTo>
                    <a:cubicBezTo>
                      <a:pt x="12" y="55"/>
                      <a:pt x="19" y="76"/>
                      <a:pt x="24" y="78"/>
                    </a:cubicBezTo>
                    <a:cubicBezTo>
                      <a:pt x="29" y="80"/>
                      <a:pt x="16" y="99"/>
                      <a:pt x="16" y="99"/>
                    </a:cubicBezTo>
                    <a:cubicBezTo>
                      <a:pt x="37" y="111"/>
                      <a:pt x="37" y="111"/>
                      <a:pt x="37" y="111"/>
                    </a:cubicBezTo>
                    <a:cubicBezTo>
                      <a:pt x="37" y="129"/>
                      <a:pt x="37" y="129"/>
                      <a:pt x="37" y="129"/>
                    </a:cubicBezTo>
                    <a:cubicBezTo>
                      <a:pt x="53" y="134"/>
                      <a:pt x="53" y="134"/>
                      <a:pt x="53" y="134"/>
                    </a:cubicBezTo>
                    <a:cubicBezTo>
                      <a:pt x="53" y="134"/>
                      <a:pt x="58" y="171"/>
                      <a:pt x="70" y="182"/>
                    </a:cubicBezTo>
                    <a:cubicBezTo>
                      <a:pt x="82" y="193"/>
                      <a:pt x="79" y="203"/>
                      <a:pt x="79" y="203"/>
                    </a:cubicBezTo>
                    <a:cubicBezTo>
                      <a:pt x="93" y="205"/>
                      <a:pt x="93" y="205"/>
                      <a:pt x="93" y="205"/>
                    </a:cubicBezTo>
                    <a:cubicBezTo>
                      <a:pt x="104" y="217"/>
                      <a:pt x="104" y="217"/>
                      <a:pt x="104" y="217"/>
                    </a:cubicBezTo>
                    <a:cubicBezTo>
                      <a:pt x="104" y="217"/>
                      <a:pt x="118" y="208"/>
                      <a:pt x="123" y="212"/>
                    </a:cubicBezTo>
                    <a:cubicBezTo>
                      <a:pt x="128" y="216"/>
                      <a:pt x="112" y="225"/>
                      <a:pt x="112" y="229"/>
                    </a:cubicBezTo>
                    <a:cubicBezTo>
                      <a:pt x="112" y="233"/>
                      <a:pt x="126" y="242"/>
                      <a:pt x="123" y="250"/>
                    </a:cubicBezTo>
                    <a:cubicBezTo>
                      <a:pt x="120" y="258"/>
                      <a:pt x="110" y="258"/>
                      <a:pt x="110" y="258"/>
                    </a:cubicBezTo>
                    <a:cubicBezTo>
                      <a:pt x="109" y="267"/>
                      <a:pt x="109" y="267"/>
                      <a:pt x="109" y="267"/>
                    </a:cubicBezTo>
                    <a:cubicBezTo>
                      <a:pt x="110" y="280"/>
                      <a:pt x="110" y="280"/>
                      <a:pt x="110" y="280"/>
                    </a:cubicBezTo>
                    <a:cubicBezTo>
                      <a:pt x="110" y="280"/>
                      <a:pt x="97" y="279"/>
                      <a:pt x="96" y="286"/>
                    </a:cubicBezTo>
                    <a:cubicBezTo>
                      <a:pt x="95" y="293"/>
                      <a:pt x="104" y="300"/>
                      <a:pt x="104" y="300"/>
                    </a:cubicBezTo>
                    <a:cubicBezTo>
                      <a:pt x="104" y="300"/>
                      <a:pt x="94" y="305"/>
                      <a:pt x="96" y="314"/>
                    </a:cubicBezTo>
                    <a:cubicBezTo>
                      <a:pt x="98" y="323"/>
                      <a:pt x="140" y="344"/>
                      <a:pt x="140" y="344"/>
                    </a:cubicBezTo>
                    <a:cubicBezTo>
                      <a:pt x="140" y="371"/>
                      <a:pt x="140" y="371"/>
                      <a:pt x="140" y="371"/>
                    </a:cubicBezTo>
                    <a:cubicBezTo>
                      <a:pt x="153" y="372"/>
                      <a:pt x="153" y="372"/>
                      <a:pt x="153" y="372"/>
                    </a:cubicBezTo>
                    <a:cubicBezTo>
                      <a:pt x="153" y="372"/>
                      <a:pt x="174" y="390"/>
                      <a:pt x="185" y="390"/>
                    </a:cubicBezTo>
                    <a:cubicBezTo>
                      <a:pt x="196" y="390"/>
                      <a:pt x="198" y="402"/>
                      <a:pt x="198" y="402"/>
                    </a:cubicBezTo>
                    <a:cubicBezTo>
                      <a:pt x="220" y="427"/>
                      <a:pt x="220" y="427"/>
                      <a:pt x="220" y="427"/>
                    </a:cubicBezTo>
                    <a:cubicBezTo>
                      <a:pt x="220" y="427"/>
                      <a:pt x="212" y="466"/>
                      <a:pt x="220" y="472"/>
                    </a:cubicBezTo>
                    <a:cubicBezTo>
                      <a:pt x="228" y="478"/>
                      <a:pt x="233" y="478"/>
                      <a:pt x="233" y="478"/>
                    </a:cubicBezTo>
                    <a:cubicBezTo>
                      <a:pt x="237" y="497"/>
                      <a:pt x="237" y="497"/>
                      <a:pt x="237" y="497"/>
                    </a:cubicBezTo>
                    <a:cubicBezTo>
                      <a:pt x="237" y="497"/>
                      <a:pt x="252" y="501"/>
                      <a:pt x="253" y="510"/>
                    </a:cubicBezTo>
                    <a:cubicBezTo>
                      <a:pt x="254" y="519"/>
                      <a:pt x="275" y="533"/>
                      <a:pt x="282" y="528"/>
                    </a:cubicBezTo>
                    <a:cubicBezTo>
                      <a:pt x="289" y="523"/>
                      <a:pt x="267" y="512"/>
                      <a:pt x="283" y="505"/>
                    </a:cubicBezTo>
                    <a:cubicBezTo>
                      <a:pt x="299" y="498"/>
                      <a:pt x="298" y="516"/>
                      <a:pt x="298" y="516"/>
                    </a:cubicBezTo>
                    <a:cubicBezTo>
                      <a:pt x="305" y="522"/>
                      <a:pt x="305" y="522"/>
                      <a:pt x="305" y="522"/>
                    </a:cubicBezTo>
                    <a:cubicBezTo>
                      <a:pt x="306" y="521"/>
                      <a:pt x="308" y="521"/>
                      <a:pt x="311" y="522"/>
                    </a:cubicBezTo>
                    <a:cubicBezTo>
                      <a:pt x="313" y="523"/>
                      <a:pt x="314" y="523"/>
                      <a:pt x="316" y="524"/>
                    </a:cubicBezTo>
                    <a:cubicBezTo>
                      <a:pt x="317" y="523"/>
                      <a:pt x="318" y="521"/>
                      <a:pt x="318" y="520"/>
                    </a:cubicBezTo>
                    <a:cubicBezTo>
                      <a:pt x="319" y="516"/>
                      <a:pt x="330" y="513"/>
                      <a:pt x="333" y="515"/>
                    </a:cubicBezTo>
                    <a:cubicBezTo>
                      <a:pt x="336" y="517"/>
                      <a:pt x="331" y="538"/>
                      <a:pt x="338" y="541"/>
                    </a:cubicBezTo>
                    <a:cubicBezTo>
                      <a:pt x="345" y="544"/>
                      <a:pt x="360" y="555"/>
                      <a:pt x="360" y="555"/>
                    </a:cubicBezTo>
                    <a:cubicBezTo>
                      <a:pt x="360" y="555"/>
                      <a:pt x="358" y="560"/>
                      <a:pt x="358" y="565"/>
                    </a:cubicBezTo>
                    <a:cubicBezTo>
                      <a:pt x="363" y="571"/>
                      <a:pt x="368" y="577"/>
                      <a:pt x="371" y="583"/>
                    </a:cubicBezTo>
                    <a:cubicBezTo>
                      <a:pt x="371" y="583"/>
                      <a:pt x="371" y="583"/>
                      <a:pt x="371" y="583"/>
                    </a:cubicBezTo>
                    <a:cubicBezTo>
                      <a:pt x="375" y="585"/>
                      <a:pt x="378" y="587"/>
                      <a:pt x="378" y="587"/>
                    </a:cubicBezTo>
                    <a:cubicBezTo>
                      <a:pt x="387" y="600"/>
                      <a:pt x="387" y="600"/>
                      <a:pt x="387" y="600"/>
                    </a:cubicBezTo>
                    <a:cubicBezTo>
                      <a:pt x="387" y="600"/>
                      <a:pt x="389" y="624"/>
                      <a:pt x="399" y="626"/>
                    </a:cubicBezTo>
                    <a:cubicBezTo>
                      <a:pt x="409" y="628"/>
                      <a:pt x="409" y="644"/>
                      <a:pt x="409" y="644"/>
                    </a:cubicBezTo>
                    <a:cubicBezTo>
                      <a:pt x="431" y="644"/>
                      <a:pt x="431" y="644"/>
                      <a:pt x="431" y="644"/>
                    </a:cubicBezTo>
                    <a:cubicBezTo>
                      <a:pt x="443" y="656"/>
                      <a:pt x="443" y="656"/>
                      <a:pt x="443" y="656"/>
                    </a:cubicBezTo>
                    <a:cubicBezTo>
                      <a:pt x="451" y="654"/>
                      <a:pt x="458" y="652"/>
                      <a:pt x="465" y="656"/>
                    </a:cubicBezTo>
                    <a:cubicBezTo>
                      <a:pt x="475" y="661"/>
                      <a:pt x="504" y="686"/>
                      <a:pt x="526" y="703"/>
                    </a:cubicBezTo>
                    <a:cubicBezTo>
                      <a:pt x="527" y="704"/>
                      <a:pt x="528" y="704"/>
                      <a:pt x="529" y="704"/>
                    </a:cubicBezTo>
                    <a:cubicBezTo>
                      <a:pt x="535" y="704"/>
                      <a:pt x="546" y="706"/>
                      <a:pt x="546" y="706"/>
                    </a:cubicBezTo>
                    <a:cubicBezTo>
                      <a:pt x="546" y="706"/>
                      <a:pt x="549" y="720"/>
                      <a:pt x="565" y="715"/>
                    </a:cubicBezTo>
                    <a:cubicBezTo>
                      <a:pt x="581" y="710"/>
                      <a:pt x="584" y="703"/>
                      <a:pt x="584" y="703"/>
                    </a:cubicBezTo>
                    <a:cubicBezTo>
                      <a:pt x="600" y="705"/>
                      <a:pt x="600" y="705"/>
                      <a:pt x="600" y="705"/>
                    </a:cubicBezTo>
                    <a:cubicBezTo>
                      <a:pt x="606" y="691"/>
                      <a:pt x="606" y="691"/>
                      <a:pt x="606" y="691"/>
                    </a:cubicBezTo>
                    <a:cubicBezTo>
                      <a:pt x="620" y="689"/>
                      <a:pt x="620" y="689"/>
                      <a:pt x="620" y="689"/>
                    </a:cubicBezTo>
                    <a:cubicBezTo>
                      <a:pt x="636" y="674"/>
                      <a:pt x="636" y="674"/>
                      <a:pt x="636" y="674"/>
                    </a:cubicBezTo>
                    <a:cubicBezTo>
                      <a:pt x="641" y="682"/>
                      <a:pt x="641" y="682"/>
                      <a:pt x="641" y="682"/>
                    </a:cubicBezTo>
                    <a:cubicBezTo>
                      <a:pt x="649" y="680"/>
                      <a:pt x="656" y="679"/>
                      <a:pt x="659" y="683"/>
                    </a:cubicBezTo>
                    <a:cubicBezTo>
                      <a:pt x="672" y="694"/>
                      <a:pt x="686" y="717"/>
                      <a:pt x="688" y="735"/>
                    </a:cubicBezTo>
                    <a:cubicBezTo>
                      <a:pt x="690" y="754"/>
                      <a:pt x="718" y="752"/>
                      <a:pt x="718" y="752"/>
                    </a:cubicBezTo>
                    <a:cubicBezTo>
                      <a:pt x="718" y="752"/>
                      <a:pt x="717" y="759"/>
                      <a:pt x="730" y="762"/>
                    </a:cubicBezTo>
                    <a:cubicBezTo>
                      <a:pt x="743" y="765"/>
                      <a:pt x="774" y="761"/>
                      <a:pt x="774" y="761"/>
                    </a:cubicBezTo>
                    <a:cubicBezTo>
                      <a:pt x="774" y="761"/>
                      <a:pt x="800" y="781"/>
                      <a:pt x="805" y="781"/>
                    </a:cubicBezTo>
                    <a:cubicBezTo>
                      <a:pt x="810" y="781"/>
                      <a:pt x="828" y="772"/>
                      <a:pt x="828" y="772"/>
                    </a:cubicBezTo>
                    <a:cubicBezTo>
                      <a:pt x="828" y="772"/>
                      <a:pt x="854" y="788"/>
                      <a:pt x="872" y="789"/>
                    </a:cubicBezTo>
                    <a:cubicBezTo>
                      <a:pt x="878" y="789"/>
                      <a:pt x="884" y="788"/>
                      <a:pt x="889" y="786"/>
                    </a:cubicBezTo>
                    <a:lnTo>
                      <a:pt x="890" y="78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Freeform 234">
                <a:extLst>
                  <a:ext uri="{FF2B5EF4-FFF2-40B4-BE49-F238E27FC236}">
                    <a16:creationId xmlns:a16="http://schemas.microsoft.com/office/drawing/2014/main" id="{00C9E9D5-6141-5019-3BBC-69349E4CBDA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9" y="-15189"/>
                <a:ext cx="879" cy="563"/>
              </a:xfrm>
              <a:custGeom>
                <a:avLst/>
                <a:gdLst>
                  <a:gd name="T0" fmla="*/ 345 w 372"/>
                  <a:gd name="T1" fmla="*/ 142 h 238"/>
                  <a:gd name="T2" fmla="*/ 291 w 372"/>
                  <a:gd name="T3" fmla="*/ 132 h 238"/>
                  <a:gd name="T4" fmla="*/ 275 w 372"/>
                  <a:gd name="T5" fmla="*/ 99 h 238"/>
                  <a:gd name="T6" fmla="*/ 266 w 372"/>
                  <a:gd name="T7" fmla="*/ 79 h 238"/>
                  <a:gd name="T8" fmla="*/ 230 w 372"/>
                  <a:gd name="T9" fmla="*/ 87 h 238"/>
                  <a:gd name="T10" fmla="*/ 210 w 372"/>
                  <a:gd name="T11" fmla="*/ 90 h 238"/>
                  <a:gd name="T12" fmla="*/ 176 w 372"/>
                  <a:gd name="T13" fmla="*/ 76 h 238"/>
                  <a:gd name="T14" fmla="*/ 142 w 372"/>
                  <a:gd name="T15" fmla="*/ 77 h 238"/>
                  <a:gd name="T16" fmla="*/ 108 w 372"/>
                  <a:gd name="T17" fmla="*/ 75 h 238"/>
                  <a:gd name="T18" fmla="*/ 76 w 372"/>
                  <a:gd name="T19" fmla="*/ 62 h 238"/>
                  <a:gd name="T20" fmla="*/ 101 w 372"/>
                  <a:gd name="T21" fmla="*/ 43 h 238"/>
                  <a:gd name="T22" fmla="*/ 141 w 372"/>
                  <a:gd name="T23" fmla="*/ 45 h 238"/>
                  <a:gd name="T24" fmla="*/ 133 w 372"/>
                  <a:gd name="T25" fmla="*/ 12 h 238"/>
                  <a:gd name="T26" fmla="*/ 91 w 372"/>
                  <a:gd name="T27" fmla="*/ 21 h 238"/>
                  <a:gd name="T28" fmla="*/ 65 w 372"/>
                  <a:gd name="T29" fmla="*/ 25 h 238"/>
                  <a:gd name="T30" fmla="*/ 46 w 372"/>
                  <a:gd name="T31" fmla="*/ 43 h 238"/>
                  <a:gd name="T32" fmla="*/ 49 w 372"/>
                  <a:gd name="T33" fmla="*/ 66 h 238"/>
                  <a:gd name="T34" fmla="*/ 6 w 372"/>
                  <a:gd name="T35" fmla="*/ 82 h 238"/>
                  <a:gd name="T36" fmla="*/ 14 w 372"/>
                  <a:gd name="T37" fmla="*/ 100 h 238"/>
                  <a:gd name="T38" fmla="*/ 42 w 372"/>
                  <a:gd name="T39" fmla="*/ 114 h 238"/>
                  <a:gd name="T40" fmla="*/ 61 w 372"/>
                  <a:gd name="T41" fmla="*/ 158 h 238"/>
                  <a:gd name="T42" fmla="*/ 42 w 372"/>
                  <a:gd name="T43" fmla="*/ 206 h 238"/>
                  <a:gd name="T44" fmla="*/ 89 w 372"/>
                  <a:gd name="T45" fmla="*/ 199 h 238"/>
                  <a:gd name="T46" fmla="*/ 111 w 372"/>
                  <a:gd name="T47" fmla="*/ 189 h 238"/>
                  <a:gd name="T48" fmla="*/ 145 w 372"/>
                  <a:gd name="T49" fmla="*/ 189 h 238"/>
                  <a:gd name="T50" fmla="*/ 142 w 372"/>
                  <a:gd name="T51" fmla="*/ 168 h 238"/>
                  <a:gd name="T52" fmla="*/ 164 w 372"/>
                  <a:gd name="T53" fmla="*/ 135 h 238"/>
                  <a:gd name="T54" fmla="*/ 184 w 372"/>
                  <a:gd name="T55" fmla="*/ 168 h 238"/>
                  <a:gd name="T56" fmla="*/ 205 w 372"/>
                  <a:gd name="T57" fmla="*/ 210 h 238"/>
                  <a:gd name="T58" fmla="*/ 249 w 372"/>
                  <a:gd name="T59" fmla="*/ 216 h 238"/>
                  <a:gd name="T60" fmla="*/ 273 w 372"/>
                  <a:gd name="T61" fmla="*/ 197 h 238"/>
                  <a:gd name="T62" fmla="*/ 306 w 372"/>
                  <a:gd name="T63" fmla="*/ 202 h 238"/>
                  <a:gd name="T64" fmla="*/ 343 w 372"/>
                  <a:gd name="T65" fmla="*/ 194 h 238"/>
                  <a:gd name="T66" fmla="*/ 364 w 372"/>
                  <a:gd name="T67" fmla="*/ 19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72" h="238">
                    <a:moveTo>
                      <a:pt x="353" y="181"/>
                    </a:moveTo>
                    <a:cubicBezTo>
                      <a:pt x="346" y="174"/>
                      <a:pt x="345" y="152"/>
                      <a:pt x="345" y="142"/>
                    </a:cubicBezTo>
                    <a:cubicBezTo>
                      <a:pt x="345" y="132"/>
                      <a:pt x="333" y="129"/>
                      <a:pt x="319" y="125"/>
                    </a:cubicBezTo>
                    <a:cubicBezTo>
                      <a:pt x="305" y="121"/>
                      <a:pt x="301" y="136"/>
                      <a:pt x="291" y="132"/>
                    </a:cubicBezTo>
                    <a:cubicBezTo>
                      <a:pt x="281" y="128"/>
                      <a:pt x="289" y="110"/>
                      <a:pt x="289" y="103"/>
                    </a:cubicBezTo>
                    <a:cubicBezTo>
                      <a:pt x="289" y="96"/>
                      <a:pt x="275" y="99"/>
                      <a:pt x="275" y="99"/>
                    </a:cubicBezTo>
                    <a:cubicBezTo>
                      <a:pt x="275" y="82"/>
                      <a:pt x="275" y="82"/>
                      <a:pt x="275" y="82"/>
                    </a:cubicBezTo>
                    <a:cubicBezTo>
                      <a:pt x="266" y="79"/>
                      <a:pt x="266" y="79"/>
                      <a:pt x="266" y="79"/>
                    </a:cubicBezTo>
                    <a:cubicBezTo>
                      <a:pt x="258" y="88"/>
                      <a:pt x="258" y="88"/>
                      <a:pt x="258" y="88"/>
                    </a:cubicBezTo>
                    <a:cubicBezTo>
                      <a:pt x="230" y="87"/>
                      <a:pt x="230" y="87"/>
                      <a:pt x="230" y="87"/>
                    </a:cubicBezTo>
                    <a:cubicBezTo>
                      <a:pt x="230" y="87"/>
                      <a:pt x="226" y="90"/>
                      <a:pt x="216" y="93"/>
                    </a:cubicBezTo>
                    <a:cubicBezTo>
                      <a:pt x="206" y="96"/>
                      <a:pt x="210" y="90"/>
                      <a:pt x="210" y="90"/>
                    </a:cubicBezTo>
                    <a:cubicBezTo>
                      <a:pt x="210" y="90"/>
                      <a:pt x="198" y="93"/>
                      <a:pt x="195" y="93"/>
                    </a:cubicBezTo>
                    <a:cubicBezTo>
                      <a:pt x="192" y="93"/>
                      <a:pt x="181" y="75"/>
                      <a:pt x="176" y="76"/>
                    </a:cubicBezTo>
                    <a:cubicBezTo>
                      <a:pt x="171" y="77"/>
                      <a:pt x="160" y="85"/>
                      <a:pt x="154" y="86"/>
                    </a:cubicBezTo>
                    <a:cubicBezTo>
                      <a:pt x="148" y="87"/>
                      <a:pt x="142" y="77"/>
                      <a:pt x="142" y="77"/>
                    </a:cubicBezTo>
                    <a:cubicBezTo>
                      <a:pt x="142" y="77"/>
                      <a:pt x="135" y="76"/>
                      <a:pt x="130" y="78"/>
                    </a:cubicBezTo>
                    <a:cubicBezTo>
                      <a:pt x="125" y="80"/>
                      <a:pt x="108" y="75"/>
                      <a:pt x="108" y="75"/>
                    </a:cubicBezTo>
                    <a:cubicBezTo>
                      <a:pt x="108" y="75"/>
                      <a:pt x="93" y="80"/>
                      <a:pt x="86" y="81"/>
                    </a:cubicBezTo>
                    <a:cubicBezTo>
                      <a:pt x="79" y="82"/>
                      <a:pt x="76" y="62"/>
                      <a:pt x="76" y="62"/>
                    </a:cubicBezTo>
                    <a:cubicBezTo>
                      <a:pt x="85" y="59"/>
                      <a:pt x="85" y="59"/>
                      <a:pt x="85" y="59"/>
                    </a:cubicBezTo>
                    <a:cubicBezTo>
                      <a:pt x="85" y="59"/>
                      <a:pt x="88" y="44"/>
                      <a:pt x="101" y="43"/>
                    </a:cubicBezTo>
                    <a:cubicBezTo>
                      <a:pt x="114" y="42"/>
                      <a:pt x="124" y="52"/>
                      <a:pt x="131" y="56"/>
                    </a:cubicBezTo>
                    <a:cubicBezTo>
                      <a:pt x="138" y="60"/>
                      <a:pt x="140" y="49"/>
                      <a:pt x="141" y="45"/>
                    </a:cubicBezTo>
                    <a:cubicBezTo>
                      <a:pt x="142" y="41"/>
                      <a:pt x="117" y="33"/>
                      <a:pt x="117" y="33"/>
                    </a:cubicBezTo>
                    <a:cubicBezTo>
                      <a:pt x="133" y="12"/>
                      <a:pt x="133" y="12"/>
                      <a:pt x="133" y="12"/>
                    </a:cubicBezTo>
                    <a:cubicBezTo>
                      <a:pt x="133" y="12"/>
                      <a:pt x="118" y="0"/>
                      <a:pt x="114" y="2"/>
                    </a:cubicBezTo>
                    <a:cubicBezTo>
                      <a:pt x="110" y="4"/>
                      <a:pt x="99" y="16"/>
                      <a:pt x="91" y="21"/>
                    </a:cubicBezTo>
                    <a:cubicBezTo>
                      <a:pt x="83" y="26"/>
                      <a:pt x="80" y="12"/>
                      <a:pt x="74" y="12"/>
                    </a:cubicBezTo>
                    <a:cubicBezTo>
                      <a:pt x="68" y="12"/>
                      <a:pt x="66" y="21"/>
                      <a:pt x="65" y="25"/>
                    </a:cubicBezTo>
                    <a:cubicBezTo>
                      <a:pt x="64" y="29"/>
                      <a:pt x="77" y="36"/>
                      <a:pt x="71" y="42"/>
                    </a:cubicBezTo>
                    <a:cubicBezTo>
                      <a:pt x="65" y="48"/>
                      <a:pt x="46" y="43"/>
                      <a:pt x="46" y="43"/>
                    </a:cubicBezTo>
                    <a:cubicBezTo>
                      <a:pt x="59" y="57"/>
                      <a:pt x="59" y="57"/>
                      <a:pt x="59" y="57"/>
                    </a:cubicBezTo>
                    <a:cubicBezTo>
                      <a:pt x="49" y="66"/>
                      <a:pt x="49" y="66"/>
                      <a:pt x="49" y="66"/>
                    </a:cubicBezTo>
                    <a:cubicBezTo>
                      <a:pt x="49" y="66"/>
                      <a:pt x="61" y="71"/>
                      <a:pt x="46" y="80"/>
                    </a:cubicBezTo>
                    <a:cubicBezTo>
                      <a:pt x="31" y="89"/>
                      <a:pt x="12" y="77"/>
                      <a:pt x="6" y="82"/>
                    </a:cubicBezTo>
                    <a:cubicBezTo>
                      <a:pt x="0" y="87"/>
                      <a:pt x="0" y="97"/>
                      <a:pt x="0" y="97"/>
                    </a:cubicBezTo>
                    <a:cubicBezTo>
                      <a:pt x="14" y="100"/>
                      <a:pt x="14" y="100"/>
                      <a:pt x="14" y="100"/>
                    </a:cubicBezTo>
                    <a:cubicBezTo>
                      <a:pt x="21" y="108"/>
                      <a:pt x="21" y="108"/>
                      <a:pt x="21" y="108"/>
                    </a:cubicBezTo>
                    <a:cubicBezTo>
                      <a:pt x="21" y="108"/>
                      <a:pt x="37" y="109"/>
                      <a:pt x="42" y="114"/>
                    </a:cubicBezTo>
                    <a:cubicBezTo>
                      <a:pt x="47" y="119"/>
                      <a:pt x="36" y="128"/>
                      <a:pt x="42" y="138"/>
                    </a:cubicBezTo>
                    <a:cubicBezTo>
                      <a:pt x="48" y="148"/>
                      <a:pt x="61" y="147"/>
                      <a:pt x="61" y="158"/>
                    </a:cubicBezTo>
                    <a:cubicBezTo>
                      <a:pt x="61" y="169"/>
                      <a:pt x="51" y="179"/>
                      <a:pt x="44" y="187"/>
                    </a:cubicBezTo>
                    <a:cubicBezTo>
                      <a:pt x="40" y="191"/>
                      <a:pt x="41" y="200"/>
                      <a:pt x="42" y="206"/>
                    </a:cubicBezTo>
                    <a:cubicBezTo>
                      <a:pt x="48" y="211"/>
                      <a:pt x="56" y="217"/>
                      <a:pt x="58" y="218"/>
                    </a:cubicBezTo>
                    <a:cubicBezTo>
                      <a:pt x="61" y="219"/>
                      <a:pt x="86" y="199"/>
                      <a:pt x="89" y="199"/>
                    </a:cubicBezTo>
                    <a:cubicBezTo>
                      <a:pt x="92" y="199"/>
                      <a:pt x="103" y="216"/>
                      <a:pt x="107" y="214"/>
                    </a:cubicBezTo>
                    <a:cubicBezTo>
                      <a:pt x="111" y="212"/>
                      <a:pt x="106" y="194"/>
                      <a:pt x="111" y="189"/>
                    </a:cubicBezTo>
                    <a:cubicBezTo>
                      <a:pt x="116" y="184"/>
                      <a:pt x="138" y="183"/>
                      <a:pt x="138" y="183"/>
                    </a:cubicBezTo>
                    <a:cubicBezTo>
                      <a:pt x="145" y="189"/>
                      <a:pt x="145" y="189"/>
                      <a:pt x="145" y="189"/>
                    </a:cubicBezTo>
                    <a:cubicBezTo>
                      <a:pt x="150" y="175"/>
                      <a:pt x="150" y="175"/>
                      <a:pt x="150" y="175"/>
                    </a:cubicBezTo>
                    <a:cubicBezTo>
                      <a:pt x="150" y="175"/>
                      <a:pt x="142" y="175"/>
                      <a:pt x="142" y="168"/>
                    </a:cubicBezTo>
                    <a:cubicBezTo>
                      <a:pt x="142" y="161"/>
                      <a:pt x="156" y="158"/>
                      <a:pt x="156" y="154"/>
                    </a:cubicBezTo>
                    <a:cubicBezTo>
                      <a:pt x="156" y="150"/>
                      <a:pt x="155" y="135"/>
                      <a:pt x="164" y="135"/>
                    </a:cubicBezTo>
                    <a:cubicBezTo>
                      <a:pt x="173" y="135"/>
                      <a:pt x="184" y="144"/>
                      <a:pt x="184" y="149"/>
                    </a:cubicBezTo>
                    <a:cubicBezTo>
                      <a:pt x="184" y="154"/>
                      <a:pt x="184" y="168"/>
                      <a:pt x="184" y="168"/>
                    </a:cubicBezTo>
                    <a:cubicBezTo>
                      <a:pt x="198" y="168"/>
                      <a:pt x="198" y="168"/>
                      <a:pt x="198" y="168"/>
                    </a:cubicBezTo>
                    <a:cubicBezTo>
                      <a:pt x="205" y="210"/>
                      <a:pt x="205" y="210"/>
                      <a:pt x="205" y="210"/>
                    </a:cubicBezTo>
                    <a:cubicBezTo>
                      <a:pt x="205" y="210"/>
                      <a:pt x="221" y="238"/>
                      <a:pt x="228" y="235"/>
                    </a:cubicBezTo>
                    <a:cubicBezTo>
                      <a:pt x="235" y="232"/>
                      <a:pt x="249" y="216"/>
                      <a:pt x="249" y="216"/>
                    </a:cubicBezTo>
                    <a:cubicBezTo>
                      <a:pt x="259" y="216"/>
                      <a:pt x="259" y="216"/>
                      <a:pt x="259" y="216"/>
                    </a:cubicBezTo>
                    <a:cubicBezTo>
                      <a:pt x="259" y="216"/>
                      <a:pt x="266" y="205"/>
                      <a:pt x="273" y="197"/>
                    </a:cubicBezTo>
                    <a:cubicBezTo>
                      <a:pt x="280" y="189"/>
                      <a:pt x="304" y="192"/>
                      <a:pt x="304" y="192"/>
                    </a:cubicBezTo>
                    <a:cubicBezTo>
                      <a:pt x="306" y="202"/>
                      <a:pt x="306" y="202"/>
                      <a:pt x="306" y="202"/>
                    </a:cubicBezTo>
                    <a:cubicBezTo>
                      <a:pt x="330" y="194"/>
                      <a:pt x="330" y="194"/>
                      <a:pt x="330" y="194"/>
                    </a:cubicBezTo>
                    <a:cubicBezTo>
                      <a:pt x="343" y="194"/>
                      <a:pt x="343" y="194"/>
                      <a:pt x="343" y="194"/>
                    </a:cubicBezTo>
                    <a:cubicBezTo>
                      <a:pt x="350" y="199"/>
                      <a:pt x="350" y="199"/>
                      <a:pt x="350" y="199"/>
                    </a:cubicBezTo>
                    <a:cubicBezTo>
                      <a:pt x="355" y="199"/>
                      <a:pt x="361" y="199"/>
                      <a:pt x="364" y="197"/>
                    </a:cubicBezTo>
                    <a:cubicBezTo>
                      <a:pt x="372" y="191"/>
                      <a:pt x="360" y="188"/>
                      <a:pt x="353" y="181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Freeform 235">
                <a:extLst>
                  <a:ext uri="{FF2B5EF4-FFF2-40B4-BE49-F238E27FC236}">
                    <a16:creationId xmlns:a16="http://schemas.microsoft.com/office/drawing/2014/main" id="{798F7D74-EA99-2156-B560-9EB001BC0E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89" y="-15460"/>
                <a:ext cx="1060" cy="498"/>
              </a:xfrm>
              <a:custGeom>
                <a:avLst/>
                <a:gdLst>
                  <a:gd name="T0" fmla="*/ 46 w 449"/>
                  <a:gd name="T1" fmla="*/ 96 h 211"/>
                  <a:gd name="T2" fmla="*/ 76 w 449"/>
                  <a:gd name="T3" fmla="*/ 107 h 211"/>
                  <a:gd name="T4" fmla="*/ 84 w 449"/>
                  <a:gd name="T5" fmla="*/ 98 h 211"/>
                  <a:gd name="T6" fmla="*/ 95 w 449"/>
                  <a:gd name="T7" fmla="*/ 106 h 211"/>
                  <a:gd name="T8" fmla="*/ 114 w 449"/>
                  <a:gd name="T9" fmla="*/ 117 h 211"/>
                  <a:gd name="T10" fmla="*/ 132 w 449"/>
                  <a:gd name="T11" fmla="*/ 124 h 211"/>
                  <a:gd name="T12" fmla="*/ 129 w 449"/>
                  <a:gd name="T13" fmla="*/ 141 h 211"/>
                  <a:gd name="T14" fmla="*/ 115 w 449"/>
                  <a:gd name="T15" fmla="*/ 149 h 211"/>
                  <a:gd name="T16" fmla="*/ 84 w 449"/>
                  <a:gd name="T17" fmla="*/ 152 h 211"/>
                  <a:gd name="T18" fmla="*/ 65 w 449"/>
                  <a:gd name="T19" fmla="*/ 160 h 211"/>
                  <a:gd name="T20" fmla="*/ 25 w 449"/>
                  <a:gd name="T21" fmla="*/ 158 h 211"/>
                  <a:gd name="T22" fmla="*/ 0 w 449"/>
                  <a:gd name="T23" fmla="*/ 177 h 211"/>
                  <a:gd name="T24" fmla="*/ 32 w 449"/>
                  <a:gd name="T25" fmla="*/ 190 h 211"/>
                  <a:gd name="T26" fmla="*/ 66 w 449"/>
                  <a:gd name="T27" fmla="*/ 192 h 211"/>
                  <a:gd name="T28" fmla="*/ 100 w 449"/>
                  <a:gd name="T29" fmla="*/ 191 h 211"/>
                  <a:gd name="T30" fmla="*/ 134 w 449"/>
                  <a:gd name="T31" fmla="*/ 205 h 211"/>
                  <a:gd name="T32" fmla="*/ 154 w 449"/>
                  <a:gd name="T33" fmla="*/ 202 h 211"/>
                  <a:gd name="T34" fmla="*/ 190 w 449"/>
                  <a:gd name="T35" fmla="*/ 194 h 211"/>
                  <a:gd name="T36" fmla="*/ 211 w 449"/>
                  <a:gd name="T37" fmla="*/ 195 h 211"/>
                  <a:gd name="T38" fmla="*/ 231 w 449"/>
                  <a:gd name="T39" fmla="*/ 157 h 211"/>
                  <a:gd name="T40" fmla="*/ 250 w 449"/>
                  <a:gd name="T41" fmla="*/ 145 h 211"/>
                  <a:gd name="T42" fmla="*/ 278 w 449"/>
                  <a:gd name="T43" fmla="*/ 155 h 211"/>
                  <a:gd name="T44" fmla="*/ 304 w 449"/>
                  <a:gd name="T45" fmla="*/ 153 h 211"/>
                  <a:gd name="T46" fmla="*/ 327 w 449"/>
                  <a:gd name="T47" fmla="*/ 112 h 211"/>
                  <a:gd name="T48" fmla="*/ 378 w 449"/>
                  <a:gd name="T49" fmla="*/ 98 h 211"/>
                  <a:gd name="T50" fmla="*/ 429 w 449"/>
                  <a:gd name="T51" fmla="*/ 65 h 211"/>
                  <a:gd name="T52" fmla="*/ 443 w 449"/>
                  <a:gd name="T53" fmla="*/ 46 h 211"/>
                  <a:gd name="T54" fmla="*/ 401 w 449"/>
                  <a:gd name="T55" fmla="*/ 41 h 211"/>
                  <a:gd name="T56" fmla="*/ 372 w 449"/>
                  <a:gd name="T57" fmla="*/ 23 h 211"/>
                  <a:gd name="T58" fmla="*/ 332 w 449"/>
                  <a:gd name="T59" fmla="*/ 16 h 211"/>
                  <a:gd name="T60" fmla="*/ 238 w 449"/>
                  <a:gd name="T61" fmla="*/ 14 h 211"/>
                  <a:gd name="T62" fmla="*/ 194 w 449"/>
                  <a:gd name="T63" fmla="*/ 12 h 211"/>
                  <a:gd name="T64" fmla="*/ 144 w 449"/>
                  <a:gd name="T65" fmla="*/ 5 h 211"/>
                  <a:gd name="T66" fmla="*/ 138 w 449"/>
                  <a:gd name="T67" fmla="*/ 37 h 211"/>
                  <a:gd name="T68" fmla="*/ 61 w 449"/>
                  <a:gd name="T69" fmla="*/ 18 h 211"/>
                  <a:gd name="T70" fmla="*/ 57 w 449"/>
                  <a:gd name="T71" fmla="*/ 54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49" h="211">
                    <a:moveTo>
                      <a:pt x="23" y="88"/>
                    </a:moveTo>
                    <a:cubicBezTo>
                      <a:pt x="46" y="96"/>
                      <a:pt x="46" y="96"/>
                      <a:pt x="46" y="96"/>
                    </a:cubicBezTo>
                    <a:cubicBezTo>
                      <a:pt x="46" y="96"/>
                      <a:pt x="47" y="101"/>
                      <a:pt x="52" y="105"/>
                    </a:cubicBezTo>
                    <a:cubicBezTo>
                      <a:pt x="57" y="109"/>
                      <a:pt x="76" y="107"/>
                      <a:pt x="76" y="107"/>
                    </a:cubicBezTo>
                    <a:cubicBezTo>
                      <a:pt x="75" y="98"/>
                      <a:pt x="75" y="98"/>
                      <a:pt x="75" y="98"/>
                    </a:cubicBezTo>
                    <a:cubicBezTo>
                      <a:pt x="84" y="98"/>
                      <a:pt x="84" y="98"/>
                      <a:pt x="84" y="98"/>
                    </a:cubicBezTo>
                    <a:cubicBezTo>
                      <a:pt x="84" y="88"/>
                      <a:pt x="84" y="88"/>
                      <a:pt x="84" y="88"/>
                    </a:cubicBezTo>
                    <a:cubicBezTo>
                      <a:pt x="95" y="106"/>
                      <a:pt x="95" y="106"/>
                      <a:pt x="95" y="106"/>
                    </a:cubicBezTo>
                    <a:cubicBezTo>
                      <a:pt x="108" y="106"/>
                      <a:pt x="108" y="106"/>
                      <a:pt x="108" y="106"/>
                    </a:cubicBezTo>
                    <a:cubicBezTo>
                      <a:pt x="114" y="117"/>
                      <a:pt x="114" y="117"/>
                      <a:pt x="114" y="117"/>
                    </a:cubicBezTo>
                    <a:cubicBezTo>
                      <a:pt x="127" y="119"/>
                      <a:pt x="127" y="119"/>
                      <a:pt x="127" y="119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2" y="124"/>
                      <a:pt x="161" y="118"/>
                      <a:pt x="151" y="130"/>
                    </a:cubicBezTo>
                    <a:cubicBezTo>
                      <a:pt x="141" y="142"/>
                      <a:pt x="129" y="141"/>
                      <a:pt x="129" y="141"/>
                    </a:cubicBezTo>
                    <a:cubicBezTo>
                      <a:pt x="129" y="147"/>
                      <a:pt x="129" y="147"/>
                      <a:pt x="129" y="147"/>
                    </a:cubicBezTo>
                    <a:cubicBezTo>
                      <a:pt x="115" y="149"/>
                      <a:pt x="115" y="149"/>
                      <a:pt x="115" y="149"/>
                    </a:cubicBezTo>
                    <a:cubicBezTo>
                      <a:pt x="115" y="149"/>
                      <a:pt x="113" y="158"/>
                      <a:pt x="104" y="162"/>
                    </a:cubicBezTo>
                    <a:cubicBezTo>
                      <a:pt x="95" y="166"/>
                      <a:pt x="91" y="150"/>
                      <a:pt x="84" y="152"/>
                    </a:cubicBezTo>
                    <a:cubicBezTo>
                      <a:pt x="80" y="153"/>
                      <a:pt x="71" y="156"/>
                      <a:pt x="64" y="159"/>
                    </a:cubicBezTo>
                    <a:cubicBezTo>
                      <a:pt x="65" y="159"/>
                      <a:pt x="65" y="159"/>
                      <a:pt x="65" y="160"/>
                    </a:cubicBezTo>
                    <a:cubicBezTo>
                      <a:pt x="64" y="164"/>
                      <a:pt x="62" y="175"/>
                      <a:pt x="55" y="171"/>
                    </a:cubicBezTo>
                    <a:cubicBezTo>
                      <a:pt x="48" y="167"/>
                      <a:pt x="38" y="157"/>
                      <a:pt x="25" y="158"/>
                    </a:cubicBezTo>
                    <a:cubicBezTo>
                      <a:pt x="12" y="159"/>
                      <a:pt x="9" y="174"/>
                      <a:pt x="9" y="174"/>
                    </a:cubicBezTo>
                    <a:cubicBezTo>
                      <a:pt x="0" y="177"/>
                      <a:pt x="0" y="177"/>
                      <a:pt x="0" y="177"/>
                    </a:cubicBezTo>
                    <a:cubicBezTo>
                      <a:pt x="0" y="177"/>
                      <a:pt x="3" y="197"/>
                      <a:pt x="10" y="196"/>
                    </a:cubicBezTo>
                    <a:cubicBezTo>
                      <a:pt x="17" y="195"/>
                      <a:pt x="32" y="190"/>
                      <a:pt x="32" y="190"/>
                    </a:cubicBezTo>
                    <a:cubicBezTo>
                      <a:pt x="32" y="190"/>
                      <a:pt x="49" y="195"/>
                      <a:pt x="54" y="193"/>
                    </a:cubicBezTo>
                    <a:cubicBezTo>
                      <a:pt x="59" y="191"/>
                      <a:pt x="66" y="192"/>
                      <a:pt x="66" y="192"/>
                    </a:cubicBezTo>
                    <a:cubicBezTo>
                      <a:pt x="66" y="192"/>
                      <a:pt x="72" y="202"/>
                      <a:pt x="78" y="201"/>
                    </a:cubicBezTo>
                    <a:cubicBezTo>
                      <a:pt x="84" y="200"/>
                      <a:pt x="95" y="192"/>
                      <a:pt x="100" y="191"/>
                    </a:cubicBezTo>
                    <a:cubicBezTo>
                      <a:pt x="105" y="190"/>
                      <a:pt x="116" y="208"/>
                      <a:pt x="119" y="208"/>
                    </a:cubicBezTo>
                    <a:cubicBezTo>
                      <a:pt x="122" y="208"/>
                      <a:pt x="134" y="205"/>
                      <a:pt x="134" y="205"/>
                    </a:cubicBezTo>
                    <a:cubicBezTo>
                      <a:pt x="134" y="205"/>
                      <a:pt x="130" y="211"/>
                      <a:pt x="140" y="208"/>
                    </a:cubicBezTo>
                    <a:cubicBezTo>
                      <a:pt x="150" y="205"/>
                      <a:pt x="154" y="202"/>
                      <a:pt x="154" y="202"/>
                    </a:cubicBezTo>
                    <a:cubicBezTo>
                      <a:pt x="182" y="203"/>
                      <a:pt x="182" y="203"/>
                      <a:pt x="182" y="203"/>
                    </a:cubicBezTo>
                    <a:cubicBezTo>
                      <a:pt x="190" y="194"/>
                      <a:pt x="190" y="194"/>
                      <a:pt x="190" y="194"/>
                    </a:cubicBezTo>
                    <a:cubicBezTo>
                      <a:pt x="199" y="197"/>
                      <a:pt x="199" y="197"/>
                      <a:pt x="199" y="197"/>
                    </a:cubicBezTo>
                    <a:cubicBezTo>
                      <a:pt x="199" y="197"/>
                      <a:pt x="211" y="199"/>
                      <a:pt x="211" y="195"/>
                    </a:cubicBezTo>
                    <a:cubicBezTo>
                      <a:pt x="211" y="191"/>
                      <a:pt x="200" y="178"/>
                      <a:pt x="199" y="175"/>
                    </a:cubicBezTo>
                    <a:cubicBezTo>
                      <a:pt x="198" y="172"/>
                      <a:pt x="231" y="157"/>
                      <a:pt x="231" y="157"/>
                    </a:cubicBezTo>
                    <a:cubicBezTo>
                      <a:pt x="231" y="147"/>
                      <a:pt x="231" y="147"/>
                      <a:pt x="231" y="147"/>
                    </a:cubicBezTo>
                    <a:cubicBezTo>
                      <a:pt x="250" y="145"/>
                      <a:pt x="250" y="145"/>
                      <a:pt x="250" y="145"/>
                    </a:cubicBezTo>
                    <a:cubicBezTo>
                      <a:pt x="250" y="145"/>
                      <a:pt x="255" y="136"/>
                      <a:pt x="261" y="136"/>
                    </a:cubicBezTo>
                    <a:cubicBezTo>
                      <a:pt x="267" y="136"/>
                      <a:pt x="278" y="155"/>
                      <a:pt x="278" y="155"/>
                    </a:cubicBezTo>
                    <a:cubicBezTo>
                      <a:pt x="285" y="148"/>
                      <a:pt x="285" y="148"/>
                      <a:pt x="285" y="148"/>
                    </a:cubicBezTo>
                    <a:cubicBezTo>
                      <a:pt x="304" y="153"/>
                      <a:pt x="304" y="153"/>
                      <a:pt x="304" y="153"/>
                    </a:cubicBezTo>
                    <a:cubicBezTo>
                      <a:pt x="304" y="153"/>
                      <a:pt x="309" y="144"/>
                      <a:pt x="310" y="135"/>
                    </a:cubicBezTo>
                    <a:cubicBezTo>
                      <a:pt x="311" y="126"/>
                      <a:pt x="319" y="113"/>
                      <a:pt x="327" y="112"/>
                    </a:cubicBezTo>
                    <a:cubicBezTo>
                      <a:pt x="335" y="111"/>
                      <a:pt x="354" y="119"/>
                      <a:pt x="366" y="119"/>
                    </a:cubicBezTo>
                    <a:cubicBezTo>
                      <a:pt x="378" y="119"/>
                      <a:pt x="378" y="101"/>
                      <a:pt x="378" y="98"/>
                    </a:cubicBezTo>
                    <a:cubicBezTo>
                      <a:pt x="378" y="95"/>
                      <a:pt x="397" y="78"/>
                      <a:pt x="397" y="78"/>
                    </a:cubicBezTo>
                    <a:cubicBezTo>
                      <a:pt x="429" y="65"/>
                      <a:pt x="429" y="65"/>
                      <a:pt x="429" y="65"/>
                    </a:cubicBezTo>
                    <a:cubicBezTo>
                      <a:pt x="429" y="65"/>
                      <a:pt x="443" y="65"/>
                      <a:pt x="446" y="64"/>
                    </a:cubicBezTo>
                    <a:cubicBezTo>
                      <a:pt x="449" y="63"/>
                      <a:pt x="447" y="51"/>
                      <a:pt x="443" y="46"/>
                    </a:cubicBezTo>
                    <a:cubicBezTo>
                      <a:pt x="429" y="41"/>
                      <a:pt x="429" y="41"/>
                      <a:pt x="429" y="41"/>
                    </a:cubicBezTo>
                    <a:cubicBezTo>
                      <a:pt x="401" y="41"/>
                      <a:pt x="401" y="41"/>
                      <a:pt x="401" y="41"/>
                    </a:cubicBezTo>
                    <a:cubicBezTo>
                      <a:pt x="384" y="23"/>
                      <a:pt x="384" y="23"/>
                      <a:pt x="384" y="23"/>
                    </a:cubicBezTo>
                    <a:cubicBezTo>
                      <a:pt x="372" y="23"/>
                      <a:pt x="372" y="23"/>
                      <a:pt x="372" y="23"/>
                    </a:cubicBezTo>
                    <a:cubicBezTo>
                      <a:pt x="364" y="15"/>
                      <a:pt x="364" y="15"/>
                      <a:pt x="364" y="15"/>
                    </a:cubicBezTo>
                    <a:cubicBezTo>
                      <a:pt x="332" y="16"/>
                      <a:pt x="332" y="16"/>
                      <a:pt x="332" y="16"/>
                    </a:cubicBezTo>
                    <a:cubicBezTo>
                      <a:pt x="332" y="16"/>
                      <a:pt x="302" y="12"/>
                      <a:pt x="294" y="13"/>
                    </a:cubicBezTo>
                    <a:cubicBezTo>
                      <a:pt x="286" y="14"/>
                      <a:pt x="238" y="14"/>
                      <a:pt x="238" y="14"/>
                    </a:cubicBezTo>
                    <a:cubicBezTo>
                      <a:pt x="226" y="18"/>
                      <a:pt x="226" y="18"/>
                      <a:pt x="226" y="18"/>
                    </a:cubicBezTo>
                    <a:cubicBezTo>
                      <a:pt x="226" y="18"/>
                      <a:pt x="198" y="12"/>
                      <a:pt x="194" y="12"/>
                    </a:cubicBezTo>
                    <a:cubicBezTo>
                      <a:pt x="190" y="12"/>
                      <a:pt x="180" y="0"/>
                      <a:pt x="170" y="0"/>
                    </a:cubicBezTo>
                    <a:cubicBezTo>
                      <a:pt x="160" y="0"/>
                      <a:pt x="147" y="2"/>
                      <a:pt x="144" y="5"/>
                    </a:cubicBezTo>
                    <a:cubicBezTo>
                      <a:pt x="141" y="8"/>
                      <a:pt x="149" y="43"/>
                      <a:pt x="149" y="43"/>
                    </a:cubicBezTo>
                    <a:cubicBezTo>
                      <a:pt x="138" y="37"/>
                      <a:pt x="138" y="37"/>
                      <a:pt x="138" y="37"/>
                    </a:cubicBezTo>
                    <a:cubicBezTo>
                      <a:pt x="115" y="37"/>
                      <a:pt x="115" y="37"/>
                      <a:pt x="115" y="37"/>
                    </a:cubicBezTo>
                    <a:cubicBezTo>
                      <a:pt x="115" y="37"/>
                      <a:pt x="84" y="17"/>
                      <a:pt x="61" y="18"/>
                    </a:cubicBezTo>
                    <a:cubicBezTo>
                      <a:pt x="38" y="19"/>
                      <a:pt x="37" y="48"/>
                      <a:pt x="37" y="48"/>
                    </a:cubicBezTo>
                    <a:cubicBezTo>
                      <a:pt x="37" y="48"/>
                      <a:pt x="55" y="49"/>
                      <a:pt x="57" y="54"/>
                    </a:cubicBezTo>
                    <a:cubicBezTo>
                      <a:pt x="59" y="59"/>
                      <a:pt x="23" y="88"/>
                      <a:pt x="23" y="88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Freeform 236">
                <a:extLst>
                  <a:ext uri="{FF2B5EF4-FFF2-40B4-BE49-F238E27FC236}">
                    <a16:creationId xmlns:a16="http://schemas.microsoft.com/office/drawing/2014/main" id="{94B076A0-1E36-C13E-3838-6A015F981F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997" y="-15411"/>
                <a:ext cx="1592" cy="960"/>
              </a:xfrm>
              <a:custGeom>
                <a:avLst/>
                <a:gdLst>
                  <a:gd name="T0" fmla="*/ 24 w 674"/>
                  <a:gd name="T1" fmla="*/ 120 h 406"/>
                  <a:gd name="T2" fmla="*/ 60 w 674"/>
                  <a:gd name="T3" fmla="*/ 148 h 406"/>
                  <a:gd name="T4" fmla="*/ 75 w 674"/>
                  <a:gd name="T5" fmla="*/ 172 h 406"/>
                  <a:gd name="T6" fmla="*/ 71 w 674"/>
                  <a:gd name="T7" fmla="*/ 187 h 406"/>
                  <a:gd name="T8" fmla="*/ 94 w 674"/>
                  <a:gd name="T9" fmla="*/ 238 h 406"/>
                  <a:gd name="T10" fmla="*/ 96 w 674"/>
                  <a:gd name="T11" fmla="*/ 262 h 406"/>
                  <a:gd name="T12" fmla="*/ 126 w 674"/>
                  <a:gd name="T13" fmla="*/ 291 h 406"/>
                  <a:gd name="T14" fmla="*/ 141 w 674"/>
                  <a:gd name="T15" fmla="*/ 273 h 406"/>
                  <a:gd name="T16" fmla="*/ 205 w 674"/>
                  <a:gd name="T17" fmla="*/ 251 h 406"/>
                  <a:gd name="T18" fmla="*/ 234 w 674"/>
                  <a:gd name="T19" fmla="*/ 244 h 406"/>
                  <a:gd name="T20" fmla="*/ 256 w 674"/>
                  <a:gd name="T21" fmla="*/ 261 h 406"/>
                  <a:gd name="T22" fmla="*/ 299 w 674"/>
                  <a:gd name="T23" fmla="*/ 278 h 406"/>
                  <a:gd name="T24" fmla="*/ 345 w 674"/>
                  <a:gd name="T25" fmla="*/ 279 h 406"/>
                  <a:gd name="T26" fmla="*/ 377 w 674"/>
                  <a:gd name="T27" fmla="*/ 307 h 406"/>
                  <a:gd name="T28" fmla="*/ 439 w 674"/>
                  <a:gd name="T29" fmla="*/ 325 h 406"/>
                  <a:gd name="T30" fmla="*/ 447 w 674"/>
                  <a:gd name="T31" fmla="*/ 350 h 406"/>
                  <a:gd name="T32" fmla="*/ 453 w 674"/>
                  <a:gd name="T33" fmla="*/ 383 h 406"/>
                  <a:gd name="T34" fmla="*/ 484 w 674"/>
                  <a:gd name="T35" fmla="*/ 390 h 406"/>
                  <a:gd name="T36" fmla="*/ 530 w 674"/>
                  <a:gd name="T37" fmla="*/ 396 h 406"/>
                  <a:gd name="T38" fmla="*/ 560 w 674"/>
                  <a:gd name="T39" fmla="*/ 365 h 406"/>
                  <a:gd name="T40" fmla="*/ 589 w 674"/>
                  <a:gd name="T41" fmla="*/ 345 h 406"/>
                  <a:gd name="T42" fmla="*/ 623 w 674"/>
                  <a:gd name="T43" fmla="*/ 296 h 406"/>
                  <a:gd name="T44" fmla="*/ 652 w 674"/>
                  <a:gd name="T45" fmla="*/ 292 h 406"/>
                  <a:gd name="T46" fmla="*/ 667 w 674"/>
                  <a:gd name="T47" fmla="*/ 280 h 406"/>
                  <a:gd name="T48" fmla="*/ 635 w 674"/>
                  <a:gd name="T49" fmla="*/ 242 h 406"/>
                  <a:gd name="T50" fmla="*/ 595 w 674"/>
                  <a:gd name="T51" fmla="*/ 231 h 406"/>
                  <a:gd name="T52" fmla="*/ 563 w 674"/>
                  <a:gd name="T53" fmla="*/ 212 h 406"/>
                  <a:gd name="T54" fmla="*/ 536 w 674"/>
                  <a:gd name="T55" fmla="*/ 203 h 406"/>
                  <a:gd name="T56" fmla="*/ 500 w 674"/>
                  <a:gd name="T57" fmla="*/ 174 h 406"/>
                  <a:gd name="T58" fmla="*/ 455 w 674"/>
                  <a:gd name="T59" fmla="*/ 148 h 406"/>
                  <a:gd name="T60" fmla="*/ 431 w 674"/>
                  <a:gd name="T61" fmla="*/ 111 h 406"/>
                  <a:gd name="T62" fmla="*/ 398 w 674"/>
                  <a:gd name="T63" fmla="*/ 80 h 406"/>
                  <a:gd name="T64" fmla="*/ 362 w 674"/>
                  <a:gd name="T65" fmla="*/ 82 h 406"/>
                  <a:gd name="T66" fmla="*/ 338 w 674"/>
                  <a:gd name="T67" fmla="*/ 52 h 406"/>
                  <a:gd name="T68" fmla="*/ 320 w 674"/>
                  <a:gd name="T69" fmla="*/ 28 h 406"/>
                  <a:gd name="T70" fmla="*/ 288 w 674"/>
                  <a:gd name="T71" fmla="*/ 23 h 406"/>
                  <a:gd name="T72" fmla="*/ 274 w 674"/>
                  <a:gd name="T73" fmla="*/ 16 h 406"/>
                  <a:gd name="T74" fmla="*/ 258 w 674"/>
                  <a:gd name="T75" fmla="*/ 7 h 406"/>
                  <a:gd name="T76" fmla="*/ 258 w 674"/>
                  <a:gd name="T77" fmla="*/ 24 h 406"/>
                  <a:gd name="T78" fmla="*/ 231 w 674"/>
                  <a:gd name="T79" fmla="*/ 30 h 406"/>
                  <a:gd name="T80" fmla="*/ 211 w 674"/>
                  <a:gd name="T81" fmla="*/ 79 h 406"/>
                  <a:gd name="T82" fmla="*/ 156 w 674"/>
                  <a:gd name="T83" fmla="*/ 72 h 406"/>
                  <a:gd name="T84" fmla="*/ 112 w 674"/>
                  <a:gd name="T85" fmla="*/ 51 h 406"/>
                  <a:gd name="T86" fmla="*/ 51 w 674"/>
                  <a:gd name="T87" fmla="*/ 22 h 406"/>
                  <a:gd name="T88" fmla="*/ 60 w 674"/>
                  <a:gd name="T89" fmla="*/ 42 h 406"/>
                  <a:gd name="T90" fmla="*/ 110 w 674"/>
                  <a:gd name="T91" fmla="*/ 90 h 406"/>
                  <a:gd name="T92" fmla="*/ 82 w 674"/>
                  <a:gd name="T93" fmla="*/ 94 h 406"/>
                  <a:gd name="T94" fmla="*/ 52 w 674"/>
                  <a:gd name="T95" fmla="*/ 108 h 406"/>
                  <a:gd name="T96" fmla="*/ 40 w 674"/>
                  <a:gd name="T97" fmla="*/ 100 h 406"/>
                  <a:gd name="T98" fmla="*/ 19 w 674"/>
                  <a:gd name="T99" fmla="*/ 55 h 406"/>
                  <a:gd name="T100" fmla="*/ 14 w 674"/>
                  <a:gd name="T101" fmla="*/ 72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74" h="406">
                    <a:moveTo>
                      <a:pt x="34" y="100"/>
                    </a:moveTo>
                    <a:cubicBezTo>
                      <a:pt x="34" y="104"/>
                      <a:pt x="24" y="115"/>
                      <a:pt x="24" y="120"/>
                    </a:cubicBezTo>
                    <a:cubicBezTo>
                      <a:pt x="24" y="126"/>
                      <a:pt x="40" y="151"/>
                      <a:pt x="40" y="151"/>
                    </a:cubicBezTo>
                    <a:cubicBezTo>
                      <a:pt x="60" y="148"/>
                      <a:pt x="60" y="148"/>
                      <a:pt x="60" y="148"/>
                    </a:cubicBezTo>
                    <a:cubicBezTo>
                      <a:pt x="62" y="166"/>
                      <a:pt x="62" y="166"/>
                      <a:pt x="62" y="166"/>
                    </a:cubicBezTo>
                    <a:cubicBezTo>
                      <a:pt x="75" y="172"/>
                      <a:pt x="75" y="172"/>
                      <a:pt x="75" y="172"/>
                    </a:cubicBezTo>
                    <a:cubicBezTo>
                      <a:pt x="75" y="172"/>
                      <a:pt x="46" y="171"/>
                      <a:pt x="50" y="180"/>
                    </a:cubicBezTo>
                    <a:cubicBezTo>
                      <a:pt x="54" y="190"/>
                      <a:pt x="64" y="184"/>
                      <a:pt x="71" y="187"/>
                    </a:cubicBezTo>
                    <a:cubicBezTo>
                      <a:pt x="78" y="190"/>
                      <a:pt x="90" y="203"/>
                      <a:pt x="90" y="203"/>
                    </a:cubicBezTo>
                    <a:cubicBezTo>
                      <a:pt x="94" y="238"/>
                      <a:pt x="94" y="238"/>
                      <a:pt x="94" y="238"/>
                    </a:cubicBezTo>
                    <a:cubicBezTo>
                      <a:pt x="99" y="240"/>
                      <a:pt x="99" y="240"/>
                      <a:pt x="99" y="240"/>
                    </a:cubicBezTo>
                    <a:cubicBezTo>
                      <a:pt x="99" y="240"/>
                      <a:pt x="96" y="254"/>
                      <a:pt x="96" y="262"/>
                    </a:cubicBezTo>
                    <a:cubicBezTo>
                      <a:pt x="96" y="270"/>
                      <a:pt x="106" y="291"/>
                      <a:pt x="106" y="291"/>
                    </a:cubicBezTo>
                    <a:cubicBezTo>
                      <a:pt x="106" y="291"/>
                      <a:pt x="122" y="292"/>
                      <a:pt x="126" y="291"/>
                    </a:cubicBezTo>
                    <a:cubicBezTo>
                      <a:pt x="130" y="290"/>
                      <a:pt x="141" y="281"/>
                      <a:pt x="141" y="281"/>
                    </a:cubicBezTo>
                    <a:cubicBezTo>
                      <a:pt x="141" y="273"/>
                      <a:pt x="141" y="273"/>
                      <a:pt x="141" y="273"/>
                    </a:cubicBezTo>
                    <a:cubicBezTo>
                      <a:pt x="141" y="273"/>
                      <a:pt x="167" y="250"/>
                      <a:pt x="178" y="248"/>
                    </a:cubicBezTo>
                    <a:cubicBezTo>
                      <a:pt x="189" y="246"/>
                      <a:pt x="205" y="251"/>
                      <a:pt x="205" y="251"/>
                    </a:cubicBezTo>
                    <a:cubicBezTo>
                      <a:pt x="205" y="251"/>
                      <a:pt x="207" y="245"/>
                      <a:pt x="210" y="243"/>
                    </a:cubicBezTo>
                    <a:cubicBezTo>
                      <a:pt x="213" y="241"/>
                      <a:pt x="234" y="244"/>
                      <a:pt x="234" y="244"/>
                    </a:cubicBezTo>
                    <a:cubicBezTo>
                      <a:pt x="234" y="244"/>
                      <a:pt x="243" y="239"/>
                      <a:pt x="249" y="243"/>
                    </a:cubicBezTo>
                    <a:cubicBezTo>
                      <a:pt x="255" y="247"/>
                      <a:pt x="256" y="261"/>
                      <a:pt x="256" y="261"/>
                    </a:cubicBezTo>
                    <a:cubicBezTo>
                      <a:pt x="256" y="261"/>
                      <a:pt x="268" y="261"/>
                      <a:pt x="273" y="261"/>
                    </a:cubicBezTo>
                    <a:cubicBezTo>
                      <a:pt x="278" y="261"/>
                      <a:pt x="299" y="278"/>
                      <a:pt x="299" y="278"/>
                    </a:cubicBezTo>
                    <a:cubicBezTo>
                      <a:pt x="302" y="274"/>
                      <a:pt x="302" y="274"/>
                      <a:pt x="302" y="274"/>
                    </a:cubicBezTo>
                    <a:cubicBezTo>
                      <a:pt x="302" y="274"/>
                      <a:pt x="340" y="275"/>
                      <a:pt x="345" y="279"/>
                    </a:cubicBezTo>
                    <a:cubicBezTo>
                      <a:pt x="350" y="283"/>
                      <a:pt x="358" y="301"/>
                      <a:pt x="358" y="301"/>
                    </a:cubicBezTo>
                    <a:cubicBezTo>
                      <a:pt x="358" y="301"/>
                      <a:pt x="371" y="303"/>
                      <a:pt x="377" y="307"/>
                    </a:cubicBezTo>
                    <a:cubicBezTo>
                      <a:pt x="383" y="311"/>
                      <a:pt x="397" y="327"/>
                      <a:pt x="397" y="327"/>
                    </a:cubicBezTo>
                    <a:cubicBezTo>
                      <a:pt x="439" y="325"/>
                      <a:pt x="439" y="325"/>
                      <a:pt x="439" y="325"/>
                    </a:cubicBezTo>
                    <a:cubicBezTo>
                      <a:pt x="440" y="347"/>
                      <a:pt x="440" y="347"/>
                      <a:pt x="440" y="347"/>
                    </a:cubicBezTo>
                    <a:cubicBezTo>
                      <a:pt x="447" y="350"/>
                      <a:pt x="447" y="350"/>
                      <a:pt x="447" y="350"/>
                    </a:cubicBezTo>
                    <a:cubicBezTo>
                      <a:pt x="446" y="365"/>
                      <a:pt x="446" y="365"/>
                      <a:pt x="446" y="365"/>
                    </a:cubicBezTo>
                    <a:cubicBezTo>
                      <a:pt x="453" y="383"/>
                      <a:pt x="453" y="383"/>
                      <a:pt x="453" y="383"/>
                    </a:cubicBezTo>
                    <a:cubicBezTo>
                      <a:pt x="453" y="383"/>
                      <a:pt x="467" y="393"/>
                      <a:pt x="472" y="393"/>
                    </a:cubicBezTo>
                    <a:cubicBezTo>
                      <a:pt x="477" y="393"/>
                      <a:pt x="484" y="390"/>
                      <a:pt x="484" y="390"/>
                    </a:cubicBezTo>
                    <a:cubicBezTo>
                      <a:pt x="500" y="406"/>
                      <a:pt x="500" y="406"/>
                      <a:pt x="500" y="406"/>
                    </a:cubicBezTo>
                    <a:cubicBezTo>
                      <a:pt x="500" y="406"/>
                      <a:pt x="525" y="405"/>
                      <a:pt x="530" y="396"/>
                    </a:cubicBezTo>
                    <a:cubicBezTo>
                      <a:pt x="535" y="387"/>
                      <a:pt x="535" y="371"/>
                      <a:pt x="535" y="371"/>
                    </a:cubicBezTo>
                    <a:cubicBezTo>
                      <a:pt x="535" y="371"/>
                      <a:pt x="553" y="372"/>
                      <a:pt x="560" y="365"/>
                    </a:cubicBezTo>
                    <a:cubicBezTo>
                      <a:pt x="567" y="358"/>
                      <a:pt x="580" y="349"/>
                      <a:pt x="580" y="349"/>
                    </a:cubicBezTo>
                    <a:cubicBezTo>
                      <a:pt x="580" y="349"/>
                      <a:pt x="589" y="351"/>
                      <a:pt x="589" y="345"/>
                    </a:cubicBezTo>
                    <a:cubicBezTo>
                      <a:pt x="589" y="339"/>
                      <a:pt x="584" y="311"/>
                      <a:pt x="594" y="301"/>
                    </a:cubicBezTo>
                    <a:cubicBezTo>
                      <a:pt x="604" y="291"/>
                      <a:pt x="623" y="296"/>
                      <a:pt x="623" y="296"/>
                    </a:cubicBezTo>
                    <a:cubicBezTo>
                      <a:pt x="623" y="296"/>
                      <a:pt x="622" y="279"/>
                      <a:pt x="630" y="279"/>
                    </a:cubicBezTo>
                    <a:cubicBezTo>
                      <a:pt x="638" y="279"/>
                      <a:pt x="652" y="292"/>
                      <a:pt x="652" y="292"/>
                    </a:cubicBezTo>
                    <a:cubicBezTo>
                      <a:pt x="674" y="292"/>
                      <a:pt x="674" y="292"/>
                      <a:pt x="674" y="292"/>
                    </a:cubicBezTo>
                    <a:cubicBezTo>
                      <a:pt x="674" y="289"/>
                      <a:pt x="673" y="285"/>
                      <a:pt x="667" y="280"/>
                    </a:cubicBezTo>
                    <a:cubicBezTo>
                      <a:pt x="656" y="272"/>
                      <a:pt x="668" y="260"/>
                      <a:pt x="668" y="260"/>
                    </a:cubicBezTo>
                    <a:cubicBezTo>
                      <a:pt x="635" y="242"/>
                      <a:pt x="635" y="242"/>
                      <a:pt x="635" y="242"/>
                    </a:cubicBezTo>
                    <a:cubicBezTo>
                      <a:pt x="620" y="244"/>
                      <a:pt x="620" y="244"/>
                      <a:pt x="620" y="244"/>
                    </a:cubicBezTo>
                    <a:cubicBezTo>
                      <a:pt x="620" y="244"/>
                      <a:pt x="602" y="236"/>
                      <a:pt x="595" y="231"/>
                    </a:cubicBezTo>
                    <a:cubicBezTo>
                      <a:pt x="588" y="226"/>
                      <a:pt x="574" y="215"/>
                      <a:pt x="574" y="215"/>
                    </a:cubicBezTo>
                    <a:cubicBezTo>
                      <a:pt x="563" y="212"/>
                      <a:pt x="563" y="212"/>
                      <a:pt x="563" y="212"/>
                    </a:cubicBezTo>
                    <a:cubicBezTo>
                      <a:pt x="554" y="204"/>
                      <a:pt x="554" y="204"/>
                      <a:pt x="554" y="204"/>
                    </a:cubicBezTo>
                    <a:cubicBezTo>
                      <a:pt x="536" y="203"/>
                      <a:pt x="536" y="203"/>
                      <a:pt x="536" y="203"/>
                    </a:cubicBezTo>
                    <a:cubicBezTo>
                      <a:pt x="516" y="191"/>
                      <a:pt x="516" y="191"/>
                      <a:pt x="516" y="191"/>
                    </a:cubicBezTo>
                    <a:cubicBezTo>
                      <a:pt x="516" y="191"/>
                      <a:pt x="504" y="175"/>
                      <a:pt x="500" y="174"/>
                    </a:cubicBezTo>
                    <a:cubicBezTo>
                      <a:pt x="496" y="172"/>
                      <a:pt x="483" y="170"/>
                      <a:pt x="476" y="167"/>
                    </a:cubicBezTo>
                    <a:cubicBezTo>
                      <a:pt x="470" y="164"/>
                      <a:pt x="458" y="159"/>
                      <a:pt x="455" y="148"/>
                    </a:cubicBezTo>
                    <a:cubicBezTo>
                      <a:pt x="452" y="138"/>
                      <a:pt x="444" y="126"/>
                      <a:pt x="444" y="126"/>
                    </a:cubicBezTo>
                    <a:cubicBezTo>
                      <a:pt x="431" y="111"/>
                      <a:pt x="431" y="111"/>
                      <a:pt x="431" y="111"/>
                    </a:cubicBezTo>
                    <a:cubicBezTo>
                      <a:pt x="422" y="92"/>
                      <a:pt x="422" y="92"/>
                      <a:pt x="422" y="92"/>
                    </a:cubicBezTo>
                    <a:cubicBezTo>
                      <a:pt x="398" y="80"/>
                      <a:pt x="398" y="80"/>
                      <a:pt x="398" y="80"/>
                    </a:cubicBezTo>
                    <a:cubicBezTo>
                      <a:pt x="398" y="86"/>
                      <a:pt x="398" y="86"/>
                      <a:pt x="398" y="86"/>
                    </a:cubicBezTo>
                    <a:cubicBezTo>
                      <a:pt x="362" y="82"/>
                      <a:pt x="362" y="82"/>
                      <a:pt x="362" y="82"/>
                    </a:cubicBezTo>
                    <a:cubicBezTo>
                      <a:pt x="362" y="82"/>
                      <a:pt x="336" y="83"/>
                      <a:pt x="331" y="74"/>
                    </a:cubicBezTo>
                    <a:cubicBezTo>
                      <a:pt x="326" y="64"/>
                      <a:pt x="338" y="52"/>
                      <a:pt x="338" y="52"/>
                    </a:cubicBezTo>
                    <a:cubicBezTo>
                      <a:pt x="328" y="47"/>
                      <a:pt x="328" y="47"/>
                      <a:pt x="328" y="47"/>
                    </a:cubicBezTo>
                    <a:cubicBezTo>
                      <a:pt x="328" y="47"/>
                      <a:pt x="330" y="32"/>
                      <a:pt x="320" y="28"/>
                    </a:cubicBezTo>
                    <a:cubicBezTo>
                      <a:pt x="311" y="24"/>
                      <a:pt x="298" y="27"/>
                      <a:pt x="298" y="27"/>
                    </a:cubicBezTo>
                    <a:cubicBezTo>
                      <a:pt x="288" y="23"/>
                      <a:pt x="288" y="23"/>
                      <a:pt x="288" y="23"/>
                    </a:cubicBezTo>
                    <a:cubicBezTo>
                      <a:pt x="290" y="15"/>
                      <a:pt x="290" y="15"/>
                      <a:pt x="290" y="15"/>
                    </a:cubicBezTo>
                    <a:cubicBezTo>
                      <a:pt x="274" y="16"/>
                      <a:pt x="274" y="16"/>
                      <a:pt x="274" y="16"/>
                    </a:cubicBezTo>
                    <a:cubicBezTo>
                      <a:pt x="262" y="0"/>
                      <a:pt x="262" y="0"/>
                      <a:pt x="262" y="0"/>
                    </a:cubicBezTo>
                    <a:cubicBezTo>
                      <a:pt x="258" y="7"/>
                      <a:pt x="258" y="7"/>
                      <a:pt x="258" y="7"/>
                    </a:cubicBezTo>
                    <a:cubicBezTo>
                      <a:pt x="238" y="6"/>
                      <a:pt x="238" y="6"/>
                      <a:pt x="238" y="6"/>
                    </a:cubicBezTo>
                    <a:cubicBezTo>
                      <a:pt x="258" y="24"/>
                      <a:pt x="258" y="24"/>
                      <a:pt x="258" y="24"/>
                    </a:cubicBezTo>
                    <a:cubicBezTo>
                      <a:pt x="258" y="24"/>
                      <a:pt x="239" y="16"/>
                      <a:pt x="235" y="18"/>
                    </a:cubicBezTo>
                    <a:cubicBezTo>
                      <a:pt x="231" y="19"/>
                      <a:pt x="231" y="30"/>
                      <a:pt x="231" y="30"/>
                    </a:cubicBezTo>
                    <a:cubicBezTo>
                      <a:pt x="231" y="30"/>
                      <a:pt x="199" y="36"/>
                      <a:pt x="198" y="50"/>
                    </a:cubicBezTo>
                    <a:cubicBezTo>
                      <a:pt x="196" y="63"/>
                      <a:pt x="211" y="79"/>
                      <a:pt x="211" y="79"/>
                    </a:cubicBezTo>
                    <a:cubicBezTo>
                      <a:pt x="167" y="79"/>
                      <a:pt x="167" y="79"/>
                      <a:pt x="167" y="79"/>
                    </a:cubicBezTo>
                    <a:cubicBezTo>
                      <a:pt x="167" y="79"/>
                      <a:pt x="163" y="72"/>
                      <a:pt x="156" y="72"/>
                    </a:cubicBezTo>
                    <a:cubicBezTo>
                      <a:pt x="150" y="72"/>
                      <a:pt x="151" y="87"/>
                      <a:pt x="140" y="82"/>
                    </a:cubicBezTo>
                    <a:cubicBezTo>
                      <a:pt x="130" y="76"/>
                      <a:pt x="112" y="51"/>
                      <a:pt x="112" y="51"/>
                    </a:cubicBezTo>
                    <a:cubicBezTo>
                      <a:pt x="112" y="51"/>
                      <a:pt x="102" y="38"/>
                      <a:pt x="94" y="34"/>
                    </a:cubicBezTo>
                    <a:cubicBezTo>
                      <a:pt x="86" y="30"/>
                      <a:pt x="54" y="18"/>
                      <a:pt x="51" y="22"/>
                    </a:cubicBezTo>
                    <a:cubicBezTo>
                      <a:pt x="48" y="26"/>
                      <a:pt x="50" y="32"/>
                      <a:pt x="50" y="32"/>
                    </a:cubicBezTo>
                    <a:cubicBezTo>
                      <a:pt x="50" y="32"/>
                      <a:pt x="60" y="38"/>
                      <a:pt x="60" y="42"/>
                    </a:cubicBezTo>
                    <a:cubicBezTo>
                      <a:pt x="60" y="46"/>
                      <a:pt x="63" y="46"/>
                      <a:pt x="70" y="58"/>
                    </a:cubicBezTo>
                    <a:cubicBezTo>
                      <a:pt x="76" y="70"/>
                      <a:pt x="112" y="79"/>
                      <a:pt x="110" y="90"/>
                    </a:cubicBezTo>
                    <a:cubicBezTo>
                      <a:pt x="107" y="100"/>
                      <a:pt x="107" y="106"/>
                      <a:pt x="100" y="104"/>
                    </a:cubicBezTo>
                    <a:cubicBezTo>
                      <a:pt x="94" y="103"/>
                      <a:pt x="79" y="90"/>
                      <a:pt x="82" y="94"/>
                    </a:cubicBezTo>
                    <a:cubicBezTo>
                      <a:pt x="84" y="98"/>
                      <a:pt x="79" y="107"/>
                      <a:pt x="79" y="107"/>
                    </a:cubicBezTo>
                    <a:cubicBezTo>
                      <a:pt x="52" y="108"/>
                      <a:pt x="52" y="108"/>
                      <a:pt x="52" y="108"/>
                    </a:cubicBezTo>
                    <a:cubicBezTo>
                      <a:pt x="44" y="95"/>
                      <a:pt x="44" y="95"/>
                      <a:pt x="44" y="95"/>
                    </a:cubicBezTo>
                    <a:cubicBezTo>
                      <a:pt x="40" y="100"/>
                      <a:pt x="40" y="100"/>
                      <a:pt x="40" y="100"/>
                    </a:cubicBezTo>
                    <a:cubicBezTo>
                      <a:pt x="40" y="100"/>
                      <a:pt x="30" y="90"/>
                      <a:pt x="24" y="80"/>
                    </a:cubicBezTo>
                    <a:cubicBezTo>
                      <a:pt x="19" y="71"/>
                      <a:pt x="23" y="56"/>
                      <a:pt x="19" y="55"/>
                    </a:cubicBezTo>
                    <a:cubicBezTo>
                      <a:pt x="15" y="54"/>
                      <a:pt x="3" y="47"/>
                      <a:pt x="2" y="52"/>
                    </a:cubicBezTo>
                    <a:cubicBezTo>
                      <a:pt x="0" y="58"/>
                      <a:pt x="14" y="72"/>
                      <a:pt x="14" y="72"/>
                    </a:cubicBezTo>
                    <a:cubicBezTo>
                      <a:pt x="14" y="72"/>
                      <a:pt x="34" y="96"/>
                      <a:pt x="34" y="100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Freeform 237">
                <a:extLst>
                  <a:ext uri="{FF2B5EF4-FFF2-40B4-BE49-F238E27FC236}">
                    <a16:creationId xmlns:a16="http://schemas.microsoft.com/office/drawing/2014/main" id="{36D3317C-6702-CE19-5AC3-4D63362140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" y="-14870"/>
                <a:ext cx="1434" cy="1163"/>
              </a:xfrm>
              <a:custGeom>
                <a:avLst/>
                <a:gdLst>
                  <a:gd name="T0" fmla="*/ 607 w 607"/>
                  <a:gd name="T1" fmla="*/ 64 h 492"/>
                  <a:gd name="T2" fmla="*/ 587 w 607"/>
                  <a:gd name="T3" fmla="*/ 59 h 492"/>
                  <a:gd name="T4" fmla="*/ 561 w 607"/>
                  <a:gd name="T5" fmla="*/ 57 h 492"/>
                  <a:gd name="T6" fmla="*/ 516 w 607"/>
                  <a:gd name="T7" fmla="*/ 81 h 492"/>
                  <a:gd name="T8" fmla="*/ 485 w 607"/>
                  <a:gd name="T9" fmla="*/ 100 h 492"/>
                  <a:gd name="T10" fmla="*/ 455 w 607"/>
                  <a:gd name="T11" fmla="*/ 33 h 492"/>
                  <a:gd name="T12" fmla="*/ 441 w 607"/>
                  <a:gd name="T13" fmla="*/ 14 h 492"/>
                  <a:gd name="T14" fmla="*/ 413 w 607"/>
                  <a:gd name="T15" fmla="*/ 19 h 492"/>
                  <a:gd name="T16" fmla="*/ 407 w 607"/>
                  <a:gd name="T17" fmla="*/ 40 h 492"/>
                  <a:gd name="T18" fmla="*/ 395 w 607"/>
                  <a:gd name="T19" fmla="*/ 48 h 492"/>
                  <a:gd name="T20" fmla="*/ 364 w 607"/>
                  <a:gd name="T21" fmla="*/ 79 h 492"/>
                  <a:gd name="T22" fmla="*/ 315 w 607"/>
                  <a:gd name="T23" fmla="*/ 83 h 492"/>
                  <a:gd name="T24" fmla="*/ 287 w 607"/>
                  <a:gd name="T25" fmla="*/ 66 h 492"/>
                  <a:gd name="T26" fmla="*/ 267 w 607"/>
                  <a:gd name="T27" fmla="*/ 57 h 492"/>
                  <a:gd name="T28" fmla="*/ 229 w 607"/>
                  <a:gd name="T29" fmla="*/ 63 h 492"/>
                  <a:gd name="T30" fmla="*/ 200 w 607"/>
                  <a:gd name="T31" fmla="*/ 67 h 492"/>
                  <a:gd name="T32" fmla="*/ 166 w 607"/>
                  <a:gd name="T33" fmla="*/ 116 h 492"/>
                  <a:gd name="T34" fmla="*/ 137 w 607"/>
                  <a:gd name="T35" fmla="*/ 136 h 492"/>
                  <a:gd name="T36" fmla="*/ 107 w 607"/>
                  <a:gd name="T37" fmla="*/ 167 h 492"/>
                  <a:gd name="T38" fmla="*/ 61 w 607"/>
                  <a:gd name="T39" fmla="*/ 161 h 492"/>
                  <a:gd name="T40" fmla="*/ 30 w 607"/>
                  <a:gd name="T41" fmla="*/ 154 h 492"/>
                  <a:gd name="T42" fmla="*/ 29 w 607"/>
                  <a:gd name="T43" fmla="*/ 205 h 492"/>
                  <a:gd name="T44" fmla="*/ 20 w 607"/>
                  <a:gd name="T45" fmla="*/ 220 h 492"/>
                  <a:gd name="T46" fmla="*/ 11 w 607"/>
                  <a:gd name="T47" fmla="*/ 244 h 492"/>
                  <a:gd name="T48" fmla="*/ 31 w 607"/>
                  <a:gd name="T49" fmla="*/ 266 h 492"/>
                  <a:gd name="T50" fmla="*/ 40 w 607"/>
                  <a:gd name="T51" fmla="*/ 341 h 492"/>
                  <a:gd name="T52" fmla="*/ 70 w 607"/>
                  <a:gd name="T53" fmla="*/ 382 h 492"/>
                  <a:gd name="T54" fmla="*/ 79 w 607"/>
                  <a:gd name="T55" fmla="*/ 434 h 492"/>
                  <a:gd name="T56" fmla="*/ 61 w 607"/>
                  <a:gd name="T57" fmla="*/ 467 h 492"/>
                  <a:gd name="T58" fmla="*/ 142 w 607"/>
                  <a:gd name="T59" fmla="*/ 490 h 492"/>
                  <a:gd name="T60" fmla="*/ 196 w 607"/>
                  <a:gd name="T61" fmla="*/ 484 h 492"/>
                  <a:gd name="T62" fmla="*/ 218 w 607"/>
                  <a:gd name="T63" fmla="*/ 482 h 492"/>
                  <a:gd name="T64" fmla="*/ 307 w 607"/>
                  <a:gd name="T65" fmla="*/ 459 h 492"/>
                  <a:gd name="T66" fmla="*/ 298 w 607"/>
                  <a:gd name="T67" fmla="*/ 403 h 492"/>
                  <a:gd name="T68" fmla="*/ 327 w 607"/>
                  <a:gd name="T69" fmla="*/ 390 h 492"/>
                  <a:gd name="T70" fmla="*/ 348 w 607"/>
                  <a:gd name="T71" fmla="*/ 376 h 492"/>
                  <a:gd name="T72" fmla="*/ 381 w 607"/>
                  <a:gd name="T73" fmla="*/ 361 h 492"/>
                  <a:gd name="T74" fmla="*/ 409 w 607"/>
                  <a:gd name="T75" fmla="*/ 371 h 492"/>
                  <a:gd name="T76" fmla="*/ 417 w 607"/>
                  <a:gd name="T77" fmla="*/ 325 h 492"/>
                  <a:gd name="T78" fmla="*/ 425 w 607"/>
                  <a:gd name="T79" fmla="*/ 291 h 492"/>
                  <a:gd name="T80" fmla="*/ 462 w 607"/>
                  <a:gd name="T81" fmla="*/ 275 h 492"/>
                  <a:gd name="T82" fmla="*/ 447 w 607"/>
                  <a:gd name="T83" fmla="*/ 258 h 492"/>
                  <a:gd name="T84" fmla="*/ 434 w 607"/>
                  <a:gd name="T85" fmla="*/ 238 h 492"/>
                  <a:gd name="T86" fmla="*/ 456 w 607"/>
                  <a:gd name="T87" fmla="*/ 246 h 492"/>
                  <a:gd name="T88" fmla="*/ 467 w 607"/>
                  <a:gd name="T89" fmla="*/ 242 h 492"/>
                  <a:gd name="T90" fmla="*/ 479 w 607"/>
                  <a:gd name="T91" fmla="*/ 222 h 492"/>
                  <a:gd name="T92" fmla="*/ 494 w 607"/>
                  <a:gd name="T93" fmla="*/ 188 h 492"/>
                  <a:gd name="T94" fmla="*/ 479 w 607"/>
                  <a:gd name="T95" fmla="*/ 144 h 492"/>
                  <a:gd name="T96" fmla="*/ 486 w 607"/>
                  <a:gd name="T97" fmla="*/ 109 h 492"/>
                  <a:gd name="T98" fmla="*/ 540 w 607"/>
                  <a:gd name="T99" fmla="*/ 88 h 492"/>
                  <a:gd name="T100" fmla="*/ 584 w 607"/>
                  <a:gd name="T101" fmla="*/ 88 h 492"/>
                  <a:gd name="T102" fmla="*/ 602 w 607"/>
                  <a:gd name="T103" fmla="*/ 78 h 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07" h="492">
                    <a:moveTo>
                      <a:pt x="596" y="71"/>
                    </a:moveTo>
                    <a:cubicBezTo>
                      <a:pt x="594" y="65"/>
                      <a:pt x="600" y="65"/>
                      <a:pt x="607" y="64"/>
                    </a:cubicBezTo>
                    <a:cubicBezTo>
                      <a:pt x="600" y="59"/>
                      <a:pt x="600" y="59"/>
                      <a:pt x="600" y="59"/>
                    </a:cubicBezTo>
                    <a:cubicBezTo>
                      <a:pt x="587" y="59"/>
                      <a:pt x="587" y="59"/>
                      <a:pt x="587" y="59"/>
                    </a:cubicBezTo>
                    <a:cubicBezTo>
                      <a:pt x="563" y="67"/>
                      <a:pt x="563" y="67"/>
                      <a:pt x="563" y="67"/>
                    </a:cubicBezTo>
                    <a:cubicBezTo>
                      <a:pt x="561" y="57"/>
                      <a:pt x="561" y="57"/>
                      <a:pt x="561" y="57"/>
                    </a:cubicBezTo>
                    <a:cubicBezTo>
                      <a:pt x="561" y="57"/>
                      <a:pt x="537" y="54"/>
                      <a:pt x="530" y="62"/>
                    </a:cubicBezTo>
                    <a:cubicBezTo>
                      <a:pt x="523" y="70"/>
                      <a:pt x="516" y="81"/>
                      <a:pt x="516" y="81"/>
                    </a:cubicBezTo>
                    <a:cubicBezTo>
                      <a:pt x="506" y="81"/>
                      <a:pt x="506" y="81"/>
                      <a:pt x="506" y="81"/>
                    </a:cubicBezTo>
                    <a:cubicBezTo>
                      <a:pt x="506" y="81"/>
                      <a:pt x="492" y="97"/>
                      <a:pt x="485" y="100"/>
                    </a:cubicBezTo>
                    <a:cubicBezTo>
                      <a:pt x="478" y="103"/>
                      <a:pt x="462" y="75"/>
                      <a:pt x="462" y="75"/>
                    </a:cubicBezTo>
                    <a:cubicBezTo>
                      <a:pt x="455" y="33"/>
                      <a:pt x="455" y="33"/>
                      <a:pt x="455" y="33"/>
                    </a:cubicBezTo>
                    <a:cubicBezTo>
                      <a:pt x="441" y="33"/>
                      <a:pt x="441" y="33"/>
                      <a:pt x="441" y="33"/>
                    </a:cubicBezTo>
                    <a:cubicBezTo>
                      <a:pt x="441" y="33"/>
                      <a:pt x="441" y="19"/>
                      <a:pt x="441" y="14"/>
                    </a:cubicBezTo>
                    <a:cubicBezTo>
                      <a:pt x="441" y="9"/>
                      <a:pt x="430" y="0"/>
                      <a:pt x="421" y="0"/>
                    </a:cubicBezTo>
                    <a:cubicBezTo>
                      <a:pt x="412" y="0"/>
                      <a:pt x="413" y="15"/>
                      <a:pt x="413" y="19"/>
                    </a:cubicBezTo>
                    <a:cubicBezTo>
                      <a:pt x="413" y="23"/>
                      <a:pt x="399" y="26"/>
                      <a:pt x="399" y="33"/>
                    </a:cubicBezTo>
                    <a:cubicBezTo>
                      <a:pt x="399" y="40"/>
                      <a:pt x="407" y="40"/>
                      <a:pt x="407" y="40"/>
                    </a:cubicBezTo>
                    <a:cubicBezTo>
                      <a:pt x="402" y="54"/>
                      <a:pt x="402" y="54"/>
                      <a:pt x="402" y="54"/>
                    </a:cubicBezTo>
                    <a:cubicBezTo>
                      <a:pt x="395" y="48"/>
                      <a:pt x="395" y="48"/>
                      <a:pt x="395" y="48"/>
                    </a:cubicBezTo>
                    <a:cubicBezTo>
                      <a:pt x="395" y="48"/>
                      <a:pt x="373" y="49"/>
                      <a:pt x="368" y="54"/>
                    </a:cubicBezTo>
                    <a:cubicBezTo>
                      <a:pt x="363" y="59"/>
                      <a:pt x="368" y="77"/>
                      <a:pt x="364" y="79"/>
                    </a:cubicBezTo>
                    <a:cubicBezTo>
                      <a:pt x="360" y="81"/>
                      <a:pt x="349" y="64"/>
                      <a:pt x="346" y="64"/>
                    </a:cubicBezTo>
                    <a:cubicBezTo>
                      <a:pt x="343" y="64"/>
                      <a:pt x="318" y="84"/>
                      <a:pt x="315" y="83"/>
                    </a:cubicBezTo>
                    <a:cubicBezTo>
                      <a:pt x="312" y="82"/>
                      <a:pt x="292" y="66"/>
                      <a:pt x="292" y="66"/>
                    </a:cubicBezTo>
                    <a:cubicBezTo>
                      <a:pt x="287" y="66"/>
                      <a:pt x="287" y="66"/>
                      <a:pt x="287" y="66"/>
                    </a:cubicBezTo>
                    <a:cubicBezTo>
                      <a:pt x="276" y="71"/>
                      <a:pt x="276" y="71"/>
                      <a:pt x="276" y="71"/>
                    </a:cubicBezTo>
                    <a:cubicBezTo>
                      <a:pt x="267" y="57"/>
                      <a:pt x="267" y="57"/>
                      <a:pt x="267" y="57"/>
                    </a:cubicBezTo>
                    <a:cubicBezTo>
                      <a:pt x="259" y="63"/>
                      <a:pt x="259" y="63"/>
                      <a:pt x="259" y="63"/>
                    </a:cubicBezTo>
                    <a:cubicBezTo>
                      <a:pt x="229" y="63"/>
                      <a:pt x="229" y="63"/>
                      <a:pt x="229" y="63"/>
                    </a:cubicBezTo>
                    <a:cubicBezTo>
                      <a:pt x="229" y="63"/>
                      <a:pt x="215" y="50"/>
                      <a:pt x="207" y="50"/>
                    </a:cubicBezTo>
                    <a:cubicBezTo>
                      <a:pt x="199" y="50"/>
                      <a:pt x="200" y="67"/>
                      <a:pt x="200" y="67"/>
                    </a:cubicBezTo>
                    <a:cubicBezTo>
                      <a:pt x="200" y="67"/>
                      <a:pt x="181" y="62"/>
                      <a:pt x="171" y="72"/>
                    </a:cubicBezTo>
                    <a:cubicBezTo>
                      <a:pt x="161" y="82"/>
                      <a:pt x="166" y="110"/>
                      <a:pt x="166" y="116"/>
                    </a:cubicBezTo>
                    <a:cubicBezTo>
                      <a:pt x="166" y="122"/>
                      <a:pt x="157" y="120"/>
                      <a:pt x="157" y="120"/>
                    </a:cubicBezTo>
                    <a:cubicBezTo>
                      <a:pt x="157" y="120"/>
                      <a:pt x="144" y="129"/>
                      <a:pt x="137" y="136"/>
                    </a:cubicBezTo>
                    <a:cubicBezTo>
                      <a:pt x="130" y="143"/>
                      <a:pt x="112" y="142"/>
                      <a:pt x="112" y="142"/>
                    </a:cubicBezTo>
                    <a:cubicBezTo>
                      <a:pt x="112" y="142"/>
                      <a:pt x="112" y="158"/>
                      <a:pt x="107" y="167"/>
                    </a:cubicBezTo>
                    <a:cubicBezTo>
                      <a:pt x="102" y="176"/>
                      <a:pt x="77" y="177"/>
                      <a:pt x="77" y="177"/>
                    </a:cubicBezTo>
                    <a:cubicBezTo>
                      <a:pt x="61" y="161"/>
                      <a:pt x="61" y="161"/>
                      <a:pt x="61" y="161"/>
                    </a:cubicBezTo>
                    <a:cubicBezTo>
                      <a:pt x="61" y="161"/>
                      <a:pt x="54" y="164"/>
                      <a:pt x="49" y="164"/>
                    </a:cubicBezTo>
                    <a:cubicBezTo>
                      <a:pt x="44" y="164"/>
                      <a:pt x="30" y="154"/>
                      <a:pt x="30" y="154"/>
                    </a:cubicBezTo>
                    <a:cubicBezTo>
                      <a:pt x="30" y="154"/>
                      <a:pt x="24" y="161"/>
                      <a:pt x="23" y="168"/>
                    </a:cubicBezTo>
                    <a:cubicBezTo>
                      <a:pt x="22" y="175"/>
                      <a:pt x="29" y="205"/>
                      <a:pt x="29" y="205"/>
                    </a:cubicBezTo>
                    <a:cubicBezTo>
                      <a:pt x="15" y="209"/>
                      <a:pt x="15" y="209"/>
                      <a:pt x="15" y="209"/>
                    </a:cubicBezTo>
                    <a:cubicBezTo>
                      <a:pt x="20" y="220"/>
                      <a:pt x="20" y="220"/>
                      <a:pt x="20" y="220"/>
                    </a:cubicBezTo>
                    <a:cubicBezTo>
                      <a:pt x="20" y="220"/>
                      <a:pt x="6" y="225"/>
                      <a:pt x="3" y="230"/>
                    </a:cubicBezTo>
                    <a:cubicBezTo>
                      <a:pt x="0" y="235"/>
                      <a:pt x="11" y="244"/>
                      <a:pt x="11" y="244"/>
                    </a:cubicBezTo>
                    <a:cubicBezTo>
                      <a:pt x="9" y="263"/>
                      <a:pt x="9" y="263"/>
                      <a:pt x="9" y="263"/>
                    </a:cubicBezTo>
                    <a:cubicBezTo>
                      <a:pt x="9" y="263"/>
                      <a:pt x="30" y="260"/>
                      <a:pt x="31" y="266"/>
                    </a:cubicBezTo>
                    <a:cubicBezTo>
                      <a:pt x="32" y="272"/>
                      <a:pt x="17" y="280"/>
                      <a:pt x="15" y="293"/>
                    </a:cubicBezTo>
                    <a:cubicBezTo>
                      <a:pt x="13" y="306"/>
                      <a:pt x="40" y="330"/>
                      <a:pt x="40" y="341"/>
                    </a:cubicBezTo>
                    <a:cubicBezTo>
                      <a:pt x="40" y="352"/>
                      <a:pt x="40" y="366"/>
                      <a:pt x="40" y="374"/>
                    </a:cubicBezTo>
                    <a:cubicBezTo>
                      <a:pt x="40" y="382"/>
                      <a:pt x="70" y="382"/>
                      <a:pt x="70" y="382"/>
                    </a:cubicBezTo>
                    <a:cubicBezTo>
                      <a:pt x="70" y="382"/>
                      <a:pt x="85" y="377"/>
                      <a:pt x="91" y="394"/>
                    </a:cubicBezTo>
                    <a:cubicBezTo>
                      <a:pt x="97" y="411"/>
                      <a:pt x="86" y="424"/>
                      <a:pt x="79" y="434"/>
                    </a:cubicBezTo>
                    <a:cubicBezTo>
                      <a:pt x="72" y="444"/>
                      <a:pt x="56" y="458"/>
                      <a:pt x="56" y="462"/>
                    </a:cubicBezTo>
                    <a:cubicBezTo>
                      <a:pt x="56" y="466"/>
                      <a:pt x="61" y="467"/>
                      <a:pt x="61" y="467"/>
                    </a:cubicBezTo>
                    <a:cubicBezTo>
                      <a:pt x="61" y="467"/>
                      <a:pt x="73" y="464"/>
                      <a:pt x="82" y="469"/>
                    </a:cubicBezTo>
                    <a:cubicBezTo>
                      <a:pt x="91" y="474"/>
                      <a:pt x="121" y="492"/>
                      <a:pt x="142" y="490"/>
                    </a:cubicBezTo>
                    <a:cubicBezTo>
                      <a:pt x="163" y="488"/>
                      <a:pt x="161" y="483"/>
                      <a:pt x="161" y="483"/>
                    </a:cubicBezTo>
                    <a:cubicBezTo>
                      <a:pt x="196" y="484"/>
                      <a:pt x="196" y="484"/>
                      <a:pt x="196" y="484"/>
                    </a:cubicBezTo>
                    <a:cubicBezTo>
                      <a:pt x="196" y="484"/>
                      <a:pt x="193" y="488"/>
                      <a:pt x="205" y="488"/>
                    </a:cubicBezTo>
                    <a:cubicBezTo>
                      <a:pt x="217" y="488"/>
                      <a:pt x="218" y="482"/>
                      <a:pt x="218" y="482"/>
                    </a:cubicBezTo>
                    <a:cubicBezTo>
                      <a:pt x="218" y="482"/>
                      <a:pt x="260" y="480"/>
                      <a:pt x="263" y="479"/>
                    </a:cubicBezTo>
                    <a:cubicBezTo>
                      <a:pt x="266" y="478"/>
                      <a:pt x="305" y="465"/>
                      <a:pt x="307" y="459"/>
                    </a:cubicBezTo>
                    <a:cubicBezTo>
                      <a:pt x="309" y="453"/>
                      <a:pt x="303" y="433"/>
                      <a:pt x="303" y="433"/>
                    </a:cubicBezTo>
                    <a:cubicBezTo>
                      <a:pt x="303" y="433"/>
                      <a:pt x="296" y="409"/>
                      <a:pt x="298" y="403"/>
                    </a:cubicBezTo>
                    <a:cubicBezTo>
                      <a:pt x="300" y="397"/>
                      <a:pt x="315" y="384"/>
                      <a:pt x="323" y="384"/>
                    </a:cubicBezTo>
                    <a:cubicBezTo>
                      <a:pt x="331" y="384"/>
                      <a:pt x="327" y="390"/>
                      <a:pt x="327" y="390"/>
                    </a:cubicBezTo>
                    <a:cubicBezTo>
                      <a:pt x="327" y="390"/>
                      <a:pt x="357" y="395"/>
                      <a:pt x="359" y="389"/>
                    </a:cubicBezTo>
                    <a:cubicBezTo>
                      <a:pt x="361" y="383"/>
                      <a:pt x="344" y="381"/>
                      <a:pt x="348" y="376"/>
                    </a:cubicBezTo>
                    <a:cubicBezTo>
                      <a:pt x="352" y="371"/>
                      <a:pt x="366" y="367"/>
                      <a:pt x="366" y="367"/>
                    </a:cubicBezTo>
                    <a:cubicBezTo>
                      <a:pt x="366" y="367"/>
                      <a:pt x="373" y="361"/>
                      <a:pt x="381" y="361"/>
                    </a:cubicBezTo>
                    <a:cubicBezTo>
                      <a:pt x="389" y="361"/>
                      <a:pt x="399" y="359"/>
                      <a:pt x="399" y="359"/>
                    </a:cubicBezTo>
                    <a:cubicBezTo>
                      <a:pt x="399" y="359"/>
                      <a:pt x="396" y="378"/>
                      <a:pt x="409" y="371"/>
                    </a:cubicBezTo>
                    <a:cubicBezTo>
                      <a:pt x="422" y="364"/>
                      <a:pt x="425" y="355"/>
                      <a:pt x="425" y="355"/>
                    </a:cubicBezTo>
                    <a:cubicBezTo>
                      <a:pt x="425" y="355"/>
                      <a:pt x="416" y="337"/>
                      <a:pt x="417" y="325"/>
                    </a:cubicBezTo>
                    <a:cubicBezTo>
                      <a:pt x="418" y="313"/>
                      <a:pt x="424" y="316"/>
                      <a:pt x="424" y="316"/>
                    </a:cubicBezTo>
                    <a:cubicBezTo>
                      <a:pt x="424" y="316"/>
                      <a:pt x="421" y="294"/>
                      <a:pt x="425" y="291"/>
                    </a:cubicBezTo>
                    <a:cubicBezTo>
                      <a:pt x="429" y="288"/>
                      <a:pt x="442" y="289"/>
                      <a:pt x="442" y="289"/>
                    </a:cubicBezTo>
                    <a:cubicBezTo>
                      <a:pt x="462" y="275"/>
                      <a:pt x="462" y="275"/>
                      <a:pt x="462" y="275"/>
                    </a:cubicBezTo>
                    <a:cubicBezTo>
                      <a:pt x="462" y="275"/>
                      <a:pt x="451" y="276"/>
                      <a:pt x="449" y="269"/>
                    </a:cubicBezTo>
                    <a:cubicBezTo>
                      <a:pt x="447" y="262"/>
                      <a:pt x="447" y="258"/>
                      <a:pt x="447" y="258"/>
                    </a:cubicBezTo>
                    <a:cubicBezTo>
                      <a:pt x="447" y="258"/>
                      <a:pt x="432" y="254"/>
                      <a:pt x="431" y="249"/>
                    </a:cubicBezTo>
                    <a:cubicBezTo>
                      <a:pt x="430" y="244"/>
                      <a:pt x="430" y="239"/>
                      <a:pt x="434" y="238"/>
                    </a:cubicBezTo>
                    <a:cubicBezTo>
                      <a:pt x="438" y="237"/>
                      <a:pt x="445" y="245"/>
                      <a:pt x="445" y="245"/>
                    </a:cubicBezTo>
                    <a:cubicBezTo>
                      <a:pt x="456" y="246"/>
                      <a:pt x="456" y="246"/>
                      <a:pt x="456" y="246"/>
                    </a:cubicBezTo>
                    <a:cubicBezTo>
                      <a:pt x="463" y="249"/>
                      <a:pt x="463" y="249"/>
                      <a:pt x="463" y="249"/>
                    </a:cubicBezTo>
                    <a:cubicBezTo>
                      <a:pt x="467" y="242"/>
                      <a:pt x="467" y="242"/>
                      <a:pt x="467" y="242"/>
                    </a:cubicBezTo>
                    <a:cubicBezTo>
                      <a:pt x="467" y="242"/>
                      <a:pt x="478" y="245"/>
                      <a:pt x="479" y="238"/>
                    </a:cubicBezTo>
                    <a:cubicBezTo>
                      <a:pt x="480" y="231"/>
                      <a:pt x="479" y="222"/>
                      <a:pt x="479" y="222"/>
                    </a:cubicBezTo>
                    <a:cubicBezTo>
                      <a:pt x="479" y="222"/>
                      <a:pt x="472" y="221"/>
                      <a:pt x="473" y="212"/>
                    </a:cubicBezTo>
                    <a:cubicBezTo>
                      <a:pt x="474" y="203"/>
                      <a:pt x="491" y="195"/>
                      <a:pt x="494" y="188"/>
                    </a:cubicBezTo>
                    <a:cubicBezTo>
                      <a:pt x="497" y="181"/>
                      <a:pt x="487" y="173"/>
                      <a:pt x="487" y="173"/>
                    </a:cubicBezTo>
                    <a:cubicBezTo>
                      <a:pt x="487" y="173"/>
                      <a:pt x="490" y="156"/>
                      <a:pt x="479" y="144"/>
                    </a:cubicBezTo>
                    <a:cubicBezTo>
                      <a:pt x="468" y="132"/>
                      <a:pt x="463" y="136"/>
                      <a:pt x="469" y="124"/>
                    </a:cubicBezTo>
                    <a:cubicBezTo>
                      <a:pt x="475" y="112"/>
                      <a:pt x="486" y="109"/>
                      <a:pt x="486" y="109"/>
                    </a:cubicBezTo>
                    <a:cubicBezTo>
                      <a:pt x="486" y="109"/>
                      <a:pt x="509" y="93"/>
                      <a:pt x="516" y="90"/>
                    </a:cubicBezTo>
                    <a:cubicBezTo>
                      <a:pt x="523" y="87"/>
                      <a:pt x="540" y="88"/>
                      <a:pt x="540" y="88"/>
                    </a:cubicBezTo>
                    <a:cubicBezTo>
                      <a:pt x="540" y="88"/>
                      <a:pt x="563" y="83"/>
                      <a:pt x="566" y="83"/>
                    </a:cubicBezTo>
                    <a:cubicBezTo>
                      <a:pt x="569" y="83"/>
                      <a:pt x="579" y="89"/>
                      <a:pt x="584" y="88"/>
                    </a:cubicBezTo>
                    <a:cubicBezTo>
                      <a:pt x="587" y="87"/>
                      <a:pt x="596" y="82"/>
                      <a:pt x="602" y="78"/>
                    </a:cubicBezTo>
                    <a:cubicBezTo>
                      <a:pt x="602" y="78"/>
                      <a:pt x="602" y="78"/>
                      <a:pt x="602" y="78"/>
                    </a:cubicBezTo>
                    <a:cubicBezTo>
                      <a:pt x="599" y="76"/>
                      <a:pt x="597" y="74"/>
                      <a:pt x="596" y="71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Freeform 238">
                <a:extLst>
                  <a:ext uri="{FF2B5EF4-FFF2-40B4-BE49-F238E27FC236}">
                    <a16:creationId xmlns:a16="http://schemas.microsoft.com/office/drawing/2014/main" id="{BAB0945C-74F6-6AED-0FD3-6B60494589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682" y="-14069"/>
                <a:ext cx="2358" cy="2010"/>
              </a:xfrm>
              <a:custGeom>
                <a:avLst/>
                <a:gdLst>
                  <a:gd name="T0" fmla="*/ 976 w 998"/>
                  <a:gd name="T1" fmla="*/ 516 h 851"/>
                  <a:gd name="T2" fmla="*/ 804 w 998"/>
                  <a:gd name="T3" fmla="*/ 446 h 851"/>
                  <a:gd name="T4" fmla="*/ 794 w 998"/>
                  <a:gd name="T5" fmla="*/ 413 h 851"/>
                  <a:gd name="T6" fmla="*/ 780 w 998"/>
                  <a:gd name="T7" fmla="*/ 407 h 851"/>
                  <a:gd name="T8" fmla="*/ 764 w 998"/>
                  <a:gd name="T9" fmla="*/ 400 h 851"/>
                  <a:gd name="T10" fmla="*/ 719 w 998"/>
                  <a:gd name="T11" fmla="*/ 332 h 851"/>
                  <a:gd name="T12" fmla="*/ 669 w 998"/>
                  <a:gd name="T13" fmla="*/ 265 h 851"/>
                  <a:gd name="T14" fmla="*/ 646 w 998"/>
                  <a:gd name="T15" fmla="*/ 218 h 851"/>
                  <a:gd name="T16" fmla="*/ 637 w 998"/>
                  <a:gd name="T17" fmla="*/ 195 h 851"/>
                  <a:gd name="T18" fmla="*/ 588 w 998"/>
                  <a:gd name="T19" fmla="*/ 170 h 851"/>
                  <a:gd name="T20" fmla="*/ 332 w 998"/>
                  <a:gd name="T21" fmla="*/ 63 h 851"/>
                  <a:gd name="T22" fmla="*/ 250 w 998"/>
                  <a:gd name="T23" fmla="*/ 9 h 851"/>
                  <a:gd name="T24" fmla="*/ 200 w 998"/>
                  <a:gd name="T25" fmla="*/ 0 h 851"/>
                  <a:gd name="T26" fmla="*/ 147 w 998"/>
                  <a:gd name="T27" fmla="*/ 18 h 851"/>
                  <a:gd name="T28" fmla="*/ 111 w 998"/>
                  <a:gd name="T29" fmla="*/ 32 h 851"/>
                  <a:gd name="T30" fmla="*/ 111 w 998"/>
                  <a:gd name="T31" fmla="*/ 46 h 851"/>
                  <a:gd name="T32" fmla="*/ 123 w 998"/>
                  <a:gd name="T33" fmla="*/ 118 h 851"/>
                  <a:gd name="T34" fmla="*/ 70 w 998"/>
                  <a:gd name="T35" fmla="*/ 163 h 851"/>
                  <a:gd name="T36" fmla="*/ 12 w 998"/>
                  <a:gd name="T37" fmla="*/ 161 h 851"/>
                  <a:gd name="T38" fmla="*/ 12 w 998"/>
                  <a:gd name="T39" fmla="*/ 249 h 851"/>
                  <a:gd name="T40" fmla="*/ 85 w 998"/>
                  <a:gd name="T41" fmla="*/ 334 h 851"/>
                  <a:gd name="T42" fmla="*/ 145 w 998"/>
                  <a:gd name="T43" fmla="*/ 433 h 851"/>
                  <a:gd name="T44" fmla="*/ 232 w 998"/>
                  <a:gd name="T45" fmla="*/ 560 h 851"/>
                  <a:gd name="T46" fmla="*/ 300 w 998"/>
                  <a:gd name="T47" fmla="*/ 631 h 851"/>
                  <a:gd name="T48" fmla="*/ 419 w 998"/>
                  <a:gd name="T49" fmla="*/ 826 h 851"/>
                  <a:gd name="T50" fmla="*/ 427 w 998"/>
                  <a:gd name="T51" fmla="*/ 837 h 851"/>
                  <a:gd name="T52" fmla="*/ 437 w 998"/>
                  <a:gd name="T53" fmla="*/ 790 h 851"/>
                  <a:gd name="T54" fmla="*/ 470 w 998"/>
                  <a:gd name="T55" fmla="*/ 798 h 851"/>
                  <a:gd name="T56" fmla="*/ 522 w 998"/>
                  <a:gd name="T57" fmla="*/ 791 h 851"/>
                  <a:gd name="T58" fmla="*/ 593 w 998"/>
                  <a:gd name="T59" fmla="*/ 799 h 851"/>
                  <a:gd name="T60" fmla="*/ 628 w 998"/>
                  <a:gd name="T61" fmla="*/ 804 h 851"/>
                  <a:gd name="T62" fmla="*/ 653 w 998"/>
                  <a:gd name="T63" fmla="*/ 755 h 851"/>
                  <a:gd name="T64" fmla="*/ 839 w 998"/>
                  <a:gd name="T65" fmla="*/ 710 h 851"/>
                  <a:gd name="T66" fmla="*/ 998 w 998"/>
                  <a:gd name="T67" fmla="*/ 546 h 8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998" h="851">
                    <a:moveTo>
                      <a:pt x="980" y="527"/>
                    </a:moveTo>
                    <a:cubicBezTo>
                      <a:pt x="980" y="525"/>
                      <a:pt x="978" y="521"/>
                      <a:pt x="976" y="516"/>
                    </a:cubicBezTo>
                    <a:cubicBezTo>
                      <a:pt x="942" y="512"/>
                      <a:pt x="853" y="501"/>
                      <a:pt x="851" y="501"/>
                    </a:cubicBezTo>
                    <a:cubicBezTo>
                      <a:pt x="848" y="501"/>
                      <a:pt x="811" y="453"/>
                      <a:pt x="804" y="446"/>
                    </a:cubicBezTo>
                    <a:cubicBezTo>
                      <a:pt x="799" y="441"/>
                      <a:pt x="799" y="433"/>
                      <a:pt x="800" y="428"/>
                    </a:cubicBezTo>
                    <a:cubicBezTo>
                      <a:pt x="796" y="423"/>
                      <a:pt x="793" y="417"/>
                      <a:pt x="794" y="413"/>
                    </a:cubicBezTo>
                    <a:cubicBezTo>
                      <a:pt x="788" y="415"/>
                      <a:pt x="788" y="415"/>
                      <a:pt x="788" y="415"/>
                    </a:cubicBezTo>
                    <a:cubicBezTo>
                      <a:pt x="780" y="407"/>
                      <a:pt x="780" y="407"/>
                      <a:pt x="780" y="407"/>
                    </a:cubicBezTo>
                    <a:cubicBezTo>
                      <a:pt x="770" y="410"/>
                      <a:pt x="770" y="410"/>
                      <a:pt x="770" y="410"/>
                    </a:cubicBezTo>
                    <a:cubicBezTo>
                      <a:pt x="764" y="400"/>
                      <a:pt x="764" y="400"/>
                      <a:pt x="764" y="400"/>
                    </a:cubicBezTo>
                    <a:cubicBezTo>
                      <a:pt x="757" y="398"/>
                      <a:pt x="750" y="359"/>
                      <a:pt x="744" y="354"/>
                    </a:cubicBezTo>
                    <a:cubicBezTo>
                      <a:pt x="738" y="349"/>
                      <a:pt x="722" y="346"/>
                      <a:pt x="719" y="332"/>
                    </a:cubicBezTo>
                    <a:cubicBezTo>
                      <a:pt x="715" y="318"/>
                      <a:pt x="720" y="296"/>
                      <a:pt x="707" y="286"/>
                    </a:cubicBezTo>
                    <a:cubicBezTo>
                      <a:pt x="693" y="275"/>
                      <a:pt x="675" y="277"/>
                      <a:pt x="669" y="265"/>
                    </a:cubicBezTo>
                    <a:cubicBezTo>
                      <a:pt x="663" y="252"/>
                      <a:pt x="670" y="239"/>
                      <a:pt x="664" y="235"/>
                    </a:cubicBezTo>
                    <a:cubicBezTo>
                      <a:pt x="658" y="231"/>
                      <a:pt x="646" y="218"/>
                      <a:pt x="646" y="218"/>
                    </a:cubicBezTo>
                    <a:cubicBezTo>
                      <a:pt x="645" y="201"/>
                      <a:pt x="645" y="201"/>
                      <a:pt x="645" y="201"/>
                    </a:cubicBezTo>
                    <a:cubicBezTo>
                      <a:pt x="645" y="201"/>
                      <a:pt x="642" y="198"/>
                      <a:pt x="637" y="195"/>
                    </a:cubicBezTo>
                    <a:cubicBezTo>
                      <a:pt x="624" y="196"/>
                      <a:pt x="606" y="196"/>
                      <a:pt x="598" y="196"/>
                    </a:cubicBezTo>
                    <a:cubicBezTo>
                      <a:pt x="584" y="195"/>
                      <a:pt x="594" y="177"/>
                      <a:pt x="588" y="170"/>
                    </a:cubicBezTo>
                    <a:cubicBezTo>
                      <a:pt x="582" y="163"/>
                      <a:pt x="460" y="160"/>
                      <a:pt x="460" y="160"/>
                    </a:cubicBezTo>
                    <a:cubicBezTo>
                      <a:pt x="332" y="63"/>
                      <a:pt x="332" y="63"/>
                      <a:pt x="332" y="63"/>
                    </a:cubicBezTo>
                    <a:cubicBezTo>
                      <a:pt x="332" y="63"/>
                      <a:pt x="311" y="49"/>
                      <a:pt x="299" y="43"/>
                    </a:cubicBezTo>
                    <a:cubicBezTo>
                      <a:pt x="287" y="37"/>
                      <a:pt x="250" y="9"/>
                      <a:pt x="250" y="9"/>
                    </a:cubicBezTo>
                    <a:cubicBezTo>
                      <a:pt x="250" y="9"/>
                      <a:pt x="225" y="8"/>
                      <a:pt x="216" y="9"/>
                    </a:cubicBezTo>
                    <a:cubicBezTo>
                      <a:pt x="207" y="10"/>
                      <a:pt x="200" y="0"/>
                      <a:pt x="200" y="0"/>
                    </a:cubicBezTo>
                    <a:cubicBezTo>
                      <a:pt x="200" y="0"/>
                      <a:pt x="187" y="8"/>
                      <a:pt x="181" y="14"/>
                    </a:cubicBezTo>
                    <a:cubicBezTo>
                      <a:pt x="175" y="20"/>
                      <a:pt x="147" y="18"/>
                      <a:pt x="147" y="18"/>
                    </a:cubicBezTo>
                    <a:cubicBezTo>
                      <a:pt x="139" y="32"/>
                      <a:pt x="139" y="32"/>
                      <a:pt x="139" y="32"/>
                    </a:cubicBezTo>
                    <a:cubicBezTo>
                      <a:pt x="111" y="32"/>
                      <a:pt x="111" y="32"/>
                      <a:pt x="111" y="32"/>
                    </a:cubicBezTo>
                    <a:cubicBezTo>
                      <a:pt x="111" y="32"/>
                      <a:pt x="86" y="31"/>
                      <a:pt x="79" y="38"/>
                    </a:cubicBezTo>
                    <a:cubicBezTo>
                      <a:pt x="72" y="45"/>
                      <a:pt x="104" y="42"/>
                      <a:pt x="111" y="46"/>
                    </a:cubicBezTo>
                    <a:cubicBezTo>
                      <a:pt x="118" y="50"/>
                      <a:pt x="137" y="85"/>
                      <a:pt x="137" y="85"/>
                    </a:cubicBezTo>
                    <a:cubicBezTo>
                      <a:pt x="137" y="85"/>
                      <a:pt x="131" y="111"/>
                      <a:pt x="123" y="118"/>
                    </a:cubicBezTo>
                    <a:cubicBezTo>
                      <a:pt x="115" y="125"/>
                      <a:pt x="98" y="121"/>
                      <a:pt x="92" y="123"/>
                    </a:cubicBezTo>
                    <a:cubicBezTo>
                      <a:pt x="86" y="125"/>
                      <a:pt x="84" y="152"/>
                      <a:pt x="70" y="163"/>
                    </a:cubicBezTo>
                    <a:cubicBezTo>
                      <a:pt x="56" y="174"/>
                      <a:pt x="25" y="154"/>
                      <a:pt x="18" y="155"/>
                    </a:cubicBezTo>
                    <a:cubicBezTo>
                      <a:pt x="12" y="156"/>
                      <a:pt x="12" y="160"/>
                      <a:pt x="12" y="161"/>
                    </a:cubicBezTo>
                    <a:cubicBezTo>
                      <a:pt x="12" y="161"/>
                      <a:pt x="12" y="161"/>
                      <a:pt x="12" y="161"/>
                    </a:cubicBezTo>
                    <a:cubicBezTo>
                      <a:pt x="12" y="170"/>
                      <a:pt x="0" y="237"/>
                      <a:pt x="12" y="249"/>
                    </a:cubicBezTo>
                    <a:cubicBezTo>
                      <a:pt x="24" y="260"/>
                      <a:pt x="49" y="260"/>
                      <a:pt x="54" y="274"/>
                    </a:cubicBezTo>
                    <a:cubicBezTo>
                      <a:pt x="60" y="288"/>
                      <a:pt x="76" y="325"/>
                      <a:pt x="85" y="334"/>
                    </a:cubicBezTo>
                    <a:cubicBezTo>
                      <a:pt x="94" y="343"/>
                      <a:pt x="113" y="358"/>
                      <a:pt x="120" y="370"/>
                    </a:cubicBezTo>
                    <a:cubicBezTo>
                      <a:pt x="128" y="383"/>
                      <a:pt x="132" y="421"/>
                      <a:pt x="145" y="433"/>
                    </a:cubicBezTo>
                    <a:cubicBezTo>
                      <a:pt x="157" y="445"/>
                      <a:pt x="184" y="434"/>
                      <a:pt x="201" y="453"/>
                    </a:cubicBezTo>
                    <a:cubicBezTo>
                      <a:pt x="218" y="472"/>
                      <a:pt x="232" y="531"/>
                      <a:pt x="232" y="560"/>
                    </a:cubicBezTo>
                    <a:cubicBezTo>
                      <a:pt x="232" y="590"/>
                      <a:pt x="267" y="626"/>
                      <a:pt x="267" y="626"/>
                    </a:cubicBezTo>
                    <a:cubicBezTo>
                      <a:pt x="267" y="626"/>
                      <a:pt x="291" y="623"/>
                      <a:pt x="300" y="631"/>
                    </a:cubicBezTo>
                    <a:cubicBezTo>
                      <a:pt x="308" y="639"/>
                      <a:pt x="344" y="704"/>
                      <a:pt x="358" y="728"/>
                    </a:cubicBezTo>
                    <a:cubicBezTo>
                      <a:pt x="372" y="752"/>
                      <a:pt x="420" y="810"/>
                      <a:pt x="419" y="826"/>
                    </a:cubicBezTo>
                    <a:cubicBezTo>
                      <a:pt x="419" y="833"/>
                      <a:pt x="417" y="842"/>
                      <a:pt x="414" y="851"/>
                    </a:cubicBezTo>
                    <a:cubicBezTo>
                      <a:pt x="418" y="848"/>
                      <a:pt x="423" y="844"/>
                      <a:pt x="427" y="837"/>
                    </a:cubicBezTo>
                    <a:cubicBezTo>
                      <a:pt x="434" y="826"/>
                      <a:pt x="428" y="824"/>
                      <a:pt x="428" y="824"/>
                    </a:cubicBezTo>
                    <a:cubicBezTo>
                      <a:pt x="428" y="824"/>
                      <a:pt x="427" y="795"/>
                      <a:pt x="437" y="790"/>
                    </a:cubicBezTo>
                    <a:cubicBezTo>
                      <a:pt x="447" y="785"/>
                      <a:pt x="452" y="799"/>
                      <a:pt x="452" y="799"/>
                    </a:cubicBezTo>
                    <a:cubicBezTo>
                      <a:pt x="470" y="798"/>
                      <a:pt x="470" y="798"/>
                      <a:pt x="470" y="798"/>
                    </a:cubicBezTo>
                    <a:cubicBezTo>
                      <a:pt x="470" y="798"/>
                      <a:pt x="477" y="792"/>
                      <a:pt x="482" y="792"/>
                    </a:cubicBezTo>
                    <a:cubicBezTo>
                      <a:pt x="487" y="792"/>
                      <a:pt x="506" y="791"/>
                      <a:pt x="522" y="791"/>
                    </a:cubicBezTo>
                    <a:cubicBezTo>
                      <a:pt x="538" y="791"/>
                      <a:pt x="549" y="799"/>
                      <a:pt x="549" y="799"/>
                    </a:cubicBezTo>
                    <a:cubicBezTo>
                      <a:pt x="549" y="799"/>
                      <a:pt x="589" y="797"/>
                      <a:pt x="593" y="799"/>
                    </a:cubicBezTo>
                    <a:cubicBezTo>
                      <a:pt x="597" y="801"/>
                      <a:pt x="611" y="816"/>
                      <a:pt x="616" y="816"/>
                    </a:cubicBezTo>
                    <a:cubicBezTo>
                      <a:pt x="621" y="816"/>
                      <a:pt x="628" y="804"/>
                      <a:pt x="628" y="804"/>
                    </a:cubicBezTo>
                    <a:cubicBezTo>
                      <a:pt x="628" y="792"/>
                      <a:pt x="628" y="792"/>
                      <a:pt x="628" y="792"/>
                    </a:cubicBezTo>
                    <a:cubicBezTo>
                      <a:pt x="628" y="792"/>
                      <a:pt x="643" y="768"/>
                      <a:pt x="653" y="755"/>
                    </a:cubicBezTo>
                    <a:cubicBezTo>
                      <a:pt x="663" y="742"/>
                      <a:pt x="705" y="723"/>
                      <a:pt x="717" y="723"/>
                    </a:cubicBezTo>
                    <a:cubicBezTo>
                      <a:pt x="729" y="723"/>
                      <a:pt x="839" y="710"/>
                      <a:pt x="839" y="710"/>
                    </a:cubicBezTo>
                    <a:cubicBezTo>
                      <a:pt x="972" y="661"/>
                      <a:pt x="972" y="661"/>
                      <a:pt x="972" y="661"/>
                    </a:cubicBezTo>
                    <a:cubicBezTo>
                      <a:pt x="998" y="546"/>
                      <a:pt x="998" y="546"/>
                      <a:pt x="998" y="546"/>
                    </a:cubicBezTo>
                    <a:cubicBezTo>
                      <a:pt x="998" y="546"/>
                      <a:pt x="980" y="531"/>
                      <a:pt x="980" y="527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Freeform 239">
                <a:extLst>
                  <a:ext uri="{FF2B5EF4-FFF2-40B4-BE49-F238E27FC236}">
                    <a16:creationId xmlns:a16="http://schemas.microsoft.com/office/drawing/2014/main" id="{8EEC0E02-F0DC-47BD-2ED9-6525A735472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693" y="-14383"/>
                <a:ext cx="179" cy="248"/>
              </a:xfrm>
              <a:custGeom>
                <a:avLst/>
                <a:gdLst>
                  <a:gd name="T0" fmla="*/ 46 w 76"/>
                  <a:gd name="T1" fmla="*/ 66 h 105"/>
                  <a:gd name="T2" fmla="*/ 50 w 76"/>
                  <a:gd name="T3" fmla="*/ 46 h 105"/>
                  <a:gd name="T4" fmla="*/ 71 w 76"/>
                  <a:gd name="T5" fmla="*/ 34 h 105"/>
                  <a:gd name="T6" fmla="*/ 64 w 76"/>
                  <a:gd name="T7" fmla="*/ 10 h 105"/>
                  <a:gd name="T8" fmla="*/ 65 w 76"/>
                  <a:gd name="T9" fmla="*/ 0 h 105"/>
                  <a:gd name="T10" fmla="*/ 40 w 76"/>
                  <a:gd name="T11" fmla="*/ 0 h 105"/>
                  <a:gd name="T12" fmla="*/ 37 w 76"/>
                  <a:gd name="T13" fmla="*/ 0 h 105"/>
                  <a:gd name="T14" fmla="*/ 36 w 76"/>
                  <a:gd name="T15" fmla="*/ 5 h 105"/>
                  <a:gd name="T16" fmla="*/ 20 w 76"/>
                  <a:gd name="T17" fmla="*/ 21 h 105"/>
                  <a:gd name="T18" fmla="*/ 11 w 76"/>
                  <a:gd name="T19" fmla="*/ 45 h 105"/>
                  <a:gd name="T20" fmla="*/ 0 w 76"/>
                  <a:gd name="T21" fmla="*/ 89 h 105"/>
                  <a:gd name="T22" fmla="*/ 1 w 76"/>
                  <a:gd name="T23" fmla="*/ 105 h 105"/>
                  <a:gd name="T24" fmla="*/ 6 w 76"/>
                  <a:gd name="T25" fmla="*/ 100 h 105"/>
                  <a:gd name="T26" fmla="*/ 13 w 76"/>
                  <a:gd name="T27" fmla="*/ 87 h 105"/>
                  <a:gd name="T28" fmla="*/ 27 w 76"/>
                  <a:gd name="T29" fmla="*/ 86 h 105"/>
                  <a:gd name="T30" fmla="*/ 31 w 76"/>
                  <a:gd name="T31" fmla="*/ 69 h 105"/>
                  <a:gd name="T32" fmla="*/ 46 w 76"/>
                  <a:gd name="T33" fmla="*/ 66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6" h="105">
                    <a:moveTo>
                      <a:pt x="46" y="66"/>
                    </a:moveTo>
                    <a:cubicBezTo>
                      <a:pt x="46" y="66"/>
                      <a:pt x="41" y="49"/>
                      <a:pt x="50" y="46"/>
                    </a:cubicBezTo>
                    <a:cubicBezTo>
                      <a:pt x="59" y="43"/>
                      <a:pt x="66" y="46"/>
                      <a:pt x="71" y="34"/>
                    </a:cubicBezTo>
                    <a:cubicBezTo>
                      <a:pt x="76" y="22"/>
                      <a:pt x="64" y="10"/>
                      <a:pt x="64" y="1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7" y="2"/>
                      <a:pt x="37" y="4"/>
                      <a:pt x="36" y="5"/>
                    </a:cubicBezTo>
                    <a:cubicBezTo>
                      <a:pt x="29" y="15"/>
                      <a:pt x="20" y="21"/>
                      <a:pt x="20" y="21"/>
                    </a:cubicBezTo>
                    <a:cubicBezTo>
                      <a:pt x="11" y="45"/>
                      <a:pt x="11" y="45"/>
                      <a:pt x="11" y="45"/>
                    </a:cubicBezTo>
                    <a:cubicBezTo>
                      <a:pt x="11" y="45"/>
                      <a:pt x="1" y="69"/>
                      <a:pt x="0" y="89"/>
                    </a:cubicBezTo>
                    <a:cubicBezTo>
                      <a:pt x="0" y="94"/>
                      <a:pt x="0" y="100"/>
                      <a:pt x="1" y="105"/>
                    </a:cubicBezTo>
                    <a:cubicBezTo>
                      <a:pt x="6" y="100"/>
                      <a:pt x="6" y="100"/>
                      <a:pt x="6" y="100"/>
                    </a:cubicBezTo>
                    <a:cubicBezTo>
                      <a:pt x="13" y="87"/>
                      <a:pt x="13" y="87"/>
                      <a:pt x="13" y="87"/>
                    </a:cubicBezTo>
                    <a:cubicBezTo>
                      <a:pt x="13" y="87"/>
                      <a:pt x="22" y="93"/>
                      <a:pt x="27" y="86"/>
                    </a:cubicBezTo>
                    <a:cubicBezTo>
                      <a:pt x="32" y="79"/>
                      <a:pt x="31" y="69"/>
                      <a:pt x="31" y="69"/>
                    </a:cubicBezTo>
                    <a:cubicBezTo>
                      <a:pt x="46" y="66"/>
                      <a:pt x="46" y="66"/>
                      <a:pt x="46" y="66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Freeform 240">
                <a:extLst>
                  <a:ext uri="{FF2B5EF4-FFF2-40B4-BE49-F238E27FC236}">
                    <a16:creationId xmlns:a16="http://schemas.microsoft.com/office/drawing/2014/main" id="{09BEB0F6-0D8B-DD1F-1C68-EC68E68B2AF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646" y="-14730"/>
                <a:ext cx="701" cy="649"/>
              </a:xfrm>
              <a:custGeom>
                <a:avLst/>
                <a:gdLst>
                  <a:gd name="T0" fmla="*/ 281 w 297"/>
                  <a:gd name="T1" fmla="*/ 39 h 275"/>
                  <a:gd name="T2" fmla="*/ 297 w 297"/>
                  <a:gd name="T3" fmla="*/ 19 h 275"/>
                  <a:gd name="T4" fmla="*/ 290 w 297"/>
                  <a:gd name="T5" fmla="*/ 2 h 275"/>
                  <a:gd name="T6" fmla="*/ 277 w 297"/>
                  <a:gd name="T7" fmla="*/ 12 h 275"/>
                  <a:gd name="T8" fmla="*/ 264 w 297"/>
                  <a:gd name="T9" fmla="*/ 15 h 275"/>
                  <a:gd name="T10" fmla="*/ 250 w 297"/>
                  <a:gd name="T11" fmla="*/ 22 h 275"/>
                  <a:gd name="T12" fmla="*/ 241 w 297"/>
                  <a:gd name="T13" fmla="*/ 16 h 275"/>
                  <a:gd name="T14" fmla="*/ 217 w 297"/>
                  <a:gd name="T15" fmla="*/ 16 h 275"/>
                  <a:gd name="T16" fmla="*/ 188 w 297"/>
                  <a:gd name="T17" fmla="*/ 32 h 275"/>
                  <a:gd name="T18" fmla="*/ 163 w 297"/>
                  <a:gd name="T19" fmla="*/ 39 h 275"/>
                  <a:gd name="T20" fmla="*/ 140 w 297"/>
                  <a:gd name="T21" fmla="*/ 35 h 275"/>
                  <a:gd name="T22" fmla="*/ 114 w 297"/>
                  <a:gd name="T23" fmla="*/ 22 h 275"/>
                  <a:gd name="T24" fmla="*/ 100 w 297"/>
                  <a:gd name="T25" fmla="*/ 33 h 275"/>
                  <a:gd name="T26" fmla="*/ 64 w 297"/>
                  <a:gd name="T27" fmla="*/ 41 h 275"/>
                  <a:gd name="T28" fmla="*/ 58 w 297"/>
                  <a:gd name="T29" fmla="*/ 31 h 275"/>
                  <a:gd name="T30" fmla="*/ 42 w 297"/>
                  <a:gd name="T31" fmla="*/ 32 h 275"/>
                  <a:gd name="T32" fmla="*/ 43 w 297"/>
                  <a:gd name="T33" fmla="*/ 53 h 275"/>
                  <a:gd name="T34" fmla="*/ 48 w 297"/>
                  <a:gd name="T35" fmla="*/ 64 h 275"/>
                  <a:gd name="T36" fmla="*/ 33 w 297"/>
                  <a:gd name="T37" fmla="*/ 66 h 275"/>
                  <a:gd name="T38" fmla="*/ 33 w 297"/>
                  <a:gd name="T39" fmla="*/ 75 h 275"/>
                  <a:gd name="T40" fmla="*/ 27 w 297"/>
                  <a:gd name="T41" fmla="*/ 84 h 275"/>
                  <a:gd name="T42" fmla="*/ 14 w 297"/>
                  <a:gd name="T43" fmla="*/ 78 h 275"/>
                  <a:gd name="T44" fmla="*/ 5 w 297"/>
                  <a:gd name="T45" fmla="*/ 98 h 275"/>
                  <a:gd name="T46" fmla="*/ 1 w 297"/>
                  <a:gd name="T47" fmla="*/ 99 h 275"/>
                  <a:gd name="T48" fmla="*/ 0 w 297"/>
                  <a:gd name="T49" fmla="*/ 131 h 275"/>
                  <a:gd name="T50" fmla="*/ 17 w 297"/>
                  <a:gd name="T51" fmla="*/ 147 h 275"/>
                  <a:gd name="T52" fmla="*/ 20 w 297"/>
                  <a:gd name="T53" fmla="*/ 147 h 275"/>
                  <a:gd name="T54" fmla="*/ 45 w 297"/>
                  <a:gd name="T55" fmla="*/ 147 h 275"/>
                  <a:gd name="T56" fmla="*/ 44 w 297"/>
                  <a:gd name="T57" fmla="*/ 157 h 275"/>
                  <a:gd name="T58" fmla="*/ 51 w 297"/>
                  <a:gd name="T59" fmla="*/ 181 h 275"/>
                  <a:gd name="T60" fmla="*/ 30 w 297"/>
                  <a:gd name="T61" fmla="*/ 193 h 275"/>
                  <a:gd name="T62" fmla="*/ 26 w 297"/>
                  <a:gd name="T63" fmla="*/ 213 h 275"/>
                  <a:gd name="T64" fmla="*/ 16 w 297"/>
                  <a:gd name="T65" fmla="*/ 224 h 275"/>
                  <a:gd name="T66" fmla="*/ 19 w 297"/>
                  <a:gd name="T67" fmla="*/ 254 h 275"/>
                  <a:gd name="T68" fmla="*/ 23 w 297"/>
                  <a:gd name="T69" fmla="*/ 251 h 275"/>
                  <a:gd name="T70" fmla="*/ 45 w 297"/>
                  <a:gd name="T71" fmla="*/ 263 h 275"/>
                  <a:gd name="T72" fmla="*/ 73 w 297"/>
                  <a:gd name="T73" fmla="*/ 275 h 275"/>
                  <a:gd name="T74" fmla="*/ 157 w 297"/>
                  <a:gd name="T75" fmla="*/ 218 h 275"/>
                  <a:gd name="T76" fmla="*/ 200 w 297"/>
                  <a:gd name="T77" fmla="*/ 183 h 275"/>
                  <a:gd name="T78" fmla="*/ 261 w 297"/>
                  <a:gd name="T79" fmla="*/ 156 h 275"/>
                  <a:gd name="T80" fmla="*/ 255 w 297"/>
                  <a:gd name="T81" fmla="*/ 131 h 275"/>
                  <a:gd name="T82" fmla="*/ 264 w 297"/>
                  <a:gd name="T83" fmla="*/ 112 h 275"/>
                  <a:gd name="T84" fmla="*/ 260 w 297"/>
                  <a:gd name="T85" fmla="*/ 77 h 275"/>
                  <a:gd name="T86" fmla="*/ 249 w 297"/>
                  <a:gd name="T87" fmla="*/ 55 h 275"/>
                  <a:gd name="T88" fmla="*/ 281 w 297"/>
                  <a:gd name="T89" fmla="*/ 39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97" h="275">
                    <a:moveTo>
                      <a:pt x="281" y="39"/>
                    </a:moveTo>
                    <a:cubicBezTo>
                      <a:pt x="290" y="35"/>
                      <a:pt x="295" y="26"/>
                      <a:pt x="297" y="19"/>
                    </a:cubicBezTo>
                    <a:cubicBezTo>
                      <a:pt x="288" y="20"/>
                      <a:pt x="293" y="4"/>
                      <a:pt x="290" y="2"/>
                    </a:cubicBezTo>
                    <a:cubicBezTo>
                      <a:pt x="287" y="0"/>
                      <a:pt x="285" y="11"/>
                      <a:pt x="277" y="12"/>
                    </a:cubicBezTo>
                    <a:cubicBezTo>
                      <a:pt x="269" y="13"/>
                      <a:pt x="264" y="15"/>
                      <a:pt x="264" y="15"/>
                    </a:cubicBezTo>
                    <a:cubicBezTo>
                      <a:pt x="264" y="15"/>
                      <a:pt x="259" y="21"/>
                      <a:pt x="250" y="22"/>
                    </a:cubicBezTo>
                    <a:cubicBezTo>
                      <a:pt x="241" y="23"/>
                      <a:pt x="246" y="18"/>
                      <a:pt x="241" y="16"/>
                    </a:cubicBezTo>
                    <a:cubicBezTo>
                      <a:pt x="236" y="14"/>
                      <a:pt x="230" y="15"/>
                      <a:pt x="217" y="16"/>
                    </a:cubicBezTo>
                    <a:cubicBezTo>
                      <a:pt x="204" y="17"/>
                      <a:pt x="197" y="29"/>
                      <a:pt x="188" y="32"/>
                    </a:cubicBezTo>
                    <a:cubicBezTo>
                      <a:pt x="179" y="35"/>
                      <a:pt x="174" y="38"/>
                      <a:pt x="163" y="39"/>
                    </a:cubicBezTo>
                    <a:cubicBezTo>
                      <a:pt x="152" y="40"/>
                      <a:pt x="140" y="35"/>
                      <a:pt x="140" y="35"/>
                    </a:cubicBezTo>
                    <a:cubicBezTo>
                      <a:pt x="140" y="35"/>
                      <a:pt x="117" y="23"/>
                      <a:pt x="114" y="22"/>
                    </a:cubicBezTo>
                    <a:cubicBezTo>
                      <a:pt x="111" y="21"/>
                      <a:pt x="100" y="33"/>
                      <a:pt x="100" y="33"/>
                    </a:cubicBezTo>
                    <a:cubicBezTo>
                      <a:pt x="100" y="33"/>
                      <a:pt x="85" y="41"/>
                      <a:pt x="64" y="41"/>
                    </a:cubicBezTo>
                    <a:cubicBezTo>
                      <a:pt x="43" y="41"/>
                      <a:pt x="60" y="35"/>
                      <a:pt x="58" y="31"/>
                    </a:cubicBezTo>
                    <a:cubicBezTo>
                      <a:pt x="56" y="27"/>
                      <a:pt x="42" y="32"/>
                      <a:pt x="42" y="32"/>
                    </a:cubicBezTo>
                    <a:cubicBezTo>
                      <a:pt x="43" y="53"/>
                      <a:pt x="43" y="53"/>
                      <a:pt x="43" y="53"/>
                    </a:cubicBezTo>
                    <a:cubicBezTo>
                      <a:pt x="43" y="53"/>
                      <a:pt x="50" y="51"/>
                      <a:pt x="48" y="64"/>
                    </a:cubicBezTo>
                    <a:cubicBezTo>
                      <a:pt x="47" y="72"/>
                      <a:pt x="33" y="66"/>
                      <a:pt x="33" y="66"/>
                    </a:cubicBezTo>
                    <a:cubicBezTo>
                      <a:pt x="33" y="75"/>
                      <a:pt x="33" y="75"/>
                      <a:pt x="33" y="75"/>
                    </a:cubicBezTo>
                    <a:cubicBezTo>
                      <a:pt x="33" y="75"/>
                      <a:pt x="31" y="83"/>
                      <a:pt x="27" y="84"/>
                    </a:cubicBezTo>
                    <a:cubicBezTo>
                      <a:pt x="24" y="85"/>
                      <a:pt x="17" y="80"/>
                      <a:pt x="14" y="78"/>
                    </a:cubicBezTo>
                    <a:cubicBezTo>
                      <a:pt x="12" y="83"/>
                      <a:pt x="2" y="91"/>
                      <a:pt x="5" y="98"/>
                    </a:cubicBezTo>
                    <a:cubicBezTo>
                      <a:pt x="1" y="99"/>
                      <a:pt x="1" y="99"/>
                      <a:pt x="1" y="99"/>
                    </a:cubicBezTo>
                    <a:cubicBezTo>
                      <a:pt x="0" y="131"/>
                      <a:pt x="0" y="131"/>
                      <a:pt x="0" y="131"/>
                    </a:cubicBezTo>
                    <a:cubicBezTo>
                      <a:pt x="0" y="131"/>
                      <a:pt x="14" y="139"/>
                      <a:pt x="17" y="147"/>
                    </a:cubicBezTo>
                    <a:cubicBezTo>
                      <a:pt x="20" y="147"/>
                      <a:pt x="20" y="147"/>
                      <a:pt x="20" y="147"/>
                    </a:cubicBezTo>
                    <a:cubicBezTo>
                      <a:pt x="45" y="147"/>
                      <a:pt x="45" y="147"/>
                      <a:pt x="45" y="147"/>
                    </a:cubicBezTo>
                    <a:cubicBezTo>
                      <a:pt x="44" y="157"/>
                      <a:pt x="44" y="157"/>
                      <a:pt x="44" y="157"/>
                    </a:cubicBezTo>
                    <a:cubicBezTo>
                      <a:pt x="44" y="157"/>
                      <a:pt x="56" y="169"/>
                      <a:pt x="51" y="181"/>
                    </a:cubicBezTo>
                    <a:cubicBezTo>
                      <a:pt x="46" y="193"/>
                      <a:pt x="39" y="190"/>
                      <a:pt x="30" y="193"/>
                    </a:cubicBezTo>
                    <a:cubicBezTo>
                      <a:pt x="21" y="196"/>
                      <a:pt x="26" y="213"/>
                      <a:pt x="26" y="213"/>
                    </a:cubicBezTo>
                    <a:cubicBezTo>
                      <a:pt x="16" y="224"/>
                      <a:pt x="16" y="224"/>
                      <a:pt x="16" y="224"/>
                    </a:cubicBezTo>
                    <a:cubicBezTo>
                      <a:pt x="19" y="254"/>
                      <a:pt x="19" y="254"/>
                      <a:pt x="19" y="254"/>
                    </a:cubicBezTo>
                    <a:cubicBezTo>
                      <a:pt x="23" y="251"/>
                      <a:pt x="23" y="251"/>
                      <a:pt x="23" y="251"/>
                    </a:cubicBezTo>
                    <a:cubicBezTo>
                      <a:pt x="45" y="263"/>
                      <a:pt x="45" y="263"/>
                      <a:pt x="45" y="263"/>
                    </a:cubicBezTo>
                    <a:cubicBezTo>
                      <a:pt x="45" y="263"/>
                      <a:pt x="52" y="275"/>
                      <a:pt x="73" y="275"/>
                    </a:cubicBezTo>
                    <a:cubicBezTo>
                      <a:pt x="94" y="275"/>
                      <a:pt x="157" y="218"/>
                      <a:pt x="157" y="218"/>
                    </a:cubicBezTo>
                    <a:cubicBezTo>
                      <a:pt x="200" y="183"/>
                      <a:pt x="200" y="183"/>
                      <a:pt x="200" y="183"/>
                    </a:cubicBezTo>
                    <a:cubicBezTo>
                      <a:pt x="200" y="183"/>
                      <a:pt x="249" y="165"/>
                      <a:pt x="261" y="156"/>
                    </a:cubicBezTo>
                    <a:cubicBezTo>
                      <a:pt x="273" y="147"/>
                      <a:pt x="256" y="138"/>
                      <a:pt x="255" y="131"/>
                    </a:cubicBezTo>
                    <a:cubicBezTo>
                      <a:pt x="254" y="124"/>
                      <a:pt x="260" y="117"/>
                      <a:pt x="264" y="112"/>
                    </a:cubicBezTo>
                    <a:cubicBezTo>
                      <a:pt x="268" y="107"/>
                      <a:pt x="260" y="77"/>
                      <a:pt x="260" y="77"/>
                    </a:cubicBezTo>
                    <a:cubicBezTo>
                      <a:pt x="260" y="77"/>
                      <a:pt x="245" y="69"/>
                      <a:pt x="249" y="55"/>
                    </a:cubicBezTo>
                    <a:cubicBezTo>
                      <a:pt x="253" y="41"/>
                      <a:pt x="265" y="46"/>
                      <a:pt x="281" y="39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Freeform 241">
                <a:extLst>
                  <a:ext uri="{FF2B5EF4-FFF2-40B4-BE49-F238E27FC236}">
                    <a16:creationId xmlns:a16="http://schemas.microsoft.com/office/drawing/2014/main" id="{1695D799-6CBE-C42A-06B4-99E0ADC4616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904" y="-15229"/>
                <a:ext cx="359" cy="331"/>
              </a:xfrm>
              <a:custGeom>
                <a:avLst/>
                <a:gdLst>
                  <a:gd name="T0" fmla="*/ 147 w 152"/>
                  <a:gd name="T1" fmla="*/ 111 h 140"/>
                  <a:gd name="T2" fmla="*/ 143 w 152"/>
                  <a:gd name="T3" fmla="*/ 104 h 140"/>
                  <a:gd name="T4" fmla="*/ 145 w 152"/>
                  <a:gd name="T5" fmla="*/ 94 h 140"/>
                  <a:gd name="T6" fmla="*/ 125 w 152"/>
                  <a:gd name="T7" fmla="*/ 92 h 140"/>
                  <a:gd name="T8" fmla="*/ 115 w 152"/>
                  <a:gd name="T9" fmla="*/ 78 h 140"/>
                  <a:gd name="T10" fmla="*/ 97 w 152"/>
                  <a:gd name="T11" fmla="*/ 70 h 140"/>
                  <a:gd name="T12" fmla="*/ 118 w 152"/>
                  <a:gd name="T13" fmla="*/ 61 h 140"/>
                  <a:gd name="T14" fmla="*/ 88 w 152"/>
                  <a:gd name="T15" fmla="*/ 39 h 140"/>
                  <a:gd name="T16" fmla="*/ 94 w 152"/>
                  <a:gd name="T17" fmla="*/ 24 h 140"/>
                  <a:gd name="T18" fmla="*/ 75 w 152"/>
                  <a:gd name="T19" fmla="*/ 16 h 140"/>
                  <a:gd name="T20" fmla="*/ 76 w 152"/>
                  <a:gd name="T21" fmla="*/ 7 h 140"/>
                  <a:gd name="T22" fmla="*/ 61 w 152"/>
                  <a:gd name="T23" fmla="*/ 0 h 140"/>
                  <a:gd name="T24" fmla="*/ 55 w 152"/>
                  <a:gd name="T25" fmla="*/ 10 h 140"/>
                  <a:gd name="T26" fmla="*/ 22 w 152"/>
                  <a:gd name="T27" fmla="*/ 6 h 140"/>
                  <a:gd name="T28" fmla="*/ 17 w 152"/>
                  <a:gd name="T29" fmla="*/ 13 h 140"/>
                  <a:gd name="T30" fmla="*/ 0 w 152"/>
                  <a:gd name="T31" fmla="*/ 14 h 140"/>
                  <a:gd name="T32" fmla="*/ 6 w 152"/>
                  <a:gd name="T33" fmla="*/ 29 h 140"/>
                  <a:gd name="T34" fmla="*/ 18 w 152"/>
                  <a:gd name="T35" fmla="*/ 69 h 140"/>
                  <a:gd name="T36" fmla="*/ 47 w 152"/>
                  <a:gd name="T37" fmla="*/ 72 h 140"/>
                  <a:gd name="T38" fmla="*/ 57 w 152"/>
                  <a:gd name="T39" fmla="*/ 93 h 140"/>
                  <a:gd name="T40" fmla="*/ 55 w 152"/>
                  <a:gd name="T41" fmla="*/ 98 h 140"/>
                  <a:gd name="T42" fmla="*/ 62 w 152"/>
                  <a:gd name="T43" fmla="*/ 103 h 140"/>
                  <a:gd name="T44" fmla="*/ 72 w 152"/>
                  <a:gd name="T45" fmla="*/ 89 h 140"/>
                  <a:gd name="T46" fmla="*/ 83 w 152"/>
                  <a:gd name="T47" fmla="*/ 86 h 140"/>
                  <a:gd name="T48" fmla="*/ 100 w 152"/>
                  <a:gd name="T49" fmla="*/ 97 h 140"/>
                  <a:gd name="T50" fmla="*/ 111 w 152"/>
                  <a:gd name="T51" fmla="*/ 95 h 140"/>
                  <a:gd name="T52" fmla="*/ 119 w 152"/>
                  <a:gd name="T53" fmla="*/ 111 h 140"/>
                  <a:gd name="T54" fmla="*/ 130 w 152"/>
                  <a:gd name="T55" fmla="*/ 138 h 140"/>
                  <a:gd name="T56" fmla="*/ 148 w 152"/>
                  <a:gd name="T57" fmla="*/ 140 h 140"/>
                  <a:gd name="T58" fmla="*/ 147 w 152"/>
                  <a:gd name="T59" fmla="*/ 111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2" h="140">
                    <a:moveTo>
                      <a:pt x="147" y="111"/>
                    </a:moveTo>
                    <a:cubicBezTo>
                      <a:pt x="143" y="104"/>
                      <a:pt x="143" y="104"/>
                      <a:pt x="143" y="104"/>
                    </a:cubicBezTo>
                    <a:cubicBezTo>
                      <a:pt x="145" y="94"/>
                      <a:pt x="145" y="94"/>
                      <a:pt x="145" y="94"/>
                    </a:cubicBezTo>
                    <a:cubicBezTo>
                      <a:pt x="125" y="92"/>
                      <a:pt x="125" y="92"/>
                      <a:pt x="125" y="92"/>
                    </a:cubicBezTo>
                    <a:cubicBezTo>
                      <a:pt x="115" y="78"/>
                      <a:pt x="115" y="78"/>
                      <a:pt x="115" y="78"/>
                    </a:cubicBezTo>
                    <a:cubicBezTo>
                      <a:pt x="97" y="70"/>
                      <a:pt x="97" y="70"/>
                      <a:pt x="97" y="70"/>
                    </a:cubicBezTo>
                    <a:cubicBezTo>
                      <a:pt x="97" y="70"/>
                      <a:pt x="117" y="70"/>
                      <a:pt x="118" y="61"/>
                    </a:cubicBezTo>
                    <a:cubicBezTo>
                      <a:pt x="119" y="52"/>
                      <a:pt x="88" y="39"/>
                      <a:pt x="88" y="39"/>
                    </a:cubicBezTo>
                    <a:cubicBezTo>
                      <a:pt x="88" y="39"/>
                      <a:pt x="94" y="31"/>
                      <a:pt x="94" y="24"/>
                    </a:cubicBezTo>
                    <a:cubicBezTo>
                      <a:pt x="94" y="17"/>
                      <a:pt x="75" y="16"/>
                      <a:pt x="75" y="16"/>
                    </a:cubicBezTo>
                    <a:cubicBezTo>
                      <a:pt x="76" y="7"/>
                      <a:pt x="76" y="7"/>
                      <a:pt x="76" y="7"/>
                    </a:cubicBezTo>
                    <a:cubicBezTo>
                      <a:pt x="76" y="7"/>
                      <a:pt x="64" y="0"/>
                      <a:pt x="61" y="0"/>
                    </a:cubicBezTo>
                    <a:cubicBezTo>
                      <a:pt x="58" y="0"/>
                      <a:pt x="55" y="10"/>
                      <a:pt x="55" y="10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2" y="17"/>
                      <a:pt x="3" y="22"/>
                      <a:pt x="6" y="29"/>
                    </a:cubicBezTo>
                    <a:cubicBezTo>
                      <a:pt x="12" y="44"/>
                      <a:pt x="10" y="58"/>
                      <a:pt x="18" y="69"/>
                    </a:cubicBezTo>
                    <a:cubicBezTo>
                      <a:pt x="26" y="80"/>
                      <a:pt x="42" y="71"/>
                      <a:pt x="47" y="72"/>
                    </a:cubicBezTo>
                    <a:cubicBezTo>
                      <a:pt x="50" y="72"/>
                      <a:pt x="54" y="83"/>
                      <a:pt x="57" y="93"/>
                    </a:cubicBezTo>
                    <a:cubicBezTo>
                      <a:pt x="56" y="95"/>
                      <a:pt x="56" y="96"/>
                      <a:pt x="55" y="98"/>
                    </a:cubicBezTo>
                    <a:cubicBezTo>
                      <a:pt x="62" y="103"/>
                      <a:pt x="62" y="103"/>
                      <a:pt x="62" y="103"/>
                    </a:cubicBezTo>
                    <a:cubicBezTo>
                      <a:pt x="72" y="89"/>
                      <a:pt x="72" y="89"/>
                      <a:pt x="72" y="89"/>
                    </a:cubicBezTo>
                    <a:cubicBezTo>
                      <a:pt x="72" y="89"/>
                      <a:pt x="82" y="86"/>
                      <a:pt x="83" y="86"/>
                    </a:cubicBezTo>
                    <a:cubicBezTo>
                      <a:pt x="90" y="96"/>
                      <a:pt x="100" y="97"/>
                      <a:pt x="100" y="97"/>
                    </a:cubicBezTo>
                    <a:cubicBezTo>
                      <a:pt x="100" y="97"/>
                      <a:pt x="102" y="94"/>
                      <a:pt x="111" y="95"/>
                    </a:cubicBezTo>
                    <a:cubicBezTo>
                      <a:pt x="120" y="96"/>
                      <a:pt x="116" y="107"/>
                      <a:pt x="119" y="111"/>
                    </a:cubicBezTo>
                    <a:cubicBezTo>
                      <a:pt x="122" y="115"/>
                      <a:pt x="130" y="138"/>
                      <a:pt x="130" y="138"/>
                    </a:cubicBezTo>
                    <a:cubicBezTo>
                      <a:pt x="130" y="138"/>
                      <a:pt x="144" y="140"/>
                      <a:pt x="148" y="140"/>
                    </a:cubicBezTo>
                    <a:cubicBezTo>
                      <a:pt x="152" y="140"/>
                      <a:pt x="147" y="111"/>
                      <a:pt x="147" y="11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Freeform 242">
                <a:extLst>
                  <a:ext uri="{FF2B5EF4-FFF2-40B4-BE49-F238E27FC236}">
                    <a16:creationId xmlns:a16="http://schemas.microsoft.com/office/drawing/2014/main" id="{D560AFC2-899E-EBBF-D0D6-10D4D877B8E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3785" y="-15333"/>
                <a:ext cx="2098" cy="804"/>
              </a:xfrm>
              <a:custGeom>
                <a:avLst/>
                <a:gdLst>
                  <a:gd name="T0" fmla="*/ 20 w 888"/>
                  <a:gd name="T1" fmla="*/ 116 h 340"/>
                  <a:gd name="T2" fmla="*/ 27 w 888"/>
                  <a:gd name="T3" fmla="*/ 107 h 340"/>
                  <a:gd name="T4" fmla="*/ 63 w 888"/>
                  <a:gd name="T5" fmla="*/ 93 h 340"/>
                  <a:gd name="T6" fmla="*/ 52 w 888"/>
                  <a:gd name="T7" fmla="*/ 101 h 340"/>
                  <a:gd name="T8" fmla="*/ 887 w 888"/>
                  <a:gd name="T9" fmla="*/ 259 h 340"/>
                  <a:gd name="T10" fmla="*/ 850 w 888"/>
                  <a:gd name="T11" fmla="*/ 224 h 340"/>
                  <a:gd name="T12" fmla="*/ 845 w 888"/>
                  <a:gd name="T13" fmla="*/ 165 h 340"/>
                  <a:gd name="T14" fmla="*/ 853 w 888"/>
                  <a:gd name="T15" fmla="*/ 137 h 340"/>
                  <a:gd name="T16" fmla="*/ 802 w 888"/>
                  <a:gd name="T17" fmla="*/ 73 h 340"/>
                  <a:gd name="T18" fmla="*/ 761 w 888"/>
                  <a:gd name="T19" fmla="*/ 32 h 340"/>
                  <a:gd name="T20" fmla="*/ 678 w 888"/>
                  <a:gd name="T21" fmla="*/ 63 h 340"/>
                  <a:gd name="T22" fmla="*/ 542 w 888"/>
                  <a:gd name="T23" fmla="*/ 57 h 340"/>
                  <a:gd name="T24" fmla="*/ 491 w 888"/>
                  <a:gd name="T25" fmla="*/ 51 h 340"/>
                  <a:gd name="T26" fmla="*/ 442 w 888"/>
                  <a:gd name="T27" fmla="*/ 30 h 340"/>
                  <a:gd name="T28" fmla="*/ 385 w 888"/>
                  <a:gd name="T29" fmla="*/ 16 h 340"/>
                  <a:gd name="T30" fmla="*/ 272 w 888"/>
                  <a:gd name="T31" fmla="*/ 42 h 340"/>
                  <a:gd name="T32" fmla="*/ 203 w 888"/>
                  <a:gd name="T33" fmla="*/ 53 h 340"/>
                  <a:gd name="T34" fmla="*/ 120 w 888"/>
                  <a:gd name="T35" fmla="*/ 14 h 340"/>
                  <a:gd name="T36" fmla="*/ 79 w 888"/>
                  <a:gd name="T37" fmla="*/ 10 h 340"/>
                  <a:gd name="T38" fmla="*/ 52 w 888"/>
                  <a:gd name="T39" fmla="*/ 28 h 340"/>
                  <a:gd name="T40" fmla="*/ 50 w 888"/>
                  <a:gd name="T41" fmla="*/ 47 h 340"/>
                  <a:gd name="T42" fmla="*/ 50 w 888"/>
                  <a:gd name="T43" fmla="*/ 86 h 340"/>
                  <a:gd name="T44" fmla="*/ 107 w 888"/>
                  <a:gd name="T45" fmla="*/ 65 h 340"/>
                  <a:gd name="T46" fmla="*/ 165 w 888"/>
                  <a:gd name="T47" fmla="*/ 81 h 340"/>
                  <a:gd name="T48" fmla="*/ 92 w 888"/>
                  <a:gd name="T49" fmla="*/ 91 h 340"/>
                  <a:gd name="T50" fmla="*/ 76 w 888"/>
                  <a:gd name="T51" fmla="*/ 142 h 340"/>
                  <a:gd name="T52" fmla="*/ 83 w 888"/>
                  <a:gd name="T53" fmla="*/ 186 h 340"/>
                  <a:gd name="T54" fmla="*/ 108 w 888"/>
                  <a:gd name="T55" fmla="*/ 234 h 340"/>
                  <a:gd name="T56" fmla="*/ 146 w 888"/>
                  <a:gd name="T57" fmla="*/ 297 h 340"/>
                  <a:gd name="T58" fmla="*/ 250 w 888"/>
                  <a:gd name="T59" fmla="*/ 310 h 340"/>
                  <a:gd name="T60" fmla="*/ 359 w 888"/>
                  <a:gd name="T61" fmla="*/ 325 h 340"/>
                  <a:gd name="T62" fmla="*/ 477 w 888"/>
                  <a:gd name="T63" fmla="*/ 298 h 340"/>
                  <a:gd name="T64" fmla="*/ 495 w 888"/>
                  <a:gd name="T65" fmla="*/ 329 h 340"/>
                  <a:gd name="T66" fmla="*/ 515 w 888"/>
                  <a:gd name="T67" fmla="*/ 330 h 340"/>
                  <a:gd name="T68" fmla="*/ 525 w 888"/>
                  <a:gd name="T69" fmla="*/ 308 h 340"/>
                  <a:gd name="T70" fmla="*/ 546 w 888"/>
                  <a:gd name="T71" fmla="*/ 296 h 340"/>
                  <a:gd name="T72" fmla="*/ 622 w 888"/>
                  <a:gd name="T73" fmla="*/ 290 h 340"/>
                  <a:gd name="T74" fmla="*/ 699 w 888"/>
                  <a:gd name="T75" fmla="*/ 271 h 340"/>
                  <a:gd name="T76" fmla="*/ 746 w 888"/>
                  <a:gd name="T77" fmla="*/ 270 h 340"/>
                  <a:gd name="T78" fmla="*/ 781 w 888"/>
                  <a:gd name="T79" fmla="*/ 274 h 340"/>
                  <a:gd name="T80" fmla="*/ 835 w 888"/>
                  <a:gd name="T81" fmla="*/ 267 h 340"/>
                  <a:gd name="T82" fmla="*/ 888 w 888"/>
                  <a:gd name="T83" fmla="*/ 265 h 340"/>
                  <a:gd name="T84" fmla="*/ 81 w 888"/>
                  <a:gd name="T85" fmla="*/ 204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888" h="340">
                    <a:moveTo>
                      <a:pt x="3" y="126"/>
                    </a:moveTo>
                    <a:cubicBezTo>
                      <a:pt x="17" y="125"/>
                      <a:pt x="17" y="125"/>
                      <a:pt x="17" y="125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0" y="116"/>
                      <a:pt x="0" y="116"/>
                      <a:pt x="0" y="116"/>
                    </a:cubicBezTo>
                    <a:lnTo>
                      <a:pt x="3" y="126"/>
                    </a:lnTo>
                    <a:close/>
                    <a:moveTo>
                      <a:pt x="27" y="107"/>
                    </a:moveTo>
                    <a:cubicBezTo>
                      <a:pt x="30" y="116"/>
                      <a:pt x="40" y="122"/>
                      <a:pt x="39" y="106"/>
                    </a:cubicBezTo>
                    <a:cubicBezTo>
                      <a:pt x="38" y="90"/>
                      <a:pt x="27" y="107"/>
                      <a:pt x="27" y="107"/>
                    </a:cubicBezTo>
                    <a:close/>
                    <a:moveTo>
                      <a:pt x="63" y="93"/>
                    </a:moveTo>
                    <a:cubicBezTo>
                      <a:pt x="45" y="93"/>
                      <a:pt x="45" y="93"/>
                      <a:pt x="45" y="93"/>
                    </a:cubicBezTo>
                    <a:cubicBezTo>
                      <a:pt x="45" y="114"/>
                      <a:pt x="45" y="114"/>
                      <a:pt x="45" y="114"/>
                    </a:cubicBezTo>
                    <a:cubicBezTo>
                      <a:pt x="52" y="101"/>
                      <a:pt x="52" y="101"/>
                      <a:pt x="52" y="101"/>
                    </a:cubicBezTo>
                    <a:lnTo>
                      <a:pt x="63" y="93"/>
                    </a:lnTo>
                    <a:close/>
                    <a:moveTo>
                      <a:pt x="888" y="265"/>
                    </a:moveTo>
                    <a:cubicBezTo>
                      <a:pt x="887" y="261"/>
                      <a:pt x="887" y="259"/>
                      <a:pt x="887" y="259"/>
                    </a:cubicBezTo>
                    <a:cubicBezTo>
                      <a:pt x="871" y="254"/>
                      <a:pt x="871" y="254"/>
                      <a:pt x="871" y="254"/>
                    </a:cubicBezTo>
                    <a:cubicBezTo>
                      <a:pt x="871" y="236"/>
                      <a:pt x="871" y="236"/>
                      <a:pt x="871" y="236"/>
                    </a:cubicBezTo>
                    <a:cubicBezTo>
                      <a:pt x="850" y="224"/>
                      <a:pt x="850" y="224"/>
                      <a:pt x="850" y="224"/>
                    </a:cubicBezTo>
                    <a:cubicBezTo>
                      <a:pt x="850" y="224"/>
                      <a:pt x="863" y="205"/>
                      <a:pt x="858" y="203"/>
                    </a:cubicBezTo>
                    <a:cubicBezTo>
                      <a:pt x="853" y="201"/>
                      <a:pt x="846" y="180"/>
                      <a:pt x="846" y="180"/>
                    </a:cubicBezTo>
                    <a:cubicBezTo>
                      <a:pt x="845" y="165"/>
                      <a:pt x="845" y="165"/>
                      <a:pt x="845" y="165"/>
                    </a:cubicBezTo>
                    <a:cubicBezTo>
                      <a:pt x="834" y="149"/>
                      <a:pt x="834" y="149"/>
                      <a:pt x="834" y="149"/>
                    </a:cubicBezTo>
                    <a:cubicBezTo>
                      <a:pt x="850" y="147"/>
                      <a:pt x="850" y="147"/>
                      <a:pt x="850" y="147"/>
                    </a:cubicBezTo>
                    <a:cubicBezTo>
                      <a:pt x="850" y="147"/>
                      <a:pt x="851" y="142"/>
                      <a:pt x="853" y="137"/>
                    </a:cubicBezTo>
                    <a:cubicBezTo>
                      <a:pt x="850" y="127"/>
                      <a:pt x="846" y="116"/>
                      <a:pt x="843" y="116"/>
                    </a:cubicBezTo>
                    <a:cubicBezTo>
                      <a:pt x="838" y="115"/>
                      <a:pt x="822" y="124"/>
                      <a:pt x="814" y="113"/>
                    </a:cubicBezTo>
                    <a:cubicBezTo>
                      <a:pt x="806" y="102"/>
                      <a:pt x="808" y="88"/>
                      <a:pt x="802" y="73"/>
                    </a:cubicBezTo>
                    <a:cubicBezTo>
                      <a:pt x="796" y="58"/>
                      <a:pt x="794" y="50"/>
                      <a:pt x="794" y="50"/>
                    </a:cubicBezTo>
                    <a:cubicBezTo>
                      <a:pt x="777" y="50"/>
                      <a:pt x="777" y="50"/>
                      <a:pt x="777" y="50"/>
                    </a:cubicBezTo>
                    <a:cubicBezTo>
                      <a:pt x="777" y="50"/>
                      <a:pt x="775" y="35"/>
                      <a:pt x="761" y="32"/>
                    </a:cubicBezTo>
                    <a:cubicBezTo>
                      <a:pt x="747" y="29"/>
                      <a:pt x="741" y="39"/>
                      <a:pt x="741" y="39"/>
                    </a:cubicBezTo>
                    <a:cubicBezTo>
                      <a:pt x="715" y="34"/>
                      <a:pt x="715" y="34"/>
                      <a:pt x="715" y="34"/>
                    </a:cubicBezTo>
                    <a:cubicBezTo>
                      <a:pt x="706" y="43"/>
                      <a:pt x="688" y="59"/>
                      <a:pt x="678" y="63"/>
                    </a:cubicBezTo>
                    <a:cubicBezTo>
                      <a:pt x="665" y="68"/>
                      <a:pt x="621" y="62"/>
                      <a:pt x="621" y="62"/>
                    </a:cubicBezTo>
                    <a:cubicBezTo>
                      <a:pt x="585" y="72"/>
                      <a:pt x="585" y="72"/>
                      <a:pt x="585" y="72"/>
                    </a:cubicBezTo>
                    <a:cubicBezTo>
                      <a:pt x="542" y="57"/>
                      <a:pt x="542" y="57"/>
                      <a:pt x="542" y="57"/>
                    </a:cubicBezTo>
                    <a:cubicBezTo>
                      <a:pt x="525" y="63"/>
                      <a:pt x="525" y="63"/>
                      <a:pt x="525" y="63"/>
                    </a:cubicBezTo>
                    <a:cubicBezTo>
                      <a:pt x="525" y="63"/>
                      <a:pt x="516" y="40"/>
                      <a:pt x="508" y="42"/>
                    </a:cubicBezTo>
                    <a:cubicBezTo>
                      <a:pt x="500" y="44"/>
                      <a:pt x="491" y="51"/>
                      <a:pt x="491" y="51"/>
                    </a:cubicBezTo>
                    <a:cubicBezTo>
                      <a:pt x="475" y="40"/>
                      <a:pt x="475" y="40"/>
                      <a:pt x="475" y="40"/>
                    </a:cubicBezTo>
                    <a:cubicBezTo>
                      <a:pt x="472" y="25"/>
                      <a:pt x="472" y="25"/>
                      <a:pt x="472" y="25"/>
                    </a:cubicBezTo>
                    <a:cubicBezTo>
                      <a:pt x="442" y="30"/>
                      <a:pt x="442" y="30"/>
                      <a:pt x="442" y="30"/>
                    </a:cubicBezTo>
                    <a:cubicBezTo>
                      <a:pt x="424" y="20"/>
                      <a:pt x="424" y="20"/>
                      <a:pt x="424" y="20"/>
                    </a:cubicBezTo>
                    <a:cubicBezTo>
                      <a:pt x="421" y="6"/>
                      <a:pt x="421" y="6"/>
                      <a:pt x="421" y="6"/>
                    </a:cubicBezTo>
                    <a:cubicBezTo>
                      <a:pt x="421" y="6"/>
                      <a:pt x="398" y="16"/>
                      <a:pt x="385" y="16"/>
                    </a:cubicBezTo>
                    <a:cubicBezTo>
                      <a:pt x="373" y="16"/>
                      <a:pt x="355" y="10"/>
                      <a:pt x="343" y="11"/>
                    </a:cubicBezTo>
                    <a:cubicBezTo>
                      <a:pt x="332" y="12"/>
                      <a:pt x="297" y="26"/>
                      <a:pt x="291" y="32"/>
                    </a:cubicBezTo>
                    <a:cubicBezTo>
                      <a:pt x="286" y="39"/>
                      <a:pt x="272" y="42"/>
                      <a:pt x="272" y="42"/>
                    </a:cubicBezTo>
                    <a:cubicBezTo>
                      <a:pt x="266" y="58"/>
                      <a:pt x="266" y="58"/>
                      <a:pt x="266" y="58"/>
                    </a:cubicBezTo>
                    <a:cubicBezTo>
                      <a:pt x="266" y="58"/>
                      <a:pt x="266" y="62"/>
                      <a:pt x="252" y="59"/>
                    </a:cubicBezTo>
                    <a:cubicBezTo>
                      <a:pt x="239" y="56"/>
                      <a:pt x="216" y="53"/>
                      <a:pt x="203" y="53"/>
                    </a:cubicBezTo>
                    <a:cubicBezTo>
                      <a:pt x="191" y="53"/>
                      <a:pt x="151" y="44"/>
                      <a:pt x="151" y="44"/>
                    </a:cubicBezTo>
                    <a:cubicBezTo>
                      <a:pt x="151" y="44"/>
                      <a:pt x="127" y="47"/>
                      <a:pt x="124" y="33"/>
                    </a:cubicBezTo>
                    <a:cubicBezTo>
                      <a:pt x="122" y="26"/>
                      <a:pt x="121" y="19"/>
                      <a:pt x="120" y="14"/>
                    </a:cubicBezTo>
                    <a:cubicBezTo>
                      <a:pt x="111" y="15"/>
                      <a:pt x="97" y="13"/>
                      <a:pt x="97" y="13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59" y="8"/>
                      <a:pt x="59" y="8"/>
                      <a:pt x="59" y="8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52" y="28"/>
                      <a:pt x="52" y="28"/>
                      <a:pt x="52" y="28"/>
                    </a:cubicBezTo>
                    <a:cubicBezTo>
                      <a:pt x="52" y="28"/>
                      <a:pt x="59" y="27"/>
                      <a:pt x="62" y="32"/>
                    </a:cubicBezTo>
                    <a:cubicBezTo>
                      <a:pt x="65" y="37"/>
                      <a:pt x="64" y="45"/>
                      <a:pt x="64" y="45"/>
                    </a:cubicBezTo>
                    <a:cubicBezTo>
                      <a:pt x="64" y="45"/>
                      <a:pt x="51" y="41"/>
                      <a:pt x="50" y="47"/>
                    </a:cubicBezTo>
                    <a:cubicBezTo>
                      <a:pt x="49" y="53"/>
                      <a:pt x="54" y="56"/>
                      <a:pt x="52" y="63"/>
                    </a:cubicBezTo>
                    <a:cubicBezTo>
                      <a:pt x="50" y="70"/>
                      <a:pt x="47" y="75"/>
                      <a:pt x="47" y="75"/>
                    </a:cubicBezTo>
                    <a:cubicBezTo>
                      <a:pt x="47" y="75"/>
                      <a:pt x="35" y="87"/>
                      <a:pt x="50" y="86"/>
                    </a:cubicBezTo>
                    <a:cubicBezTo>
                      <a:pt x="65" y="85"/>
                      <a:pt x="76" y="80"/>
                      <a:pt x="76" y="80"/>
                    </a:cubicBezTo>
                    <a:cubicBezTo>
                      <a:pt x="76" y="80"/>
                      <a:pt x="72" y="90"/>
                      <a:pt x="80" y="87"/>
                    </a:cubicBezTo>
                    <a:cubicBezTo>
                      <a:pt x="88" y="84"/>
                      <a:pt x="107" y="65"/>
                      <a:pt x="107" y="65"/>
                    </a:cubicBezTo>
                    <a:cubicBezTo>
                      <a:pt x="107" y="65"/>
                      <a:pt x="141" y="53"/>
                      <a:pt x="152" y="61"/>
                    </a:cubicBezTo>
                    <a:cubicBezTo>
                      <a:pt x="163" y="69"/>
                      <a:pt x="197" y="74"/>
                      <a:pt x="197" y="74"/>
                    </a:cubicBezTo>
                    <a:cubicBezTo>
                      <a:pt x="197" y="74"/>
                      <a:pt x="166" y="78"/>
                      <a:pt x="165" y="81"/>
                    </a:cubicBezTo>
                    <a:cubicBezTo>
                      <a:pt x="164" y="84"/>
                      <a:pt x="159" y="93"/>
                      <a:pt x="159" y="93"/>
                    </a:cubicBezTo>
                    <a:cubicBezTo>
                      <a:pt x="126" y="94"/>
                      <a:pt x="126" y="94"/>
                      <a:pt x="126" y="94"/>
                    </a:cubicBezTo>
                    <a:cubicBezTo>
                      <a:pt x="92" y="91"/>
                      <a:pt x="92" y="91"/>
                      <a:pt x="92" y="91"/>
                    </a:cubicBezTo>
                    <a:cubicBezTo>
                      <a:pt x="92" y="91"/>
                      <a:pt x="66" y="97"/>
                      <a:pt x="62" y="105"/>
                    </a:cubicBezTo>
                    <a:cubicBezTo>
                      <a:pt x="58" y="113"/>
                      <a:pt x="49" y="143"/>
                      <a:pt x="49" y="143"/>
                    </a:cubicBezTo>
                    <a:cubicBezTo>
                      <a:pt x="76" y="142"/>
                      <a:pt x="76" y="142"/>
                      <a:pt x="76" y="142"/>
                    </a:cubicBezTo>
                    <a:cubicBezTo>
                      <a:pt x="76" y="142"/>
                      <a:pt x="72" y="151"/>
                      <a:pt x="77" y="159"/>
                    </a:cubicBezTo>
                    <a:cubicBezTo>
                      <a:pt x="82" y="167"/>
                      <a:pt x="88" y="175"/>
                      <a:pt x="88" y="175"/>
                    </a:cubicBezTo>
                    <a:cubicBezTo>
                      <a:pt x="83" y="186"/>
                      <a:pt x="83" y="186"/>
                      <a:pt x="83" y="186"/>
                    </a:cubicBezTo>
                    <a:cubicBezTo>
                      <a:pt x="93" y="201"/>
                      <a:pt x="93" y="201"/>
                      <a:pt x="93" y="201"/>
                    </a:cubicBezTo>
                    <a:cubicBezTo>
                      <a:pt x="84" y="212"/>
                      <a:pt x="84" y="212"/>
                      <a:pt x="84" y="212"/>
                    </a:cubicBezTo>
                    <a:cubicBezTo>
                      <a:pt x="108" y="234"/>
                      <a:pt x="108" y="234"/>
                      <a:pt x="108" y="234"/>
                    </a:cubicBezTo>
                    <a:cubicBezTo>
                      <a:pt x="106" y="258"/>
                      <a:pt x="106" y="258"/>
                      <a:pt x="106" y="258"/>
                    </a:cubicBezTo>
                    <a:cubicBezTo>
                      <a:pt x="140" y="275"/>
                      <a:pt x="140" y="275"/>
                      <a:pt x="140" y="275"/>
                    </a:cubicBezTo>
                    <a:cubicBezTo>
                      <a:pt x="146" y="297"/>
                      <a:pt x="146" y="297"/>
                      <a:pt x="146" y="297"/>
                    </a:cubicBezTo>
                    <a:cubicBezTo>
                      <a:pt x="146" y="297"/>
                      <a:pt x="143" y="285"/>
                      <a:pt x="162" y="290"/>
                    </a:cubicBezTo>
                    <a:cubicBezTo>
                      <a:pt x="181" y="295"/>
                      <a:pt x="178" y="312"/>
                      <a:pt x="208" y="315"/>
                    </a:cubicBezTo>
                    <a:cubicBezTo>
                      <a:pt x="238" y="318"/>
                      <a:pt x="250" y="317"/>
                      <a:pt x="250" y="310"/>
                    </a:cubicBezTo>
                    <a:cubicBezTo>
                      <a:pt x="250" y="303"/>
                      <a:pt x="252" y="284"/>
                      <a:pt x="262" y="283"/>
                    </a:cubicBezTo>
                    <a:cubicBezTo>
                      <a:pt x="272" y="282"/>
                      <a:pt x="299" y="289"/>
                      <a:pt x="313" y="294"/>
                    </a:cubicBezTo>
                    <a:cubicBezTo>
                      <a:pt x="327" y="299"/>
                      <a:pt x="313" y="326"/>
                      <a:pt x="359" y="325"/>
                    </a:cubicBezTo>
                    <a:cubicBezTo>
                      <a:pt x="405" y="324"/>
                      <a:pt x="406" y="299"/>
                      <a:pt x="422" y="294"/>
                    </a:cubicBezTo>
                    <a:cubicBezTo>
                      <a:pt x="438" y="289"/>
                      <a:pt x="450" y="285"/>
                      <a:pt x="457" y="291"/>
                    </a:cubicBezTo>
                    <a:cubicBezTo>
                      <a:pt x="464" y="297"/>
                      <a:pt x="466" y="303"/>
                      <a:pt x="477" y="298"/>
                    </a:cubicBezTo>
                    <a:cubicBezTo>
                      <a:pt x="488" y="293"/>
                      <a:pt x="495" y="277"/>
                      <a:pt x="502" y="284"/>
                    </a:cubicBezTo>
                    <a:cubicBezTo>
                      <a:pt x="509" y="291"/>
                      <a:pt x="501" y="300"/>
                      <a:pt x="498" y="306"/>
                    </a:cubicBezTo>
                    <a:cubicBezTo>
                      <a:pt x="495" y="312"/>
                      <a:pt x="488" y="324"/>
                      <a:pt x="495" y="329"/>
                    </a:cubicBezTo>
                    <a:cubicBezTo>
                      <a:pt x="496" y="330"/>
                      <a:pt x="497" y="331"/>
                      <a:pt x="496" y="333"/>
                    </a:cubicBezTo>
                    <a:cubicBezTo>
                      <a:pt x="499" y="335"/>
                      <a:pt x="506" y="340"/>
                      <a:pt x="509" y="339"/>
                    </a:cubicBezTo>
                    <a:cubicBezTo>
                      <a:pt x="513" y="338"/>
                      <a:pt x="515" y="330"/>
                      <a:pt x="515" y="330"/>
                    </a:cubicBezTo>
                    <a:cubicBezTo>
                      <a:pt x="515" y="321"/>
                      <a:pt x="515" y="321"/>
                      <a:pt x="515" y="321"/>
                    </a:cubicBezTo>
                    <a:cubicBezTo>
                      <a:pt x="515" y="321"/>
                      <a:pt x="529" y="327"/>
                      <a:pt x="530" y="319"/>
                    </a:cubicBezTo>
                    <a:cubicBezTo>
                      <a:pt x="532" y="306"/>
                      <a:pt x="525" y="308"/>
                      <a:pt x="525" y="308"/>
                    </a:cubicBezTo>
                    <a:cubicBezTo>
                      <a:pt x="524" y="287"/>
                      <a:pt x="524" y="287"/>
                      <a:pt x="524" y="287"/>
                    </a:cubicBezTo>
                    <a:cubicBezTo>
                      <a:pt x="524" y="287"/>
                      <a:pt x="538" y="282"/>
                      <a:pt x="540" y="286"/>
                    </a:cubicBezTo>
                    <a:cubicBezTo>
                      <a:pt x="542" y="290"/>
                      <a:pt x="525" y="296"/>
                      <a:pt x="546" y="296"/>
                    </a:cubicBezTo>
                    <a:cubicBezTo>
                      <a:pt x="567" y="296"/>
                      <a:pt x="582" y="288"/>
                      <a:pt x="582" y="288"/>
                    </a:cubicBezTo>
                    <a:cubicBezTo>
                      <a:pt x="582" y="288"/>
                      <a:pt x="593" y="276"/>
                      <a:pt x="596" y="277"/>
                    </a:cubicBezTo>
                    <a:cubicBezTo>
                      <a:pt x="599" y="278"/>
                      <a:pt x="622" y="290"/>
                      <a:pt x="622" y="290"/>
                    </a:cubicBezTo>
                    <a:cubicBezTo>
                      <a:pt x="622" y="290"/>
                      <a:pt x="634" y="295"/>
                      <a:pt x="645" y="294"/>
                    </a:cubicBezTo>
                    <a:cubicBezTo>
                      <a:pt x="656" y="293"/>
                      <a:pt x="661" y="290"/>
                      <a:pt x="670" y="287"/>
                    </a:cubicBezTo>
                    <a:cubicBezTo>
                      <a:pt x="679" y="284"/>
                      <a:pt x="686" y="272"/>
                      <a:pt x="699" y="271"/>
                    </a:cubicBezTo>
                    <a:cubicBezTo>
                      <a:pt x="712" y="270"/>
                      <a:pt x="718" y="269"/>
                      <a:pt x="723" y="271"/>
                    </a:cubicBezTo>
                    <a:cubicBezTo>
                      <a:pt x="728" y="273"/>
                      <a:pt x="723" y="278"/>
                      <a:pt x="732" y="277"/>
                    </a:cubicBezTo>
                    <a:cubicBezTo>
                      <a:pt x="741" y="276"/>
                      <a:pt x="746" y="270"/>
                      <a:pt x="746" y="270"/>
                    </a:cubicBezTo>
                    <a:cubicBezTo>
                      <a:pt x="746" y="270"/>
                      <a:pt x="751" y="268"/>
                      <a:pt x="759" y="267"/>
                    </a:cubicBezTo>
                    <a:cubicBezTo>
                      <a:pt x="767" y="266"/>
                      <a:pt x="769" y="255"/>
                      <a:pt x="772" y="257"/>
                    </a:cubicBezTo>
                    <a:cubicBezTo>
                      <a:pt x="775" y="259"/>
                      <a:pt x="769" y="277"/>
                      <a:pt x="781" y="274"/>
                    </a:cubicBezTo>
                    <a:cubicBezTo>
                      <a:pt x="793" y="271"/>
                      <a:pt x="792" y="258"/>
                      <a:pt x="792" y="258"/>
                    </a:cubicBezTo>
                    <a:cubicBezTo>
                      <a:pt x="818" y="258"/>
                      <a:pt x="818" y="258"/>
                      <a:pt x="818" y="258"/>
                    </a:cubicBezTo>
                    <a:cubicBezTo>
                      <a:pt x="818" y="258"/>
                      <a:pt x="827" y="269"/>
                      <a:pt x="835" y="267"/>
                    </a:cubicBezTo>
                    <a:cubicBezTo>
                      <a:pt x="843" y="265"/>
                      <a:pt x="835" y="257"/>
                      <a:pt x="849" y="258"/>
                    </a:cubicBezTo>
                    <a:cubicBezTo>
                      <a:pt x="863" y="259"/>
                      <a:pt x="861" y="276"/>
                      <a:pt x="861" y="276"/>
                    </a:cubicBezTo>
                    <a:lnTo>
                      <a:pt x="888" y="265"/>
                    </a:lnTo>
                    <a:close/>
                    <a:moveTo>
                      <a:pt x="67" y="189"/>
                    </a:moveTo>
                    <a:cubicBezTo>
                      <a:pt x="63" y="185"/>
                      <a:pt x="61" y="207"/>
                      <a:pt x="67" y="217"/>
                    </a:cubicBezTo>
                    <a:cubicBezTo>
                      <a:pt x="72" y="226"/>
                      <a:pt x="79" y="208"/>
                      <a:pt x="81" y="204"/>
                    </a:cubicBezTo>
                    <a:cubicBezTo>
                      <a:pt x="83" y="200"/>
                      <a:pt x="71" y="193"/>
                      <a:pt x="67" y="189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Freeform 243">
                <a:extLst>
                  <a:ext uri="{FF2B5EF4-FFF2-40B4-BE49-F238E27FC236}">
                    <a16:creationId xmlns:a16="http://schemas.microsoft.com/office/drawing/2014/main" id="{968A202E-AF57-7D94-5CB5-BDF35ADAC90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4283" y="-15278"/>
                <a:ext cx="862" cy="867"/>
              </a:xfrm>
              <a:custGeom>
                <a:avLst/>
                <a:gdLst>
                  <a:gd name="T0" fmla="*/ 190 w 365"/>
                  <a:gd name="T1" fmla="*/ 78 h 367"/>
                  <a:gd name="T2" fmla="*/ 5 w 365"/>
                  <a:gd name="T3" fmla="*/ 188 h 367"/>
                  <a:gd name="T4" fmla="*/ 212 w 365"/>
                  <a:gd name="T5" fmla="*/ 277 h 367"/>
                  <a:gd name="T6" fmla="*/ 210 w 365"/>
                  <a:gd name="T7" fmla="*/ 258 h 367"/>
                  <a:gd name="T8" fmla="*/ 210 w 365"/>
                  <a:gd name="T9" fmla="*/ 258 h 367"/>
                  <a:gd name="T10" fmla="*/ 223 w 365"/>
                  <a:gd name="T11" fmla="*/ 213 h 367"/>
                  <a:gd name="T12" fmla="*/ 97 w 365"/>
                  <a:gd name="T13" fmla="*/ 176 h 367"/>
                  <a:gd name="T14" fmla="*/ 166 w 365"/>
                  <a:gd name="T15" fmla="*/ 188 h 367"/>
                  <a:gd name="T16" fmla="*/ 128 w 365"/>
                  <a:gd name="T17" fmla="*/ 152 h 367"/>
                  <a:gd name="T18" fmla="*/ 153 w 365"/>
                  <a:gd name="T19" fmla="*/ 156 h 367"/>
                  <a:gd name="T20" fmla="*/ 107 w 365"/>
                  <a:gd name="T21" fmla="*/ 94 h 367"/>
                  <a:gd name="T22" fmla="*/ 129 w 365"/>
                  <a:gd name="T23" fmla="*/ 78 h 367"/>
                  <a:gd name="T24" fmla="*/ 140 w 365"/>
                  <a:gd name="T25" fmla="*/ 79 h 367"/>
                  <a:gd name="T26" fmla="*/ 152 w 365"/>
                  <a:gd name="T27" fmla="*/ 77 h 367"/>
                  <a:gd name="T28" fmla="*/ 182 w 365"/>
                  <a:gd name="T29" fmla="*/ 49 h 367"/>
                  <a:gd name="T30" fmla="*/ 258 w 365"/>
                  <a:gd name="T31" fmla="*/ 52 h 367"/>
                  <a:gd name="T32" fmla="*/ 275 w 365"/>
                  <a:gd name="T33" fmla="*/ 22 h 367"/>
                  <a:gd name="T34" fmla="*/ 261 w 365"/>
                  <a:gd name="T35" fmla="*/ 0 h 367"/>
                  <a:gd name="T36" fmla="*/ 237 w 365"/>
                  <a:gd name="T37" fmla="*/ 25 h 367"/>
                  <a:gd name="T38" fmla="*/ 205 w 365"/>
                  <a:gd name="T39" fmla="*/ 17 h 367"/>
                  <a:gd name="T40" fmla="*/ 161 w 365"/>
                  <a:gd name="T41" fmla="*/ 9 h 367"/>
                  <a:gd name="T42" fmla="*/ 123 w 365"/>
                  <a:gd name="T43" fmla="*/ 25 h 367"/>
                  <a:gd name="T44" fmla="*/ 70 w 365"/>
                  <a:gd name="T45" fmla="*/ 36 h 367"/>
                  <a:gd name="T46" fmla="*/ 38 w 365"/>
                  <a:gd name="T47" fmla="*/ 50 h 367"/>
                  <a:gd name="T48" fmla="*/ 21 w 365"/>
                  <a:gd name="T49" fmla="*/ 84 h 367"/>
                  <a:gd name="T50" fmla="*/ 3 w 365"/>
                  <a:gd name="T51" fmla="*/ 109 h 367"/>
                  <a:gd name="T52" fmla="*/ 29 w 365"/>
                  <a:gd name="T53" fmla="*/ 156 h 367"/>
                  <a:gd name="T54" fmla="*/ 266 w 365"/>
                  <a:gd name="T55" fmla="*/ 168 h 367"/>
                  <a:gd name="T56" fmla="*/ 261 w 365"/>
                  <a:gd name="T57" fmla="*/ 196 h 367"/>
                  <a:gd name="T58" fmla="*/ 30 w 365"/>
                  <a:gd name="T59" fmla="*/ 220 h 367"/>
                  <a:gd name="T60" fmla="*/ 255 w 365"/>
                  <a:gd name="T61" fmla="*/ 270 h 367"/>
                  <a:gd name="T62" fmla="*/ 275 w 365"/>
                  <a:gd name="T63" fmla="*/ 220 h 367"/>
                  <a:gd name="T64" fmla="*/ 269 w 365"/>
                  <a:gd name="T65" fmla="*/ 127 h 367"/>
                  <a:gd name="T66" fmla="*/ 278 w 365"/>
                  <a:gd name="T67" fmla="*/ 148 h 367"/>
                  <a:gd name="T68" fmla="*/ 247 w 365"/>
                  <a:gd name="T69" fmla="*/ 254 h 367"/>
                  <a:gd name="T70" fmla="*/ 291 w 365"/>
                  <a:gd name="T71" fmla="*/ 220 h 367"/>
                  <a:gd name="T72" fmla="*/ 307 w 365"/>
                  <a:gd name="T73" fmla="*/ 236 h 367"/>
                  <a:gd name="T74" fmla="*/ 186 w 365"/>
                  <a:gd name="T75" fmla="*/ 146 h 367"/>
                  <a:gd name="T76" fmla="*/ 361 w 365"/>
                  <a:gd name="T77" fmla="*/ 281 h 367"/>
                  <a:gd name="T78" fmla="*/ 310 w 365"/>
                  <a:gd name="T79" fmla="*/ 258 h 367"/>
                  <a:gd name="T80" fmla="*/ 326 w 365"/>
                  <a:gd name="T81" fmla="*/ 249 h 367"/>
                  <a:gd name="T82" fmla="*/ 324 w 365"/>
                  <a:gd name="T83" fmla="*/ 339 h 367"/>
                  <a:gd name="T84" fmla="*/ 186 w 365"/>
                  <a:gd name="T85" fmla="*/ 221 h 367"/>
                  <a:gd name="T86" fmla="*/ 127 w 365"/>
                  <a:gd name="T87" fmla="*/ 288 h 367"/>
                  <a:gd name="T88" fmla="*/ 259 w 365"/>
                  <a:gd name="T89" fmla="*/ 352 h 367"/>
                  <a:gd name="T90" fmla="*/ 209 w 365"/>
                  <a:gd name="T91" fmla="*/ 336 h 367"/>
                  <a:gd name="T92" fmla="*/ 161 w 365"/>
                  <a:gd name="T93" fmla="*/ 342 h 367"/>
                  <a:gd name="T94" fmla="*/ 205 w 365"/>
                  <a:gd name="T95" fmla="*/ 352 h 367"/>
                  <a:gd name="T96" fmla="*/ 241 w 365"/>
                  <a:gd name="T97" fmla="*/ 362 h 367"/>
                  <a:gd name="T98" fmla="*/ 285 w 365"/>
                  <a:gd name="T99" fmla="*/ 272 h 367"/>
                  <a:gd name="T100" fmla="*/ 79 w 365"/>
                  <a:gd name="T101" fmla="*/ 186 h 367"/>
                  <a:gd name="T102" fmla="*/ 47 w 365"/>
                  <a:gd name="T103" fmla="*/ 207 h 367"/>
                  <a:gd name="T104" fmla="*/ 81 w 365"/>
                  <a:gd name="T105" fmla="*/ 260 h 367"/>
                  <a:gd name="T106" fmla="*/ 113 w 365"/>
                  <a:gd name="T107" fmla="*/ 262 h 367"/>
                  <a:gd name="T108" fmla="*/ 129 w 365"/>
                  <a:gd name="T109" fmla="*/ 270 h 367"/>
                  <a:gd name="T110" fmla="*/ 117 w 365"/>
                  <a:gd name="T111" fmla="*/ 221 h 367"/>
                  <a:gd name="T112" fmla="*/ 132 w 365"/>
                  <a:gd name="T113" fmla="*/ 212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65" h="367">
                    <a:moveTo>
                      <a:pt x="165" y="73"/>
                    </a:moveTo>
                    <a:cubicBezTo>
                      <a:pt x="183" y="85"/>
                      <a:pt x="183" y="85"/>
                      <a:pt x="183" y="85"/>
                    </a:cubicBezTo>
                    <a:cubicBezTo>
                      <a:pt x="190" y="78"/>
                      <a:pt x="190" y="78"/>
                      <a:pt x="190" y="78"/>
                    </a:cubicBezTo>
                    <a:lnTo>
                      <a:pt x="165" y="73"/>
                    </a:lnTo>
                    <a:close/>
                    <a:moveTo>
                      <a:pt x="19" y="173"/>
                    </a:moveTo>
                    <a:cubicBezTo>
                      <a:pt x="5" y="188"/>
                      <a:pt x="5" y="188"/>
                      <a:pt x="5" y="188"/>
                    </a:cubicBezTo>
                    <a:cubicBezTo>
                      <a:pt x="30" y="195"/>
                      <a:pt x="30" y="195"/>
                      <a:pt x="30" y="195"/>
                    </a:cubicBezTo>
                    <a:lnTo>
                      <a:pt x="19" y="173"/>
                    </a:lnTo>
                    <a:close/>
                    <a:moveTo>
                      <a:pt x="212" y="277"/>
                    </a:moveTo>
                    <a:cubicBezTo>
                      <a:pt x="211" y="280"/>
                      <a:pt x="220" y="282"/>
                      <a:pt x="219" y="275"/>
                    </a:cubicBezTo>
                    <a:cubicBezTo>
                      <a:pt x="218" y="268"/>
                      <a:pt x="213" y="271"/>
                      <a:pt x="212" y="277"/>
                    </a:cubicBezTo>
                    <a:close/>
                    <a:moveTo>
                      <a:pt x="210" y="258"/>
                    </a:moveTo>
                    <a:cubicBezTo>
                      <a:pt x="204" y="253"/>
                      <a:pt x="204" y="253"/>
                      <a:pt x="204" y="253"/>
                    </a:cubicBezTo>
                    <a:cubicBezTo>
                      <a:pt x="198" y="259"/>
                      <a:pt x="198" y="259"/>
                      <a:pt x="198" y="259"/>
                    </a:cubicBezTo>
                    <a:lnTo>
                      <a:pt x="210" y="258"/>
                    </a:lnTo>
                    <a:close/>
                    <a:moveTo>
                      <a:pt x="201" y="196"/>
                    </a:moveTo>
                    <a:cubicBezTo>
                      <a:pt x="217" y="224"/>
                      <a:pt x="217" y="224"/>
                      <a:pt x="217" y="224"/>
                    </a:cubicBezTo>
                    <a:cubicBezTo>
                      <a:pt x="223" y="213"/>
                      <a:pt x="223" y="213"/>
                      <a:pt x="223" y="213"/>
                    </a:cubicBezTo>
                    <a:lnTo>
                      <a:pt x="201" y="196"/>
                    </a:lnTo>
                    <a:close/>
                    <a:moveTo>
                      <a:pt x="76" y="178"/>
                    </a:moveTo>
                    <a:cubicBezTo>
                      <a:pt x="76" y="178"/>
                      <a:pt x="90" y="173"/>
                      <a:pt x="97" y="176"/>
                    </a:cubicBezTo>
                    <a:cubicBezTo>
                      <a:pt x="104" y="179"/>
                      <a:pt x="141" y="193"/>
                      <a:pt x="141" y="193"/>
                    </a:cubicBezTo>
                    <a:cubicBezTo>
                      <a:pt x="141" y="193"/>
                      <a:pt x="163" y="216"/>
                      <a:pt x="168" y="210"/>
                    </a:cubicBezTo>
                    <a:cubicBezTo>
                      <a:pt x="173" y="204"/>
                      <a:pt x="174" y="195"/>
                      <a:pt x="166" y="188"/>
                    </a:cubicBezTo>
                    <a:cubicBezTo>
                      <a:pt x="158" y="181"/>
                      <a:pt x="142" y="168"/>
                      <a:pt x="139" y="167"/>
                    </a:cubicBezTo>
                    <a:cubicBezTo>
                      <a:pt x="136" y="166"/>
                      <a:pt x="117" y="157"/>
                      <a:pt x="117" y="157"/>
                    </a:cubicBezTo>
                    <a:cubicBezTo>
                      <a:pt x="117" y="157"/>
                      <a:pt x="124" y="151"/>
                      <a:pt x="128" y="152"/>
                    </a:cubicBezTo>
                    <a:cubicBezTo>
                      <a:pt x="132" y="153"/>
                      <a:pt x="155" y="176"/>
                      <a:pt x="169" y="178"/>
                    </a:cubicBezTo>
                    <a:cubicBezTo>
                      <a:pt x="183" y="180"/>
                      <a:pt x="189" y="164"/>
                      <a:pt x="176" y="162"/>
                    </a:cubicBezTo>
                    <a:cubicBezTo>
                      <a:pt x="163" y="160"/>
                      <a:pt x="153" y="156"/>
                      <a:pt x="153" y="156"/>
                    </a:cubicBezTo>
                    <a:cubicBezTo>
                      <a:pt x="153" y="156"/>
                      <a:pt x="139" y="148"/>
                      <a:pt x="137" y="141"/>
                    </a:cubicBezTo>
                    <a:cubicBezTo>
                      <a:pt x="135" y="134"/>
                      <a:pt x="123" y="117"/>
                      <a:pt x="123" y="117"/>
                    </a:cubicBezTo>
                    <a:cubicBezTo>
                      <a:pt x="123" y="117"/>
                      <a:pt x="112" y="100"/>
                      <a:pt x="107" y="94"/>
                    </a:cubicBezTo>
                    <a:cubicBezTo>
                      <a:pt x="102" y="88"/>
                      <a:pt x="97" y="67"/>
                      <a:pt x="104" y="64"/>
                    </a:cubicBezTo>
                    <a:cubicBezTo>
                      <a:pt x="111" y="61"/>
                      <a:pt x="113" y="78"/>
                      <a:pt x="121" y="78"/>
                    </a:cubicBezTo>
                    <a:cubicBezTo>
                      <a:pt x="123" y="78"/>
                      <a:pt x="126" y="78"/>
                      <a:pt x="129" y="78"/>
                    </a:cubicBezTo>
                    <a:cubicBezTo>
                      <a:pt x="133" y="86"/>
                      <a:pt x="137" y="95"/>
                      <a:pt x="139" y="96"/>
                    </a:cubicBezTo>
                    <a:cubicBezTo>
                      <a:pt x="142" y="98"/>
                      <a:pt x="148" y="94"/>
                      <a:pt x="148" y="94"/>
                    </a:cubicBezTo>
                    <a:cubicBezTo>
                      <a:pt x="140" y="79"/>
                      <a:pt x="140" y="79"/>
                      <a:pt x="140" y="79"/>
                    </a:cubicBezTo>
                    <a:cubicBezTo>
                      <a:pt x="141" y="79"/>
                      <a:pt x="142" y="79"/>
                      <a:pt x="143" y="79"/>
                    </a:cubicBezTo>
                    <a:cubicBezTo>
                      <a:pt x="161" y="90"/>
                      <a:pt x="161" y="90"/>
                      <a:pt x="161" y="90"/>
                    </a:cubicBezTo>
                    <a:cubicBezTo>
                      <a:pt x="152" y="77"/>
                      <a:pt x="152" y="77"/>
                      <a:pt x="152" y="77"/>
                    </a:cubicBezTo>
                    <a:cubicBezTo>
                      <a:pt x="152" y="77"/>
                      <a:pt x="153" y="77"/>
                      <a:pt x="153" y="77"/>
                    </a:cubicBezTo>
                    <a:cubicBezTo>
                      <a:pt x="156" y="74"/>
                      <a:pt x="157" y="66"/>
                      <a:pt x="156" y="58"/>
                    </a:cubicBezTo>
                    <a:cubicBezTo>
                      <a:pt x="155" y="50"/>
                      <a:pt x="173" y="46"/>
                      <a:pt x="182" y="49"/>
                    </a:cubicBezTo>
                    <a:cubicBezTo>
                      <a:pt x="191" y="52"/>
                      <a:pt x="184" y="65"/>
                      <a:pt x="193" y="62"/>
                    </a:cubicBezTo>
                    <a:cubicBezTo>
                      <a:pt x="202" y="59"/>
                      <a:pt x="205" y="44"/>
                      <a:pt x="210" y="43"/>
                    </a:cubicBezTo>
                    <a:cubicBezTo>
                      <a:pt x="215" y="42"/>
                      <a:pt x="258" y="52"/>
                      <a:pt x="258" y="52"/>
                    </a:cubicBezTo>
                    <a:cubicBezTo>
                      <a:pt x="258" y="52"/>
                      <a:pt x="261" y="47"/>
                      <a:pt x="263" y="40"/>
                    </a:cubicBezTo>
                    <a:cubicBezTo>
                      <a:pt x="265" y="33"/>
                      <a:pt x="260" y="30"/>
                      <a:pt x="261" y="24"/>
                    </a:cubicBezTo>
                    <a:cubicBezTo>
                      <a:pt x="262" y="18"/>
                      <a:pt x="275" y="22"/>
                      <a:pt x="275" y="22"/>
                    </a:cubicBezTo>
                    <a:cubicBezTo>
                      <a:pt x="275" y="22"/>
                      <a:pt x="276" y="14"/>
                      <a:pt x="273" y="9"/>
                    </a:cubicBezTo>
                    <a:cubicBezTo>
                      <a:pt x="270" y="4"/>
                      <a:pt x="263" y="5"/>
                      <a:pt x="263" y="5"/>
                    </a:cubicBezTo>
                    <a:cubicBezTo>
                      <a:pt x="261" y="0"/>
                      <a:pt x="261" y="0"/>
                      <a:pt x="261" y="0"/>
                    </a:cubicBezTo>
                    <a:cubicBezTo>
                      <a:pt x="249" y="6"/>
                      <a:pt x="249" y="6"/>
                      <a:pt x="249" y="6"/>
                    </a:cubicBezTo>
                    <a:cubicBezTo>
                      <a:pt x="249" y="6"/>
                      <a:pt x="255" y="14"/>
                      <a:pt x="253" y="19"/>
                    </a:cubicBezTo>
                    <a:cubicBezTo>
                      <a:pt x="251" y="24"/>
                      <a:pt x="237" y="25"/>
                      <a:pt x="237" y="25"/>
                    </a:cubicBezTo>
                    <a:cubicBezTo>
                      <a:pt x="227" y="17"/>
                      <a:pt x="227" y="17"/>
                      <a:pt x="227" y="17"/>
                    </a:cubicBezTo>
                    <a:cubicBezTo>
                      <a:pt x="227" y="17"/>
                      <a:pt x="222" y="24"/>
                      <a:pt x="214" y="25"/>
                    </a:cubicBezTo>
                    <a:cubicBezTo>
                      <a:pt x="206" y="26"/>
                      <a:pt x="205" y="17"/>
                      <a:pt x="205" y="17"/>
                    </a:cubicBezTo>
                    <a:cubicBezTo>
                      <a:pt x="205" y="17"/>
                      <a:pt x="199" y="20"/>
                      <a:pt x="191" y="20"/>
                    </a:cubicBezTo>
                    <a:cubicBezTo>
                      <a:pt x="183" y="20"/>
                      <a:pt x="179" y="6"/>
                      <a:pt x="179" y="6"/>
                    </a:cubicBezTo>
                    <a:cubicBezTo>
                      <a:pt x="161" y="9"/>
                      <a:pt x="161" y="9"/>
                      <a:pt x="161" y="9"/>
                    </a:cubicBezTo>
                    <a:cubicBezTo>
                      <a:pt x="155" y="21"/>
                      <a:pt x="155" y="21"/>
                      <a:pt x="155" y="21"/>
                    </a:cubicBezTo>
                    <a:cubicBezTo>
                      <a:pt x="141" y="15"/>
                      <a:pt x="141" y="15"/>
                      <a:pt x="141" y="15"/>
                    </a:cubicBezTo>
                    <a:cubicBezTo>
                      <a:pt x="141" y="15"/>
                      <a:pt x="131" y="25"/>
                      <a:pt x="123" y="25"/>
                    </a:cubicBezTo>
                    <a:cubicBezTo>
                      <a:pt x="118" y="25"/>
                      <a:pt x="114" y="21"/>
                      <a:pt x="111" y="18"/>
                    </a:cubicBezTo>
                    <a:cubicBezTo>
                      <a:pt x="107" y="23"/>
                      <a:pt x="102" y="26"/>
                      <a:pt x="97" y="32"/>
                    </a:cubicBezTo>
                    <a:cubicBezTo>
                      <a:pt x="89" y="40"/>
                      <a:pt x="70" y="36"/>
                      <a:pt x="70" y="36"/>
                    </a:cubicBezTo>
                    <a:cubicBezTo>
                      <a:pt x="70" y="36"/>
                      <a:pt x="71" y="41"/>
                      <a:pt x="67" y="47"/>
                    </a:cubicBezTo>
                    <a:cubicBezTo>
                      <a:pt x="63" y="53"/>
                      <a:pt x="43" y="45"/>
                      <a:pt x="43" y="45"/>
                    </a:cubicBezTo>
                    <a:cubicBezTo>
                      <a:pt x="38" y="50"/>
                      <a:pt x="38" y="50"/>
                      <a:pt x="38" y="50"/>
                    </a:cubicBezTo>
                    <a:cubicBezTo>
                      <a:pt x="38" y="55"/>
                      <a:pt x="39" y="62"/>
                      <a:pt x="36" y="64"/>
                    </a:cubicBezTo>
                    <a:cubicBezTo>
                      <a:pt x="31" y="68"/>
                      <a:pt x="21" y="70"/>
                      <a:pt x="21" y="70"/>
                    </a:cubicBezTo>
                    <a:cubicBezTo>
                      <a:pt x="21" y="84"/>
                      <a:pt x="21" y="84"/>
                      <a:pt x="21" y="84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3" y="89"/>
                      <a:pt x="4" y="86"/>
                      <a:pt x="3" y="93"/>
                    </a:cubicBezTo>
                    <a:cubicBezTo>
                      <a:pt x="2" y="100"/>
                      <a:pt x="3" y="109"/>
                      <a:pt x="3" y="109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5" y="116"/>
                      <a:pt x="0" y="133"/>
                      <a:pt x="9" y="136"/>
                    </a:cubicBezTo>
                    <a:cubicBezTo>
                      <a:pt x="18" y="139"/>
                      <a:pt x="29" y="156"/>
                      <a:pt x="29" y="156"/>
                    </a:cubicBezTo>
                    <a:cubicBezTo>
                      <a:pt x="29" y="156"/>
                      <a:pt x="39" y="179"/>
                      <a:pt x="47" y="179"/>
                    </a:cubicBezTo>
                    <a:cubicBezTo>
                      <a:pt x="55" y="179"/>
                      <a:pt x="76" y="178"/>
                      <a:pt x="76" y="178"/>
                    </a:cubicBezTo>
                    <a:close/>
                    <a:moveTo>
                      <a:pt x="266" y="168"/>
                    </a:moveTo>
                    <a:cubicBezTo>
                      <a:pt x="253" y="168"/>
                      <a:pt x="253" y="168"/>
                      <a:pt x="253" y="168"/>
                    </a:cubicBezTo>
                    <a:cubicBezTo>
                      <a:pt x="252" y="180"/>
                      <a:pt x="252" y="180"/>
                      <a:pt x="252" y="180"/>
                    </a:cubicBezTo>
                    <a:cubicBezTo>
                      <a:pt x="261" y="196"/>
                      <a:pt x="261" y="196"/>
                      <a:pt x="261" y="196"/>
                    </a:cubicBezTo>
                    <a:lnTo>
                      <a:pt x="266" y="168"/>
                    </a:lnTo>
                    <a:close/>
                    <a:moveTo>
                      <a:pt x="19" y="207"/>
                    </a:moveTo>
                    <a:cubicBezTo>
                      <a:pt x="10" y="214"/>
                      <a:pt x="30" y="220"/>
                      <a:pt x="30" y="220"/>
                    </a:cubicBezTo>
                    <a:cubicBezTo>
                      <a:pt x="36" y="216"/>
                      <a:pt x="28" y="200"/>
                      <a:pt x="19" y="207"/>
                    </a:cubicBezTo>
                    <a:close/>
                    <a:moveTo>
                      <a:pt x="255" y="261"/>
                    </a:moveTo>
                    <a:cubicBezTo>
                      <a:pt x="255" y="270"/>
                      <a:pt x="255" y="270"/>
                      <a:pt x="255" y="270"/>
                    </a:cubicBezTo>
                    <a:cubicBezTo>
                      <a:pt x="264" y="260"/>
                      <a:pt x="264" y="260"/>
                      <a:pt x="264" y="260"/>
                    </a:cubicBezTo>
                    <a:lnTo>
                      <a:pt x="255" y="261"/>
                    </a:lnTo>
                    <a:close/>
                    <a:moveTo>
                      <a:pt x="275" y="220"/>
                    </a:moveTo>
                    <a:cubicBezTo>
                      <a:pt x="271" y="216"/>
                      <a:pt x="259" y="219"/>
                      <a:pt x="259" y="227"/>
                    </a:cubicBezTo>
                    <a:cubicBezTo>
                      <a:pt x="259" y="232"/>
                      <a:pt x="279" y="224"/>
                      <a:pt x="275" y="220"/>
                    </a:cubicBezTo>
                    <a:close/>
                    <a:moveTo>
                      <a:pt x="269" y="127"/>
                    </a:moveTo>
                    <a:cubicBezTo>
                      <a:pt x="250" y="132"/>
                      <a:pt x="250" y="132"/>
                      <a:pt x="250" y="132"/>
                    </a:cubicBezTo>
                    <a:cubicBezTo>
                      <a:pt x="251" y="148"/>
                      <a:pt x="264" y="141"/>
                      <a:pt x="264" y="141"/>
                    </a:cubicBezTo>
                    <a:cubicBezTo>
                      <a:pt x="264" y="141"/>
                      <a:pt x="269" y="152"/>
                      <a:pt x="278" y="148"/>
                    </a:cubicBezTo>
                    <a:cubicBezTo>
                      <a:pt x="287" y="144"/>
                      <a:pt x="269" y="127"/>
                      <a:pt x="269" y="127"/>
                    </a:cubicBezTo>
                    <a:close/>
                    <a:moveTo>
                      <a:pt x="230" y="247"/>
                    </a:moveTo>
                    <a:cubicBezTo>
                      <a:pt x="232" y="259"/>
                      <a:pt x="242" y="262"/>
                      <a:pt x="247" y="254"/>
                    </a:cubicBezTo>
                    <a:cubicBezTo>
                      <a:pt x="253" y="244"/>
                      <a:pt x="228" y="235"/>
                      <a:pt x="230" y="247"/>
                    </a:cubicBezTo>
                    <a:close/>
                    <a:moveTo>
                      <a:pt x="299" y="210"/>
                    </a:moveTo>
                    <a:cubicBezTo>
                      <a:pt x="289" y="202"/>
                      <a:pt x="291" y="220"/>
                      <a:pt x="291" y="220"/>
                    </a:cubicBezTo>
                    <a:cubicBezTo>
                      <a:pt x="305" y="227"/>
                      <a:pt x="309" y="218"/>
                      <a:pt x="299" y="210"/>
                    </a:cubicBezTo>
                    <a:close/>
                    <a:moveTo>
                      <a:pt x="298" y="249"/>
                    </a:moveTo>
                    <a:cubicBezTo>
                      <a:pt x="307" y="236"/>
                      <a:pt x="307" y="236"/>
                      <a:pt x="307" y="236"/>
                    </a:cubicBezTo>
                    <a:cubicBezTo>
                      <a:pt x="295" y="236"/>
                      <a:pt x="295" y="236"/>
                      <a:pt x="295" y="236"/>
                    </a:cubicBezTo>
                    <a:lnTo>
                      <a:pt x="298" y="249"/>
                    </a:lnTo>
                    <a:close/>
                    <a:moveTo>
                      <a:pt x="186" y="146"/>
                    </a:moveTo>
                    <a:cubicBezTo>
                      <a:pt x="186" y="146"/>
                      <a:pt x="180" y="158"/>
                      <a:pt x="196" y="158"/>
                    </a:cubicBezTo>
                    <a:lnTo>
                      <a:pt x="186" y="146"/>
                    </a:lnTo>
                    <a:close/>
                    <a:moveTo>
                      <a:pt x="361" y="281"/>
                    </a:moveTo>
                    <a:cubicBezTo>
                      <a:pt x="357" y="274"/>
                      <a:pt x="336" y="302"/>
                      <a:pt x="342" y="312"/>
                    </a:cubicBezTo>
                    <a:cubicBezTo>
                      <a:pt x="347" y="321"/>
                      <a:pt x="365" y="288"/>
                      <a:pt x="361" y="281"/>
                    </a:cubicBezTo>
                    <a:close/>
                    <a:moveTo>
                      <a:pt x="310" y="258"/>
                    </a:moveTo>
                    <a:cubicBezTo>
                      <a:pt x="309" y="273"/>
                      <a:pt x="309" y="273"/>
                      <a:pt x="309" y="273"/>
                    </a:cubicBezTo>
                    <a:cubicBezTo>
                      <a:pt x="334" y="254"/>
                      <a:pt x="334" y="254"/>
                      <a:pt x="334" y="254"/>
                    </a:cubicBezTo>
                    <a:cubicBezTo>
                      <a:pt x="326" y="249"/>
                      <a:pt x="326" y="249"/>
                      <a:pt x="326" y="249"/>
                    </a:cubicBezTo>
                    <a:lnTo>
                      <a:pt x="310" y="258"/>
                    </a:lnTo>
                    <a:close/>
                    <a:moveTo>
                      <a:pt x="311" y="342"/>
                    </a:moveTo>
                    <a:cubicBezTo>
                      <a:pt x="324" y="339"/>
                      <a:pt x="324" y="339"/>
                      <a:pt x="324" y="339"/>
                    </a:cubicBezTo>
                    <a:cubicBezTo>
                      <a:pt x="317" y="312"/>
                      <a:pt x="317" y="312"/>
                      <a:pt x="317" y="312"/>
                    </a:cubicBezTo>
                    <a:lnTo>
                      <a:pt x="311" y="342"/>
                    </a:lnTo>
                    <a:close/>
                    <a:moveTo>
                      <a:pt x="186" y="221"/>
                    </a:moveTo>
                    <a:cubicBezTo>
                      <a:pt x="181" y="226"/>
                      <a:pt x="184" y="232"/>
                      <a:pt x="189" y="231"/>
                    </a:cubicBezTo>
                    <a:cubicBezTo>
                      <a:pt x="198" y="229"/>
                      <a:pt x="191" y="216"/>
                      <a:pt x="186" y="221"/>
                    </a:cubicBezTo>
                    <a:close/>
                    <a:moveTo>
                      <a:pt x="127" y="288"/>
                    </a:moveTo>
                    <a:cubicBezTo>
                      <a:pt x="121" y="290"/>
                      <a:pt x="126" y="307"/>
                      <a:pt x="133" y="301"/>
                    </a:cubicBezTo>
                    <a:cubicBezTo>
                      <a:pt x="140" y="295"/>
                      <a:pt x="134" y="286"/>
                      <a:pt x="127" y="288"/>
                    </a:cubicBezTo>
                    <a:close/>
                    <a:moveTo>
                      <a:pt x="259" y="352"/>
                    </a:moveTo>
                    <a:cubicBezTo>
                      <a:pt x="255" y="354"/>
                      <a:pt x="252" y="342"/>
                      <a:pt x="252" y="342"/>
                    </a:cubicBezTo>
                    <a:cubicBezTo>
                      <a:pt x="230" y="341"/>
                      <a:pt x="230" y="341"/>
                      <a:pt x="230" y="341"/>
                    </a:cubicBezTo>
                    <a:cubicBezTo>
                      <a:pt x="209" y="336"/>
                      <a:pt x="209" y="336"/>
                      <a:pt x="209" y="336"/>
                    </a:cubicBezTo>
                    <a:cubicBezTo>
                      <a:pt x="188" y="336"/>
                      <a:pt x="188" y="336"/>
                      <a:pt x="188" y="336"/>
                    </a:cubicBezTo>
                    <a:cubicBezTo>
                      <a:pt x="168" y="325"/>
                      <a:pt x="168" y="325"/>
                      <a:pt x="168" y="325"/>
                    </a:cubicBezTo>
                    <a:cubicBezTo>
                      <a:pt x="168" y="325"/>
                      <a:pt x="152" y="332"/>
                      <a:pt x="161" y="342"/>
                    </a:cubicBezTo>
                    <a:cubicBezTo>
                      <a:pt x="170" y="352"/>
                      <a:pt x="175" y="345"/>
                      <a:pt x="175" y="345"/>
                    </a:cubicBezTo>
                    <a:cubicBezTo>
                      <a:pt x="181" y="351"/>
                      <a:pt x="181" y="351"/>
                      <a:pt x="181" y="351"/>
                    </a:cubicBezTo>
                    <a:cubicBezTo>
                      <a:pt x="205" y="352"/>
                      <a:pt x="205" y="352"/>
                      <a:pt x="205" y="352"/>
                    </a:cubicBezTo>
                    <a:cubicBezTo>
                      <a:pt x="213" y="367"/>
                      <a:pt x="213" y="367"/>
                      <a:pt x="213" y="367"/>
                    </a:cubicBezTo>
                    <a:cubicBezTo>
                      <a:pt x="238" y="366"/>
                      <a:pt x="238" y="366"/>
                      <a:pt x="238" y="366"/>
                    </a:cubicBezTo>
                    <a:cubicBezTo>
                      <a:pt x="241" y="362"/>
                      <a:pt x="241" y="362"/>
                      <a:pt x="241" y="362"/>
                    </a:cubicBezTo>
                    <a:cubicBezTo>
                      <a:pt x="241" y="362"/>
                      <a:pt x="279" y="367"/>
                      <a:pt x="281" y="353"/>
                    </a:cubicBezTo>
                    <a:cubicBezTo>
                      <a:pt x="283" y="339"/>
                      <a:pt x="263" y="350"/>
                      <a:pt x="259" y="352"/>
                    </a:cubicBezTo>
                    <a:close/>
                    <a:moveTo>
                      <a:pt x="285" y="272"/>
                    </a:moveTo>
                    <a:cubicBezTo>
                      <a:pt x="276" y="268"/>
                      <a:pt x="272" y="276"/>
                      <a:pt x="277" y="279"/>
                    </a:cubicBezTo>
                    <a:cubicBezTo>
                      <a:pt x="284" y="284"/>
                      <a:pt x="294" y="276"/>
                      <a:pt x="285" y="272"/>
                    </a:cubicBezTo>
                    <a:close/>
                    <a:moveTo>
                      <a:pt x="79" y="186"/>
                    </a:moveTo>
                    <a:cubicBezTo>
                      <a:pt x="65" y="192"/>
                      <a:pt x="65" y="192"/>
                      <a:pt x="65" y="192"/>
                    </a:cubicBezTo>
                    <a:cubicBezTo>
                      <a:pt x="58" y="192"/>
                      <a:pt x="58" y="192"/>
                      <a:pt x="58" y="192"/>
                    </a:cubicBezTo>
                    <a:cubicBezTo>
                      <a:pt x="47" y="207"/>
                      <a:pt x="47" y="207"/>
                      <a:pt x="47" y="207"/>
                    </a:cubicBezTo>
                    <a:cubicBezTo>
                      <a:pt x="66" y="224"/>
                      <a:pt x="66" y="224"/>
                      <a:pt x="66" y="224"/>
                    </a:cubicBezTo>
                    <a:cubicBezTo>
                      <a:pt x="66" y="224"/>
                      <a:pt x="63" y="241"/>
                      <a:pt x="63" y="251"/>
                    </a:cubicBezTo>
                    <a:cubicBezTo>
                      <a:pt x="63" y="261"/>
                      <a:pt x="78" y="267"/>
                      <a:pt x="81" y="260"/>
                    </a:cubicBezTo>
                    <a:cubicBezTo>
                      <a:pt x="84" y="253"/>
                      <a:pt x="93" y="254"/>
                      <a:pt x="93" y="254"/>
                    </a:cubicBezTo>
                    <a:cubicBezTo>
                      <a:pt x="107" y="280"/>
                      <a:pt x="107" y="280"/>
                      <a:pt x="107" y="280"/>
                    </a:cubicBezTo>
                    <a:cubicBezTo>
                      <a:pt x="113" y="262"/>
                      <a:pt x="113" y="262"/>
                      <a:pt x="113" y="262"/>
                    </a:cubicBezTo>
                    <a:cubicBezTo>
                      <a:pt x="122" y="275"/>
                      <a:pt x="122" y="275"/>
                      <a:pt x="122" y="275"/>
                    </a:cubicBezTo>
                    <a:cubicBezTo>
                      <a:pt x="138" y="281"/>
                      <a:pt x="138" y="281"/>
                      <a:pt x="138" y="281"/>
                    </a:cubicBezTo>
                    <a:cubicBezTo>
                      <a:pt x="129" y="270"/>
                      <a:pt x="129" y="270"/>
                      <a:pt x="129" y="270"/>
                    </a:cubicBezTo>
                    <a:cubicBezTo>
                      <a:pt x="133" y="265"/>
                      <a:pt x="133" y="265"/>
                      <a:pt x="133" y="265"/>
                    </a:cubicBezTo>
                    <a:cubicBezTo>
                      <a:pt x="131" y="250"/>
                      <a:pt x="131" y="250"/>
                      <a:pt x="131" y="250"/>
                    </a:cubicBezTo>
                    <a:cubicBezTo>
                      <a:pt x="131" y="250"/>
                      <a:pt x="114" y="229"/>
                      <a:pt x="117" y="221"/>
                    </a:cubicBezTo>
                    <a:cubicBezTo>
                      <a:pt x="120" y="213"/>
                      <a:pt x="143" y="232"/>
                      <a:pt x="143" y="232"/>
                    </a:cubicBezTo>
                    <a:cubicBezTo>
                      <a:pt x="152" y="228"/>
                      <a:pt x="152" y="228"/>
                      <a:pt x="152" y="228"/>
                    </a:cubicBezTo>
                    <a:cubicBezTo>
                      <a:pt x="152" y="228"/>
                      <a:pt x="141" y="221"/>
                      <a:pt x="132" y="212"/>
                    </a:cubicBezTo>
                    <a:cubicBezTo>
                      <a:pt x="123" y="203"/>
                      <a:pt x="79" y="186"/>
                      <a:pt x="79" y="186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Freeform 244">
                <a:extLst>
                  <a:ext uri="{FF2B5EF4-FFF2-40B4-BE49-F238E27FC236}">
                    <a16:creationId xmlns:a16="http://schemas.microsoft.com/office/drawing/2014/main" id="{654BDBB3-5FD8-8E39-89F5-A8E1430BD3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423" y="-15394"/>
                <a:ext cx="237" cy="390"/>
              </a:xfrm>
              <a:custGeom>
                <a:avLst/>
                <a:gdLst>
                  <a:gd name="T0" fmla="*/ 62 w 100"/>
                  <a:gd name="T1" fmla="*/ 142 h 165"/>
                  <a:gd name="T2" fmla="*/ 72 w 100"/>
                  <a:gd name="T3" fmla="*/ 138 h 165"/>
                  <a:gd name="T4" fmla="*/ 80 w 100"/>
                  <a:gd name="T5" fmla="*/ 133 h 165"/>
                  <a:gd name="T6" fmla="*/ 80 w 100"/>
                  <a:gd name="T7" fmla="*/ 119 h 165"/>
                  <a:gd name="T8" fmla="*/ 95 w 100"/>
                  <a:gd name="T9" fmla="*/ 113 h 165"/>
                  <a:gd name="T10" fmla="*/ 95 w 100"/>
                  <a:gd name="T11" fmla="*/ 92 h 165"/>
                  <a:gd name="T12" fmla="*/ 77 w 100"/>
                  <a:gd name="T13" fmla="*/ 99 h 165"/>
                  <a:gd name="T14" fmla="*/ 77 w 100"/>
                  <a:gd name="T15" fmla="*/ 85 h 165"/>
                  <a:gd name="T16" fmla="*/ 69 w 100"/>
                  <a:gd name="T17" fmla="*/ 79 h 165"/>
                  <a:gd name="T18" fmla="*/ 71 w 100"/>
                  <a:gd name="T19" fmla="*/ 67 h 165"/>
                  <a:gd name="T20" fmla="*/ 66 w 100"/>
                  <a:gd name="T21" fmla="*/ 56 h 165"/>
                  <a:gd name="T22" fmla="*/ 68 w 100"/>
                  <a:gd name="T23" fmla="*/ 41 h 165"/>
                  <a:gd name="T24" fmla="*/ 68 w 100"/>
                  <a:gd name="T25" fmla="*/ 29 h 165"/>
                  <a:gd name="T26" fmla="*/ 64 w 100"/>
                  <a:gd name="T27" fmla="*/ 19 h 165"/>
                  <a:gd name="T28" fmla="*/ 55 w 100"/>
                  <a:gd name="T29" fmla="*/ 19 h 165"/>
                  <a:gd name="T30" fmla="*/ 47 w 100"/>
                  <a:gd name="T31" fmla="*/ 4 h 165"/>
                  <a:gd name="T32" fmla="*/ 41 w 100"/>
                  <a:gd name="T33" fmla="*/ 10 h 165"/>
                  <a:gd name="T34" fmla="*/ 23 w 100"/>
                  <a:gd name="T35" fmla="*/ 0 h 165"/>
                  <a:gd name="T36" fmla="*/ 21 w 100"/>
                  <a:gd name="T37" fmla="*/ 14 h 165"/>
                  <a:gd name="T38" fmla="*/ 15 w 100"/>
                  <a:gd name="T39" fmla="*/ 19 h 165"/>
                  <a:gd name="T40" fmla="*/ 0 w 100"/>
                  <a:gd name="T41" fmla="*/ 19 h 165"/>
                  <a:gd name="T42" fmla="*/ 9 w 100"/>
                  <a:gd name="T43" fmla="*/ 25 h 165"/>
                  <a:gd name="T44" fmla="*/ 15 w 100"/>
                  <a:gd name="T45" fmla="*/ 22 h 165"/>
                  <a:gd name="T46" fmla="*/ 17 w 100"/>
                  <a:gd name="T47" fmla="*/ 32 h 165"/>
                  <a:gd name="T48" fmla="*/ 10 w 100"/>
                  <a:gd name="T49" fmla="*/ 41 h 165"/>
                  <a:gd name="T50" fmla="*/ 14 w 100"/>
                  <a:gd name="T51" fmla="*/ 45 h 165"/>
                  <a:gd name="T52" fmla="*/ 30 w 100"/>
                  <a:gd name="T53" fmla="*/ 45 h 165"/>
                  <a:gd name="T54" fmla="*/ 24 w 100"/>
                  <a:gd name="T55" fmla="*/ 96 h 165"/>
                  <a:gd name="T56" fmla="*/ 17 w 100"/>
                  <a:gd name="T57" fmla="*/ 129 h 165"/>
                  <a:gd name="T58" fmla="*/ 40 w 100"/>
                  <a:gd name="T59" fmla="*/ 144 h 165"/>
                  <a:gd name="T60" fmla="*/ 41 w 100"/>
                  <a:gd name="T61" fmla="*/ 163 h 165"/>
                  <a:gd name="T62" fmla="*/ 64 w 100"/>
                  <a:gd name="T63" fmla="*/ 165 h 165"/>
                  <a:gd name="T64" fmla="*/ 62 w 100"/>
                  <a:gd name="T65" fmla="*/ 158 h 165"/>
                  <a:gd name="T66" fmla="*/ 62 w 100"/>
                  <a:gd name="T67" fmla="*/ 142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0" h="165">
                    <a:moveTo>
                      <a:pt x="62" y="142"/>
                    </a:moveTo>
                    <a:cubicBezTo>
                      <a:pt x="63" y="135"/>
                      <a:pt x="72" y="138"/>
                      <a:pt x="72" y="138"/>
                    </a:cubicBezTo>
                    <a:cubicBezTo>
                      <a:pt x="80" y="133"/>
                      <a:pt x="80" y="133"/>
                      <a:pt x="80" y="133"/>
                    </a:cubicBezTo>
                    <a:cubicBezTo>
                      <a:pt x="80" y="119"/>
                      <a:pt x="80" y="119"/>
                      <a:pt x="80" y="119"/>
                    </a:cubicBezTo>
                    <a:cubicBezTo>
                      <a:pt x="80" y="119"/>
                      <a:pt x="90" y="117"/>
                      <a:pt x="95" y="113"/>
                    </a:cubicBezTo>
                    <a:cubicBezTo>
                      <a:pt x="100" y="109"/>
                      <a:pt x="95" y="92"/>
                      <a:pt x="95" y="92"/>
                    </a:cubicBezTo>
                    <a:cubicBezTo>
                      <a:pt x="77" y="99"/>
                      <a:pt x="77" y="99"/>
                      <a:pt x="77" y="99"/>
                    </a:cubicBezTo>
                    <a:cubicBezTo>
                      <a:pt x="77" y="85"/>
                      <a:pt x="77" y="85"/>
                      <a:pt x="77" y="85"/>
                    </a:cubicBezTo>
                    <a:cubicBezTo>
                      <a:pt x="77" y="85"/>
                      <a:pt x="69" y="84"/>
                      <a:pt x="69" y="79"/>
                    </a:cubicBezTo>
                    <a:cubicBezTo>
                      <a:pt x="69" y="74"/>
                      <a:pt x="71" y="67"/>
                      <a:pt x="71" y="67"/>
                    </a:cubicBezTo>
                    <a:cubicBezTo>
                      <a:pt x="66" y="56"/>
                      <a:pt x="66" y="56"/>
                      <a:pt x="66" y="56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68" y="29"/>
                      <a:pt x="68" y="29"/>
                      <a:pt x="68" y="2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55" y="19"/>
                      <a:pt x="55" y="19"/>
                      <a:pt x="55" y="19"/>
                    </a:cubicBezTo>
                    <a:cubicBezTo>
                      <a:pt x="47" y="4"/>
                      <a:pt x="47" y="4"/>
                      <a:pt x="47" y="4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1" y="14"/>
                      <a:pt x="21" y="14"/>
                      <a:pt x="21" y="14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15" y="22"/>
                      <a:pt x="15" y="22"/>
                      <a:pt x="15" y="22"/>
                    </a:cubicBezTo>
                    <a:cubicBezTo>
                      <a:pt x="17" y="32"/>
                      <a:pt x="17" y="32"/>
                      <a:pt x="17" y="32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30" y="45"/>
                      <a:pt x="30" y="45"/>
                      <a:pt x="30" y="45"/>
                    </a:cubicBezTo>
                    <a:cubicBezTo>
                      <a:pt x="30" y="45"/>
                      <a:pt x="25" y="84"/>
                      <a:pt x="24" y="96"/>
                    </a:cubicBezTo>
                    <a:cubicBezTo>
                      <a:pt x="23" y="108"/>
                      <a:pt x="12" y="124"/>
                      <a:pt x="17" y="129"/>
                    </a:cubicBezTo>
                    <a:cubicBezTo>
                      <a:pt x="22" y="134"/>
                      <a:pt x="40" y="144"/>
                      <a:pt x="40" y="144"/>
                    </a:cubicBezTo>
                    <a:cubicBezTo>
                      <a:pt x="40" y="144"/>
                      <a:pt x="37" y="164"/>
                      <a:pt x="41" y="163"/>
                    </a:cubicBezTo>
                    <a:cubicBezTo>
                      <a:pt x="45" y="162"/>
                      <a:pt x="64" y="165"/>
                      <a:pt x="64" y="165"/>
                    </a:cubicBezTo>
                    <a:cubicBezTo>
                      <a:pt x="62" y="158"/>
                      <a:pt x="62" y="158"/>
                      <a:pt x="62" y="158"/>
                    </a:cubicBezTo>
                    <a:cubicBezTo>
                      <a:pt x="62" y="158"/>
                      <a:pt x="61" y="149"/>
                      <a:pt x="62" y="142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Freeform 245">
                <a:extLst>
                  <a:ext uri="{FF2B5EF4-FFF2-40B4-BE49-F238E27FC236}">
                    <a16:creationId xmlns:a16="http://schemas.microsoft.com/office/drawing/2014/main" id="{79328650-697F-D54D-B8CD-38F3A33495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089" y="-15583"/>
                <a:ext cx="630" cy="366"/>
              </a:xfrm>
              <a:custGeom>
                <a:avLst/>
                <a:gdLst>
                  <a:gd name="T0" fmla="*/ 225 w 267"/>
                  <a:gd name="T1" fmla="*/ 87 h 155"/>
                  <a:gd name="T2" fmla="*/ 241 w 267"/>
                  <a:gd name="T3" fmla="*/ 47 h 155"/>
                  <a:gd name="T4" fmla="*/ 264 w 267"/>
                  <a:gd name="T5" fmla="*/ 23 h 155"/>
                  <a:gd name="T6" fmla="*/ 237 w 267"/>
                  <a:gd name="T7" fmla="*/ 12 h 155"/>
                  <a:gd name="T8" fmla="*/ 194 w 267"/>
                  <a:gd name="T9" fmla="*/ 2 h 155"/>
                  <a:gd name="T10" fmla="*/ 169 w 267"/>
                  <a:gd name="T11" fmla="*/ 6 h 155"/>
                  <a:gd name="T12" fmla="*/ 157 w 267"/>
                  <a:gd name="T13" fmla="*/ 12 h 155"/>
                  <a:gd name="T14" fmla="*/ 118 w 267"/>
                  <a:gd name="T15" fmla="*/ 23 h 155"/>
                  <a:gd name="T16" fmla="*/ 92 w 267"/>
                  <a:gd name="T17" fmla="*/ 17 h 155"/>
                  <a:gd name="T18" fmla="*/ 62 w 267"/>
                  <a:gd name="T19" fmla="*/ 21 h 155"/>
                  <a:gd name="T20" fmla="*/ 39 w 267"/>
                  <a:gd name="T21" fmla="*/ 21 h 155"/>
                  <a:gd name="T22" fmla="*/ 29 w 267"/>
                  <a:gd name="T23" fmla="*/ 5 h 155"/>
                  <a:gd name="T24" fmla="*/ 10 w 267"/>
                  <a:gd name="T25" fmla="*/ 0 h 155"/>
                  <a:gd name="T26" fmla="*/ 0 w 267"/>
                  <a:gd name="T27" fmla="*/ 16 h 155"/>
                  <a:gd name="T28" fmla="*/ 12 w 267"/>
                  <a:gd name="T29" fmla="*/ 33 h 155"/>
                  <a:gd name="T30" fmla="*/ 23 w 267"/>
                  <a:gd name="T31" fmla="*/ 47 h 155"/>
                  <a:gd name="T32" fmla="*/ 20 w 267"/>
                  <a:gd name="T33" fmla="*/ 68 h 155"/>
                  <a:gd name="T34" fmla="*/ 8 w 267"/>
                  <a:gd name="T35" fmla="*/ 80 h 155"/>
                  <a:gd name="T36" fmla="*/ 2 w 267"/>
                  <a:gd name="T37" fmla="*/ 95 h 155"/>
                  <a:gd name="T38" fmla="*/ 8 w 267"/>
                  <a:gd name="T39" fmla="*/ 104 h 155"/>
                  <a:gd name="T40" fmla="*/ 13 w 267"/>
                  <a:gd name="T41" fmla="*/ 112 h 155"/>
                  <a:gd name="T42" fmla="*/ 33 w 267"/>
                  <a:gd name="T43" fmla="*/ 139 h 155"/>
                  <a:gd name="T44" fmla="*/ 41 w 267"/>
                  <a:gd name="T45" fmla="*/ 154 h 155"/>
                  <a:gd name="T46" fmla="*/ 73 w 267"/>
                  <a:gd name="T47" fmla="*/ 150 h 155"/>
                  <a:gd name="T48" fmla="*/ 97 w 267"/>
                  <a:gd name="T49" fmla="*/ 135 h 155"/>
                  <a:gd name="T50" fmla="*/ 123 w 267"/>
                  <a:gd name="T51" fmla="*/ 146 h 155"/>
                  <a:gd name="T52" fmla="*/ 145 w 267"/>
                  <a:gd name="T53" fmla="*/ 146 h 155"/>
                  <a:gd name="T54" fmla="*/ 171 w 267"/>
                  <a:gd name="T55" fmla="*/ 148 h 155"/>
                  <a:gd name="T56" fmla="*/ 179 w 267"/>
                  <a:gd name="T57" fmla="*/ 129 h 155"/>
                  <a:gd name="T58" fmla="*/ 208 w 267"/>
                  <a:gd name="T59" fmla="*/ 116 h 155"/>
                  <a:gd name="T60" fmla="*/ 226 w 267"/>
                  <a:gd name="T61" fmla="*/ 119 h 155"/>
                  <a:gd name="T62" fmla="*/ 248 w 267"/>
                  <a:gd name="T63" fmla="*/ 115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67" h="155">
                    <a:moveTo>
                      <a:pt x="248" y="115"/>
                    </a:moveTo>
                    <a:cubicBezTo>
                      <a:pt x="225" y="87"/>
                      <a:pt x="225" y="87"/>
                      <a:pt x="225" y="87"/>
                    </a:cubicBezTo>
                    <a:cubicBezTo>
                      <a:pt x="225" y="87"/>
                      <a:pt x="235" y="82"/>
                      <a:pt x="239" y="75"/>
                    </a:cubicBezTo>
                    <a:cubicBezTo>
                      <a:pt x="243" y="68"/>
                      <a:pt x="232" y="54"/>
                      <a:pt x="241" y="47"/>
                    </a:cubicBezTo>
                    <a:cubicBezTo>
                      <a:pt x="250" y="40"/>
                      <a:pt x="267" y="44"/>
                      <a:pt x="267" y="44"/>
                    </a:cubicBezTo>
                    <a:cubicBezTo>
                      <a:pt x="267" y="44"/>
                      <a:pt x="265" y="35"/>
                      <a:pt x="264" y="23"/>
                    </a:cubicBezTo>
                    <a:cubicBezTo>
                      <a:pt x="257" y="24"/>
                      <a:pt x="248" y="24"/>
                      <a:pt x="245" y="22"/>
                    </a:cubicBezTo>
                    <a:cubicBezTo>
                      <a:pt x="240" y="19"/>
                      <a:pt x="237" y="12"/>
                      <a:pt x="237" y="12"/>
                    </a:cubicBezTo>
                    <a:cubicBezTo>
                      <a:pt x="237" y="12"/>
                      <a:pt x="228" y="10"/>
                      <a:pt x="219" y="10"/>
                    </a:cubicBezTo>
                    <a:cubicBezTo>
                      <a:pt x="210" y="10"/>
                      <a:pt x="203" y="2"/>
                      <a:pt x="194" y="2"/>
                    </a:cubicBezTo>
                    <a:cubicBezTo>
                      <a:pt x="185" y="2"/>
                      <a:pt x="188" y="8"/>
                      <a:pt x="188" y="8"/>
                    </a:cubicBezTo>
                    <a:cubicBezTo>
                      <a:pt x="169" y="6"/>
                      <a:pt x="169" y="6"/>
                      <a:pt x="169" y="6"/>
                    </a:cubicBezTo>
                    <a:cubicBezTo>
                      <a:pt x="170" y="11"/>
                      <a:pt x="170" y="11"/>
                      <a:pt x="170" y="11"/>
                    </a:cubicBezTo>
                    <a:cubicBezTo>
                      <a:pt x="170" y="11"/>
                      <a:pt x="164" y="10"/>
                      <a:pt x="157" y="12"/>
                    </a:cubicBezTo>
                    <a:cubicBezTo>
                      <a:pt x="150" y="14"/>
                      <a:pt x="151" y="30"/>
                      <a:pt x="140" y="29"/>
                    </a:cubicBezTo>
                    <a:cubicBezTo>
                      <a:pt x="129" y="28"/>
                      <a:pt x="118" y="23"/>
                      <a:pt x="118" y="23"/>
                    </a:cubicBezTo>
                    <a:cubicBezTo>
                      <a:pt x="105" y="22"/>
                      <a:pt x="105" y="22"/>
                      <a:pt x="105" y="22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92" y="17"/>
                      <a:pt x="97" y="26"/>
                      <a:pt x="84" y="26"/>
                    </a:cubicBezTo>
                    <a:cubicBezTo>
                      <a:pt x="71" y="26"/>
                      <a:pt x="62" y="21"/>
                      <a:pt x="62" y="21"/>
                    </a:cubicBezTo>
                    <a:cubicBezTo>
                      <a:pt x="46" y="14"/>
                      <a:pt x="46" y="14"/>
                      <a:pt x="46" y="14"/>
                    </a:cubicBezTo>
                    <a:cubicBezTo>
                      <a:pt x="39" y="21"/>
                      <a:pt x="39" y="21"/>
                      <a:pt x="39" y="21"/>
                    </a:cubicBezTo>
                    <a:cubicBezTo>
                      <a:pt x="39" y="21"/>
                      <a:pt x="22" y="22"/>
                      <a:pt x="22" y="18"/>
                    </a:cubicBezTo>
                    <a:cubicBezTo>
                      <a:pt x="22" y="14"/>
                      <a:pt x="31" y="9"/>
                      <a:pt x="29" y="5"/>
                    </a:cubicBezTo>
                    <a:cubicBezTo>
                      <a:pt x="27" y="1"/>
                      <a:pt x="17" y="1"/>
                      <a:pt x="17" y="1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3" y="28"/>
                      <a:pt x="3" y="28"/>
                      <a:pt x="3" y="28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23" y="47"/>
                      <a:pt x="23" y="47"/>
                      <a:pt x="23" y="47"/>
                    </a:cubicBezTo>
                    <a:cubicBezTo>
                      <a:pt x="23" y="47"/>
                      <a:pt x="28" y="53"/>
                      <a:pt x="26" y="57"/>
                    </a:cubicBezTo>
                    <a:cubicBezTo>
                      <a:pt x="24" y="61"/>
                      <a:pt x="20" y="68"/>
                      <a:pt x="20" y="68"/>
                    </a:cubicBezTo>
                    <a:cubicBezTo>
                      <a:pt x="20" y="68"/>
                      <a:pt x="9" y="65"/>
                      <a:pt x="7" y="69"/>
                    </a:cubicBezTo>
                    <a:cubicBezTo>
                      <a:pt x="5" y="73"/>
                      <a:pt x="8" y="80"/>
                      <a:pt x="8" y="80"/>
                    </a:cubicBezTo>
                    <a:cubicBezTo>
                      <a:pt x="8" y="80"/>
                      <a:pt x="11" y="88"/>
                      <a:pt x="10" y="91"/>
                    </a:cubicBezTo>
                    <a:cubicBezTo>
                      <a:pt x="9" y="93"/>
                      <a:pt x="5" y="94"/>
                      <a:pt x="2" y="95"/>
                    </a:cubicBezTo>
                    <a:cubicBezTo>
                      <a:pt x="2" y="95"/>
                      <a:pt x="2" y="95"/>
                      <a:pt x="2" y="95"/>
                    </a:cubicBezTo>
                    <a:cubicBezTo>
                      <a:pt x="8" y="104"/>
                      <a:pt x="8" y="104"/>
                      <a:pt x="8" y="104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3" y="112"/>
                      <a:pt x="13" y="112"/>
                      <a:pt x="13" y="112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5" y="121"/>
                      <a:pt x="36" y="128"/>
                      <a:pt x="33" y="139"/>
                    </a:cubicBezTo>
                    <a:cubicBezTo>
                      <a:pt x="32" y="142"/>
                      <a:pt x="31" y="145"/>
                      <a:pt x="29" y="147"/>
                    </a:cubicBezTo>
                    <a:cubicBezTo>
                      <a:pt x="32" y="150"/>
                      <a:pt x="36" y="154"/>
                      <a:pt x="41" y="154"/>
                    </a:cubicBezTo>
                    <a:cubicBezTo>
                      <a:pt x="49" y="154"/>
                      <a:pt x="59" y="144"/>
                      <a:pt x="59" y="144"/>
                    </a:cubicBezTo>
                    <a:cubicBezTo>
                      <a:pt x="73" y="150"/>
                      <a:pt x="73" y="150"/>
                      <a:pt x="73" y="150"/>
                    </a:cubicBezTo>
                    <a:cubicBezTo>
                      <a:pt x="79" y="138"/>
                      <a:pt x="79" y="138"/>
                      <a:pt x="79" y="138"/>
                    </a:cubicBezTo>
                    <a:cubicBezTo>
                      <a:pt x="97" y="135"/>
                      <a:pt x="97" y="135"/>
                      <a:pt x="97" y="135"/>
                    </a:cubicBezTo>
                    <a:cubicBezTo>
                      <a:pt x="97" y="135"/>
                      <a:pt x="101" y="149"/>
                      <a:pt x="109" y="149"/>
                    </a:cubicBezTo>
                    <a:cubicBezTo>
                      <a:pt x="117" y="149"/>
                      <a:pt x="123" y="146"/>
                      <a:pt x="123" y="146"/>
                    </a:cubicBezTo>
                    <a:cubicBezTo>
                      <a:pt x="123" y="146"/>
                      <a:pt x="124" y="155"/>
                      <a:pt x="132" y="154"/>
                    </a:cubicBezTo>
                    <a:cubicBezTo>
                      <a:pt x="140" y="153"/>
                      <a:pt x="145" y="146"/>
                      <a:pt x="145" y="146"/>
                    </a:cubicBezTo>
                    <a:cubicBezTo>
                      <a:pt x="155" y="154"/>
                      <a:pt x="155" y="154"/>
                      <a:pt x="155" y="154"/>
                    </a:cubicBezTo>
                    <a:cubicBezTo>
                      <a:pt x="155" y="154"/>
                      <a:pt x="169" y="153"/>
                      <a:pt x="171" y="148"/>
                    </a:cubicBezTo>
                    <a:cubicBezTo>
                      <a:pt x="173" y="143"/>
                      <a:pt x="167" y="135"/>
                      <a:pt x="167" y="135"/>
                    </a:cubicBezTo>
                    <a:cubicBezTo>
                      <a:pt x="179" y="129"/>
                      <a:pt x="179" y="129"/>
                      <a:pt x="179" y="129"/>
                    </a:cubicBezTo>
                    <a:cubicBezTo>
                      <a:pt x="188" y="114"/>
                      <a:pt x="188" y="114"/>
                      <a:pt x="188" y="114"/>
                    </a:cubicBezTo>
                    <a:cubicBezTo>
                      <a:pt x="208" y="116"/>
                      <a:pt x="208" y="116"/>
                      <a:pt x="208" y="116"/>
                    </a:cubicBezTo>
                    <a:cubicBezTo>
                      <a:pt x="216" y="106"/>
                      <a:pt x="216" y="106"/>
                      <a:pt x="216" y="106"/>
                    </a:cubicBezTo>
                    <a:cubicBezTo>
                      <a:pt x="226" y="119"/>
                      <a:pt x="226" y="119"/>
                      <a:pt x="226" y="119"/>
                    </a:cubicBezTo>
                    <a:cubicBezTo>
                      <a:pt x="226" y="119"/>
                      <a:pt x="240" y="121"/>
                      <a:pt x="249" y="120"/>
                    </a:cubicBezTo>
                    <a:cubicBezTo>
                      <a:pt x="248" y="117"/>
                      <a:pt x="248" y="115"/>
                      <a:pt x="248" y="115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Freeform 246">
                <a:extLst>
                  <a:ext uri="{FF2B5EF4-FFF2-40B4-BE49-F238E27FC236}">
                    <a16:creationId xmlns:a16="http://schemas.microsoft.com/office/drawing/2014/main" id="{9DC52582-2C6B-D1E5-3CBD-4A4094BB1B0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267" y="-15359"/>
                <a:ext cx="263" cy="206"/>
              </a:xfrm>
              <a:custGeom>
                <a:avLst/>
                <a:gdLst>
                  <a:gd name="T0" fmla="*/ 100 w 111"/>
                  <a:gd name="T1" fmla="*/ 26 h 87"/>
                  <a:gd name="T2" fmla="*/ 88 w 111"/>
                  <a:gd name="T3" fmla="*/ 17 h 87"/>
                  <a:gd name="T4" fmla="*/ 88 w 111"/>
                  <a:gd name="T5" fmla="*/ 9 h 87"/>
                  <a:gd name="T6" fmla="*/ 83 w 111"/>
                  <a:gd name="T7" fmla="*/ 9 h 87"/>
                  <a:gd name="T8" fmla="*/ 77 w 111"/>
                  <a:gd name="T9" fmla="*/ 0 h 87"/>
                  <a:gd name="T10" fmla="*/ 76 w 111"/>
                  <a:gd name="T11" fmla="*/ 0 h 87"/>
                  <a:gd name="T12" fmla="*/ 50 w 111"/>
                  <a:gd name="T13" fmla="*/ 2 h 87"/>
                  <a:gd name="T14" fmla="*/ 46 w 111"/>
                  <a:gd name="T15" fmla="*/ 6 h 87"/>
                  <a:gd name="T16" fmla="*/ 33 w 111"/>
                  <a:gd name="T17" fmla="*/ 6 h 87"/>
                  <a:gd name="T18" fmla="*/ 30 w 111"/>
                  <a:gd name="T19" fmla="*/ 14 h 87"/>
                  <a:gd name="T20" fmla="*/ 18 w 111"/>
                  <a:gd name="T21" fmla="*/ 14 h 87"/>
                  <a:gd name="T22" fmla="*/ 13 w 111"/>
                  <a:gd name="T23" fmla="*/ 22 h 87"/>
                  <a:gd name="T24" fmla="*/ 2 w 111"/>
                  <a:gd name="T25" fmla="*/ 26 h 87"/>
                  <a:gd name="T26" fmla="*/ 0 w 111"/>
                  <a:gd name="T27" fmla="*/ 41 h 87"/>
                  <a:gd name="T28" fmla="*/ 5 w 111"/>
                  <a:gd name="T29" fmla="*/ 52 h 87"/>
                  <a:gd name="T30" fmla="*/ 3 w 111"/>
                  <a:gd name="T31" fmla="*/ 64 h 87"/>
                  <a:gd name="T32" fmla="*/ 11 w 111"/>
                  <a:gd name="T33" fmla="*/ 70 h 87"/>
                  <a:gd name="T34" fmla="*/ 11 w 111"/>
                  <a:gd name="T35" fmla="*/ 84 h 87"/>
                  <a:gd name="T36" fmla="*/ 29 w 111"/>
                  <a:gd name="T37" fmla="*/ 77 h 87"/>
                  <a:gd name="T38" fmla="*/ 31 w 111"/>
                  <a:gd name="T39" fmla="*/ 84 h 87"/>
                  <a:gd name="T40" fmla="*/ 36 w 111"/>
                  <a:gd name="T41" fmla="*/ 79 h 87"/>
                  <a:gd name="T42" fmla="*/ 60 w 111"/>
                  <a:gd name="T43" fmla="*/ 81 h 87"/>
                  <a:gd name="T44" fmla="*/ 63 w 111"/>
                  <a:gd name="T45" fmla="*/ 70 h 87"/>
                  <a:gd name="T46" fmla="*/ 90 w 111"/>
                  <a:gd name="T47" fmla="*/ 66 h 87"/>
                  <a:gd name="T48" fmla="*/ 108 w 111"/>
                  <a:gd name="T49" fmla="*/ 44 h 87"/>
                  <a:gd name="T50" fmla="*/ 100 w 111"/>
                  <a:gd name="T51" fmla="*/ 2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11" h="87">
                    <a:moveTo>
                      <a:pt x="100" y="26"/>
                    </a:moveTo>
                    <a:cubicBezTo>
                      <a:pt x="88" y="17"/>
                      <a:pt x="88" y="17"/>
                      <a:pt x="88" y="17"/>
                    </a:cubicBezTo>
                    <a:cubicBezTo>
                      <a:pt x="88" y="9"/>
                      <a:pt x="88" y="9"/>
                      <a:pt x="88" y="9"/>
                    </a:cubicBezTo>
                    <a:cubicBezTo>
                      <a:pt x="83" y="9"/>
                      <a:pt x="83" y="9"/>
                      <a:pt x="83" y="9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7" y="0"/>
                      <a:pt x="76" y="0"/>
                      <a:pt x="76" y="0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33" y="6"/>
                      <a:pt x="33" y="6"/>
                      <a:pt x="33" y="6"/>
                    </a:cubicBezTo>
                    <a:cubicBezTo>
                      <a:pt x="33" y="6"/>
                      <a:pt x="37" y="14"/>
                      <a:pt x="30" y="14"/>
                    </a:cubicBezTo>
                    <a:cubicBezTo>
                      <a:pt x="23" y="14"/>
                      <a:pt x="18" y="14"/>
                      <a:pt x="18" y="14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5" y="52"/>
                      <a:pt x="5" y="52"/>
                      <a:pt x="5" y="52"/>
                    </a:cubicBezTo>
                    <a:cubicBezTo>
                      <a:pt x="5" y="52"/>
                      <a:pt x="3" y="59"/>
                      <a:pt x="3" y="64"/>
                    </a:cubicBezTo>
                    <a:cubicBezTo>
                      <a:pt x="3" y="69"/>
                      <a:pt x="11" y="70"/>
                      <a:pt x="11" y="70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29" y="77"/>
                      <a:pt x="29" y="77"/>
                      <a:pt x="29" y="77"/>
                    </a:cubicBezTo>
                    <a:cubicBezTo>
                      <a:pt x="29" y="77"/>
                      <a:pt x="30" y="80"/>
                      <a:pt x="31" y="84"/>
                    </a:cubicBezTo>
                    <a:cubicBezTo>
                      <a:pt x="36" y="79"/>
                      <a:pt x="36" y="79"/>
                      <a:pt x="36" y="79"/>
                    </a:cubicBezTo>
                    <a:cubicBezTo>
                      <a:pt x="36" y="79"/>
                      <a:pt x="56" y="87"/>
                      <a:pt x="60" y="81"/>
                    </a:cubicBezTo>
                    <a:cubicBezTo>
                      <a:pt x="64" y="75"/>
                      <a:pt x="63" y="70"/>
                      <a:pt x="63" y="70"/>
                    </a:cubicBezTo>
                    <a:cubicBezTo>
                      <a:pt x="63" y="70"/>
                      <a:pt x="82" y="74"/>
                      <a:pt x="90" y="66"/>
                    </a:cubicBezTo>
                    <a:cubicBezTo>
                      <a:pt x="98" y="58"/>
                      <a:pt x="105" y="55"/>
                      <a:pt x="108" y="44"/>
                    </a:cubicBezTo>
                    <a:cubicBezTo>
                      <a:pt x="111" y="33"/>
                      <a:pt x="100" y="26"/>
                      <a:pt x="100" y="26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Freeform 247">
                <a:extLst>
                  <a:ext uri="{FF2B5EF4-FFF2-40B4-BE49-F238E27FC236}">
                    <a16:creationId xmlns:a16="http://schemas.microsoft.com/office/drawing/2014/main" id="{19C2812F-B4FB-7A3D-E20E-B28C8281D4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3695" y="-16117"/>
                <a:ext cx="338" cy="373"/>
              </a:xfrm>
              <a:custGeom>
                <a:avLst/>
                <a:gdLst>
                  <a:gd name="T0" fmla="*/ 0 w 143"/>
                  <a:gd name="T1" fmla="*/ 11 h 158"/>
                  <a:gd name="T2" fmla="*/ 24 w 143"/>
                  <a:gd name="T3" fmla="*/ 30 h 158"/>
                  <a:gd name="T4" fmla="*/ 23 w 143"/>
                  <a:gd name="T5" fmla="*/ 40 h 158"/>
                  <a:gd name="T6" fmla="*/ 38 w 143"/>
                  <a:gd name="T7" fmla="*/ 49 h 158"/>
                  <a:gd name="T8" fmla="*/ 44 w 143"/>
                  <a:gd name="T9" fmla="*/ 63 h 158"/>
                  <a:gd name="T10" fmla="*/ 52 w 143"/>
                  <a:gd name="T11" fmla="*/ 64 h 158"/>
                  <a:gd name="T12" fmla="*/ 54 w 143"/>
                  <a:gd name="T13" fmla="*/ 74 h 158"/>
                  <a:gd name="T14" fmla="*/ 71 w 143"/>
                  <a:gd name="T15" fmla="*/ 84 h 158"/>
                  <a:gd name="T16" fmla="*/ 69 w 143"/>
                  <a:gd name="T17" fmla="*/ 106 h 158"/>
                  <a:gd name="T18" fmla="*/ 74 w 143"/>
                  <a:gd name="T19" fmla="*/ 109 h 158"/>
                  <a:gd name="T20" fmla="*/ 67 w 143"/>
                  <a:gd name="T21" fmla="*/ 129 h 158"/>
                  <a:gd name="T22" fmla="*/ 73 w 143"/>
                  <a:gd name="T23" fmla="*/ 143 h 158"/>
                  <a:gd name="T24" fmla="*/ 75 w 143"/>
                  <a:gd name="T25" fmla="*/ 158 h 158"/>
                  <a:gd name="T26" fmla="*/ 92 w 143"/>
                  <a:gd name="T27" fmla="*/ 155 h 158"/>
                  <a:gd name="T28" fmla="*/ 88 w 143"/>
                  <a:gd name="T29" fmla="*/ 141 h 158"/>
                  <a:gd name="T30" fmla="*/ 104 w 143"/>
                  <a:gd name="T31" fmla="*/ 129 h 158"/>
                  <a:gd name="T32" fmla="*/ 113 w 143"/>
                  <a:gd name="T33" fmla="*/ 120 h 158"/>
                  <a:gd name="T34" fmla="*/ 97 w 143"/>
                  <a:gd name="T35" fmla="*/ 106 h 158"/>
                  <a:gd name="T36" fmla="*/ 113 w 143"/>
                  <a:gd name="T37" fmla="*/ 102 h 158"/>
                  <a:gd name="T38" fmla="*/ 126 w 143"/>
                  <a:gd name="T39" fmla="*/ 109 h 158"/>
                  <a:gd name="T40" fmla="*/ 143 w 143"/>
                  <a:gd name="T41" fmla="*/ 104 h 158"/>
                  <a:gd name="T42" fmla="*/ 141 w 143"/>
                  <a:gd name="T43" fmla="*/ 83 h 158"/>
                  <a:gd name="T44" fmla="*/ 120 w 143"/>
                  <a:gd name="T45" fmla="*/ 77 h 158"/>
                  <a:gd name="T46" fmla="*/ 122 w 143"/>
                  <a:gd name="T47" fmla="*/ 61 h 158"/>
                  <a:gd name="T48" fmla="*/ 117 w 143"/>
                  <a:gd name="T49" fmla="*/ 56 h 158"/>
                  <a:gd name="T50" fmla="*/ 105 w 143"/>
                  <a:gd name="T51" fmla="*/ 58 h 158"/>
                  <a:gd name="T52" fmla="*/ 105 w 143"/>
                  <a:gd name="T53" fmla="*/ 43 h 158"/>
                  <a:gd name="T54" fmla="*/ 103 w 143"/>
                  <a:gd name="T55" fmla="*/ 26 h 158"/>
                  <a:gd name="T56" fmla="*/ 83 w 143"/>
                  <a:gd name="T57" fmla="*/ 24 h 158"/>
                  <a:gd name="T58" fmla="*/ 78 w 143"/>
                  <a:gd name="T59" fmla="*/ 13 h 158"/>
                  <a:gd name="T60" fmla="*/ 57 w 143"/>
                  <a:gd name="T61" fmla="*/ 12 h 158"/>
                  <a:gd name="T62" fmla="*/ 52 w 143"/>
                  <a:gd name="T63" fmla="*/ 7 h 158"/>
                  <a:gd name="T64" fmla="*/ 48 w 143"/>
                  <a:gd name="T65" fmla="*/ 9 h 158"/>
                  <a:gd name="T66" fmla="*/ 33 w 143"/>
                  <a:gd name="T67" fmla="*/ 1 h 158"/>
                  <a:gd name="T68" fmla="*/ 18 w 143"/>
                  <a:gd name="T69" fmla="*/ 8 h 158"/>
                  <a:gd name="T70" fmla="*/ 2 w 143"/>
                  <a:gd name="T71" fmla="*/ 3 h 158"/>
                  <a:gd name="T72" fmla="*/ 0 w 143"/>
                  <a:gd name="T73" fmla="*/ 11 h 158"/>
                  <a:gd name="T74" fmla="*/ 0 w 143"/>
                  <a:gd name="T75" fmla="*/ 11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3" h="158">
                    <a:moveTo>
                      <a:pt x="0" y="11"/>
                    </a:moveTo>
                    <a:cubicBezTo>
                      <a:pt x="17" y="14"/>
                      <a:pt x="24" y="30"/>
                      <a:pt x="24" y="30"/>
                    </a:cubicBezTo>
                    <a:cubicBezTo>
                      <a:pt x="23" y="40"/>
                      <a:pt x="23" y="40"/>
                      <a:pt x="23" y="40"/>
                    </a:cubicBezTo>
                    <a:cubicBezTo>
                      <a:pt x="38" y="49"/>
                      <a:pt x="38" y="49"/>
                      <a:pt x="38" y="49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52" y="64"/>
                      <a:pt x="52" y="64"/>
                      <a:pt x="52" y="64"/>
                    </a:cubicBezTo>
                    <a:cubicBezTo>
                      <a:pt x="54" y="74"/>
                      <a:pt x="54" y="74"/>
                      <a:pt x="54" y="74"/>
                    </a:cubicBezTo>
                    <a:cubicBezTo>
                      <a:pt x="54" y="74"/>
                      <a:pt x="70" y="75"/>
                      <a:pt x="71" y="84"/>
                    </a:cubicBezTo>
                    <a:cubicBezTo>
                      <a:pt x="72" y="93"/>
                      <a:pt x="69" y="106"/>
                      <a:pt x="69" y="106"/>
                    </a:cubicBezTo>
                    <a:cubicBezTo>
                      <a:pt x="74" y="109"/>
                      <a:pt x="74" y="109"/>
                      <a:pt x="74" y="109"/>
                    </a:cubicBezTo>
                    <a:cubicBezTo>
                      <a:pt x="74" y="109"/>
                      <a:pt x="67" y="122"/>
                      <a:pt x="67" y="129"/>
                    </a:cubicBezTo>
                    <a:cubicBezTo>
                      <a:pt x="67" y="136"/>
                      <a:pt x="73" y="143"/>
                      <a:pt x="73" y="143"/>
                    </a:cubicBezTo>
                    <a:cubicBezTo>
                      <a:pt x="73" y="143"/>
                      <a:pt x="72" y="151"/>
                      <a:pt x="75" y="158"/>
                    </a:cubicBezTo>
                    <a:cubicBezTo>
                      <a:pt x="92" y="155"/>
                      <a:pt x="92" y="155"/>
                      <a:pt x="92" y="155"/>
                    </a:cubicBezTo>
                    <a:cubicBezTo>
                      <a:pt x="92" y="155"/>
                      <a:pt x="88" y="145"/>
                      <a:pt x="88" y="141"/>
                    </a:cubicBezTo>
                    <a:cubicBezTo>
                      <a:pt x="88" y="137"/>
                      <a:pt x="104" y="129"/>
                      <a:pt x="104" y="129"/>
                    </a:cubicBezTo>
                    <a:cubicBezTo>
                      <a:pt x="113" y="120"/>
                      <a:pt x="113" y="120"/>
                      <a:pt x="113" y="120"/>
                    </a:cubicBezTo>
                    <a:cubicBezTo>
                      <a:pt x="113" y="120"/>
                      <a:pt x="98" y="110"/>
                      <a:pt x="97" y="106"/>
                    </a:cubicBezTo>
                    <a:cubicBezTo>
                      <a:pt x="96" y="102"/>
                      <a:pt x="113" y="102"/>
                      <a:pt x="113" y="102"/>
                    </a:cubicBezTo>
                    <a:cubicBezTo>
                      <a:pt x="113" y="102"/>
                      <a:pt x="119" y="110"/>
                      <a:pt x="126" y="109"/>
                    </a:cubicBezTo>
                    <a:cubicBezTo>
                      <a:pt x="133" y="108"/>
                      <a:pt x="143" y="104"/>
                      <a:pt x="143" y="104"/>
                    </a:cubicBezTo>
                    <a:cubicBezTo>
                      <a:pt x="143" y="104"/>
                      <a:pt x="142" y="90"/>
                      <a:pt x="141" y="83"/>
                    </a:cubicBezTo>
                    <a:cubicBezTo>
                      <a:pt x="140" y="76"/>
                      <a:pt x="127" y="79"/>
                      <a:pt x="120" y="77"/>
                    </a:cubicBezTo>
                    <a:cubicBezTo>
                      <a:pt x="113" y="75"/>
                      <a:pt x="122" y="61"/>
                      <a:pt x="122" y="61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7" y="56"/>
                      <a:pt x="108" y="58"/>
                      <a:pt x="105" y="58"/>
                    </a:cubicBezTo>
                    <a:cubicBezTo>
                      <a:pt x="102" y="58"/>
                      <a:pt x="105" y="43"/>
                      <a:pt x="105" y="43"/>
                    </a:cubicBezTo>
                    <a:cubicBezTo>
                      <a:pt x="105" y="43"/>
                      <a:pt x="114" y="34"/>
                      <a:pt x="103" y="26"/>
                    </a:cubicBezTo>
                    <a:cubicBezTo>
                      <a:pt x="92" y="18"/>
                      <a:pt x="83" y="24"/>
                      <a:pt x="83" y="24"/>
                    </a:cubicBezTo>
                    <a:cubicBezTo>
                      <a:pt x="83" y="24"/>
                      <a:pt x="83" y="17"/>
                      <a:pt x="78" y="13"/>
                    </a:cubicBezTo>
                    <a:cubicBezTo>
                      <a:pt x="73" y="9"/>
                      <a:pt x="66" y="12"/>
                      <a:pt x="57" y="12"/>
                    </a:cubicBezTo>
                    <a:cubicBezTo>
                      <a:pt x="48" y="12"/>
                      <a:pt x="52" y="7"/>
                      <a:pt x="52" y="7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8" y="9"/>
                      <a:pt x="42" y="0"/>
                      <a:pt x="33" y="1"/>
                    </a:cubicBezTo>
                    <a:cubicBezTo>
                      <a:pt x="24" y="2"/>
                      <a:pt x="24" y="7"/>
                      <a:pt x="18" y="8"/>
                    </a:cubicBezTo>
                    <a:cubicBezTo>
                      <a:pt x="12" y="9"/>
                      <a:pt x="2" y="3"/>
                      <a:pt x="2" y="3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Freeform 248">
                <a:extLst>
                  <a:ext uri="{FF2B5EF4-FFF2-40B4-BE49-F238E27FC236}">
                    <a16:creationId xmlns:a16="http://schemas.microsoft.com/office/drawing/2014/main" id="{EFBFF4B6-3326-6C9C-93EB-DB1F6657669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412" y="-15975"/>
                <a:ext cx="35" cy="38"/>
              </a:xfrm>
              <a:custGeom>
                <a:avLst/>
                <a:gdLst>
                  <a:gd name="T0" fmla="*/ 11 w 15"/>
                  <a:gd name="T1" fmla="*/ 1 h 16"/>
                  <a:gd name="T2" fmla="*/ 4 w 15"/>
                  <a:gd name="T3" fmla="*/ 14 h 16"/>
                  <a:gd name="T4" fmla="*/ 12 w 15"/>
                  <a:gd name="T5" fmla="*/ 16 h 16"/>
                  <a:gd name="T6" fmla="*/ 15 w 15"/>
                  <a:gd name="T7" fmla="*/ 16 h 16"/>
                  <a:gd name="T8" fmla="*/ 15 w 15"/>
                  <a:gd name="T9" fmla="*/ 6 h 16"/>
                  <a:gd name="T10" fmla="*/ 13 w 15"/>
                  <a:gd name="T11" fmla="*/ 0 h 16"/>
                  <a:gd name="T12" fmla="*/ 11 w 15"/>
                  <a:gd name="T13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6">
                    <a:moveTo>
                      <a:pt x="11" y="1"/>
                    </a:moveTo>
                    <a:cubicBezTo>
                      <a:pt x="6" y="3"/>
                      <a:pt x="0" y="11"/>
                      <a:pt x="4" y="14"/>
                    </a:cubicBezTo>
                    <a:cubicBezTo>
                      <a:pt x="8" y="16"/>
                      <a:pt x="12" y="16"/>
                      <a:pt x="12" y="16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5" y="14"/>
                      <a:pt x="15" y="9"/>
                      <a:pt x="15" y="6"/>
                    </a:cubicBezTo>
                    <a:cubicBezTo>
                      <a:pt x="15" y="4"/>
                      <a:pt x="14" y="2"/>
                      <a:pt x="13" y="0"/>
                    </a:cubicBezTo>
                    <a:cubicBezTo>
                      <a:pt x="12" y="0"/>
                      <a:pt x="12" y="1"/>
                      <a:pt x="11" y="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Freeform 249">
                <a:extLst>
                  <a:ext uri="{FF2B5EF4-FFF2-40B4-BE49-F238E27FC236}">
                    <a16:creationId xmlns:a16="http://schemas.microsoft.com/office/drawing/2014/main" id="{56DD7B1F-855E-6D33-4E9C-08EA4A2E9C9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316" y="-16098"/>
                <a:ext cx="971" cy="586"/>
              </a:xfrm>
              <a:custGeom>
                <a:avLst/>
                <a:gdLst>
                  <a:gd name="T0" fmla="*/ 360 w 411"/>
                  <a:gd name="T1" fmla="*/ 241 h 248"/>
                  <a:gd name="T2" fmla="*/ 379 w 411"/>
                  <a:gd name="T3" fmla="*/ 187 h 248"/>
                  <a:gd name="T4" fmla="*/ 396 w 411"/>
                  <a:gd name="T5" fmla="*/ 146 h 248"/>
                  <a:gd name="T6" fmla="*/ 353 w 411"/>
                  <a:gd name="T7" fmla="*/ 161 h 248"/>
                  <a:gd name="T8" fmla="*/ 330 w 411"/>
                  <a:gd name="T9" fmla="*/ 121 h 248"/>
                  <a:gd name="T10" fmla="*/ 332 w 411"/>
                  <a:gd name="T11" fmla="*/ 98 h 248"/>
                  <a:gd name="T12" fmla="*/ 317 w 411"/>
                  <a:gd name="T13" fmla="*/ 66 h 248"/>
                  <a:gd name="T14" fmla="*/ 307 w 411"/>
                  <a:gd name="T15" fmla="*/ 55 h 248"/>
                  <a:gd name="T16" fmla="*/ 286 w 411"/>
                  <a:gd name="T17" fmla="*/ 32 h 248"/>
                  <a:gd name="T18" fmla="*/ 263 w 411"/>
                  <a:gd name="T19" fmla="*/ 3 h 248"/>
                  <a:gd name="T20" fmla="*/ 225 w 411"/>
                  <a:gd name="T21" fmla="*/ 17 h 248"/>
                  <a:gd name="T22" fmla="*/ 204 w 411"/>
                  <a:gd name="T23" fmla="*/ 21 h 248"/>
                  <a:gd name="T24" fmla="*/ 172 w 411"/>
                  <a:gd name="T25" fmla="*/ 16 h 248"/>
                  <a:gd name="T26" fmla="*/ 145 w 411"/>
                  <a:gd name="T27" fmla="*/ 18 h 248"/>
                  <a:gd name="T28" fmla="*/ 123 w 411"/>
                  <a:gd name="T29" fmla="*/ 14 h 248"/>
                  <a:gd name="T30" fmla="*/ 90 w 411"/>
                  <a:gd name="T31" fmla="*/ 28 h 248"/>
                  <a:gd name="T32" fmla="*/ 69 w 411"/>
                  <a:gd name="T33" fmla="*/ 53 h 248"/>
                  <a:gd name="T34" fmla="*/ 46 w 411"/>
                  <a:gd name="T35" fmla="*/ 83 h 248"/>
                  <a:gd name="T36" fmla="*/ 29 w 411"/>
                  <a:gd name="T37" fmla="*/ 107 h 248"/>
                  <a:gd name="T38" fmla="*/ 16 w 411"/>
                  <a:gd name="T39" fmla="*/ 114 h 248"/>
                  <a:gd name="T40" fmla="*/ 1 w 411"/>
                  <a:gd name="T41" fmla="*/ 119 h 248"/>
                  <a:gd name="T42" fmla="*/ 22 w 411"/>
                  <a:gd name="T43" fmla="*/ 131 h 248"/>
                  <a:gd name="T44" fmla="*/ 38 w 411"/>
                  <a:gd name="T45" fmla="*/ 160 h 248"/>
                  <a:gd name="T46" fmla="*/ 51 w 411"/>
                  <a:gd name="T47" fmla="*/ 177 h 248"/>
                  <a:gd name="T48" fmla="*/ 72 w 411"/>
                  <a:gd name="T49" fmla="*/ 190 h 248"/>
                  <a:gd name="T50" fmla="*/ 94 w 411"/>
                  <a:gd name="T51" fmla="*/ 190 h 248"/>
                  <a:gd name="T52" fmla="*/ 107 w 411"/>
                  <a:gd name="T53" fmla="*/ 200 h 248"/>
                  <a:gd name="T54" fmla="*/ 107 w 411"/>
                  <a:gd name="T55" fmla="*/ 212 h 248"/>
                  <a:gd name="T56" fmla="*/ 113 w 411"/>
                  <a:gd name="T57" fmla="*/ 219 h 248"/>
                  <a:gd name="T58" fmla="*/ 118 w 411"/>
                  <a:gd name="T59" fmla="*/ 236 h 248"/>
                  <a:gd name="T60" fmla="*/ 142 w 411"/>
                  <a:gd name="T61" fmla="*/ 232 h 248"/>
                  <a:gd name="T62" fmla="*/ 180 w 411"/>
                  <a:gd name="T63" fmla="*/ 244 h 248"/>
                  <a:gd name="T64" fmla="*/ 201 w 411"/>
                  <a:gd name="T65" fmla="*/ 240 h 248"/>
                  <a:gd name="T66" fmla="*/ 236 w 411"/>
                  <a:gd name="T67" fmla="*/ 247 h 248"/>
                  <a:gd name="T68" fmla="*/ 266 w 411"/>
                  <a:gd name="T69" fmla="*/ 229 h 248"/>
                  <a:gd name="T70" fmla="*/ 284 w 411"/>
                  <a:gd name="T71" fmla="*/ 226 h 248"/>
                  <a:gd name="T72" fmla="*/ 315 w 411"/>
                  <a:gd name="T73" fmla="*/ 228 h 248"/>
                  <a:gd name="T74" fmla="*/ 341 w 411"/>
                  <a:gd name="T75" fmla="*/ 24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11" h="248">
                    <a:moveTo>
                      <a:pt x="341" y="240"/>
                    </a:moveTo>
                    <a:cubicBezTo>
                      <a:pt x="344" y="242"/>
                      <a:pt x="353" y="242"/>
                      <a:pt x="360" y="241"/>
                    </a:cubicBezTo>
                    <a:cubicBezTo>
                      <a:pt x="358" y="230"/>
                      <a:pt x="359" y="216"/>
                      <a:pt x="364" y="209"/>
                    </a:cubicBezTo>
                    <a:cubicBezTo>
                      <a:pt x="373" y="197"/>
                      <a:pt x="379" y="187"/>
                      <a:pt x="379" y="187"/>
                    </a:cubicBezTo>
                    <a:cubicBezTo>
                      <a:pt x="379" y="187"/>
                      <a:pt x="411" y="197"/>
                      <a:pt x="407" y="174"/>
                    </a:cubicBezTo>
                    <a:cubicBezTo>
                      <a:pt x="404" y="158"/>
                      <a:pt x="399" y="149"/>
                      <a:pt x="396" y="146"/>
                    </a:cubicBezTo>
                    <a:cubicBezTo>
                      <a:pt x="395" y="148"/>
                      <a:pt x="391" y="152"/>
                      <a:pt x="382" y="151"/>
                    </a:cubicBezTo>
                    <a:cubicBezTo>
                      <a:pt x="370" y="150"/>
                      <a:pt x="374" y="164"/>
                      <a:pt x="353" y="161"/>
                    </a:cubicBezTo>
                    <a:cubicBezTo>
                      <a:pt x="332" y="158"/>
                      <a:pt x="336" y="135"/>
                      <a:pt x="336" y="135"/>
                    </a:cubicBezTo>
                    <a:cubicBezTo>
                      <a:pt x="336" y="135"/>
                      <a:pt x="330" y="128"/>
                      <a:pt x="330" y="121"/>
                    </a:cubicBezTo>
                    <a:cubicBezTo>
                      <a:pt x="330" y="114"/>
                      <a:pt x="337" y="101"/>
                      <a:pt x="337" y="101"/>
                    </a:cubicBezTo>
                    <a:cubicBezTo>
                      <a:pt x="332" y="98"/>
                      <a:pt x="332" y="98"/>
                      <a:pt x="332" y="98"/>
                    </a:cubicBezTo>
                    <a:cubicBezTo>
                      <a:pt x="332" y="98"/>
                      <a:pt x="335" y="85"/>
                      <a:pt x="334" y="76"/>
                    </a:cubicBezTo>
                    <a:cubicBezTo>
                      <a:pt x="333" y="67"/>
                      <a:pt x="317" y="66"/>
                      <a:pt x="317" y="66"/>
                    </a:cubicBezTo>
                    <a:cubicBezTo>
                      <a:pt x="315" y="56"/>
                      <a:pt x="315" y="56"/>
                      <a:pt x="315" y="56"/>
                    </a:cubicBezTo>
                    <a:cubicBezTo>
                      <a:pt x="307" y="55"/>
                      <a:pt x="307" y="55"/>
                      <a:pt x="307" y="55"/>
                    </a:cubicBezTo>
                    <a:cubicBezTo>
                      <a:pt x="301" y="41"/>
                      <a:pt x="301" y="41"/>
                      <a:pt x="301" y="41"/>
                    </a:cubicBezTo>
                    <a:cubicBezTo>
                      <a:pt x="286" y="32"/>
                      <a:pt x="286" y="32"/>
                      <a:pt x="286" y="32"/>
                    </a:cubicBezTo>
                    <a:cubicBezTo>
                      <a:pt x="287" y="22"/>
                      <a:pt x="287" y="22"/>
                      <a:pt x="287" y="22"/>
                    </a:cubicBezTo>
                    <a:cubicBezTo>
                      <a:pt x="287" y="22"/>
                      <a:pt x="280" y="6"/>
                      <a:pt x="263" y="3"/>
                    </a:cubicBezTo>
                    <a:cubicBezTo>
                      <a:pt x="246" y="0"/>
                      <a:pt x="248" y="18"/>
                      <a:pt x="238" y="18"/>
                    </a:cubicBezTo>
                    <a:cubicBezTo>
                      <a:pt x="228" y="18"/>
                      <a:pt x="225" y="17"/>
                      <a:pt x="225" y="17"/>
                    </a:cubicBezTo>
                    <a:cubicBezTo>
                      <a:pt x="221" y="24"/>
                      <a:pt x="221" y="24"/>
                      <a:pt x="221" y="24"/>
                    </a:cubicBezTo>
                    <a:cubicBezTo>
                      <a:pt x="204" y="21"/>
                      <a:pt x="204" y="21"/>
                      <a:pt x="204" y="21"/>
                    </a:cubicBezTo>
                    <a:cubicBezTo>
                      <a:pt x="204" y="21"/>
                      <a:pt x="204" y="30"/>
                      <a:pt x="194" y="33"/>
                    </a:cubicBezTo>
                    <a:cubicBezTo>
                      <a:pt x="184" y="36"/>
                      <a:pt x="178" y="17"/>
                      <a:pt x="172" y="16"/>
                    </a:cubicBezTo>
                    <a:cubicBezTo>
                      <a:pt x="166" y="15"/>
                      <a:pt x="151" y="23"/>
                      <a:pt x="151" y="23"/>
                    </a:cubicBezTo>
                    <a:cubicBezTo>
                      <a:pt x="145" y="18"/>
                      <a:pt x="145" y="18"/>
                      <a:pt x="145" y="18"/>
                    </a:cubicBezTo>
                    <a:cubicBezTo>
                      <a:pt x="129" y="21"/>
                      <a:pt x="129" y="21"/>
                      <a:pt x="129" y="21"/>
                    </a:cubicBezTo>
                    <a:cubicBezTo>
                      <a:pt x="129" y="21"/>
                      <a:pt x="127" y="14"/>
                      <a:pt x="123" y="14"/>
                    </a:cubicBezTo>
                    <a:cubicBezTo>
                      <a:pt x="119" y="14"/>
                      <a:pt x="110" y="14"/>
                      <a:pt x="110" y="14"/>
                    </a:cubicBezTo>
                    <a:cubicBezTo>
                      <a:pt x="110" y="14"/>
                      <a:pt x="100" y="27"/>
                      <a:pt x="90" y="28"/>
                    </a:cubicBezTo>
                    <a:cubicBezTo>
                      <a:pt x="80" y="29"/>
                      <a:pt x="71" y="29"/>
                      <a:pt x="70" y="35"/>
                    </a:cubicBezTo>
                    <a:cubicBezTo>
                      <a:pt x="69" y="41"/>
                      <a:pt x="69" y="53"/>
                      <a:pt x="69" y="53"/>
                    </a:cubicBezTo>
                    <a:cubicBezTo>
                      <a:pt x="69" y="53"/>
                      <a:pt x="72" y="65"/>
                      <a:pt x="62" y="70"/>
                    </a:cubicBezTo>
                    <a:cubicBezTo>
                      <a:pt x="52" y="75"/>
                      <a:pt x="46" y="83"/>
                      <a:pt x="46" y="83"/>
                    </a:cubicBezTo>
                    <a:cubicBezTo>
                      <a:pt x="46" y="83"/>
                      <a:pt x="51" y="91"/>
                      <a:pt x="45" y="97"/>
                    </a:cubicBezTo>
                    <a:cubicBezTo>
                      <a:pt x="39" y="103"/>
                      <a:pt x="29" y="107"/>
                      <a:pt x="29" y="107"/>
                    </a:cubicBezTo>
                    <a:cubicBezTo>
                      <a:pt x="18" y="105"/>
                      <a:pt x="18" y="105"/>
                      <a:pt x="18" y="105"/>
                    </a:cubicBezTo>
                    <a:cubicBezTo>
                      <a:pt x="16" y="114"/>
                      <a:pt x="16" y="114"/>
                      <a:pt x="16" y="114"/>
                    </a:cubicBezTo>
                    <a:cubicBezTo>
                      <a:pt x="0" y="118"/>
                      <a:pt x="0" y="118"/>
                      <a:pt x="0" y="118"/>
                    </a:cubicBezTo>
                    <a:cubicBezTo>
                      <a:pt x="1" y="119"/>
                      <a:pt x="1" y="119"/>
                      <a:pt x="1" y="119"/>
                    </a:cubicBezTo>
                    <a:cubicBezTo>
                      <a:pt x="16" y="133"/>
                      <a:pt x="16" y="133"/>
                      <a:pt x="16" y="133"/>
                    </a:cubicBezTo>
                    <a:cubicBezTo>
                      <a:pt x="22" y="131"/>
                      <a:pt x="22" y="131"/>
                      <a:pt x="22" y="131"/>
                    </a:cubicBezTo>
                    <a:cubicBezTo>
                      <a:pt x="30" y="154"/>
                      <a:pt x="30" y="154"/>
                      <a:pt x="30" y="154"/>
                    </a:cubicBezTo>
                    <a:cubicBezTo>
                      <a:pt x="30" y="154"/>
                      <a:pt x="36" y="165"/>
                      <a:pt x="38" y="160"/>
                    </a:cubicBezTo>
                    <a:cubicBezTo>
                      <a:pt x="40" y="155"/>
                      <a:pt x="52" y="156"/>
                      <a:pt x="54" y="162"/>
                    </a:cubicBezTo>
                    <a:cubicBezTo>
                      <a:pt x="56" y="168"/>
                      <a:pt x="51" y="177"/>
                      <a:pt x="51" y="177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72" y="190"/>
                      <a:pt x="72" y="190"/>
                      <a:pt x="72" y="190"/>
                    </a:cubicBezTo>
                    <a:cubicBezTo>
                      <a:pt x="78" y="197"/>
                      <a:pt x="78" y="197"/>
                      <a:pt x="78" y="197"/>
                    </a:cubicBezTo>
                    <a:cubicBezTo>
                      <a:pt x="94" y="190"/>
                      <a:pt x="94" y="190"/>
                      <a:pt x="94" y="190"/>
                    </a:cubicBezTo>
                    <a:cubicBezTo>
                      <a:pt x="110" y="194"/>
                      <a:pt x="110" y="194"/>
                      <a:pt x="110" y="194"/>
                    </a:cubicBezTo>
                    <a:cubicBezTo>
                      <a:pt x="107" y="200"/>
                      <a:pt x="107" y="200"/>
                      <a:pt x="107" y="200"/>
                    </a:cubicBezTo>
                    <a:cubicBezTo>
                      <a:pt x="100" y="208"/>
                      <a:pt x="100" y="208"/>
                      <a:pt x="100" y="208"/>
                    </a:cubicBezTo>
                    <a:cubicBezTo>
                      <a:pt x="107" y="212"/>
                      <a:pt x="107" y="212"/>
                      <a:pt x="107" y="212"/>
                    </a:cubicBezTo>
                    <a:cubicBezTo>
                      <a:pt x="106" y="218"/>
                      <a:pt x="106" y="218"/>
                      <a:pt x="106" y="218"/>
                    </a:cubicBezTo>
                    <a:cubicBezTo>
                      <a:pt x="113" y="219"/>
                      <a:pt x="113" y="219"/>
                      <a:pt x="113" y="219"/>
                    </a:cubicBezTo>
                    <a:cubicBezTo>
                      <a:pt x="113" y="219"/>
                      <a:pt x="123" y="219"/>
                      <a:pt x="125" y="223"/>
                    </a:cubicBezTo>
                    <a:cubicBezTo>
                      <a:pt x="127" y="227"/>
                      <a:pt x="118" y="232"/>
                      <a:pt x="118" y="236"/>
                    </a:cubicBezTo>
                    <a:cubicBezTo>
                      <a:pt x="118" y="240"/>
                      <a:pt x="135" y="239"/>
                      <a:pt x="135" y="239"/>
                    </a:cubicBezTo>
                    <a:cubicBezTo>
                      <a:pt x="142" y="232"/>
                      <a:pt x="142" y="232"/>
                      <a:pt x="142" y="232"/>
                    </a:cubicBezTo>
                    <a:cubicBezTo>
                      <a:pt x="158" y="239"/>
                      <a:pt x="158" y="239"/>
                      <a:pt x="158" y="239"/>
                    </a:cubicBezTo>
                    <a:cubicBezTo>
                      <a:pt x="158" y="239"/>
                      <a:pt x="167" y="244"/>
                      <a:pt x="180" y="244"/>
                    </a:cubicBezTo>
                    <a:cubicBezTo>
                      <a:pt x="193" y="244"/>
                      <a:pt x="188" y="235"/>
                      <a:pt x="188" y="235"/>
                    </a:cubicBezTo>
                    <a:cubicBezTo>
                      <a:pt x="201" y="240"/>
                      <a:pt x="201" y="240"/>
                      <a:pt x="201" y="240"/>
                    </a:cubicBezTo>
                    <a:cubicBezTo>
                      <a:pt x="214" y="241"/>
                      <a:pt x="214" y="241"/>
                      <a:pt x="214" y="241"/>
                    </a:cubicBezTo>
                    <a:cubicBezTo>
                      <a:pt x="214" y="241"/>
                      <a:pt x="225" y="246"/>
                      <a:pt x="236" y="247"/>
                    </a:cubicBezTo>
                    <a:cubicBezTo>
                      <a:pt x="247" y="248"/>
                      <a:pt x="246" y="232"/>
                      <a:pt x="253" y="230"/>
                    </a:cubicBezTo>
                    <a:cubicBezTo>
                      <a:pt x="260" y="228"/>
                      <a:pt x="266" y="229"/>
                      <a:pt x="266" y="229"/>
                    </a:cubicBezTo>
                    <a:cubicBezTo>
                      <a:pt x="265" y="224"/>
                      <a:pt x="265" y="224"/>
                      <a:pt x="265" y="224"/>
                    </a:cubicBezTo>
                    <a:cubicBezTo>
                      <a:pt x="284" y="226"/>
                      <a:pt x="284" y="226"/>
                      <a:pt x="284" y="226"/>
                    </a:cubicBezTo>
                    <a:cubicBezTo>
                      <a:pt x="284" y="226"/>
                      <a:pt x="281" y="220"/>
                      <a:pt x="290" y="220"/>
                    </a:cubicBezTo>
                    <a:cubicBezTo>
                      <a:pt x="299" y="220"/>
                      <a:pt x="306" y="228"/>
                      <a:pt x="315" y="228"/>
                    </a:cubicBezTo>
                    <a:cubicBezTo>
                      <a:pt x="324" y="228"/>
                      <a:pt x="333" y="230"/>
                      <a:pt x="333" y="230"/>
                    </a:cubicBezTo>
                    <a:cubicBezTo>
                      <a:pt x="333" y="230"/>
                      <a:pt x="336" y="237"/>
                      <a:pt x="341" y="24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Freeform 250">
                <a:extLst>
                  <a:ext uri="{FF2B5EF4-FFF2-40B4-BE49-F238E27FC236}">
                    <a16:creationId xmlns:a16="http://schemas.microsoft.com/office/drawing/2014/main" id="{9254D05C-6868-94FA-4638-9CBBEC772BA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782" y="-15720"/>
                <a:ext cx="409" cy="361"/>
              </a:xfrm>
              <a:custGeom>
                <a:avLst/>
                <a:gdLst>
                  <a:gd name="T0" fmla="*/ 162 w 173"/>
                  <a:gd name="T1" fmla="*/ 51 h 153"/>
                  <a:gd name="T2" fmla="*/ 151 w 173"/>
                  <a:gd name="T3" fmla="*/ 52 h 153"/>
                  <a:gd name="T4" fmla="*/ 151 w 173"/>
                  <a:gd name="T5" fmla="*/ 41 h 153"/>
                  <a:gd name="T6" fmla="*/ 163 w 173"/>
                  <a:gd name="T7" fmla="*/ 22 h 153"/>
                  <a:gd name="T8" fmla="*/ 144 w 173"/>
                  <a:gd name="T9" fmla="*/ 23 h 153"/>
                  <a:gd name="T10" fmla="*/ 141 w 173"/>
                  <a:gd name="T11" fmla="*/ 18 h 153"/>
                  <a:gd name="T12" fmla="*/ 136 w 173"/>
                  <a:gd name="T13" fmla="*/ 19 h 153"/>
                  <a:gd name="T14" fmla="*/ 126 w 173"/>
                  <a:gd name="T15" fmla="*/ 8 h 153"/>
                  <a:gd name="T16" fmla="*/ 109 w 173"/>
                  <a:gd name="T17" fmla="*/ 7 h 153"/>
                  <a:gd name="T18" fmla="*/ 93 w 173"/>
                  <a:gd name="T19" fmla="*/ 8 h 153"/>
                  <a:gd name="T20" fmla="*/ 80 w 173"/>
                  <a:gd name="T21" fmla="*/ 5 h 153"/>
                  <a:gd name="T22" fmla="*/ 71 w 173"/>
                  <a:gd name="T23" fmla="*/ 9 h 153"/>
                  <a:gd name="T24" fmla="*/ 58 w 173"/>
                  <a:gd name="T25" fmla="*/ 2 h 153"/>
                  <a:gd name="T26" fmla="*/ 43 w 173"/>
                  <a:gd name="T27" fmla="*/ 4 h 153"/>
                  <a:gd name="T28" fmla="*/ 28 w 173"/>
                  <a:gd name="T29" fmla="*/ 8 h 153"/>
                  <a:gd name="T30" fmla="*/ 12 w 173"/>
                  <a:gd name="T31" fmla="*/ 1 h 153"/>
                  <a:gd name="T32" fmla="*/ 9 w 173"/>
                  <a:gd name="T33" fmla="*/ 15 h 153"/>
                  <a:gd name="T34" fmla="*/ 0 w 173"/>
                  <a:gd name="T35" fmla="*/ 20 h 153"/>
                  <a:gd name="T36" fmla="*/ 7 w 173"/>
                  <a:gd name="T37" fmla="*/ 27 h 153"/>
                  <a:gd name="T38" fmla="*/ 19 w 173"/>
                  <a:gd name="T39" fmla="*/ 30 h 153"/>
                  <a:gd name="T40" fmla="*/ 18 w 173"/>
                  <a:gd name="T41" fmla="*/ 39 h 153"/>
                  <a:gd name="T42" fmla="*/ 26 w 173"/>
                  <a:gd name="T43" fmla="*/ 43 h 153"/>
                  <a:gd name="T44" fmla="*/ 26 w 173"/>
                  <a:gd name="T45" fmla="*/ 57 h 153"/>
                  <a:gd name="T46" fmla="*/ 37 w 173"/>
                  <a:gd name="T47" fmla="*/ 60 h 153"/>
                  <a:gd name="T48" fmla="*/ 47 w 173"/>
                  <a:gd name="T49" fmla="*/ 80 h 153"/>
                  <a:gd name="T50" fmla="*/ 75 w 173"/>
                  <a:gd name="T51" fmla="*/ 99 h 153"/>
                  <a:gd name="T52" fmla="*/ 81 w 173"/>
                  <a:gd name="T53" fmla="*/ 120 h 153"/>
                  <a:gd name="T54" fmla="*/ 89 w 173"/>
                  <a:gd name="T55" fmla="*/ 121 h 153"/>
                  <a:gd name="T56" fmla="*/ 125 w 173"/>
                  <a:gd name="T57" fmla="*/ 153 h 153"/>
                  <a:gd name="T58" fmla="*/ 138 w 173"/>
                  <a:gd name="T59" fmla="*/ 137 h 153"/>
                  <a:gd name="T60" fmla="*/ 124 w 173"/>
                  <a:gd name="T61" fmla="*/ 128 h 153"/>
                  <a:gd name="T62" fmla="*/ 125 w 173"/>
                  <a:gd name="T63" fmla="*/ 118 h 153"/>
                  <a:gd name="T64" fmla="*/ 130 w 173"/>
                  <a:gd name="T65" fmla="*/ 118 h 153"/>
                  <a:gd name="T66" fmla="*/ 139 w 173"/>
                  <a:gd name="T67" fmla="*/ 103 h 153"/>
                  <a:gd name="T68" fmla="*/ 150 w 173"/>
                  <a:gd name="T69" fmla="*/ 104 h 153"/>
                  <a:gd name="T70" fmla="*/ 150 w 173"/>
                  <a:gd name="T71" fmla="*/ 89 h 153"/>
                  <a:gd name="T72" fmla="*/ 171 w 173"/>
                  <a:gd name="T73" fmla="*/ 86 h 153"/>
                  <a:gd name="T74" fmla="*/ 159 w 173"/>
                  <a:gd name="T75" fmla="*/ 66 h 153"/>
                  <a:gd name="T76" fmla="*/ 173 w 173"/>
                  <a:gd name="T77" fmla="*/ 64 h 153"/>
                  <a:gd name="T78" fmla="*/ 162 w 173"/>
                  <a:gd name="T79" fmla="*/ 51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73" h="153">
                    <a:moveTo>
                      <a:pt x="162" y="51"/>
                    </a:moveTo>
                    <a:cubicBezTo>
                      <a:pt x="155" y="49"/>
                      <a:pt x="151" y="52"/>
                      <a:pt x="151" y="52"/>
                    </a:cubicBezTo>
                    <a:cubicBezTo>
                      <a:pt x="151" y="41"/>
                      <a:pt x="151" y="41"/>
                      <a:pt x="151" y="41"/>
                    </a:cubicBezTo>
                    <a:cubicBezTo>
                      <a:pt x="151" y="41"/>
                      <a:pt x="163" y="27"/>
                      <a:pt x="163" y="22"/>
                    </a:cubicBezTo>
                    <a:cubicBezTo>
                      <a:pt x="163" y="17"/>
                      <a:pt x="144" y="23"/>
                      <a:pt x="144" y="23"/>
                    </a:cubicBezTo>
                    <a:cubicBezTo>
                      <a:pt x="141" y="18"/>
                      <a:pt x="141" y="18"/>
                      <a:pt x="141" y="18"/>
                    </a:cubicBezTo>
                    <a:cubicBezTo>
                      <a:pt x="136" y="19"/>
                      <a:pt x="136" y="19"/>
                      <a:pt x="136" y="19"/>
                    </a:cubicBezTo>
                    <a:cubicBezTo>
                      <a:pt x="126" y="8"/>
                      <a:pt x="126" y="8"/>
                      <a:pt x="126" y="8"/>
                    </a:cubicBezTo>
                    <a:cubicBezTo>
                      <a:pt x="126" y="8"/>
                      <a:pt x="115" y="8"/>
                      <a:pt x="109" y="7"/>
                    </a:cubicBezTo>
                    <a:cubicBezTo>
                      <a:pt x="103" y="6"/>
                      <a:pt x="96" y="8"/>
                      <a:pt x="93" y="8"/>
                    </a:cubicBezTo>
                    <a:cubicBezTo>
                      <a:pt x="90" y="8"/>
                      <a:pt x="80" y="5"/>
                      <a:pt x="80" y="5"/>
                    </a:cubicBezTo>
                    <a:cubicBezTo>
                      <a:pt x="71" y="9"/>
                      <a:pt x="71" y="9"/>
                      <a:pt x="71" y="9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8" y="8"/>
                      <a:pt x="16" y="0"/>
                      <a:pt x="12" y="1"/>
                    </a:cubicBezTo>
                    <a:cubicBezTo>
                      <a:pt x="8" y="2"/>
                      <a:pt x="9" y="15"/>
                      <a:pt x="9" y="15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18" y="39"/>
                      <a:pt x="23" y="39"/>
                      <a:pt x="26" y="43"/>
                    </a:cubicBezTo>
                    <a:cubicBezTo>
                      <a:pt x="29" y="47"/>
                      <a:pt x="26" y="57"/>
                      <a:pt x="26" y="57"/>
                    </a:cubicBezTo>
                    <a:cubicBezTo>
                      <a:pt x="37" y="60"/>
                      <a:pt x="37" y="60"/>
                      <a:pt x="37" y="60"/>
                    </a:cubicBezTo>
                    <a:cubicBezTo>
                      <a:pt x="47" y="80"/>
                      <a:pt x="47" y="80"/>
                      <a:pt x="47" y="80"/>
                    </a:cubicBezTo>
                    <a:cubicBezTo>
                      <a:pt x="47" y="80"/>
                      <a:pt x="51" y="84"/>
                      <a:pt x="75" y="99"/>
                    </a:cubicBezTo>
                    <a:cubicBezTo>
                      <a:pt x="90" y="108"/>
                      <a:pt x="86" y="116"/>
                      <a:pt x="81" y="120"/>
                    </a:cubicBezTo>
                    <a:cubicBezTo>
                      <a:pt x="89" y="121"/>
                      <a:pt x="89" y="121"/>
                      <a:pt x="89" y="121"/>
                    </a:cubicBezTo>
                    <a:cubicBezTo>
                      <a:pt x="89" y="121"/>
                      <a:pt x="116" y="148"/>
                      <a:pt x="125" y="153"/>
                    </a:cubicBezTo>
                    <a:cubicBezTo>
                      <a:pt x="138" y="137"/>
                      <a:pt x="138" y="137"/>
                      <a:pt x="138" y="137"/>
                    </a:cubicBezTo>
                    <a:cubicBezTo>
                      <a:pt x="138" y="137"/>
                      <a:pt x="127" y="131"/>
                      <a:pt x="124" y="128"/>
                    </a:cubicBezTo>
                    <a:cubicBezTo>
                      <a:pt x="121" y="125"/>
                      <a:pt x="125" y="118"/>
                      <a:pt x="125" y="118"/>
                    </a:cubicBezTo>
                    <a:cubicBezTo>
                      <a:pt x="130" y="118"/>
                      <a:pt x="130" y="118"/>
                      <a:pt x="130" y="118"/>
                    </a:cubicBezTo>
                    <a:cubicBezTo>
                      <a:pt x="130" y="118"/>
                      <a:pt x="136" y="107"/>
                      <a:pt x="139" y="103"/>
                    </a:cubicBezTo>
                    <a:cubicBezTo>
                      <a:pt x="142" y="99"/>
                      <a:pt x="150" y="104"/>
                      <a:pt x="150" y="104"/>
                    </a:cubicBezTo>
                    <a:cubicBezTo>
                      <a:pt x="150" y="89"/>
                      <a:pt x="150" y="89"/>
                      <a:pt x="150" y="89"/>
                    </a:cubicBezTo>
                    <a:cubicBezTo>
                      <a:pt x="150" y="89"/>
                      <a:pt x="169" y="93"/>
                      <a:pt x="171" y="86"/>
                    </a:cubicBezTo>
                    <a:cubicBezTo>
                      <a:pt x="173" y="79"/>
                      <a:pt x="159" y="66"/>
                      <a:pt x="159" y="66"/>
                    </a:cubicBezTo>
                    <a:cubicBezTo>
                      <a:pt x="173" y="64"/>
                      <a:pt x="173" y="64"/>
                      <a:pt x="173" y="64"/>
                    </a:cubicBezTo>
                    <a:cubicBezTo>
                      <a:pt x="173" y="64"/>
                      <a:pt x="169" y="53"/>
                      <a:pt x="162" y="5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Freeform 251">
                <a:extLst>
                  <a:ext uri="{FF2B5EF4-FFF2-40B4-BE49-F238E27FC236}">
                    <a16:creationId xmlns:a16="http://schemas.microsoft.com/office/drawing/2014/main" id="{6B44CA61-5F32-71DC-2B67-64C90ECF2E7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980" y="-15876"/>
                <a:ext cx="581" cy="439"/>
              </a:xfrm>
              <a:custGeom>
                <a:avLst/>
                <a:gdLst>
                  <a:gd name="T0" fmla="*/ 232 w 246"/>
                  <a:gd name="T1" fmla="*/ 77 h 186"/>
                  <a:gd name="T2" fmla="*/ 228 w 246"/>
                  <a:gd name="T3" fmla="*/ 65 h 186"/>
                  <a:gd name="T4" fmla="*/ 226 w 246"/>
                  <a:gd name="T5" fmla="*/ 52 h 186"/>
                  <a:gd name="T6" fmla="*/ 217 w 246"/>
                  <a:gd name="T7" fmla="*/ 32 h 186"/>
                  <a:gd name="T8" fmla="*/ 183 w 246"/>
                  <a:gd name="T9" fmla="*/ 41 h 186"/>
                  <a:gd name="T10" fmla="*/ 168 w 246"/>
                  <a:gd name="T11" fmla="*/ 34 h 186"/>
                  <a:gd name="T12" fmla="*/ 139 w 246"/>
                  <a:gd name="T13" fmla="*/ 13 h 186"/>
                  <a:gd name="T14" fmla="*/ 112 w 246"/>
                  <a:gd name="T15" fmla="*/ 2 h 186"/>
                  <a:gd name="T16" fmla="*/ 93 w 246"/>
                  <a:gd name="T17" fmla="*/ 14 h 186"/>
                  <a:gd name="T18" fmla="*/ 87 w 246"/>
                  <a:gd name="T19" fmla="*/ 31 h 186"/>
                  <a:gd name="T20" fmla="*/ 70 w 246"/>
                  <a:gd name="T21" fmla="*/ 40 h 186"/>
                  <a:gd name="T22" fmla="*/ 59 w 246"/>
                  <a:gd name="T23" fmla="*/ 53 h 186"/>
                  <a:gd name="T24" fmla="*/ 40 w 246"/>
                  <a:gd name="T25" fmla="*/ 45 h 186"/>
                  <a:gd name="T26" fmla="*/ 22 w 246"/>
                  <a:gd name="T27" fmla="*/ 54 h 186"/>
                  <a:gd name="T28" fmla="*/ 14 w 246"/>
                  <a:gd name="T29" fmla="*/ 57 h 186"/>
                  <a:gd name="T30" fmla="*/ 1 w 246"/>
                  <a:gd name="T31" fmla="*/ 67 h 186"/>
                  <a:gd name="T32" fmla="*/ 31 w 246"/>
                  <a:gd name="T33" fmla="*/ 70 h 186"/>
                  <a:gd name="T34" fmla="*/ 54 w 246"/>
                  <a:gd name="T35" fmla="*/ 87 h 186"/>
                  <a:gd name="T36" fmla="*/ 68 w 246"/>
                  <a:gd name="T37" fmla="*/ 123 h 186"/>
                  <a:gd name="T38" fmla="*/ 98 w 246"/>
                  <a:gd name="T39" fmla="*/ 161 h 186"/>
                  <a:gd name="T40" fmla="*/ 146 w 246"/>
                  <a:gd name="T41" fmla="*/ 171 h 186"/>
                  <a:gd name="T42" fmla="*/ 165 w 246"/>
                  <a:gd name="T43" fmla="*/ 186 h 186"/>
                  <a:gd name="T44" fmla="*/ 131 w 246"/>
                  <a:gd name="T45" fmla="*/ 146 h 186"/>
                  <a:gd name="T46" fmla="*/ 110 w 246"/>
                  <a:gd name="T47" fmla="*/ 123 h 186"/>
                  <a:gd name="T48" fmla="*/ 102 w 246"/>
                  <a:gd name="T49" fmla="*/ 105 h 186"/>
                  <a:gd name="T50" fmla="*/ 91 w 246"/>
                  <a:gd name="T51" fmla="*/ 93 h 186"/>
                  <a:gd name="T52" fmla="*/ 93 w 246"/>
                  <a:gd name="T53" fmla="*/ 81 h 186"/>
                  <a:gd name="T54" fmla="*/ 112 w 246"/>
                  <a:gd name="T55" fmla="*/ 74 h 186"/>
                  <a:gd name="T56" fmla="*/ 142 w 246"/>
                  <a:gd name="T57" fmla="*/ 68 h 186"/>
                  <a:gd name="T58" fmla="*/ 164 w 246"/>
                  <a:gd name="T59" fmla="*/ 71 h 186"/>
                  <a:gd name="T60" fmla="*/ 193 w 246"/>
                  <a:gd name="T61" fmla="*/ 73 h 186"/>
                  <a:gd name="T62" fmla="*/ 220 w 246"/>
                  <a:gd name="T63" fmla="*/ 85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6" h="186">
                    <a:moveTo>
                      <a:pt x="230" y="84"/>
                    </a:moveTo>
                    <a:cubicBezTo>
                      <a:pt x="232" y="77"/>
                      <a:pt x="232" y="77"/>
                      <a:pt x="232" y="77"/>
                    </a:cubicBezTo>
                    <a:cubicBezTo>
                      <a:pt x="232" y="77"/>
                      <a:pt x="246" y="74"/>
                      <a:pt x="245" y="71"/>
                    </a:cubicBezTo>
                    <a:cubicBezTo>
                      <a:pt x="244" y="68"/>
                      <a:pt x="228" y="65"/>
                      <a:pt x="228" y="65"/>
                    </a:cubicBezTo>
                    <a:cubicBezTo>
                      <a:pt x="231" y="53"/>
                      <a:pt x="231" y="53"/>
                      <a:pt x="231" y="53"/>
                    </a:cubicBezTo>
                    <a:cubicBezTo>
                      <a:pt x="226" y="52"/>
                      <a:pt x="226" y="52"/>
                      <a:pt x="226" y="52"/>
                    </a:cubicBezTo>
                    <a:cubicBezTo>
                      <a:pt x="222" y="34"/>
                      <a:pt x="222" y="34"/>
                      <a:pt x="222" y="34"/>
                    </a:cubicBezTo>
                    <a:cubicBezTo>
                      <a:pt x="217" y="32"/>
                      <a:pt x="217" y="32"/>
                      <a:pt x="217" y="32"/>
                    </a:cubicBezTo>
                    <a:cubicBezTo>
                      <a:pt x="211" y="38"/>
                      <a:pt x="211" y="38"/>
                      <a:pt x="211" y="38"/>
                    </a:cubicBezTo>
                    <a:cubicBezTo>
                      <a:pt x="183" y="41"/>
                      <a:pt x="183" y="41"/>
                      <a:pt x="183" y="41"/>
                    </a:cubicBezTo>
                    <a:cubicBezTo>
                      <a:pt x="180" y="34"/>
                      <a:pt x="180" y="34"/>
                      <a:pt x="180" y="34"/>
                    </a:cubicBezTo>
                    <a:cubicBezTo>
                      <a:pt x="168" y="34"/>
                      <a:pt x="168" y="34"/>
                      <a:pt x="168" y="34"/>
                    </a:cubicBezTo>
                    <a:cubicBezTo>
                      <a:pt x="159" y="30"/>
                      <a:pt x="159" y="30"/>
                      <a:pt x="159" y="30"/>
                    </a:cubicBezTo>
                    <a:cubicBezTo>
                      <a:pt x="159" y="30"/>
                      <a:pt x="141" y="16"/>
                      <a:pt x="139" y="13"/>
                    </a:cubicBezTo>
                    <a:cubicBezTo>
                      <a:pt x="137" y="10"/>
                      <a:pt x="125" y="0"/>
                      <a:pt x="125" y="0"/>
                    </a:cubicBezTo>
                    <a:cubicBezTo>
                      <a:pt x="112" y="2"/>
                      <a:pt x="112" y="2"/>
                      <a:pt x="112" y="2"/>
                    </a:cubicBezTo>
                    <a:cubicBezTo>
                      <a:pt x="112" y="2"/>
                      <a:pt x="115" y="6"/>
                      <a:pt x="109" y="10"/>
                    </a:cubicBezTo>
                    <a:cubicBezTo>
                      <a:pt x="103" y="14"/>
                      <a:pt x="93" y="14"/>
                      <a:pt x="93" y="14"/>
                    </a:cubicBezTo>
                    <a:cubicBezTo>
                      <a:pt x="93" y="14"/>
                      <a:pt x="84" y="14"/>
                      <a:pt x="84" y="18"/>
                    </a:cubicBezTo>
                    <a:cubicBezTo>
                      <a:pt x="84" y="22"/>
                      <a:pt x="87" y="31"/>
                      <a:pt x="87" y="31"/>
                    </a:cubicBezTo>
                    <a:cubicBezTo>
                      <a:pt x="80" y="39"/>
                      <a:pt x="80" y="39"/>
                      <a:pt x="80" y="39"/>
                    </a:cubicBezTo>
                    <a:cubicBezTo>
                      <a:pt x="70" y="40"/>
                      <a:pt x="70" y="40"/>
                      <a:pt x="70" y="40"/>
                    </a:cubicBezTo>
                    <a:cubicBezTo>
                      <a:pt x="70" y="40"/>
                      <a:pt x="74" y="51"/>
                      <a:pt x="69" y="53"/>
                    </a:cubicBezTo>
                    <a:cubicBezTo>
                      <a:pt x="64" y="55"/>
                      <a:pt x="59" y="53"/>
                      <a:pt x="59" y="53"/>
                    </a:cubicBezTo>
                    <a:cubicBezTo>
                      <a:pt x="59" y="53"/>
                      <a:pt x="52" y="54"/>
                      <a:pt x="46" y="53"/>
                    </a:cubicBezTo>
                    <a:cubicBezTo>
                      <a:pt x="40" y="52"/>
                      <a:pt x="40" y="45"/>
                      <a:pt x="40" y="45"/>
                    </a:cubicBezTo>
                    <a:cubicBezTo>
                      <a:pt x="34" y="53"/>
                      <a:pt x="34" y="53"/>
                      <a:pt x="34" y="53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4" y="57"/>
                      <a:pt x="14" y="57"/>
                      <a:pt x="14" y="57"/>
                    </a:cubicBezTo>
                    <a:cubicBezTo>
                      <a:pt x="5" y="58"/>
                      <a:pt x="5" y="58"/>
                      <a:pt x="5" y="58"/>
                    </a:cubicBezTo>
                    <a:cubicBezTo>
                      <a:pt x="3" y="62"/>
                      <a:pt x="1" y="67"/>
                      <a:pt x="1" y="67"/>
                    </a:cubicBezTo>
                    <a:cubicBezTo>
                      <a:pt x="1" y="67"/>
                      <a:pt x="0" y="97"/>
                      <a:pt x="8" y="88"/>
                    </a:cubicBezTo>
                    <a:cubicBezTo>
                      <a:pt x="16" y="79"/>
                      <a:pt x="27" y="64"/>
                      <a:pt x="31" y="70"/>
                    </a:cubicBezTo>
                    <a:cubicBezTo>
                      <a:pt x="35" y="76"/>
                      <a:pt x="35" y="91"/>
                      <a:pt x="35" y="91"/>
                    </a:cubicBezTo>
                    <a:cubicBezTo>
                      <a:pt x="54" y="87"/>
                      <a:pt x="54" y="87"/>
                      <a:pt x="54" y="87"/>
                    </a:cubicBezTo>
                    <a:cubicBezTo>
                      <a:pt x="54" y="87"/>
                      <a:pt x="48" y="107"/>
                      <a:pt x="60" y="111"/>
                    </a:cubicBezTo>
                    <a:cubicBezTo>
                      <a:pt x="72" y="115"/>
                      <a:pt x="68" y="123"/>
                      <a:pt x="68" y="123"/>
                    </a:cubicBezTo>
                    <a:cubicBezTo>
                      <a:pt x="97" y="144"/>
                      <a:pt x="97" y="144"/>
                      <a:pt x="97" y="144"/>
                    </a:cubicBezTo>
                    <a:cubicBezTo>
                      <a:pt x="98" y="161"/>
                      <a:pt x="98" y="161"/>
                      <a:pt x="98" y="161"/>
                    </a:cubicBezTo>
                    <a:cubicBezTo>
                      <a:pt x="125" y="162"/>
                      <a:pt x="125" y="162"/>
                      <a:pt x="125" y="162"/>
                    </a:cubicBezTo>
                    <a:cubicBezTo>
                      <a:pt x="125" y="162"/>
                      <a:pt x="142" y="163"/>
                      <a:pt x="146" y="171"/>
                    </a:cubicBezTo>
                    <a:cubicBezTo>
                      <a:pt x="146" y="171"/>
                      <a:pt x="142" y="180"/>
                      <a:pt x="148" y="184"/>
                    </a:cubicBezTo>
                    <a:cubicBezTo>
                      <a:pt x="165" y="186"/>
                      <a:pt x="165" y="186"/>
                      <a:pt x="165" y="186"/>
                    </a:cubicBezTo>
                    <a:cubicBezTo>
                      <a:pt x="170" y="182"/>
                      <a:pt x="174" y="174"/>
                      <a:pt x="159" y="165"/>
                    </a:cubicBezTo>
                    <a:cubicBezTo>
                      <a:pt x="135" y="150"/>
                      <a:pt x="131" y="146"/>
                      <a:pt x="131" y="146"/>
                    </a:cubicBezTo>
                    <a:cubicBezTo>
                      <a:pt x="121" y="126"/>
                      <a:pt x="121" y="126"/>
                      <a:pt x="121" y="126"/>
                    </a:cubicBezTo>
                    <a:cubicBezTo>
                      <a:pt x="110" y="123"/>
                      <a:pt x="110" y="123"/>
                      <a:pt x="110" y="123"/>
                    </a:cubicBezTo>
                    <a:cubicBezTo>
                      <a:pt x="110" y="123"/>
                      <a:pt x="113" y="113"/>
                      <a:pt x="110" y="109"/>
                    </a:cubicBezTo>
                    <a:cubicBezTo>
                      <a:pt x="107" y="105"/>
                      <a:pt x="102" y="105"/>
                      <a:pt x="102" y="105"/>
                    </a:cubicBezTo>
                    <a:cubicBezTo>
                      <a:pt x="103" y="96"/>
                      <a:pt x="103" y="96"/>
                      <a:pt x="103" y="96"/>
                    </a:cubicBezTo>
                    <a:cubicBezTo>
                      <a:pt x="91" y="93"/>
                      <a:pt x="91" y="93"/>
                      <a:pt x="91" y="93"/>
                    </a:cubicBezTo>
                    <a:cubicBezTo>
                      <a:pt x="84" y="86"/>
                      <a:pt x="84" y="86"/>
                      <a:pt x="84" y="86"/>
                    </a:cubicBezTo>
                    <a:cubicBezTo>
                      <a:pt x="93" y="81"/>
                      <a:pt x="93" y="81"/>
                      <a:pt x="93" y="81"/>
                    </a:cubicBezTo>
                    <a:cubicBezTo>
                      <a:pt x="93" y="81"/>
                      <a:pt x="92" y="68"/>
                      <a:pt x="96" y="67"/>
                    </a:cubicBezTo>
                    <a:cubicBezTo>
                      <a:pt x="100" y="66"/>
                      <a:pt x="112" y="74"/>
                      <a:pt x="112" y="74"/>
                    </a:cubicBezTo>
                    <a:cubicBezTo>
                      <a:pt x="127" y="70"/>
                      <a:pt x="127" y="70"/>
                      <a:pt x="127" y="70"/>
                    </a:cubicBezTo>
                    <a:cubicBezTo>
                      <a:pt x="142" y="68"/>
                      <a:pt x="142" y="68"/>
                      <a:pt x="142" y="68"/>
                    </a:cubicBezTo>
                    <a:cubicBezTo>
                      <a:pt x="155" y="75"/>
                      <a:pt x="155" y="75"/>
                      <a:pt x="155" y="75"/>
                    </a:cubicBezTo>
                    <a:cubicBezTo>
                      <a:pt x="164" y="71"/>
                      <a:pt x="164" y="71"/>
                      <a:pt x="164" y="71"/>
                    </a:cubicBezTo>
                    <a:cubicBezTo>
                      <a:pt x="164" y="71"/>
                      <a:pt x="174" y="74"/>
                      <a:pt x="177" y="74"/>
                    </a:cubicBezTo>
                    <a:cubicBezTo>
                      <a:pt x="180" y="74"/>
                      <a:pt x="187" y="72"/>
                      <a:pt x="193" y="73"/>
                    </a:cubicBezTo>
                    <a:cubicBezTo>
                      <a:pt x="199" y="74"/>
                      <a:pt x="210" y="74"/>
                      <a:pt x="210" y="74"/>
                    </a:cubicBezTo>
                    <a:cubicBezTo>
                      <a:pt x="220" y="85"/>
                      <a:pt x="220" y="85"/>
                      <a:pt x="220" y="85"/>
                    </a:cubicBezTo>
                    <a:lnTo>
                      <a:pt x="230" y="8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Freeform 252">
                <a:extLst>
                  <a:ext uri="{FF2B5EF4-FFF2-40B4-BE49-F238E27FC236}">
                    <a16:creationId xmlns:a16="http://schemas.microsoft.com/office/drawing/2014/main" id="{4EF7850D-450F-A07E-1A21-A0B3A1D7F0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011" y="-15928"/>
                <a:ext cx="326" cy="189"/>
              </a:xfrm>
              <a:custGeom>
                <a:avLst/>
                <a:gdLst>
                  <a:gd name="T0" fmla="*/ 18 w 138"/>
                  <a:gd name="T1" fmla="*/ 80 h 80"/>
                  <a:gd name="T2" fmla="*/ 27 w 138"/>
                  <a:gd name="T3" fmla="*/ 79 h 80"/>
                  <a:gd name="T4" fmla="*/ 29 w 138"/>
                  <a:gd name="T5" fmla="*/ 70 h 80"/>
                  <a:gd name="T6" fmla="*/ 35 w 138"/>
                  <a:gd name="T7" fmla="*/ 76 h 80"/>
                  <a:gd name="T8" fmla="*/ 47 w 138"/>
                  <a:gd name="T9" fmla="*/ 75 h 80"/>
                  <a:gd name="T10" fmla="*/ 53 w 138"/>
                  <a:gd name="T11" fmla="*/ 67 h 80"/>
                  <a:gd name="T12" fmla="*/ 59 w 138"/>
                  <a:gd name="T13" fmla="*/ 75 h 80"/>
                  <a:gd name="T14" fmla="*/ 72 w 138"/>
                  <a:gd name="T15" fmla="*/ 75 h 80"/>
                  <a:gd name="T16" fmla="*/ 82 w 138"/>
                  <a:gd name="T17" fmla="*/ 75 h 80"/>
                  <a:gd name="T18" fmla="*/ 83 w 138"/>
                  <a:gd name="T19" fmla="*/ 62 h 80"/>
                  <a:gd name="T20" fmla="*/ 93 w 138"/>
                  <a:gd name="T21" fmla="*/ 61 h 80"/>
                  <a:gd name="T22" fmla="*/ 100 w 138"/>
                  <a:gd name="T23" fmla="*/ 53 h 80"/>
                  <a:gd name="T24" fmla="*/ 97 w 138"/>
                  <a:gd name="T25" fmla="*/ 40 h 80"/>
                  <a:gd name="T26" fmla="*/ 106 w 138"/>
                  <a:gd name="T27" fmla="*/ 36 h 80"/>
                  <a:gd name="T28" fmla="*/ 122 w 138"/>
                  <a:gd name="T29" fmla="*/ 32 h 80"/>
                  <a:gd name="T30" fmla="*/ 125 w 138"/>
                  <a:gd name="T31" fmla="*/ 24 h 80"/>
                  <a:gd name="T32" fmla="*/ 138 w 138"/>
                  <a:gd name="T33" fmla="*/ 22 h 80"/>
                  <a:gd name="T34" fmla="*/ 128 w 138"/>
                  <a:gd name="T35" fmla="*/ 15 h 80"/>
                  <a:gd name="T36" fmla="*/ 125 w 138"/>
                  <a:gd name="T37" fmla="*/ 5 h 80"/>
                  <a:gd name="T38" fmla="*/ 118 w 138"/>
                  <a:gd name="T39" fmla="*/ 0 h 80"/>
                  <a:gd name="T40" fmla="*/ 115 w 138"/>
                  <a:gd name="T41" fmla="*/ 8 h 80"/>
                  <a:gd name="T42" fmla="*/ 113 w 138"/>
                  <a:gd name="T43" fmla="*/ 20 h 80"/>
                  <a:gd name="T44" fmla="*/ 97 w 138"/>
                  <a:gd name="T45" fmla="*/ 15 h 80"/>
                  <a:gd name="T46" fmla="*/ 90 w 138"/>
                  <a:gd name="T47" fmla="*/ 19 h 80"/>
                  <a:gd name="T48" fmla="*/ 57 w 138"/>
                  <a:gd name="T49" fmla="*/ 18 h 80"/>
                  <a:gd name="T50" fmla="*/ 50 w 138"/>
                  <a:gd name="T51" fmla="*/ 27 h 80"/>
                  <a:gd name="T52" fmla="*/ 35 w 138"/>
                  <a:gd name="T53" fmla="*/ 25 h 80"/>
                  <a:gd name="T54" fmla="*/ 26 w 138"/>
                  <a:gd name="T55" fmla="*/ 21 h 80"/>
                  <a:gd name="T56" fmla="*/ 14 w 138"/>
                  <a:gd name="T57" fmla="*/ 25 h 80"/>
                  <a:gd name="T58" fmla="*/ 5 w 138"/>
                  <a:gd name="T59" fmla="*/ 25 h 80"/>
                  <a:gd name="T60" fmla="*/ 0 w 138"/>
                  <a:gd name="T61" fmla="*/ 34 h 80"/>
                  <a:gd name="T62" fmla="*/ 8 w 138"/>
                  <a:gd name="T63" fmla="*/ 37 h 80"/>
                  <a:gd name="T64" fmla="*/ 3 w 138"/>
                  <a:gd name="T65" fmla="*/ 62 h 80"/>
                  <a:gd name="T66" fmla="*/ 23 w 138"/>
                  <a:gd name="T67" fmla="*/ 70 h 80"/>
                  <a:gd name="T68" fmla="*/ 18 w 138"/>
                  <a:gd name="T6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8" h="80">
                    <a:moveTo>
                      <a:pt x="18" y="80"/>
                    </a:moveTo>
                    <a:cubicBezTo>
                      <a:pt x="27" y="79"/>
                      <a:pt x="27" y="79"/>
                      <a:pt x="27" y="79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35" y="76"/>
                      <a:pt x="35" y="76"/>
                      <a:pt x="35" y="76"/>
                    </a:cubicBezTo>
                    <a:cubicBezTo>
                      <a:pt x="47" y="75"/>
                      <a:pt x="47" y="75"/>
                      <a:pt x="47" y="75"/>
                    </a:cubicBezTo>
                    <a:cubicBezTo>
                      <a:pt x="53" y="67"/>
                      <a:pt x="53" y="67"/>
                      <a:pt x="53" y="67"/>
                    </a:cubicBezTo>
                    <a:cubicBezTo>
                      <a:pt x="53" y="67"/>
                      <a:pt x="53" y="74"/>
                      <a:pt x="59" y="75"/>
                    </a:cubicBezTo>
                    <a:cubicBezTo>
                      <a:pt x="65" y="76"/>
                      <a:pt x="72" y="75"/>
                      <a:pt x="72" y="75"/>
                    </a:cubicBezTo>
                    <a:cubicBezTo>
                      <a:pt x="72" y="75"/>
                      <a:pt x="77" y="77"/>
                      <a:pt x="82" y="75"/>
                    </a:cubicBezTo>
                    <a:cubicBezTo>
                      <a:pt x="87" y="73"/>
                      <a:pt x="83" y="62"/>
                      <a:pt x="83" y="62"/>
                    </a:cubicBezTo>
                    <a:cubicBezTo>
                      <a:pt x="93" y="61"/>
                      <a:pt x="93" y="61"/>
                      <a:pt x="93" y="61"/>
                    </a:cubicBezTo>
                    <a:cubicBezTo>
                      <a:pt x="100" y="53"/>
                      <a:pt x="100" y="53"/>
                      <a:pt x="100" y="53"/>
                    </a:cubicBezTo>
                    <a:cubicBezTo>
                      <a:pt x="100" y="53"/>
                      <a:pt x="97" y="44"/>
                      <a:pt x="97" y="40"/>
                    </a:cubicBezTo>
                    <a:cubicBezTo>
                      <a:pt x="97" y="36"/>
                      <a:pt x="106" y="36"/>
                      <a:pt x="106" y="36"/>
                    </a:cubicBezTo>
                    <a:cubicBezTo>
                      <a:pt x="106" y="36"/>
                      <a:pt x="116" y="36"/>
                      <a:pt x="122" y="32"/>
                    </a:cubicBezTo>
                    <a:cubicBezTo>
                      <a:pt x="128" y="28"/>
                      <a:pt x="125" y="24"/>
                      <a:pt x="125" y="24"/>
                    </a:cubicBezTo>
                    <a:cubicBezTo>
                      <a:pt x="138" y="22"/>
                      <a:pt x="138" y="22"/>
                      <a:pt x="138" y="22"/>
                    </a:cubicBezTo>
                    <a:cubicBezTo>
                      <a:pt x="128" y="15"/>
                      <a:pt x="128" y="15"/>
                      <a:pt x="128" y="15"/>
                    </a:cubicBezTo>
                    <a:cubicBezTo>
                      <a:pt x="125" y="5"/>
                      <a:pt x="125" y="5"/>
                      <a:pt x="125" y="5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115" y="8"/>
                      <a:pt x="115" y="8"/>
                      <a:pt x="115" y="8"/>
                    </a:cubicBezTo>
                    <a:cubicBezTo>
                      <a:pt x="113" y="20"/>
                      <a:pt x="113" y="20"/>
                      <a:pt x="113" y="20"/>
                    </a:cubicBezTo>
                    <a:cubicBezTo>
                      <a:pt x="97" y="15"/>
                      <a:pt x="97" y="15"/>
                      <a:pt x="97" y="15"/>
                    </a:cubicBezTo>
                    <a:cubicBezTo>
                      <a:pt x="90" y="19"/>
                      <a:pt x="90" y="19"/>
                      <a:pt x="90" y="19"/>
                    </a:cubicBezTo>
                    <a:cubicBezTo>
                      <a:pt x="57" y="18"/>
                      <a:pt x="57" y="18"/>
                      <a:pt x="57" y="18"/>
                    </a:cubicBezTo>
                    <a:cubicBezTo>
                      <a:pt x="57" y="18"/>
                      <a:pt x="57" y="27"/>
                      <a:pt x="50" y="27"/>
                    </a:cubicBezTo>
                    <a:cubicBezTo>
                      <a:pt x="43" y="27"/>
                      <a:pt x="35" y="25"/>
                      <a:pt x="35" y="25"/>
                    </a:cubicBezTo>
                    <a:cubicBezTo>
                      <a:pt x="35" y="25"/>
                      <a:pt x="29" y="21"/>
                      <a:pt x="26" y="21"/>
                    </a:cubicBezTo>
                    <a:cubicBezTo>
                      <a:pt x="23" y="21"/>
                      <a:pt x="14" y="25"/>
                      <a:pt x="14" y="25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4" y="30"/>
                      <a:pt x="0" y="34"/>
                      <a:pt x="0" y="34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3" y="62"/>
                      <a:pt x="3" y="62"/>
                      <a:pt x="3" y="62"/>
                    </a:cubicBezTo>
                    <a:cubicBezTo>
                      <a:pt x="3" y="62"/>
                      <a:pt x="26" y="66"/>
                      <a:pt x="23" y="70"/>
                    </a:cubicBezTo>
                    <a:cubicBezTo>
                      <a:pt x="22" y="72"/>
                      <a:pt x="20" y="76"/>
                      <a:pt x="18" y="8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Freeform 253">
                <a:extLst>
                  <a:ext uri="{FF2B5EF4-FFF2-40B4-BE49-F238E27FC236}">
                    <a16:creationId xmlns:a16="http://schemas.microsoft.com/office/drawing/2014/main" id="{9B39118C-7180-61F0-4461-B66085CA64B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673" y="-16254"/>
                <a:ext cx="565" cy="232"/>
              </a:xfrm>
              <a:custGeom>
                <a:avLst/>
                <a:gdLst>
                  <a:gd name="T0" fmla="*/ 233 w 239"/>
                  <a:gd name="T1" fmla="*/ 23 h 98"/>
                  <a:gd name="T2" fmla="*/ 214 w 239"/>
                  <a:gd name="T3" fmla="*/ 19 h 98"/>
                  <a:gd name="T4" fmla="*/ 194 w 239"/>
                  <a:gd name="T5" fmla="*/ 6 h 98"/>
                  <a:gd name="T6" fmla="*/ 170 w 239"/>
                  <a:gd name="T7" fmla="*/ 14 h 98"/>
                  <a:gd name="T8" fmla="*/ 159 w 239"/>
                  <a:gd name="T9" fmla="*/ 10 h 98"/>
                  <a:gd name="T10" fmla="*/ 140 w 239"/>
                  <a:gd name="T11" fmla="*/ 9 h 98"/>
                  <a:gd name="T12" fmla="*/ 132 w 239"/>
                  <a:gd name="T13" fmla="*/ 18 h 98"/>
                  <a:gd name="T14" fmla="*/ 126 w 239"/>
                  <a:gd name="T15" fmla="*/ 11 h 98"/>
                  <a:gd name="T16" fmla="*/ 119 w 239"/>
                  <a:gd name="T17" fmla="*/ 11 h 98"/>
                  <a:gd name="T18" fmla="*/ 111 w 239"/>
                  <a:gd name="T19" fmla="*/ 2 h 98"/>
                  <a:gd name="T20" fmla="*/ 91 w 239"/>
                  <a:gd name="T21" fmla="*/ 8 h 98"/>
                  <a:gd name="T22" fmla="*/ 83 w 239"/>
                  <a:gd name="T23" fmla="*/ 2 h 98"/>
                  <a:gd name="T24" fmla="*/ 72 w 239"/>
                  <a:gd name="T25" fmla="*/ 9 h 98"/>
                  <a:gd name="T26" fmla="*/ 58 w 239"/>
                  <a:gd name="T27" fmla="*/ 15 h 98"/>
                  <a:gd name="T28" fmla="*/ 58 w 239"/>
                  <a:gd name="T29" fmla="*/ 28 h 98"/>
                  <a:gd name="T30" fmla="*/ 36 w 239"/>
                  <a:gd name="T31" fmla="*/ 40 h 98"/>
                  <a:gd name="T32" fmla="*/ 24 w 239"/>
                  <a:gd name="T33" fmla="*/ 39 h 98"/>
                  <a:gd name="T34" fmla="*/ 12 w 239"/>
                  <a:gd name="T35" fmla="*/ 41 h 98"/>
                  <a:gd name="T36" fmla="*/ 3 w 239"/>
                  <a:gd name="T37" fmla="*/ 46 h 98"/>
                  <a:gd name="T38" fmla="*/ 1 w 239"/>
                  <a:gd name="T39" fmla="*/ 60 h 98"/>
                  <a:gd name="T40" fmla="*/ 0 w 239"/>
                  <a:gd name="T41" fmla="*/ 70 h 98"/>
                  <a:gd name="T42" fmla="*/ 7 w 239"/>
                  <a:gd name="T43" fmla="*/ 75 h 98"/>
                  <a:gd name="T44" fmla="*/ 7 w 239"/>
                  <a:gd name="T45" fmla="*/ 87 h 98"/>
                  <a:gd name="T46" fmla="*/ 7 w 239"/>
                  <a:gd name="T47" fmla="*/ 87 h 98"/>
                  <a:gd name="T48" fmla="*/ 13 w 239"/>
                  <a:gd name="T49" fmla="*/ 92 h 98"/>
                  <a:gd name="T50" fmla="*/ 20 w 239"/>
                  <a:gd name="T51" fmla="*/ 81 h 98"/>
                  <a:gd name="T52" fmla="*/ 40 w 239"/>
                  <a:gd name="T53" fmla="*/ 97 h 98"/>
                  <a:gd name="T54" fmla="*/ 81 w 239"/>
                  <a:gd name="T55" fmla="*/ 94 h 98"/>
                  <a:gd name="T56" fmla="*/ 87 w 239"/>
                  <a:gd name="T57" fmla="*/ 78 h 98"/>
                  <a:gd name="T58" fmla="*/ 111 w 239"/>
                  <a:gd name="T59" fmla="*/ 81 h 98"/>
                  <a:gd name="T60" fmla="*/ 118 w 239"/>
                  <a:gd name="T61" fmla="*/ 73 h 98"/>
                  <a:gd name="T62" fmla="*/ 144 w 239"/>
                  <a:gd name="T63" fmla="*/ 69 h 98"/>
                  <a:gd name="T64" fmla="*/ 155 w 239"/>
                  <a:gd name="T65" fmla="*/ 53 h 98"/>
                  <a:gd name="T66" fmla="*/ 171 w 239"/>
                  <a:gd name="T67" fmla="*/ 53 h 98"/>
                  <a:gd name="T68" fmla="*/ 174 w 239"/>
                  <a:gd name="T69" fmla="*/ 63 h 98"/>
                  <a:gd name="T70" fmla="*/ 183 w 239"/>
                  <a:gd name="T71" fmla="*/ 64 h 98"/>
                  <a:gd name="T72" fmla="*/ 188 w 239"/>
                  <a:gd name="T73" fmla="*/ 53 h 98"/>
                  <a:gd name="T74" fmla="*/ 194 w 239"/>
                  <a:gd name="T75" fmla="*/ 63 h 98"/>
                  <a:gd name="T76" fmla="*/ 223 w 239"/>
                  <a:gd name="T77" fmla="*/ 59 h 98"/>
                  <a:gd name="T78" fmla="*/ 223 w 239"/>
                  <a:gd name="T79" fmla="*/ 59 h 98"/>
                  <a:gd name="T80" fmla="*/ 224 w 239"/>
                  <a:gd name="T81" fmla="*/ 51 h 98"/>
                  <a:gd name="T82" fmla="*/ 234 w 239"/>
                  <a:gd name="T83" fmla="*/ 43 h 98"/>
                  <a:gd name="T84" fmla="*/ 237 w 239"/>
                  <a:gd name="T85" fmla="*/ 30 h 98"/>
                  <a:gd name="T86" fmla="*/ 233 w 239"/>
                  <a:gd name="T87" fmla="*/ 23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9" h="98">
                    <a:moveTo>
                      <a:pt x="233" y="23"/>
                    </a:moveTo>
                    <a:cubicBezTo>
                      <a:pt x="227" y="23"/>
                      <a:pt x="221" y="25"/>
                      <a:pt x="214" y="19"/>
                    </a:cubicBezTo>
                    <a:cubicBezTo>
                      <a:pt x="207" y="13"/>
                      <a:pt x="208" y="6"/>
                      <a:pt x="194" y="6"/>
                    </a:cubicBezTo>
                    <a:cubicBezTo>
                      <a:pt x="180" y="6"/>
                      <a:pt x="175" y="14"/>
                      <a:pt x="170" y="14"/>
                    </a:cubicBezTo>
                    <a:cubicBezTo>
                      <a:pt x="165" y="14"/>
                      <a:pt x="159" y="10"/>
                      <a:pt x="159" y="10"/>
                    </a:cubicBezTo>
                    <a:cubicBezTo>
                      <a:pt x="140" y="9"/>
                      <a:pt x="140" y="9"/>
                      <a:pt x="140" y="9"/>
                    </a:cubicBezTo>
                    <a:cubicBezTo>
                      <a:pt x="140" y="9"/>
                      <a:pt x="141" y="18"/>
                      <a:pt x="132" y="18"/>
                    </a:cubicBezTo>
                    <a:cubicBezTo>
                      <a:pt x="123" y="18"/>
                      <a:pt x="126" y="11"/>
                      <a:pt x="126" y="11"/>
                    </a:cubicBezTo>
                    <a:cubicBezTo>
                      <a:pt x="119" y="11"/>
                      <a:pt x="119" y="11"/>
                      <a:pt x="119" y="11"/>
                    </a:cubicBezTo>
                    <a:cubicBezTo>
                      <a:pt x="119" y="11"/>
                      <a:pt x="118" y="4"/>
                      <a:pt x="111" y="2"/>
                    </a:cubicBezTo>
                    <a:cubicBezTo>
                      <a:pt x="104" y="0"/>
                      <a:pt x="94" y="8"/>
                      <a:pt x="91" y="8"/>
                    </a:cubicBezTo>
                    <a:cubicBezTo>
                      <a:pt x="89" y="8"/>
                      <a:pt x="86" y="5"/>
                      <a:pt x="83" y="2"/>
                    </a:cubicBezTo>
                    <a:cubicBezTo>
                      <a:pt x="72" y="9"/>
                      <a:pt x="72" y="9"/>
                      <a:pt x="72" y="9"/>
                    </a:cubicBezTo>
                    <a:cubicBezTo>
                      <a:pt x="58" y="15"/>
                      <a:pt x="58" y="15"/>
                      <a:pt x="58" y="15"/>
                    </a:cubicBezTo>
                    <a:cubicBezTo>
                      <a:pt x="58" y="28"/>
                      <a:pt x="58" y="28"/>
                      <a:pt x="58" y="28"/>
                    </a:cubicBezTo>
                    <a:cubicBezTo>
                      <a:pt x="58" y="28"/>
                      <a:pt x="43" y="35"/>
                      <a:pt x="36" y="40"/>
                    </a:cubicBezTo>
                    <a:cubicBezTo>
                      <a:pt x="31" y="43"/>
                      <a:pt x="25" y="41"/>
                      <a:pt x="24" y="39"/>
                    </a:cubicBezTo>
                    <a:cubicBezTo>
                      <a:pt x="21" y="40"/>
                      <a:pt x="15" y="40"/>
                      <a:pt x="12" y="41"/>
                    </a:cubicBezTo>
                    <a:cubicBezTo>
                      <a:pt x="8" y="42"/>
                      <a:pt x="3" y="46"/>
                      <a:pt x="3" y="46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70"/>
                      <a:pt x="6" y="69"/>
                      <a:pt x="7" y="75"/>
                    </a:cubicBezTo>
                    <a:cubicBezTo>
                      <a:pt x="7" y="78"/>
                      <a:pt x="7" y="83"/>
                      <a:pt x="7" y="87"/>
                    </a:cubicBezTo>
                    <a:cubicBezTo>
                      <a:pt x="7" y="87"/>
                      <a:pt x="7" y="87"/>
                      <a:pt x="7" y="87"/>
                    </a:cubicBezTo>
                    <a:cubicBezTo>
                      <a:pt x="13" y="92"/>
                      <a:pt x="13" y="92"/>
                      <a:pt x="13" y="92"/>
                    </a:cubicBezTo>
                    <a:cubicBezTo>
                      <a:pt x="20" y="81"/>
                      <a:pt x="20" y="81"/>
                      <a:pt x="20" y="81"/>
                    </a:cubicBezTo>
                    <a:cubicBezTo>
                      <a:pt x="20" y="81"/>
                      <a:pt x="23" y="98"/>
                      <a:pt x="40" y="97"/>
                    </a:cubicBezTo>
                    <a:cubicBezTo>
                      <a:pt x="57" y="96"/>
                      <a:pt x="81" y="94"/>
                      <a:pt x="81" y="94"/>
                    </a:cubicBezTo>
                    <a:cubicBezTo>
                      <a:pt x="87" y="78"/>
                      <a:pt x="87" y="78"/>
                      <a:pt x="87" y="78"/>
                    </a:cubicBezTo>
                    <a:cubicBezTo>
                      <a:pt x="111" y="81"/>
                      <a:pt x="111" y="81"/>
                      <a:pt x="111" y="81"/>
                    </a:cubicBezTo>
                    <a:cubicBezTo>
                      <a:pt x="118" y="73"/>
                      <a:pt x="118" y="73"/>
                      <a:pt x="118" y="73"/>
                    </a:cubicBezTo>
                    <a:cubicBezTo>
                      <a:pt x="118" y="73"/>
                      <a:pt x="141" y="72"/>
                      <a:pt x="144" y="69"/>
                    </a:cubicBezTo>
                    <a:cubicBezTo>
                      <a:pt x="147" y="66"/>
                      <a:pt x="155" y="53"/>
                      <a:pt x="155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74" y="63"/>
                      <a:pt x="174" y="63"/>
                      <a:pt x="174" y="63"/>
                    </a:cubicBezTo>
                    <a:cubicBezTo>
                      <a:pt x="183" y="64"/>
                      <a:pt x="183" y="64"/>
                      <a:pt x="183" y="64"/>
                    </a:cubicBezTo>
                    <a:cubicBezTo>
                      <a:pt x="183" y="64"/>
                      <a:pt x="183" y="53"/>
                      <a:pt x="188" y="53"/>
                    </a:cubicBezTo>
                    <a:cubicBezTo>
                      <a:pt x="193" y="53"/>
                      <a:pt x="194" y="63"/>
                      <a:pt x="194" y="63"/>
                    </a:cubicBezTo>
                    <a:cubicBezTo>
                      <a:pt x="194" y="63"/>
                      <a:pt x="215" y="57"/>
                      <a:pt x="223" y="59"/>
                    </a:cubicBezTo>
                    <a:cubicBezTo>
                      <a:pt x="223" y="59"/>
                      <a:pt x="223" y="59"/>
                      <a:pt x="223" y="59"/>
                    </a:cubicBezTo>
                    <a:cubicBezTo>
                      <a:pt x="224" y="51"/>
                      <a:pt x="224" y="51"/>
                      <a:pt x="224" y="51"/>
                    </a:cubicBezTo>
                    <a:cubicBezTo>
                      <a:pt x="224" y="51"/>
                      <a:pt x="232" y="49"/>
                      <a:pt x="234" y="43"/>
                    </a:cubicBezTo>
                    <a:cubicBezTo>
                      <a:pt x="236" y="37"/>
                      <a:pt x="237" y="30"/>
                      <a:pt x="237" y="30"/>
                    </a:cubicBezTo>
                    <a:cubicBezTo>
                      <a:pt x="237" y="30"/>
                      <a:pt x="239" y="23"/>
                      <a:pt x="233" y="23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Freeform 254">
                <a:extLst>
                  <a:ext uri="{FF2B5EF4-FFF2-40B4-BE49-F238E27FC236}">
                    <a16:creationId xmlns:a16="http://schemas.microsoft.com/office/drawing/2014/main" id="{D1BB1161-66EF-8118-A550-8018AA7124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732" y="-16129"/>
                <a:ext cx="676" cy="350"/>
              </a:xfrm>
              <a:custGeom>
                <a:avLst/>
                <a:gdLst>
                  <a:gd name="T0" fmla="*/ 31 w 286"/>
                  <a:gd name="T1" fmla="*/ 43 h 148"/>
                  <a:gd name="T2" fmla="*/ 16 w 286"/>
                  <a:gd name="T3" fmla="*/ 43 h 148"/>
                  <a:gd name="T4" fmla="*/ 15 w 286"/>
                  <a:gd name="T5" fmla="*/ 52 h 148"/>
                  <a:gd name="T6" fmla="*/ 23 w 286"/>
                  <a:gd name="T7" fmla="*/ 53 h 148"/>
                  <a:gd name="T8" fmla="*/ 15 w 286"/>
                  <a:gd name="T9" fmla="*/ 65 h 148"/>
                  <a:gd name="T10" fmla="*/ 15 w 286"/>
                  <a:gd name="T11" fmla="*/ 79 h 148"/>
                  <a:gd name="T12" fmla="*/ 2 w 286"/>
                  <a:gd name="T13" fmla="*/ 81 h 148"/>
                  <a:gd name="T14" fmla="*/ 0 w 286"/>
                  <a:gd name="T15" fmla="*/ 85 h 148"/>
                  <a:gd name="T16" fmla="*/ 7 w 286"/>
                  <a:gd name="T17" fmla="*/ 90 h 148"/>
                  <a:gd name="T18" fmla="*/ 10 w 286"/>
                  <a:gd name="T19" fmla="*/ 100 h 148"/>
                  <a:gd name="T20" fmla="*/ 20 w 286"/>
                  <a:gd name="T21" fmla="*/ 107 h 148"/>
                  <a:gd name="T22" fmla="*/ 34 w 286"/>
                  <a:gd name="T23" fmla="*/ 120 h 148"/>
                  <a:gd name="T24" fmla="*/ 54 w 286"/>
                  <a:gd name="T25" fmla="*/ 137 h 148"/>
                  <a:gd name="T26" fmla="*/ 63 w 286"/>
                  <a:gd name="T27" fmla="*/ 141 h 148"/>
                  <a:gd name="T28" fmla="*/ 75 w 286"/>
                  <a:gd name="T29" fmla="*/ 141 h 148"/>
                  <a:gd name="T30" fmla="*/ 78 w 286"/>
                  <a:gd name="T31" fmla="*/ 148 h 148"/>
                  <a:gd name="T32" fmla="*/ 106 w 286"/>
                  <a:gd name="T33" fmla="*/ 145 h 148"/>
                  <a:gd name="T34" fmla="*/ 112 w 286"/>
                  <a:gd name="T35" fmla="*/ 139 h 148"/>
                  <a:gd name="T36" fmla="*/ 115 w 286"/>
                  <a:gd name="T37" fmla="*/ 140 h 148"/>
                  <a:gd name="T38" fmla="*/ 118 w 286"/>
                  <a:gd name="T39" fmla="*/ 136 h 148"/>
                  <a:gd name="T40" fmla="*/ 133 w 286"/>
                  <a:gd name="T41" fmla="*/ 136 h 148"/>
                  <a:gd name="T42" fmla="*/ 145 w 286"/>
                  <a:gd name="T43" fmla="*/ 125 h 148"/>
                  <a:gd name="T44" fmla="*/ 163 w 286"/>
                  <a:gd name="T45" fmla="*/ 125 h 148"/>
                  <a:gd name="T46" fmla="*/ 176 w 286"/>
                  <a:gd name="T47" fmla="*/ 131 h 148"/>
                  <a:gd name="T48" fmla="*/ 192 w 286"/>
                  <a:gd name="T49" fmla="*/ 127 h 148"/>
                  <a:gd name="T50" fmla="*/ 194 w 286"/>
                  <a:gd name="T51" fmla="*/ 118 h 148"/>
                  <a:gd name="T52" fmla="*/ 205 w 286"/>
                  <a:gd name="T53" fmla="*/ 120 h 148"/>
                  <a:gd name="T54" fmla="*/ 221 w 286"/>
                  <a:gd name="T55" fmla="*/ 110 h 148"/>
                  <a:gd name="T56" fmla="*/ 222 w 286"/>
                  <a:gd name="T57" fmla="*/ 96 h 148"/>
                  <a:gd name="T58" fmla="*/ 238 w 286"/>
                  <a:gd name="T59" fmla="*/ 83 h 148"/>
                  <a:gd name="T60" fmla="*/ 245 w 286"/>
                  <a:gd name="T61" fmla="*/ 66 h 148"/>
                  <a:gd name="T62" fmla="*/ 246 w 286"/>
                  <a:gd name="T63" fmla="*/ 48 h 148"/>
                  <a:gd name="T64" fmla="*/ 266 w 286"/>
                  <a:gd name="T65" fmla="*/ 41 h 148"/>
                  <a:gd name="T66" fmla="*/ 286 w 286"/>
                  <a:gd name="T67" fmla="*/ 27 h 148"/>
                  <a:gd name="T68" fmla="*/ 264 w 286"/>
                  <a:gd name="T69" fmla="*/ 19 h 148"/>
                  <a:gd name="T70" fmla="*/ 248 w 286"/>
                  <a:gd name="T71" fmla="*/ 6 h 148"/>
                  <a:gd name="T72" fmla="*/ 219 w 286"/>
                  <a:gd name="T73" fmla="*/ 10 h 148"/>
                  <a:gd name="T74" fmla="*/ 213 w 286"/>
                  <a:gd name="T75" fmla="*/ 0 h 148"/>
                  <a:gd name="T76" fmla="*/ 208 w 286"/>
                  <a:gd name="T77" fmla="*/ 11 h 148"/>
                  <a:gd name="T78" fmla="*/ 199 w 286"/>
                  <a:gd name="T79" fmla="*/ 10 h 148"/>
                  <a:gd name="T80" fmla="*/ 196 w 286"/>
                  <a:gd name="T81" fmla="*/ 0 h 148"/>
                  <a:gd name="T82" fmla="*/ 180 w 286"/>
                  <a:gd name="T83" fmla="*/ 0 h 148"/>
                  <a:gd name="T84" fmla="*/ 169 w 286"/>
                  <a:gd name="T85" fmla="*/ 16 h 148"/>
                  <a:gd name="T86" fmla="*/ 143 w 286"/>
                  <a:gd name="T87" fmla="*/ 20 h 148"/>
                  <a:gd name="T88" fmla="*/ 136 w 286"/>
                  <a:gd name="T89" fmla="*/ 28 h 148"/>
                  <a:gd name="T90" fmla="*/ 112 w 286"/>
                  <a:gd name="T91" fmla="*/ 25 h 148"/>
                  <a:gd name="T92" fmla="*/ 106 w 286"/>
                  <a:gd name="T93" fmla="*/ 41 h 148"/>
                  <a:gd name="T94" fmla="*/ 65 w 286"/>
                  <a:gd name="T95" fmla="*/ 44 h 148"/>
                  <a:gd name="T96" fmla="*/ 45 w 286"/>
                  <a:gd name="T97" fmla="*/ 28 h 148"/>
                  <a:gd name="T98" fmla="*/ 38 w 286"/>
                  <a:gd name="T99" fmla="*/ 39 h 148"/>
                  <a:gd name="T100" fmla="*/ 32 w 286"/>
                  <a:gd name="T101" fmla="*/ 34 h 148"/>
                  <a:gd name="T102" fmla="*/ 31 w 286"/>
                  <a:gd name="T103" fmla="*/ 43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86" h="148">
                    <a:moveTo>
                      <a:pt x="31" y="43"/>
                    </a:moveTo>
                    <a:cubicBezTo>
                      <a:pt x="16" y="43"/>
                      <a:pt x="16" y="43"/>
                      <a:pt x="16" y="43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23" y="53"/>
                      <a:pt x="23" y="53"/>
                      <a:pt x="23" y="53"/>
                    </a:cubicBezTo>
                    <a:cubicBezTo>
                      <a:pt x="15" y="65"/>
                      <a:pt x="15" y="65"/>
                      <a:pt x="15" y="65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2" y="81"/>
                      <a:pt x="2" y="81"/>
                      <a:pt x="2" y="81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7" y="90"/>
                      <a:pt x="7" y="90"/>
                      <a:pt x="7" y="90"/>
                    </a:cubicBezTo>
                    <a:cubicBezTo>
                      <a:pt x="10" y="100"/>
                      <a:pt x="10" y="100"/>
                      <a:pt x="10" y="100"/>
                    </a:cubicBezTo>
                    <a:cubicBezTo>
                      <a:pt x="20" y="107"/>
                      <a:pt x="20" y="107"/>
                      <a:pt x="20" y="107"/>
                    </a:cubicBezTo>
                    <a:cubicBezTo>
                      <a:pt x="20" y="107"/>
                      <a:pt x="32" y="117"/>
                      <a:pt x="34" y="120"/>
                    </a:cubicBezTo>
                    <a:cubicBezTo>
                      <a:pt x="36" y="123"/>
                      <a:pt x="54" y="137"/>
                      <a:pt x="54" y="137"/>
                    </a:cubicBezTo>
                    <a:cubicBezTo>
                      <a:pt x="63" y="141"/>
                      <a:pt x="63" y="141"/>
                      <a:pt x="63" y="141"/>
                    </a:cubicBezTo>
                    <a:cubicBezTo>
                      <a:pt x="75" y="141"/>
                      <a:pt x="75" y="141"/>
                      <a:pt x="75" y="141"/>
                    </a:cubicBezTo>
                    <a:cubicBezTo>
                      <a:pt x="78" y="148"/>
                      <a:pt x="78" y="148"/>
                      <a:pt x="78" y="148"/>
                    </a:cubicBezTo>
                    <a:cubicBezTo>
                      <a:pt x="106" y="145"/>
                      <a:pt x="106" y="145"/>
                      <a:pt x="106" y="145"/>
                    </a:cubicBezTo>
                    <a:cubicBezTo>
                      <a:pt x="112" y="139"/>
                      <a:pt x="112" y="139"/>
                      <a:pt x="112" y="139"/>
                    </a:cubicBezTo>
                    <a:cubicBezTo>
                      <a:pt x="115" y="140"/>
                      <a:pt x="115" y="140"/>
                      <a:pt x="115" y="140"/>
                    </a:cubicBezTo>
                    <a:cubicBezTo>
                      <a:pt x="118" y="136"/>
                      <a:pt x="118" y="136"/>
                      <a:pt x="118" y="136"/>
                    </a:cubicBezTo>
                    <a:cubicBezTo>
                      <a:pt x="133" y="136"/>
                      <a:pt x="133" y="136"/>
                      <a:pt x="133" y="136"/>
                    </a:cubicBezTo>
                    <a:cubicBezTo>
                      <a:pt x="133" y="136"/>
                      <a:pt x="142" y="131"/>
                      <a:pt x="145" y="125"/>
                    </a:cubicBezTo>
                    <a:cubicBezTo>
                      <a:pt x="148" y="119"/>
                      <a:pt x="163" y="125"/>
                      <a:pt x="163" y="125"/>
                    </a:cubicBezTo>
                    <a:cubicBezTo>
                      <a:pt x="176" y="131"/>
                      <a:pt x="176" y="131"/>
                      <a:pt x="176" y="131"/>
                    </a:cubicBezTo>
                    <a:cubicBezTo>
                      <a:pt x="192" y="127"/>
                      <a:pt x="192" y="127"/>
                      <a:pt x="192" y="127"/>
                    </a:cubicBezTo>
                    <a:cubicBezTo>
                      <a:pt x="194" y="118"/>
                      <a:pt x="194" y="118"/>
                      <a:pt x="194" y="118"/>
                    </a:cubicBezTo>
                    <a:cubicBezTo>
                      <a:pt x="205" y="120"/>
                      <a:pt x="205" y="120"/>
                      <a:pt x="205" y="120"/>
                    </a:cubicBezTo>
                    <a:cubicBezTo>
                      <a:pt x="205" y="120"/>
                      <a:pt x="215" y="116"/>
                      <a:pt x="221" y="110"/>
                    </a:cubicBezTo>
                    <a:cubicBezTo>
                      <a:pt x="227" y="104"/>
                      <a:pt x="222" y="96"/>
                      <a:pt x="222" y="96"/>
                    </a:cubicBezTo>
                    <a:cubicBezTo>
                      <a:pt x="222" y="96"/>
                      <a:pt x="228" y="88"/>
                      <a:pt x="238" y="83"/>
                    </a:cubicBezTo>
                    <a:cubicBezTo>
                      <a:pt x="248" y="78"/>
                      <a:pt x="245" y="66"/>
                      <a:pt x="245" y="66"/>
                    </a:cubicBezTo>
                    <a:cubicBezTo>
                      <a:pt x="245" y="66"/>
                      <a:pt x="245" y="54"/>
                      <a:pt x="246" y="48"/>
                    </a:cubicBezTo>
                    <a:cubicBezTo>
                      <a:pt x="247" y="42"/>
                      <a:pt x="256" y="42"/>
                      <a:pt x="266" y="41"/>
                    </a:cubicBezTo>
                    <a:cubicBezTo>
                      <a:pt x="276" y="40"/>
                      <a:pt x="286" y="27"/>
                      <a:pt x="286" y="27"/>
                    </a:cubicBezTo>
                    <a:cubicBezTo>
                      <a:pt x="286" y="27"/>
                      <a:pt x="270" y="20"/>
                      <a:pt x="264" y="19"/>
                    </a:cubicBezTo>
                    <a:cubicBezTo>
                      <a:pt x="258" y="18"/>
                      <a:pt x="256" y="8"/>
                      <a:pt x="248" y="6"/>
                    </a:cubicBezTo>
                    <a:cubicBezTo>
                      <a:pt x="240" y="4"/>
                      <a:pt x="219" y="10"/>
                      <a:pt x="219" y="10"/>
                    </a:cubicBezTo>
                    <a:cubicBezTo>
                      <a:pt x="219" y="10"/>
                      <a:pt x="218" y="0"/>
                      <a:pt x="213" y="0"/>
                    </a:cubicBezTo>
                    <a:cubicBezTo>
                      <a:pt x="208" y="0"/>
                      <a:pt x="208" y="11"/>
                      <a:pt x="208" y="11"/>
                    </a:cubicBezTo>
                    <a:cubicBezTo>
                      <a:pt x="199" y="10"/>
                      <a:pt x="199" y="10"/>
                      <a:pt x="199" y="1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180" y="0"/>
                      <a:pt x="180" y="0"/>
                      <a:pt x="180" y="0"/>
                    </a:cubicBezTo>
                    <a:cubicBezTo>
                      <a:pt x="180" y="0"/>
                      <a:pt x="172" y="13"/>
                      <a:pt x="169" y="16"/>
                    </a:cubicBezTo>
                    <a:cubicBezTo>
                      <a:pt x="166" y="19"/>
                      <a:pt x="143" y="20"/>
                      <a:pt x="143" y="20"/>
                    </a:cubicBezTo>
                    <a:cubicBezTo>
                      <a:pt x="136" y="28"/>
                      <a:pt x="136" y="28"/>
                      <a:pt x="136" y="28"/>
                    </a:cubicBezTo>
                    <a:cubicBezTo>
                      <a:pt x="112" y="25"/>
                      <a:pt x="112" y="25"/>
                      <a:pt x="112" y="25"/>
                    </a:cubicBezTo>
                    <a:cubicBezTo>
                      <a:pt x="106" y="41"/>
                      <a:pt x="106" y="41"/>
                      <a:pt x="106" y="41"/>
                    </a:cubicBezTo>
                    <a:cubicBezTo>
                      <a:pt x="106" y="41"/>
                      <a:pt x="82" y="43"/>
                      <a:pt x="65" y="44"/>
                    </a:cubicBezTo>
                    <a:cubicBezTo>
                      <a:pt x="48" y="45"/>
                      <a:pt x="45" y="28"/>
                      <a:pt x="45" y="28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2" y="34"/>
                      <a:pt x="32" y="34"/>
                      <a:pt x="32" y="34"/>
                    </a:cubicBezTo>
                    <a:cubicBezTo>
                      <a:pt x="31" y="39"/>
                      <a:pt x="31" y="43"/>
                      <a:pt x="31" y="43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255">
                <a:extLst>
                  <a:ext uri="{FF2B5EF4-FFF2-40B4-BE49-F238E27FC236}">
                    <a16:creationId xmlns:a16="http://schemas.microsoft.com/office/drawing/2014/main" id="{E48B2C46-12A0-0EC8-A1BA-A6DAF9BE99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314" y="-17095"/>
                <a:ext cx="543" cy="312"/>
              </a:xfrm>
              <a:custGeom>
                <a:avLst/>
                <a:gdLst>
                  <a:gd name="T0" fmla="*/ 222 w 230"/>
                  <a:gd name="T1" fmla="*/ 42 h 132"/>
                  <a:gd name="T2" fmla="*/ 210 w 230"/>
                  <a:gd name="T3" fmla="*/ 38 h 132"/>
                  <a:gd name="T4" fmla="*/ 195 w 230"/>
                  <a:gd name="T5" fmla="*/ 30 h 132"/>
                  <a:gd name="T6" fmla="*/ 184 w 230"/>
                  <a:gd name="T7" fmla="*/ 20 h 132"/>
                  <a:gd name="T8" fmla="*/ 157 w 230"/>
                  <a:gd name="T9" fmla="*/ 17 h 132"/>
                  <a:gd name="T10" fmla="*/ 145 w 230"/>
                  <a:gd name="T11" fmla="*/ 4 h 132"/>
                  <a:gd name="T12" fmla="*/ 128 w 230"/>
                  <a:gd name="T13" fmla="*/ 12 h 132"/>
                  <a:gd name="T14" fmla="*/ 113 w 230"/>
                  <a:gd name="T15" fmla="*/ 8 h 132"/>
                  <a:gd name="T16" fmla="*/ 104 w 230"/>
                  <a:gd name="T17" fmla="*/ 13 h 132"/>
                  <a:gd name="T18" fmla="*/ 81 w 230"/>
                  <a:gd name="T19" fmla="*/ 7 h 132"/>
                  <a:gd name="T20" fmla="*/ 73 w 230"/>
                  <a:gd name="T21" fmla="*/ 9 h 132"/>
                  <a:gd name="T22" fmla="*/ 60 w 230"/>
                  <a:gd name="T23" fmla="*/ 2 h 132"/>
                  <a:gd name="T24" fmla="*/ 46 w 230"/>
                  <a:gd name="T25" fmla="*/ 5 h 132"/>
                  <a:gd name="T26" fmla="*/ 13 w 230"/>
                  <a:gd name="T27" fmla="*/ 11 h 132"/>
                  <a:gd name="T28" fmla="*/ 0 w 230"/>
                  <a:gd name="T29" fmla="*/ 16 h 132"/>
                  <a:gd name="T30" fmla="*/ 1 w 230"/>
                  <a:gd name="T31" fmla="*/ 23 h 132"/>
                  <a:gd name="T32" fmla="*/ 11 w 230"/>
                  <a:gd name="T33" fmla="*/ 60 h 132"/>
                  <a:gd name="T34" fmla="*/ 14 w 230"/>
                  <a:gd name="T35" fmla="*/ 64 h 132"/>
                  <a:gd name="T36" fmla="*/ 19 w 230"/>
                  <a:gd name="T37" fmla="*/ 64 h 132"/>
                  <a:gd name="T38" fmla="*/ 22 w 230"/>
                  <a:gd name="T39" fmla="*/ 70 h 132"/>
                  <a:gd name="T40" fmla="*/ 30 w 230"/>
                  <a:gd name="T41" fmla="*/ 69 h 132"/>
                  <a:gd name="T42" fmla="*/ 32 w 230"/>
                  <a:gd name="T43" fmla="*/ 75 h 132"/>
                  <a:gd name="T44" fmla="*/ 64 w 230"/>
                  <a:gd name="T45" fmla="*/ 71 h 132"/>
                  <a:gd name="T46" fmla="*/ 74 w 230"/>
                  <a:gd name="T47" fmla="*/ 86 h 132"/>
                  <a:gd name="T48" fmla="*/ 65 w 230"/>
                  <a:gd name="T49" fmla="*/ 98 h 132"/>
                  <a:gd name="T50" fmla="*/ 70 w 230"/>
                  <a:gd name="T51" fmla="*/ 108 h 132"/>
                  <a:gd name="T52" fmla="*/ 74 w 230"/>
                  <a:gd name="T53" fmla="*/ 108 h 132"/>
                  <a:gd name="T54" fmla="*/ 103 w 230"/>
                  <a:gd name="T55" fmla="*/ 119 h 132"/>
                  <a:gd name="T56" fmla="*/ 103 w 230"/>
                  <a:gd name="T57" fmla="*/ 132 h 132"/>
                  <a:gd name="T58" fmla="*/ 127 w 230"/>
                  <a:gd name="T59" fmla="*/ 127 h 132"/>
                  <a:gd name="T60" fmla="*/ 137 w 230"/>
                  <a:gd name="T61" fmla="*/ 132 h 132"/>
                  <a:gd name="T62" fmla="*/ 155 w 230"/>
                  <a:gd name="T63" fmla="*/ 132 h 132"/>
                  <a:gd name="T64" fmla="*/ 157 w 230"/>
                  <a:gd name="T65" fmla="*/ 122 h 132"/>
                  <a:gd name="T66" fmla="*/ 165 w 230"/>
                  <a:gd name="T67" fmla="*/ 130 h 132"/>
                  <a:gd name="T68" fmla="*/ 169 w 230"/>
                  <a:gd name="T69" fmla="*/ 122 h 132"/>
                  <a:gd name="T70" fmla="*/ 187 w 230"/>
                  <a:gd name="T71" fmla="*/ 115 h 132"/>
                  <a:gd name="T72" fmla="*/ 193 w 230"/>
                  <a:gd name="T73" fmla="*/ 123 h 132"/>
                  <a:gd name="T74" fmla="*/ 188 w 230"/>
                  <a:gd name="T75" fmla="*/ 103 h 132"/>
                  <a:gd name="T76" fmla="*/ 195 w 230"/>
                  <a:gd name="T77" fmla="*/ 96 h 132"/>
                  <a:gd name="T78" fmla="*/ 193 w 230"/>
                  <a:gd name="T79" fmla="*/ 81 h 132"/>
                  <a:gd name="T80" fmla="*/ 208 w 230"/>
                  <a:gd name="T81" fmla="*/ 79 h 132"/>
                  <a:gd name="T82" fmla="*/ 204 w 230"/>
                  <a:gd name="T83" fmla="*/ 66 h 132"/>
                  <a:gd name="T84" fmla="*/ 217 w 230"/>
                  <a:gd name="T85" fmla="*/ 71 h 132"/>
                  <a:gd name="T86" fmla="*/ 230 w 230"/>
                  <a:gd name="T87" fmla="*/ 65 h 132"/>
                  <a:gd name="T88" fmla="*/ 216 w 230"/>
                  <a:gd name="T89" fmla="*/ 50 h 132"/>
                  <a:gd name="T90" fmla="*/ 222 w 230"/>
                  <a:gd name="T91" fmla="*/ 4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0" h="132">
                    <a:moveTo>
                      <a:pt x="222" y="42"/>
                    </a:moveTo>
                    <a:cubicBezTo>
                      <a:pt x="210" y="38"/>
                      <a:pt x="210" y="38"/>
                      <a:pt x="210" y="38"/>
                    </a:cubicBezTo>
                    <a:cubicBezTo>
                      <a:pt x="195" y="30"/>
                      <a:pt x="195" y="30"/>
                      <a:pt x="195" y="30"/>
                    </a:cubicBezTo>
                    <a:cubicBezTo>
                      <a:pt x="195" y="30"/>
                      <a:pt x="190" y="22"/>
                      <a:pt x="184" y="20"/>
                    </a:cubicBezTo>
                    <a:cubicBezTo>
                      <a:pt x="178" y="18"/>
                      <a:pt x="157" y="17"/>
                      <a:pt x="157" y="17"/>
                    </a:cubicBezTo>
                    <a:cubicBezTo>
                      <a:pt x="157" y="17"/>
                      <a:pt x="151" y="4"/>
                      <a:pt x="145" y="4"/>
                    </a:cubicBezTo>
                    <a:cubicBezTo>
                      <a:pt x="139" y="4"/>
                      <a:pt x="136" y="12"/>
                      <a:pt x="128" y="12"/>
                    </a:cubicBezTo>
                    <a:cubicBezTo>
                      <a:pt x="120" y="12"/>
                      <a:pt x="118" y="8"/>
                      <a:pt x="113" y="8"/>
                    </a:cubicBezTo>
                    <a:cubicBezTo>
                      <a:pt x="108" y="8"/>
                      <a:pt x="104" y="13"/>
                      <a:pt x="104" y="13"/>
                    </a:cubicBezTo>
                    <a:cubicBezTo>
                      <a:pt x="104" y="13"/>
                      <a:pt x="84" y="6"/>
                      <a:pt x="81" y="7"/>
                    </a:cubicBezTo>
                    <a:cubicBezTo>
                      <a:pt x="78" y="8"/>
                      <a:pt x="73" y="9"/>
                      <a:pt x="73" y="9"/>
                    </a:cubicBezTo>
                    <a:cubicBezTo>
                      <a:pt x="73" y="9"/>
                      <a:pt x="66" y="4"/>
                      <a:pt x="60" y="2"/>
                    </a:cubicBezTo>
                    <a:cubicBezTo>
                      <a:pt x="54" y="0"/>
                      <a:pt x="52" y="2"/>
                      <a:pt x="46" y="5"/>
                    </a:cubicBezTo>
                    <a:cubicBezTo>
                      <a:pt x="40" y="8"/>
                      <a:pt x="33" y="8"/>
                      <a:pt x="13" y="11"/>
                    </a:cubicBezTo>
                    <a:cubicBezTo>
                      <a:pt x="7" y="12"/>
                      <a:pt x="3" y="14"/>
                      <a:pt x="0" y="16"/>
                    </a:cubicBezTo>
                    <a:cubicBezTo>
                      <a:pt x="0" y="20"/>
                      <a:pt x="1" y="23"/>
                      <a:pt x="1" y="23"/>
                    </a:cubicBezTo>
                    <a:cubicBezTo>
                      <a:pt x="1" y="23"/>
                      <a:pt x="2" y="58"/>
                      <a:pt x="11" y="60"/>
                    </a:cubicBezTo>
                    <a:cubicBezTo>
                      <a:pt x="13" y="60"/>
                      <a:pt x="14" y="62"/>
                      <a:pt x="14" y="64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22" y="70"/>
                      <a:pt x="22" y="70"/>
                      <a:pt x="22" y="70"/>
                    </a:cubicBezTo>
                    <a:cubicBezTo>
                      <a:pt x="30" y="69"/>
                      <a:pt x="30" y="69"/>
                      <a:pt x="30" y="69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2" y="75"/>
                      <a:pt x="56" y="72"/>
                      <a:pt x="64" y="71"/>
                    </a:cubicBezTo>
                    <a:cubicBezTo>
                      <a:pt x="72" y="70"/>
                      <a:pt x="75" y="81"/>
                      <a:pt x="74" y="86"/>
                    </a:cubicBezTo>
                    <a:cubicBezTo>
                      <a:pt x="73" y="91"/>
                      <a:pt x="65" y="98"/>
                      <a:pt x="65" y="98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71" y="108"/>
                      <a:pt x="73" y="108"/>
                      <a:pt x="74" y="108"/>
                    </a:cubicBezTo>
                    <a:cubicBezTo>
                      <a:pt x="87" y="110"/>
                      <a:pt x="103" y="119"/>
                      <a:pt x="103" y="119"/>
                    </a:cubicBezTo>
                    <a:cubicBezTo>
                      <a:pt x="103" y="132"/>
                      <a:pt x="103" y="132"/>
                      <a:pt x="103" y="132"/>
                    </a:cubicBezTo>
                    <a:cubicBezTo>
                      <a:pt x="103" y="132"/>
                      <a:pt x="119" y="128"/>
                      <a:pt x="127" y="127"/>
                    </a:cubicBezTo>
                    <a:cubicBezTo>
                      <a:pt x="135" y="126"/>
                      <a:pt x="137" y="132"/>
                      <a:pt x="137" y="132"/>
                    </a:cubicBezTo>
                    <a:cubicBezTo>
                      <a:pt x="155" y="132"/>
                      <a:pt x="155" y="132"/>
                      <a:pt x="155" y="132"/>
                    </a:cubicBezTo>
                    <a:cubicBezTo>
                      <a:pt x="157" y="122"/>
                      <a:pt x="157" y="122"/>
                      <a:pt x="157" y="122"/>
                    </a:cubicBezTo>
                    <a:cubicBezTo>
                      <a:pt x="165" y="130"/>
                      <a:pt x="165" y="130"/>
                      <a:pt x="165" y="130"/>
                    </a:cubicBezTo>
                    <a:cubicBezTo>
                      <a:pt x="169" y="122"/>
                      <a:pt x="169" y="122"/>
                      <a:pt x="169" y="122"/>
                    </a:cubicBezTo>
                    <a:cubicBezTo>
                      <a:pt x="169" y="122"/>
                      <a:pt x="177" y="115"/>
                      <a:pt x="187" y="115"/>
                    </a:cubicBezTo>
                    <a:cubicBezTo>
                      <a:pt x="197" y="115"/>
                      <a:pt x="186" y="124"/>
                      <a:pt x="193" y="123"/>
                    </a:cubicBezTo>
                    <a:cubicBezTo>
                      <a:pt x="200" y="122"/>
                      <a:pt x="193" y="111"/>
                      <a:pt x="188" y="103"/>
                    </a:cubicBezTo>
                    <a:cubicBezTo>
                      <a:pt x="183" y="95"/>
                      <a:pt x="195" y="96"/>
                      <a:pt x="195" y="96"/>
                    </a:cubicBezTo>
                    <a:cubicBezTo>
                      <a:pt x="195" y="96"/>
                      <a:pt x="191" y="88"/>
                      <a:pt x="193" y="81"/>
                    </a:cubicBezTo>
                    <a:cubicBezTo>
                      <a:pt x="195" y="74"/>
                      <a:pt x="208" y="79"/>
                      <a:pt x="208" y="79"/>
                    </a:cubicBezTo>
                    <a:cubicBezTo>
                      <a:pt x="204" y="66"/>
                      <a:pt x="204" y="66"/>
                      <a:pt x="204" y="66"/>
                    </a:cubicBezTo>
                    <a:cubicBezTo>
                      <a:pt x="204" y="66"/>
                      <a:pt x="211" y="71"/>
                      <a:pt x="217" y="71"/>
                    </a:cubicBezTo>
                    <a:cubicBezTo>
                      <a:pt x="223" y="71"/>
                      <a:pt x="230" y="65"/>
                      <a:pt x="230" y="65"/>
                    </a:cubicBezTo>
                    <a:cubicBezTo>
                      <a:pt x="230" y="65"/>
                      <a:pt x="214" y="55"/>
                      <a:pt x="216" y="50"/>
                    </a:cubicBezTo>
                    <a:cubicBezTo>
                      <a:pt x="217" y="48"/>
                      <a:pt x="219" y="45"/>
                      <a:pt x="222" y="42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256">
                <a:extLst>
                  <a:ext uri="{FF2B5EF4-FFF2-40B4-BE49-F238E27FC236}">
                    <a16:creationId xmlns:a16="http://schemas.microsoft.com/office/drawing/2014/main" id="{DD939A69-FC1F-F254-8DA6-5B8FD067DD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748" y="-16041"/>
                <a:ext cx="463" cy="257"/>
              </a:xfrm>
              <a:custGeom>
                <a:avLst/>
                <a:gdLst>
                  <a:gd name="T0" fmla="*/ 93 w 196"/>
                  <a:gd name="T1" fmla="*/ 17 h 109"/>
                  <a:gd name="T2" fmla="*/ 81 w 196"/>
                  <a:gd name="T3" fmla="*/ 17 h 109"/>
                  <a:gd name="T4" fmla="*/ 70 w 196"/>
                  <a:gd name="T5" fmla="*/ 15 h 109"/>
                  <a:gd name="T6" fmla="*/ 70 w 196"/>
                  <a:gd name="T7" fmla="*/ 16 h 109"/>
                  <a:gd name="T8" fmla="*/ 65 w 196"/>
                  <a:gd name="T9" fmla="*/ 26 h 109"/>
                  <a:gd name="T10" fmla="*/ 52 w 196"/>
                  <a:gd name="T11" fmla="*/ 19 h 109"/>
                  <a:gd name="T12" fmla="*/ 47 w 196"/>
                  <a:gd name="T13" fmla="*/ 28 h 109"/>
                  <a:gd name="T14" fmla="*/ 36 w 196"/>
                  <a:gd name="T15" fmla="*/ 43 h 109"/>
                  <a:gd name="T16" fmla="*/ 25 w 196"/>
                  <a:gd name="T17" fmla="*/ 43 h 109"/>
                  <a:gd name="T18" fmla="*/ 22 w 196"/>
                  <a:gd name="T19" fmla="*/ 56 h 109"/>
                  <a:gd name="T20" fmla="*/ 4 w 196"/>
                  <a:gd name="T21" fmla="*/ 72 h 109"/>
                  <a:gd name="T22" fmla="*/ 10 w 196"/>
                  <a:gd name="T23" fmla="*/ 80 h 109"/>
                  <a:gd name="T24" fmla="*/ 6 w 196"/>
                  <a:gd name="T25" fmla="*/ 89 h 109"/>
                  <a:gd name="T26" fmla="*/ 24 w 196"/>
                  <a:gd name="T27" fmla="*/ 73 h 109"/>
                  <a:gd name="T28" fmla="*/ 39 w 196"/>
                  <a:gd name="T29" fmla="*/ 75 h 109"/>
                  <a:gd name="T30" fmla="*/ 38 w 196"/>
                  <a:gd name="T31" fmla="*/ 93 h 109"/>
                  <a:gd name="T32" fmla="*/ 45 w 196"/>
                  <a:gd name="T33" fmla="*/ 103 h 109"/>
                  <a:gd name="T34" fmla="*/ 52 w 196"/>
                  <a:gd name="T35" fmla="*/ 103 h 109"/>
                  <a:gd name="T36" fmla="*/ 66 w 196"/>
                  <a:gd name="T37" fmla="*/ 96 h 109"/>
                  <a:gd name="T38" fmla="*/ 86 w 196"/>
                  <a:gd name="T39" fmla="*/ 101 h 109"/>
                  <a:gd name="T40" fmla="*/ 92 w 196"/>
                  <a:gd name="T41" fmla="*/ 81 h 109"/>
                  <a:gd name="T42" fmla="*/ 103 w 196"/>
                  <a:gd name="T43" fmla="*/ 75 h 109"/>
                  <a:gd name="T44" fmla="*/ 111 w 196"/>
                  <a:gd name="T45" fmla="*/ 90 h 109"/>
                  <a:gd name="T46" fmla="*/ 116 w 196"/>
                  <a:gd name="T47" fmla="*/ 91 h 109"/>
                  <a:gd name="T48" fmla="*/ 132 w 196"/>
                  <a:gd name="T49" fmla="*/ 108 h 109"/>
                  <a:gd name="T50" fmla="*/ 133 w 196"/>
                  <a:gd name="T51" fmla="*/ 93 h 109"/>
                  <a:gd name="T52" fmla="*/ 139 w 196"/>
                  <a:gd name="T53" fmla="*/ 87 h 109"/>
                  <a:gd name="T54" fmla="*/ 144 w 196"/>
                  <a:gd name="T55" fmla="*/ 71 h 109"/>
                  <a:gd name="T56" fmla="*/ 150 w 196"/>
                  <a:gd name="T57" fmla="*/ 83 h 109"/>
                  <a:gd name="T58" fmla="*/ 164 w 196"/>
                  <a:gd name="T59" fmla="*/ 80 h 109"/>
                  <a:gd name="T60" fmla="*/ 175 w 196"/>
                  <a:gd name="T61" fmla="*/ 85 h 109"/>
                  <a:gd name="T62" fmla="*/ 180 w 196"/>
                  <a:gd name="T63" fmla="*/ 79 h 109"/>
                  <a:gd name="T64" fmla="*/ 176 w 196"/>
                  <a:gd name="T65" fmla="*/ 66 h 109"/>
                  <a:gd name="T66" fmla="*/ 189 w 196"/>
                  <a:gd name="T67" fmla="*/ 68 h 109"/>
                  <a:gd name="T68" fmla="*/ 191 w 196"/>
                  <a:gd name="T69" fmla="*/ 55 h 109"/>
                  <a:gd name="T70" fmla="*/ 196 w 196"/>
                  <a:gd name="T71" fmla="*/ 54 h 109"/>
                  <a:gd name="T72" fmla="*/ 187 w 196"/>
                  <a:gd name="T73" fmla="*/ 43 h 109"/>
                  <a:gd name="T74" fmla="*/ 171 w 196"/>
                  <a:gd name="T75" fmla="*/ 55 h 109"/>
                  <a:gd name="T76" fmla="*/ 166 w 196"/>
                  <a:gd name="T77" fmla="*/ 43 h 109"/>
                  <a:gd name="T78" fmla="*/ 154 w 196"/>
                  <a:gd name="T79" fmla="*/ 44 h 109"/>
                  <a:gd name="T80" fmla="*/ 146 w 196"/>
                  <a:gd name="T81" fmla="*/ 42 h 109"/>
                  <a:gd name="T82" fmla="*/ 153 w 196"/>
                  <a:gd name="T83" fmla="*/ 29 h 109"/>
                  <a:gd name="T84" fmla="*/ 154 w 196"/>
                  <a:gd name="T85" fmla="*/ 19 h 109"/>
                  <a:gd name="T86" fmla="*/ 150 w 196"/>
                  <a:gd name="T87" fmla="*/ 19 h 109"/>
                  <a:gd name="T88" fmla="*/ 144 w 196"/>
                  <a:gd name="T89" fmla="*/ 11 h 109"/>
                  <a:gd name="T90" fmla="*/ 134 w 196"/>
                  <a:gd name="T91" fmla="*/ 8 h 109"/>
                  <a:gd name="T92" fmla="*/ 125 w 196"/>
                  <a:gd name="T93" fmla="*/ 8 h 109"/>
                  <a:gd name="T94" fmla="*/ 109 w 196"/>
                  <a:gd name="T95" fmla="*/ 1 h 109"/>
                  <a:gd name="T96" fmla="*/ 107 w 196"/>
                  <a:gd name="T97" fmla="*/ 14 h 109"/>
                  <a:gd name="T98" fmla="*/ 103 w 196"/>
                  <a:gd name="T99" fmla="*/ 10 h 109"/>
                  <a:gd name="T100" fmla="*/ 93 w 196"/>
                  <a:gd name="T101" fmla="*/ 17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6" h="109">
                    <a:moveTo>
                      <a:pt x="93" y="17"/>
                    </a:moveTo>
                    <a:cubicBezTo>
                      <a:pt x="81" y="17"/>
                      <a:pt x="81" y="17"/>
                      <a:pt x="81" y="17"/>
                    </a:cubicBezTo>
                    <a:cubicBezTo>
                      <a:pt x="70" y="15"/>
                      <a:pt x="70" y="15"/>
                      <a:pt x="70" y="15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5" y="26"/>
                      <a:pt x="65" y="26"/>
                      <a:pt x="65" y="26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28"/>
                      <a:pt x="41" y="37"/>
                      <a:pt x="36" y="43"/>
                    </a:cubicBezTo>
                    <a:cubicBezTo>
                      <a:pt x="31" y="49"/>
                      <a:pt x="25" y="43"/>
                      <a:pt x="25" y="43"/>
                    </a:cubicBezTo>
                    <a:cubicBezTo>
                      <a:pt x="25" y="43"/>
                      <a:pt x="28" y="49"/>
                      <a:pt x="22" y="56"/>
                    </a:cubicBezTo>
                    <a:cubicBezTo>
                      <a:pt x="16" y="63"/>
                      <a:pt x="4" y="72"/>
                      <a:pt x="4" y="72"/>
                    </a:cubicBezTo>
                    <a:cubicBezTo>
                      <a:pt x="10" y="80"/>
                      <a:pt x="10" y="80"/>
                      <a:pt x="10" y="80"/>
                    </a:cubicBezTo>
                    <a:cubicBezTo>
                      <a:pt x="10" y="80"/>
                      <a:pt x="0" y="88"/>
                      <a:pt x="6" y="89"/>
                    </a:cubicBezTo>
                    <a:cubicBezTo>
                      <a:pt x="12" y="90"/>
                      <a:pt x="17" y="77"/>
                      <a:pt x="24" y="73"/>
                    </a:cubicBezTo>
                    <a:cubicBezTo>
                      <a:pt x="31" y="69"/>
                      <a:pt x="39" y="75"/>
                      <a:pt x="39" y="75"/>
                    </a:cubicBezTo>
                    <a:cubicBezTo>
                      <a:pt x="38" y="93"/>
                      <a:pt x="38" y="93"/>
                      <a:pt x="38" y="93"/>
                    </a:cubicBezTo>
                    <a:cubicBezTo>
                      <a:pt x="38" y="93"/>
                      <a:pt x="45" y="99"/>
                      <a:pt x="45" y="103"/>
                    </a:cubicBezTo>
                    <a:cubicBezTo>
                      <a:pt x="52" y="103"/>
                      <a:pt x="52" y="103"/>
                      <a:pt x="52" y="103"/>
                    </a:cubicBezTo>
                    <a:cubicBezTo>
                      <a:pt x="52" y="103"/>
                      <a:pt x="61" y="96"/>
                      <a:pt x="66" y="96"/>
                    </a:cubicBezTo>
                    <a:cubicBezTo>
                      <a:pt x="71" y="96"/>
                      <a:pt x="76" y="109"/>
                      <a:pt x="86" y="101"/>
                    </a:cubicBezTo>
                    <a:cubicBezTo>
                      <a:pt x="96" y="92"/>
                      <a:pt x="92" y="81"/>
                      <a:pt x="92" y="81"/>
                    </a:cubicBezTo>
                    <a:cubicBezTo>
                      <a:pt x="92" y="81"/>
                      <a:pt x="99" y="75"/>
                      <a:pt x="103" y="75"/>
                    </a:cubicBezTo>
                    <a:cubicBezTo>
                      <a:pt x="107" y="75"/>
                      <a:pt x="111" y="90"/>
                      <a:pt x="111" y="90"/>
                    </a:cubicBezTo>
                    <a:cubicBezTo>
                      <a:pt x="116" y="91"/>
                      <a:pt x="116" y="91"/>
                      <a:pt x="116" y="91"/>
                    </a:cubicBezTo>
                    <a:cubicBezTo>
                      <a:pt x="132" y="108"/>
                      <a:pt x="132" y="108"/>
                      <a:pt x="132" y="108"/>
                    </a:cubicBezTo>
                    <a:cubicBezTo>
                      <a:pt x="133" y="93"/>
                      <a:pt x="133" y="93"/>
                      <a:pt x="133" y="93"/>
                    </a:cubicBezTo>
                    <a:cubicBezTo>
                      <a:pt x="139" y="87"/>
                      <a:pt x="139" y="87"/>
                      <a:pt x="139" y="87"/>
                    </a:cubicBezTo>
                    <a:cubicBezTo>
                      <a:pt x="144" y="71"/>
                      <a:pt x="144" y="71"/>
                      <a:pt x="144" y="71"/>
                    </a:cubicBezTo>
                    <a:cubicBezTo>
                      <a:pt x="150" y="83"/>
                      <a:pt x="150" y="83"/>
                      <a:pt x="150" y="83"/>
                    </a:cubicBezTo>
                    <a:cubicBezTo>
                      <a:pt x="164" y="80"/>
                      <a:pt x="164" y="80"/>
                      <a:pt x="164" y="80"/>
                    </a:cubicBezTo>
                    <a:cubicBezTo>
                      <a:pt x="175" y="85"/>
                      <a:pt x="175" y="85"/>
                      <a:pt x="175" y="85"/>
                    </a:cubicBezTo>
                    <a:cubicBezTo>
                      <a:pt x="180" y="79"/>
                      <a:pt x="180" y="79"/>
                      <a:pt x="180" y="79"/>
                    </a:cubicBezTo>
                    <a:cubicBezTo>
                      <a:pt x="180" y="79"/>
                      <a:pt x="165" y="68"/>
                      <a:pt x="176" y="66"/>
                    </a:cubicBezTo>
                    <a:cubicBezTo>
                      <a:pt x="187" y="64"/>
                      <a:pt x="189" y="68"/>
                      <a:pt x="189" y="68"/>
                    </a:cubicBezTo>
                    <a:cubicBezTo>
                      <a:pt x="191" y="55"/>
                      <a:pt x="191" y="55"/>
                      <a:pt x="191" y="55"/>
                    </a:cubicBezTo>
                    <a:cubicBezTo>
                      <a:pt x="196" y="54"/>
                      <a:pt x="196" y="54"/>
                      <a:pt x="196" y="54"/>
                    </a:cubicBezTo>
                    <a:cubicBezTo>
                      <a:pt x="195" y="50"/>
                      <a:pt x="192" y="44"/>
                      <a:pt x="187" y="43"/>
                    </a:cubicBezTo>
                    <a:cubicBezTo>
                      <a:pt x="176" y="43"/>
                      <a:pt x="178" y="52"/>
                      <a:pt x="171" y="55"/>
                    </a:cubicBezTo>
                    <a:cubicBezTo>
                      <a:pt x="163" y="57"/>
                      <a:pt x="166" y="43"/>
                      <a:pt x="166" y="43"/>
                    </a:cubicBezTo>
                    <a:cubicBezTo>
                      <a:pt x="154" y="44"/>
                      <a:pt x="154" y="44"/>
                      <a:pt x="154" y="44"/>
                    </a:cubicBezTo>
                    <a:cubicBezTo>
                      <a:pt x="154" y="44"/>
                      <a:pt x="150" y="44"/>
                      <a:pt x="146" y="42"/>
                    </a:cubicBezTo>
                    <a:cubicBezTo>
                      <a:pt x="142" y="39"/>
                      <a:pt x="148" y="31"/>
                      <a:pt x="153" y="29"/>
                    </a:cubicBezTo>
                    <a:cubicBezTo>
                      <a:pt x="159" y="27"/>
                      <a:pt x="154" y="19"/>
                      <a:pt x="154" y="19"/>
                    </a:cubicBezTo>
                    <a:cubicBezTo>
                      <a:pt x="150" y="19"/>
                      <a:pt x="150" y="19"/>
                      <a:pt x="150" y="19"/>
                    </a:cubicBezTo>
                    <a:cubicBezTo>
                      <a:pt x="144" y="11"/>
                      <a:pt x="144" y="11"/>
                      <a:pt x="144" y="11"/>
                    </a:cubicBezTo>
                    <a:cubicBezTo>
                      <a:pt x="134" y="8"/>
                      <a:pt x="134" y="8"/>
                      <a:pt x="134" y="8"/>
                    </a:cubicBezTo>
                    <a:cubicBezTo>
                      <a:pt x="125" y="8"/>
                      <a:pt x="125" y="8"/>
                      <a:pt x="125" y="8"/>
                    </a:cubicBezTo>
                    <a:cubicBezTo>
                      <a:pt x="125" y="8"/>
                      <a:pt x="116" y="0"/>
                      <a:pt x="109" y="1"/>
                    </a:cubicBezTo>
                    <a:cubicBezTo>
                      <a:pt x="102" y="2"/>
                      <a:pt x="107" y="14"/>
                      <a:pt x="107" y="14"/>
                    </a:cubicBezTo>
                    <a:cubicBezTo>
                      <a:pt x="103" y="10"/>
                      <a:pt x="103" y="10"/>
                      <a:pt x="103" y="10"/>
                    </a:cubicBezTo>
                    <a:lnTo>
                      <a:pt x="93" y="1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257">
                <a:extLst>
                  <a:ext uri="{FF2B5EF4-FFF2-40B4-BE49-F238E27FC236}">
                    <a16:creationId xmlns:a16="http://schemas.microsoft.com/office/drawing/2014/main" id="{DF745953-5321-4C1A-9CAD-CE6D4C3C39F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5686" y="-15949"/>
                <a:ext cx="1235" cy="1309"/>
              </a:xfrm>
              <a:custGeom>
                <a:avLst/>
                <a:gdLst>
                  <a:gd name="T0" fmla="*/ 341 w 523"/>
                  <a:gd name="T1" fmla="*/ 483 h 554"/>
                  <a:gd name="T2" fmla="*/ 278 w 523"/>
                  <a:gd name="T3" fmla="*/ 485 h 554"/>
                  <a:gd name="T4" fmla="*/ 281 w 523"/>
                  <a:gd name="T5" fmla="*/ 507 h 554"/>
                  <a:gd name="T6" fmla="*/ 330 w 523"/>
                  <a:gd name="T7" fmla="*/ 531 h 554"/>
                  <a:gd name="T8" fmla="*/ 372 w 523"/>
                  <a:gd name="T9" fmla="*/ 513 h 554"/>
                  <a:gd name="T10" fmla="*/ 378 w 523"/>
                  <a:gd name="T11" fmla="*/ 479 h 554"/>
                  <a:gd name="T12" fmla="*/ 68 w 523"/>
                  <a:gd name="T13" fmla="*/ 320 h 554"/>
                  <a:gd name="T14" fmla="*/ 75 w 523"/>
                  <a:gd name="T15" fmla="*/ 381 h 554"/>
                  <a:gd name="T16" fmla="*/ 78 w 523"/>
                  <a:gd name="T17" fmla="*/ 424 h 554"/>
                  <a:gd name="T18" fmla="*/ 103 w 523"/>
                  <a:gd name="T19" fmla="*/ 414 h 554"/>
                  <a:gd name="T20" fmla="*/ 133 w 523"/>
                  <a:gd name="T21" fmla="*/ 388 h 554"/>
                  <a:gd name="T22" fmla="*/ 140 w 523"/>
                  <a:gd name="T23" fmla="*/ 352 h 554"/>
                  <a:gd name="T24" fmla="*/ 481 w 523"/>
                  <a:gd name="T25" fmla="*/ 337 h 554"/>
                  <a:gd name="T26" fmla="*/ 414 w 523"/>
                  <a:gd name="T27" fmla="*/ 281 h 554"/>
                  <a:gd name="T28" fmla="*/ 311 w 523"/>
                  <a:gd name="T29" fmla="*/ 216 h 554"/>
                  <a:gd name="T30" fmla="*/ 249 w 523"/>
                  <a:gd name="T31" fmla="*/ 148 h 554"/>
                  <a:gd name="T32" fmla="*/ 244 w 523"/>
                  <a:gd name="T33" fmla="*/ 92 h 554"/>
                  <a:gd name="T34" fmla="*/ 294 w 523"/>
                  <a:gd name="T35" fmla="*/ 46 h 554"/>
                  <a:gd name="T36" fmla="*/ 265 w 523"/>
                  <a:gd name="T37" fmla="*/ 29 h 554"/>
                  <a:gd name="T38" fmla="*/ 243 w 523"/>
                  <a:gd name="T39" fmla="*/ 16 h 554"/>
                  <a:gd name="T40" fmla="*/ 195 w 523"/>
                  <a:gd name="T41" fmla="*/ 7 h 554"/>
                  <a:gd name="T42" fmla="*/ 165 w 523"/>
                  <a:gd name="T43" fmla="*/ 16 h 554"/>
                  <a:gd name="T44" fmla="*/ 154 w 523"/>
                  <a:gd name="T45" fmla="*/ 40 h 554"/>
                  <a:gd name="T46" fmla="*/ 124 w 523"/>
                  <a:gd name="T47" fmla="*/ 44 h 554"/>
                  <a:gd name="T48" fmla="*/ 107 w 523"/>
                  <a:gd name="T49" fmla="*/ 54 h 554"/>
                  <a:gd name="T50" fmla="*/ 85 w 523"/>
                  <a:gd name="T51" fmla="*/ 51 h 554"/>
                  <a:gd name="T52" fmla="*/ 60 w 523"/>
                  <a:gd name="T53" fmla="*/ 62 h 554"/>
                  <a:gd name="T54" fmla="*/ 19 w 523"/>
                  <a:gd name="T55" fmla="*/ 64 h 554"/>
                  <a:gd name="T56" fmla="*/ 28 w 523"/>
                  <a:gd name="T57" fmla="*/ 93 h 554"/>
                  <a:gd name="T58" fmla="*/ 6 w 523"/>
                  <a:gd name="T59" fmla="*/ 118 h 554"/>
                  <a:gd name="T60" fmla="*/ 12 w 523"/>
                  <a:gd name="T61" fmla="*/ 141 h 554"/>
                  <a:gd name="T62" fmla="*/ 45 w 523"/>
                  <a:gd name="T63" fmla="*/ 160 h 554"/>
                  <a:gd name="T64" fmla="*/ 58 w 523"/>
                  <a:gd name="T65" fmla="*/ 173 h 554"/>
                  <a:gd name="T66" fmla="*/ 160 w 523"/>
                  <a:gd name="T67" fmla="*/ 192 h 554"/>
                  <a:gd name="T68" fmla="*/ 193 w 523"/>
                  <a:gd name="T69" fmla="*/ 236 h 554"/>
                  <a:gd name="T70" fmla="*/ 259 w 523"/>
                  <a:gd name="T71" fmla="*/ 294 h 554"/>
                  <a:gd name="T72" fmla="*/ 325 w 523"/>
                  <a:gd name="T73" fmla="*/ 334 h 554"/>
                  <a:gd name="T74" fmla="*/ 397 w 523"/>
                  <a:gd name="T75" fmla="*/ 373 h 554"/>
                  <a:gd name="T76" fmla="*/ 418 w 523"/>
                  <a:gd name="T77" fmla="*/ 446 h 554"/>
                  <a:gd name="T78" fmla="*/ 395 w 523"/>
                  <a:gd name="T79" fmla="*/ 489 h 554"/>
                  <a:gd name="T80" fmla="*/ 435 w 523"/>
                  <a:gd name="T81" fmla="*/ 466 h 554"/>
                  <a:gd name="T82" fmla="*/ 452 w 523"/>
                  <a:gd name="T83" fmla="*/ 408 h 554"/>
                  <a:gd name="T84" fmla="*/ 468 w 523"/>
                  <a:gd name="T85" fmla="*/ 361 h 554"/>
                  <a:gd name="T86" fmla="*/ 515 w 523"/>
                  <a:gd name="T87" fmla="*/ 363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23" h="554">
                    <a:moveTo>
                      <a:pt x="378" y="479"/>
                    </a:moveTo>
                    <a:cubicBezTo>
                      <a:pt x="378" y="479"/>
                      <a:pt x="365" y="472"/>
                      <a:pt x="358" y="474"/>
                    </a:cubicBezTo>
                    <a:cubicBezTo>
                      <a:pt x="351" y="476"/>
                      <a:pt x="341" y="483"/>
                      <a:pt x="341" y="483"/>
                    </a:cubicBezTo>
                    <a:cubicBezTo>
                      <a:pt x="341" y="483"/>
                      <a:pt x="322" y="486"/>
                      <a:pt x="314" y="486"/>
                    </a:cubicBezTo>
                    <a:cubicBezTo>
                      <a:pt x="306" y="486"/>
                      <a:pt x="292" y="470"/>
                      <a:pt x="289" y="473"/>
                    </a:cubicBezTo>
                    <a:cubicBezTo>
                      <a:pt x="286" y="476"/>
                      <a:pt x="278" y="485"/>
                      <a:pt x="278" y="485"/>
                    </a:cubicBezTo>
                    <a:cubicBezTo>
                      <a:pt x="265" y="477"/>
                      <a:pt x="265" y="477"/>
                      <a:pt x="265" y="477"/>
                    </a:cubicBezTo>
                    <a:cubicBezTo>
                      <a:pt x="265" y="477"/>
                      <a:pt x="245" y="482"/>
                      <a:pt x="253" y="494"/>
                    </a:cubicBezTo>
                    <a:cubicBezTo>
                      <a:pt x="264" y="510"/>
                      <a:pt x="276" y="505"/>
                      <a:pt x="281" y="507"/>
                    </a:cubicBezTo>
                    <a:cubicBezTo>
                      <a:pt x="286" y="509"/>
                      <a:pt x="291" y="517"/>
                      <a:pt x="293" y="521"/>
                    </a:cubicBezTo>
                    <a:cubicBezTo>
                      <a:pt x="295" y="525"/>
                      <a:pt x="317" y="535"/>
                      <a:pt x="317" y="535"/>
                    </a:cubicBezTo>
                    <a:cubicBezTo>
                      <a:pt x="330" y="531"/>
                      <a:pt x="330" y="531"/>
                      <a:pt x="330" y="531"/>
                    </a:cubicBezTo>
                    <a:cubicBezTo>
                      <a:pt x="330" y="531"/>
                      <a:pt x="344" y="552"/>
                      <a:pt x="363" y="553"/>
                    </a:cubicBezTo>
                    <a:cubicBezTo>
                      <a:pt x="382" y="554"/>
                      <a:pt x="377" y="537"/>
                      <a:pt x="377" y="537"/>
                    </a:cubicBezTo>
                    <a:cubicBezTo>
                      <a:pt x="377" y="537"/>
                      <a:pt x="372" y="520"/>
                      <a:pt x="372" y="513"/>
                    </a:cubicBezTo>
                    <a:cubicBezTo>
                      <a:pt x="372" y="506"/>
                      <a:pt x="377" y="496"/>
                      <a:pt x="383" y="491"/>
                    </a:cubicBezTo>
                    <a:cubicBezTo>
                      <a:pt x="389" y="486"/>
                      <a:pt x="383" y="469"/>
                      <a:pt x="383" y="469"/>
                    </a:cubicBezTo>
                    <a:lnTo>
                      <a:pt x="378" y="479"/>
                    </a:lnTo>
                    <a:close/>
                    <a:moveTo>
                      <a:pt x="119" y="312"/>
                    </a:moveTo>
                    <a:cubicBezTo>
                      <a:pt x="107" y="311"/>
                      <a:pt x="95" y="332"/>
                      <a:pt x="87" y="332"/>
                    </a:cubicBezTo>
                    <a:cubicBezTo>
                      <a:pt x="79" y="332"/>
                      <a:pt x="68" y="320"/>
                      <a:pt x="68" y="320"/>
                    </a:cubicBezTo>
                    <a:cubicBezTo>
                      <a:pt x="64" y="331"/>
                      <a:pt x="64" y="331"/>
                      <a:pt x="64" y="331"/>
                    </a:cubicBezTo>
                    <a:cubicBezTo>
                      <a:pt x="64" y="331"/>
                      <a:pt x="79" y="344"/>
                      <a:pt x="79" y="354"/>
                    </a:cubicBezTo>
                    <a:cubicBezTo>
                      <a:pt x="79" y="364"/>
                      <a:pt x="75" y="381"/>
                      <a:pt x="75" y="381"/>
                    </a:cubicBezTo>
                    <a:cubicBezTo>
                      <a:pt x="81" y="388"/>
                      <a:pt x="81" y="388"/>
                      <a:pt x="81" y="388"/>
                    </a:cubicBezTo>
                    <a:cubicBezTo>
                      <a:pt x="73" y="393"/>
                      <a:pt x="73" y="393"/>
                      <a:pt x="73" y="393"/>
                    </a:cubicBezTo>
                    <a:cubicBezTo>
                      <a:pt x="78" y="424"/>
                      <a:pt x="78" y="424"/>
                      <a:pt x="78" y="424"/>
                    </a:cubicBezTo>
                    <a:cubicBezTo>
                      <a:pt x="69" y="424"/>
                      <a:pt x="69" y="424"/>
                      <a:pt x="69" y="424"/>
                    </a:cubicBezTo>
                    <a:cubicBezTo>
                      <a:pt x="82" y="435"/>
                      <a:pt x="82" y="435"/>
                      <a:pt x="82" y="435"/>
                    </a:cubicBezTo>
                    <a:cubicBezTo>
                      <a:pt x="98" y="435"/>
                      <a:pt x="103" y="414"/>
                      <a:pt x="103" y="414"/>
                    </a:cubicBezTo>
                    <a:cubicBezTo>
                      <a:pt x="103" y="414"/>
                      <a:pt x="115" y="430"/>
                      <a:pt x="124" y="423"/>
                    </a:cubicBezTo>
                    <a:cubicBezTo>
                      <a:pt x="133" y="416"/>
                      <a:pt x="129" y="398"/>
                      <a:pt x="129" y="398"/>
                    </a:cubicBezTo>
                    <a:cubicBezTo>
                      <a:pt x="133" y="388"/>
                      <a:pt x="133" y="388"/>
                      <a:pt x="133" y="388"/>
                    </a:cubicBezTo>
                    <a:cubicBezTo>
                      <a:pt x="133" y="371"/>
                      <a:pt x="133" y="371"/>
                      <a:pt x="133" y="371"/>
                    </a:cubicBezTo>
                    <a:cubicBezTo>
                      <a:pt x="133" y="371"/>
                      <a:pt x="127" y="369"/>
                      <a:pt x="128" y="364"/>
                    </a:cubicBezTo>
                    <a:cubicBezTo>
                      <a:pt x="129" y="359"/>
                      <a:pt x="140" y="359"/>
                      <a:pt x="140" y="352"/>
                    </a:cubicBezTo>
                    <a:cubicBezTo>
                      <a:pt x="140" y="345"/>
                      <a:pt x="131" y="313"/>
                      <a:pt x="119" y="312"/>
                    </a:cubicBezTo>
                    <a:close/>
                    <a:moveTo>
                      <a:pt x="515" y="363"/>
                    </a:moveTo>
                    <a:cubicBezTo>
                      <a:pt x="507" y="354"/>
                      <a:pt x="481" y="337"/>
                      <a:pt x="481" y="337"/>
                    </a:cubicBezTo>
                    <a:cubicBezTo>
                      <a:pt x="451" y="321"/>
                      <a:pt x="451" y="321"/>
                      <a:pt x="451" y="321"/>
                    </a:cubicBezTo>
                    <a:cubicBezTo>
                      <a:pt x="451" y="321"/>
                      <a:pt x="398" y="308"/>
                      <a:pt x="402" y="299"/>
                    </a:cubicBezTo>
                    <a:cubicBezTo>
                      <a:pt x="406" y="290"/>
                      <a:pt x="415" y="289"/>
                      <a:pt x="414" y="281"/>
                    </a:cubicBezTo>
                    <a:cubicBezTo>
                      <a:pt x="413" y="273"/>
                      <a:pt x="365" y="271"/>
                      <a:pt x="365" y="271"/>
                    </a:cubicBezTo>
                    <a:cubicBezTo>
                      <a:pt x="365" y="271"/>
                      <a:pt x="351" y="266"/>
                      <a:pt x="334" y="249"/>
                    </a:cubicBezTo>
                    <a:cubicBezTo>
                      <a:pt x="317" y="232"/>
                      <a:pt x="311" y="216"/>
                      <a:pt x="311" y="216"/>
                    </a:cubicBezTo>
                    <a:cubicBezTo>
                      <a:pt x="311" y="216"/>
                      <a:pt x="306" y="192"/>
                      <a:pt x="296" y="186"/>
                    </a:cubicBezTo>
                    <a:cubicBezTo>
                      <a:pt x="286" y="180"/>
                      <a:pt x="275" y="170"/>
                      <a:pt x="275" y="170"/>
                    </a:cubicBezTo>
                    <a:cubicBezTo>
                      <a:pt x="249" y="148"/>
                      <a:pt x="249" y="148"/>
                      <a:pt x="249" y="148"/>
                    </a:cubicBezTo>
                    <a:cubicBezTo>
                      <a:pt x="249" y="148"/>
                      <a:pt x="235" y="126"/>
                      <a:pt x="240" y="124"/>
                    </a:cubicBezTo>
                    <a:cubicBezTo>
                      <a:pt x="245" y="122"/>
                      <a:pt x="253" y="120"/>
                      <a:pt x="253" y="115"/>
                    </a:cubicBezTo>
                    <a:cubicBezTo>
                      <a:pt x="253" y="110"/>
                      <a:pt x="236" y="101"/>
                      <a:pt x="244" y="92"/>
                    </a:cubicBezTo>
                    <a:cubicBezTo>
                      <a:pt x="252" y="83"/>
                      <a:pt x="275" y="77"/>
                      <a:pt x="275" y="77"/>
                    </a:cubicBezTo>
                    <a:cubicBezTo>
                      <a:pt x="289" y="71"/>
                      <a:pt x="289" y="71"/>
                      <a:pt x="289" y="71"/>
                    </a:cubicBezTo>
                    <a:cubicBezTo>
                      <a:pt x="294" y="46"/>
                      <a:pt x="294" y="46"/>
                      <a:pt x="294" y="46"/>
                    </a:cubicBezTo>
                    <a:cubicBezTo>
                      <a:pt x="286" y="43"/>
                      <a:pt x="286" y="43"/>
                      <a:pt x="286" y="43"/>
                    </a:cubicBezTo>
                    <a:cubicBezTo>
                      <a:pt x="286" y="43"/>
                      <a:pt x="294" y="36"/>
                      <a:pt x="291" y="30"/>
                    </a:cubicBezTo>
                    <a:cubicBezTo>
                      <a:pt x="288" y="25"/>
                      <a:pt x="265" y="29"/>
                      <a:pt x="265" y="29"/>
                    </a:cubicBezTo>
                    <a:cubicBezTo>
                      <a:pt x="253" y="29"/>
                      <a:pt x="253" y="29"/>
                      <a:pt x="253" y="29"/>
                    </a:cubicBezTo>
                    <a:cubicBezTo>
                      <a:pt x="248" y="16"/>
                      <a:pt x="248" y="16"/>
                      <a:pt x="248" y="16"/>
                    </a:cubicBezTo>
                    <a:cubicBezTo>
                      <a:pt x="243" y="16"/>
                      <a:pt x="243" y="16"/>
                      <a:pt x="243" y="16"/>
                    </a:cubicBezTo>
                    <a:cubicBezTo>
                      <a:pt x="243" y="16"/>
                      <a:pt x="242" y="2"/>
                      <a:pt x="233" y="1"/>
                    </a:cubicBezTo>
                    <a:cubicBezTo>
                      <a:pt x="223" y="0"/>
                      <a:pt x="221" y="9"/>
                      <a:pt x="221" y="9"/>
                    </a:cubicBezTo>
                    <a:cubicBezTo>
                      <a:pt x="195" y="7"/>
                      <a:pt x="195" y="7"/>
                      <a:pt x="195" y="7"/>
                    </a:cubicBezTo>
                    <a:cubicBezTo>
                      <a:pt x="185" y="19"/>
                      <a:pt x="185" y="19"/>
                      <a:pt x="185" y="19"/>
                    </a:cubicBezTo>
                    <a:cubicBezTo>
                      <a:pt x="179" y="15"/>
                      <a:pt x="179" y="15"/>
                      <a:pt x="179" y="15"/>
                    </a:cubicBezTo>
                    <a:cubicBezTo>
                      <a:pt x="165" y="16"/>
                      <a:pt x="165" y="16"/>
                      <a:pt x="165" y="16"/>
                    </a:cubicBezTo>
                    <a:cubicBezTo>
                      <a:pt x="163" y="29"/>
                      <a:pt x="163" y="29"/>
                      <a:pt x="163" y="29"/>
                    </a:cubicBezTo>
                    <a:cubicBezTo>
                      <a:pt x="163" y="29"/>
                      <a:pt x="161" y="25"/>
                      <a:pt x="150" y="27"/>
                    </a:cubicBezTo>
                    <a:cubicBezTo>
                      <a:pt x="139" y="29"/>
                      <a:pt x="154" y="40"/>
                      <a:pt x="154" y="40"/>
                    </a:cubicBezTo>
                    <a:cubicBezTo>
                      <a:pt x="149" y="46"/>
                      <a:pt x="149" y="46"/>
                      <a:pt x="149" y="46"/>
                    </a:cubicBezTo>
                    <a:cubicBezTo>
                      <a:pt x="138" y="41"/>
                      <a:pt x="138" y="41"/>
                      <a:pt x="138" y="41"/>
                    </a:cubicBezTo>
                    <a:cubicBezTo>
                      <a:pt x="124" y="44"/>
                      <a:pt x="124" y="44"/>
                      <a:pt x="124" y="44"/>
                    </a:cubicBezTo>
                    <a:cubicBezTo>
                      <a:pt x="118" y="32"/>
                      <a:pt x="118" y="32"/>
                      <a:pt x="118" y="32"/>
                    </a:cubicBezTo>
                    <a:cubicBezTo>
                      <a:pt x="113" y="48"/>
                      <a:pt x="113" y="48"/>
                      <a:pt x="113" y="48"/>
                    </a:cubicBezTo>
                    <a:cubicBezTo>
                      <a:pt x="107" y="54"/>
                      <a:pt x="107" y="54"/>
                      <a:pt x="107" y="54"/>
                    </a:cubicBezTo>
                    <a:cubicBezTo>
                      <a:pt x="106" y="69"/>
                      <a:pt x="106" y="69"/>
                      <a:pt x="106" y="69"/>
                    </a:cubicBezTo>
                    <a:cubicBezTo>
                      <a:pt x="90" y="52"/>
                      <a:pt x="90" y="52"/>
                      <a:pt x="90" y="52"/>
                    </a:cubicBezTo>
                    <a:cubicBezTo>
                      <a:pt x="85" y="51"/>
                      <a:pt x="85" y="51"/>
                      <a:pt x="85" y="51"/>
                    </a:cubicBezTo>
                    <a:cubicBezTo>
                      <a:pt x="85" y="51"/>
                      <a:pt x="81" y="36"/>
                      <a:pt x="77" y="36"/>
                    </a:cubicBezTo>
                    <a:cubicBezTo>
                      <a:pt x="73" y="36"/>
                      <a:pt x="66" y="42"/>
                      <a:pt x="66" y="42"/>
                    </a:cubicBezTo>
                    <a:cubicBezTo>
                      <a:pt x="66" y="42"/>
                      <a:pt x="70" y="53"/>
                      <a:pt x="60" y="62"/>
                    </a:cubicBezTo>
                    <a:cubicBezTo>
                      <a:pt x="50" y="70"/>
                      <a:pt x="45" y="57"/>
                      <a:pt x="40" y="57"/>
                    </a:cubicBezTo>
                    <a:cubicBezTo>
                      <a:pt x="35" y="57"/>
                      <a:pt x="26" y="64"/>
                      <a:pt x="26" y="64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19" y="68"/>
                      <a:pt x="9" y="72"/>
                      <a:pt x="9" y="72"/>
                    </a:cubicBezTo>
                    <a:cubicBezTo>
                      <a:pt x="17" y="80"/>
                      <a:pt x="17" y="80"/>
                      <a:pt x="17" y="80"/>
                    </a:cubicBezTo>
                    <a:cubicBezTo>
                      <a:pt x="17" y="80"/>
                      <a:pt x="28" y="84"/>
                      <a:pt x="28" y="93"/>
                    </a:cubicBezTo>
                    <a:cubicBezTo>
                      <a:pt x="28" y="102"/>
                      <a:pt x="9" y="103"/>
                      <a:pt x="9" y="103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6" y="118"/>
                      <a:pt x="6" y="118"/>
                      <a:pt x="6" y="118"/>
                    </a:cubicBezTo>
                    <a:cubicBezTo>
                      <a:pt x="13" y="118"/>
                      <a:pt x="13" y="118"/>
                      <a:pt x="13" y="118"/>
                    </a:cubicBezTo>
                    <a:cubicBezTo>
                      <a:pt x="13" y="118"/>
                      <a:pt x="17" y="121"/>
                      <a:pt x="18" y="126"/>
                    </a:cubicBezTo>
                    <a:cubicBezTo>
                      <a:pt x="19" y="131"/>
                      <a:pt x="13" y="131"/>
                      <a:pt x="12" y="141"/>
                    </a:cubicBezTo>
                    <a:cubicBezTo>
                      <a:pt x="11" y="151"/>
                      <a:pt x="25" y="152"/>
                      <a:pt x="25" y="152"/>
                    </a:cubicBezTo>
                    <a:cubicBezTo>
                      <a:pt x="28" y="158"/>
                      <a:pt x="28" y="158"/>
                      <a:pt x="28" y="158"/>
                    </a:cubicBezTo>
                    <a:cubicBezTo>
                      <a:pt x="28" y="158"/>
                      <a:pt x="42" y="156"/>
                      <a:pt x="45" y="160"/>
                    </a:cubicBezTo>
                    <a:cubicBezTo>
                      <a:pt x="48" y="164"/>
                      <a:pt x="42" y="174"/>
                      <a:pt x="38" y="174"/>
                    </a:cubicBezTo>
                    <a:cubicBezTo>
                      <a:pt x="36" y="174"/>
                      <a:pt x="35" y="176"/>
                      <a:pt x="35" y="179"/>
                    </a:cubicBezTo>
                    <a:cubicBezTo>
                      <a:pt x="44" y="178"/>
                      <a:pt x="54" y="177"/>
                      <a:pt x="58" y="173"/>
                    </a:cubicBezTo>
                    <a:cubicBezTo>
                      <a:pt x="65" y="166"/>
                      <a:pt x="83" y="145"/>
                      <a:pt x="93" y="145"/>
                    </a:cubicBezTo>
                    <a:cubicBezTo>
                      <a:pt x="103" y="145"/>
                      <a:pt x="132" y="152"/>
                      <a:pt x="144" y="162"/>
                    </a:cubicBezTo>
                    <a:cubicBezTo>
                      <a:pt x="156" y="172"/>
                      <a:pt x="160" y="192"/>
                      <a:pt x="160" y="192"/>
                    </a:cubicBezTo>
                    <a:cubicBezTo>
                      <a:pt x="168" y="200"/>
                      <a:pt x="168" y="200"/>
                      <a:pt x="168" y="200"/>
                    </a:cubicBezTo>
                    <a:cubicBezTo>
                      <a:pt x="168" y="200"/>
                      <a:pt x="160" y="221"/>
                      <a:pt x="169" y="226"/>
                    </a:cubicBezTo>
                    <a:cubicBezTo>
                      <a:pt x="178" y="231"/>
                      <a:pt x="193" y="236"/>
                      <a:pt x="193" y="236"/>
                    </a:cubicBezTo>
                    <a:cubicBezTo>
                      <a:pt x="197" y="249"/>
                      <a:pt x="197" y="249"/>
                      <a:pt x="197" y="249"/>
                    </a:cubicBezTo>
                    <a:cubicBezTo>
                      <a:pt x="217" y="250"/>
                      <a:pt x="217" y="250"/>
                      <a:pt x="217" y="250"/>
                    </a:cubicBezTo>
                    <a:cubicBezTo>
                      <a:pt x="217" y="250"/>
                      <a:pt x="250" y="284"/>
                      <a:pt x="259" y="294"/>
                    </a:cubicBezTo>
                    <a:cubicBezTo>
                      <a:pt x="268" y="304"/>
                      <a:pt x="276" y="313"/>
                      <a:pt x="276" y="313"/>
                    </a:cubicBezTo>
                    <a:cubicBezTo>
                      <a:pt x="303" y="314"/>
                      <a:pt x="303" y="314"/>
                      <a:pt x="303" y="314"/>
                    </a:cubicBezTo>
                    <a:cubicBezTo>
                      <a:pt x="303" y="314"/>
                      <a:pt x="310" y="329"/>
                      <a:pt x="325" y="334"/>
                    </a:cubicBezTo>
                    <a:cubicBezTo>
                      <a:pt x="340" y="339"/>
                      <a:pt x="359" y="335"/>
                      <a:pt x="362" y="342"/>
                    </a:cubicBezTo>
                    <a:cubicBezTo>
                      <a:pt x="365" y="349"/>
                      <a:pt x="366" y="372"/>
                      <a:pt x="379" y="375"/>
                    </a:cubicBezTo>
                    <a:cubicBezTo>
                      <a:pt x="392" y="378"/>
                      <a:pt x="397" y="373"/>
                      <a:pt x="397" y="373"/>
                    </a:cubicBezTo>
                    <a:cubicBezTo>
                      <a:pt x="397" y="373"/>
                      <a:pt x="400" y="392"/>
                      <a:pt x="402" y="406"/>
                    </a:cubicBezTo>
                    <a:cubicBezTo>
                      <a:pt x="404" y="420"/>
                      <a:pt x="417" y="419"/>
                      <a:pt x="417" y="429"/>
                    </a:cubicBezTo>
                    <a:cubicBezTo>
                      <a:pt x="417" y="439"/>
                      <a:pt x="418" y="446"/>
                      <a:pt x="418" y="446"/>
                    </a:cubicBezTo>
                    <a:cubicBezTo>
                      <a:pt x="405" y="445"/>
                      <a:pt x="405" y="445"/>
                      <a:pt x="405" y="445"/>
                    </a:cubicBezTo>
                    <a:cubicBezTo>
                      <a:pt x="404" y="460"/>
                      <a:pt x="404" y="460"/>
                      <a:pt x="404" y="460"/>
                    </a:cubicBezTo>
                    <a:cubicBezTo>
                      <a:pt x="404" y="460"/>
                      <a:pt x="384" y="489"/>
                      <a:pt x="395" y="489"/>
                    </a:cubicBezTo>
                    <a:cubicBezTo>
                      <a:pt x="406" y="489"/>
                      <a:pt x="414" y="483"/>
                      <a:pt x="414" y="483"/>
                    </a:cubicBezTo>
                    <a:cubicBezTo>
                      <a:pt x="422" y="468"/>
                      <a:pt x="422" y="468"/>
                      <a:pt x="422" y="468"/>
                    </a:cubicBezTo>
                    <a:cubicBezTo>
                      <a:pt x="435" y="466"/>
                      <a:pt x="435" y="466"/>
                      <a:pt x="435" y="466"/>
                    </a:cubicBezTo>
                    <a:cubicBezTo>
                      <a:pt x="435" y="466"/>
                      <a:pt x="432" y="444"/>
                      <a:pt x="436" y="441"/>
                    </a:cubicBezTo>
                    <a:cubicBezTo>
                      <a:pt x="440" y="438"/>
                      <a:pt x="461" y="432"/>
                      <a:pt x="461" y="432"/>
                    </a:cubicBezTo>
                    <a:cubicBezTo>
                      <a:pt x="461" y="432"/>
                      <a:pt x="456" y="412"/>
                      <a:pt x="452" y="408"/>
                    </a:cubicBezTo>
                    <a:cubicBezTo>
                      <a:pt x="448" y="404"/>
                      <a:pt x="430" y="399"/>
                      <a:pt x="431" y="392"/>
                    </a:cubicBezTo>
                    <a:cubicBezTo>
                      <a:pt x="432" y="385"/>
                      <a:pt x="445" y="351"/>
                      <a:pt x="453" y="354"/>
                    </a:cubicBezTo>
                    <a:cubicBezTo>
                      <a:pt x="461" y="357"/>
                      <a:pt x="468" y="361"/>
                      <a:pt x="468" y="361"/>
                    </a:cubicBezTo>
                    <a:cubicBezTo>
                      <a:pt x="488" y="361"/>
                      <a:pt x="488" y="361"/>
                      <a:pt x="488" y="361"/>
                    </a:cubicBezTo>
                    <a:cubicBezTo>
                      <a:pt x="488" y="361"/>
                      <a:pt x="491" y="384"/>
                      <a:pt x="505" y="385"/>
                    </a:cubicBezTo>
                    <a:cubicBezTo>
                      <a:pt x="519" y="386"/>
                      <a:pt x="523" y="372"/>
                      <a:pt x="515" y="363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258">
                <a:extLst>
                  <a:ext uri="{FF2B5EF4-FFF2-40B4-BE49-F238E27FC236}">
                    <a16:creationId xmlns:a16="http://schemas.microsoft.com/office/drawing/2014/main" id="{26BB3FAF-AF51-CAA9-5A16-00EC0B7774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138" y="-16436"/>
                <a:ext cx="661" cy="312"/>
              </a:xfrm>
              <a:custGeom>
                <a:avLst/>
                <a:gdLst>
                  <a:gd name="T0" fmla="*/ 268 w 280"/>
                  <a:gd name="T1" fmla="*/ 67 h 132"/>
                  <a:gd name="T2" fmla="*/ 255 w 280"/>
                  <a:gd name="T3" fmla="*/ 60 h 132"/>
                  <a:gd name="T4" fmla="*/ 240 w 280"/>
                  <a:gd name="T5" fmla="*/ 57 h 132"/>
                  <a:gd name="T6" fmla="*/ 219 w 280"/>
                  <a:gd name="T7" fmla="*/ 42 h 132"/>
                  <a:gd name="T8" fmla="*/ 196 w 280"/>
                  <a:gd name="T9" fmla="*/ 47 h 132"/>
                  <a:gd name="T10" fmla="*/ 177 w 280"/>
                  <a:gd name="T11" fmla="*/ 35 h 132"/>
                  <a:gd name="T12" fmla="*/ 178 w 280"/>
                  <a:gd name="T13" fmla="*/ 28 h 132"/>
                  <a:gd name="T14" fmla="*/ 159 w 280"/>
                  <a:gd name="T15" fmla="*/ 24 h 132"/>
                  <a:gd name="T16" fmla="*/ 132 w 280"/>
                  <a:gd name="T17" fmla="*/ 13 h 132"/>
                  <a:gd name="T18" fmla="*/ 116 w 280"/>
                  <a:gd name="T19" fmla="*/ 2 h 132"/>
                  <a:gd name="T20" fmla="*/ 108 w 280"/>
                  <a:gd name="T21" fmla="*/ 11 h 132"/>
                  <a:gd name="T22" fmla="*/ 87 w 280"/>
                  <a:gd name="T23" fmla="*/ 11 h 132"/>
                  <a:gd name="T24" fmla="*/ 72 w 280"/>
                  <a:gd name="T25" fmla="*/ 19 h 132"/>
                  <a:gd name="T26" fmla="*/ 56 w 280"/>
                  <a:gd name="T27" fmla="*/ 24 h 132"/>
                  <a:gd name="T28" fmla="*/ 38 w 280"/>
                  <a:gd name="T29" fmla="*/ 36 h 132"/>
                  <a:gd name="T30" fmla="*/ 21 w 280"/>
                  <a:gd name="T31" fmla="*/ 36 h 132"/>
                  <a:gd name="T32" fmla="*/ 11 w 280"/>
                  <a:gd name="T33" fmla="*/ 42 h 132"/>
                  <a:gd name="T34" fmla="*/ 5 w 280"/>
                  <a:gd name="T35" fmla="*/ 50 h 132"/>
                  <a:gd name="T36" fmla="*/ 17 w 280"/>
                  <a:gd name="T37" fmla="*/ 60 h 132"/>
                  <a:gd name="T38" fmla="*/ 19 w 280"/>
                  <a:gd name="T39" fmla="*/ 74 h 132"/>
                  <a:gd name="T40" fmla="*/ 27 w 280"/>
                  <a:gd name="T41" fmla="*/ 82 h 132"/>
                  <a:gd name="T42" fmla="*/ 42 w 280"/>
                  <a:gd name="T43" fmla="*/ 90 h 132"/>
                  <a:gd name="T44" fmla="*/ 49 w 280"/>
                  <a:gd name="T45" fmla="*/ 98 h 132"/>
                  <a:gd name="T46" fmla="*/ 65 w 280"/>
                  <a:gd name="T47" fmla="*/ 108 h 132"/>
                  <a:gd name="T48" fmla="*/ 87 w 280"/>
                  <a:gd name="T49" fmla="*/ 131 h 132"/>
                  <a:gd name="T50" fmla="*/ 110 w 280"/>
                  <a:gd name="T51" fmla="*/ 132 h 132"/>
                  <a:gd name="T52" fmla="*/ 115 w 280"/>
                  <a:gd name="T53" fmla="*/ 119 h 132"/>
                  <a:gd name="T54" fmla="*/ 142 w 280"/>
                  <a:gd name="T55" fmla="*/ 112 h 132"/>
                  <a:gd name="T56" fmla="*/ 158 w 280"/>
                  <a:gd name="T57" fmla="*/ 113 h 132"/>
                  <a:gd name="T58" fmla="*/ 173 w 280"/>
                  <a:gd name="T59" fmla="*/ 120 h 132"/>
                  <a:gd name="T60" fmla="*/ 200 w 280"/>
                  <a:gd name="T61" fmla="*/ 123 h 132"/>
                  <a:gd name="T62" fmla="*/ 221 w 280"/>
                  <a:gd name="T63" fmla="*/ 116 h 132"/>
                  <a:gd name="T64" fmla="*/ 255 w 280"/>
                  <a:gd name="T65" fmla="*/ 105 h 132"/>
                  <a:gd name="T66" fmla="*/ 269 w 280"/>
                  <a:gd name="T67" fmla="*/ 86 h 132"/>
                  <a:gd name="T68" fmla="*/ 275 w 280"/>
                  <a:gd name="T69" fmla="*/ 73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0" h="132">
                    <a:moveTo>
                      <a:pt x="275" y="73"/>
                    </a:moveTo>
                    <a:cubicBezTo>
                      <a:pt x="268" y="67"/>
                      <a:pt x="268" y="67"/>
                      <a:pt x="268" y="67"/>
                    </a:cubicBezTo>
                    <a:cubicBezTo>
                      <a:pt x="269" y="62"/>
                      <a:pt x="269" y="62"/>
                      <a:pt x="269" y="62"/>
                    </a:cubicBezTo>
                    <a:cubicBezTo>
                      <a:pt x="269" y="62"/>
                      <a:pt x="259" y="60"/>
                      <a:pt x="255" y="60"/>
                    </a:cubicBezTo>
                    <a:cubicBezTo>
                      <a:pt x="251" y="60"/>
                      <a:pt x="247" y="51"/>
                      <a:pt x="247" y="51"/>
                    </a:cubicBezTo>
                    <a:cubicBezTo>
                      <a:pt x="240" y="57"/>
                      <a:pt x="240" y="57"/>
                      <a:pt x="240" y="57"/>
                    </a:cubicBezTo>
                    <a:cubicBezTo>
                      <a:pt x="240" y="57"/>
                      <a:pt x="235" y="44"/>
                      <a:pt x="227" y="43"/>
                    </a:cubicBezTo>
                    <a:cubicBezTo>
                      <a:pt x="219" y="42"/>
                      <a:pt x="219" y="42"/>
                      <a:pt x="219" y="42"/>
                    </a:cubicBezTo>
                    <a:cubicBezTo>
                      <a:pt x="219" y="42"/>
                      <a:pt x="224" y="35"/>
                      <a:pt x="211" y="39"/>
                    </a:cubicBezTo>
                    <a:cubicBezTo>
                      <a:pt x="198" y="43"/>
                      <a:pt x="196" y="47"/>
                      <a:pt x="196" y="47"/>
                    </a:cubicBezTo>
                    <a:cubicBezTo>
                      <a:pt x="196" y="47"/>
                      <a:pt x="185" y="45"/>
                      <a:pt x="181" y="43"/>
                    </a:cubicBezTo>
                    <a:cubicBezTo>
                      <a:pt x="177" y="41"/>
                      <a:pt x="177" y="35"/>
                      <a:pt x="177" y="35"/>
                    </a:cubicBezTo>
                    <a:cubicBezTo>
                      <a:pt x="171" y="32"/>
                      <a:pt x="171" y="32"/>
                      <a:pt x="171" y="32"/>
                    </a:cubicBezTo>
                    <a:cubicBezTo>
                      <a:pt x="178" y="28"/>
                      <a:pt x="178" y="28"/>
                      <a:pt x="178" y="28"/>
                    </a:cubicBezTo>
                    <a:cubicBezTo>
                      <a:pt x="175" y="23"/>
                      <a:pt x="175" y="23"/>
                      <a:pt x="175" y="23"/>
                    </a:cubicBezTo>
                    <a:cubicBezTo>
                      <a:pt x="175" y="23"/>
                      <a:pt x="162" y="24"/>
                      <a:pt x="159" y="24"/>
                    </a:cubicBezTo>
                    <a:cubicBezTo>
                      <a:pt x="156" y="24"/>
                      <a:pt x="158" y="18"/>
                      <a:pt x="146" y="14"/>
                    </a:cubicBezTo>
                    <a:cubicBezTo>
                      <a:pt x="134" y="10"/>
                      <a:pt x="132" y="13"/>
                      <a:pt x="132" y="13"/>
                    </a:cubicBezTo>
                    <a:cubicBezTo>
                      <a:pt x="129" y="4"/>
                      <a:pt x="129" y="4"/>
                      <a:pt x="129" y="4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4" y="6"/>
                      <a:pt x="111" y="11"/>
                      <a:pt x="108" y="11"/>
                    </a:cubicBezTo>
                    <a:cubicBezTo>
                      <a:pt x="103" y="12"/>
                      <a:pt x="98" y="0"/>
                      <a:pt x="96" y="1"/>
                    </a:cubicBezTo>
                    <a:cubicBezTo>
                      <a:pt x="94" y="2"/>
                      <a:pt x="89" y="8"/>
                      <a:pt x="87" y="11"/>
                    </a:cubicBezTo>
                    <a:cubicBezTo>
                      <a:pt x="84" y="14"/>
                      <a:pt x="73" y="13"/>
                      <a:pt x="73" y="13"/>
                    </a:cubicBezTo>
                    <a:cubicBezTo>
                      <a:pt x="73" y="13"/>
                      <a:pt x="75" y="18"/>
                      <a:pt x="72" y="19"/>
                    </a:cubicBezTo>
                    <a:cubicBezTo>
                      <a:pt x="69" y="20"/>
                      <a:pt x="58" y="20"/>
                      <a:pt x="58" y="20"/>
                    </a:cubicBezTo>
                    <a:cubicBezTo>
                      <a:pt x="56" y="24"/>
                      <a:pt x="56" y="24"/>
                      <a:pt x="56" y="24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6"/>
                      <a:pt x="40" y="32"/>
                      <a:pt x="31" y="30"/>
                    </a:cubicBezTo>
                    <a:cubicBezTo>
                      <a:pt x="23" y="28"/>
                      <a:pt x="21" y="36"/>
                      <a:pt x="21" y="36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4" y="36"/>
                      <a:pt x="15" y="41"/>
                      <a:pt x="11" y="42"/>
                    </a:cubicBezTo>
                    <a:cubicBezTo>
                      <a:pt x="7" y="42"/>
                      <a:pt x="7" y="36"/>
                      <a:pt x="3" y="38"/>
                    </a:cubicBezTo>
                    <a:cubicBezTo>
                      <a:pt x="0" y="41"/>
                      <a:pt x="5" y="50"/>
                      <a:pt x="5" y="50"/>
                    </a:cubicBezTo>
                    <a:cubicBezTo>
                      <a:pt x="11" y="51"/>
                      <a:pt x="11" y="51"/>
                      <a:pt x="11" y="51"/>
                    </a:cubicBezTo>
                    <a:cubicBezTo>
                      <a:pt x="17" y="60"/>
                      <a:pt x="17" y="60"/>
                      <a:pt x="17" y="60"/>
                    </a:cubicBezTo>
                    <a:cubicBezTo>
                      <a:pt x="17" y="60"/>
                      <a:pt x="9" y="64"/>
                      <a:pt x="10" y="66"/>
                    </a:cubicBezTo>
                    <a:cubicBezTo>
                      <a:pt x="11" y="68"/>
                      <a:pt x="19" y="74"/>
                      <a:pt x="19" y="74"/>
                    </a:cubicBezTo>
                    <a:cubicBezTo>
                      <a:pt x="21" y="80"/>
                      <a:pt x="21" y="80"/>
                      <a:pt x="21" y="80"/>
                    </a:cubicBezTo>
                    <a:cubicBezTo>
                      <a:pt x="27" y="82"/>
                      <a:pt x="27" y="82"/>
                      <a:pt x="27" y="82"/>
                    </a:cubicBezTo>
                    <a:cubicBezTo>
                      <a:pt x="27" y="82"/>
                      <a:pt x="21" y="87"/>
                      <a:pt x="29" y="88"/>
                    </a:cubicBezTo>
                    <a:cubicBezTo>
                      <a:pt x="36" y="88"/>
                      <a:pt x="42" y="90"/>
                      <a:pt x="42" y="90"/>
                    </a:cubicBezTo>
                    <a:cubicBezTo>
                      <a:pt x="45" y="98"/>
                      <a:pt x="45" y="98"/>
                      <a:pt x="45" y="98"/>
                    </a:cubicBezTo>
                    <a:cubicBezTo>
                      <a:pt x="49" y="98"/>
                      <a:pt x="49" y="98"/>
                      <a:pt x="49" y="98"/>
                    </a:cubicBezTo>
                    <a:cubicBezTo>
                      <a:pt x="55" y="107"/>
                      <a:pt x="55" y="107"/>
                      <a:pt x="55" y="107"/>
                    </a:cubicBezTo>
                    <a:cubicBezTo>
                      <a:pt x="55" y="107"/>
                      <a:pt x="60" y="105"/>
                      <a:pt x="65" y="108"/>
                    </a:cubicBezTo>
                    <a:cubicBezTo>
                      <a:pt x="71" y="112"/>
                      <a:pt x="72" y="119"/>
                      <a:pt x="72" y="119"/>
                    </a:cubicBezTo>
                    <a:cubicBezTo>
                      <a:pt x="72" y="119"/>
                      <a:pt x="80" y="131"/>
                      <a:pt x="87" y="131"/>
                    </a:cubicBezTo>
                    <a:cubicBezTo>
                      <a:pt x="95" y="131"/>
                      <a:pt x="101" y="127"/>
                      <a:pt x="101" y="127"/>
                    </a:cubicBezTo>
                    <a:cubicBezTo>
                      <a:pt x="110" y="132"/>
                      <a:pt x="110" y="132"/>
                      <a:pt x="110" y="132"/>
                    </a:cubicBezTo>
                    <a:cubicBezTo>
                      <a:pt x="111" y="120"/>
                      <a:pt x="111" y="120"/>
                      <a:pt x="111" y="120"/>
                    </a:cubicBezTo>
                    <a:cubicBezTo>
                      <a:pt x="115" y="119"/>
                      <a:pt x="115" y="119"/>
                      <a:pt x="115" y="119"/>
                    </a:cubicBezTo>
                    <a:cubicBezTo>
                      <a:pt x="115" y="119"/>
                      <a:pt x="122" y="106"/>
                      <a:pt x="125" y="105"/>
                    </a:cubicBezTo>
                    <a:cubicBezTo>
                      <a:pt x="129" y="104"/>
                      <a:pt x="142" y="112"/>
                      <a:pt x="142" y="112"/>
                    </a:cubicBezTo>
                    <a:cubicBezTo>
                      <a:pt x="151" y="118"/>
                      <a:pt x="151" y="118"/>
                      <a:pt x="151" y="118"/>
                    </a:cubicBezTo>
                    <a:cubicBezTo>
                      <a:pt x="158" y="113"/>
                      <a:pt x="158" y="113"/>
                      <a:pt x="158" y="113"/>
                    </a:cubicBezTo>
                    <a:cubicBezTo>
                      <a:pt x="165" y="121"/>
                      <a:pt x="165" y="121"/>
                      <a:pt x="165" y="121"/>
                    </a:cubicBezTo>
                    <a:cubicBezTo>
                      <a:pt x="173" y="120"/>
                      <a:pt x="173" y="120"/>
                      <a:pt x="173" y="120"/>
                    </a:cubicBezTo>
                    <a:cubicBezTo>
                      <a:pt x="173" y="120"/>
                      <a:pt x="177" y="113"/>
                      <a:pt x="184" y="115"/>
                    </a:cubicBezTo>
                    <a:cubicBezTo>
                      <a:pt x="192" y="118"/>
                      <a:pt x="200" y="123"/>
                      <a:pt x="200" y="123"/>
                    </a:cubicBezTo>
                    <a:cubicBezTo>
                      <a:pt x="200" y="123"/>
                      <a:pt x="205" y="119"/>
                      <a:pt x="209" y="118"/>
                    </a:cubicBezTo>
                    <a:cubicBezTo>
                      <a:pt x="212" y="117"/>
                      <a:pt x="218" y="117"/>
                      <a:pt x="221" y="116"/>
                    </a:cubicBezTo>
                    <a:cubicBezTo>
                      <a:pt x="222" y="118"/>
                      <a:pt x="228" y="120"/>
                      <a:pt x="233" y="117"/>
                    </a:cubicBezTo>
                    <a:cubicBezTo>
                      <a:pt x="240" y="112"/>
                      <a:pt x="255" y="105"/>
                      <a:pt x="255" y="105"/>
                    </a:cubicBezTo>
                    <a:cubicBezTo>
                      <a:pt x="255" y="92"/>
                      <a:pt x="255" y="92"/>
                      <a:pt x="255" y="92"/>
                    </a:cubicBezTo>
                    <a:cubicBezTo>
                      <a:pt x="269" y="86"/>
                      <a:pt x="269" y="86"/>
                      <a:pt x="269" y="86"/>
                    </a:cubicBezTo>
                    <a:cubicBezTo>
                      <a:pt x="280" y="79"/>
                      <a:pt x="280" y="79"/>
                      <a:pt x="280" y="79"/>
                    </a:cubicBezTo>
                    <a:cubicBezTo>
                      <a:pt x="277" y="76"/>
                      <a:pt x="275" y="73"/>
                      <a:pt x="275" y="73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259">
                <a:extLst>
                  <a:ext uri="{FF2B5EF4-FFF2-40B4-BE49-F238E27FC236}">
                    <a16:creationId xmlns:a16="http://schemas.microsoft.com/office/drawing/2014/main" id="{F94B7115-94C9-ECD4-AFAD-3128BDAEB10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952" y="-16892"/>
                <a:ext cx="990" cy="711"/>
              </a:xfrm>
              <a:custGeom>
                <a:avLst/>
                <a:gdLst>
                  <a:gd name="T0" fmla="*/ 312 w 419"/>
                  <a:gd name="T1" fmla="*/ 276 h 301"/>
                  <a:gd name="T2" fmla="*/ 351 w 419"/>
                  <a:gd name="T3" fmla="*/ 293 h 301"/>
                  <a:gd name="T4" fmla="*/ 371 w 419"/>
                  <a:gd name="T5" fmla="*/ 301 h 301"/>
                  <a:gd name="T6" fmla="*/ 364 w 419"/>
                  <a:gd name="T7" fmla="*/ 265 h 301"/>
                  <a:gd name="T8" fmla="*/ 417 w 419"/>
                  <a:gd name="T9" fmla="*/ 224 h 301"/>
                  <a:gd name="T10" fmla="*/ 416 w 419"/>
                  <a:gd name="T11" fmla="*/ 203 h 301"/>
                  <a:gd name="T12" fmla="*/ 390 w 419"/>
                  <a:gd name="T13" fmla="*/ 180 h 301"/>
                  <a:gd name="T14" fmla="*/ 389 w 419"/>
                  <a:gd name="T15" fmla="*/ 167 h 301"/>
                  <a:gd name="T16" fmla="*/ 387 w 419"/>
                  <a:gd name="T17" fmla="*/ 140 h 301"/>
                  <a:gd name="T18" fmla="*/ 379 w 419"/>
                  <a:gd name="T19" fmla="*/ 123 h 301"/>
                  <a:gd name="T20" fmla="*/ 394 w 419"/>
                  <a:gd name="T21" fmla="*/ 106 h 301"/>
                  <a:gd name="T22" fmla="*/ 392 w 419"/>
                  <a:gd name="T23" fmla="*/ 78 h 301"/>
                  <a:gd name="T24" fmla="*/ 373 w 419"/>
                  <a:gd name="T25" fmla="*/ 46 h 301"/>
                  <a:gd name="T26" fmla="*/ 344 w 419"/>
                  <a:gd name="T27" fmla="*/ 22 h 301"/>
                  <a:gd name="T28" fmla="*/ 313 w 419"/>
                  <a:gd name="T29" fmla="*/ 26 h 301"/>
                  <a:gd name="T30" fmla="*/ 257 w 419"/>
                  <a:gd name="T31" fmla="*/ 20 h 301"/>
                  <a:gd name="T32" fmla="*/ 231 w 419"/>
                  <a:gd name="T33" fmla="*/ 18 h 301"/>
                  <a:gd name="T34" fmla="*/ 189 w 419"/>
                  <a:gd name="T35" fmla="*/ 22 h 301"/>
                  <a:gd name="T36" fmla="*/ 149 w 419"/>
                  <a:gd name="T37" fmla="*/ 0 h 301"/>
                  <a:gd name="T38" fmla="*/ 81 w 419"/>
                  <a:gd name="T39" fmla="*/ 28 h 301"/>
                  <a:gd name="T40" fmla="*/ 12 w 419"/>
                  <a:gd name="T41" fmla="*/ 48 h 301"/>
                  <a:gd name="T42" fmla="*/ 7 w 419"/>
                  <a:gd name="T43" fmla="*/ 58 h 301"/>
                  <a:gd name="T44" fmla="*/ 14 w 419"/>
                  <a:gd name="T45" fmla="*/ 75 h 301"/>
                  <a:gd name="T46" fmla="*/ 3 w 419"/>
                  <a:gd name="T47" fmla="*/ 102 h 301"/>
                  <a:gd name="T48" fmla="*/ 14 w 419"/>
                  <a:gd name="T49" fmla="*/ 111 h 301"/>
                  <a:gd name="T50" fmla="*/ 24 w 419"/>
                  <a:gd name="T51" fmla="*/ 122 h 301"/>
                  <a:gd name="T52" fmla="*/ 25 w 419"/>
                  <a:gd name="T53" fmla="*/ 132 h 301"/>
                  <a:gd name="T54" fmla="*/ 29 w 419"/>
                  <a:gd name="T55" fmla="*/ 142 h 301"/>
                  <a:gd name="T56" fmla="*/ 30 w 419"/>
                  <a:gd name="T57" fmla="*/ 161 h 301"/>
                  <a:gd name="T58" fmla="*/ 38 w 419"/>
                  <a:gd name="T59" fmla="*/ 173 h 301"/>
                  <a:gd name="T60" fmla="*/ 41 w 419"/>
                  <a:gd name="T61" fmla="*/ 187 h 301"/>
                  <a:gd name="T62" fmla="*/ 50 w 419"/>
                  <a:gd name="T63" fmla="*/ 197 h 301"/>
                  <a:gd name="T64" fmla="*/ 67 w 419"/>
                  <a:gd name="T65" fmla="*/ 207 h 301"/>
                  <a:gd name="T66" fmla="*/ 96 w 419"/>
                  <a:gd name="T67" fmla="*/ 216 h 301"/>
                  <a:gd name="T68" fmla="*/ 92 w 419"/>
                  <a:gd name="T69" fmla="*/ 225 h 301"/>
                  <a:gd name="T70" fmla="*/ 102 w 419"/>
                  <a:gd name="T71" fmla="*/ 236 h 301"/>
                  <a:gd name="T72" fmla="*/ 132 w 419"/>
                  <a:gd name="T73" fmla="*/ 232 h 301"/>
                  <a:gd name="T74" fmla="*/ 148 w 419"/>
                  <a:gd name="T75" fmla="*/ 236 h 301"/>
                  <a:gd name="T76" fmla="*/ 168 w 419"/>
                  <a:gd name="T77" fmla="*/ 244 h 301"/>
                  <a:gd name="T78" fmla="*/ 190 w 419"/>
                  <a:gd name="T79" fmla="*/ 255 h 301"/>
                  <a:gd name="T80" fmla="*/ 196 w 419"/>
                  <a:gd name="T81" fmla="*/ 266 h 301"/>
                  <a:gd name="T82" fmla="*/ 229 w 419"/>
                  <a:gd name="T83" fmla="*/ 272 h 301"/>
                  <a:gd name="T84" fmla="*/ 244 w 419"/>
                  <a:gd name="T85" fmla="*/ 281 h 301"/>
                  <a:gd name="T86" fmla="*/ 258 w 419"/>
                  <a:gd name="T87" fmla="*/ 279 h 301"/>
                  <a:gd name="T88" fmla="*/ 288 w 419"/>
                  <a:gd name="T89" fmla="*/ 284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19" h="301">
                    <a:moveTo>
                      <a:pt x="288" y="284"/>
                    </a:moveTo>
                    <a:cubicBezTo>
                      <a:pt x="293" y="284"/>
                      <a:pt x="298" y="276"/>
                      <a:pt x="312" y="276"/>
                    </a:cubicBezTo>
                    <a:cubicBezTo>
                      <a:pt x="326" y="276"/>
                      <a:pt x="325" y="283"/>
                      <a:pt x="332" y="289"/>
                    </a:cubicBezTo>
                    <a:cubicBezTo>
                      <a:pt x="339" y="295"/>
                      <a:pt x="345" y="293"/>
                      <a:pt x="351" y="293"/>
                    </a:cubicBezTo>
                    <a:cubicBezTo>
                      <a:pt x="357" y="293"/>
                      <a:pt x="355" y="300"/>
                      <a:pt x="355" y="300"/>
                    </a:cubicBezTo>
                    <a:cubicBezTo>
                      <a:pt x="371" y="301"/>
                      <a:pt x="371" y="301"/>
                      <a:pt x="371" y="301"/>
                    </a:cubicBezTo>
                    <a:cubicBezTo>
                      <a:pt x="371" y="301"/>
                      <a:pt x="362" y="295"/>
                      <a:pt x="363" y="285"/>
                    </a:cubicBezTo>
                    <a:cubicBezTo>
                      <a:pt x="364" y="275"/>
                      <a:pt x="364" y="265"/>
                      <a:pt x="364" y="265"/>
                    </a:cubicBezTo>
                    <a:cubicBezTo>
                      <a:pt x="399" y="230"/>
                      <a:pt x="399" y="230"/>
                      <a:pt x="399" y="230"/>
                    </a:cubicBezTo>
                    <a:cubicBezTo>
                      <a:pt x="399" y="230"/>
                      <a:pt x="419" y="229"/>
                      <a:pt x="417" y="224"/>
                    </a:cubicBezTo>
                    <a:cubicBezTo>
                      <a:pt x="415" y="219"/>
                      <a:pt x="409" y="211"/>
                      <a:pt x="409" y="211"/>
                    </a:cubicBezTo>
                    <a:cubicBezTo>
                      <a:pt x="416" y="203"/>
                      <a:pt x="416" y="203"/>
                      <a:pt x="416" y="203"/>
                    </a:cubicBezTo>
                    <a:cubicBezTo>
                      <a:pt x="416" y="203"/>
                      <a:pt x="404" y="200"/>
                      <a:pt x="401" y="191"/>
                    </a:cubicBezTo>
                    <a:cubicBezTo>
                      <a:pt x="398" y="182"/>
                      <a:pt x="390" y="180"/>
                      <a:pt x="390" y="180"/>
                    </a:cubicBezTo>
                    <a:cubicBezTo>
                      <a:pt x="388" y="167"/>
                      <a:pt x="388" y="167"/>
                      <a:pt x="388" y="167"/>
                    </a:cubicBezTo>
                    <a:cubicBezTo>
                      <a:pt x="388" y="167"/>
                      <a:pt x="388" y="167"/>
                      <a:pt x="389" y="167"/>
                    </a:cubicBezTo>
                    <a:cubicBezTo>
                      <a:pt x="386" y="158"/>
                      <a:pt x="386" y="158"/>
                      <a:pt x="386" y="158"/>
                    </a:cubicBezTo>
                    <a:cubicBezTo>
                      <a:pt x="386" y="158"/>
                      <a:pt x="389" y="144"/>
                      <a:pt x="387" y="140"/>
                    </a:cubicBezTo>
                    <a:cubicBezTo>
                      <a:pt x="385" y="136"/>
                      <a:pt x="371" y="133"/>
                      <a:pt x="369" y="127"/>
                    </a:cubicBezTo>
                    <a:cubicBezTo>
                      <a:pt x="367" y="121"/>
                      <a:pt x="376" y="123"/>
                      <a:pt x="379" y="123"/>
                    </a:cubicBezTo>
                    <a:cubicBezTo>
                      <a:pt x="382" y="123"/>
                      <a:pt x="380" y="111"/>
                      <a:pt x="380" y="111"/>
                    </a:cubicBezTo>
                    <a:cubicBezTo>
                      <a:pt x="394" y="106"/>
                      <a:pt x="394" y="106"/>
                      <a:pt x="394" y="106"/>
                    </a:cubicBezTo>
                    <a:cubicBezTo>
                      <a:pt x="394" y="106"/>
                      <a:pt x="396" y="98"/>
                      <a:pt x="398" y="94"/>
                    </a:cubicBezTo>
                    <a:cubicBezTo>
                      <a:pt x="400" y="90"/>
                      <a:pt x="392" y="78"/>
                      <a:pt x="392" y="78"/>
                    </a:cubicBezTo>
                    <a:cubicBezTo>
                      <a:pt x="392" y="78"/>
                      <a:pt x="381" y="69"/>
                      <a:pt x="381" y="64"/>
                    </a:cubicBezTo>
                    <a:cubicBezTo>
                      <a:pt x="381" y="59"/>
                      <a:pt x="373" y="46"/>
                      <a:pt x="373" y="46"/>
                    </a:cubicBezTo>
                    <a:cubicBezTo>
                      <a:pt x="373" y="33"/>
                      <a:pt x="373" y="33"/>
                      <a:pt x="373" y="33"/>
                    </a:cubicBezTo>
                    <a:cubicBezTo>
                      <a:pt x="373" y="33"/>
                      <a:pt x="357" y="24"/>
                      <a:pt x="344" y="22"/>
                    </a:cubicBezTo>
                    <a:cubicBezTo>
                      <a:pt x="331" y="20"/>
                      <a:pt x="336" y="27"/>
                      <a:pt x="336" y="27"/>
                    </a:cubicBezTo>
                    <a:cubicBezTo>
                      <a:pt x="336" y="27"/>
                      <a:pt x="321" y="27"/>
                      <a:pt x="313" y="26"/>
                    </a:cubicBezTo>
                    <a:cubicBezTo>
                      <a:pt x="305" y="25"/>
                      <a:pt x="274" y="27"/>
                      <a:pt x="274" y="27"/>
                    </a:cubicBezTo>
                    <a:cubicBezTo>
                      <a:pt x="274" y="27"/>
                      <a:pt x="266" y="22"/>
                      <a:pt x="257" y="20"/>
                    </a:cubicBezTo>
                    <a:cubicBezTo>
                      <a:pt x="248" y="18"/>
                      <a:pt x="236" y="23"/>
                      <a:pt x="236" y="23"/>
                    </a:cubicBezTo>
                    <a:cubicBezTo>
                      <a:pt x="231" y="18"/>
                      <a:pt x="231" y="18"/>
                      <a:pt x="231" y="18"/>
                    </a:cubicBezTo>
                    <a:cubicBezTo>
                      <a:pt x="231" y="19"/>
                      <a:pt x="231" y="19"/>
                      <a:pt x="231" y="19"/>
                    </a:cubicBezTo>
                    <a:cubicBezTo>
                      <a:pt x="231" y="19"/>
                      <a:pt x="195" y="23"/>
                      <a:pt x="189" y="22"/>
                    </a:cubicBezTo>
                    <a:cubicBezTo>
                      <a:pt x="183" y="21"/>
                      <a:pt x="178" y="4"/>
                      <a:pt x="178" y="4"/>
                    </a:cubicBezTo>
                    <a:cubicBezTo>
                      <a:pt x="178" y="4"/>
                      <a:pt x="164" y="0"/>
                      <a:pt x="149" y="0"/>
                    </a:cubicBezTo>
                    <a:cubicBezTo>
                      <a:pt x="134" y="0"/>
                      <a:pt x="94" y="17"/>
                      <a:pt x="94" y="17"/>
                    </a:cubicBezTo>
                    <a:cubicBezTo>
                      <a:pt x="81" y="28"/>
                      <a:pt x="81" y="28"/>
                      <a:pt x="81" y="28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41" y="33"/>
                      <a:pt x="10" y="44"/>
                      <a:pt x="12" y="48"/>
                    </a:cubicBezTo>
                    <a:cubicBezTo>
                      <a:pt x="14" y="52"/>
                      <a:pt x="14" y="62"/>
                      <a:pt x="14" y="62"/>
                    </a:cubicBezTo>
                    <a:cubicBezTo>
                      <a:pt x="7" y="58"/>
                      <a:pt x="7" y="58"/>
                      <a:pt x="7" y="58"/>
                    </a:cubicBezTo>
                    <a:cubicBezTo>
                      <a:pt x="8" y="61"/>
                      <a:pt x="9" y="65"/>
                      <a:pt x="8" y="68"/>
                    </a:cubicBezTo>
                    <a:cubicBezTo>
                      <a:pt x="6" y="74"/>
                      <a:pt x="11" y="66"/>
                      <a:pt x="14" y="75"/>
                    </a:cubicBezTo>
                    <a:cubicBezTo>
                      <a:pt x="16" y="83"/>
                      <a:pt x="18" y="85"/>
                      <a:pt x="12" y="89"/>
                    </a:cubicBezTo>
                    <a:cubicBezTo>
                      <a:pt x="6" y="94"/>
                      <a:pt x="0" y="95"/>
                      <a:pt x="3" y="102"/>
                    </a:cubicBezTo>
                    <a:cubicBezTo>
                      <a:pt x="6" y="109"/>
                      <a:pt x="10" y="105"/>
                      <a:pt x="10" y="105"/>
                    </a:cubicBezTo>
                    <a:cubicBezTo>
                      <a:pt x="14" y="111"/>
                      <a:pt x="14" y="111"/>
                      <a:pt x="14" y="111"/>
                    </a:cubicBezTo>
                    <a:cubicBezTo>
                      <a:pt x="14" y="111"/>
                      <a:pt x="18" y="107"/>
                      <a:pt x="21" y="111"/>
                    </a:cubicBezTo>
                    <a:cubicBezTo>
                      <a:pt x="24" y="116"/>
                      <a:pt x="24" y="122"/>
                      <a:pt x="24" y="122"/>
                    </a:cubicBezTo>
                    <a:cubicBezTo>
                      <a:pt x="24" y="122"/>
                      <a:pt x="18" y="125"/>
                      <a:pt x="19" y="128"/>
                    </a:cubicBezTo>
                    <a:cubicBezTo>
                      <a:pt x="20" y="131"/>
                      <a:pt x="25" y="132"/>
                      <a:pt x="25" y="132"/>
                    </a:cubicBezTo>
                    <a:cubicBezTo>
                      <a:pt x="25" y="132"/>
                      <a:pt x="22" y="139"/>
                      <a:pt x="24" y="139"/>
                    </a:cubicBezTo>
                    <a:cubicBezTo>
                      <a:pt x="26" y="140"/>
                      <a:pt x="29" y="142"/>
                      <a:pt x="29" y="142"/>
                    </a:cubicBezTo>
                    <a:cubicBezTo>
                      <a:pt x="29" y="142"/>
                      <a:pt x="20" y="148"/>
                      <a:pt x="20" y="153"/>
                    </a:cubicBezTo>
                    <a:cubicBezTo>
                      <a:pt x="21" y="159"/>
                      <a:pt x="30" y="161"/>
                      <a:pt x="30" y="161"/>
                    </a:cubicBezTo>
                    <a:cubicBezTo>
                      <a:pt x="29" y="173"/>
                      <a:pt x="29" y="173"/>
                      <a:pt x="29" y="173"/>
                    </a:cubicBezTo>
                    <a:cubicBezTo>
                      <a:pt x="29" y="173"/>
                      <a:pt x="37" y="167"/>
                      <a:pt x="38" y="173"/>
                    </a:cubicBezTo>
                    <a:cubicBezTo>
                      <a:pt x="40" y="178"/>
                      <a:pt x="36" y="183"/>
                      <a:pt x="36" y="183"/>
                    </a:cubicBezTo>
                    <a:cubicBezTo>
                      <a:pt x="36" y="183"/>
                      <a:pt x="42" y="184"/>
                      <a:pt x="41" y="187"/>
                    </a:cubicBezTo>
                    <a:cubicBezTo>
                      <a:pt x="40" y="189"/>
                      <a:pt x="39" y="192"/>
                      <a:pt x="37" y="195"/>
                    </a:cubicBezTo>
                    <a:cubicBezTo>
                      <a:pt x="50" y="197"/>
                      <a:pt x="50" y="197"/>
                      <a:pt x="50" y="197"/>
                    </a:cubicBezTo>
                    <a:cubicBezTo>
                      <a:pt x="53" y="206"/>
                      <a:pt x="53" y="206"/>
                      <a:pt x="53" y="206"/>
                    </a:cubicBezTo>
                    <a:cubicBezTo>
                      <a:pt x="53" y="206"/>
                      <a:pt x="55" y="203"/>
                      <a:pt x="67" y="207"/>
                    </a:cubicBezTo>
                    <a:cubicBezTo>
                      <a:pt x="79" y="211"/>
                      <a:pt x="77" y="217"/>
                      <a:pt x="80" y="217"/>
                    </a:cubicBezTo>
                    <a:cubicBezTo>
                      <a:pt x="83" y="217"/>
                      <a:pt x="96" y="216"/>
                      <a:pt x="96" y="216"/>
                    </a:cubicBezTo>
                    <a:cubicBezTo>
                      <a:pt x="99" y="221"/>
                      <a:pt x="99" y="221"/>
                      <a:pt x="99" y="221"/>
                    </a:cubicBezTo>
                    <a:cubicBezTo>
                      <a:pt x="92" y="225"/>
                      <a:pt x="92" y="225"/>
                      <a:pt x="92" y="225"/>
                    </a:cubicBezTo>
                    <a:cubicBezTo>
                      <a:pt x="98" y="228"/>
                      <a:pt x="98" y="228"/>
                      <a:pt x="98" y="228"/>
                    </a:cubicBezTo>
                    <a:cubicBezTo>
                      <a:pt x="98" y="228"/>
                      <a:pt x="98" y="234"/>
                      <a:pt x="102" y="236"/>
                    </a:cubicBezTo>
                    <a:cubicBezTo>
                      <a:pt x="106" y="238"/>
                      <a:pt x="117" y="240"/>
                      <a:pt x="117" y="240"/>
                    </a:cubicBezTo>
                    <a:cubicBezTo>
                      <a:pt x="117" y="240"/>
                      <a:pt x="119" y="236"/>
                      <a:pt x="132" y="232"/>
                    </a:cubicBezTo>
                    <a:cubicBezTo>
                      <a:pt x="145" y="228"/>
                      <a:pt x="140" y="235"/>
                      <a:pt x="140" y="235"/>
                    </a:cubicBezTo>
                    <a:cubicBezTo>
                      <a:pt x="140" y="235"/>
                      <a:pt x="140" y="235"/>
                      <a:pt x="148" y="236"/>
                    </a:cubicBezTo>
                    <a:cubicBezTo>
                      <a:pt x="156" y="237"/>
                      <a:pt x="161" y="250"/>
                      <a:pt x="161" y="250"/>
                    </a:cubicBezTo>
                    <a:cubicBezTo>
                      <a:pt x="168" y="244"/>
                      <a:pt x="168" y="244"/>
                      <a:pt x="168" y="244"/>
                    </a:cubicBezTo>
                    <a:cubicBezTo>
                      <a:pt x="168" y="244"/>
                      <a:pt x="172" y="253"/>
                      <a:pt x="176" y="253"/>
                    </a:cubicBezTo>
                    <a:cubicBezTo>
                      <a:pt x="180" y="253"/>
                      <a:pt x="190" y="255"/>
                      <a:pt x="190" y="255"/>
                    </a:cubicBezTo>
                    <a:cubicBezTo>
                      <a:pt x="189" y="260"/>
                      <a:pt x="189" y="260"/>
                      <a:pt x="189" y="260"/>
                    </a:cubicBezTo>
                    <a:cubicBezTo>
                      <a:pt x="196" y="266"/>
                      <a:pt x="196" y="266"/>
                      <a:pt x="196" y="266"/>
                    </a:cubicBezTo>
                    <a:cubicBezTo>
                      <a:pt x="196" y="266"/>
                      <a:pt x="206" y="278"/>
                      <a:pt x="209" y="278"/>
                    </a:cubicBezTo>
                    <a:cubicBezTo>
                      <a:pt x="212" y="278"/>
                      <a:pt x="222" y="270"/>
                      <a:pt x="229" y="272"/>
                    </a:cubicBezTo>
                    <a:cubicBezTo>
                      <a:pt x="236" y="274"/>
                      <a:pt x="237" y="281"/>
                      <a:pt x="237" y="281"/>
                    </a:cubicBezTo>
                    <a:cubicBezTo>
                      <a:pt x="244" y="281"/>
                      <a:pt x="244" y="281"/>
                      <a:pt x="244" y="281"/>
                    </a:cubicBezTo>
                    <a:cubicBezTo>
                      <a:pt x="244" y="281"/>
                      <a:pt x="241" y="288"/>
                      <a:pt x="250" y="288"/>
                    </a:cubicBezTo>
                    <a:cubicBezTo>
                      <a:pt x="259" y="288"/>
                      <a:pt x="258" y="279"/>
                      <a:pt x="258" y="279"/>
                    </a:cubicBezTo>
                    <a:cubicBezTo>
                      <a:pt x="277" y="280"/>
                      <a:pt x="277" y="280"/>
                      <a:pt x="277" y="280"/>
                    </a:cubicBezTo>
                    <a:cubicBezTo>
                      <a:pt x="277" y="280"/>
                      <a:pt x="283" y="284"/>
                      <a:pt x="288" y="284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260">
                <a:extLst>
                  <a:ext uri="{FF2B5EF4-FFF2-40B4-BE49-F238E27FC236}">
                    <a16:creationId xmlns:a16="http://schemas.microsoft.com/office/drawing/2014/main" id="{1396F60F-BEB9-E65C-CA97-7A28AB4DC1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764" y="-16322"/>
                <a:ext cx="85" cy="75"/>
              </a:xfrm>
              <a:custGeom>
                <a:avLst/>
                <a:gdLst>
                  <a:gd name="T0" fmla="*/ 13 w 36"/>
                  <a:gd name="T1" fmla="*/ 32 h 32"/>
                  <a:gd name="T2" fmla="*/ 19 w 36"/>
                  <a:gd name="T3" fmla="*/ 27 h 32"/>
                  <a:gd name="T4" fmla="*/ 30 w 36"/>
                  <a:gd name="T5" fmla="*/ 29 h 32"/>
                  <a:gd name="T6" fmla="*/ 35 w 36"/>
                  <a:gd name="T7" fmla="*/ 20 h 32"/>
                  <a:gd name="T8" fmla="*/ 20 w 36"/>
                  <a:gd name="T9" fmla="*/ 8 h 32"/>
                  <a:gd name="T10" fmla="*/ 20 w 36"/>
                  <a:gd name="T11" fmla="*/ 0 h 32"/>
                  <a:gd name="T12" fmla="*/ 12 w 36"/>
                  <a:gd name="T13" fmla="*/ 4 h 32"/>
                  <a:gd name="T14" fmla="*/ 2 w 36"/>
                  <a:gd name="T15" fmla="*/ 18 h 32"/>
                  <a:gd name="T16" fmla="*/ 13 w 36"/>
                  <a:gd name="T17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" h="32">
                    <a:moveTo>
                      <a:pt x="13" y="32"/>
                    </a:moveTo>
                    <a:cubicBezTo>
                      <a:pt x="19" y="27"/>
                      <a:pt x="19" y="27"/>
                      <a:pt x="19" y="27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0" y="29"/>
                      <a:pt x="36" y="25"/>
                      <a:pt x="35" y="20"/>
                    </a:cubicBezTo>
                    <a:cubicBezTo>
                      <a:pt x="34" y="16"/>
                      <a:pt x="24" y="14"/>
                      <a:pt x="20" y="8"/>
                    </a:cubicBezTo>
                    <a:cubicBezTo>
                      <a:pt x="19" y="6"/>
                      <a:pt x="19" y="3"/>
                      <a:pt x="20" y="0"/>
                    </a:cubicBezTo>
                    <a:cubicBezTo>
                      <a:pt x="19" y="1"/>
                      <a:pt x="16" y="2"/>
                      <a:pt x="12" y="4"/>
                    </a:cubicBezTo>
                    <a:cubicBezTo>
                      <a:pt x="1" y="10"/>
                      <a:pt x="0" y="16"/>
                      <a:pt x="2" y="18"/>
                    </a:cubicBezTo>
                    <a:cubicBezTo>
                      <a:pt x="3" y="20"/>
                      <a:pt x="9" y="27"/>
                      <a:pt x="13" y="32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Freeform 261">
                <a:extLst>
                  <a:ext uri="{FF2B5EF4-FFF2-40B4-BE49-F238E27FC236}">
                    <a16:creationId xmlns:a16="http://schemas.microsoft.com/office/drawing/2014/main" id="{079F8C69-6439-AF16-0F53-E372F90F33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382" y="-16190"/>
                <a:ext cx="728" cy="326"/>
              </a:xfrm>
              <a:custGeom>
                <a:avLst/>
                <a:gdLst>
                  <a:gd name="T0" fmla="*/ 307 w 308"/>
                  <a:gd name="T1" fmla="*/ 48 h 138"/>
                  <a:gd name="T2" fmla="*/ 301 w 308"/>
                  <a:gd name="T3" fmla="*/ 33 h 138"/>
                  <a:gd name="T4" fmla="*/ 287 w 308"/>
                  <a:gd name="T5" fmla="*/ 11 h 138"/>
                  <a:gd name="T6" fmla="*/ 268 w 308"/>
                  <a:gd name="T7" fmla="*/ 17 h 138"/>
                  <a:gd name="T8" fmla="*/ 254 w 308"/>
                  <a:gd name="T9" fmla="*/ 14 h 138"/>
                  <a:gd name="T10" fmla="*/ 228 w 308"/>
                  <a:gd name="T11" fmla="*/ 1 h 138"/>
                  <a:gd name="T12" fmla="*/ 214 w 308"/>
                  <a:gd name="T13" fmla="*/ 16 h 138"/>
                  <a:gd name="T14" fmla="*/ 204 w 308"/>
                  <a:gd name="T15" fmla="*/ 23 h 138"/>
                  <a:gd name="T16" fmla="*/ 175 w 308"/>
                  <a:gd name="T17" fmla="*/ 15 h 138"/>
                  <a:gd name="T18" fmla="*/ 156 w 308"/>
                  <a:gd name="T19" fmla="*/ 27 h 138"/>
                  <a:gd name="T20" fmla="*/ 160 w 308"/>
                  <a:gd name="T21" fmla="*/ 45 h 138"/>
                  <a:gd name="T22" fmla="*/ 133 w 308"/>
                  <a:gd name="T23" fmla="*/ 57 h 138"/>
                  <a:gd name="T24" fmla="*/ 141 w 308"/>
                  <a:gd name="T25" fmla="*/ 68 h 138"/>
                  <a:gd name="T26" fmla="*/ 131 w 308"/>
                  <a:gd name="T27" fmla="*/ 77 h 138"/>
                  <a:gd name="T28" fmla="*/ 109 w 308"/>
                  <a:gd name="T29" fmla="*/ 71 h 138"/>
                  <a:gd name="T30" fmla="*/ 84 w 308"/>
                  <a:gd name="T31" fmla="*/ 78 h 138"/>
                  <a:gd name="T32" fmla="*/ 63 w 308"/>
                  <a:gd name="T33" fmla="*/ 88 h 138"/>
                  <a:gd name="T34" fmla="*/ 33 w 308"/>
                  <a:gd name="T35" fmla="*/ 76 h 138"/>
                  <a:gd name="T36" fmla="*/ 26 w 308"/>
                  <a:gd name="T37" fmla="*/ 91 h 138"/>
                  <a:gd name="T38" fmla="*/ 0 w 308"/>
                  <a:gd name="T39" fmla="*/ 84 h 138"/>
                  <a:gd name="T40" fmla="*/ 2 w 308"/>
                  <a:gd name="T41" fmla="*/ 97 h 138"/>
                  <a:gd name="T42" fmla="*/ 11 w 308"/>
                  <a:gd name="T43" fmla="*/ 106 h 138"/>
                  <a:gd name="T44" fmla="*/ 32 w 308"/>
                  <a:gd name="T45" fmla="*/ 106 h 138"/>
                  <a:gd name="T46" fmla="*/ 50 w 308"/>
                  <a:gd name="T47" fmla="*/ 117 h 138"/>
                  <a:gd name="T48" fmla="*/ 66 w 308"/>
                  <a:gd name="T49" fmla="*/ 109 h 138"/>
                  <a:gd name="T50" fmla="*/ 104 w 308"/>
                  <a:gd name="T51" fmla="*/ 103 h 138"/>
                  <a:gd name="T52" fmla="*/ 119 w 308"/>
                  <a:gd name="T53" fmla="*/ 118 h 138"/>
                  <a:gd name="T54" fmla="*/ 136 w 308"/>
                  <a:gd name="T55" fmla="*/ 131 h 138"/>
                  <a:gd name="T56" fmla="*/ 162 w 308"/>
                  <a:gd name="T57" fmla="*/ 136 h 138"/>
                  <a:gd name="T58" fmla="*/ 183 w 308"/>
                  <a:gd name="T59" fmla="*/ 132 h 138"/>
                  <a:gd name="T60" fmla="*/ 207 w 308"/>
                  <a:gd name="T61" fmla="*/ 138 h 138"/>
                  <a:gd name="T62" fmla="*/ 247 w 308"/>
                  <a:gd name="T63" fmla="*/ 130 h 138"/>
                  <a:gd name="T64" fmla="*/ 270 w 308"/>
                  <a:gd name="T65" fmla="*/ 131 h 138"/>
                  <a:gd name="T66" fmla="*/ 277 w 308"/>
                  <a:gd name="T67" fmla="*/ 107 h 138"/>
                  <a:gd name="T68" fmla="*/ 290 w 308"/>
                  <a:gd name="T69" fmla="*/ 91 h 138"/>
                  <a:gd name="T70" fmla="*/ 290 w 308"/>
                  <a:gd name="T71" fmla="*/ 78 h 138"/>
                  <a:gd name="T72" fmla="*/ 306 w 308"/>
                  <a:gd name="T73" fmla="*/ 69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08" h="138">
                    <a:moveTo>
                      <a:pt x="306" y="69"/>
                    </a:moveTo>
                    <a:cubicBezTo>
                      <a:pt x="306" y="69"/>
                      <a:pt x="308" y="55"/>
                      <a:pt x="307" y="48"/>
                    </a:cubicBezTo>
                    <a:cubicBezTo>
                      <a:pt x="306" y="42"/>
                      <a:pt x="300" y="43"/>
                      <a:pt x="300" y="43"/>
                    </a:cubicBezTo>
                    <a:cubicBezTo>
                      <a:pt x="301" y="33"/>
                      <a:pt x="301" y="33"/>
                      <a:pt x="301" y="33"/>
                    </a:cubicBezTo>
                    <a:cubicBezTo>
                      <a:pt x="303" y="19"/>
                      <a:pt x="303" y="19"/>
                      <a:pt x="303" y="19"/>
                    </a:cubicBezTo>
                    <a:cubicBezTo>
                      <a:pt x="303" y="19"/>
                      <a:pt x="295" y="14"/>
                      <a:pt x="287" y="11"/>
                    </a:cubicBezTo>
                    <a:cubicBezTo>
                      <a:pt x="280" y="9"/>
                      <a:pt x="276" y="16"/>
                      <a:pt x="276" y="16"/>
                    </a:cubicBezTo>
                    <a:cubicBezTo>
                      <a:pt x="268" y="17"/>
                      <a:pt x="268" y="17"/>
                      <a:pt x="268" y="17"/>
                    </a:cubicBezTo>
                    <a:cubicBezTo>
                      <a:pt x="261" y="9"/>
                      <a:pt x="261" y="9"/>
                      <a:pt x="261" y="9"/>
                    </a:cubicBezTo>
                    <a:cubicBezTo>
                      <a:pt x="254" y="14"/>
                      <a:pt x="254" y="14"/>
                      <a:pt x="254" y="14"/>
                    </a:cubicBezTo>
                    <a:cubicBezTo>
                      <a:pt x="245" y="8"/>
                      <a:pt x="245" y="8"/>
                      <a:pt x="245" y="8"/>
                    </a:cubicBezTo>
                    <a:cubicBezTo>
                      <a:pt x="245" y="8"/>
                      <a:pt x="232" y="0"/>
                      <a:pt x="228" y="1"/>
                    </a:cubicBezTo>
                    <a:cubicBezTo>
                      <a:pt x="225" y="2"/>
                      <a:pt x="218" y="15"/>
                      <a:pt x="218" y="15"/>
                    </a:cubicBezTo>
                    <a:cubicBezTo>
                      <a:pt x="214" y="16"/>
                      <a:pt x="214" y="16"/>
                      <a:pt x="214" y="16"/>
                    </a:cubicBezTo>
                    <a:cubicBezTo>
                      <a:pt x="213" y="28"/>
                      <a:pt x="213" y="28"/>
                      <a:pt x="213" y="28"/>
                    </a:cubicBezTo>
                    <a:cubicBezTo>
                      <a:pt x="204" y="23"/>
                      <a:pt x="204" y="23"/>
                      <a:pt x="204" y="23"/>
                    </a:cubicBezTo>
                    <a:cubicBezTo>
                      <a:pt x="204" y="23"/>
                      <a:pt x="198" y="27"/>
                      <a:pt x="190" y="27"/>
                    </a:cubicBezTo>
                    <a:cubicBezTo>
                      <a:pt x="183" y="27"/>
                      <a:pt x="175" y="15"/>
                      <a:pt x="175" y="15"/>
                    </a:cubicBezTo>
                    <a:cubicBezTo>
                      <a:pt x="168" y="26"/>
                      <a:pt x="168" y="26"/>
                      <a:pt x="168" y="26"/>
                    </a:cubicBezTo>
                    <a:cubicBezTo>
                      <a:pt x="156" y="27"/>
                      <a:pt x="156" y="27"/>
                      <a:pt x="156" y="27"/>
                    </a:cubicBezTo>
                    <a:cubicBezTo>
                      <a:pt x="160" y="34"/>
                      <a:pt x="160" y="34"/>
                      <a:pt x="160" y="34"/>
                    </a:cubicBezTo>
                    <a:cubicBezTo>
                      <a:pt x="160" y="45"/>
                      <a:pt x="160" y="45"/>
                      <a:pt x="160" y="45"/>
                    </a:cubicBezTo>
                    <a:cubicBezTo>
                      <a:pt x="160" y="45"/>
                      <a:pt x="147" y="42"/>
                      <a:pt x="142" y="43"/>
                    </a:cubicBezTo>
                    <a:cubicBezTo>
                      <a:pt x="138" y="44"/>
                      <a:pt x="133" y="57"/>
                      <a:pt x="133" y="57"/>
                    </a:cubicBezTo>
                    <a:cubicBezTo>
                      <a:pt x="141" y="59"/>
                      <a:pt x="141" y="59"/>
                      <a:pt x="141" y="59"/>
                    </a:cubicBezTo>
                    <a:cubicBezTo>
                      <a:pt x="141" y="68"/>
                      <a:pt x="141" y="68"/>
                      <a:pt x="141" y="68"/>
                    </a:cubicBezTo>
                    <a:cubicBezTo>
                      <a:pt x="141" y="68"/>
                      <a:pt x="142" y="78"/>
                      <a:pt x="141" y="84"/>
                    </a:cubicBezTo>
                    <a:cubicBezTo>
                      <a:pt x="139" y="91"/>
                      <a:pt x="131" y="77"/>
                      <a:pt x="131" y="77"/>
                    </a:cubicBezTo>
                    <a:cubicBezTo>
                      <a:pt x="118" y="72"/>
                      <a:pt x="118" y="72"/>
                      <a:pt x="118" y="72"/>
                    </a:cubicBezTo>
                    <a:cubicBezTo>
                      <a:pt x="109" y="71"/>
                      <a:pt x="109" y="71"/>
                      <a:pt x="109" y="71"/>
                    </a:cubicBezTo>
                    <a:cubicBezTo>
                      <a:pt x="98" y="77"/>
                      <a:pt x="98" y="77"/>
                      <a:pt x="98" y="77"/>
                    </a:cubicBezTo>
                    <a:cubicBezTo>
                      <a:pt x="84" y="78"/>
                      <a:pt x="84" y="78"/>
                      <a:pt x="84" y="78"/>
                    </a:cubicBezTo>
                    <a:cubicBezTo>
                      <a:pt x="75" y="86"/>
                      <a:pt x="75" y="86"/>
                      <a:pt x="75" y="86"/>
                    </a:cubicBezTo>
                    <a:cubicBezTo>
                      <a:pt x="75" y="86"/>
                      <a:pt x="69" y="88"/>
                      <a:pt x="63" y="88"/>
                    </a:cubicBezTo>
                    <a:cubicBezTo>
                      <a:pt x="56" y="88"/>
                      <a:pt x="46" y="77"/>
                      <a:pt x="46" y="77"/>
                    </a:cubicBezTo>
                    <a:cubicBezTo>
                      <a:pt x="33" y="76"/>
                      <a:pt x="33" y="76"/>
                      <a:pt x="33" y="76"/>
                    </a:cubicBezTo>
                    <a:cubicBezTo>
                      <a:pt x="33" y="85"/>
                      <a:pt x="33" y="85"/>
                      <a:pt x="33" y="85"/>
                    </a:cubicBezTo>
                    <a:cubicBezTo>
                      <a:pt x="33" y="85"/>
                      <a:pt x="30" y="90"/>
                      <a:pt x="26" y="91"/>
                    </a:cubicBezTo>
                    <a:cubicBezTo>
                      <a:pt x="22" y="92"/>
                      <a:pt x="21" y="82"/>
                      <a:pt x="12" y="81"/>
                    </a:cubicBezTo>
                    <a:cubicBezTo>
                      <a:pt x="6" y="79"/>
                      <a:pt x="2" y="82"/>
                      <a:pt x="0" y="84"/>
                    </a:cubicBezTo>
                    <a:cubicBezTo>
                      <a:pt x="1" y="86"/>
                      <a:pt x="2" y="89"/>
                      <a:pt x="0" y="91"/>
                    </a:cubicBezTo>
                    <a:cubicBezTo>
                      <a:pt x="1" y="93"/>
                      <a:pt x="2" y="95"/>
                      <a:pt x="2" y="97"/>
                    </a:cubicBezTo>
                    <a:cubicBezTo>
                      <a:pt x="2" y="100"/>
                      <a:pt x="2" y="105"/>
                      <a:pt x="2" y="107"/>
                    </a:cubicBezTo>
                    <a:cubicBezTo>
                      <a:pt x="11" y="106"/>
                      <a:pt x="11" y="106"/>
                      <a:pt x="11" y="106"/>
                    </a:cubicBezTo>
                    <a:cubicBezTo>
                      <a:pt x="11" y="106"/>
                      <a:pt x="8" y="120"/>
                      <a:pt x="16" y="118"/>
                    </a:cubicBezTo>
                    <a:cubicBezTo>
                      <a:pt x="23" y="115"/>
                      <a:pt x="21" y="106"/>
                      <a:pt x="32" y="106"/>
                    </a:cubicBezTo>
                    <a:cubicBezTo>
                      <a:pt x="37" y="107"/>
                      <a:pt x="40" y="113"/>
                      <a:pt x="41" y="117"/>
                    </a:cubicBezTo>
                    <a:cubicBezTo>
                      <a:pt x="50" y="117"/>
                      <a:pt x="50" y="117"/>
                      <a:pt x="50" y="117"/>
                    </a:cubicBezTo>
                    <a:cubicBezTo>
                      <a:pt x="56" y="121"/>
                      <a:pt x="56" y="121"/>
                      <a:pt x="56" y="121"/>
                    </a:cubicBezTo>
                    <a:cubicBezTo>
                      <a:pt x="66" y="109"/>
                      <a:pt x="66" y="109"/>
                      <a:pt x="66" y="109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11"/>
                      <a:pt x="94" y="102"/>
                      <a:pt x="104" y="103"/>
                    </a:cubicBezTo>
                    <a:cubicBezTo>
                      <a:pt x="113" y="104"/>
                      <a:pt x="114" y="118"/>
                      <a:pt x="114" y="118"/>
                    </a:cubicBezTo>
                    <a:cubicBezTo>
                      <a:pt x="119" y="118"/>
                      <a:pt x="119" y="118"/>
                      <a:pt x="119" y="118"/>
                    </a:cubicBezTo>
                    <a:cubicBezTo>
                      <a:pt x="124" y="131"/>
                      <a:pt x="124" y="131"/>
                      <a:pt x="124" y="131"/>
                    </a:cubicBezTo>
                    <a:cubicBezTo>
                      <a:pt x="136" y="131"/>
                      <a:pt x="136" y="131"/>
                      <a:pt x="136" y="131"/>
                    </a:cubicBezTo>
                    <a:cubicBezTo>
                      <a:pt x="136" y="131"/>
                      <a:pt x="159" y="127"/>
                      <a:pt x="162" y="132"/>
                    </a:cubicBezTo>
                    <a:cubicBezTo>
                      <a:pt x="162" y="134"/>
                      <a:pt x="162" y="135"/>
                      <a:pt x="162" y="136"/>
                    </a:cubicBezTo>
                    <a:cubicBezTo>
                      <a:pt x="171" y="136"/>
                      <a:pt x="171" y="136"/>
                      <a:pt x="171" y="136"/>
                    </a:cubicBezTo>
                    <a:cubicBezTo>
                      <a:pt x="171" y="136"/>
                      <a:pt x="180" y="132"/>
                      <a:pt x="183" y="132"/>
                    </a:cubicBezTo>
                    <a:cubicBezTo>
                      <a:pt x="186" y="132"/>
                      <a:pt x="192" y="136"/>
                      <a:pt x="192" y="136"/>
                    </a:cubicBezTo>
                    <a:cubicBezTo>
                      <a:pt x="192" y="136"/>
                      <a:pt x="200" y="138"/>
                      <a:pt x="207" y="138"/>
                    </a:cubicBezTo>
                    <a:cubicBezTo>
                      <a:pt x="214" y="138"/>
                      <a:pt x="214" y="129"/>
                      <a:pt x="214" y="129"/>
                    </a:cubicBezTo>
                    <a:cubicBezTo>
                      <a:pt x="247" y="130"/>
                      <a:pt x="247" y="130"/>
                      <a:pt x="247" y="130"/>
                    </a:cubicBezTo>
                    <a:cubicBezTo>
                      <a:pt x="254" y="126"/>
                      <a:pt x="254" y="126"/>
                      <a:pt x="254" y="126"/>
                    </a:cubicBezTo>
                    <a:cubicBezTo>
                      <a:pt x="270" y="131"/>
                      <a:pt x="270" y="131"/>
                      <a:pt x="270" y="131"/>
                    </a:cubicBezTo>
                    <a:cubicBezTo>
                      <a:pt x="272" y="119"/>
                      <a:pt x="272" y="119"/>
                      <a:pt x="272" y="119"/>
                    </a:cubicBezTo>
                    <a:cubicBezTo>
                      <a:pt x="277" y="107"/>
                      <a:pt x="277" y="107"/>
                      <a:pt x="277" y="107"/>
                    </a:cubicBezTo>
                    <a:cubicBezTo>
                      <a:pt x="290" y="105"/>
                      <a:pt x="290" y="105"/>
                      <a:pt x="290" y="105"/>
                    </a:cubicBezTo>
                    <a:cubicBezTo>
                      <a:pt x="290" y="91"/>
                      <a:pt x="290" y="91"/>
                      <a:pt x="290" y="91"/>
                    </a:cubicBezTo>
                    <a:cubicBezTo>
                      <a:pt x="298" y="79"/>
                      <a:pt x="298" y="79"/>
                      <a:pt x="298" y="79"/>
                    </a:cubicBezTo>
                    <a:cubicBezTo>
                      <a:pt x="290" y="78"/>
                      <a:pt x="290" y="78"/>
                      <a:pt x="290" y="78"/>
                    </a:cubicBezTo>
                    <a:cubicBezTo>
                      <a:pt x="291" y="69"/>
                      <a:pt x="291" y="69"/>
                      <a:pt x="291" y="69"/>
                    </a:cubicBezTo>
                    <a:lnTo>
                      <a:pt x="306" y="6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Freeform 262">
                <a:extLst>
                  <a:ext uri="{FF2B5EF4-FFF2-40B4-BE49-F238E27FC236}">
                    <a16:creationId xmlns:a16="http://schemas.microsoft.com/office/drawing/2014/main" id="{B74A5BC2-6A7E-C795-41AE-1D3C4A8B1A3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024" y="-16724"/>
                <a:ext cx="430" cy="343"/>
              </a:xfrm>
              <a:custGeom>
                <a:avLst/>
                <a:gdLst>
                  <a:gd name="T0" fmla="*/ 14 w 182"/>
                  <a:gd name="T1" fmla="*/ 104 h 145"/>
                  <a:gd name="T2" fmla="*/ 0 w 182"/>
                  <a:gd name="T3" fmla="*/ 116 h 145"/>
                  <a:gd name="T4" fmla="*/ 0 w 182"/>
                  <a:gd name="T5" fmla="*/ 116 h 145"/>
                  <a:gd name="T6" fmla="*/ 9 w 182"/>
                  <a:gd name="T7" fmla="*/ 108 h 145"/>
                  <a:gd name="T8" fmla="*/ 10 w 182"/>
                  <a:gd name="T9" fmla="*/ 110 h 145"/>
                  <a:gd name="T10" fmla="*/ 18 w 182"/>
                  <a:gd name="T11" fmla="*/ 108 h 145"/>
                  <a:gd name="T12" fmla="*/ 22 w 182"/>
                  <a:gd name="T13" fmla="*/ 114 h 145"/>
                  <a:gd name="T14" fmla="*/ 34 w 182"/>
                  <a:gd name="T15" fmla="*/ 112 h 145"/>
                  <a:gd name="T16" fmla="*/ 43 w 182"/>
                  <a:gd name="T17" fmla="*/ 117 h 145"/>
                  <a:gd name="T18" fmla="*/ 46 w 182"/>
                  <a:gd name="T19" fmla="*/ 110 h 145"/>
                  <a:gd name="T20" fmla="*/ 56 w 182"/>
                  <a:gd name="T21" fmla="*/ 112 h 145"/>
                  <a:gd name="T22" fmla="*/ 56 w 182"/>
                  <a:gd name="T23" fmla="*/ 106 h 145"/>
                  <a:gd name="T24" fmla="*/ 65 w 182"/>
                  <a:gd name="T25" fmla="*/ 108 h 145"/>
                  <a:gd name="T26" fmla="*/ 71 w 182"/>
                  <a:gd name="T27" fmla="*/ 104 h 145"/>
                  <a:gd name="T28" fmla="*/ 90 w 182"/>
                  <a:gd name="T29" fmla="*/ 104 h 145"/>
                  <a:gd name="T30" fmla="*/ 94 w 182"/>
                  <a:gd name="T31" fmla="*/ 114 h 145"/>
                  <a:gd name="T32" fmla="*/ 108 w 182"/>
                  <a:gd name="T33" fmla="*/ 114 h 145"/>
                  <a:gd name="T34" fmla="*/ 119 w 182"/>
                  <a:gd name="T35" fmla="*/ 121 h 145"/>
                  <a:gd name="T36" fmla="*/ 114 w 182"/>
                  <a:gd name="T37" fmla="*/ 130 h 145"/>
                  <a:gd name="T38" fmla="*/ 112 w 182"/>
                  <a:gd name="T39" fmla="*/ 140 h 145"/>
                  <a:gd name="T40" fmla="*/ 123 w 182"/>
                  <a:gd name="T41" fmla="*/ 140 h 145"/>
                  <a:gd name="T42" fmla="*/ 127 w 182"/>
                  <a:gd name="T43" fmla="*/ 124 h 145"/>
                  <a:gd name="T44" fmla="*/ 123 w 182"/>
                  <a:gd name="T45" fmla="*/ 116 h 145"/>
                  <a:gd name="T46" fmla="*/ 134 w 182"/>
                  <a:gd name="T47" fmla="*/ 106 h 145"/>
                  <a:gd name="T48" fmla="*/ 130 w 182"/>
                  <a:gd name="T49" fmla="*/ 95 h 145"/>
                  <a:gd name="T50" fmla="*/ 124 w 182"/>
                  <a:gd name="T51" fmla="*/ 80 h 145"/>
                  <a:gd name="T52" fmla="*/ 148 w 182"/>
                  <a:gd name="T53" fmla="*/ 85 h 145"/>
                  <a:gd name="T54" fmla="*/ 152 w 182"/>
                  <a:gd name="T55" fmla="*/ 77 h 145"/>
                  <a:gd name="T56" fmla="*/ 158 w 182"/>
                  <a:gd name="T57" fmla="*/ 78 h 145"/>
                  <a:gd name="T58" fmla="*/ 160 w 182"/>
                  <a:gd name="T59" fmla="*/ 67 h 145"/>
                  <a:gd name="T60" fmla="*/ 168 w 182"/>
                  <a:gd name="T61" fmla="*/ 59 h 145"/>
                  <a:gd name="T62" fmla="*/ 153 w 182"/>
                  <a:gd name="T63" fmla="*/ 47 h 145"/>
                  <a:gd name="T64" fmla="*/ 164 w 182"/>
                  <a:gd name="T65" fmla="*/ 40 h 145"/>
                  <a:gd name="T66" fmla="*/ 172 w 182"/>
                  <a:gd name="T67" fmla="*/ 40 h 145"/>
                  <a:gd name="T68" fmla="*/ 170 w 182"/>
                  <a:gd name="T69" fmla="*/ 28 h 145"/>
                  <a:gd name="T70" fmla="*/ 182 w 182"/>
                  <a:gd name="T71" fmla="*/ 20 h 145"/>
                  <a:gd name="T72" fmla="*/ 177 w 182"/>
                  <a:gd name="T73" fmla="*/ 12 h 145"/>
                  <a:gd name="T74" fmla="*/ 180 w 182"/>
                  <a:gd name="T75" fmla="*/ 10 h 145"/>
                  <a:gd name="T76" fmla="*/ 176 w 182"/>
                  <a:gd name="T77" fmla="*/ 7 h 145"/>
                  <a:gd name="T78" fmla="*/ 154 w 182"/>
                  <a:gd name="T79" fmla="*/ 1 h 145"/>
                  <a:gd name="T80" fmla="*/ 125 w 182"/>
                  <a:gd name="T81" fmla="*/ 0 h 145"/>
                  <a:gd name="T82" fmla="*/ 103 w 182"/>
                  <a:gd name="T83" fmla="*/ 10 h 145"/>
                  <a:gd name="T84" fmla="*/ 107 w 182"/>
                  <a:gd name="T85" fmla="*/ 21 h 145"/>
                  <a:gd name="T86" fmla="*/ 111 w 182"/>
                  <a:gd name="T87" fmla="*/ 34 h 145"/>
                  <a:gd name="T88" fmla="*/ 116 w 182"/>
                  <a:gd name="T89" fmla="*/ 40 h 145"/>
                  <a:gd name="T90" fmla="*/ 122 w 182"/>
                  <a:gd name="T91" fmla="*/ 48 h 145"/>
                  <a:gd name="T92" fmla="*/ 104 w 182"/>
                  <a:gd name="T93" fmla="*/ 60 h 145"/>
                  <a:gd name="T94" fmla="*/ 92 w 182"/>
                  <a:gd name="T95" fmla="*/ 52 h 145"/>
                  <a:gd name="T96" fmla="*/ 100 w 182"/>
                  <a:gd name="T97" fmla="*/ 37 h 145"/>
                  <a:gd name="T98" fmla="*/ 102 w 182"/>
                  <a:gd name="T99" fmla="*/ 24 h 145"/>
                  <a:gd name="T100" fmla="*/ 97 w 182"/>
                  <a:gd name="T101" fmla="*/ 16 h 145"/>
                  <a:gd name="T102" fmla="*/ 81 w 182"/>
                  <a:gd name="T103" fmla="*/ 30 h 145"/>
                  <a:gd name="T104" fmla="*/ 64 w 182"/>
                  <a:gd name="T105" fmla="*/ 49 h 145"/>
                  <a:gd name="T106" fmla="*/ 60 w 182"/>
                  <a:gd name="T107" fmla="*/ 69 h 145"/>
                  <a:gd name="T108" fmla="*/ 42 w 182"/>
                  <a:gd name="T109" fmla="*/ 89 h 145"/>
                  <a:gd name="T110" fmla="*/ 48 w 182"/>
                  <a:gd name="T111" fmla="*/ 97 h 145"/>
                  <a:gd name="T112" fmla="*/ 31 w 182"/>
                  <a:gd name="T113" fmla="*/ 98 h 145"/>
                  <a:gd name="T114" fmla="*/ 14 w 182"/>
                  <a:gd name="T115" fmla="*/ 104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82" h="145">
                    <a:moveTo>
                      <a:pt x="14" y="104"/>
                    </a:moveTo>
                    <a:cubicBezTo>
                      <a:pt x="0" y="116"/>
                      <a:pt x="0" y="116"/>
                      <a:pt x="0" y="116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9" y="108"/>
                      <a:pt x="9" y="108"/>
                      <a:pt x="9" y="108"/>
                    </a:cubicBezTo>
                    <a:cubicBezTo>
                      <a:pt x="10" y="110"/>
                      <a:pt x="10" y="110"/>
                      <a:pt x="10" y="110"/>
                    </a:cubicBezTo>
                    <a:cubicBezTo>
                      <a:pt x="18" y="108"/>
                      <a:pt x="18" y="108"/>
                      <a:pt x="18" y="108"/>
                    </a:cubicBezTo>
                    <a:cubicBezTo>
                      <a:pt x="22" y="114"/>
                      <a:pt x="22" y="114"/>
                      <a:pt x="22" y="114"/>
                    </a:cubicBezTo>
                    <a:cubicBezTo>
                      <a:pt x="22" y="114"/>
                      <a:pt x="30" y="113"/>
                      <a:pt x="34" y="112"/>
                    </a:cubicBezTo>
                    <a:cubicBezTo>
                      <a:pt x="39" y="112"/>
                      <a:pt x="43" y="117"/>
                      <a:pt x="43" y="117"/>
                    </a:cubicBezTo>
                    <a:cubicBezTo>
                      <a:pt x="46" y="110"/>
                      <a:pt x="46" y="110"/>
                      <a:pt x="46" y="110"/>
                    </a:cubicBezTo>
                    <a:cubicBezTo>
                      <a:pt x="56" y="112"/>
                      <a:pt x="56" y="112"/>
                      <a:pt x="56" y="112"/>
                    </a:cubicBezTo>
                    <a:cubicBezTo>
                      <a:pt x="56" y="106"/>
                      <a:pt x="56" y="106"/>
                      <a:pt x="56" y="106"/>
                    </a:cubicBezTo>
                    <a:cubicBezTo>
                      <a:pt x="65" y="108"/>
                      <a:pt x="65" y="108"/>
                      <a:pt x="65" y="108"/>
                    </a:cubicBezTo>
                    <a:cubicBezTo>
                      <a:pt x="65" y="108"/>
                      <a:pt x="66" y="105"/>
                      <a:pt x="71" y="104"/>
                    </a:cubicBezTo>
                    <a:cubicBezTo>
                      <a:pt x="76" y="102"/>
                      <a:pt x="90" y="104"/>
                      <a:pt x="90" y="104"/>
                    </a:cubicBezTo>
                    <a:cubicBezTo>
                      <a:pt x="90" y="104"/>
                      <a:pt x="91" y="110"/>
                      <a:pt x="94" y="114"/>
                    </a:cubicBezTo>
                    <a:cubicBezTo>
                      <a:pt x="96" y="118"/>
                      <a:pt x="108" y="114"/>
                      <a:pt x="108" y="114"/>
                    </a:cubicBezTo>
                    <a:cubicBezTo>
                      <a:pt x="108" y="114"/>
                      <a:pt x="118" y="112"/>
                      <a:pt x="119" y="121"/>
                    </a:cubicBezTo>
                    <a:cubicBezTo>
                      <a:pt x="120" y="130"/>
                      <a:pt x="114" y="130"/>
                      <a:pt x="114" y="130"/>
                    </a:cubicBezTo>
                    <a:cubicBezTo>
                      <a:pt x="114" y="130"/>
                      <a:pt x="110" y="134"/>
                      <a:pt x="112" y="140"/>
                    </a:cubicBezTo>
                    <a:cubicBezTo>
                      <a:pt x="114" y="145"/>
                      <a:pt x="123" y="140"/>
                      <a:pt x="123" y="140"/>
                    </a:cubicBezTo>
                    <a:cubicBezTo>
                      <a:pt x="123" y="140"/>
                      <a:pt x="126" y="126"/>
                      <a:pt x="127" y="124"/>
                    </a:cubicBezTo>
                    <a:cubicBezTo>
                      <a:pt x="128" y="122"/>
                      <a:pt x="123" y="116"/>
                      <a:pt x="123" y="116"/>
                    </a:cubicBezTo>
                    <a:cubicBezTo>
                      <a:pt x="123" y="116"/>
                      <a:pt x="134" y="110"/>
                      <a:pt x="134" y="106"/>
                    </a:cubicBezTo>
                    <a:cubicBezTo>
                      <a:pt x="135" y="103"/>
                      <a:pt x="130" y="95"/>
                      <a:pt x="130" y="95"/>
                    </a:cubicBezTo>
                    <a:cubicBezTo>
                      <a:pt x="124" y="80"/>
                      <a:pt x="124" y="80"/>
                      <a:pt x="124" y="80"/>
                    </a:cubicBezTo>
                    <a:cubicBezTo>
                      <a:pt x="124" y="80"/>
                      <a:pt x="146" y="88"/>
                      <a:pt x="148" y="85"/>
                    </a:cubicBezTo>
                    <a:cubicBezTo>
                      <a:pt x="150" y="82"/>
                      <a:pt x="152" y="77"/>
                      <a:pt x="152" y="77"/>
                    </a:cubicBezTo>
                    <a:cubicBezTo>
                      <a:pt x="158" y="78"/>
                      <a:pt x="158" y="78"/>
                      <a:pt x="158" y="78"/>
                    </a:cubicBezTo>
                    <a:cubicBezTo>
                      <a:pt x="160" y="67"/>
                      <a:pt x="160" y="67"/>
                      <a:pt x="160" y="67"/>
                    </a:cubicBezTo>
                    <a:cubicBezTo>
                      <a:pt x="160" y="67"/>
                      <a:pt x="168" y="63"/>
                      <a:pt x="168" y="59"/>
                    </a:cubicBezTo>
                    <a:cubicBezTo>
                      <a:pt x="168" y="55"/>
                      <a:pt x="154" y="50"/>
                      <a:pt x="153" y="47"/>
                    </a:cubicBezTo>
                    <a:cubicBezTo>
                      <a:pt x="152" y="44"/>
                      <a:pt x="164" y="40"/>
                      <a:pt x="164" y="40"/>
                    </a:cubicBezTo>
                    <a:cubicBezTo>
                      <a:pt x="172" y="40"/>
                      <a:pt x="172" y="40"/>
                      <a:pt x="172" y="40"/>
                    </a:cubicBezTo>
                    <a:cubicBezTo>
                      <a:pt x="172" y="40"/>
                      <a:pt x="168" y="32"/>
                      <a:pt x="170" y="28"/>
                    </a:cubicBezTo>
                    <a:cubicBezTo>
                      <a:pt x="171" y="24"/>
                      <a:pt x="182" y="20"/>
                      <a:pt x="182" y="20"/>
                    </a:cubicBezTo>
                    <a:cubicBezTo>
                      <a:pt x="177" y="12"/>
                      <a:pt x="177" y="12"/>
                      <a:pt x="177" y="12"/>
                    </a:cubicBezTo>
                    <a:cubicBezTo>
                      <a:pt x="180" y="10"/>
                      <a:pt x="180" y="10"/>
                      <a:pt x="180" y="10"/>
                    </a:cubicBezTo>
                    <a:cubicBezTo>
                      <a:pt x="176" y="7"/>
                      <a:pt x="176" y="7"/>
                      <a:pt x="176" y="7"/>
                    </a:cubicBezTo>
                    <a:cubicBezTo>
                      <a:pt x="176" y="7"/>
                      <a:pt x="160" y="1"/>
                      <a:pt x="154" y="1"/>
                    </a:cubicBezTo>
                    <a:cubicBezTo>
                      <a:pt x="148" y="1"/>
                      <a:pt x="125" y="0"/>
                      <a:pt x="125" y="0"/>
                    </a:cubicBezTo>
                    <a:cubicBezTo>
                      <a:pt x="125" y="0"/>
                      <a:pt x="111" y="5"/>
                      <a:pt x="103" y="10"/>
                    </a:cubicBezTo>
                    <a:cubicBezTo>
                      <a:pt x="104" y="14"/>
                      <a:pt x="107" y="19"/>
                      <a:pt x="107" y="21"/>
                    </a:cubicBezTo>
                    <a:cubicBezTo>
                      <a:pt x="108" y="24"/>
                      <a:pt x="111" y="34"/>
                      <a:pt x="111" y="34"/>
                    </a:cubicBezTo>
                    <a:cubicBezTo>
                      <a:pt x="111" y="34"/>
                      <a:pt x="114" y="40"/>
                      <a:pt x="116" y="40"/>
                    </a:cubicBezTo>
                    <a:cubicBezTo>
                      <a:pt x="119" y="40"/>
                      <a:pt x="122" y="43"/>
                      <a:pt x="122" y="48"/>
                    </a:cubicBezTo>
                    <a:cubicBezTo>
                      <a:pt x="123" y="52"/>
                      <a:pt x="111" y="59"/>
                      <a:pt x="104" y="60"/>
                    </a:cubicBezTo>
                    <a:cubicBezTo>
                      <a:pt x="98" y="60"/>
                      <a:pt x="95" y="55"/>
                      <a:pt x="92" y="52"/>
                    </a:cubicBezTo>
                    <a:cubicBezTo>
                      <a:pt x="88" y="48"/>
                      <a:pt x="94" y="45"/>
                      <a:pt x="100" y="37"/>
                    </a:cubicBezTo>
                    <a:cubicBezTo>
                      <a:pt x="106" y="29"/>
                      <a:pt x="102" y="24"/>
                      <a:pt x="102" y="24"/>
                    </a:cubicBezTo>
                    <a:cubicBezTo>
                      <a:pt x="102" y="24"/>
                      <a:pt x="99" y="21"/>
                      <a:pt x="97" y="16"/>
                    </a:cubicBezTo>
                    <a:cubicBezTo>
                      <a:pt x="92" y="23"/>
                      <a:pt x="81" y="30"/>
                      <a:pt x="81" y="30"/>
                    </a:cubicBezTo>
                    <a:cubicBezTo>
                      <a:pt x="81" y="30"/>
                      <a:pt x="64" y="42"/>
                      <a:pt x="64" y="49"/>
                    </a:cubicBezTo>
                    <a:cubicBezTo>
                      <a:pt x="64" y="56"/>
                      <a:pt x="60" y="69"/>
                      <a:pt x="60" y="69"/>
                    </a:cubicBezTo>
                    <a:cubicBezTo>
                      <a:pt x="42" y="89"/>
                      <a:pt x="42" y="89"/>
                      <a:pt x="42" y="89"/>
                    </a:cubicBezTo>
                    <a:cubicBezTo>
                      <a:pt x="48" y="97"/>
                      <a:pt x="48" y="97"/>
                      <a:pt x="48" y="97"/>
                    </a:cubicBezTo>
                    <a:cubicBezTo>
                      <a:pt x="31" y="98"/>
                      <a:pt x="31" y="98"/>
                      <a:pt x="31" y="98"/>
                    </a:cubicBezTo>
                    <a:lnTo>
                      <a:pt x="14" y="10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Freeform 263">
                <a:extLst>
                  <a:ext uri="{FF2B5EF4-FFF2-40B4-BE49-F238E27FC236}">
                    <a16:creationId xmlns:a16="http://schemas.microsoft.com/office/drawing/2014/main" id="{A591002E-4C25-D109-A12D-7067DCBD36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043" y="-16483"/>
                <a:ext cx="352" cy="241"/>
              </a:xfrm>
              <a:custGeom>
                <a:avLst/>
                <a:gdLst>
                  <a:gd name="T0" fmla="*/ 0 w 149"/>
                  <a:gd name="T1" fmla="*/ 29 h 102"/>
                  <a:gd name="T2" fmla="*/ 6 w 149"/>
                  <a:gd name="T3" fmla="*/ 43 h 102"/>
                  <a:gd name="T4" fmla="*/ 22 w 149"/>
                  <a:gd name="T5" fmla="*/ 47 h 102"/>
                  <a:gd name="T6" fmla="*/ 29 w 149"/>
                  <a:gd name="T7" fmla="*/ 54 h 102"/>
                  <a:gd name="T8" fmla="*/ 52 w 149"/>
                  <a:gd name="T9" fmla="*/ 59 h 102"/>
                  <a:gd name="T10" fmla="*/ 57 w 149"/>
                  <a:gd name="T11" fmla="*/ 78 h 102"/>
                  <a:gd name="T12" fmla="*/ 72 w 149"/>
                  <a:gd name="T13" fmla="*/ 78 h 102"/>
                  <a:gd name="T14" fmla="*/ 82 w 149"/>
                  <a:gd name="T15" fmla="*/ 71 h 102"/>
                  <a:gd name="T16" fmla="*/ 82 w 149"/>
                  <a:gd name="T17" fmla="*/ 87 h 102"/>
                  <a:gd name="T18" fmla="*/ 106 w 149"/>
                  <a:gd name="T19" fmla="*/ 94 h 102"/>
                  <a:gd name="T20" fmla="*/ 109 w 149"/>
                  <a:gd name="T21" fmla="*/ 98 h 102"/>
                  <a:gd name="T22" fmla="*/ 123 w 149"/>
                  <a:gd name="T23" fmla="*/ 98 h 102"/>
                  <a:gd name="T24" fmla="*/ 128 w 149"/>
                  <a:gd name="T25" fmla="*/ 102 h 102"/>
                  <a:gd name="T26" fmla="*/ 131 w 149"/>
                  <a:gd name="T27" fmla="*/ 100 h 102"/>
                  <a:gd name="T28" fmla="*/ 120 w 149"/>
                  <a:gd name="T29" fmla="*/ 86 h 102"/>
                  <a:gd name="T30" fmla="*/ 130 w 149"/>
                  <a:gd name="T31" fmla="*/ 72 h 102"/>
                  <a:gd name="T32" fmla="*/ 138 w 149"/>
                  <a:gd name="T33" fmla="*/ 68 h 102"/>
                  <a:gd name="T34" fmla="*/ 138 w 149"/>
                  <a:gd name="T35" fmla="*/ 68 h 102"/>
                  <a:gd name="T36" fmla="*/ 140 w 149"/>
                  <a:gd name="T37" fmla="*/ 62 h 102"/>
                  <a:gd name="T38" fmla="*/ 149 w 149"/>
                  <a:gd name="T39" fmla="*/ 61 h 102"/>
                  <a:gd name="T40" fmla="*/ 146 w 149"/>
                  <a:gd name="T41" fmla="*/ 48 h 102"/>
                  <a:gd name="T42" fmla="*/ 136 w 149"/>
                  <a:gd name="T43" fmla="*/ 39 h 102"/>
                  <a:gd name="T44" fmla="*/ 131 w 149"/>
                  <a:gd name="T45" fmla="*/ 38 h 102"/>
                  <a:gd name="T46" fmla="*/ 120 w 149"/>
                  <a:gd name="T47" fmla="*/ 38 h 102"/>
                  <a:gd name="T48" fmla="*/ 122 w 149"/>
                  <a:gd name="T49" fmla="*/ 28 h 102"/>
                  <a:gd name="T50" fmla="*/ 127 w 149"/>
                  <a:gd name="T51" fmla="*/ 19 h 102"/>
                  <a:gd name="T52" fmla="*/ 116 w 149"/>
                  <a:gd name="T53" fmla="*/ 12 h 102"/>
                  <a:gd name="T54" fmla="*/ 102 w 149"/>
                  <a:gd name="T55" fmla="*/ 12 h 102"/>
                  <a:gd name="T56" fmla="*/ 98 w 149"/>
                  <a:gd name="T57" fmla="*/ 2 h 102"/>
                  <a:gd name="T58" fmla="*/ 79 w 149"/>
                  <a:gd name="T59" fmla="*/ 2 h 102"/>
                  <a:gd name="T60" fmla="*/ 73 w 149"/>
                  <a:gd name="T61" fmla="*/ 6 h 102"/>
                  <a:gd name="T62" fmla="*/ 64 w 149"/>
                  <a:gd name="T63" fmla="*/ 4 h 102"/>
                  <a:gd name="T64" fmla="*/ 64 w 149"/>
                  <a:gd name="T65" fmla="*/ 10 h 102"/>
                  <a:gd name="T66" fmla="*/ 54 w 149"/>
                  <a:gd name="T67" fmla="*/ 8 h 102"/>
                  <a:gd name="T68" fmla="*/ 51 w 149"/>
                  <a:gd name="T69" fmla="*/ 15 h 102"/>
                  <a:gd name="T70" fmla="*/ 42 w 149"/>
                  <a:gd name="T71" fmla="*/ 10 h 102"/>
                  <a:gd name="T72" fmla="*/ 30 w 149"/>
                  <a:gd name="T73" fmla="*/ 12 h 102"/>
                  <a:gd name="T74" fmla="*/ 26 w 149"/>
                  <a:gd name="T75" fmla="*/ 6 h 102"/>
                  <a:gd name="T76" fmla="*/ 18 w 149"/>
                  <a:gd name="T77" fmla="*/ 8 h 102"/>
                  <a:gd name="T78" fmla="*/ 17 w 149"/>
                  <a:gd name="T79" fmla="*/ 6 h 102"/>
                  <a:gd name="T80" fmla="*/ 1 w 149"/>
                  <a:gd name="T81" fmla="*/ 20 h 102"/>
                  <a:gd name="T82" fmla="*/ 0 w 149"/>
                  <a:gd name="T83" fmla="*/ 29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9" h="102">
                    <a:moveTo>
                      <a:pt x="0" y="29"/>
                    </a:moveTo>
                    <a:cubicBezTo>
                      <a:pt x="6" y="43"/>
                      <a:pt x="6" y="43"/>
                      <a:pt x="6" y="43"/>
                    </a:cubicBezTo>
                    <a:cubicBezTo>
                      <a:pt x="22" y="47"/>
                      <a:pt x="22" y="47"/>
                      <a:pt x="22" y="47"/>
                    </a:cubicBezTo>
                    <a:cubicBezTo>
                      <a:pt x="29" y="54"/>
                      <a:pt x="29" y="54"/>
                      <a:pt x="29" y="54"/>
                    </a:cubicBezTo>
                    <a:cubicBezTo>
                      <a:pt x="29" y="54"/>
                      <a:pt x="47" y="56"/>
                      <a:pt x="52" y="59"/>
                    </a:cubicBezTo>
                    <a:cubicBezTo>
                      <a:pt x="57" y="62"/>
                      <a:pt x="57" y="78"/>
                      <a:pt x="57" y="78"/>
                    </a:cubicBezTo>
                    <a:cubicBezTo>
                      <a:pt x="72" y="78"/>
                      <a:pt x="72" y="78"/>
                      <a:pt x="72" y="78"/>
                    </a:cubicBezTo>
                    <a:cubicBezTo>
                      <a:pt x="82" y="71"/>
                      <a:pt x="82" y="71"/>
                      <a:pt x="82" y="71"/>
                    </a:cubicBezTo>
                    <a:cubicBezTo>
                      <a:pt x="82" y="87"/>
                      <a:pt x="82" y="87"/>
                      <a:pt x="82" y="87"/>
                    </a:cubicBezTo>
                    <a:cubicBezTo>
                      <a:pt x="82" y="87"/>
                      <a:pt x="104" y="91"/>
                      <a:pt x="106" y="94"/>
                    </a:cubicBezTo>
                    <a:cubicBezTo>
                      <a:pt x="108" y="97"/>
                      <a:pt x="109" y="98"/>
                      <a:pt x="109" y="98"/>
                    </a:cubicBezTo>
                    <a:cubicBezTo>
                      <a:pt x="123" y="98"/>
                      <a:pt x="123" y="98"/>
                      <a:pt x="123" y="98"/>
                    </a:cubicBezTo>
                    <a:cubicBezTo>
                      <a:pt x="128" y="102"/>
                      <a:pt x="128" y="102"/>
                      <a:pt x="128" y="102"/>
                    </a:cubicBezTo>
                    <a:cubicBezTo>
                      <a:pt x="131" y="100"/>
                      <a:pt x="131" y="100"/>
                      <a:pt x="131" y="100"/>
                    </a:cubicBezTo>
                    <a:cubicBezTo>
                      <a:pt x="127" y="95"/>
                      <a:pt x="121" y="88"/>
                      <a:pt x="120" y="86"/>
                    </a:cubicBezTo>
                    <a:cubicBezTo>
                      <a:pt x="118" y="84"/>
                      <a:pt x="119" y="78"/>
                      <a:pt x="130" y="72"/>
                    </a:cubicBezTo>
                    <a:cubicBezTo>
                      <a:pt x="134" y="70"/>
                      <a:pt x="137" y="69"/>
                      <a:pt x="138" y="68"/>
                    </a:cubicBezTo>
                    <a:cubicBezTo>
                      <a:pt x="138" y="68"/>
                      <a:pt x="138" y="68"/>
                      <a:pt x="138" y="68"/>
                    </a:cubicBezTo>
                    <a:cubicBezTo>
                      <a:pt x="139" y="65"/>
                      <a:pt x="140" y="62"/>
                      <a:pt x="140" y="62"/>
                    </a:cubicBezTo>
                    <a:cubicBezTo>
                      <a:pt x="149" y="61"/>
                      <a:pt x="149" y="61"/>
                      <a:pt x="149" y="61"/>
                    </a:cubicBezTo>
                    <a:cubicBezTo>
                      <a:pt x="149" y="61"/>
                      <a:pt x="146" y="54"/>
                      <a:pt x="146" y="48"/>
                    </a:cubicBezTo>
                    <a:cubicBezTo>
                      <a:pt x="145" y="42"/>
                      <a:pt x="136" y="39"/>
                      <a:pt x="136" y="39"/>
                    </a:cubicBezTo>
                    <a:cubicBezTo>
                      <a:pt x="131" y="38"/>
                      <a:pt x="131" y="38"/>
                      <a:pt x="131" y="38"/>
                    </a:cubicBezTo>
                    <a:cubicBezTo>
                      <a:pt x="131" y="38"/>
                      <a:pt x="122" y="43"/>
                      <a:pt x="120" y="38"/>
                    </a:cubicBezTo>
                    <a:cubicBezTo>
                      <a:pt x="118" y="32"/>
                      <a:pt x="122" y="28"/>
                      <a:pt x="122" y="28"/>
                    </a:cubicBezTo>
                    <a:cubicBezTo>
                      <a:pt x="122" y="28"/>
                      <a:pt x="128" y="28"/>
                      <a:pt x="127" y="19"/>
                    </a:cubicBezTo>
                    <a:cubicBezTo>
                      <a:pt x="126" y="10"/>
                      <a:pt x="116" y="12"/>
                      <a:pt x="116" y="12"/>
                    </a:cubicBezTo>
                    <a:cubicBezTo>
                      <a:pt x="116" y="12"/>
                      <a:pt x="104" y="16"/>
                      <a:pt x="102" y="12"/>
                    </a:cubicBezTo>
                    <a:cubicBezTo>
                      <a:pt x="99" y="8"/>
                      <a:pt x="98" y="2"/>
                      <a:pt x="98" y="2"/>
                    </a:cubicBezTo>
                    <a:cubicBezTo>
                      <a:pt x="98" y="2"/>
                      <a:pt x="84" y="0"/>
                      <a:pt x="79" y="2"/>
                    </a:cubicBezTo>
                    <a:cubicBezTo>
                      <a:pt x="74" y="3"/>
                      <a:pt x="73" y="6"/>
                      <a:pt x="73" y="6"/>
                    </a:cubicBezTo>
                    <a:cubicBezTo>
                      <a:pt x="64" y="4"/>
                      <a:pt x="64" y="4"/>
                      <a:pt x="64" y="4"/>
                    </a:cubicBezTo>
                    <a:cubicBezTo>
                      <a:pt x="64" y="10"/>
                      <a:pt x="64" y="10"/>
                      <a:pt x="64" y="10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1" y="15"/>
                      <a:pt x="51" y="15"/>
                      <a:pt x="51" y="15"/>
                    </a:cubicBezTo>
                    <a:cubicBezTo>
                      <a:pt x="51" y="15"/>
                      <a:pt x="47" y="10"/>
                      <a:pt x="42" y="10"/>
                    </a:cubicBezTo>
                    <a:cubicBezTo>
                      <a:pt x="38" y="11"/>
                      <a:pt x="30" y="12"/>
                      <a:pt x="30" y="12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" y="20"/>
                      <a:pt x="1" y="20"/>
                      <a:pt x="1" y="20"/>
                    </a:cubicBezTo>
                    <a:lnTo>
                      <a:pt x="0" y="2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Freeform 264">
                <a:extLst>
                  <a:ext uri="{FF2B5EF4-FFF2-40B4-BE49-F238E27FC236}">
                    <a16:creationId xmlns:a16="http://schemas.microsoft.com/office/drawing/2014/main" id="{36706EE4-454E-3DD3-4F1F-331A3ECA5C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734" y="-16901"/>
                <a:ext cx="882" cy="928"/>
              </a:xfrm>
              <a:custGeom>
                <a:avLst/>
                <a:gdLst>
                  <a:gd name="T0" fmla="*/ 21 w 373"/>
                  <a:gd name="T1" fmla="*/ 294 h 393"/>
                  <a:gd name="T2" fmla="*/ 62 w 373"/>
                  <a:gd name="T3" fmla="*/ 297 h 393"/>
                  <a:gd name="T4" fmla="*/ 90 w 373"/>
                  <a:gd name="T5" fmla="*/ 305 h 393"/>
                  <a:gd name="T6" fmla="*/ 74 w 373"/>
                  <a:gd name="T7" fmla="*/ 330 h 393"/>
                  <a:gd name="T8" fmla="*/ 75 w 373"/>
                  <a:gd name="T9" fmla="*/ 381 h 393"/>
                  <a:gd name="T10" fmla="*/ 101 w 373"/>
                  <a:gd name="T11" fmla="*/ 378 h 393"/>
                  <a:gd name="T12" fmla="*/ 128 w 373"/>
                  <a:gd name="T13" fmla="*/ 372 h 393"/>
                  <a:gd name="T14" fmla="*/ 148 w 373"/>
                  <a:gd name="T15" fmla="*/ 383 h 393"/>
                  <a:gd name="T16" fmla="*/ 161 w 373"/>
                  <a:gd name="T17" fmla="*/ 382 h 393"/>
                  <a:gd name="T18" fmla="*/ 182 w 373"/>
                  <a:gd name="T19" fmla="*/ 377 h 393"/>
                  <a:gd name="T20" fmla="*/ 224 w 373"/>
                  <a:gd name="T21" fmla="*/ 387 h 393"/>
                  <a:gd name="T22" fmla="*/ 258 w 373"/>
                  <a:gd name="T23" fmla="*/ 372 h 393"/>
                  <a:gd name="T24" fmla="*/ 290 w 373"/>
                  <a:gd name="T25" fmla="*/ 385 h 393"/>
                  <a:gd name="T26" fmla="*/ 282 w 373"/>
                  <a:gd name="T27" fmla="*/ 358 h 393"/>
                  <a:gd name="T28" fmla="*/ 309 w 373"/>
                  <a:gd name="T29" fmla="*/ 335 h 393"/>
                  <a:gd name="T30" fmla="*/ 324 w 373"/>
                  <a:gd name="T31" fmla="*/ 316 h 393"/>
                  <a:gd name="T32" fmla="*/ 301 w 373"/>
                  <a:gd name="T33" fmla="*/ 295 h 393"/>
                  <a:gd name="T34" fmla="*/ 281 w 373"/>
                  <a:gd name="T35" fmla="*/ 285 h 393"/>
                  <a:gd name="T36" fmla="*/ 271 w 373"/>
                  <a:gd name="T37" fmla="*/ 271 h 393"/>
                  <a:gd name="T38" fmla="*/ 263 w 373"/>
                  <a:gd name="T39" fmla="*/ 248 h 393"/>
                  <a:gd name="T40" fmla="*/ 263 w 373"/>
                  <a:gd name="T41" fmla="*/ 239 h 393"/>
                  <a:gd name="T42" fmla="*/ 283 w 373"/>
                  <a:gd name="T43" fmla="*/ 227 h 393"/>
                  <a:gd name="T44" fmla="*/ 308 w 373"/>
                  <a:gd name="T45" fmla="*/ 221 h 393"/>
                  <a:gd name="T46" fmla="*/ 325 w 373"/>
                  <a:gd name="T47" fmla="*/ 210 h 393"/>
                  <a:gd name="T48" fmla="*/ 360 w 373"/>
                  <a:gd name="T49" fmla="*/ 208 h 393"/>
                  <a:gd name="T50" fmla="*/ 369 w 373"/>
                  <a:gd name="T51" fmla="*/ 177 h 393"/>
                  <a:gd name="T52" fmla="*/ 351 w 373"/>
                  <a:gd name="T53" fmla="*/ 157 h 393"/>
                  <a:gd name="T54" fmla="*/ 356 w 373"/>
                  <a:gd name="T55" fmla="*/ 136 h 393"/>
                  <a:gd name="T56" fmla="*/ 352 w 373"/>
                  <a:gd name="T57" fmla="*/ 115 h 393"/>
                  <a:gd name="T58" fmla="*/ 334 w 373"/>
                  <a:gd name="T59" fmla="*/ 106 h 393"/>
                  <a:gd name="T60" fmla="*/ 339 w 373"/>
                  <a:gd name="T61" fmla="*/ 72 h 393"/>
                  <a:gd name="T62" fmla="*/ 321 w 373"/>
                  <a:gd name="T63" fmla="*/ 55 h 393"/>
                  <a:gd name="T64" fmla="*/ 296 w 373"/>
                  <a:gd name="T65" fmla="*/ 35 h 393"/>
                  <a:gd name="T66" fmla="*/ 226 w 373"/>
                  <a:gd name="T67" fmla="*/ 35 h 393"/>
                  <a:gd name="T68" fmla="*/ 202 w 373"/>
                  <a:gd name="T69" fmla="*/ 35 h 393"/>
                  <a:gd name="T70" fmla="*/ 168 w 373"/>
                  <a:gd name="T71" fmla="*/ 22 h 393"/>
                  <a:gd name="T72" fmla="*/ 145 w 373"/>
                  <a:gd name="T73" fmla="*/ 3 h 393"/>
                  <a:gd name="T74" fmla="*/ 112 w 373"/>
                  <a:gd name="T75" fmla="*/ 0 h 393"/>
                  <a:gd name="T76" fmla="*/ 130 w 373"/>
                  <a:gd name="T77" fmla="*/ 49 h 393"/>
                  <a:gd name="T78" fmla="*/ 105 w 373"/>
                  <a:gd name="T79" fmla="*/ 55 h 393"/>
                  <a:gd name="T80" fmla="*/ 82 w 373"/>
                  <a:gd name="T81" fmla="*/ 62 h 393"/>
                  <a:gd name="T82" fmla="*/ 57 w 373"/>
                  <a:gd name="T83" fmla="*/ 85 h 393"/>
                  <a:gd name="T84" fmla="*/ 47 w 373"/>
                  <a:gd name="T85" fmla="*/ 103 h 393"/>
                  <a:gd name="T86" fmla="*/ 30 w 373"/>
                  <a:gd name="T87" fmla="*/ 122 h 393"/>
                  <a:gd name="T88" fmla="*/ 35 w 373"/>
                  <a:gd name="T89" fmla="*/ 153 h 393"/>
                  <a:gd name="T90" fmla="*/ 1 w 373"/>
                  <a:gd name="T91" fmla="*/ 155 h 393"/>
                  <a:gd name="T92" fmla="*/ 0 w 373"/>
                  <a:gd name="T93" fmla="*/ 191 h 393"/>
                  <a:gd name="T94" fmla="*/ 5 w 373"/>
                  <a:gd name="T95" fmla="*/ 216 h 393"/>
                  <a:gd name="T96" fmla="*/ 9 w 373"/>
                  <a:gd name="T97" fmla="*/ 239 h 393"/>
                  <a:gd name="T98" fmla="*/ 17 w 373"/>
                  <a:gd name="T99" fmla="*/ 274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73" h="393">
                    <a:moveTo>
                      <a:pt x="17" y="274"/>
                    </a:moveTo>
                    <a:cubicBezTo>
                      <a:pt x="17" y="274"/>
                      <a:pt x="19" y="278"/>
                      <a:pt x="22" y="281"/>
                    </a:cubicBezTo>
                    <a:cubicBezTo>
                      <a:pt x="25" y="284"/>
                      <a:pt x="21" y="294"/>
                      <a:pt x="21" y="294"/>
                    </a:cubicBezTo>
                    <a:cubicBezTo>
                      <a:pt x="38" y="294"/>
                      <a:pt x="38" y="294"/>
                      <a:pt x="38" y="294"/>
                    </a:cubicBezTo>
                    <a:cubicBezTo>
                      <a:pt x="38" y="294"/>
                      <a:pt x="36" y="299"/>
                      <a:pt x="42" y="300"/>
                    </a:cubicBezTo>
                    <a:cubicBezTo>
                      <a:pt x="48" y="301"/>
                      <a:pt x="62" y="297"/>
                      <a:pt x="62" y="297"/>
                    </a:cubicBezTo>
                    <a:cubicBezTo>
                      <a:pt x="62" y="301"/>
                      <a:pt x="62" y="301"/>
                      <a:pt x="62" y="301"/>
                    </a:cubicBezTo>
                    <a:cubicBezTo>
                      <a:pt x="80" y="300"/>
                      <a:pt x="80" y="300"/>
                      <a:pt x="80" y="300"/>
                    </a:cubicBezTo>
                    <a:cubicBezTo>
                      <a:pt x="90" y="305"/>
                      <a:pt x="90" y="305"/>
                      <a:pt x="90" y="305"/>
                    </a:cubicBezTo>
                    <a:cubicBezTo>
                      <a:pt x="88" y="311"/>
                      <a:pt x="88" y="311"/>
                      <a:pt x="88" y="311"/>
                    </a:cubicBezTo>
                    <a:cubicBezTo>
                      <a:pt x="74" y="322"/>
                      <a:pt x="74" y="322"/>
                      <a:pt x="74" y="322"/>
                    </a:cubicBezTo>
                    <a:cubicBezTo>
                      <a:pt x="74" y="330"/>
                      <a:pt x="74" y="330"/>
                      <a:pt x="74" y="330"/>
                    </a:cubicBezTo>
                    <a:cubicBezTo>
                      <a:pt x="74" y="330"/>
                      <a:pt x="64" y="349"/>
                      <a:pt x="62" y="360"/>
                    </a:cubicBezTo>
                    <a:cubicBezTo>
                      <a:pt x="60" y="369"/>
                      <a:pt x="63" y="377"/>
                      <a:pt x="64" y="379"/>
                    </a:cubicBezTo>
                    <a:cubicBezTo>
                      <a:pt x="75" y="381"/>
                      <a:pt x="75" y="381"/>
                      <a:pt x="75" y="381"/>
                    </a:cubicBezTo>
                    <a:cubicBezTo>
                      <a:pt x="87" y="381"/>
                      <a:pt x="87" y="381"/>
                      <a:pt x="87" y="381"/>
                    </a:cubicBezTo>
                    <a:cubicBezTo>
                      <a:pt x="97" y="374"/>
                      <a:pt x="97" y="374"/>
                      <a:pt x="97" y="374"/>
                    </a:cubicBezTo>
                    <a:cubicBezTo>
                      <a:pt x="101" y="378"/>
                      <a:pt x="101" y="378"/>
                      <a:pt x="101" y="378"/>
                    </a:cubicBezTo>
                    <a:cubicBezTo>
                      <a:pt x="101" y="378"/>
                      <a:pt x="96" y="366"/>
                      <a:pt x="103" y="365"/>
                    </a:cubicBezTo>
                    <a:cubicBezTo>
                      <a:pt x="110" y="364"/>
                      <a:pt x="119" y="372"/>
                      <a:pt x="119" y="372"/>
                    </a:cubicBezTo>
                    <a:cubicBezTo>
                      <a:pt x="128" y="372"/>
                      <a:pt x="128" y="372"/>
                      <a:pt x="128" y="372"/>
                    </a:cubicBezTo>
                    <a:cubicBezTo>
                      <a:pt x="138" y="375"/>
                      <a:pt x="138" y="375"/>
                      <a:pt x="138" y="375"/>
                    </a:cubicBezTo>
                    <a:cubicBezTo>
                      <a:pt x="144" y="383"/>
                      <a:pt x="144" y="383"/>
                      <a:pt x="144" y="383"/>
                    </a:cubicBezTo>
                    <a:cubicBezTo>
                      <a:pt x="148" y="383"/>
                      <a:pt x="148" y="383"/>
                      <a:pt x="148" y="383"/>
                    </a:cubicBezTo>
                    <a:cubicBezTo>
                      <a:pt x="148" y="383"/>
                      <a:pt x="149" y="384"/>
                      <a:pt x="149" y="385"/>
                    </a:cubicBezTo>
                    <a:cubicBezTo>
                      <a:pt x="149" y="385"/>
                      <a:pt x="149" y="385"/>
                      <a:pt x="149" y="385"/>
                    </a:cubicBezTo>
                    <a:cubicBezTo>
                      <a:pt x="151" y="383"/>
                      <a:pt x="155" y="380"/>
                      <a:pt x="161" y="382"/>
                    </a:cubicBezTo>
                    <a:cubicBezTo>
                      <a:pt x="170" y="383"/>
                      <a:pt x="171" y="393"/>
                      <a:pt x="175" y="392"/>
                    </a:cubicBezTo>
                    <a:cubicBezTo>
                      <a:pt x="179" y="391"/>
                      <a:pt x="182" y="386"/>
                      <a:pt x="182" y="386"/>
                    </a:cubicBezTo>
                    <a:cubicBezTo>
                      <a:pt x="182" y="377"/>
                      <a:pt x="182" y="377"/>
                      <a:pt x="182" y="377"/>
                    </a:cubicBezTo>
                    <a:cubicBezTo>
                      <a:pt x="195" y="378"/>
                      <a:pt x="195" y="378"/>
                      <a:pt x="195" y="378"/>
                    </a:cubicBezTo>
                    <a:cubicBezTo>
                      <a:pt x="195" y="378"/>
                      <a:pt x="205" y="389"/>
                      <a:pt x="212" y="389"/>
                    </a:cubicBezTo>
                    <a:cubicBezTo>
                      <a:pt x="218" y="389"/>
                      <a:pt x="224" y="387"/>
                      <a:pt x="224" y="387"/>
                    </a:cubicBezTo>
                    <a:cubicBezTo>
                      <a:pt x="233" y="379"/>
                      <a:pt x="233" y="379"/>
                      <a:pt x="233" y="379"/>
                    </a:cubicBezTo>
                    <a:cubicBezTo>
                      <a:pt x="247" y="378"/>
                      <a:pt x="247" y="378"/>
                      <a:pt x="247" y="378"/>
                    </a:cubicBezTo>
                    <a:cubicBezTo>
                      <a:pt x="258" y="372"/>
                      <a:pt x="258" y="372"/>
                      <a:pt x="258" y="372"/>
                    </a:cubicBezTo>
                    <a:cubicBezTo>
                      <a:pt x="267" y="373"/>
                      <a:pt x="267" y="373"/>
                      <a:pt x="267" y="373"/>
                    </a:cubicBezTo>
                    <a:cubicBezTo>
                      <a:pt x="280" y="378"/>
                      <a:pt x="280" y="378"/>
                      <a:pt x="280" y="378"/>
                    </a:cubicBezTo>
                    <a:cubicBezTo>
                      <a:pt x="280" y="378"/>
                      <a:pt x="288" y="392"/>
                      <a:pt x="290" y="385"/>
                    </a:cubicBezTo>
                    <a:cubicBezTo>
                      <a:pt x="291" y="379"/>
                      <a:pt x="290" y="369"/>
                      <a:pt x="290" y="369"/>
                    </a:cubicBezTo>
                    <a:cubicBezTo>
                      <a:pt x="290" y="360"/>
                      <a:pt x="290" y="360"/>
                      <a:pt x="290" y="360"/>
                    </a:cubicBezTo>
                    <a:cubicBezTo>
                      <a:pt x="282" y="358"/>
                      <a:pt x="282" y="358"/>
                      <a:pt x="282" y="358"/>
                    </a:cubicBezTo>
                    <a:cubicBezTo>
                      <a:pt x="282" y="358"/>
                      <a:pt x="287" y="345"/>
                      <a:pt x="291" y="344"/>
                    </a:cubicBezTo>
                    <a:cubicBezTo>
                      <a:pt x="296" y="343"/>
                      <a:pt x="309" y="346"/>
                      <a:pt x="309" y="346"/>
                    </a:cubicBezTo>
                    <a:cubicBezTo>
                      <a:pt x="309" y="335"/>
                      <a:pt x="309" y="335"/>
                      <a:pt x="309" y="335"/>
                    </a:cubicBezTo>
                    <a:cubicBezTo>
                      <a:pt x="305" y="328"/>
                      <a:pt x="305" y="328"/>
                      <a:pt x="305" y="328"/>
                    </a:cubicBezTo>
                    <a:cubicBezTo>
                      <a:pt x="317" y="327"/>
                      <a:pt x="317" y="327"/>
                      <a:pt x="317" y="327"/>
                    </a:cubicBezTo>
                    <a:cubicBezTo>
                      <a:pt x="324" y="316"/>
                      <a:pt x="324" y="316"/>
                      <a:pt x="324" y="316"/>
                    </a:cubicBezTo>
                    <a:cubicBezTo>
                      <a:pt x="324" y="316"/>
                      <a:pt x="323" y="309"/>
                      <a:pt x="317" y="305"/>
                    </a:cubicBezTo>
                    <a:cubicBezTo>
                      <a:pt x="312" y="302"/>
                      <a:pt x="307" y="304"/>
                      <a:pt x="307" y="304"/>
                    </a:cubicBezTo>
                    <a:cubicBezTo>
                      <a:pt x="301" y="295"/>
                      <a:pt x="301" y="295"/>
                      <a:pt x="301" y="295"/>
                    </a:cubicBezTo>
                    <a:cubicBezTo>
                      <a:pt x="297" y="295"/>
                      <a:pt x="297" y="295"/>
                      <a:pt x="297" y="295"/>
                    </a:cubicBezTo>
                    <a:cubicBezTo>
                      <a:pt x="294" y="287"/>
                      <a:pt x="294" y="287"/>
                      <a:pt x="294" y="287"/>
                    </a:cubicBezTo>
                    <a:cubicBezTo>
                      <a:pt x="294" y="287"/>
                      <a:pt x="288" y="285"/>
                      <a:pt x="281" y="285"/>
                    </a:cubicBezTo>
                    <a:cubicBezTo>
                      <a:pt x="273" y="284"/>
                      <a:pt x="279" y="279"/>
                      <a:pt x="279" y="279"/>
                    </a:cubicBezTo>
                    <a:cubicBezTo>
                      <a:pt x="273" y="277"/>
                      <a:pt x="273" y="277"/>
                      <a:pt x="273" y="277"/>
                    </a:cubicBezTo>
                    <a:cubicBezTo>
                      <a:pt x="271" y="271"/>
                      <a:pt x="271" y="271"/>
                      <a:pt x="271" y="271"/>
                    </a:cubicBezTo>
                    <a:cubicBezTo>
                      <a:pt x="271" y="271"/>
                      <a:pt x="263" y="265"/>
                      <a:pt x="262" y="263"/>
                    </a:cubicBezTo>
                    <a:cubicBezTo>
                      <a:pt x="261" y="261"/>
                      <a:pt x="269" y="257"/>
                      <a:pt x="269" y="257"/>
                    </a:cubicBezTo>
                    <a:cubicBezTo>
                      <a:pt x="263" y="248"/>
                      <a:pt x="263" y="248"/>
                      <a:pt x="263" y="248"/>
                    </a:cubicBezTo>
                    <a:cubicBezTo>
                      <a:pt x="257" y="247"/>
                      <a:pt x="257" y="247"/>
                      <a:pt x="257" y="247"/>
                    </a:cubicBezTo>
                    <a:cubicBezTo>
                      <a:pt x="257" y="247"/>
                      <a:pt x="252" y="238"/>
                      <a:pt x="255" y="235"/>
                    </a:cubicBezTo>
                    <a:cubicBezTo>
                      <a:pt x="259" y="233"/>
                      <a:pt x="259" y="239"/>
                      <a:pt x="263" y="239"/>
                    </a:cubicBezTo>
                    <a:cubicBezTo>
                      <a:pt x="267" y="238"/>
                      <a:pt x="266" y="233"/>
                      <a:pt x="266" y="233"/>
                    </a:cubicBezTo>
                    <a:cubicBezTo>
                      <a:pt x="273" y="233"/>
                      <a:pt x="273" y="233"/>
                      <a:pt x="273" y="233"/>
                    </a:cubicBezTo>
                    <a:cubicBezTo>
                      <a:pt x="273" y="233"/>
                      <a:pt x="275" y="225"/>
                      <a:pt x="283" y="227"/>
                    </a:cubicBezTo>
                    <a:cubicBezTo>
                      <a:pt x="292" y="229"/>
                      <a:pt x="290" y="233"/>
                      <a:pt x="290" y="233"/>
                    </a:cubicBezTo>
                    <a:cubicBezTo>
                      <a:pt x="297" y="224"/>
                      <a:pt x="297" y="224"/>
                      <a:pt x="297" y="224"/>
                    </a:cubicBezTo>
                    <a:cubicBezTo>
                      <a:pt x="308" y="221"/>
                      <a:pt x="308" y="221"/>
                      <a:pt x="308" y="221"/>
                    </a:cubicBezTo>
                    <a:cubicBezTo>
                      <a:pt x="310" y="217"/>
                      <a:pt x="310" y="217"/>
                      <a:pt x="310" y="217"/>
                    </a:cubicBezTo>
                    <a:cubicBezTo>
                      <a:pt x="310" y="217"/>
                      <a:pt x="321" y="217"/>
                      <a:pt x="324" y="216"/>
                    </a:cubicBezTo>
                    <a:cubicBezTo>
                      <a:pt x="327" y="215"/>
                      <a:pt x="325" y="210"/>
                      <a:pt x="325" y="210"/>
                    </a:cubicBezTo>
                    <a:cubicBezTo>
                      <a:pt x="325" y="210"/>
                      <a:pt x="336" y="211"/>
                      <a:pt x="339" y="208"/>
                    </a:cubicBezTo>
                    <a:cubicBezTo>
                      <a:pt x="341" y="205"/>
                      <a:pt x="346" y="199"/>
                      <a:pt x="348" y="198"/>
                    </a:cubicBezTo>
                    <a:cubicBezTo>
                      <a:pt x="350" y="197"/>
                      <a:pt x="355" y="209"/>
                      <a:pt x="360" y="208"/>
                    </a:cubicBezTo>
                    <a:cubicBezTo>
                      <a:pt x="365" y="207"/>
                      <a:pt x="371" y="195"/>
                      <a:pt x="372" y="191"/>
                    </a:cubicBezTo>
                    <a:cubicBezTo>
                      <a:pt x="373" y="188"/>
                      <a:pt x="367" y="187"/>
                      <a:pt x="367" y="187"/>
                    </a:cubicBezTo>
                    <a:cubicBezTo>
                      <a:pt x="367" y="187"/>
                      <a:pt x="371" y="182"/>
                      <a:pt x="369" y="177"/>
                    </a:cubicBezTo>
                    <a:cubicBezTo>
                      <a:pt x="368" y="171"/>
                      <a:pt x="360" y="177"/>
                      <a:pt x="360" y="177"/>
                    </a:cubicBezTo>
                    <a:cubicBezTo>
                      <a:pt x="361" y="165"/>
                      <a:pt x="361" y="165"/>
                      <a:pt x="361" y="165"/>
                    </a:cubicBezTo>
                    <a:cubicBezTo>
                      <a:pt x="361" y="165"/>
                      <a:pt x="352" y="163"/>
                      <a:pt x="351" y="157"/>
                    </a:cubicBezTo>
                    <a:cubicBezTo>
                      <a:pt x="351" y="152"/>
                      <a:pt x="360" y="146"/>
                      <a:pt x="360" y="146"/>
                    </a:cubicBezTo>
                    <a:cubicBezTo>
                      <a:pt x="360" y="146"/>
                      <a:pt x="357" y="144"/>
                      <a:pt x="355" y="143"/>
                    </a:cubicBezTo>
                    <a:cubicBezTo>
                      <a:pt x="353" y="143"/>
                      <a:pt x="356" y="136"/>
                      <a:pt x="356" y="136"/>
                    </a:cubicBezTo>
                    <a:cubicBezTo>
                      <a:pt x="356" y="136"/>
                      <a:pt x="351" y="135"/>
                      <a:pt x="350" y="132"/>
                    </a:cubicBezTo>
                    <a:cubicBezTo>
                      <a:pt x="349" y="129"/>
                      <a:pt x="355" y="126"/>
                      <a:pt x="355" y="126"/>
                    </a:cubicBezTo>
                    <a:cubicBezTo>
                      <a:pt x="355" y="126"/>
                      <a:pt x="355" y="120"/>
                      <a:pt x="352" y="115"/>
                    </a:cubicBezTo>
                    <a:cubicBezTo>
                      <a:pt x="349" y="111"/>
                      <a:pt x="345" y="115"/>
                      <a:pt x="345" y="115"/>
                    </a:cubicBezTo>
                    <a:cubicBezTo>
                      <a:pt x="341" y="109"/>
                      <a:pt x="341" y="109"/>
                      <a:pt x="341" y="109"/>
                    </a:cubicBezTo>
                    <a:cubicBezTo>
                      <a:pt x="341" y="109"/>
                      <a:pt x="337" y="113"/>
                      <a:pt x="334" y="106"/>
                    </a:cubicBezTo>
                    <a:cubicBezTo>
                      <a:pt x="331" y="99"/>
                      <a:pt x="337" y="98"/>
                      <a:pt x="343" y="93"/>
                    </a:cubicBezTo>
                    <a:cubicBezTo>
                      <a:pt x="349" y="89"/>
                      <a:pt x="347" y="87"/>
                      <a:pt x="345" y="79"/>
                    </a:cubicBezTo>
                    <a:cubicBezTo>
                      <a:pt x="342" y="70"/>
                      <a:pt x="337" y="78"/>
                      <a:pt x="339" y="72"/>
                    </a:cubicBezTo>
                    <a:cubicBezTo>
                      <a:pt x="340" y="69"/>
                      <a:pt x="339" y="65"/>
                      <a:pt x="338" y="62"/>
                    </a:cubicBezTo>
                    <a:cubicBezTo>
                      <a:pt x="334" y="60"/>
                      <a:pt x="334" y="60"/>
                      <a:pt x="334" y="60"/>
                    </a:cubicBezTo>
                    <a:cubicBezTo>
                      <a:pt x="321" y="55"/>
                      <a:pt x="321" y="55"/>
                      <a:pt x="321" y="55"/>
                    </a:cubicBezTo>
                    <a:cubicBezTo>
                      <a:pt x="321" y="55"/>
                      <a:pt x="323" y="50"/>
                      <a:pt x="318" y="44"/>
                    </a:cubicBezTo>
                    <a:cubicBezTo>
                      <a:pt x="313" y="38"/>
                      <a:pt x="301" y="41"/>
                      <a:pt x="301" y="41"/>
                    </a:cubicBezTo>
                    <a:cubicBezTo>
                      <a:pt x="296" y="35"/>
                      <a:pt x="296" y="35"/>
                      <a:pt x="296" y="35"/>
                    </a:cubicBezTo>
                    <a:cubicBezTo>
                      <a:pt x="296" y="35"/>
                      <a:pt x="270" y="23"/>
                      <a:pt x="265" y="26"/>
                    </a:cubicBezTo>
                    <a:cubicBezTo>
                      <a:pt x="260" y="29"/>
                      <a:pt x="253" y="36"/>
                      <a:pt x="253" y="36"/>
                    </a:cubicBezTo>
                    <a:cubicBezTo>
                      <a:pt x="226" y="35"/>
                      <a:pt x="226" y="35"/>
                      <a:pt x="226" y="35"/>
                    </a:cubicBezTo>
                    <a:cubicBezTo>
                      <a:pt x="226" y="47"/>
                      <a:pt x="226" y="47"/>
                      <a:pt x="226" y="47"/>
                    </a:cubicBezTo>
                    <a:cubicBezTo>
                      <a:pt x="200" y="46"/>
                      <a:pt x="200" y="46"/>
                      <a:pt x="200" y="46"/>
                    </a:cubicBezTo>
                    <a:cubicBezTo>
                      <a:pt x="200" y="46"/>
                      <a:pt x="198" y="38"/>
                      <a:pt x="202" y="35"/>
                    </a:cubicBezTo>
                    <a:cubicBezTo>
                      <a:pt x="206" y="32"/>
                      <a:pt x="209" y="20"/>
                      <a:pt x="209" y="20"/>
                    </a:cubicBezTo>
                    <a:cubicBezTo>
                      <a:pt x="196" y="27"/>
                      <a:pt x="196" y="27"/>
                      <a:pt x="196" y="27"/>
                    </a:cubicBezTo>
                    <a:cubicBezTo>
                      <a:pt x="168" y="22"/>
                      <a:pt x="168" y="22"/>
                      <a:pt x="168" y="22"/>
                    </a:cubicBezTo>
                    <a:cubicBezTo>
                      <a:pt x="168" y="22"/>
                      <a:pt x="160" y="14"/>
                      <a:pt x="156" y="4"/>
                    </a:cubicBezTo>
                    <a:cubicBezTo>
                      <a:pt x="154" y="5"/>
                      <a:pt x="153" y="6"/>
                      <a:pt x="153" y="6"/>
                    </a:cubicBezTo>
                    <a:cubicBezTo>
                      <a:pt x="153" y="6"/>
                      <a:pt x="152" y="2"/>
                      <a:pt x="145" y="3"/>
                    </a:cubicBezTo>
                    <a:cubicBezTo>
                      <a:pt x="137" y="3"/>
                      <a:pt x="135" y="5"/>
                      <a:pt x="135" y="5"/>
                    </a:cubicBezTo>
                    <a:cubicBezTo>
                      <a:pt x="135" y="5"/>
                      <a:pt x="127" y="0"/>
                      <a:pt x="123" y="0"/>
                    </a:cubicBezTo>
                    <a:cubicBezTo>
                      <a:pt x="119" y="0"/>
                      <a:pt x="112" y="0"/>
                      <a:pt x="112" y="0"/>
                    </a:cubicBezTo>
                    <a:cubicBezTo>
                      <a:pt x="126" y="23"/>
                      <a:pt x="126" y="23"/>
                      <a:pt x="126" y="23"/>
                    </a:cubicBezTo>
                    <a:cubicBezTo>
                      <a:pt x="117" y="31"/>
                      <a:pt x="117" y="31"/>
                      <a:pt x="117" y="31"/>
                    </a:cubicBezTo>
                    <a:cubicBezTo>
                      <a:pt x="130" y="49"/>
                      <a:pt x="130" y="49"/>
                      <a:pt x="130" y="49"/>
                    </a:cubicBezTo>
                    <a:cubicBezTo>
                      <a:pt x="142" y="58"/>
                      <a:pt x="142" y="58"/>
                      <a:pt x="142" y="58"/>
                    </a:cubicBezTo>
                    <a:cubicBezTo>
                      <a:pt x="123" y="51"/>
                      <a:pt x="123" y="51"/>
                      <a:pt x="123" y="51"/>
                    </a:cubicBezTo>
                    <a:cubicBezTo>
                      <a:pt x="105" y="55"/>
                      <a:pt x="105" y="55"/>
                      <a:pt x="105" y="55"/>
                    </a:cubicBezTo>
                    <a:cubicBezTo>
                      <a:pt x="105" y="55"/>
                      <a:pt x="110" y="70"/>
                      <a:pt x="104" y="72"/>
                    </a:cubicBezTo>
                    <a:cubicBezTo>
                      <a:pt x="98" y="74"/>
                      <a:pt x="88" y="72"/>
                      <a:pt x="88" y="72"/>
                    </a:cubicBezTo>
                    <a:cubicBezTo>
                      <a:pt x="82" y="62"/>
                      <a:pt x="82" y="62"/>
                      <a:pt x="82" y="62"/>
                    </a:cubicBezTo>
                    <a:cubicBezTo>
                      <a:pt x="82" y="62"/>
                      <a:pt x="55" y="59"/>
                      <a:pt x="54" y="64"/>
                    </a:cubicBezTo>
                    <a:cubicBezTo>
                      <a:pt x="53" y="69"/>
                      <a:pt x="53" y="82"/>
                      <a:pt x="53" y="82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54" y="87"/>
                      <a:pt x="54" y="87"/>
                      <a:pt x="54" y="87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59" y="95"/>
                      <a:pt x="48" y="99"/>
                      <a:pt x="47" y="103"/>
                    </a:cubicBezTo>
                    <a:cubicBezTo>
                      <a:pt x="45" y="107"/>
                      <a:pt x="49" y="115"/>
                      <a:pt x="49" y="115"/>
                    </a:cubicBezTo>
                    <a:cubicBezTo>
                      <a:pt x="41" y="115"/>
                      <a:pt x="41" y="115"/>
                      <a:pt x="41" y="115"/>
                    </a:cubicBezTo>
                    <a:cubicBezTo>
                      <a:pt x="41" y="115"/>
                      <a:pt x="29" y="119"/>
                      <a:pt x="30" y="122"/>
                    </a:cubicBezTo>
                    <a:cubicBezTo>
                      <a:pt x="31" y="125"/>
                      <a:pt x="45" y="130"/>
                      <a:pt x="45" y="134"/>
                    </a:cubicBezTo>
                    <a:cubicBezTo>
                      <a:pt x="45" y="138"/>
                      <a:pt x="37" y="142"/>
                      <a:pt x="37" y="142"/>
                    </a:cubicBezTo>
                    <a:cubicBezTo>
                      <a:pt x="35" y="153"/>
                      <a:pt x="35" y="153"/>
                      <a:pt x="35" y="153"/>
                    </a:cubicBezTo>
                    <a:cubicBezTo>
                      <a:pt x="29" y="152"/>
                      <a:pt x="29" y="152"/>
                      <a:pt x="29" y="152"/>
                    </a:cubicBezTo>
                    <a:cubicBezTo>
                      <a:pt x="29" y="152"/>
                      <a:pt x="27" y="157"/>
                      <a:pt x="25" y="160"/>
                    </a:cubicBezTo>
                    <a:cubicBezTo>
                      <a:pt x="23" y="163"/>
                      <a:pt x="1" y="155"/>
                      <a:pt x="1" y="155"/>
                    </a:cubicBezTo>
                    <a:cubicBezTo>
                      <a:pt x="7" y="170"/>
                      <a:pt x="7" y="170"/>
                      <a:pt x="7" y="170"/>
                    </a:cubicBezTo>
                    <a:cubicBezTo>
                      <a:pt x="7" y="170"/>
                      <a:pt x="12" y="178"/>
                      <a:pt x="11" y="181"/>
                    </a:cubicBezTo>
                    <a:cubicBezTo>
                      <a:pt x="11" y="185"/>
                      <a:pt x="0" y="191"/>
                      <a:pt x="0" y="191"/>
                    </a:cubicBezTo>
                    <a:cubicBezTo>
                      <a:pt x="0" y="191"/>
                      <a:pt x="5" y="197"/>
                      <a:pt x="4" y="199"/>
                    </a:cubicBezTo>
                    <a:cubicBezTo>
                      <a:pt x="3" y="201"/>
                      <a:pt x="0" y="215"/>
                      <a:pt x="0" y="215"/>
                    </a:cubicBezTo>
                    <a:cubicBezTo>
                      <a:pt x="5" y="216"/>
                      <a:pt x="5" y="216"/>
                      <a:pt x="5" y="216"/>
                    </a:cubicBezTo>
                    <a:cubicBezTo>
                      <a:pt x="5" y="216"/>
                      <a:pt x="14" y="219"/>
                      <a:pt x="15" y="225"/>
                    </a:cubicBezTo>
                    <a:cubicBezTo>
                      <a:pt x="15" y="231"/>
                      <a:pt x="18" y="238"/>
                      <a:pt x="18" y="238"/>
                    </a:cubicBezTo>
                    <a:cubicBezTo>
                      <a:pt x="9" y="239"/>
                      <a:pt x="9" y="239"/>
                      <a:pt x="9" y="239"/>
                    </a:cubicBezTo>
                    <a:cubicBezTo>
                      <a:pt x="9" y="239"/>
                      <a:pt x="4" y="247"/>
                      <a:pt x="7" y="253"/>
                    </a:cubicBezTo>
                    <a:cubicBezTo>
                      <a:pt x="11" y="259"/>
                      <a:pt x="21" y="261"/>
                      <a:pt x="22" y="265"/>
                    </a:cubicBezTo>
                    <a:cubicBezTo>
                      <a:pt x="23" y="270"/>
                      <a:pt x="17" y="274"/>
                      <a:pt x="17" y="274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" name="Freeform 265">
                <a:extLst>
                  <a:ext uri="{FF2B5EF4-FFF2-40B4-BE49-F238E27FC236}">
                    <a16:creationId xmlns:a16="http://schemas.microsoft.com/office/drawing/2014/main" id="{A4995A56-54C7-1059-AC20-53CA3F1C4C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218" y="-15394"/>
                <a:ext cx="47" cy="31"/>
              </a:xfrm>
              <a:custGeom>
                <a:avLst/>
                <a:gdLst>
                  <a:gd name="T0" fmla="*/ 5 w 20"/>
                  <a:gd name="T1" fmla="*/ 13 h 13"/>
                  <a:gd name="T2" fmla="*/ 18 w 20"/>
                  <a:gd name="T3" fmla="*/ 10 h 13"/>
                  <a:gd name="T4" fmla="*/ 20 w 20"/>
                  <a:gd name="T5" fmla="*/ 10 h 13"/>
                  <a:gd name="T6" fmla="*/ 19 w 20"/>
                  <a:gd name="T7" fmla="*/ 1 h 13"/>
                  <a:gd name="T8" fmla="*/ 5 w 20"/>
                  <a:gd name="T9" fmla="*/ 1 h 13"/>
                  <a:gd name="T10" fmla="*/ 0 w 20"/>
                  <a:gd name="T11" fmla="*/ 2 h 13"/>
                  <a:gd name="T12" fmla="*/ 5 w 20"/>
                  <a:gd name="T13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3">
                    <a:moveTo>
                      <a:pt x="5" y="13"/>
                    </a:moveTo>
                    <a:cubicBezTo>
                      <a:pt x="5" y="13"/>
                      <a:pt x="14" y="11"/>
                      <a:pt x="18" y="10"/>
                    </a:cubicBezTo>
                    <a:cubicBezTo>
                      <a:pt x="19" y="10"/>
                      <a:pt x="20" y="10"/>
                      <a:pt x="20" y="10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1"/>
                      <a:pt x="15" y="0"/>
                      <a:pt x="5" y="1"/>
                    </a:cubicBezTo>
                    <a:cubicBezTo>
                      <a:pt x="3" y="1"/>
                      <a:pt x="1" y="1"/>
                      <a:pt x="0" y="2"/>
                    </a:cubicBezTo>
                    <a:lnTo>
                      <a:pt x="5" y="1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Freeform 266">
                <a:extLst>
                  <a:ext uri="{FF2B5EF4-FFF2-40B4-BE49-F238E27FC236}">
                    <a16:creationId xmlns:a16="http://schemas.microsoft.com/office/drawing/2014/main" id="{2C6A9454-45A7-5D5B-C1F1-45AF403B69B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79" y="-16570"/>
                <a:ext cx="3321" cy="1318"/>
              </a:xfrm>
              <a:custGeom>
                <a:avLst/>
                <a:gdLst>
                  <a:gd name="T0" fmla="*/ 1353 w 1406"/>
                  <a:gd name="T1" fmla="*/ 245 h 558"/>
                  <a:gd name="T2" fmla="*/ 1312 w 1406"/>
                  <a:gd name="T3" fmla="*/ 214 h 558"/>
                  <a:gd name="T4" fmla="*/ 1247 w 1406"/>
                  <a:gd name="T5" fmla="*/ 225 h 558"/>
                  <a:gd name="T6" fmla="*/ 1182 w 1406"/>
                  <a:gd name="T7" fmla="*/ 215 h 558"/>
                  <a:gd name="T8" fmla="*/ 1179 w 1406"/>
                  <a:gd name="T9" fmla="*/ 178 h 558"/>
                  <a:gd name="T10" fmla="*/ 1162 w 1406"/>
                  <a:gd name="T11" fmla="*/ 114 h 558"/>
                  <a:gd name="T12" fmla="*/ 1091 w 1406"/>
                  <a:gd name="T13" fmla="*/ 102 h 558"/>
                  <a:gd name="T14" fmla="*/ 1025 w 1406"/>
                  <a:gd name="T15" fmla="*/ 136 h 558"/>
                  <a:gd name="T16" fmla="*/ 967 w 1406"/>
                  <a:gd name="T17" fmla="*/ 143 h 558"/>
                  <a:gd name="T18" fmla="*/ 922 w 1406"/>
                  <a:gd name="T19" fmla="*/ 156 h 558"/>
                  <a:gd name="T20" fmla="*/ 855 w 1406"/>
                  <a:gd name="T21" fmla="*/ 148 h 558"/>
                  <a:gd name="T22" fmla="*/ 812 w 1406"/>
                  <a:gd name="T23" fmla="*/ 114 h 558"/>
                  <a:gd name="T24" fmla="*/ 728 w 1406"/>
                  <a:gd name="T25" fmla="*/ 97 h 558"/>
                  <a:gd name="T26" fmla="*/ 607 w 1406"/>
                  <a:gd name="T27" fmla="*/ 95 h 558"/>
                  <a:gd name="T28" fmla="*/ 563 w 1406"/>
                  <a:gd name="T29" fmla="*/ 83 h 558"/>
                  <a:gd name="T30" fmla="*/ 472 w 1406"/>
                  <a:gd name="T31" fmla="*/ 22 h 558"/>
                  <a:gd name="T32" fmla="*/ 384 w 1406"/>
                  <a:gd name="T33" fmla="*/ 0 h 558"/>
                  <a:gd name="T34" fmla="*/ 373 w 1406"/>
                  <a:gd name="T35" fmla="*/ 33 h 558"/>
                  <a:gd name="T36" fmla="*/ 372 w 1406"/>
                  <a:gd name="T37" fmla="*/ 60 h 558"/>
                  <a:gd name="T38" fmla="*/ 391 w 1406"/>
                  <a:gd name="T39" fmla="*/ 110 h 558"/>
                  <a:gd name="T40" fmla="*/ 335 w 1406"/>
                  <a:gd name="T41" fmla="*/ 119 h 558"/>
                  <a:gd name="T42" fmla="*/ 301 w 1406"/>
                  <a:gd name="T43" fmla="*/ 118 h 558"/>
                  <a:gd name="T44" fmla="*/ 278 w 1406"/>
                  <a:gd name="T45" fmla="*/ 107 h 558"/>
                  <a:gd name="T46" fmla="*/ 182 w 1406"/>
                  <a:gd name="T47" fmla="*/ 86 h 558"/>
                  <a:gd name="T48" fmla="*/ 155 w 1406"/>
                  <a:gd name="T49" fmla="*/ 70 h 558"/>
                  <a:gd name="T50" fmla="*/ 119 w 1406"/>
                  <a:gd name="T51" fmla="*/ 88 h 558"/>
                  <a:gd name="T52" fmla="*/ 83 w 1406"/>
                  <a:gd name="T53" fmla="*/ 100 h 558"/>
                  <a:gd name="T54" fmla="*/ 47 w 1406"/>
                  <a:gd name="T55" fmla="*/ 130 h 558"/>
                  <a:gd name="T56" fmla="*/ 9 w 1406"/>
                  <a:gd name="T57" fmla="*/ 151 h 558"/>
                  <a:gd name="T58" fmla="*/ 18 w 1406"/>
                  <a:gd name="T59" fmla="*/ 174 h 558"/>
                  <a:gd name="T60" fmla="*/ 54 w 1406"/>
                  <a:gd name="T61" fmla="*/ 203 h 558"/>
                  <a:gd name="T62" fmla="*/ 107 w 1406"/>
                  <a:gd name="T63" fmla="*/ 221 h 558"/>
                  <a:gd name="T64" fmla="*/ 179 w 1406"/>
                  <a:gd name="T65" fmla="*/ 276 h 558"/>
                  <a:gd name="T66" fmla="*/ 192 w 1406"/>
                  <a:gd name="T67" fmla="*/ 326 h 558"/>
                  <a:gd name="T68" fmla="*/ 274 w 1406"/>
                  <a:gd name="T69" fmla="*/ 374 h 558"/>
                  <a:gd name="T70" fmla="*/ 361 w 1406"/>
                  <a:gd name="T71" fmla="*/ 397 h 558"/>
                  <a:gd name="T72" fmla="*/ 430 w 1406"/>
                  <a:gd name="T73" fmla="*/ 429 h 558"/>
                  <a:gd name="T74" fmla="*/ 502 w 1406"/>
                  <a:gd name="T75" fmla="*/ 498 h 558"/>
                  <a:gd name="T76" fmla="*/ 610 w 1406"/>
                  <a:gd name="T77" fmla="*/ 499 h 558"/>
                  <a:gd name="T78" fmla="*/ 679 w 1406"/>
                  <a:gd name="T79" fmla="*/ 501 h 558"/>
                  <a:gd name="T80" fmla="*/ 795 w 1406"/>
                  <a:gd name="T81" fmla="*/ 531 h 558"/>
                  <a:gd name="T82" fmla="*/ 873 w 1406"/>
                  <a:gd name="T83" fmla="*/ 550 h 558"/>
                  <a:gd name="T84" fmla="*/ 1066 w 1406"/>
                  <a:gd name="T85" fmla="*/ 510 h 558"/>
                  <a:gd name="T86" fmla="*/ 1112 w 1406"/>
                  <a:gd name="T87" fmla="*/ 463 h 558"/>
                  <a:gd name="T88" fmla="*/ 1108 w 1406"/>
                  <a:gd name="T89" fmla="*/ 407 h 558"/>
                  <a:gd name="T90" fmla="*/ 1160 w 1406"/>
                  <a:gd name="T91" fmla="*/ 388 h 558"/>
                  <a:gd name="T92" fmla="*/ 1213 w 1406"/>
                  <a:gd name="T93" fmla="*/ 350 h 558"/>
                  <a:gd name="T94" fmla="*/ 1270 w 1406"/>
                  <a:gd name="T95" fmla="*/ 314 h 558"/>
                  <a:gd name="T96" fmla="*/ 1320 w 1406"/>
                  <a:gd name="T97" fmla="*/ 294 h 558"/>
                  <a:gd name="T98" fmla="*/ 1355 w 1406"/>
                  <a:gd name="T99" fmla="*/ 279 h 558"/>
                  <a:gd name="T100" fmla="*/ 1394 w 1406"/>
                  <a:gd name="T101" fmla="*/ 273 h 5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406" h="558">
                    <a:moveTo>
                      <a:pt x="1394" y="273"/>
                    </a:moveTo>
                    <a:cubicBezTo>
                      <a:pt x="1385" y="267"/>
                      <a:pt x="1380" y="256"/>
                      <a:pt x="1380" y="256"/>
                    </a:cubicBezTo>
                    <a:cubicBezTo>
                      <a:pt x="1380" y="256"/>
                      <a:pt x="1362" y="252"/>
                      <a:pt x="1353" y="245"/>
                    </a:cubicBezTo>
                    <a:cubicBezTo>
                      <a:pt x="1344" y="238"/>
                      <a:pt x="1336" y="231"/>
                      <a:pt x="1336" y="231"/>
                    </a:cubicBezTo>
                    <a:cubicBezTo>
                      <a:pt x="1336" y="231"/>
                      <a:pt x="1333" y="231"/>
                      <a:pt x="1324" y="230"/>
                    </a:cubicBezTo>
                    <a:cubicBezTo>
                      <a:pt x="1315" y="229"/>
                      <a:pt x="1312" y="214"/>
                      <a:pt x="1312" y="214"/>
                    </a:cubicBezTo>
                    <a:cubicBezTo>
                      <a:pt x="1271" y="214"/>
                      <a:pt x="1271" y="214"/>
                      <a:pt x="1271" y="214"/>
                    </a:cubicBezTo>
                    <a:cubicBezTo>
                      <a:pt x="1271" y="214"/>
                      <a:pt x="1270" y="232"/>
                      <a:pt x="1264" y="234"/>
                    </a:cubicBezTo>
                    <a:cubicBezTo>
                      <a:pt x="1258" y="236"/>
                      <a:pt x="1247" y="225"/>
                      <a:pt x="1247" y="225"/>
                    </a:cubicBezTo>
                    <a:cubicBezTo>
                      <a:pt x="1247" y="225"/>
                      <a:pt x="1237" y="221"/>
                      <a:pt x="1218" y="222"/>
                    </a:cubicBezTo>
                    <a:cubicBezTo>
                      <a:pt x="1199" y="223"/>
                      <a:pt x="1215" y="230"/>
                      <a:pt x="1206" y="233"/>
                    </a:cubicBezTo>
                    <a:cubicBezTo>
                      <a:pt x="1197" y="236"/>
                      <a:pt x="1185" y="225"/>
                      <a:pt x="1182" y="215"/>
                    </a:cubicBezTo>
                    <a:cubicBezTo>
                      <a:pt x="1179" y="205"/>
                      <a:pt x="1184" y="202"/>
                      <a:pt x="1184" y="202"/>
                    </a:cubicBezTo>
                    <a:cubicBezTo>
                      <a:pt x="1180" y="196"/>
                      <a:pt x="1180" y="196"/>
                      <a:pt x="1180" y="196"/>
                    </a:cubicBezTo>
                    <a:cubicBezTo>
                      <a:pt x="1179" y="178"/>
                      <a:pt x="1179" y="178"/>
                      <a:pt x="1179" y="178"/>
                    </a:cubicBezTo>
                    <a:cubicBezTo>
                      <a:pt x="1174" y="172"/>
                      <a:pt x="1174" y="172"/>
                      <a:pt x="1174" y="172"/>
                    </a:cubicBezTo>
                    <a:cubicBezTo>
                      <a:pt x="1173" y="117"/>
                      <a:pt x="1173" y="117"/>
                      <a:pt x="1173" y="117"/>
                    </a:cubicBezTo>
                    <a:cubicBezTo>
                      <a:pt x="1162" y="114"/>
                      <a:pt x="1162" y="114"/>
                      <a:pt x="1162" y="114"/>
                    </a:cubicBezTo>
                    <a:cubicBezTo>
                      <a:pt x="1144" y="111"/>
                      <a:pt x="1144" y="111"/>
                      <a:pt x="1144" y="111"/>
                    </a:cubicBezTo>
                    <a:cubicBezTo>
                      <a:pt x="1144" y="111"/>
                      <a:pt x="1138" y="118"/>
                      <a:pt x="1124" y="118"/>
                    </a:cubicBezTo>
                    <a:cubicBezTo>
                      <a:pt x="1110" y="118"/>
                      <a:pt x="1100" y="102"/>
                      <a:pt x="1091" y="102"/>
                    </a:cubicBezTo>
                    <a:cubicBezTo>
                      <a:pt x="1082" y="102"/>
                      <a:pt x="1055" y="98"/>
                      <a:pt x="1055" y="98"/>
                    </a:cubicBezTo>
                    <a:cubicBezTo>
                      <a:pt x="1032" y="121"/>
                      <a:pt x="1032" y="121"/>
                      <a:pt x="1032" y="121"/>
                    </a:cubicBezTo>
                    <a:cubicBezTo>
                      <a:pt x="1032" y="121"/>
                      <a:pt x="1035" y="132"/>
                      <a:pt x="1025" y="136"/>
                    </a:cubicBezTo>
                    <a:cubicBezTo>
                      <a:pt x="1015" y="140"/>
                      <a:pt x="1003" y="137"/>
                      <a:pt x="1003" y="137"/>
                    </a:cubicBezTo>
                    <a:cubicBezTo>
                      <a:pt x="993" y="142"/>
                      <a:pt x="993" y="142"/>
                      <a:pt x="993" y="142"/>
                    </a:cubicBezTo>
                    <a:cubicBezTo>
                      <a:pt x="993" y="142"/>
                      <a:pt x="976" y="141"/>
                      <a:pt x="967" y="143"/>
                    </a:cubicBezTo>
                    <a:cubicBezTo>
                      <a:pt x="958" y="145"/>
                      <a:pt x="960" y="150"/>
                      <a:pt x="955" y="156"/>
                    </a:cubicBezTo>
                    <a:cubicBezTo>
                      <a:pt x="950" y="162"/>
                      <a:pt x="942" y="153"/>
                      <a:pt x="938" y="151"/>
                    </a:cubicBezTo>
                    <a:cubicBezTo>
                      <a:pt x="934" y="149"/>
                      <a:pt x="922" y="156"/>
                      <a:pt x="922" y="156"/>
                    </a:cubicBezTo>
                    <a:cubicBezTo>
                      <a:pt x="922" y="156"/>
                      <a:pt x="898" y="156"/>
                      <a:pt x="895" y="153"/>
                    </a:cubicBezTo>
                    <a:cubicBezTo>
                      <a:pt x="892" y="150"/>
                      <a:pt x="885" y="147"/>
                      <a:pt x="885" y="147"/>
                    </a:cubicBezTo>
                    <a:cubicBezTo>
                      <a:pt x="885" y="147"/>
                      <a:pt x="875" y="150"/>
                      <a:pt x="855" y="148"/>
                    </a:cubicBezTo>
                    <a:cubicBezTo>
                      <a:pt x="835" y="146"/>
                      <a:pt x="840" y="135"/>
                      <a:pt x="840" y="135"/>
                    </a:cubicBezTo>
                    <a:cubicBezTo>
                      <a:pt x="840" y="135"/>
                      <a:pt x="829" y="132"/>
                      <a:pt x="826" y="133"/>
                    </a:cubicBezTo>
                    <a:cubicBezTo>
                      <a:pt x="823" y="134"/>
                      <a:pt x="815" y="115"/>
                      <a:pt x="812" y="114"/>
                    </a:cubicBezTo>
                    <a:cubicBezTo>
                      <a:pt x="809" y="113"/>
                      <a:pt x="790" y="113"/>
                      <a:pt x="778" y="113"/>
                    </a:cubicBezTo>
                    <a:cubicBezTo>
                      <a:pt x="766" y="113"/>
                      <a:pt x="755" y="94"/>
                      <a:pt x="755" y="94"/>
                    </a:cubicBezTo>
                    <a:cubicBezTo>
                      <a:pt x="728" y="97"/>
                      <a:pt x="728" y="97"/>
                      <a:pt x="728" y="97"/>
                    </a:cubicBezTo>
                    <a:cubicBezTo>
                      <a:pt x="728" y="97"/>
                      <a:pt x="726" y="89"/>
                      <a:pt x="697" y="87"/>
                    </a:cubicBezTo>
                    <a:cubicBezTo>
                      <a:pt x="668" y="85"/>
                      <a:pt x="650" y="103"/>
                      <a:pt x="637" y="104"/>
                    </a:cubicBezTo>
                    <a:cubicBezTo>
                      <a:pt x="624" y="105"/>
                      <a:pt x="607" y="95"/>
                      <a:pt x="607" y="95"/>
                    </a:cubicBezTo>
                    <a:cubicBezTo>
                      <a:pt x="607" y="95"/>
                      <a:pt x="600" y="96"/>
                      <a:pt x="590" y="96"/>
                    </a:cubicBezTo>
                    <a:cubicBezTo>
                      <a:pt x="580" y="96"/>
                      <a:pt x="578" y="80"/>
                      <a:pt x="578" y="80"/>
                    </a:cubicBezTo>
                    <a:cubicBezTo>
                      <a:pt x="563" y="83"/>
                      <a:pt x="563" y="83"/>
                      <a:pt x="563" y="83"/>
                    </a:cubicBezTo>
                    <a:cubicBezTo>
                      <a:pt x="563" y="83"/>
                      <a:pt x="541" y="49"/>
                      <a:pt x="532" y="38"/>
                    </a:cubicBezTo>
                    <a:cubicBezTo>
                      <a:pt x="523" y="27"/>
                      <a:pt x="511" y="40"/>
                      <a:pt x="501" y="38"/>
                    </a:cubicBezTo>
                    <a:cubicBezTo>
                      <a:pt x="491" y="36"/>
                      <a:pt x="472" y="22"/>
                      <a:pt x="472" y="22"/>
                    </a:cubicBezTo>
                    <a:cubicBezTo>
                      <a:pt x="472" y="22"/>
                      <a:pt x="452" y="23"/>
                      <a:pt x="434" y="21"/>
                    </a:cubicBezTo>
                    <a:cubicBezTo>
                      <a:pt x="416" y="19"/>
                      <a:pt x="393" y="2"/>
                      <a:pt x="393" y="2"/>
                    </a:cubicBezTo>
                    <a:cubicBezTo>
                      <a:pt x="384" y="0"/>
                      <a:pt x="384" y="0"/>
                      <a:pt x="384" y="0"/>
                    </a:cubicBezTo>
                    <a:cubicBezTo>
                      <a:pt x="384" y="0"/>
                      <a:pt x="385" y="12"/>
                      <a:pt x="380" y="18"/>
                    </a:cubicBezTo>
                    <a:cubicBezTo>
                      <a:pt x="375" y="24"/>
                      <a:pt x="371" y="22"/>
                      <a:pt x="371" y="22"/>
                    </a:cubicBezTo>
                    <a:cubicBezTo>
                      <a:pt x="373" y="33"/>
                      <a:pt x="373" y="33"/>
                      <a:pt x="373" y="33"/>
                    </a:cubicBezTo>
                    <a:cubicBezTo>
                      <a:pt x="373" y="33"/>
                      <a:pt x="362" y="31"/>
                      <a:pt x="362" y="37"/>
                    </a:cubicBezTo>
                    <a:cubicBezTo>
                      <a:pt x="362" y="43"/>
                      <a:pt x="368" y="46"/>
                      <a:pt x="368" y="46"/>
                    </a:cubicBezTo>
                    <a:cubicBezTo>
                      <a:pt x="372" y="60"/>
                      <a:pt x="372" y="60"/>
                      <a:pt x="372" y="60"/>
                    </a:cubicBezTo>
                    <a:cubicBezTo>
                      <a:pt x="388" y="84"/>
                      <a:pt x="388" y="84"/>
                      <a:pt x="388" y="84"/>
                    </a:cubicBezTo>
                    <a:cubicBezTo>
                      <a:pt x="388" y="84"/>
                      <a:pt x="403" y="84"/>
                      <a:pt x="403" y="102"/>
                    </a:cubicBezTo>
                    <a:cubicBezTo>
                      <a:pt x="403" y="120"/>
                      <a:pt x="391" y="110"/>
                      <a:pt x="391" y="110"/>
                    </a:cubicBezTo>
                    <a:cubicBezTo>
                      <a:pt x="391" y="110"/>
                      <a:pt x="393" y="117"/>
                      <a:pt x="376" y="125"/>
                    </a:cubicBezTo>
                    <a:cubicBezTo>
                      <a:pt x="359" y="133"/>
                      <a:pt x="365" y="117"/>
                      <a:pt x="365" y="117"/>
                    </a:cubicBezTo>
                    <a:cubicBezTo>
                      <a:pt x="335" y="119"/>
                      <a:pt x="335" y="119"/>
                      <a:pt x="335" y="119"/>
                    </a:cubicBezTo>
                    <a:cubicBezTo>
                      <a:pt x="334" y="111"/>
                      <a:pt x="334" y="111"/>
                      <a:pt x="334" y="111"/>
                    </a:cubicBezTo>
                    <a:cubicBezTo>
                      <a:pt x="334" y="111"/>
                      <a:pt x="325" y="110"/>
                      <a:pt x="314" y="111"/>
                    </a:cubicBezTo>
                    <a:cubicBezTo>
                      <a:pt x="303" y="112"/>
                      <a:pt x="301" y="118"/>
                      <a:pt x="301" y="118"/>
                    </a:cubicBezTo>
                    <a:cubicBezTo>
                      <a:pt x="299" y="113"/>
                      <a:pt x="299" y="113"/>
                      <a:pt x="299" y="113"/>
                    </a:cubicBezTo>
                    <a:cubicBezTo>
                      <a:pt x="280" y="116"/>
                      <a:pt x="280" y="116"/>
                      <a:pt x="280" y="116"/>
                    </a:cubicBezTo>
                    <a:cubicBezTo>
                      <a:pt x="278" y="107"/>
                      <a:pt x="278" y="107"/>
                      <a:pt x="278" y="107"/>
                    </a:cubicBezTo>
                    <a:cubicBezTo>
                      <a:pt x="278" y="107"/>
                      <a:pt x="256" y="109"/>
                      <a:pt x="247" y="102"/>
                    </a:cubicBezTo>
                    <a:cubicBezTo>
                      <a:pt x="238" y="95"/>
                      <a:pt x="240" y="82"/>
                      <a:pt x="233" y="82"/>
                    </a:cubicBezTo>
                    <a:cubicBezTo>
                      <a:pt x="226" y="82"/>
                      <a:pt x="182" y="86"/>
                      <a:pt x="182" y="86"/>
                    </a:cubicBezTo>
                    <a:cubicBezTo>
                      <a:pt x="177" y="75"/>
                      <a:pt x="177" y="75"/>
                      <a:pt x="177" y="75"/>
                    </a:cubicBezTo>
                    <a:cubicBezTo>
                      <a:pt x="177" y="75"/>
                      <a:pt x="161" y="75"/>
                      <a:pt x="158" y="75"/>
                    </a:cubicBezTo>
                    <a:cubicBezTo>
                      <a:pt x="155" y="75"/>
                      <a:pt x="155" y="70"/>
                      <a:pt x="155" y="70"/>
                    </a:cubicBezTo>
                    <a:cubicBezTo>
                      <a:pt x="143" y="77"/>
                      <a:pt x="143" y="77"/>
                      <a:pt x="143" y="77"/>
                    </a:cubicBezTo>
                    <a:cubicBezTo>
                      <a:pt x="143" y="77"/>
                      <a:pt x="134" y="71"/>
                      <a:pt x="127" y="71"/>
                    </a:cubicBezTo>
                    <a:cubicBezTo>
                      <a:pt x="120" y="71"/>
                      <a:pt x="119" y="88"/>
                      <a:pt x="119" y="88"/>
                    </a:cubicBezTo>
                    <a:cubicBezTo>
                      <a:pt x="103" y="88"/>
                      <a:pt x="103" y="88"/>
                      <a:pt x="103" y="88"/>
                    </a:cubicBezTo>
                    <a:cubicBezTo>
                      <a:pt x="92" y="101"/>
                      <a:pt x="92" y="101"/>
                      <a:pt x="92" y="101"/>
                    </a:cubicBezTo>
                    <a:cubicBezTo>
                      <a:pt x="83" y="100"/>
                      <a:pt x="83" y="100"/>
                      <a:pt x="83" y="100"/>
                    </a:cubicBezTo>
                    <a:cubicBezTo>
                      <a:pt x="83" y="100"/>
                      <a:pt x="72" y="108"/>
                      <a:pt x="63" y="118"/>
                    </a:cubicBezTo>
                    <a:cubicBezTo>
                      <a:pt x="54" y="128"/>
                      <a:pt x="63" y="130"/>
                      <a:pt x="63" y="130"/>
                    </a:cubicBezTo>
                    <a:cubicBezTo>
                      <a:pt x="47" y="130"/>
                      <a:pt x="47" y="130"/>
                      <a:pt x="47" y="130"/>
                    </a:cubicBezTo>
                    <a:cubicBezTo>
                      <a:pt x="49" y="139"/>
                      <a:pt x="49" y="139"/>
                      <a:pt x="49" y="139"/>
                    </a:cubicBezTo>
                    <a:cubicBezTo>
                      <a:pt x="8" y="139"/>
                      <a:pt x="8" y="139"/>
                      <a:pt x="8" y="139"/>
                    </a:cubicBezTo>
                    <a:cubicBezTo>
                      <a:pt x="9" y="151"/>
                      <a:pt x="9" y="151"/>
                      <a:pt x="9" y="151"/>
                    </a:cubicBezTo>
                    <a:cubicBezTo>
                      <a:pt x="2" y="158"/>
                      <a:pt x="2" y="158"/>
                      <a:pt x="2" y="158"/>
                    </a:cubicBezTo>
                    <a:cubicBezTo>
                      <a:pt x="10" y="162"/>
                      <a:pt x="0" y="174"/>
                      <a:pt x="0" y="174"/>
                    </a:cubicBezTo>
                    <a:cubicBezTo>
                      <a:pt x="18" y="174"/>
                      <a:pt x="18" y="174"/>
                      <a:pt x="18" y="174"/>
                    </a:cubicBezTo>
                    <a:cubicBezTo>
                      <a:pt x="18" y="174"/>
                      <a:pt x="14" y="182"/>
                      <a:pt x="19" y="187"/>
                    </a:cubicBezTo>
                    <a:cubicBezTo>
                      <a:pt x="24" y="192"/>
                      <a:pt x="48" y="195"/>
                      <a:pt x="48" y="195"/>
                    </a:cubicBezTo>
                    <a:cubicBezTo>
                      <a:pt x="54" y="203"/>
                      <a:pt x="54" y="203"/>
                      <a:pt x="54" y="203"/>
                    </a:cubicBezTo>
                    <a:cubicBezTo>
                      <a:pt x="71" y="219"/>
                      <a:pt x="71" y="219"/>
                      <a:pt x="71" y="219"/>
                    </a:cubicBezTo>
                    <a:cubicBezTo>
                      <a:pt x="92" y="213"/>
                      <a:pt x="92" y="213"/>
                      <a:pt x="92" y="213"/>
                    </a:cubicBezTo>
                    <a:cubicBezTo>
                      <a:pt x="107" y="221"/>
                      <a:pt x="107" y="221"/>
                      <a:pt x="107" y="221"/>
                    </a:cubicBezTo>
                    <a:cubicBezTo>
                      <a:pt x="107" y="221"/>
                      <a:pt x="113" y="223"/>
                      <a:pt x="127" y="227"/>
                    </a:cubicBezTo>
                    <a:cubicBezTo>
                      <a:pt x="141" y="231"/>
                      <a:pt x="148" y="245"/>
                      <a:pt x="153" y="252"/>
                    </a:cubicBezTo>
                    <a:cubicBezTo>
                      <a:pt x="158" y="259"/>
                      <a:pt x="167" y="268"/>
                      <a:pt x="179" y="276"/>
                    </a:cubicBezTo>
                    <a:cubicBezTo>
                      <a:pt x="191" y="284"/>
                      <a:pt x="188" y="300"/>
                      <a:pt x="188" y="300"/>
                    </a:cubicBezTo>
                    <a:cubicBezTo>
                      <a:pt x="188" y="300"/>
                      <a:pt x="198" y="308"/>
                      <a:pt x="200" y="315"/>
                    </a:cubicBezTo>
                    <a:cubicBezTo>
                      <a:pt x="202" y="322"/>
                      <a:pt x="192" y="326"/>
                      <a:pt x="192" y="326"/>
                    </a:cubicBezTo>
                    <a:cubicBezTo>
                      <a:pt x="192" y="326"/>
                      <a:pt x="193" y="336"/>
                      <a:pt x="198" y="349"/>
                    </a:cubicBezTo>
                    <a:cubicBezTo>
                      <a:pt x="203" y="362"/>
                      <a:pt x="224" y="364"/>
                      <a:pt x="235" y="368"/>
                    </a:cubicBezTo>
                    <a:cubicBezTo>
                      <a:pt x="246" y="372"/>
                      <a:pt x="260" y="375"/>
                      <a:pt x="274" y="374"/>
                    </a:cubicBezTo>
                    <a:cubicBezTo>
                      <a:pt x="288" y="373"/>
                      <a:pt x="322" y="375"/>
                      <a:pt x="322" y="375"/>
                    </a:cubicBezTo>
                    <a:cubicBezTo>
                      <a:pt x="322" y="375"/>
                      <a:pt x="333" y="380"/>
                      <a:pt x="342" y="382"/>
                    </a:cubicBezTo>
                    <a:cubicBezTo>
                      <a:pt x="351" y="384"/>
                      <a:pt x="358" y="396"/>
                      <a:pt x="361" y="397"/>
                    </a:cubicBezTo>
                    <a:cubicBezTo>
                      <a:pt x="364" y="398"/>
                      <a:pt x="401" y="410"/>
                      <a:pt x="401" y="410"/>
                    </a:cubicBezTo>
                    <a:cubicBezTo>
                      <a:pt x="423" y="413"/>
                      <a:pt x="423" y="413"/>
                      <a:pt x="423" y="413"/>
                    </a:cubicBezTo>
                    <a:cubicBezTo>
                      <a:pt x="430" y="429"/>
                      <a:pt x="430" y="429"/>
                      <a:pt x="430" y="429"/>
                    </a:cubicBezTo>
                    <a:cubicBezTo>
                      <a:pt x="430" y="429"/>
                      <a:pt x="439" y="434"/>
                      <a:pt x="443" y="438"/>
                    </a:cubicBezTo>
                    <a:cubicBezTo>
                      <a:pt x="447" y="442"/>
                      <a:pt x="461" y="461"/>
                      <a:pt x="465" y="467"/>
                    </a:cubicBezTo>
                    <a:cubicBezTo>
                      <a:pt x="469" y="473"/>
                      <a:pt x="502" y="498"/>
                      <a:pt x="502" y="498"/>
                    </a:cubicBezTo>
                    <a:cubicBezTo>
                      <a:pt x="540" y="494"/>
                      <a:pt x="540" y="494"/>
                      <a:pt x="540" y="494"/>
                    </a:cubicBezTo>
                    <a:cubicBezTo>
                      <a:pt x="579" y="499"/>
                      <a:pt x="579" y="499"/>
                      <a:pt x="579" y="499"/>
                    </a:cubicBezTo>
                    <a:cubicBezTo>
                      <a:pt x="610" y="499"/>
                      <a:pt x="610" y="499"/>
                      <a:pt x="610" y="499"/>
                    </a:cubicBezTo>
                    <a:cubicBezTo>
                      <a:pt x="635" y="504"/>
                      <a:pt x="635" y="504"/>
                      <a:pt x="635" y="504"/>
                    </a:cubicBezTo>
                    <a:cubicBezTo>
                      <a:pt x="635" y="504"/>
                      <a:pt x="649" y="493"/>
                      <a:pt x="654" y="493"/>
                    </a:cubicBezTo>
                    <a:cubicBezTo>
                      <a:pt x="659" y="493"/>
                      <a:pt x="679" y="501"/>
                      <a:pt x="679" y="501"/>
                    </a:cubicBezTo>
                    <a:cubicBezTo>
                      <a:pt x="679" y="501"/>
                      <a:pt x="718" y="501"/>
                      <a:pt x="728" y="504"/>
                    </a:cubicBezTo>
                    <a:cubicBezTo>
                      <a:pt x="738" y="507"/>
                      <a:pt x="740" y="522"/>
                      <a:pt x="755" y="527"/>
                    </a:cubicBezTo>
                    <a:cubicBezTo>
                      <a:pt x="770" y="532"/>
                      <a:pt x="781" y="530"/>
                      <a:pt x="795" y="531"/>
                    </a:cubicBezTo>
                    <a:cubicBezTo>
                      <a:pt x="809" y="532"/>
                      <a:pt x="837" y="547"/>
                      <a:pt x="837" y="547"/>
                    </a:cubicBezTo>
                    <a:cubicBezTo>
                      <a:pt x="837" y="547"/>
                      <a:pt x="858" y="538"/>
                      <a:pt x="864" y="538"/>
                    </a:cubicBezTo>
                    <a:cubicBezTo>
                      <a:pt x="870" y="538"/>
                      <a:pt x="873" y="550"/>
                      <a:pt x="873" y="550"/>
                    </a:cubicBezTo>
                    <a:cubicBezTo>
                      <a:pt x="873" y="550"/>
                      <a:pt x="893" y="558"/>
                      <a:pt x="899" y="553"/>
                    </a:cubicBezTo>
                    <a:cubicBezTo>
                      <a:pt x="905" y="548"/>
                      <a:pt x="948" y="519"/>
                      <a:pt x="962" y="513"/>
                    </a:cubicBezTo>
                    <a:cubicBezTo>
                      <a:pt x="976" y="507"/>
                      <a:pt x="1066" y="510"/>
                      <a:pt x="1066" y="510"/>
                    </a:cubicBezTo>
                    <a:cubicBezTo>
                      <a:pt x="1078" y="497"/>
                      <a:pt x="1078" y="497"/>
                      <a:pt x="1078" y="497"/>
                    </a:cubicBezTo>
                    <a:cubicBezTo>
                      <a:pt x="1078" y="497"/>
                      <a:pt x="1095" y="499"/>
                      <a:pt x="1103" y="492"/>
                    </a:cubicBezTo>
                    <a:cubicBezTo>
                      <a:pt x="1111" y="485"/>
                      <a:pt x="1109" y="470"/>
                      <a:pt x="1112" y="463"/>
                    </a:cubicBezTo>
                    <a:cubicBezTo>
                      <a:pt x="1115" y="456"/>
                      <a:pt x="1125" y="459"/>
                      <a:pt x="1129" y="459"/>
                    </a:cubicBezTo>
                    <a:cubicBezTo>
                      <a:pt x="1133" y="459"/>
                      <a:pt x="1143" y="444"/>
                      <a:pt x="1144" y="439"/>
                    </a:cubicBezTo>
                    <a:cubicBezTo>
                      <a:pt x="1145" y="434"/>
                      <a:pt x="1114" y="411"/>
                      <a:pt x="1108" y="407"/>
                    </a:cubicBezTo>
                    <a:cubicBezTo>
                      <a:pt x="1102" y="403"/>
                      <a:pt x="1100" y="383"/>
                      <a:pt x="1106" y="373"/>
                    </a:cubicBezTo>
                    <a:cubicBezTo>
                      <a:pt x="1112" y="363"/>
                      <a:pt x="1130" y="369"/>
                      <a:pt x="1134" y="370"/>
                    </a:cubicBezTo>
                    <a:cubicBezTo>
                      <a:pt x="1138" y="371"/>
                      <a:pt x="1160" y="388"/>
                      <a:pt x="1160" y="388"/>
                    </a:cubicBezTo>
                    <a:cubicBezTo>
                      <a:pt x="1160" y="388"/>
                      <a:pt x="1187" y="387"/>
                      <a:pt x="1194" y="385"/>
                    </a:cubicBezTo>
                    <a:cubicBezTo>
                      <a:pt x="1201" y="383"/>
                      <a:pt x="1212" y="369"/>
                      <a:pt x="1212" y="369"/>
                    </a:cubicBezTo>
                    <a:cubicBezTo>
                      <a:pt x="1212" y="369"/>
                      <a:pt x="1210" y="353"/>
                      <a:pt x="1213" y="350"/>
                    </a:cubicBezTo>
                    <a:cubicBezTo>
                      <a:pt x="1216" y="347"/>
                      <a:pt x="1262" y="350"/>
                      <a:pt x="1262" y="350"/>
                    </a:cubicBezTo>
                    <a:cubicBezTo>
                      <a:pt x="1278" y="336"/>
                      <a:pt x="1278" y="336"/>
                      <a:pt x="1278" y="336"/>
                    </a:cubicBezTo>
                    <a:cubicBezTo>
                      <a:pt x="1278" y="336"/>
                      <a:pt x="1263" y="325"/>
                      <a:pt x="1270" y="314"/>
                    </a:cubicBezTo>
                    <a:cubicBezTo>
                      <a:pt x="1277" y="303"/>
                      <a:pt x="1302" y="302"/>
                      <a:pt x="1302" y="302"/>
                    </a:cubicBezTo>
                    <a:cubicBezTo>
                      <a:pt x="1302" y="291"/>
                      <a:pt x="1302" y="291"/>
                      <a:pt x="1302" y="291"/>
                    </a:cubicBezTo>
                    <a:cubicBezTo>
                      <a:pt x="1320" y="294"/>
                      <a:pt x="1320" y="294"/>
                      <a:pt x="1320" y="294"/>
                    </a:cubicBezTo>
                    <a:cubicBezTo>
                      <a:pt x="1326" y="291"/>
                      <a:pt x="1326" y="291"/>
                      <a:pt x="1326" y="291"/>
                    </a:cubicBezTo>
                    <a:cubicBezTo>
                      <a:pt x="1335" y="282"/>
                      <a:pt x="1335" y="282"/>
                      <a:pt x="1335" y="282"/>
                    </a:cubicBezTo>
                    <a:cubicBezTo>
                      <a:pt x="1335" y="282"/>
                      <a:pt x="1346" y="279"/>
                      <a:pt x="1355" y="279"/>
                    </a:cubicBezTo>
                    <a:cubicBezTo>
                      <a:pt x="1364" y="279"/>
                      <a:pt x="1372" y="288"/>
                      <a:pt x="1372" y="288"/>
                    </a:cubicBezTo>
                    <a:cubicBezTo>
                      <a:pt x="1372" y="288"/>
                      <a:pt x="1390" y="287"/>
                      <a:pt x="1398" y="286"/>
                    </a:cubicBezTo>
                    <a:cubicBezTo>
                      <a:pt x="1406" y="285"/>
                      <a:pt x="1403" y="279"/>
                      <a:pt x="1394" y="273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Freeform 267">
                <a:extLst>
                  <a:ext uri="{FF2B5EF4-FFF2-40B4-BE49-F238E27FC236}">
                    <a16:creationId xmlns:a16="http://schemas.microsoft.com/office/drawing/2014/main" id="{14C61679-5FB3-0A17-96C7-CA019C25C5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297" y="-15512"/>
                <a:ext cx="728" cy="340"/>
              </a:xfrm>
              <a:custGeom>
                <a:avLst/>
                <a:gdLst>
                  <a:gd name="T0" fmla="*/ 4 w 308"/>
                  <a:gd name="T1" fmla="*/ 12 h 144"/>
                  <a:gd name="T2" fmla="*/ 52 w 308"/>
                  <a:gd name="T3" fmla="*/ 37 h 144"/>
                  <a:gd name="T4" fmla="*/ 75 w 308"/>
                  <a:gd name="T5" fmla="*/ 54 h 144"/>
                  <a:gd name="T6" fmla="*/ 79 w 308"/>
                  <a:gd name="T7" fmla="*/ 85 h 144"/>
                  <a:gd name="T8" fmla="*/ 92 w 308"/>
                  <a:gd name="T9" fmla="*/ 103 h 144"/>
                  <a:gd name="T10" fmla="*/ 85 w 308"/>
                  <a:gd name="T11" fmla="*/ 110 h 144"/>
                  <a:gd name="T12" fmla="*/ 111 w 308"/>
                  <a:gd name="T13" fmla="*/ 115 h 144"/>
                  <a:gd name="T14" fmla="*/ 131 w 308"/>
                  <a:gd name="T15" fmla="*/ 108 h 144"/>
                  <a:gd name="T16" fmla="*/ 147 w 308"/>
                  <a:gd name="T17" fmla="*/ 126 h 144"/>
                  <a:gd name="T18" fmla="*/ 164 w 308"/>
                  <a:gd name="T19" fmla="*/ 126 h 144"/>
                  <a:gd name="T20" fmla="*/ 166 w 308"/>
                  <a:gd name="T21" fmla="*/ 134 h 144"/>
                  <a:gd name="T22" fmla="*/ 183 w 308"/>
                  <a:gd name="T23" fmla="*/ 133 h 144"/>
                  <a:gd name="T24" fmla="*/ 188 w 308"/>
                  <a:gd name="T25" fmla="*/ 126 h 144"/>
                  <a:gd name="T26" fmla="*/ 221 w 308"/>
                  <a:gd name="T27" fmla="*/ 130 h 144"/>
                  <a:gd name="T28" fmla="*/ 227 w 308"/>
                  <a:gd name="T29" fmla="*/ 120 h 144"/>
                  <a:gd name="T30" fmla="*/ 235 w 308"/>
                  <a:gd name="T31" fmla="*/ 123 h 144"/>
                  <a:gd name="T32" fmla="*/ 235 w 308"/>
                  <a:gd name="T33" fmla="*/ 123 h 144"/>
                  <a:gd name="T34" fmla="*/ 250 w 308"/>
                  <a:gd name="T35" fmla="*/ 112 h 144"/>
                  <a:gd name="T36" fmla="*/ 261 w 308"/>
                  <a:gd name="T37" fmla="*/ 120 h 144"/>
                  <a:gd name="T38" fmla="*/ 275 w 308"/>
                  <a:gd name="T39" fmla="*/ 130 h 144"/>
                  <a:gd name="T40" fmla="*/ 289 w 308"/>
                  <a:gd name="T41" fmla="*/ 127 h 144"/>
                  <a:gd name="T42" fmla="*/ 306 w 308"/>
                  <a:gd name="T43" fmla="*/ 134 h 144"/>
                  <a:gd name="T44" fmla="*/ 287 w 308"/>
                  <a:gd name="T45" fmla="*/ 113 h 144"/>
                  <a:gd name="T46" fmla="*/ 278 w 308"/>
                  <a:gd name="T47" fmla="*/ 97 h 144"/>
                  <a:gd name="T48" fmla="*/ 286 w 308"/>
                  <a:gd name="T49" fmla="*/ 93 h 144"/>
                  <a:gd name="T50" fmla="*/ 251 w 308"/>
                  <a:gd name="T51" fmla="*/ 75 h 144"/>
                  <a:gd name="T52" fmla="*/ 256 w 308"/>
                  <a:gd name="T53" fmla="*/ 58 h 144"/>
                  <a:gd name="T54" fmla="*/ 236 w 308"/>
                  <a:gd name="T55" fmla="*/ 55 h 144"/>
                  <a:gd name="T56" fmla="*/ 208 w 308"/>
                  <a:gd name="T57" fmla="*/ 42 h 144"/>
                  <a:gd name="T58" fmla="*/ 179 w 308"/>
                  <a:gd name="T59" fmla="*/ 53 h 144"/>
                  <a:gd name="T60" fmla="*/ 160 w 308"/>
                  <a:gd name="T61" fmla="*/ 42 h 144"/>
                  <a:gd name="T62" fmla="*/ 128 w 308"/>
                  <a:gd name="T63" fmla="*/ 22 h 144"/>
                  <a:gd name="T64" fmla="*/ 95 w 308"/>
                  <a:gd name="T65" fmla="*/ 18 h 144"/>
                  <a:gd name="T66" fmla="*/ 54 w 308"/>
                  <a:gd name="T67" fmla="*/ 10 h 144"/>
                  <a:gd name="T68" fmla="*/ 13 w 308"/>
                  <a:gd name="T69" fmla="*/ 0 h 144"/>
                  <a:gd name="T70" fmla="*/ 0 w 308"/>
                  <a:gd name="T71" fmla="*/ 11 h 144"/>
                  <a:gd name="T72" fmla="*/ 4 w 308"/>
                  <a:gd name="T73" fmla="*/ 1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08" h="144">
                    <a:moveTo>
                      <a:pt x="4" y="12"/>
                    </a:moveTo>
                    <a:cubicBezTo>
                      <a:pt x="4" y="12"/>
                      <a:pt x="44" y="34"/>
                      <a:pt x="52" y="37"/>
                    </a:cubicBezTo>
                    <a:cubicBezTo>
                      <a:pt x="60" y="40"/>
                      <a:pt x="75" y="54"/>
                      <a:pt x="75" y="54"/>
                    </a:cubicBezTo>
                    <a:cubicBezTo>
                      <a:pt x="75" y="54"/>
                      <a:pt x="79" y="82"/>
                      <a:pt x="79" y="85"/>
                    </a:cubicBezTo>
                    <a:cubicBezTo>
                      <a:pt x="79" y="88"/>
                      <a:pt x="92" y="103"/>
                      <a:pt x="92" y="103"/>
                    </a:cubicBezTo>
                    <a:cubicBezTo>
                      <a:pt x="92" y="103"/>
                      <a:pt x="90" y="105"/>
                      <a:pt x="85" y="110"/>
                    </a:cubicBezTo>
                    <a:cubicBezTo>
                      <a:pt x="111" y="115"/>
                      <a:pt x="111" y="115"/>
                      <a:pt x="111" y="115"/>
                    </a:cubicBezTo>
                    <a:cubicBezTo>
                      <a:pt x="111" y="115"/>
                      <a:pt x="117" y="105"/>
                      <a:pt x="131" y="108"/>
                    </a:cubicBezTo>
                    <a:cubicBezTo>
                      <a:pt x="145" y="111"/>
                      <a:pt x="147" y="126"/>
                      <a:pt x="147" y="126"/>
                    </a:cubicBezTo>
                    <a:cubicBezTo>
                      <a:pt x="164" y="126"/>
                      <a:pt x="164" y="126"/>
                      <a:pt x="164" y="126"/>
                    </a:cubicBezTo>
                    <a:cubicBezTo>
                      <a:pt x="164" y="126"/>
                      <a:pt x="165" y="129"/>
                      <a:pt x="166" y="134"/>
                    </a:cubicBezTo>
                    <a:cubicBezTo>
                      <a:pt x="183" y="133"/>
                      <a:pt x="183" y="133"/>
                      <a:pt x="183" y="133"/>
                    </a:cubicBezTo>
                    <a:cubicBezTo>
                      <a:pt x="188" y="126"/>
                      <a:pt x="188" y="126"/>
                      <a:pt x="188" y="126"/>
                    </a:cubicBezTo>
                    <a:cubicBezTo>
                      <a:pt x="221" y="130"/>
                      <a:pt x="221" y="130"/>
                      <a:pt x="221" y="130"/>
                    </a:cubicBezTo>
                    <a:cubicBezTo>
                      <a:pt x="221" y="130"/>
                      <a:pt x="224" y="120"/>
                      <a:pt x="227" y="120"/>
                    </a:cubicBezTo>
                    <a:cubicBezTo>
                      <a:pt x="228" y="120"/>
                      <a:pt x="232" y="121"/>
                      <a:pt x="235" y="123"/>
                    </a:cubicBezTo>
                    <a:cubicBezTo>
                      <a:pt x="235" y="123"/>
                      <a:pt x="235" y="123"/>
                      <a:pt x="235" y="123"/>
                    </a:cubicBezTo>
                    <a:cubicBezTo>
                      <a:pt x="236" y="119"/>
                      <a:pt x="240" y="111"/>
                      <a:pt x="250" y="112"/>
                    </a:cubicBezTo>
                    <a:cubicBezTo>
                      <a:pt x="263" y="113"/>
                      <a:pt x="261" y="120"/>
                      <a:pt x="261" y="120"/>
                    </a:cubicBezTo>
                    <a:cubicBezTo>
                      <a:pt x="275" y="130"/>
                      <a:pt x="275" y="130"/>
                      <a:pt x="275" y="130"/>
                    </a:cubicBezTo>
                    <a:cubicBezTo>
                      <a:pt x="275" y="130"/>
                      <a:pt x="286" y="127"/>
                      <a:pt x="289" y="127"/>
                    </a:cubicBezTo>
                    <a:cubicBezTo>
                      <a:pt x="292" y="127"/>
                      <a:pt x="304" y="144"/>
                      <a:pt x="306" y="134"/>
                    </a:cubicBezTo>
                    <a:cubicBezTo>
                      <a:pt x="308" y="124"/>
                      <a:pt x="287" y="113"/>
                      <a:pt x="287" y="113"/>
                    </a:cubicBezTo>
                    <a:cubicBezTo>
                      <a:pt x="287" y="113"/>
                      <a:pt x="272" y="102"/>
                      <a:pt x="278" y="97"/>
                    </a:cubicBezTo>
                    <a:cubicBezTo>
                      <a:pt x="280" y="95"/>
                      <a:pt x="283" y="94"/>
                      <a:pt x="286" y="93"/>
                    </a:cubicBezTo>
                    <a:cubicBezTo>
                      <a:pt x="279" y="86"/>
                      <a:pt x="268" y="76"/>
                      <a:pt x="251" y="75"/>
                    </a:cubicBezTo>
                    <a:cubicBezTo>
                      <a:pt x="251" y="76"/>
                      <a:pt x="256" y="58"/>
                      <a:pt x="256" y="58"/>
                    </a:cubicBezTo>
                    <a:cubicBezTo>
                      <a:pt x="236" y="55"/>
                      <a:pt x="236" y="55"/>
                      <a:pt x="236" y="55"/>
                    </a:cubicBezTo>
                    <a:cubicBezTo>
                      <a:pt x="236" y="55"/>
                      <a:pt x="226" y="40"/>
                      <a:pt x="208" y="42"/>
                    </a:cubicBezTo>
                    <a:cubicBezTo>
                      <a:pt x="190" y="44"/>
                      <a:pt x="198" y="53"/>
                      <a:pt x="179" y="53"/>
                    </a:cubicBezTo>
                    <a:cubicBezTo>
                      <a:pt x="160" y="53"/>
                      <a:pt x="160" y="42"/>
                      <a:pt x="160" y="42"/>
                    </a:cubicBezTo>
                    <a:cubicBezTo>
                      <a:pt x="128" y="22"/>
                      <a:pt x="128" y="22"/>
                      <a:pt x="128" y="22"/>
                    </a:cubicBezTo>
                    <a:cubicBezTo>
                      <a:pt x="128" y="22"/>
                      <a:pt x="108" y="17"/>
                      <a:pt x="95" y="18"/>
                    </a:cubicBezTo>
                    <a:cubicBezTo>
                      <a:pt x="82" y="19"/>
                      <a:pt x="70" y="17"/>
                      <a:pt x="54" y="10"/>
                    </a:cubicBezTo>
                    <a:cubicBezTo>
                      <a:pt x="38" y="3"/>
                      <a:pt x="13" y="0"/>
                      <a:pt x="13" y="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3" y="12"/>
                      <a:pt x="4" y="12"/>
                      <a:pt x="4" y="12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Freeform 268">
                <a:extLst>
                  <a:ext uri="{FF2B5EF4-FFF2-40B4-BE49-F238E27FC236}">
                    <a16:creationId xmlns:a16="http://schemas.microsoft.com/office/drawing/2014/main" id="{29EF4D43-235A-4836-9C63-7DFBE2A8E8E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741" y="-15300"/>
                <a:ext cx="567" cy="459"/>
              </a:xfrm>
              <a:custGeom>
                <a:avLst/>
                <a:gdLst>
                  <a:gd name="T0" fmla="*/ 42 w 240"/>
                  <a:gd name="T1" fmla="*/ 125 h 194"/>
                  <a:gd name="T2" fmla="*/ 31 w 240"/>
                  <a:gd name="T3" fmla="*/ 127 h 194"/>
                  <a:gd name="T4" fmla="*/ 14 w 240"/>
                  <a:gd name="T5" fmla="*/ 116 h 194"/>
                  <a:gd name="T6" fmla="*/ 4 w 240"/>
                  <a:gd name="T7" fmla="*/ 119 h 194"/>
                  <a:gd name="T8" fmla="*/ 14 w 240"/>
                  <a:gd name="T9" fmla="*/ 141 h 194"/>
                  <a:gd name="T10" fmla="*/ 56 w 240"/>
                  <a:gd name="T11" fmla="*/ 163 h 194"/>
                  <a:gd name="T12" fmla="*/ 59 w 240"/>
                  <a:gd name="T13" fmla="*/ 163 h 194"/>
                  <a:gd name="T14" fmla="*/ 50 w 240"/>
                  <a:gd name="T15" fmla="*/ 141 h 194"/>
                  <a:gd name="T16" fmla="*/ 42 w 240"/>
                  <a:gd name="T17" fmla="*/ 125 h 194"/>
                  <a:gd name="T18" fmla="*/ 235 w 240"/>
                  <a:gd name="T19" fmla="*/ 75 h 194"/>
                  <a:gd name="T20" fmla="*/ 205 w 240"/>
                  <a:gd name="T21" fmla="*/ 74 h 194"/>
                  <a:gd name="T22" fmla="*/ 193 w 240"/>
                  <a:gd name="T23" fmla="*/ 56 h 194"/>
                  <a:gd name="T24" fmla="*/ 176 w 240"/>
                  <a:gd name="T25" fmla="*/ 38 h 194"/>
                  <a:gd name="T26" fmla="*/ 177 w 240"/>
                  <a:gd name="T27" fmla="*/ 29 h 194"/>
                  <a:gd name="T28" fmla="*/ 145 w 240"/>
                  <a:gd name="T29" fmla="*/ 2 h 194"/>
                  <a:gd name="T30" fmla="*/ 143 w 240"/>
                  <a:gd name="T31" fmla="*/ 20 h 194"/>
                  <a:gd name="T32" fmla="*/ 126 w 240"/>
                  <a:gd name="T33" fmla="*/ 24 h 194"/>
                  <a:gd name="T34" fmla="*/ 116 w 240"/>
                  <a:gd name="T35" fmla="*/ 38 h 194"/>
                  <a:gd name="T36" fmla="*/ 78 w 240"/>
                  <a:gd name="T37" fmla="*/ 9 h 194"/>
                  <a:gd name="T38" fmla="*/ 43 w 240"/>
                  <a:gd name="T39" fmla="*/ 7 h 194"/>
                  <a:gd name="T40" fmla="*/ 52 w 240"/>
                  <a:gd name="T41" fmla="*/ 23 h 194"/>
                  <a:gd name="T42" fmla="*/ 71 w 240"/>
                  <a:gd name="T43" fmla="*/ 44 h 194"/>
                  <a:gd name="T44" fmla="*/ 54 w 240"/>
                  <a:gd name="T45" fmla="*/ 37 h 194"/>
                  <a:gd name="T46" fmla="*/ 40 w 240"/>
                  <a:gd name="T47" fmla="*/ 40 h 194"/>
                  <a:gd name="T48" fmla="*/ 26 w 240"/>
                  <a:gd name="T49" fmla="*/ 30 h 194"/>
                  <a:gd name="T50" fmla="*/ 15 w 240"/>
                  <a:gd name="T51" fmla="*/ 22 h 194"/>
                  <a:gd name="T52" fmla="*/ 0 w 240"/>
                  <a:gd name="T53" fmla="*/ 33 h 194"/>
                  <a:gd name="T54" fmla="*/ 7 w 240"/>
                  <a:gd name="T55" fmla="*/ 37 h 194"/>
                  <a:gd name="T56" fmla="*/ 6 w 240"/>
                  <a:gd name="T57" fmla="*/ 46 h 194"/>
                  <a:gd name="T58" fmla="*/ 25 w 240"/>
                  <a:gd name="T59" fmla="*/ 54 h 194"/>
                  <a:gd name="T60" fmla="*/ 19 w 240"/>
                  <a:gd name="T61" fmla="*/ 69 h 194"/>
                  <a:gd name="T62" fmla="*/ 49 w 240"/>
                  <a:gd name="T63" fmla="*/ 91 h 194"/>
                  <a:gd name="T64" fmla="*/ 28 w 240"/>
                  <a:gd name="T65" fmla="*/ 100 h 194"/>
                  <a:gd name="T66" fmla="*/ 46 w 240"/>
                  <a:gd name="T67" fmla="*/ 108 h 194"/>
                  <a:gd name="T68" fmla="*/ 56 w 240"/>
                  <a:gd name="T69" fmla="*/ 122 h 194"/>
                  <a:gd name="T70" fmla="*/ 76 w 240"/>
                  <a:gd name="T71" fmla="*/ 124 h 194"/>
                  <a:gd name="T72" fmla="*/ 74 w 240"/>
                  <a:gd name="T73" fmla="*/ 134 h 194"/>
                  <a:gd name="T74" fmla="*/ 78 w 240"/>
                  <a:gd name="T75" fmla="*/ 141 h 194"/>
                  <a:gd name="T76" fmla="*/ 81 w 240"/>
                  <a:gd name="T77" fmla="*/ 162 h 194"/>
                  <a:gd name="T78" fmla="*/ 83 w 240"/>
                  <a:gd name="T79" fmla="*/ 162 h 194"/>
                  <a:gd name="T80" fmla="*/ 97 w 240"/>
                  <a:gd name="T81" fmla="*/ 146 h 194"/>
                  <a:gd name="T82" fmla="*/ 142 w 240"/>
                  <a:gd name="T83" fmla="*/ 115 h 194"/>
                  <a:gd name="T84" fmla="*/ 157 w 240"/>
                  <a:gd name="T85" fmla="*/ 133 h 194"/>
                  <a:gd name="T86" fmla="*/ 150 w 240"/>
                  <a:gd name="T87" fmla="*/ 144 h 194"/>
                  <a:gd name="T88" fmla="*/ 159 w 240"/>
                  <a:gd name="T89" fmla="*/ 157 h 194"/>
                  <a:gd name="T90" fmla="*/ 149 w 240"/>
                  <a:gd name="T91" fmla="*/ 164 h 194"/>
                  <a:gd name="T92" fmla="*/ 168 w 240"/>
                  <a:gd name="T93" fmla="*/ 180 h 194"/>
                  <a:gd name="T94" fmla="*/ 177 w 240"/>
                  <a:gd name="T95" fmla="*/ 189 h 194"/>
                  <a:gd name="T96" fmla="*/ 187 w 240"/>
                  <a:gd name="T97" fmla="*/ 191 h 194"/>
                  <a:gd name="T98" fmla="*/ 188 w 240"/>
                  <a:gd name="T99" fmla="*/ 194 h 194"/>
                  <a:gd name="T100" fmla="*/ 191 w 240"/>
                  <a:gd name="T101" fmla="*/ 174 h 194"/>
                  <a:gd name="T102" fmla="*/ 179 w 240"/>
                  <a:gd name="T103" fmla="*/ 165 h 194"/>
                  <a:gd name="T104" fmla="*/ 190 w 240"/>
                  <a:gd name="T105" fmla="*/ 161 h 194"/>
                  <a:gd name="T106" fmla="*/ 190 w 240"/>
                  <a:gd name="T107" fmla="*/ 142 h 194"/>
                  <a:gd name="T108" fmla="*/ 208 w 240"/>
                  <a:gd name="T109" fmla="*/ 147 h 194"/>
                  <a:gd name="T110" fmla="*/ 198 w 240"/>
                  <a:gd name="T111" fmla="*/ 129 h 194"/>
                  <a:gd name="T112" fmla="*/ 201 w 240"/>
                  <a:gd name="T113" fmla="*/ 116 h 194"/>
                  <a:gd name="T114" fmla="*/ 200 w 240"/>
                  <a:gd name="T115" fmla="*/ 93 h 194"/>
                  <a:gd name="T116" fmla="*/ 210 w 240"/>
                  <a:gd name="T117" fmla="*/ 95 h 194"/>
                  <a:gd name="T118" fmla="*/ 218 w 240"/>
                  <a:gd name="T119" fmla="*/ 86 h 194"/>
                  <a:gd name="T120" fmla="*/ 240 w 240"/>
                  <a:gd name="T121" fmla="*/ 88 h 194"/>
                  <a:gd name="T122" fmla="*/ 235 w 240"/>
                  <a:gd name="T123" fmla="*/ 75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0" h="194">
                    <a:moveTo>
                      <a:pt x="42" y="125"/>
                    </a:moveTo>
                    <a:cubicBezTo>
                      <a:pt x="33" y="124"/>
                      <a:pt x="31" y="127"/>
                      <a:pt x="31" y="127"/>
                    </a:cubicBezTo>
                    <a:cubicBezTo>
                      <a:pt x="31" y="127"/>
                      <a:pt x="21" y="126"/>
                      <a:pt x="14" y="116"/>
                    </a:cubicBezTo>
                    <a:cubicBezTo>
                      <a:pt x="13" y="116"/>
                      <a:pt x="6" y="118"/>
                      <a:pt x="4" y="119"/>
                    </a:cubicBezTo>
                    <a:cubicBezTo>
                      <a:pt x="6" y="125"/>
                      <a:pt x="7" y="135"/>
                      <a:pt x="14" y="141"/>
                    </a:cubicBezTo>
                    <a:cubicBezTo>
                      <a:pt x="24" y="149"/>
                      <a:pt x="41" y="163"/>
                      <a:pt x="56" y="163"/>
                    </a:cubicBezTo>
                    <a:cubicBezTo>
                      <a:pt x="57" y="163"/>
                      <a:pt x="58" y="163"/>
                      <a:pt x="59" y="163"/>
                    </a:cubicBezTo>
                    <a:cubicBezTo>
                      <a:pt x="57" y="156"/>
                      <a:pt x="52" y="144"/>
                      <a:pt x="50" y="141"/>
                    </a:cubicBezTo>
                    <a:cubicBezTo>
                      <a:pt x="47" y="137"/>
                      <a:pt x="51" y="126"/>
                      <a:pt x="42" y="125"/>
                    </a:cubicBezTo>
                    <a:close/>
                    <a:moveTo>
                      <a:pt x="235" y="75"/>
                    </a:moveTo>
                    <a:cubicBezTo>
                      <a:pt x="231" y="67"/>
                      <a:pt x="215" y="74"/>
                      <a:pt x="205" y="74"/>
                    </a:cubicBezTo>
                    <a:cubicBezTo>
                      <a:pt x="195" y="74"/>
                      <a:pt x="193" y="56"/>
                      <a:pt x="193" y="56"/>
                    </a:cubicBezTo>
                    <a:cubicBezTo>
                      <a:pt x="176" y="38"/>
                      <a:pt x="176" y="38"/>
                      <a:pt x="176" y="38"/>
                    </a:cubicBezTo>
                    <a:cubicBezTo>
                      <a:pt x="177" y="29"/>
                      <a:pt x="177" y="29"/>
                      <a:pt x="177" y="29"/>
                    </a:cubicBezTo>
                    <a:cubicBezTo>
                      <a:pt x="145" y="2"/>
                      <a:pt x="145" y="2"/>
                      <a:pt x="145" y="2"/>
                    </a:cubicBezTo>
                    <a:cubicBezTo>
                      <a:pt x="145" y="2"/>
                      <a:pt x="144" y="13"/>
                      <a:pt x="143" y="20"/>
                    </a:cubicBezTo>
                    <a:cubicBezTo>
                      <a:pt x="142" y="27"/>
                      <a:pt x="126" y="24"/>
                      <a:pt x="126" y="24"/>
                    </a:cubicBezTo>
                    <a:cubicBezTo>
                      <a:pt x="126" y="24"/>
                      <a:pt x="132" y="36"/>
                      <a:pt x="116" y="38"/>
                    </a:cubicBezTo>
                    <a:cubicBezTo>
                      <a:pt x="100" y="40"/>
                      <a:pt x="91" y="18"/>
                      <a:pt x="78" y="9"/>
                    </a:cubicBezTo>
                    <a:cubicBezTo>
                      <a:pt x="65" y="0"/>
                      <a:pt x="49" y="2"/>
                      <a:pt x="43" y="7"/>
                    </a:cubicBezTo>
                    <a:cubicBezTo>
                      <a:pt x="37" y="12"/>
                      <a:pt x="52" y="23"/>
                      <a:pt x="52" y="23"/>
                    </a:cubicBezTo>
                    <a:cubicBezTo>
                      <a:pt x="52" y="23"/>
                      <a:pt x="73" y="34"/>
                      <a:pt x="71" y="44"/>
                    </a:cubicBezTo>
                    <a:cubicBezTo>
                      <a:pt x="69" y="54"/>
                      <a:pt x="57" y="37"/>
                      <a:pt x="54" y="37"/>
                    </a:cubicBezTo>
                    <a:cubicBezTo>
                      <a:pt x="51" y="37"/>
                      <a:pt x="40" y="40"/>
                      <a:pt x="40" y="40"/>
                    </a:cubicBezTo>
                    <a:cubicBezTo>
                      <a:pt x="26" y="30"/>
                      <a:pt x="26" y="30"/>
                      <a:pt x="26" y="30"/>
                    </a:cubicBezTo>
                    <a:cubicBezTo>
                      <a:pt x="26" y="30"/>
                      <a:pt x="28" y="23"/>
                      <a:pt x="15" y="22"/>
                    </a:cubicBezTo>
                    <a:cubicBezTo>
                      <a:pt x="5" y="21"/>
                      <a:pt x="1" y="29"/>
                      <a:pt x="0" y="33"/>
                    </a:cubicBezTo>
                    <a:cubicBezTo>
                      <a:pt x="3" y="35"/>
                      <a:pt x="7" y="37"/>
                      <a:pt x="7" y="37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25" y="47"/>
                      <a:pt x="25" y="54"/>
                    </a:cubicBezTo>
                    <a:cubicBezTo>
                      <a:pt x="25" y="61"/>
                      <a:pt x="19" y="69"/>
                      <a:pt x="19" y="69"/>
                    </a:cubicBezTo>
                    <a:cubicBezTo>
                      <a:pt x="19" y="69"/>
                      <a:pt x="50" y="82"/>
                      <a:pt x="49" y="91"/>
                    </a:cubicBezTo>
                    <a:cubicBezTo>
                      <a:pt x="48" y="100"/>
                      <a:pt x="28" y="100"/>
                      <a:pt x="28" y="100"/>
                    </a:cubicBezTo>
                    <a:cubicBezTo>
                      <a:pt x="46" y="108"/>
                      <a:pt x="46" y="108"/>
                      <a:pt x="46" y="108"/>
                    </a:cubicBezTo>
                    <a:cubicBezTo>
                      <a:pt x="56" y="122"/>
                      <a:pt x="56" y="122"/>
                      <a:pt x="56" y="122"/>
                    </a:cubicBezTo>
                    <a:cubicBezTo>
                      <a:pt x="76" y="124"/>
                      <a:pt x="76" y="124"/>
                      <a:pt x="76" y="124"/>
                    </a:cubicBezTo>
                    <a:cubicBezTo>
                      <a:pt x="74" y="134"/>
                      <a:pt x="74" y="134"/>
                      <a:pt x="74" y="134"/>
                    </a:cubicBezTo>
                    <a:cubicBezTo>
                      <a:pt x="78" y="141"/>
                      <a:pt x="78" y="141"/>
                      <a:pt x="78" y="141"/>
                    </a:cubicBezTo>
                    <a:cubicBezTo>
                      <a:pt x="78" y="141"/>
                      <a:pt x="80" y="154"/>
                      <a:pt x="81" y="162"/>
                    </a:cubicBezTo>
                    <a:cubicBezTo>
                      <a:pt x="82" y="162"/>
                      <a:pt x="82" y="162"/>
                      <a:pt x="83" y="162"/>
                    </a:cubicBezTo>
                    <a:cubicBezTo>
                      <a:pt x="86" y="161"/>
                      <a:pt x="94" y="150"/>
                      <a:pt x="97" y="146"/>
                    </a:cubicBezTo>
                    <a:cubicBezTo>
                      <a:pt x="100" y="142"/>
                      <a:pt x="136" y="115"/>
                      <a:pt x="142" y="115"/>
                    </a:cubicBezTo>
                    <a:cubicBezTo>
                      <a:pt x="148" y="115"/>
                      <a:pt x="155" y="127"/>
                      <a:pt x="157" y="133"/>
                    </a:cubicBezTo>
                    <a:cubicBezTo>
                      <a:pt x="159" y="139"/>
                      <a:pt x="150" y="139"/>
                      <a:pt x="150" y="144"/>
                    </a:cubicBezTo>
                    <a:cubicBezTo>
                      <a:pt x="150" y="149"/>
                      <a:pt x="159" y="151"/>
                      <a:pt x="159" y="157"/>
                    </a:cubicBezTo>
                    <a:cubicBezTo>
                      <a:pt x="159" y="163"/>
                      <a:pt x="149" y="159"/>
                      <a:pt x="149" y="164"/>
                    </a:cubicBezTo>
                    <a:cubicBezTo>
                      <a:pt x="149" y="169"/>
                      <a:pt x="162" y="177"/>
                      <a:pt x="168" y="180"/>
                    </a:cubicBezTo>
                    <a:cubicBezTo>
                      <a:pt x="174" y="183"/>
                      <a:pt x="177" y="189"/>
                      <a:pt x="177" y="189"/>
                    </a:cubicBezTo>
                    <a:cubicBezTo>
                      <a:pt x="187" y="191"/>
                      <a:pt x="187" y="191"/>
                      <a:pt x="187" y="191"/>
                    </a:cubicBezTo>
                    <a:cubicBezTo>
                      <a:pt x="187" y="191"/>
                      <a:pt x="187" y="192"/>
                      <a:pt x="188" y="194"/>
                    </a:cubicBezTo>
                    <a:cubicBezTo>
                      <a:pt x="190" y="187"/>
                      <a:pt x="192" y="178"/>
                      <a:pt x="191" y="174"/>
                    </a:cubicBezTo>
                    <a:cubicBezTo>
                      <a:pt x="189" y="168"/>
                      <a:pt x="179" y="165"/>
                      <a:pt x="179" y="165"/>
                    </a:cubicBezTo>
                    <a:cubicBezTo>
                      <a:pt x="190" y="161"/>
                      <a:pt x="190" y="161"/>
                      <a:pt x="190" y="161"/>
                    </a:cubicBezTo>
                    <a:cubicBezTo>
                      <a:pt x="190" y="142"/>
                      <a:pt x="190" y="142"/>
                      <a:pt x="190" y="142"/>
                    </a:cubicBezTo>
                    <a:cubicBezTo>
                      <a:pt x="190" y="142"/>
                      <a:pt x="202" y="155"/>
                      <a:pt x="208" y="147"/>
                    </a:cubicBezTo>
                    <a:cubicBezTo>
                      <a:pt x="214" y="139"/>
                      <a:pt x="198" y="129"/>
                      <a:pt x="198" y="129"/>
                    </a:cubicBezTo>
                    <a:cubicBezTo>
                      <a:pt x="201" y="116"/>
                      <a:pt x="201" y="116"/>
                      <a:pt x="201" y="116"/>
                    </a:cubicBezTo>
                    <a:cubicBezTo>
                      <a:pt x="200" y="93"/>
                      <a:pt x="200" y="93"/>
                      <a:pt x="200" y="93"/>
                    </a:cubicBezTo>
                    <a:cubicBezTo>
                      <a:pt x="210" y="95"/>
                      <a:pt x="210" y="95"/>
                      <a:pt x="210" y="95"/>
                    </a:cubicBezTo>
                    <a:cubicBezTo>
                      <a:pt x="218" y="86"/>
                      <a:pt x="218" y="86"/>
                      <a:pt x="218" y="86"/>
                    </a:cubicBezTo>
                    <a:cubicBezTo>
                      <a:pt x="240" y="88"/>
                      <a:pt x="240" y="88"/>
                      <a:pt x="240" y="88"/>
                    </a:cubicBezTo>
                    <a:cubicBezTo>
                      <a:pt x="240" y="88"/>
                      <a:pt x="239" y="83"/>
                      <a:pt x="235" y="75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Freeform 269">
                <a:extLst>
                  <a:ext uri="{FF2B5EF4-FFF2-40B4-BE49-F238E27FC236}">
                    <a16:creationId xmlns:a16="http://schemas.microsoft.com/office/drawing/2014/main" id="{548D3D67-8A50-9A8C-5A50-720C18F185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146" y="-16592"/>
                <a:ext cx="1772" cy="981"/>
              </a:xfrm>
              <a:custGeom>
                <a:avLst/>
                <a:gdLst>
                  <a:gd name="T0" fmla="*/ 51 w 750"/>
                  <a:gd name="T1" fmla="*/ 223 h 415"/>
                  <a:gd name="T2" fmla="*/ 79 w 750"/>
                  <a:gd name="T3" fmla="*/ 232 h 415"/>
                  <a:gd name="T4" fmla="*/ 132 w 750"/>
                  <a:gd name="T5" fmla="*/ 230 h 415"/>
                  <a:gd name="T6" fmla="*/ 166 w 750"/>
                  <a:gd name="T7" fmla="*/ 227 h 415"/>
                  <a:gd name="T8" fmla="*/ 209 w 750"/>
                  <a:gd name="T9" fmla="*/ 209 h 415"/>
                  <a:gd name="T10" fmla="*/ 243 w 750"/>
                  <a:gd name="T11" fmla="*/ 208 h 415"/>
                  <a:gd name="T12" fmla="*/ 274 w 750"/>
                  <a:gd name="T13" fmla="*/ 225 h 415"/>
                  <a:gd name="T14" fmla="*/ 296 w 750"/>
                  <a:gd name="T15" fmla="*/ 259 h 415"/>
                  <a:gd name="T16" fmla="*/ 311 w 750"/>
                  <a:gd name="T17" fmla="*/ 278 h 415"/>
                  <a:gd name="T18" fmla="*/ 317 w 750"/>
                  <a:gd name="T19" fmla="*/ 310 h 415"/>
                  <a:gd name="T20" fmla="*/ 304 w 750"/>
                  <a:gd name="T21" fmla="*/ 321 h 415"/>
                  <a:gd name="T22" fmla="*/ 283 w 750"/>
                  <a:gd name="T23" fmla="*/ 356 h 415"/>
                  <a:gd name="T24" fmla="*/ 281 w 750"/>
                  <a:gd name="T25" fmla="*/ 370 h 415"/>
                  <a:gd name="T26" fmla="*/ 323 w 750"/>
                  <a:gd name="T27" fmla="*/ 353 h 415"/>
                  <a:gd name="T28" fmla="*/ 391 w 750"/>
                  <a:gd name="T29" fmla="*/ 301 h 415"/>
                  <a:gd name="T30" fmla="*/ 436 w 750"/>
                  <a:gd name="T31" fmla="*/ 299 h 415"/>
                  <a:gd name="T32" fmla="*/ 420 w 750"/>
                  <a:gd name="T33" fmla="*/ 310 h 415"/>
                  <a:gd name="T34" fmla="*/ 488 w 750"/>
                  <a:gd name="T35" fmla="*/ 324 h 415"/>
                  <a:gd name="T36" fmla="*/ 499 w 750"/>
                  <a:gd name="T37" fmla="*/ 381 h 415"/>
                  <a:gd name="T38" fmla="*/ 542 w 750"/>
                  <a:gd name="T39" fmla="*/ 396 h 415"/>
                  <a:gd name="T40" fmla="*/ 591 w 750"/>
                  <a:gd name="T41" fmla="*/ 385 h 415"/>
                  <a:gd name="T42" fmla="*/ 622 w 750"/>
                  <a:gd name="T43" fmla="*/ 361 h 415"/>
                  <a:gd name="T44" fmla="*/ 553 w 750"/>
                  <a:gd name="T45" fmla="*/ 352 h 415"/>
                  <a:gd name="T46" fmla="*/ 503 w 750"/>
                  <a:gd name="T47" fmla="*/ 328 h 415"/>
                  <a:gd name="T48" fmla="*/ 537 w 750"/>
                  <a:gd name="T49" fmla="*/ 322 h 415"/>
                  <a:gd name="T50" fmla="*/ 588 w 750"/>
                  <a:gd name="T51" fmla="*/ 297 h 415"/>
                  <a:gd name="T52" fmla="*/ 679 w 750"/>
                  <a:gd name="T53" fmla="*/ 273 h 415"/>
                  <a:gd name="T54" fmla="*/ 703 w 750"/>
                  <a:gd name="T55" fmla="*/ 231 h 415"/>
                  <a:gd name="T56" fmla="*/ 727 w 750"/>
                  <a:gd name="T57" fmla="*/ 189 h 415"/>
                  <a:gd name="T58" fmla="*/ 742 w 750"/>
                  <a:gd name="T59" fmla="*/ 166 h 415"/>
                  <a:gd name="T60" fmla="*/ 709 w 750"/>
                  <a:gd name="T61" fmla="*/ 136 h 415"/>
                  <a:gd name="T62" fmla="*/ 662 w 750"/>
                  <a:gd name="T63" fmla="*/ 119 h 415"/>
                  <a:gd name="T64" fmla="*/ 620 w 750"/>
                  <a:gd name="T65" fmla="*/ 100 h 415"/>
                  <a:gd name="T66" fmla="*/ 578 w 750"/>
                  <a:gd name="T67" fmla="*/ 106 h 415"/>
                  <a:gd name="T68" fmla="*/ 540 w 750"/>
                  <a:gd name="T69" fmla="*/ 99 h 415"/>
                  <a:gd name="T70" fmla="*/ 482 w 750"/>
                  <a:gd name="T71" fmla="*/ 56 h 415"/>
                  <a:gd name="T72" fmla="*/ 486 w 750"/>
                  <a:gd name="T73" fmla="*/ 26 h 415"/>
                  <a:gd name="T74" fmla="*/ 431 w 750"/>
                  <a:gd name="T75" fmla="*/ 1 h 415"/>
                  <a:gd name="T76" fmla="*/ 398 w 750"/>
                  <a:gd name="T77" fmla="*/ 16 h 415"/>
                  <a:gd name="T78" fmla="*/ 327 w 750"/>
                  <a:gd name="T79" fmla="*/ 53 h 415"/>
                  <a:gd name="T80" fmla="*/ 273 w 750"/>
                  <a:gd name="T81" fmla="*/ 39 h 415"/>
                  <a:gd name="T82" fmla="*/ 247 w 750"/>
                  <a:gd name="T83" fmla="*/ 46 h 415"/>
                  <a:gd name="T84" fmla="*/ 224 w 750"/>
                  <a:gd name="T85" fmla="*/ 38 h 415"/>
                  <a:gd name="T86" fmla="*/ 202 w 750"/>
                  <a:gd name="T87" fmla="*/ 40 h 415"/>
                  <a:gd name="T88" fmla="*/ 157 w 750"/>
                  <a:gd name="T89" fmla="*/ 28 h 415"/>
                  <a:gd name="T90" fmla="*/ 103 w 750"/>
                  <a:gd name="T91" fmla="*/ 27 h 415"/>
                  <a:gd name="T92" fmla="*/ 47 w 750"/>
                  <a:gd name="T93" fmla="*/ 40 h 415"/>
                  <a:gd name="T94" fmla="*/ 75 w 750"/>
                  <a:gd name="T95" fmla="*/ 76 h 415"/>
                  <a:gd name="T96" fmla="*/ 58 w 750"/>
                  <a:gd name="T97" fmla="*/ 103 h 415"/>
                  <a:gd name="T98" fmla="*/ 30 w 750"/>
                  <a:gd name="T99" fmla="*/ 174 h 415"/>
                  <a:gd name="T100" fmla="*/ 1 w 750"/>
                  <a:gd name="T101" fmla="*/ 194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50" h="415">
                    <a:moveTo>
                      <a:pt x="16" y="215"/>
                    </a:moveTo>
                    <a:cubicBezTo>
                      <a:pt x="22" y="216"/>
                      <a:pt x="38" y="223"/>
                      <a:pt x="38" y="223"/>
                    </a:cubicBezTo>
                    <a:cubicBezTo>
                      <a:pt x="38" y="223"/>
                      <a:pt x="47" y="223"/>
                      <a:pt x="51" y="223"/>
                    </a:cubicBezTo>
                    <a:cubicBezTo>
                      <a:pt x="55" y="223"/>
                      <a:pt x="57" y="230"/>
                      <a:pt x="57" y="230"/>
                    </a:cubicBezTo>
                    <a:cubicBezTo>
                      <a:pt x="73" y="227"/>
                      <a:pt x="73" y="227"/>
                      <a:pt x="73" y="227"/>
                    </a:cubicBezTo>
                    <a:cubicBezTo>
                      <a:pt x="79" y="232"/>
                      <a:pt x="79" y="232"/>
                      <a:pt x="79" y="232"/>
                    </a:cubicBezTo>
                    <a:cubicBezTo>
                      <a:pt x="79" y="232"/>
                      <a:pt x="94" y="224"/>
                      <a:pt x="100" y="225"/>
                    </a:cubicBezTo>
                    <a:cubicBezTo>
                      <a:pt x="106" y="226"/>
                      <a:pt x="112" y="245"/>
                      <a:pt x="122" y="242"/>
                    </a:cubicBezTo>
                    <a:cubicBezTo>
                      <a:pt x="132" y="239"/>
                      <a:pt x="132" y="230"/>
                      <a:pt x="132" y="230"/>
                    </a:cubicBezTo>
                    <a:cubicBezTo>
                      <a:pt x="149" y="233"/>
                      <a:pt x="149" y="233"/>
                      <a:pt x="149" y="233"/>
                    </a:cubicBezTo>
                    <a:cubicBezTo>
                      <a:pt x="153" y="226"/>
                      <a:pt x="153" y="226"/>
                      <a:pt x="153" y="226"/>
                    </a:cubicBezTo>
                    <a:cubicBezTo>
                      <a:pt x="153" y="226"/>
                      <a:pt x="156" y="227"/>
                      <a:pt x="166" y="227"/>
                    </a:cubicBezTo>
                    <a:cubicBezTo>
                      <a:pt x="176" y="227"/>
                      <a:pt x="174" y="209"/>
                      <a:pt x="191" y="212"/>
                    </a:cubicBezTo>
                    <a:cubicBezTo>
                      <a:pt x="193" y="204"/>
                      <a:pt x="193" y="204"/>
                      <a:pt x="193" y="204"/>
                    </a:cubicBezTo>
                    <a:cubicBezTo>
                      <a:pt x="193" y="204"/>
                      <a:pt x="203" y="210"/>
                      <a:pt x="209" y="209"/>
                    </a:cubicBezTo>
                    <a:cubicBezTo>
                      <a:pt x="215" y="208"/>
                      <a:pt x="215" y="203"/>
                      <a:pt x="224" y="202"/>
                    </a:cubicBezTo>
                    <a:cubicBezTo>
                      <a:pt x="233" y="201"/>
                      <a:pt x="239" y="210"/>
                      <a:pt x="239" y="210"/>
                    </a:cubicBezTo>
                    <a:cubicBezTo>
                      <a:pt x="243" y="208"/>
                      <a:pt x="243" y="208"/>
                      <a:pt x="243" y="208"/>
                    </a:cubicBezTo>
                    <a:cubicBezTo>
                      <a:pt x="243" y="208"/>
                      <a:pt x="239" y="213"/>
                      <a:pt x="248" y="213"/>
                    </a:cubicBezTo>
                    <a:cubicBezTo>
                      <a:pt x="257" y="213"/>
                      <a:pt x="264" y="210"/>
                      <a:pt x="269" y="214"/>
                    </a:cubicBezTo>
                    <a:cubicBezTo>
                      <a:pt x="274" y="218"/>
                      <a:pt x="274" y="225"/>
                      <a:pt x="274" y="225"/>
                    </a:cubicBezTo>
                    <a:cubicBezTo>
                      <a:pt x="274" y="225"/>
                      <a:pt x="283" y="219"/>
                      <a:pt x="294" y="227"/>
                    </a:cubicBezTo>
                    <a:cubicBezTo>
                      <a:pt x="305" y="235"/>
                      <a:pt x="296" y="244"/>
                      <a:pt x="296" y="244"/>
                    </a:cubicBezTo>
                    <a:cubicBezTo>
                      <a:pt x="296" y="244"/>
                      <a:pt x="293" y="259"/>
                      <a:pt x="296" y="259"/>
                    </a:cubicBezTo>
                    <a:cubicBezTo>
                      <a:pt x="299" y="259"/>
                      <a:pt x="308" y="257"/>
                      <a:pt x="308" y="257"/>
                    </a:cubicBezTo>
                    <a:cubicBezTo>
                      <a:pt x="313" y="262"/>
                      <a:pt x="313" y="262"/>
                      <a:pt x="313" y="262"/>
                    </a:cubicBezTo>
                    <a:cubicBezTo>
                      <a:pt x="313" y="262"/>
                      <a:pt x="304" y="276"/>
                      <a:pt x="311" y="278"/>
                    </a:cubicBezTo>
                    <a:cubicBezTo>
                      <a:pt x="318" y="280"/>
                      <a:pt x="331" y="277"/>
                      <a:pt x="332" y="284"/>
                    </a:cubicBezTo>
                    <a:cubicBezTo>
                      <a:pt x="333" y="291"/>
                      <a:pt x="334" y="305"/>
                      <a:pt x="334" y="305"/>
                    </a:cubicBezTo>
                    <a:cubicBezTo>
                      <a:pt x="334" y="305"/>
                      <a:pt x="324" y="309"/>
                      <a:pt x="317" y="310"/>
                    </a:cubicBezTo>
                    <a:cubicBezTo>
                      <a:pt x="310" y="311"/>
                      <a:pt x="304" y="303"/>
                      <a:pt x="304" y="303"/>
                    </a:cubicBezTo>
                    <a:cubicBezTo>
                      <a:pt x="304" y="303"/>
                      <a:pt x="287" y="303"/>
                      <a:pt x="288" y="307"/>
                    </a:cubicBezTo>
                    <a:cubicBezTo>
                      <a:pt x="289" y="311"/>
                      <a:pt x="304" y="321"/>
                      <a:pt x="304" y="321"/>
                    </a:cubicBezTo>
                    <a:cubicBezTo>
                      <a:pt x="295" y="330"/>
                      <a:pt x="295" y="330"/>
                      <a:pt x="295" y="330"/>
                    </a:cubicBezTo>
                    <a:cubicBezTo>
                      <a:pt x="295" y="330"/>
                      <a:pt x="279" y="338"/>
                      <a:pt x="279" y="342"/>
                    </a:cubicBezTo>
                    <a:cubicBezTo>
                      <a:pt x="279" y="346"/>
                      <a:pt x="283" y="356"/>
                      <a:pt x="283" y="356"/>
                    </a:cubicBezTo>
                    <a:cubicBezTo>
                      <a:pt x="266" y="359"/>
                      <a:pt x="266" y="359"/>
                      <a:pt x="266" y="359"/>
                    </a:cubicBezTo>
                    <a:cubicBezTo>
                      <a:pt x="263" y="353"/>
                      <a:pt x="264" y="348"/>
                      <a:pt x="264" y="345"/>
                    </a:cubicBezTo>
                    <a:cubicBezTo>
                      <a:pt x="263" y="350"/>
                      <a:pt x="263" y="367"/>
                      <a:pt x="281" y="370"/>
                    </a:cubicBezTo>
                    <a:cubicBezTo>
                      <a:pt x="302" y="373"/>
                      <a:pt x="298" y="359"/>
                      <a:pt x="310" y="360"/>
                    </a:cubicBezTo>
                    <a:cubicBezTo>
                      <a:pt x="319" y="361"/>
                      <a:pt x="323" y="357"/>
                      <a:pt x="324" y="355"/>
                    </a:cubicBezTo>
                    <a:cubicBezTo>
                      <a:pt x="324" y="353"/>
                      <a:pt x="323" y="353"/>
                      <a:pt x="323" y="353"/>
                    </a:cubicBezTo>
                    <a:cubicBezTo>
                      <a:pt x="323" y="353"/>
                      <a:pt x="340" y="346"/>
                      <a:pt x="348" y="340"/>
                    </a:cubicBezTo>
                    <a:cubicBezTo>
                      <a:pt x="357" y="334"/>
                      <a:pt x="370" y="310"/>
                      <a:pt x="370" y="310"/>
                    </a:cubicBezTo>
                    <a:cubicBezTo>
                      <a:pt x="391" y="301"/>
                      <a:pt x="391" y="301"/>
                      <a:pt x="391" y="301"/>
                    </a:cubicBezTo>
                    <a:cubicBezTo>
                      <a:pt x="400" y="290"/>
                      <a:pt x="400" y="290"/>
                      <a:pt x="400" y="290"/>
                    </a:cubicBezTo>
                    <a:cubicBezTo>
                      <a:pt x="411" y="295"/>
                      <a:pt x="411" y="295"/>
                      <a:pt x="411" y="295"/>
                    </a:cubicBezTo>
                    <a:cubicBezTo>
                      <a:pt x="411" y="295"/>
                      <a:pt x="433" y="299"/>
                      <a:pt x="436" y="299"/>
                    </a:cubicBezTo>
                    <a:cubicBezTo>
                      <a:pt x="439" y="299"/>
                      <a:pt x="447" y="293"/>
                      <a:pt x="447" y="293"/>
                    </a:cubicBezTo>
                    <a:cubicBezTo>
                      <a:pt x="435" y="309"/>
                      <a:pt x="435" y="309"/>
                      <a:pt x="435" y="309"/>
                    </a:cubicBezTo>
                    <a:cubicBezTo>
                      <a:pt x="435" y="309"/>
                      <a:pt x="417" y="303"/>
                      <a:pt x="420" y="310"/>
                    </a:cubicBezTo>
                    <a:cubicBezTo>
                      <a:pt x="423" y="317"/>
                      <a:pt x="443" y="322"/>
                      <a:pt x="443" y="322"/>
                    </a:cubicBezTo>
                    <a:cubicBezTo>
                      <a:pt x="475" y="323"/>
                      <a:pt x="475" y="323"/>
                      <a:pt x="475" y="323"/>
                    </a:cubicBezTo>
                    <a:cubicBezTo>
                      <a:pt x="488" y="324"/>
                      <a:pt x="488" y="324"/>
                      <a:pt x="488" y="324"/>
                    </a:cubicBezTo>
                    <a:cubicBezTo>
                      <a:pt x="495" y="335"/>
                      <a:pt x="495" y="335"/>
                      <a:pt x="495" y="335"/>
                    </a:cubicBezTo>
                    <a:cubicBezTo>
                      <a:pt x="495" y="335"/>
                      <a:pt x="449" y="361"/>
                      <a:pt x="452" y="364"/>
                    </a:cubicBezTo>
                    <a:cubicBezTo>
                      <a:pt x="455" y="367"/>
                      <a:pt x="497" y="368"/>
                      <a:pt x="499" y="381"/>
                    </a:cubicBezTo>
                    <a:cubicBezTo>
                      <a:pt x="501" y="395"/>
                      <a:pt x="489" y="409"/>
                      <a:pt x="494" y="411"/>
                    </a:cubicBezTo>
                    <a:cubicBezTo>
                      <a:pt x="500" y="413"/>
                      <a:pt x="521" y="415"/>
                      <a:pt x="521" y="415"/>
                    </a:cubicBezTo>
                    <a:cubicBezTo>
                      <a:pt x="521" y="415"/>
                      <a:pt x="535" y="396"/>
                      <a:pt x="542" y="396"/>
                    </a:cubicBezTo>
                    <a:cubicBezTo>
                      <a:pt x="550" y="396"/>
                      <a:pt x="553" y="402"/>
                      <a:pt x="563" y="396"/>
                    </a:cubicBezTo>
                    <a:cubicBezTo>
                      <a:pt x="573" y="390"/>
                      <a:pt x="571" y="378"/>
                      <a:pt x="578" y="377"/>
                    </a:cubicBezTo>
                    <a:cubicBezTo>
                      <a:pt x="585" y="376"/>
                      <a:pt x="591" y="385"/>
                      <a:pt x="591" y="385"/>
                    </a:cubicBezTo>
                    <a:cubicBezTo>
                      <a:pt x="614" y="381"/>
                      <a:pt x="614" y="381"/>
                      <a:pt x="614" y="381"/>
                    </a:cubicBezTo>
                    <a:cubicBezTo>
                      <a:pt x="616" y="370"/>
                      <a:pt x="616" y="370"/>
                      <a:pt x="616" y="370"/>
                    </a:cubicBezTo>
                    <a:cubicBezTo>
                      <a:pt x="622" y="361"/>
                      <a:pt x="622" y="361"/>
                      <a:pt x="622" y="361"/>
                    </a:cubicBezTo>
                    <a:cubicBezTo>
                      <a:pt x="622" y="361"/>
                      <a:pt x="608" y="355"/>
                      <a:pt x="602" y="361"/>
                    </a:cubicBezTo>
                    <a:cubicBezTo>
                      <a:pt x="596" y="367"/>
                      <a:pt x="572" y="368"/>
                      <a:pt x="572" y="368"/>
                    </a:cubicBezTo>
                    <a:cubicBezTo>
                      <a:pt x="572" y="368"/>
                      <a:pt x="554" y="362"/>
                      <a:pt x="553" y="352"/>
                    </a:cubicBezTo>
                    <a:cubicBezTo>
                      <a:pt x="552" y="342"/>
                      <a:pt x="540" y="343"/>
                      <a:pt x="540" y="343"/>
                    </a:cubicBezTo>
                    <a:cubicBezTo>
                      <a:pt x="528" y="330"/>
                      <a:pt x="528" y="330"/>
                      <a:pt x="528" y="330"/>
                    </a:cubicBezTo>
                    <a:cubicBezTo>
                      <a:pt x="503" y="328"/>
                      <a:pt x="503" y="328"/>
                      <a:pt x="503" y="328"/>
                    </a:cubicBezTo>
                    <a:cubicBezTo>
                      <a:pt x="496" y="320"/>
                      <a:pt x="496" y="320"/>
                      <a:pt x="496" y="320"/>
                    </a:cubicBezTo>
                    <a:cubicBezTo>
                      <a:pt x="512" y="319"/>
                      <a:pt x="512" y="319"/>
                      <a:pt x="512" y="319"/>
                    </a:cubicBezTo>
                    <a:cubicBezTo>
                      <a:pt x="512" y="319"/>
                      <a:pt x="531" y="323"/>
                      <a:pt x="537" y="322"/>
                    </a:cubicBezTo>
                    <a:cubicBezTo>
                      <a:pt x="544" y="320"/>
                      <a:pt x="559" y="308"/>
                      <a:pt x="559" y="308"/>
                    </a:cubicBezTo>
                    <a:cubicBezTo>
                      <a:pt x="565" y="313"/>
                      <a:pt x="565" y="313"/>
                      <a:pt x="565" y="313"/>
                    </a:cubicBezTo>
                    <a:cubicBezTo>
                      <a:pt x="565" y="313"/>
                      <a:pt x="579" y="300"/>
                      <a:pt x="588" y="297"/>
                    </a:cubicBezTo>
                    <a:cubicBezTo>
                      <a:pt x="598" y="294"/>
                      <a:pt x="624" y="293"/>
                      <a:pt x="624" y="293"/>
                    </a:cubicBezTo>
                    <a:cubicBezTo>
                      <a:pt x="652" y="271"/>
                      <a:pt x="652" y="271"/>
                      <a:pt x="652" y="271"/>
                    </a:cubicBezTo>
                    <a:cubicBezTo>
                      <a:pt x="652" y="271"/>
                      <a:pt x="667" y="278"/>
                      <a:pt x="679" y="273"/>
                    </a:cubicBezTo>
                    <a:cubicBezTo>
                      <a:pt x="676" y="248"/>
                      <a:pt x="676" y="248"/>
                      <a:pt x="676" y="248"/>
                    </a:cubicBezTo>
                    <a:cubicBezTo>
                      <a:pt x="676" y="248"/>
                      <a:pt x="689" y="248"/>
                      <a:pt x="692" y="244"/>
                    </a:cubicBezTo>
                    <a:cubicBezTo>
                      <a:pt x="695" y="240"/>
                      <a:pt x="703" y="231"/>
                      <a:pt x="703" y="231"/>
                    </a:cubicBezTo>
                    <a:cubicBezTo>
                      <a:pt x="703" y="231"/>
                      <a:pt x="726" y="233"/>
                      <a:pt x="738" y="229"/>
                    </a:cubicBezTo>
                    <a:cubicBezTo>
                      <a:pt x="750" y="225"/>
                      <a:pt x="742" y="212"/>
                      <a:pt x="741" y="206"/>
                    </a:cubicBezTo>
                    <a:cubicBezTo>
                      <a:pt x="740" y="200"/>
                      <a:pt x="728" y="192"/>
                      <a:pt x="727" y="189"/>
                    </a:cubicBezTo>
                    <a:cubicBezTo>
                      <a:pt x="726" y="186"/>
                      <a:pt x="743" y="188"/>
                      <a:pt x="744" y="182"/>
                    </a:cubicBezTo>
                    <a:cubicBezTo>
                      <a:pt x="745" y="176"/>
                      <a:pt x="728" y="173"/>
                      <a:pt x="728" y="173"/>
                    </a:cubicBezTo>
                    <a:cubicBezTo>
                      <a:pt x="742" y="166"/>
                      <a:pt x="742" y="166"/>
                      <a:pt x="742" y="166"/>
                    </a:cubicBezTo>
                    <a:cubicBezTo>
                      <a:pt x="742" y="166"/>
                      <a:pt x="741" y="159"/>
                      <a:pt x="740" y="149"/>
                    </a:cubicBezTo>
                    <a:cubicBezTo>
                      <a:pt x="739" y="139"/>
                      <a:pt x="722" y="145"/>
                      <a:pt x="722" y="145"/>
                    </a:cubicBezTo>
                    <a:cubicBezTo>
                      <a:pt x="709" y="136"/>
                      <a:pt x="709" y="136"/>
                      <a:pt x="709" y="136"/>
                    </a:cubicBezTo>
                    <a:cubicBezTo>
                      <a:pt x="709" y="136"/>
                      <a:pt x="707" y="130"/>
                      <a:pt x="700" y="128"/>
                    </a:cubicBezTo>
                    <a:cubicBezTo>
                      <a:pt x="693" y="126"/>
                      <a:pt x="679" y="128"/>
                      <a:pt x="679" y="128"/>
                    </a:cubicBezTo>
                    <a:cubicBezTo>
                      <a:pt x="679" y="128"/>
                      <a:pt x="666" y="119"/>
                      <a:pt x="662" y="119"/>
                    </a:cubicBezTo>
                    <a:cubicBezTo>
                      <a:pt x="658" y="119"/>
                      <a:pt x="646" y="125"/>
                      <a:pt x="646" y="125"/>
                    </a:cubicBezTo>
                    <a:cubicBezTo>
                      <a:pt x="646" y="125"/>
                      <a:pt x="643" y="120"/>
                      <a:pt x="637" y="116"/>
                    </a:cubicBezTo>
                    <a:cubicBezTo>
                      <a:pt x="631" y="112"/>
                      <a:pt x="629" y="101"/>
                      <a:pt x="620" y="100"/>
                    </a:cubicBezTo>
                    <a:cubicBezTo>
                      <a:pt x="611" y="99"/>
                      <a:pt x="615" y="109"/>
                      <a:pt x="615" y="109"/>
                    </a:cubicBezTo>
                    <a:cubicBezTo>
                      <a:pt x="615" y="109"/>
                      <a:pt x="606" y="103"/>
                      <a:pt x="595" y="104"/>
                    </a:cubicBezTo>
                    <a:cubicBezTo>
                      <a:pt x="584" y="105"/>
                      <a:pt x="586" y="110"/>
                      <a:pt x="578" y="106"/>
                    </a:cubicBezTo>
                    <a:cubicBezTo>
                      <a:pt x="570" y="102"/>
                      <a:pt x="562" y="98"/>
                      <a:pt x="562" y="98"/>
                    </a:cubicBezTo>
                    <a:cubicBezTo>
                      <a:pt x="544" y="102"/>
                      <a:pt x="544" y="102"/>
                      <a:pt x="544" y="102"/>
                    </a:cubicBezTo>
                    <a:cubicBezTo>
                      <a:pt x="540" y="99"/>
                      <a:pt x="540" y="99"/>
                      <a:pt x="540" y="99"/>
                    </a:cubicBezTo>
                    <a:cubicBezTo>
                      <a:pt x="533" y="70"/>
                      <a:pt x="533" y="70"/>
                      <a:pt x="533" y="70"/>
                    </a:cubicBezTo>
                    <a:cubicBezTo>
                      <a:pt x="505" y="58"/>
                      <a:pt x="505" y="58"/>
                      <a:pt x="505" y="58"/>
                    </a:cubicBezTo>
                    <a:cubicBezTo>
                      <a:pt x="482" y="56"/>
                      <a:pt x="482" y="56"/>
                      <a:pt x="482" y="56"/>
                    </a:cubicBezTo>
                    <a:cubicBezTo>
                      <a:pt x="481" y="45"/>
                      <a:pt x="481" y="45"/>
                      <a:pt x="481" y="45"/>
                    </a:cubicBezTo>
                    <a:cubicBezTo>
                      <a:pt x="476" y="33"/>
                      <a:pt x="476" y="33"/>
                      <a:pt x="476" y="33"/>
                    </a:cubicBezTo>
                    <a:cubicBezTo>
                      <a:pt x="476" y="33"/>
                      <a:pt x="484" y="32"/>
                      <a:pt x="486" y="26"/>
                    </a:cubicBezTo>
                    <a:cubicBezTo>
                      <a:pt x="488" y="20"/>
                      <a:pt x="467" y="14"/>
                      <a:pt x="467" y="14"/>
                    </a:cubicBezTo>
                    <a:cubicBezTo>
                      <a:pt x="461" y="0"/>
                      <a:pt x="461" y="0"/>
                      <a:pt x="461" y="0"/>
                    </a:cubicBezTo>
                    <a:cubicBezTo>
                      <a:pt x="431" y="1"/>
                      <a:pt x="431" y="1"/>
                      <a:pt x="431" y="1"/>
                    </a:cubicBezTo>
                    <a:cubicBezTo>
                      <a:pt x="420" y="6"/>
                      <a:pt x="420" y="6"/>
                      <a:pt x="420" y="6"/>
                    </a:cubicBezTo>
                    <a:cubicBezTo>
                      <a:pt x="402" y="3"/>
                      <a:pt x="402" y="3"/>
                      <a:pt x="402" y="3"/>
                    </a:cubicBezTo>
                    <a:cubicBezTo>
                      <a:pt x="402" y="3"/>
                      <a:pt x="406" y="12"/>
                      <a:pt x="398" y="16"/>
                    </a:cubicBezTo>
                    <a:cubicBezTo>
                      <a:pt x="390" y="20"/>
                      <a:pt x="356" y="12"/>
                      <a:pt x="349" y="12"/>
                    </a:cubicBezTo>
                    <a:cubicBezTo>
                      <a:pt x="342" y="12"/>
                      <a:pt x="326" y="37"/>
                      <a:pt x="326" y="37"/>
                    </a:cubicBezTo>
                    <a:cubicBezTo>
                      <a:pt x="326" y="37"/>
                      <a:pt x="336" y="50"/>
                      <a:pt x="327" y="53"/>
                    </a:cubicBezTo>
                    <a:cubicBezTo>
                      <a:pt x="318" y="56"/>
                      <a:pt x="304" y="47"/>
                      <a:pt x="304" y="47"/>
                    </a:cubicBezTo>
                    <a:cubicBezTo>
                      <a:pt x="304" y="47"/>
                      <a:pt x="293" y="50"/>
                      <a:pt x="285" y="51"/>
                    </a:cubicBezTo>
                    <a:cubicBezTo>
                      <a:pt x="277" y="52"/>
                      <a:pt x="285" y="40"/>
                      <a:pt x="273" y="39"/>
                    </a:cubicBezTo>
                    <a:cubicBezTo>
                      <a:pt x="261" y="38"/>
                      <a:pt x="262" y="48"/>
                      <a:pt x="262" y="48"/>
                    </a:cubicBezTo>
                    <a:cubicBezTo>
                      <a:pt x="252" y="40"/>
                      <a:pt x="252" y="40"/>
                      <a:pt x="252" y="40"/>
                    </a:cubicBezTo>
                    <a:cubicBezTo>
                      <a:pt x="247" y="46"/>
                      <a:pt x="247" y="46"/>
                      <a:pt x="247" y="46"/>
                    </a:cubicBezTo>
                    <a:cubicBezTo>
                      <a:pt x="241" y="41"/>
                      <a:pt x="241" y="41"/>
                      <a:pt x="241" y="41"/>
                    </a:cubicBezTo>
                    <a:cubicBezTo>
                      <a:pt x="231" y="43"/>
                      <a:pt x="231" y="43"/>
                      <a:pt x="231" y="43"/>
                    </a:cubicBezTo>
                    <a:cubicBezTo>
                      <a:pt x="224" y="38"/>
                      <a:pt x="224" y="38"/>
                      <a:pt x="224" y="38"/>
                    </a:cubicBezTo>
                    <a:cubicBezTo>
                      <a:pt x="219" y="45"/>
                      <a:pt x="219" y="45"/>
                      <a:pt x="219" y="45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2" y="40"/>
                      <a:pt x="202" y="40"/>
                      <a:pt x="202" y="40"/>
                    </a:cubicBezTo>
                    <a:cubicBezTo>
                      <a:pt x="191" y="31"/>
                      <a:pt x="191" y="31"/>
                      <a:pt x="191" y="31"/>
                    </a:cubicBezTo>
                    <a:cubicBezTo>
                      <a:pt x="172" y="28"/>
                      <a:pt x="172" y="28"/>
                      <a:pt x="172" y="28"/>
                    </a:cubicBezTo>
                    <a:cubicBezTo>
                      <a:pt x="172" y="28"/>
                      <a:pt x="167" y="28"/>
                      <a:pt x="157" y="28"/>
                    </a:cubicBezTo>
                    <a:cubicBezTo>
                      <a:pt x="147" y="28"/>
                      <a:pt x="147" y="20"/>
                      <a:pt x="147" y="20"/>
                    </a:cubicBezTo>
                    <a:cubicBezTo>
                      <a:pt x="147" y="20"/>
                      <a:pt x="120" y="19"/>
                      <a:pt x="117" y="20"/>
                    </a:cubicBezTo>
                    <a:cubicBezTo>
                      <a:pt x="114" y="21"/>
                      <a:pt x="103" y="27"/>
                      <a:pt x="103" y="27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7" y="27"/>
                      <a:pt x="76" y="37"/>
                      <a:pt x="68" y="42"/>
                    </a:cubicBezTo>
                    <a:cubicBezTo>
                      <a:pt x="60" y="47"/>
                      <a:pt x="47" y="40"/>
                      <a:pt x="47" y="40"/>
                    </a:cubicBezTo>
                    <a:cubicBezTo>
                      <a:pt x="49" y="53"/>
                      <a:pt x="49" y="53"/>
                      <a:pt x="49" y="53"/>
                    </a:cubicBezTo>
                    <a:cubicBezTo>
                      <a:pt x="49" y="53"/>
                      <a:pt x="57" y="55"/>
                      <a:pt x="60" y="64"/>
                    </a:cubicBezTo>
                    <a:cubicBezTo>
                      <a:pt x="63" y="73"/>
                      <a:pt x="75" y="76"/>
                      <a:pt x="75" y="76"/>
                    </a:cubicBezTo>
                    <a:cubicBezTo>
                      <a:pt x="68" y="84"/>
                      <a:pt x="68" y="84"/>
                      <a:pt x="68" y="84"/>
                    </a:cubicBezTo>
                    <a:cubicBezTo>
                      <a:pt x="68" y="84"/>
                      <a:pt x="74" y="92"/>
                      <a:pt x="76" y="97"/>
                    </a:cubicBezTo>
                    <a:cubicBezTo>
                      <a:pt x="78" y="102"/>
                      <a:pt x="58" y="103"/>
                      <a:pt x="58" y="103"/>
                    </a:cubicBezTo>
                    <a:cubicBezTo>
                      <a:pt x="23" y="138"/>
                      <a:pt x="23" y="138"/>
                      <a:pt x="23" y="138"/>
                    </a:cubicBezTo>
                    <a:cubicBezTo>
                      <a:pt x="23" y="138"/>
                      <a:pt x="23" y="148"/>
                      <a:pt x="22" y="158"/>
                    </a:cubicBezTo>
                    <a:cubicBezTo>
                      <a:pt x="21" y="168"/>
                      <a:pt x="30" y="174"/>
                      <a:pt x="30" y="174"/>
                    </a:cubicBezTo>
                    <a:cubicBezTo>
                      <a:pt x="14" y="173"/>
                      <a:pt x="14" y="173"/>
                      <a:pt x="14" y="173"/>
                    </a:cubicBezTo>
                    <a:cubicBezTo>
                      <a:pt x="14" y="173"/>
                      <a:pt x="13" y="180"/>
                      <a:pt x="11" y="186"/>
                    </a:cubicBezTo>
                    <a:cubicBezTo>
                      <a:pt x="9" y="192"/>
                      <a:pt x="1" y="194"/>
                      <a:pt x="1" y="194"/>
                    </a:cubicBezTo>
                    <a:cubicBezTo>
                      <a:pt x="0" y="202"/>
                      <a:pt x="0" y="202"/>
                      <a:pt x="0" y="202"/>
                    </a:cubicBezTo>
                    <a:cubicBezTo>
                      <a:pt x="8" y="204"/>
                      <a:pt x="10" y="214"/>
                      <a:pt x="16" y="215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Freeform 270">
                <a:extLst>
                  <a:ext uri="{FF2B5EF4-FFF2-40B4-BE49-F238E27FC236}">
                    <a16:creationId xmlns:a16="http://schemas.microsoft.com/office/drawing/2014/main" id="{08C7AAA9-BA12-6DDA-4D2F-AD1B37F85C0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085" y="-17050"/>
                <a:ext cx="903" cy="591"/>
              </a:xfrm>
              <a:custGeom>
                <a:avLst/>
                <a:gdLst>
                  <a:gd name="T0" fmla="*/ 19 w 382"/>
                  <a:gd name="T1" fmla="*/ 225 h 250"/>
                  <a:gd name="T2" fmla="*/ 42 w 382"/>
                  <a:gd name="T3" fmla="*/ 236 h 250"/>
                  <a:gd name="T4" fmla="*/ 77 w 382"/>
                  <a:gd name="T5" fmla="*/ 221 h 250"/>
                  <a:gd name="T6" fmla="*/ 121 w 382"/>
                  <a:gd name="T7" fmla="*/ 214 h 250"/>
                  <a:gd name="T8" fmla="*/ 146 w 382"/>
                  <a:gd name="T9" fmla="*/ 222 h 250"/>
                  <a:gd name="T10" fmla="*/ 176 w 382"/>
                  <a:gd name="T11" fmla="*/ 234 h 250"/>
                  <a:gd name="T12" fmla="*/ 193 w 382"/>
                  <a:gd name="T13" fmla="*/ 239 h 250"/>
                  <a:gd name="T14" fmla="*/ 205 w 382"/>
                  <a:gd name="T15" fmla="*/ 237 h 250"/>
                  <a:gd name="T16" fmla="*/ 221 w 382"/>
                  <a:gd name="T17" fmla="*/ 240 h 250"/>
                  <a:gd name="T18" fmla="*/ 236 w 382"/>
                  <a:gd name="T19" fmla="*/ 242 h 250"/>
                  <a:gd name="T20" fmla="*/ 259 w 382"/>
                  <a:gd name="T21" fmla="*/ 245 h 250"/>
                  <a:gd name="T22" fmla="*/ 301 w 382"/>
                  <a:gd name="T23" fmla="*/ 247 h 250"/>
                  <a:gd name="T24" fmla="*/ 323 w 382"/>
                  <a:gd name="T25" fmla="*/ 206 h 250"/>
                  <a:gd name="T26" fmla="*/ 344 w 382"/>
                  <a:gd name="T27" fmla="*/ 191 h 250"/>
                  <a:gd name="T28" fmla="*/ 328 w 382"/>
                  <a:gd name="T29" fmla="*/ 151 h 250"/>
                  <a:gd name="T30" fmla="*/ 365 w 382"/>
                  <a:gd name="T31" fmla="*/ 155 h 250"/>
                  <a:gd name="T32" fmla="*/ 368 w 382"/>
                  <a:gd name="T33" fmla="*/ 131 h 250"/>
                  <a:gd name="T34" fmla="*/ 340 w 382"/>
                  <a:gd name="T35" fmla="*/ 118 h 250"/>
                  <a:gd name="T36" fmla="*/ 318 w 382"/>
                  <a:gd name="T37" fmla="*/ 96 h 250"/>
                  <a:gd name="T38" fmla="*/ 294 w 382"/>
                  <a:gd name="T39" fmla="*/ 66 h 250"/>
                  <a:gd name="T40" fmla="*/ 290 w 382"/>
                  <a:gd name="T41" fmla="*/ 44 h 250"/>
                  <a:gd name="T42" fmla="*/ 260 w 382"/>
                  <a:gd name="T43" fmla="*/ 9 h 250"/>
                  <a:gd name="T44" fmla="*/ 236 w 382"/>
                  <a:gd name="T45" fmla="*/ 11 h 250"/>
                  <a:gd name="T46" fmla="*/ 204 w 382"/>
                  <a:gd name="T47" fmla="*/ 11 h 250"/>
                  <a:gd name="T48" fmla="*/ 176 w 382"/>
                  <a:gd name="T49" fmla="*/ 0 h 250"/>
                  <a:gd name="T50" fmla="*/ 157 w 382"/>
                  <a:gd name="T51" fmla="*/ 19 h 250"/>
                  <a:gd name="T52" fmla="*/ 119 w 382"/>
                  <a:gd name="T53" fmla="*/ 31 h 250"/>
                  <a:gd name="T54" fmla="*/ 120 w 382"/>
                  <a:gd name="T55" fmla="*/ 52 h 250"/>
                  <a:gd name="T56" fmla="*/ 111 w 382"/>
                  <a:gd name="T57" fmla="*/ 60 h 250"/>
                  <a:gd name="T58" fmla="*/ 98 w 382"/>
                  <a:gd name="T59" fmla="*/ 77 h 250"/>
                  <a:gd name="T60" fmla="*/ 96 w 382"/>
                  <a:gd name="T61" fmla="*/ 104 h 250"/>
                  <a:gd name="T62" fmla="*/ 72 w 382"/>
                  <a:gd name="T63" fmla="*/ 103 h 250"/>
                  <a:gd name="T64" fmla="*/ 60 w 382"/>
                  <a:gd name="T65" fmla="*/ 103 h 250"/>
                  <a:gd name="T66" fmla="*/ 40 w 382"/>
                  <a:gd name="T67" fmla="*/ 113 h 250"/>
                  <a:gd name="T68" fmla="*/ 6 w 382"/>
                  <a:gd name="T69" fmla="*/ 113 h 250"/>
                  <a:gd name="T70" fmla="*/ 25 w 382"/>
                  <a:gd name="T71" fmla="*/ 145 h 250"/>
                  <a:gd name="T72" fmla="*/ 27 w 382"/>
                  <a:gd name="T73" fmla="*/ 173 h 250"/>
                  <a:gd name="T74" fmla="*/ 12 w 382"/>
                  <a:gd name="T75" fmla="*/ 190 h 250"/>
                  <a:gd name="T76" fmla="*/ 20 w 382"/>
                  <a:gd name="T77" fmla="*/ 207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82" h="250">
                    <a:moveTo>
                      <a:pt x="20" y="207"/>
                    </a:moveTo>
                    <a:cubicBezTo>
                      <a:pt x="22" y="211"/>
                      <a:pt x="19" y="225"/>
                      <a:pt x="19" y="225"/>
                    </a:cubicBezTo>
                    <a:cubicBezTo>
                      <a:pt x="22" y="234"/>
                      <a:pt x="22" y="234"/>
                      <a:pt x="22" y="234"/>
                    </a:cubicBezTo>
                    <a:cubicBezTo>
                      <a:pt x="26" y="236"/>
                      <a:pt x="35" y="240"/>
                      <a:pt x="42" y="236"/>
                    </a:cubicBezTo>
                    <a:cubicBezTo>
                      <a:pt x="50" y="231"/>
                      <a:pt x="51" y="221"/>
                      <a:pt x="51" y="221"/>
                    </a:cubicBezTo>
                    <a:cubicBezTo>
                      <a:pt x="77" y="221"/>
                      <a:pt x="77" y="221"/>
                      <a:pt x="77" y="221"/>
                    </a:cubicBezTo>
                    <a:cubicBezTo>
                      <a:pt x="77" y="221"/>
                      <a:pt x="88" y="215"/>
                      <a:pt x="91" y="214"/>
                    </a:cubicBezTo>
                    <a:cubicBezTo>
                      <a:pt x="94" y="213"/>
                      <a:pt x="121" y="214"/>
                      <a:pt x="121" y="214"/>
                    </a:cubicBezTo>
                    <a:cubicBezTo>
                      <a:pt x="121" y="214"/>
                      <a:pt x="121" y="222"/>
                      <a:pt x="131" y="222"/>
                    </a:cubicBezTo>
                    <a:cubicBezTo>
                      <a:pt x="141" y="222"/>
                      <a:pt x="146" y="222"/>
                      <a:pt x="146" y="222"/>
                    </a:cubicBezTo>
                    <a:cubicBezTo>
                      <a:pt x="165" y="225"/>
                      <a:pt x="165" y="225"/>
                      <a:pt x="165" y="225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81" y="231"/>
                      <a:pt x="181" y="231"/>
                      <a:pt x="181" y="231"/>
                    </a:cubicBezTo>
                    <a:cubicBezTo>
                      <a:pt x="193" y="239"/>
                      <a:pt x="193" y="239"/>
                      <a:pt x="193" y="239"/>
                    </a:cubicBezTo>
                    <a:cubicBezTo>
                      <a:pt x="198" y="232"/>
                      <a:pt x="198" y="232"/>
                      <a:pt x="198" y="232"/>
                    </a:cubicBezTo>
                    <a:cubicBezTo>
                      <a:pt x="205" y="237"/>
                      <a:pt x="205" y="237"/>
                      <a:pt x="205" y="237"/>
                    </a:cubicBezTo>
                    <a:cubicBezTo>
                      <a:pt x="215" y="235"/>
                      <a:pt x="215" y="235"/>
                      <a:pt x="215" y="235"/>
                    </a:cubicBezTo>
                    <a:cubicBezTo>
                      <a:pt x="221" y="240"/>
                      <a:pt x="221" y="240"/>
                      <a:pt x="221" y="240"/>
                    </a:cubicBezTo>
                    <a:cubicBezTo>
                      <a:pt x="226" y="234"/>
                      <a:pt x="226" y="234"/>
                      <a:pt x="226" y="234"/>
                    </a:cubicBezTo>
                    <a:cubicBezTo>
                      <a:pt x="236" y="242"/>
                      <a:pt x="236" y="242"/>
                      <a:pt x="236" y="242"/>
                    </a:cubicBezTo>
                    <a:cubicBezTo>
                      <a:pt x="236" y="242"/>
                      <a:pt x="235" y="232"/>
                      <a:pt x="247" y="233"/>
                    </a:cubicBezTo>
                    <a:cubicBezTo>
                      <a:pt x="259" y="234"/>
                      <a:pt x="251" y="246"/>
                      <a:pt x="259" y="245"/>
                    </a:cubicBezTo>
                    <a:cubicBezTo>
                      <a:pt x="267" y="244"/>
                      <a:pt x="278" y="241"/>
                      <a:pt x="278" y="241"/>
                    </a:cubicBezTo>
                    <a:cubicBezTo>
                      <a:pt x="278" y="241"/>
                      <a:pt x="292" y="250"/>
                      <a:pt x="301" y="247"/>
                    </a:cubicBezTo>
                    <a:cubicBezTo>
                      <a:pt x="310" y="244"/>
                      <a:pt x="300" y="231"/>
                      <a:pt x="300" y="231"/>
                    </a:cubicBezTo>
                    <a:cubicBezTo>
                      <a:pt x="300" y="231"/>
                      <a:pt x="316" y="206"/>
                      <a:pt x="323" y="206"/>
                    </a:cubicBezTo>
                    <a:cubicBezTo>
                      <a:pt x="326" y="206"/>
                      <a:pt x="336" y="208"/>
                      <a:pt x="347" y="209"/>
                    </a:cubicBezTo>
                    <a:cubicBezTo>
                      <a:pt x="346" y="201"/>
                      <a:pt x="346" y="191"/>
                      <a:pt x="344" y="191"/>
                    </a:cubicBezTo>
                    <a:cubicBezTo>
                      <a:pt x="341" y="190"/>
                      <a:pt x="341" y="176"/>
                      <a:pt x="341" y="176"/>
                    </a:cubicBezTo>
                    <a:cubicBezTo>
                      <a:pt x="341" y="176"/>
                      <a:pt x="314" y="154"/>
                      <a:pt x="328" y="151"/>
                    </a:cubicBezTo>
                    <a:cubicBezTo>
                      <a:pt x="342" y="148"/>
                      <a:pt x="344" y="154"/>
                      <a:pt x="344" y="154"/>
                    </a:cubicBezTo>
                    <a:cubicBezTo>
                      <a:pt x="344" y="154"/>
                      <a:pt x="357" y="162"/>
                      <a:pt x="365" y="155"/>
                    </a:cubicBezTo>
                    <a:cubicBezTo>
                      <a:pt x="373" y="148"/>
                      <a:pt x="382" y="139"/>
                      <a:pt x="382" y="139"/>
                    </a:cubicBezTo>
                    <a:cubicBezTo>
                      <a:pt x="368" y="131"/>
                      <a:pt x="368" y="131"/>
                      <a:pt x="368" y="131"/>
                    </a:cubicBezTo>
                    <a:cubicBezTo>
                      <a:pt x="368" y="131"/>
                      <a:pt x="376" y="122"/>
                      <a:pt x="363" y="119"/>
                    </a:cubicBezTo>
                    <a:cubicBezTo>
                      <a:pt x="350" y="116"/>
                      <a:pt x="340" y="118"/>
                      <a:pt x="340" y="118"/>
                    </a:cubicBezTo>
                    <a:cubicBezTo>
                      <a:pt x="338" y="103"/>
                      <a:pt x="338" y="103"/>
                      <a:pt x="338" y="103"/>
                    </a:cubicBezTo>
                    <a:cubicBezTo>
                      <a:pt x="318" y="96"/>
                      <a:pt x="318" y="96"/>
                      <a:pt x="318" y="96"/>
                    </a:cubicBezTo>
                    <a:cubicBezTo>
                      <a:pt x="318" y="96"/>
                      <a:pt x="315" y="75"/>
                      <a:pt x="307" y="73"/>
                    </a:cubicBezTo>
                    <a:cubicBezTo>
                      <a:pt x="299" y="71"/>
                      <a:pt x="294" y="66"/>
                      <a:pt x="294" y="66"/>
                    </a:cubicBezTo>
                    <a:cubicBezTo>
                      <a:pt x="298" y="54"/>
                      <a:pt x="298" y="54"/>
                      <a:pt x="298" y="54"/>
                    </a:cubicBezTo>
                    <a:cubicBezTo>
                      <a:pt x="290" y="44"/>
                      <a:pt x="290" y="44"/>
                      <a:pt x="290" y="44"/>
                    </a:cubicBezTo>
                    <a:cubicBezTo>
                      <a:pt x="290" y="44"/>
                      <a:pt x="304" y="30"/>
                      <a:pt x="293" y="25"/>
                    </a:cubicBezTo>
                    <a:cubicBezTo>
                      <a:pt x="282" y="20"/>
                      <a:pt x="260" y="9"/>
                      <a:pt x="260" y="9"/>
                    </a:cubicBezTo>
                    <a:cubicBezTo>
                      <a:pt x="238" y="21"/>
                      <a:pt x="238" y="21"/>
                      <a:pt x="238" y="21"/>
                    </a:cubicBezTo>
                    <a:cubicBezTo>
                      <a:pt x="236" y="11"/>
                      <a:pt x="236" y="11"/>
                      <a:pt x="236" y="11"/>
                    </a:cubicBezTo>
                    <a:cubicBezTo>
                      <a:pt x="210" y="5"/>
                      <a:pt x="210" y="5"/>
                      <a:pt x="210" y="5"/>
                    </a:cubicBezTo>
                    <a:cubicBezTo>
                      <a:pt x="204" y="11"/>
                      <a:pt x="204" y="11"/>
                      <a:pt x="204" y="11"/>
                    </a:cubicBezTo>
                    <a:cubicBezTo>
                      <a:pt x="204" y="11"/>
                      <a:pt x="203" y="4"/>
                      <a:pt x="195" y="3"/>
                    </a:cubicBezTo>
                    <a:cubicBezTo>
                      <a:pt x="187" y="2"/>
                      <a:pt x="176" y="0"/>
                      <a:pt x="176" y="0"/>
                    </a:cubicBezTo>
                    <a:cubicBezTo>
                      <a:pt x="176" y="0"/>
                      <a:pt x="162" y="16"/>
                      <a:pt x="162" y="13"/>
                    </a:cubicBezTo>
                    <a:cubicBezTo>
                      <a:pt x="162" y="10"/>
                      <a:pt x="157" y="19"/>
                      <a:pt x="157" y="19"/>
                    </a:cubicBezTo>
                    <a:cubicBezTo>
                      <a:pt x="157" y="19"/>
                      <a:pt x="146" y="13"/>
                      <a:pt x="141" y="13"/>
                    </a:cubicBezTo>
                    <a:cubicBezTo>
                      <a:pt x="136" y="13"/>
                      <a:pt x="121" y="26"/>
                      <a:pt x="119" y="31"/>
                    </a:cubicBezTo>
                    <a:cubicBezTo>
                      <a:pt x="117" y="36"/>
                      <a:pt x="133" y="46"/>
                      <a:pt x="133" y="46"/>
                    </a:cubicBezTo>
                    <a:cubicBezTo>
                      <a:pt x="133" y="46"/>
                      <a:pt x="126" y="52"/>
                      <a:pt x="120" y="52"/>
                    </a:cubicBezTo>
                    <a:cubicBezTo>
                      <a:pt x="114" y="52"/>
                      <a:pt x="107" y="47"/>
                      <a:pt x="107" y="47"/>
                    </a:cubicBezTo>
                    <a:cubicBezTo>
                      <a:pt x="111" y="60"/>
                      <a:pt x="111" y="60"/>
                      <a:pt x="111" y="60"/>
                    </a:cubicBezTo>
                    <a:cubicBezTo>
                      <a:pt x="111" y="60"/>
                      <a:pt x="98" y="55"/>
                      <a:pt x="96" y="62"/>
                    </a:cubicBezTo>
                    <a:cubicBezTo>
                      <a:pt x="94" y="69"/>
                      <a:pt x="98" y="77"/>
                      <a:pt x="98" y="77"/>
                    </a:cubicBezTo>
                    <a:cubicBezTo>
                      <a:pt x="98" y="77"/>
                      <a:pt x="86" y="76"/>
                      <a:pt x="91" y="84"/>
                    </a:cubicBezTo>
                    <a:cubicBezTo>
                      <a:pt x="96" y="92"/>
                      <a:pt x="103" y="103"/>
                      <a:pt x="96" y="104"/>
                    </a:cubicBezTo>
                    <a:cubicBezTo>
                      <a:pt x="89" y="105"/>
                      <a:pt x="100" y="96"/>
                      <a:pt x="90" y="96"/>
                    </a:cubicBezTo>
                    <a:cubicBezTo>
                      <a:pt x="80" y="96"/>
                      <a:pt x="72" y="103"/>
                      <a:pt x="72" y="103"/>
                    </a:cubicBezTo>
                    <a:cubicBezTo>
                      <a:pt x="68" y="111"/>
                      <a:pt x="68" y="111"/>
                      <a:pt x="68" y="111"/>
                    </a:cubicBezTo>
                    <a:cubicBezTo>
                      <a:pt x="60" y="103"/>
                      <a:pt x="60" y="103"/>
                      <a:pt x="60" y="103"/>
                    </a:cubicBezTo>
                    <a:cubicBezTo>
                      <a:pt x="58" y="113"/>
                      <a:pt x="58" y="113"/>
                      <a:pt x="58" y="113"/>
                    </a:cubicBezTo>
                    <a:cubicBezTo>
                      <a:pt x="40" y="113"/>
                      <a:pt x="40" y="113"/>
                      <a:pt x="40" y="113"/>
                    </a:cubicBezTo>
                    <a:cubicBezTo>
                      <a:pt x="40" y="113"/>
                      <a:pt x="38" y="107"/>
                      <a:pt x="30" y="108"/>
                    </a:cubicBezTo>
                    <a:cubicBezTo>
                      <a:pt x="22" y="109"/>
                      <a:pt x="6" y="113"/>
                      <a:pt x="6" y="113"/>
                    </a:cubicBezTo>
                    <a:cubicBezTo>
                      <a:pt x="6" y="113"/>
                      <a:pt x="14" y="126"/>
                      <a:pt x="14" y="131"/>
                    </a:cubicBezTo>
                    <a:cubicBezTo>
                      <a:pt x="14" y="136"/>
                      <a:pt x="25" y="145"/>
                      <a:pt x="25" y="145"/>
                    </a:cubicBezTo>
                    <a:cubicBezTo>
                      <a:pt x="25" y="145"/>
                      <a:pt x="33" y="157"/>
                      <a:pt x="31" y="161"/>
                    </a:cubicBezTo>
                    <a:cubicBezTo>
                      <a:pt x="29" y="165"/>
                      <a:pt x="27" y="173"/>
                      <a:pt x="27" y="173"/>
                    </a:cubicBezTo>
                    <a:cubicBezTo>
                      <a:pt x="13" y="178"/>
                      <a:pt x="13" y="178"/>
                      <a:pt x="13" y="178"/>
                    </a:cubicBezTo>
                    <a:cubicBezTo>
                      <a:pt x="13" y="178"/>
                      <a:pt x="15" y="190"/>
                      <a:pt x="12" y="190"/>
                    </a:cubicBezTo>
                    <a:cubicBezTo>
                      <a:pt x="9" y="190"/>
                      <a:pt x="0" y="188"/>
                      <a:pt x="2" y="194"/>
                    </a:cubicBezTo>
                    <a:cubicBezTo>
                      <a:pt x="4" y="200"/>
                      <a:pt x="18" y="203"/>
                      <a:pt x="20" y="207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Freeform 271">
                <a:extLst>
                  <a:ext uri="{FF2B5EF4-FFF2-40B4-BE49-F238E27FC236}">
                    <a16:creationId xmlns:a16="http://schemas.microsoft.com/office/drawing/2014/main" id="{357555CF-7F6A-D335-1CCF-F9BF9204F28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326" y="-17286"/>
                <a:ext cx="676" cy="290"/>
              </a:xfrm>
              <a:custGeom>
                <a:avLst/>
                <a:gdLst>
                  <a:gd name="T0" fmla="*/ 5 w 286"/>
                  <a:gd name="T1" fmla="*/ 97 h 123"/>
                  <a:gd name="T2" fmla="*/ 18 w 286"/>
                  <a:gd name="T3" fmla="*/ 92 h 123"/>
                  <a:gd name="T4" fmla="*/ 51 w 286"/>
                  <a:gd name="T5" fmla="*/ 86 h 123"/>
                  <a:gd name="T6" fmla="*/ 65 w 286"/>
                  <a:gd name="T7" fmla="*/ 83 h 123"/>
                  <a:gd name="T8" fmla="*/ 78 w 286"/>
                  <a:gd name="T9" fmla="*/ 90 h 123"/>
                  <a:gd name="T10" fmla="*/ 86 w 286"/>
                  <a:gd name="T11" fmla="*/ 88 h 123"/>
                  <a:gd name="T12" fmla="*/ 109 w 286"/>
                  <a:gd name="T13" fmla="*/ 94 h 123"/>
                  <a:gd name="T14" fmla="*/ 118 w 286"/>
                  <a:gd name="T15" fmla="*/ 89 h 123"/>
                  <a:gd name="T16" fmla="*/ 133 w 286"/>
                  <a:gd name="T17" fmla="*/ 93 h 123"/>
                  <a:gd name="T18" fmla="*/ 150 w 286"/>
                  <a:gd name="T19" fmla="*/ 85 h 123"/>
                  <a:gd name="T20" fmla="*/ 162 w 286"/>
                  <a:gd name="T21" fmla="*/ 98 h 123"/>
                  <a:gd name="T22" fmla="*/ 189 w 286"/>
                  <a:gd name="T23" fmla="*/ 101 h 123"/>
                  <a:gd name="T24" fmla="*/ 200 w 286"/>
                  <a:gd name="T25" fmla="*/ 111 h 123"/>
                  <a:gd name="T26" fmla="*/ 215 w 286"/>
                  <a:gd name="T27" fmla="*/ 119 h 123"/>
                  <a:gd name="T28" fmla="*/ 227 w 286"/>
                  <a:gd name="T29" fmla="*/ 123 h 123"/>
                  <a:gd name="T30" fmla="*/ 243 w 286"/>
                  <a:gd name="T31" fmla="*/ 113 h 123"/>
                  <a:gd name="T32" fmla="*/ 259 w 286"/>
                  <a:gd name="T33" fmla="*/ 119 h 123"/>
                  <a:gd name="T34" fmla="*/ 264 w 286"/>
                  <a:gd name="T35" fmla="*/ 113 h 123"/>
                  <a:gd name="T36" fmla="*/ 278 w 286"/>
                  <a:gd name="T37" fmla="*/ 100 h 123"/>
                  <a:gd name="T38" fmla="*/ 286 w 286"/>
                  <a:gd name="T39" fmla="*/ 101 h 123"/>
                  <a:gd name="T40" fmla="*/ 280 w 286"/>
                  <a:gd name="T41" fmla="*/ 82 h 123"/>
                  <a:gd name="T42" fmla="*/ 268 w 286"/>
                  <a:gd name="T43" fmla="*/ 65 h 123"/>
                  <a:gd name="T44" fmla="*/ 255 w 286"/>
                  <a:gd name="T45" fmla="*/ 61 h 123"/>
                  <a:gd name="T46" fmla="*/ 256 w 286"/>
                  <a:gd name="T47" fmla="*/ 52 h 123"/>
                  <a:gd name="T48" fmla="*/ 268 w 286"/>
                  <a:gd name="T49" fmla="*/ 45 h 123"/>
                  <a:gd name="T50" fmla="*/ 246 w 286"/>
                  <a:gd name="T51" fmla="*/ 30 h 123"/>
                  <a:gd name="T52" fmla="*/ 238 w 286"/>
                  <a:gd name="T53" fmla="*/ 31 h 123"/>
                  <a:gd name="T54" fmla="*/ 225 w 286"/>
                  <a:gd name="T55" fmla="*/ 26 h 123"/>
                  <a:gd name="T56" fmla="*/ 214 w 286"/>
                  <a:gd name="T57" fmla="*/ 32 h 123"/>
                  <a:gd name="T58" fmla="*/ 194 w 286"/>
                  <a:gd name="T59" fmla="*/ 20 h 123"/>
                  <a:gd name="T60" fmla="*/ 166 w 286"/>
                  <a:gd name="T61" fmla="*/ 3 h 123"/>
                  <a:gd name="T62" fmla="*/ 145 w 286"/>
                  <a:gd name="T63" fmla="*/ 4 h 123"/>
                  <a:gd name="T64" fmla="*/ 124 w 286"/>
                  <a:gd name="T65" fmla="*/ 10 h 123"/>
                  <a:gd name="T66" fmla="*/ 120 w 286"/>
                  <a:gd name="T67" fmla="*/ 10 h 123"/>
                  <a:gd name="T68" fmla="*/ 119 w 286"/>
                  <a:gd name="T69" fmla="*/ 12 h 123"/>
                  <a:gd name="T70" fmla="*/ 123 w 286"/>
                  <a:gd name="T71" fmla="*/ 55 h 123"/>
                  <a:gd name="T72" fmla="*/ 86 w 286"/>
                  <a:gd name="T73" fmla="*/ 52 h 123"/>
                  <a:gd name="T74" fmla="*/ 79 w 286"/>
                  <a:gd name="T75" fmla="*/ 37 h 123"/>
                  <a:gd name="T76" fmla="*/ 56 w 286"/>
                  <a:gd name="T77" fmla="*/ 18 h 123"/>
                  <a:gd name="T78" fmla="*/ 21 w 286"/>
                  <a:gd name="T79" fmla="*/ 30 h 123"/>
                  <a:gd name="T80" fmla="*/ 16 w 286"/>
                  <a:gd name="T81" fmla="*/ 46 h 123"/>
                  <a:gd name="T82" fmla="*/ 0 w 286"/>
                  <a:gd name="T83" fmla="*/ 69 h 123"/>
                  <a:gd name="T84" fmla="*/ 6 w 286"/>
                  <a:gd name="T85" fmla="*/ 104 h 123"/>
                  <a:gd name="T86" fmla="*/ 5 w 286"/>
                  <a:gd name="T87" fmla="*/ 97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86" h="123">
                    <a:moveTo>
                      <a:pt x="5" y="97"/>
                    </a:moveTo>
                    <a:cubicBezTo>
                      <a:pt x="8" y="95"/>
                      <a:pt x="12" y="93"/>
                      <a:pt x="18" y="92"/>
                    </a:cubicBezTo>
                    <a:cubicBezTo>
                      <a:pt x="38" y="89"/>
                      <a:pt x="45" y="89"/>
                      <a:pt x="51" y="86"/>
                    </a:cubicBezTo>
                    <a:cubicBezTo>
                      <a:pt x="57" y="83"/>
                      <a:pt x="59" y="81"/>
                      <a:pt x="65" y="83"/>
                    </a:cubicBezTo>
                    <a:cubicBezTo>
                      <a:pt x="71" y="85"/>
                      <a:pt x="78" y="90"/>
                      <a:pt x="78" y="90"/>
                    </a:cubicBezTo>
                    <a:cubicBezTo>
                      <a:pt x="78" y="90"/>
                      <a:pt x="83" y="89"/>
                      <a:pt x="86" y="88"/>
                    </a:cubicBezTo>
                    <a:cubicBezTo>
                      <a:pt x="89" y="87"/>
                      <a:pt x="109" y="94"/>
                      <a:pt x="109" y="94"/>
                    </a:cubicBezTo>
                    <a:cubicBezTo>
                      <a:pt x="109" y="94"/>
                      <a:pt x="113" y="89"/>
                      <a:pt x="118" y="89"/>
                    </a:cubicBezTo>
                    <a:cubicBezTo>
                      <a:pt x="123" y="89"/>
                      <a:pt x="125" y="93"/>
                      <a:pt x="133" y="93"/>
                    </a:cubicBezTo>
                    <a:cubicBezTo>
                      <a:pt x="141" y="93"/>
                      <a:pt x="144" y="85"/>
                      <a:pt x="150" y="85"/>
                    </a:cubicBezTo>
                    <a:cubicBezTo>
                      <a:pt x="156" y="85"/>
                      <a:pt x="162" y="98"/>
                      <a:pt x="162" y="98"/>
                    </a:cubicBezTo>
                    <a:cubicBezTo>
                      <a:pt x="162" y="98"/>
                      <a:pt x="183" y="99"/>
                      <a:pt x="189" y="101"/>
                    </a:cubicBezTo>
                    <a:cubicBezTo>
                      <a:pt x="195" y="103"/>
                      <a:pt x="200" y="111"/>
                      <a:pt x="200" y="111"/>
                    </a:cubicBezTo>
                    <a:cubicBezTo>
                      <a:pt x="215" y="119"/>
                      <a:pt x="215" y="119"/>
                      <a:pt x="215" y="119"/>
                    </a:cubicBezTo>
                    <a:cubicBezTo>
                      <a:pt x="227" y="123"/>
                      <a:pt x="227" y="123"/>
                      <a:pt x="227" y="123"/>
                    </a:cubicBezTo>
                    <a:cubicBezTo>
                      <a:pt x="233" y="118"/>
                      <a:pt x="240" y="113"/>
                      <a:pt x="243" y="113"/>
                    </a:cubicBezTo>
                    <a:cubicBezTo>
                      <a:pt x="248" y="113"/>
                      <a:pt x="259" y="119"/>
                      <a:pt x="259" y="119"/>
                    </a:cubicBezTo>
                    <a:cubicBezTo>
                      <a:pt x="259" y="119"/>
                      <a:pt x="264" y="110"/>
                      <a:pt x="264" y="113"/>
                    </a:cubicBezTo>
                    <a:cubicBezTo>
                      <a:pt x="264" y="116"/>
                      <a:pt x="278" y="100"/>
                      <a:pt x="278" y="100"/>
                    </a:cubicBezTo>
                    <a:cubicBezTo>
                      <a:pt x="278" y="100"/>
                      <a:pt x="282" y="101"/>
                      <a:pt x="286" y="101"/>
                    </a:cubicBezTo>
                    <a:cubicBezTo>
                      <a:pt x="286" y="97"/>
                      <a:pt x="286" y="87"/>
                      <a:pt x="280" y="82"/>
                    </a:cubicBezTo>
                    <a:cubicBezTo>
                      <a:pt x="273" y="76"/>
                      <a:pt x="268" y="65"/>
                      <a:pt x="268" y="65"/>
                    </a:cubicBezTo>
                    <a:cubicBezTo>
                      <a:pt x="255" y="61"/>
                      <a:pt x="255" y="61"/>
                      <a:pt x="255" y="61"/>
                    </a:cubicBezTo>
                    <a:cubicBezTo>
                      <a:pt x="256" y="52"/>
                      <a:pt x="256" y="52"/>
                      <a:pt x="256" y="52"/>
                    </a:cubicBezTo>
                    <a:cubicBezTo>
                      <a:pt x="256" y="52"/>
                      <a:pt x="269" y="50"/>
                      <a:pt x="268" y="45"/>
                    </a:cubicBezTo>
                    <a:cubicBezTo>
                      <a:pt x="267" y="40"/>
                      <a:pt x="246" y="30"/>
                      <a:pt x="246" y="30"/>
                    </a:cubicBezTo>
                    <a:cubicBezTo>
                      <a:pt x="238" y="31"/>
                      <a:pt x="238" y="31"/>
                      <a:pt x="238" y="31"/>
                    </a:cubicBezTo>
                    <a:cubicBezTo>
                      <a:pt x="238" y="31"/>
                      <a:pt x="228" y="27"/>
                      <a:pt x="225" y="26"/>
                    </a:cubicBezTo>
                    <a:cubicBezTo>
                      <a:pt x="222" y="25"/>
                      <a:pt x="220" y="32"/>
                      <a:pt x="214" y="32"/>
                    </a:cubicBezTo>
                    <a:cubicBezTo>
                      <a:pt x="208" y="32"/>
                      <a:pt x="205" y="29"/>
                      <a:pt x="194" y="20"/>
                    </a:cubicBezTo>
                    <a:cubicBezTo>
                      <a:pt x="183" y="11"/>
                      <a:pt x="181" y="6"/>
                      <a:pt x="166" y="3"/>
                    </a:cubicBezTo>
                    <a:cubicBezTo>
                      <a:pt x="151" y="0"/>
                      <a:pt x="145" y="4"/>
                      <a:pt x="145" y="4"/>
                    </a:cubicBezTo>
                    <a:cubicBezTo>
                      <a:pt x="124" y="10"/>
                      <a:pt x="124" y="10"/>
                      <a:pt x="124" y="10"/>
                    </a:cubicBezTo>
                    <a:cubicBezTo>
                      <a:pt x="120" y="10"/>
                      <a:pt x="120" y="10"/>
                      <a:pt x="120" y="10"/>
                    </a:cubicBezTo>
                    <a:cubicBezTo>
                      <a:pt x="119" y="12"/>
                      <a:pt x="119" y="12"/>
                      <a:pt x="119" y="12"/>
                    </a:cubicBezTo>
                    <a:cubicBezTo>
                      <a:pt x="119" y="12"/>
                      <a:pt x="136" y="55"/>
                      <a:pt x="123" y="55"/>
                    </a:cubicBezTo>
                    <a:cubicBezTo>
                      <a:pt x="110" y="55"/>
                      <a:pt x="86" y="52"/>
                      <a:pt x="86" y="52"/>
                    </a:cubicBezTo>
                    <a:cubicBezTo>
                      <a:pt x="79" y="37"/>
                      <a:pt x="79" y="37"/>
                      <a:pt x="79" y="37"/>
                    </a:cubicBezTo>
                    <a:cubicBezTo>
                      <a:pt x="56" y="18"/>
                      <a:pt x="56" y="18"/>
                      <a:pt x="56" y="18"/>
                    </a:cubicBezTo>
                    <a:cubicBezTo>
                      <a:pt x="56" y="18"/>
                      <a:pt x="24" y="23"/>
                      <a:pt x="21" y="30"/>
                    </a:cubicBezTo>
                    <a:cubicBezTo>
                      <a:pt x="18" y="37"/>
                      <a:pt x="16" y="46"/>
                      <a:pt x="16" y="46"/>
                    </a:cubicBezTo>
                    <a:cubicBezTo>
                      <a:pt x="16" y="46"/>
                      <a:pt x="0" y="64"/>
                      <a:pt x="0" y="69"/>
                    </a:cubicBezTo>
                    <a:cubicBezTo>
                      <a:pt x="0" y="74"/>
                      <a:pt x="6" y="104"/>
                      <a:pt x="6" y="104"/>
                    </a:cubicBezTo>
                    <a:cubicBezTo>
                      <a:pt x="6" y="104"/>
                      <a:pt x="5" y="101"/>
                      <a:pt x="5" y="97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Freeform 272">
                <a:extLst>
                  <a:ext uri="{FF2B5EF4-FFF2-40B4-BE49-F238E27FC236}">
                    <a16:creationId xmlns:a16="http://schemas.microsoft.com/office/drawing/2014/main" id="{788170DB-8334-1BDC-B3EF-0C08F7D5A8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463" y="-18626"/>
                <a:ext cx="997" cy="1134"/>
              </a:xfrm>
              <a:custGeom>
                <a:avLst/>
                <a:gdLst>
                  <a:gd name="T0" fmla="*/ 88 w 422"/>
                  <a:gd name="T1" fmla="*/ 64 h 480"/>
                  <a:gd name="T2" fmla="*/ 64 w 422"/>
                  <a:gd name="T3" fmla="*/ 59 h 480"/>
                  <a:gd name="T4" fmla="*/ 40 w 422"/>
                  <a:gd name="T5" fmla="*/ 47 h 480"/>
                  <a:gd name="T6" fmla="*/ 16 w 422"/>
                  <a:gd name="T7" fmla="*/ 36 h 480"/>
                  <a:gd name="T8" fmla="*/ 2 w 422"/>
                  <a:gd name="T9" fmla="*/ 40 h 480"/>
                  <a:gd name="T10" fmla="*/ 17 w 422"/>
                  <a:gd name="T11" fmla="*/ 56 h 480"/>
                  <a:gd name="T12" fmla="*/ 48 w 422"/>
                  <a:gd name="T13" fmla="*/ 72 h 480"/>
                  <a:gd name="T14" fmla="*/ 92 w 422"/>
                  <a:gd name="T15" fmla="*/ 85 h 480"/>
                  <a:gd name="T16" fmla="*/ 103 w 422"/>
                  <a:gd name="T17" fmla="*/ 114 h 480"/>
                  <a:gd name="T18" fmla="*/ 107 w 422"/>
                  <a:gd name="T19" fmla="*/ 132 h 480"/>
                  <a:gd name="T20" fmla="*/ 113 w 422"/>
                  <a:gd name="T21" fmla="*/ 165 h 480"/>
                  <a:gd name="T22" fmla="*/ 138 w 422"/>
                  <a:gd name="T23" fmla="*/ 204 h 480"/>
                  <a:gd name="T24" fmla="*/ 179 w 422"/>
                  <a:gd name="T25" fmla="*/ 217 h 480"/>
                  <a:gd name="T26" fmla="*/ 167 w 422"/>
                  <a:gd name="T27" fmla="*/ 234 h 480"/>
                  <a:gd name="T28" fmla="*/ 119 w 422"/>
                  <a:gd name="T29" fmla="*/ 283 h 480"/>
                  <a:gd name="T30" fmla="*/ 81 w 422"/>
                  <a:gd name="T31" fmla="*/ 309 h 480"/>
                  <a:gd name="T32" fmla="*/ 45 w 422"/>
                  <a:gd name="T33" fmla="*/ 336 h 480"/>
                  <a:gd name="T34" fmla="*/ 49 w 422"/>
                  <a:gd name="T35" fmla="*/ 364 h 480"/>
                  <a:gd name="T36" fmla="*/ 62 w 422"/>
                  <a:gd name="T37" fmla="*/ 393 h 480"/>
                  <a:gd name="T38" fmla="*/ 71 w 422"/>
                  <a:gd name="T39" fmla="*/ 452 h 480"/>
                  <a:gd name="T40" fmla="*/ 114 w 422"/>
                  <a:gd name="T41" fmla="*/ 460 h 480"/>
                  <a:gd name="T42" fmla="*/ 180 w 422"/>
                  <a:gd name="T43" fmla="*/ 475 h 480"/>
                  <a:gd name="T44" fmla="*/ 222 w 422"/>
                  <a:gd name="T45" fmla="*/ 465 h 480"/>
                  <a:gd name="T46" fmla="*/ 304 w 422"/>
                  <a:gd name="T47" fmla="*/ 451 h 480"/>
                  <a:gd name="T48" fmla="*/ 305 w 422"/>
                  <a:gd name="T49" fmla="*/ 441 h 480"/>
                  <a:gd name="T50" fmla="*/ 382 w 422"/>
                  <a:gd name="T51" fmla="*/ 381 h 480"/>
                  <a:gd name="T52" fmla="*/ 421 w 422"/>
                  <a:gd name="T53" fmla="*/ 340 h 480"/>
                  <a:gd name="T54" fmla="*/ 360 w 422"/>
                  <a:gd name="T55" fmla="*/ 295 h 480"/>
                  <a:gd name="T56" fmla="*/ 368 w 422"/>
                  <a:gd name="T57" fmla="*/ 265 h 480"/>
                  <a:gd name="T58" fmla="*/ 359 w 422"/>
                  <a:gd name="T59" fmla="*/ 247 h 480"/>
                  <a:gd name="T60" fmla="*/ 339 w 422"/>
                  <a:gd name="T61" fmla="*/ 228 h 480"/>
                  <a:gd name="T62" fmla="*/ 337 w 422"/>
                  <a:gd name="T63" fmla="*/ 202 h 480"/>
                  <a:gd name="T64" fmla="*/ 312 w 422"/>
                  <a:gd name="T65" fmla="*/ 156 h 480"/>
                  <a:gd name="T66" fmla="*/ 316 w 422"/>
                  <a:gd name="T67" fmla="*/ 133 h 480"/>
                  <a:gd name="T68" fmla="*/ 312 w 422"/>
                  <a:gd name="T69" fmla="*/ 98 h 480"/>
                  <a:gd name="T70" fmla="*/ 275 w 422"/>
                  <a:gd name="T71" fmla="*/ 82 h 480"/>
                  <a:gd name="T72" fmla="*/ 282 w 422"/>
                  <a:gd name="T73" fmla="*/ 62 h 480"/>
                  <a:gd name="T74" fmla="*/ 280 w 422"/>
                  <a:gd name="T75" fmla="*/ 36 h 480"/>
                  <a:gd name="T76" fmla="*/ 271 w 422"/>
                  <a:gd name="T77" fmla="*/ 13 h 480"/>
                  <a:gd name="T78" fmla="*/ 240 w 422"/>
                  <a:gd name="T79" fmla="*/ 1 h 480"/>
                  <a:gd name="T80" fmla="*/ 198 w 422"/>
                  <a:gd name="T81" fmla="*/ 5 h 480"/>
                  <a:gd name="T82" fmla="*/ 173 w 422"/>
                  <a:gd name="T83" fmla="*/ 30 h 480"/>
                  <a:gd name="T84" fmla="*/ 157 w 422"/>
                  <a:gd name="T85" fmla="*/ 50 h 480"/>
                  <a:gd name="T86" fmla="*/ 123 w 422"/>
                  <a:gd name="T87" fmla="*/ 56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22" h="480">
                    <a:moveTo>
                      <a:pt x="107" y="59"/>
                    </a:moveTo>
                    <a:cubicBezTo>
                      <a:pt x="107" y="59"/>
                      <a:pt x="98" y="67"/>
                      <a:pt x="88" y="64"/>
                    </a:cubicBezTo>
                    <a:cubicBezTo>
                      <a:pt x="78" y="61"/>
                      <a:pt x="78" y="61"/>
                      <a:pt x="78" y="61"/>
                    </a:cubicBezTo>
                    <a:cubicBezTo>
                      <a:pt x="78" y="61"/>
                      <a:pt x="78" y="60"/>
                      <a:pt x="64" y="59"/>
                    </a:cubicBezTo>
                    <a:cubicBezTo>
                      <a:pt x="50" y="58"/>
                      <a:pt x="49" y="48"/>
                      <a:pt x="49" y="48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40" y="47"/>
                      <a:pt x="31" y="33"/>
                      <a:pt x="27" y="33"/>
                    </a:cubicBezTo>
                    <a:cubicBezTo>
                      <a:pt x="23" y="33"/>
                      <a:pt x="16" y="36"/>
                      <a:pt x="16" y="36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7" y="52"/>
                      <a:pt x="17" y="56"/>
                    </a:cubicBezTo>
                    <a:cubicBezTo>
                      <a:pt x="27" y="60"/>
                      <a:pt x="40" y="64"/>
                      <a:pt x="40" y="64"/>
                    </a:cubicBezTo>
                    <a:cubicBezTo>
                      <a:pt x="48" y="72"/>
                      <a:pt x="48" y="72"/>
                      <a:pt x="48" y="72"/>
                    </a:cubicBezTo>
                    <a:cubicBezTo>
                      <a:pt x="70" y="73"/>
                      <a:pt x="70" y="73"/>
                      <a:pt x="70" y="73"/>
                    </a:cubicBezTo>
                    <a:cubicBezTo>
                      <a:pt x="92" y="85"/>
                      <a:pt x="92" y="85"/>
                      <a:pt x="92" y="85"/>
                    </a:cubicBezTo>
                    <a:cubicBezTo>
                      <a:pt x="92" y="85"/>
                      <a:pt x="110" y="90"/>
                      <a:pt x="109" y="95"/>
                    </a:cubicBezTo>
                    <a:cubicBezTo>
                      <a:pt x="108" y="100"/>
                      <a:pt x="103" y="114"/>
                      <a:pt x="103" y="114"/>
                    </a:cubicBezTo>
                    <a:cubicBezTo>
                      <a:pt x="111" y="119"/>
                      <a:pt x="111" y="119"/>
                      <a:pt x="111" y="119"/>
                    </a:cubicBezTo>
                    <a:cubicBezTo>
                      <a:pt x="107" y="132"/>
                      <a:pt x="107" y="132"/>
                      <a:pt x="107" y="132"/>
                    </a:cubicBezTo>
                    <a:cubicBezTo>
                      <a:pt x="124" y="142"/>
                      <a:pt x="124" y="142"/>
                      <a:pt x="124" y="142"/>
                    </a:cubicBezTo>
                    <a:cubicBezTo>
                      <a:pt x="124" y="142"/>
                      <a:pt x="111" y="157"/>
                      <a:pt x="113" y="165"/>
                    </a:cubicBezTo>
                    <a:cubicBezTo>
                      <a:pt x="115" y="173"/>
                      <a:pt x="130" y="183"/>
                      <a:pt x="130" y="183"/>
                    </a:cubicBezTo>
                    <a:cubicBezTo>
                      <a:pt x="138" y="204"/>
                      <a:pt x="138" y="204"/>
                      <a:pt x="138" y="204"/>
                    </a:cubicBezTo>
                    <a:cubicBezTo>
                      <a:pt x="148" y="198"/>
                      <a:pt x="148" y="198"/>
                      <a:pt x="148" y="198"/>
                    </a:cubicBezTo>
                    <a:cubicBezTo>
                      <a:pt x="148" y="198"/>
                      <a:pt x="177" y="205"/>
                      <a:pt x="179" y="217"/>
                    </a:cubicBezTo>
                    <a:cubicBezTo>
                      <a:pt x="181" y="229"/>
                      <a:pt x="182" y="239"/>
                      <a:pt x="182" y="239"/>
                    </a:cubicBezTo>
                    <a:cubicBezTo>
                      <a:pt x="182" y="239"/>
                      <a:pt x="170" y="233"/>
                      <a:pt x="167" y="234"/>
                    </a:cubicBezTo>
                    <a:cubicBezTo>
                      <a:pt x="164" y="235"/>
                      <a:pt x="142" y="260"/>
                      <a:pt x="142" y="260"/>
                    </a:cubicBezTo>
                    <a:cubicBezTo>
                      <a:pt x="119" y="283"/>
                      <a:pt x="119" y="283"/>
                      <a:pt x="119" y="283"/>
                    </a:cubicBezTo>
                    <a:cubicBezTo>
                      <a:pt x="96" y="288"/>
                      <a:pt x="96" y="288"/>
                      <a:pt x="96" y="288"/>
                    </a:cubicBezTo>
                    <a:cubicBezTo>
                      <a:pt x="96" y="288"/>
                      <a:pt x="81" y="300"/>
                      <a:pt x="81" y="309"/>
                    </a:cubicBezTo>
                    <a:cubicBezTo>
                      <a:pt x="81" y="318"/>
                      <a:pt x="61" y="318"/>
                      <a:pt x="61" y="318"/>
                    </a:cubicBezTo>
                    <a:cubicBezTo>
                      <a:pt x="45" y="336"/>
                      <a:pt x="45" y="336"/>
                      <a:pt x="45" y="336"/>
                    </a:cubicBezTo>
                    <a:cubicBezTo>
                      <a:pt x="45" y="336"/>
                      <a:pt x="41" y="348"/>
                      <a:pt x="43" y="352"/>
                    </a:cubicBezTo>
                    <a:cubicBezTo>
                      <a:pt x="45" y="356"/>
                      <a:pt x="49" y="364"/>
                      <a:pt x="49" y="364"/>
                    </a:cubicBezTo>
                    <a:cubicBezTo>
                      <a:pt x="47" y="380"/>
                      <a:pt x="47" y="380"/>
                      <a:pt x="47" y="380"/>
                    </a:cubicBezTo>
                    <a:cubicBezTo>
                      <a:pt x="62" y="393"/>
                      <a:pt x="62" y="393"/>
                      <a:pt x="62" y="393"/>
                    </a:cubicBezTo>
                    <a:cubicBezTo>
                      <a:pt x="62" y="393"/>
                      <a:pt x="52" y="425"/>
                      <a:pt x="56" y="434"/>
                    </a:cubicBezTo>
                    <a:cubicBezTo>
                      <a:pt x="60" y="443"/>
                      <a:pt x="71" y="452"/>
                      <a:pt x="71" y="452"/>
                    </a:cubicBezTo>
                    <a:cubicBezTo>
                      <a:pt x="86" y="463"/>
                      <a:pt x="86" y="463"/>
                      <a:pt x="86" y="463"/>
                    </a:cubicBezTo>
                    <a:cubicBezTo>
                      <a:pt x="114" y="460"/>
                      <a:pt x="114" y="460"/>
                      <a:pt x="114" y="460"/>
                    </a:cubicBezTo>
                    <a:cubicBezTo>
                      <a:pt x="114" y="460"/>
                      <a:pt x="105" y="476"/>
                      <a:pt x="125" y="478"/>
                    </a:cubicBezTo>
                    <a:cubicBezTo>
                      <a:pt x="145" y="480"/>
                      <a:pt x="180" y="475"/>
                      <a:pt x="180" y="475"/>
                    </a:cubicBezTo>
                    <a:cubicBezTo>
                      <a:pt x="199" y="465"/>
                      <a:pt x="199" y="465"/>
                      <a:pt x="199" y="465"/>
                    </a:cubicBezTo>
                    <a:cubicBezTo>
                      <a:pt x="222" y="465"/>
                      <a:pt x="222" y="465"/>
                      <a:pt x="222" y="465"/>
                    </a:cubicBezTo>
                    <a:cubicBezTo>
                      <a:pt x="255" y="448"/>
                      <a:pt x="255" y="448"/>
                      <a:pt x="255" y="448"/>
                    </a:cubicBezTo>
                    <a:cubicBezTo>
                      <a:pt x="304" y="451"/>
                      <a:pt x="304" y="451"/>
                      <a:pt x="304" y="451"/>
                    </a:cubicBezTo>
                    <a:cubicBezTo>
                      <a:pt x="309" y="448"/>
                      <a:pt x="309" y="448"/>
                      <a:pt x="309" y="448"/>
                    </a:cubicBezTo>
                    <a:cubicBezTo>
                      <a:pt x="305" y="441"/>
                      <a:pt x="305" y="441"/>
                      <a:pt x="305" y="441"/>
                    </a:cubicBezTo>
                    <a:cubicBezTo>
                      <a:pt x="305" y="441"/>
                      <a:pt x="346" y="417"/>
                      <a:pt x="350" y="412"/>
                    </a:cubicBezTo>
                    <a:cubicBezTo>
                      <a:pt x="354" y="407"/>
                      <a:pt x="382" y="381"/>
                      <a:pt x="382" y="381"/>
                    </a:cubicBezTo>
                    <a:cubicBezTo>
                      <a:pt x="382" y="381"/>
                      <a:pt x="403" y="369"/>
                      <a:pt x="407" y="362"/>
                    </a:cubicBezTo>
                    <a:cubicBezTo>
                      <a:pt x="411" y="355"/>
                      <a:pt x="420" y="348"/>
                      <a:pt x="421" y="340"/>
                    </a:cubicBezTo>
                    <a:cubicBezTo>
                      <a:pt x="422" y="332"/>
                      <a:pt x="399" y="313"/>
                      <a:pt x="399" y="313"/>
                    </a:cubicBezTo>
                    <a:cubicBezTo>
                      <a:pt x="360" y="295"/>
                      <a:pt x="360" y="295"/>
                      <a:pt x="360" y="295"/>
                    </a:cubicBezTo>
                    <a:cubicBezTo>
                      <a:pt x="360" y="295"/>
                      <a:pt x="381" y="281"/>
                      <a:pt x="380" y="277"/>
                    </a:cubicBezTo>
                    <a:cubicBezTo>
                      <a:pt x="379" y="273"/>
                      <a:pt x="368" y="265"/>
                      <a:pt x="368" y="265"/>
                    </a:cubicBezTo>
                    <a:cubicBezTo>
                      <a:pt x="353" y="262"/>
                      <a:pt x="353" y="262"/>
                      <a:pt x="353" y="262"/>
                    </a:cubicBezTo>
                    <a:cubicBezTo>
                      <a:pt x="353" y="262"/>
                      <a:pt x="360" y="251"/>
                      <a:pt x="359" y="247"/>
                    </a:cubicBezTo>
                    <a:cubicBezTo>
                      <a:pt x="358" y="243"/>
                      <a:pt x="339" y="238"/>
                      <a:pt x="339" y="238"/>
                    </a:cubicBezTo>
                    <a:cubicBezTo>
                      <a:pt x="339" y="228"/>
                      <a:pt x="339" y="228"/>
                      <a:pt x="339" y="228"/>
                    </a:cubicBezTo>
                    <a:cubicBezTo>
                      <a:pt x="332" y="222"/>
                      <a:pt x="332" y="222"/>
                      <a:pt x="332" y="222"/>
                    </a:cubicBezTo>
                    <a:cubicBezTo>
                      <a:pt x="337" y="202"/>
                      <a:pt x="337" y="202"/>
                      <a:pt x="337" y="202"/>
                    </a:cubicBezTo>
                    <a:cubicBezTo>
                      <a:pt x="337" y="202"/>
                      <a:pt x="365" y="208"/>
                      <a:pt x="359" y="198"/>
                    </a:cubicBezTo>
                    <a:cubicBezTo>
                      <a:pt x="353" y="188"/>
                      <a:pt x="312" y="156"/>
                      <a:pt x="312" y="156"/>
                    </a:cubicBezTo>
                    <a:cubicBezTo>
                      <a:pt x="299" y="145"/>
                      <a:pt x="299" y="145"/>
                      <a:pt x="299" y="145"/>
                    </a:cubicBezTo>
                    <a:cubicBezTo>
                      <a:pt x="299" y="145"/>
                      <a:pt x="316" y="138"/>
                      <a:pt x="316" y="133"/>
                    </a:cubicBezTo>
                    <a:cubicBezTo>
                      <a:pt x="316" y="128"/>
                      <a:pt x="340" y="126"/>
                      <a:pt x="331" y="116"/>
                    </a:cubicBezTo>
                    <a:cubicBezTo>
                      <a:pt x="322" y="106"/>
                      <a:pt x="316" y="103"/>
                      <a:pt x="312" y="98"/>
                    </a:cubicBezTo>
                    <a:cubicBezTo>
                      <a:pt x="308" y="93"/>
                      <a:pt x="303" y="86"/>
                      <a:pt x="297" y="86"/>
                    </a:cubicBezTo>
                    <a:cubicBezTo>
                      <a:pt x="291" y="86"/>
                      <a:pt x="277" y="94"/>
                      <a:pt x="275" y="82"/>
                    </a:cubicBezTo>
                    <a:cubicBezTo>
                      <a:pt x="273" y="70"/>
                      <a:pt x="270" y="67"/>
                      <a:pt x="270" y="67"/>
                    </a:cubicBezTo>
                    <a:cubicBezTo>
                      <a:pt x="270" y="67"/>
                      <a:pt x="283" y="65"/>
                      <a:pt x="282" y="62"/>
                    </a:cubicBezTo>
                    <a:cubicBezTo>
                      <a:pt x="281" y="59"/>
                      <a:pt x="277" y="53"/>
                      <a:pt x="277" y="53"/>
                    </a:cubicBezTo>
                    <a:cubicBezTo>
                      <a:pt x="280" y="36"/>
                      <a:pt x="280" y="36"/>
                      <a:pt x="280" y="36"/>
                    </a:cubicBezTo>
                    <a:cubicBezTo>
                      <a:pt x="280" y="36"/>
                      <a:pt x="293" y="48"/>
                      <a:pt x="289" y="31"/>
                    </a:cubicBezTo>
                    <a:cubicBezTo>
                      <a:pt x="285" y="14"/>
                      <a:pt x="271" y="13"/>
                      <a:pt x="271" y="13"/>
                    </a:cubicBezTo>
                    <a:cubicBezTo>
                      <a:pt x="248" y="8"/>
                      <a:pt x="248" y="8"/>
                      <a:pt x="248" y="8"/>
                    </a:cubicBezTo>
                    <a:cubicBezTo>
                      <a:pt x="248" y="8"/>
                      <a:pt x="255" y="2"/>
                      <a:pt x="240" y="1"/>
                    </a:cubicBezTo>
                    <a:cubicBezTo>
                      <a:pt x="225" y="0"/>
                      <a:pt x="214" y="7"/>
                      <a:pt x="214" y="7"/>
                    </a:cubicBezTo>
                    <a:cubicBezTo>
                      <a:pt x="214" y="7"/>
                      <a:pt x="203" y="6"/>
                      <a:pt x="198" y="5"/>
                    </a:cubicBezTo>
                    <a:cubicBezTo>
                      <a:pt x="193" y="4"/>
                      <a:pt x="176" y="13"/>
                      <a:pt x="176" y="13"/>
                    </a:cubicBezTo>
                    <a:cubicBezTo>
                      <a:pt x="176" y="13"/>
                      <a:pt x="172" y="26"/>
                      <a:pt x="173" y="30"/>
                    </a:cubicBezTo>
                    <a:cubicBezTo>
                      <a:pt x="174" y="34"/>
                      <a:pt x="173" y="50"/>
                      <a:pt x="173" y="50"/>
                    </a:cubicBezTo>
                    <a:cubicBezTo>
                      <a:pt x="173" y="50"/>
                      <a:pt x="164" y="45"/>
                      <a:pt x="157" y="50"/>
                    </a:cubicBezTo>
                    <a:cubicBezTo>
                      <a:pt x="150" y="55"/>
                      <a:pt x="156" y="65"/>
                      <a:pt x="148" y="65"/>
                    </a:cubicBezTo>
                    <a:cubicBezTo>
                      <a:pt x="140" y="65"/>
                      <a:pt x="128" y="57"/>
                      <a:pt x="123" y="56"/>
                    </a:cubicBezTo>
                    <a:cubicBezTo>
                      <a:pt x="118" y="55"/>
                      <a:pt x="107" y="59"/>
                      <a:pt x="107" y="59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Freeform 273">
                <a:extLst>
                  <a:ext uri="{FF2B5EF4-FFF2-40B4-BE49-F238E27FC236}">
                    <a16:creationId xmlns:a16="http://schemas.microsoft.com/office/drawing/2014/main" id="{37CDF07B-59E9-0C7F-CDA5-163A244FAD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682" y="-14107"/>
                <a:ext cx="76" cy="166"/>
              </a:xfrm>
              <a:custGeom>
                <a:avLst/>
                <a:gdLst>
                  <a:gd name="T0" fmla="*/ 21 w 32"/>
                  <a:gd name="T1" fmla="*/ 54 h 70"/>
                  <a:gd name="T2" fmla="*/ 27 w 32"/>
                  <a:gd name="T3" fmla="*/ 56 h 70"/>
                  <a:gd name="T4" fmla="*/ 32 w 32"/>
                  <a:gd name="T5" fmla="*/ 47 h 70"/>
                  <a:gd name="T6" fmla="*/ 31 w 32"/>
                  <a:gd name="T7" fmla="*/ 1 h 70"/>
                  <a:gd name="T8" fmla="*/ 13 w 32"/>
                  <a:gd name="T9" fmla="*/ 2 h 70"/>
                  <a:gd name="T10" fmla="*/ 6 w 32"/>
                  <a:gd name="T11" fmla="*/ 21 h 70"/>
                  <a:gd name="T12" fmla="*/ 6 w 32"/>
                  <a:gd name="T13" fmla="*/ 40 h 70"/>
                  <a:gd name="T14" fmla="*/ 7 w 32"/>
                  <a:gd name="T15" fmla="*/ 62 h 70"/>
                  <a:gd name="T16" fmla="*/ 21 w 32"/>
                  <a:gd name="T17" fmla="*/ 5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70">
                    <a:moveTo>
                      <a:pt x="21" y="54"/>
                    </a:moveTo>
                    <a:cubicBezTo>
                      <a:pt x="22" y="53"/>
                      <a:pt x="24" y="54"/>
                      <a:pt x="27" y="56"/>
                    </a:cubicBezTo>
                    <a:cubicBezTo>
                      <a:pt x="29" y="51"/>
                      <a:pt x="32" y="47"/>
                      <a:pt x="32" y="47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26" y="0"/>
                      <a:pt x="17" y="0"/>
                      <a:pt x="13" y="2"/>
                    </a:cubicBezTo>
                    <a:cubicBezTo>
                      <a:pt x="7" y="6"/>
                      <a:pt x="6" y="21"/>
                      <a:pt x="6" y="21"/>
                    </a:cubicBezTo>
                    <a:cubicBezTo>
                      <a:pt x="6" y="21"/>
                      <a:pt x="7" y="34"/>
                      <a:pt x="6" y="40"/>
                    </a:cubicBezTo>
                    <a:cubicBezTo>
                      <a:pt x="5" y="46"/>
                      <a:pt x="0" y="54"/>
                      <a:pt x="7" y="62"/>
                    </a:cubicBezTo>
                    <a:cubicBezTo>
                      <a:pt x="13" y="70"/>
                      <a:pt x="18" y="55"/>
                      <a:pt x="21" y="54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Freeform 274">
                <a:extLst>
                  <a:ext uri="{FF2B5EF4-FFF2-40B4-BE49-F238E27FC236}">
                    <a16:creationId xmlns:a16="http://schemas.microsoft.com/office/drawing/2014/main" id="{942B3BA1-44EA-E320-FEA7-B93FFB00F5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646" y="-14215"/>
                <a:ext cx="439" cy="557"/>
              </a:xfrm>
              <a:custGeom>
                <a:avLst/>
                <a:gdLst>
                  <a:gd name="T0" fmla="*/ 169 w 186"/>
                  <a:gd name="T1" fmla="*/ 44 h 236"/>
                  <a:gd name="T2" fmla="*/ 169 w 186"/>
                  <a:gd name="T3" fmla="*/ 30 h 236"/>
                  <a:gd name="T4" fmla="*/ 157 w 186"/>
                  <a:gd name="T5" fmla="*/ 0 h 236"/>
                  <a:gd name="T6" fmla="*/ 73 w 186"/>
                  <a:gd name="T7" fmla="*/ 57 h 236"/>
                  <a:gd name="T8" fmla="*/ 45 w 186"/>
                  <a:gd name="T9" fmla="*/ 45 h 236"/>
                  <a:gd name="T10" fmla="*/ 23 w 186"/>
                  <a:gd name="T11" fmla="*/ 33 h 236"/>
                  <a:gd name="T12" fmla="*/ 19 w 186"/>
                  <a:gd name="T13" fmla="*/ 36 h 236"/>
                  <a:gd name="T14" fmla="*/ 16 w 186"/>
                  <a:gd name="T15" fmla="*/ 45 h 236"/>
                  <a:gd name="T16" fmla="*/ 17 w 186"/>
                  <a:gd name="T17" fmla="*/ 93 h 236"/>
                  <a:gd name="T18" fmla="*/ 10 w 186"/>
                  <a:gd name="T19" fmla="*/ 107 h 236"/>
                  <a:gd name="T20" fmla="*/ 16 w 186"/>
                  <a:gd name="T21" fmla="*/ 115 h 236"/>
                  <a:gd name="T22" fmla="*/ 15 w 186"/>
                  <a:gd name="T23" fmla="*/ 134 h 236"/>
                  <a:gd name="T24" fmla="*/ 4 w 186"/>
                  <a:gd name="T25" fmla="*/ 158 h 236"/>
                  <a:gd name="T26" fmla="*/ 0 w 186"/>
                  <a:gd name="T27" fmla="*/ 211 h 236"/>
                  <a:gd name="T28" fmla="*/ 2 w 186"/>
                  <a:gd name="T29" fmla="*/ 217 h 236"/>
                  <a:gd name="T30" fmla="*/ 3 w 186"/>
                  <a:gd name="T31" fmla="*/ 217 h 236"/>
                  <a:gd name="T32" fmla="*/ 55 w 186"/>
                  <a:gd name="T33" fmla="*/ 225 h 236"/>
                  <a:gd name="T34" fmla="*/ 77 w 186"/>
                  <a:gd name="T35" fmla="*/ 185 h 236"/>
                  <a:gd name="T36" fmla="*/ 108 w 186"/>
                  <a:gd name="T37" fmla="*/ 180 h 236"/>
                  <a:gd name="T38" fmla="*/ 122 w 186"/>
                  <a:gd name="T39" fmla="*/ 147 h 236"/>
                  <a:gd name="T40" fmla="*/ 96 w 186"/>
                  <a:gd name="T41" fmla="*/ 108 h 236"/>
                  <a:gd name="T42" fmla="*/ 64 w 186"/>
                  <a:gd name="T43" fmla="*/ 100 h 236"/>
                  <a:gd name="T44" fmla="*/ 96 w 186"/>
                  <a:gd name="T45" fmla="*/ 94 h 236"/>
                  <a:gd name="T46" fmla="*/ 124 w 186"/>
                  <a:gd name="T47" fmla="*/ 94 h 236"/>
                  <a:gd name="T48" fmla="*/ 132 w 186"/>
                  <a:gd name="T49" fmla="*/ 80 h 236"/>
                  <a:gd name="T50" fmla="*/ 166 w 186"/>
                  <a:gd name="T51" fmla="*/ 76 h 236"/>
                  <a:gd name="T52" fmla="*/ 185 w 186"/>
                  <a:gd name="T53" fmla="*/ 62 h 236"/>
                  <a:gd name="T54" fmla="*/ 186 w 186"/>
                  <a:gd name="T55" fmla="*/ 53 h 236"/>
                  <a:gd name="T56" fmla="*/ 169 w 186"/>
                  <a:gd name="T57" fmla="*/ 44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6" h="236">
                    <a:moveTo>
                      <a:pt x="169" y="44"/>
                    </a:moveTo>
                    <a:cubicBezTo>
                      <a:pt x="169" y="30"/>
                      <a:pt x="169" y="30"/>
                      <a:pt x="169" y="30"/>
                    </a:cubicBezTo>
                    <a:cubicBezTo>
                      <a:pt x="157" y="0"/>
                      <a:pt x="157" y="0"/>
                      <a:pt x="157" y="0"/>
                    </a:cubicBezTo>
                    <a:cubicBezTo>
                      <a:pt x="154" y="2"/>
                      <a:pt x="94" y="57"/>
                      <a:pt x="73" y="57"/>
                    </a:cubicBezTo>
                    <a:cubicBezTo>
                      <a:pt x="52" y="57"/>
                      <a:pt x="45" y="45"/>
                      <a:pt x="45" y="45"/>
                    </a:cubicBezTo>
                    <a:cubicBezTo>
                      <a:pt x="23" y="33"/>
                      <a:pt x="23" y="33"/>
                      <a:pt x="23" y="33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0" y="103"/>
                      <a:pt x="10" y="107"/>
                    </a:cubicBezTo>
                    <a:cubicBezTo>
                      <a:pt x="10" y="111"/>
                      <a:pt x="12" y="111"/>
                      <a:pt x="16" y="115"/>
                    </a:cubicBezTo>
                    <a:cubicBezTo>
                      <a:pt x="20" y="119"/>
                      <a:pt x="18" y="127"/>
                      <a:pt x="15" y="134"/>
                    </a:cubicBezTo>
                    <a:cubicBezTo>
                      <a:pt x="12" y="141"/>
                      <a:pt x="4" y="146"/>
                      <a:pt x="4" y="158"/>
                    </a:cubicBezTo>
                    <a:cubicBezTo>
                      <a:pt x="4" y="170"/>
                      <a:pt x="0" y="211"/>
                      <a:pt x="0" y="211"/>
                    </a:cubicBezTo>
                    <a:cubicBezTo>
                      <a:pt x="2" y="217"/>
                      <a:pt x="2" y="217"/>
                      <a:pt x="2" y="217"/>
                    </a:cubicBezTo>
                    <a:cubicBezTo>
                      <a:pt x="2" y="217"/>
                      <a:pt x="3" y="217"/>
                      <a:pt x="3" y="217"/>
                    </a:cubicBezTo>
                    <a:cubicBezTo>
                      <a:pt x="10" y="216"/>
                      <a:pt x="41" y="236"/>
                      <a:pt x="55" y="225"/>
                    </a:cubicBezTo>
                    <a:cubicBezTo>
                      <a:pt x="69" y="214"/>
                      <a:pt x="71" y="187"/>
                      <a:pt x="77" y="185"/>
                    </a:cubicBezTo>
                    <a:cubicBezTo>
                      <a:pt x="83" y="183"/>
                      <a:pt x="100" y="187"/>
                      <a:pt x="108" y="180"/>
                    </a:cubicBezTo>
                    <a:cubicBezTo>
                      <a:pt x="116" y="173"/>
                      <a:pt x="122" y="147"/>
                      <a:pt x="122" y="147"/>
                    </a:cubicBezTo>
                    <a:cubicBezTo>
                      <a:pt x="122" y="147"/>
                      <a:pt x="103" y="112"/>
                      <a:pt x="96" y="108"/>
                    </a:cubicBezTo>
                    <a:cubicBezTo>
                      <a:pt x="89" y="104"/>
                      <a:pt x="57" y="107"/>
                      <a:pt x="64" y="100"/>
                    </a:cubicBezTo>
                    <a:cubicBezTo>
                      <a:pt x="71" y="93"/>
                      <a:pt x="96" y="94"/>
                      <a:pt x="96" y="94"/>
                    </a:cubicBezTo>
                    <a:cubicBezTo>
                      <a:pt x="124" y="94"/>
                      <a:pt x="124" y="94"/>
                      <a:pt x="124" y="94"/>
                    </a:cubicBezTo>
                    <a:cubicBezTo>
                      <a:pt x="132" y="80"/>
                      <a:pt x="132" y="80"/>
                      <a:pt x="132" y="80"/>
                    </a:cubicBezTo>
                    <a:cubicBezTo>
                      <a:pt x="132" y="80"/>
                      <a:pt x="160" y="82"/>
                      <a:pt x="166" y="76"/>
                    </a:cubicBezTo>
                    <a:cubicBezTo>
                      <a:pt x="172" y="70"/>
                      <a:pt x="185" y="62"/>
                      <a:pt x="185" y="62"/>
                    </a:cubicBezTo>
                    <a:cubicBezTo>
                      <a:pt x="186" y="53"/>
                      <a:pt x="186" y="53"/>
                      <a:pt x="186" y="53"/>
                    </a:cubicBezTo>
                    <a:lnTo>
                      <a:pt x="169" y="4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Freeform 275">
                <a:extLst>
                  <a:ext uri="{FF2B5EF4-FFF2-40B4-BE49-F238E27FC236}">
                    <a16:creationId xmlns:a16="http://schemas.microsoft.com/office/drawing/2014/main" id="{E5530697-1552-51F8-29C0-4BAA91827F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743" y="-14227"/>
                <a:ext cx="158" cy="510"/>
              </a:xfrm>
              <a:custGeom>
                <a:avLst/>
                <a:gdLst>
                  <a:gd name="T0" fmla="*/ 0 w 67"/>
                  <a:gd name="T1" fmla="*/ 113 h 216"/>
                  <a:gd name="T2" fmla="*/ 36 w 67"/>
                  <a:gd name="T3" fmla="*/ 206 h 216"/>
                  <a:gd name="T4" fmla="*/ 41 w 67"/>
                  <a:gd name="T5" fmla="*/ 216 h 216"/>
                  <a:gd name="T6" fmla="*/ 45 w 67"/>
                  <a:gd name="T7" fmla="*/ 163 h 216"/>
                  <a:gd name="T8" fmla="*/ 56 w 67"/>
                  <a:gd name="T9" fmla="*/ 139 h 216"/>
                  <a:gd name="T10" fmla="*/ 57 w 67"/>
                  <a:gd name="T11" fmla="*/ 120 h 216"/>
                  <a:gd name="T12" fmla="*/ 51 w 67"/>
                  <a:gd name="T13" fmla="*/ 112 h 216"/>
                  <a:gd name="T14" fmla="*/ 53 w 67"/>
                  <a:gd name="T15" fmla="*/ 107 h 216"/>
                  <a:gd name="T16" fmla="*/ 47 w 67"/>
                  <a:gd name="T17" fmla="*/ 105 h 216"/>
                  <a:gd name="T18" fmla="*/ 33 w 67"/>
                  <a:gd name="T19" fmla="*/ 113 h 216"/>
                  <a:gd name="T20" fmla="*/ 32 w 67"/>
                  <a:gd name="T21" fmla="*/ 91 h 216"/>
                  <a:gd name="T22" fmla="*/ 32 w 67"/>
                  <a:gd name="T23" fmla="*/ 72 h 216"/>
                  <a:gd name="T24" fmla="*/ 39 w 67"/>
                  <a:gd name="T25" fmla="*/ 53 h 216"/>
                  <a:gd name="T26" fmla="*/ 57 w 67"/>
                  <a:gd name="T27" fmla="*/ 52 h 216"/>
                  <a:gd name="T28" fmla="*/ 57 w 67"/>
                  <a:gd name="T29" fmla="*/ 50 h 216"/>
                  <a:gd name="T30" fmla="*/ 60 w 67"/>
                  <a:gd name="T31" fmla="*/ 41 h 216"/>
                  <a:gd name="T32" fmla="*/ 57 w 67"/>
                  <a:gd name="T33" fmla="*/ 11 h 216"/>
                  <a:gd name="T34" fmla="*/ 67 w 67"/>
                  <a:gd name="T35" fmla="*/ 0 h 216"/>
                  <a:gd name="T36" fmla="*/ 52 w 67"/>
                  <a:gd name="T37" fmla="*/ 3 h 216"/>
                  <a:gd name="T38" fmla="*/ 48 w 67"/>
                  <a:gd name="T39" fmla="*/ 20 h 216"/>
                  <a:gd name="T40" fmla="*/ 34 w 67"/>
                  <a:gd name="T41" fmla="*/ 21 h 216"/>
                  <a:gd name="T42" fmla="*/ 27 w 67"/>
                  <a:gd name="T43" fmla="*/ 34 h 216"/>
                  <a:gd name="T44" fmla="*/ 22 w 67"/>
                  <a:gd name="T45" fmla="*/ 39 h 216"/>
                  <a:gd name="T46" fmla="*/ 27 w 67"/>
                  <a:gd name="T47" fmla="*/ 63 h 216"/>
                  <a:gd name="T48" fmla="*/ 13 w 67"/>
                  <a:gd name="T49" fmla="*/ 89 h 216"/>
                  <a:gd name="T50" fmla="*/ 11 w 67"/>
                  <a:gd name="T51" fmla="*/ 105 h 216"/>
                  <a:gd name="T52" fmla="*/ 0 w 67"/>
                  <a:gd name="T53" fmla="*/ 113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7" h="216">
                    <a:moveTo>
                      <a:pt x="0" y="113"/>
                    </a:moveTo>
                    <a:cubicBezTo>
                      <a:pt x="36" y="206"/>
                      <a:pt x="36" y="206"/>
                      <a:pt x="36" y="206"/>
                    </a:cubicBezTo>
                    <a:cubicBezTo>
                      <a:pt x="41" y="216"/>
                      <a:pt x="41" y="216"/>
                      <a:pt x="41" y="216"/>
                    </a:cubicBezTo>
                    <a:cubicBezTo>
                      <a:pt x="41" y="216"/>
                      <a:pt x="45" y="175"/>
                      <a:pt x="45" y="163"/>
                    </a:cubicBezTo>
                    <a:cubicBezTo>
                      <a:pt x="45" y="151"/>
                      <a:pt x="53" y="146"/>
                      <a:pt x="56" y="139"/>
                    </a:cubicBezTo>
                    <a:cubicBezTo>
                      <a:pt x="59" y="132"/>
                      <a:pt x="61" y="124"/>
                      <a:pt x="57" y="120"/>
                    </a:cubicBezTo>
                    <a:cubicBezTo>
                      <a:pt x="53" y="116"/>
                      <a:pt x="51" y="116"/>
                      <a:pt x="51" y="112"/>
                    </a:cubicBezTo>
                    <a:cubicBezTo>
                      <a:pt x="51" y="111"/>
                      <a:pt x="52" y="109"/>
                      <a:pt x="53" y="107"/>
                    </a:cubicBezTo>
                    <a:cubicBezTo>
                      <a:pt x="50" y="105"/>
                      <a:pt x="48" y="104"/>
                      <a:pt x="47" y="105"/>
                    </a:cubicBezTo>
                    <a:cubicBezTo>
                      <a:pt x="44" y="106"/>
                      <a:pt x="39" y="121"/>
                      <a:pt x="33" y="113"/>
                    </a:cubicBezTo>
                    <a:cubicBezTo>
                      <a:pt x="26" y="105"/>
                      <a:pt x="31" y="97"/>
                      <a:pt x="32" y="91"/>
                    </a:cubicBezTo>
                    <a:cubicBezTo>
                      <a:pt x="33" y="85"/>
                      <a:pt x="32" y="72"/>
                      <a:pt x="32" y="72"/>
                    </a:cubicBezTo>
                    <a:cubicBezTo>
                      <a:pt x="32" y="72"/>
                      <a:pt x="33" y="57"/>
                      <a:pt x="39" y="53"/>
                    </a:cubicBezTo>
                    <a:cubicBezTo>
                      <a:pt x="43" y="51"/>
                      <a:pt x="52" y="51"/>
                      <a:pt x="57" y="52"/>
                    </a:cubicBezTo>
                    <a:cubicBezTo>
                      <a:pt x="57" y="50"/>
                      <a:pt x="57" y="50"/>
                      <a:pt x="57" y="50"/>
                    </a:cubicBezTo>
                    <a:cubicBezTo>
                      <a:pt x="60" y="41"/>
                      <a:pt x="60" y="41"/>
                      <a:pt x="60" y="41"/>
                    </a:cubicBezTo>
                    <a:cubicBezTo>
                      <a:pt x="57" y="11"/>
                      <a:pt x="57" y="11"/>
                      <a:pt x="57" y="11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2" y="3"/>
                      <a:pt x="53" y="13"/>
                      <a:pt x="48" y="20"/>
                    </a:cubicBezTo>
                    <a:cubicBezTo>
                      <a:pt x="43" y="27"/>
                      <a:pt x="34" y="21"/>
                      <a:pt x="34" y="21"/>
                    </a:cubicBezTo>
                    <a:cubicBezTo>
                      <a:pt x="27" y="34"/>
                      <a:pt x="27" y="34"/>
                      <a:pt x="27" y="34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23" y="52"/>
                      <a:pt x="27" y="63"/>
                      <a:pt x="27" y="63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1" y="105"/>
                      <a:pt x="11" y="105"/>
                      <a:pt x="11" y="105"/>
                    </a:cubicBezTo>
                    <a:lnTo>
                      <a:pt x="0" y="11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Freeform 276">
                <a:extLst>
                  <a:ext uri="{FF2B5EF4-FFF2-40B4-BE49-F238E27FC236}">
                    <a16:creationId xmlns:a16="http://schemas.microsoft.com/office/drawing/2014/main" id="{CBAF244B-040E-2174-6E02-A50E04F02B2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8308" y="-13495"/>
                <a:ext cx="947" cy="810"/>
              </a:xfrm>
              <a:custGeom>
                <a:avLst/>
                <a:gdLst>
                  <a:gd name="T0" fmla="*/ 364 w 401"/>
                  <a:gd name="T1" fmla="*/ 0 h 343"/>
                  <a:gd name="T2" fmla="*/ 192 w 401"/>
                  <a:gd name="T3" fmla="*/ 0 h 343"/>
                  <a:gd name="T4" fmla="*/ 186 w 401"/>
                  <a:gd name="T5" fmla="*/ 12 h 343"/>
                  <a:gd name="T6" fmla="*/ 176 w 401"/>
                  <a:gd name="T7" fmla="*/ 47 h 343"/>
                  <a:gd name="T8" fmla="*/ 160 w 401"/>
                  <a:gd name="T9" fmla="*/ 61 h 343"/>
                  <a:gd name="T10" fmla="*/ 140 w 401"/>
                  <a:gd name="T11" fmla="*/ 66 h 343"/>
                  <a:gd name="T12" fmla="*/ 125 w 401"/>
                  <a:gd name="T13" fmla="*/ 72 h 343"/>
                  <a:gd name="T14" fmla="*/ 123 w 401"/>
                  <a:gd name="T15" fmla="*/ 97 h 343"/>
                  <a:gd name="T16" fmla="*/ 104 w 401"/>
                  <a:gd name="T17" fmla="*/ 122 h 343"/>
                  <a:gd name="T18" fmla="*/ 108 w 401"/>
                  <a:gd name="T19" fmla="*/ 158 h 343"/>
                  <a:gd name="T20" fmla="*/ 92 w 401"/>
                  <a:gd name="T21" fmla="*/ 171 h 343"/>
                  <a:gd name="T22" fmla="*/ 78 w 401"/>
                  <a:gd name="T23" fmla="*/ 190 h 343"/>
                  <a:gd name="T24" fmla="*/ 58 w 401"/>
                  <a:gd name="T25" fmla="*/ 201 h 343"/>
                  <a:gd name="T26" fmla="*/ 52 w 401"/>
                  <a:gd name="T27" fmla="*/ 212 h 343"/>
                  <a:gd name="T28" fmla="*/ 60 w 401"/>
                  <a:gd name="T29" fmla="*/ 216 h 343"/>
                  <a:gd name="T30" fmla="*/ 45 w 401"/>
                  <a:gd name="T31" fmla="*/ 237 h 343"/>
                  <a:gd name="T32" fmla="*/ 41 w 401"/>
                  <a:gd name="T33" fmla="*/ 259 h 343"/>
                  <a:gd name="T34" fmla="*/ 32 w 401"/>
                  <a:gd name="T35" fmla="*/ 259 h 343"/>
                  <a:gd name="T36" fmla="*/ 31 w 401"/>
                  <a:gd name="T37" fmla="*/ 281 h 343"/>
                  <a:gd name="T38" fmla="*/ 18 w 401"/>
                  <a:gd name="T39" fmla="*/ 286 h 343"/>
                  <a:gd name="T40" fmla="*/ 1 w 401"/>
                  <a:gd name="T41" fmla="*/ 318 h 343"/>
                  <a:gd name="T42" fmla="*/ 0 w 401"/>
                  <a:gd name="T43" fmla="*/ 343 h 343"/>
                  <a:gd name="T44" fmla="*/ 186 w 401"/>
                  <a:gd name="T45" fmla="*/ 341 h 343"/>
                  <a:gd name="T46" fmla="*/ 187 w 401"/>
                  <a:gd name="T47" fmla="*/ 272 h 343"/>
                  <a:gd name="T48" fmla="*/ 189 w 401"/>
                  <a:gd name="T49" fmla="*/ 247 h 343"/>
                  <a:gd name="T50" fmla="*/ 208 w 401"/>
                  <a:gd name="T51" fmla="*/ 236 h 343"/>
                  <a:gd name="T52" fmla="*/ 235 w 401"/>
                  <a:gd name="T53" fmla="*/ 231 h 343"/>
                  <a:gd name="T54" fmla="*/ 238 w 401"/>
                  <a:gd name="T55" fmla="*/ 101 h 343"/>
                  <a:gd name="T56" fmla="*/ 243 w 401"/>
                  <a:gd name="T57" fmla="*/ 98 h 343"/>
                  <a:gd name="T58" fmla="*/ 243 w 401"/>
                  <a:gd name="T59" fmla="*/ 88 h 343"/>
                  <a:gd name="T60" fmla="*/ 391 w 401"/>
                  <a:gd name="T61" fmla="*/ 87 h 343"/>
                  <a:gd name="T62" fmla="*/ 392 w 401"/>
                  <a:gd name="T63" fmla="*/ 62 h 343"/>
                  <a:gd name="T64" fmla="*/ 397 w 401"/>
                  <a:gd name="T65" fmla="*/ 58 h 343"/>
                  <a:gd name="T66" fmla="*/ 401 w 401"/>
                  <a:gd name="T67" fmla="*/ 2 h 343"/>
                  <a:gd name="T68" fmla="*/ 364 w 401"/>
                  <a:gd name="T69" fmla="*/ 0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01" h="343">
                    <a:moveTo>
                      <a:pt x="364" y="0"/>
                    </a:moveTo>
                    <a:cubicBezTo>
                      <a:pt x="192" y="0"/>
                      <a:pt x="192" y="0"/>
                      <a:pt x="192" y="0"/>
                    </a:cubicBezTo>
                    <a:cubicBezTo>
                      <a:pt x="190" y="3"/>
                      <a:pt x="188" y="8"/>
                      <a:pt x="186" y="12"/>
                    </a:cubicBezTo>
                    <a:cubicBezTo>
                      <a:pt x="181" y="25"/>
                      <a:pt x="176" y="47"/>
                      <a:pt x="176" y="47"/>
                    </a:cubicBezTo>
                    <a:cubicBezTo>
                      <a:pt x="176" y="47"/>
                      <a:pt x="164" y="57"/>
                      <a:pt x="160" y="61"/>
                    </a:cubicBezTo>
                    <a:cubicBezTo>
                      <a:pt x="156" y="65"/>
                      <a:pt x="140" y="66"/>
                      <a:pt x="140" y="66"/>
                    </a:cubicBezTo>
                    <a:cubicBezTo>
                      <a:pt x="140" y="66"/>
                      <a:pt x="129" y="63"/>
                      <a:pt x="125" y="72"/>
                    </a:cubicBezTo>
                    <a:cubicBezTo>
                      <a:pt x="121" y="81"/>
                      <a:pt x="123" y="97"/>
                      <a:pt x="123" y="97"/>
                    </a:cubicBezTo>
                    <a:cubicBezTo>
                      <a:pt x="123" y="97"/>
                      <a:pt x="104" y="116"/>
                      <a:pt x="104" y="122"/>
                    </a:cubicBezTo>
                    <a:cubicBezTo>
                      <a:pt x="104" y="128"/>
                      <a:pt x="115" y="145"/>
                      <a:pt x="108" y="158"/>
                    </a:cubicBezTo>
                    <a:cubicBezTo>
                      <a:pt x="101" y="171"/>
                      <a:pt x="92" y="171"/>
                      <a:pt x="92" y="171"/>
                    </a:cubicBezTo>
                    <a:cubicBezTo>
                      <a:pt x="92" y="171"/>
                      <a:pt x="83" y="185"/>
                      <a:pt x="78" y="190"/>
                    </a:cubicBezTo>
                    <a:cubicBezTo>
                      <a:pt x="73" y="195"/>
                      <a:pt x="62" y="197"/>
                      <a:pt x="58" y="201"/>
                    </a:cubicBezTo>
                    <a:cubicBezTo>
                      <a:pt x="54" y="205"/>
                      <a:pt x="52" y="212"/>
                      <a:pt x="52" y="212"/>
                    </a:cubicBezTo>
                    <a:cubicBezTo>
                      <a:pt x="60" y="216"/>
                      <a:pt x="60" y="216"/>
                      <a:pt x="60" y="216"/>
                    </a:cubicBezTo>
                    <a:cubicBezTo>
                      <a:pt x="60" y="216"/>
                      <a:pt x="49" y="227"/>
                      <a:pt x="45" y="237"/>
                    </a:cubicBezTo>
                    <a:cubicBezTo>
                      <a:pt x="41" y="247"/>
                      <a:pt x="41" y="259"/>
                      <a:pt x="41" y="259"/>
                    </a:cubicBezTo>
                    <a:cubicBezTo>
                      <a:pt x="32" y="259"/>
                      <a:pt x="32" y="259"/>
                      <a:pt x="32" y="259"/>
                    </a:cubicBezTo>
                    <a:cubicBezTo>
                      <a:pt x="32" y="259"/>
                      <a:pt x="42" y="271"/>
                      <a:pt x="31" y="281"/>
                    </a:cubicBezTo>
                    <a:cubicBezTo>
                      <a:pt x="20" y="291"/>
                      <a:pt x="18" y="286"/>
                      <a:pt x="18" y="286"/>
                    </a:cubicBezTo>
                    <a:cubicBezTo>
                      <a:pt x="18" y="286"/>
                      <a:pt x="1" y="304"/>
                      <a:pt x="1" y="318"/>
                    </a:cubicBezTo>
                    <a:cubicBezTo>
                      <a:pt x="1" y="325"/>
                      <a:pt x="1" y="335"/>
                      <a:pt x="0" y="343"/>
                    </a:cubicBezTo>
                    <a:cubicBezTo>
                      <a:pt x="186" y="341"/>
                      <a:pt x="186" y="341"/>
                      <a:pt x="186" y="341"/>
                    </a:cubicBezTo>
                    <a:cubicBezTo>
                      <a:pt x="187" y="272"/>
                      <a:pt x="187" y="272"/>
                      <a:pt x="187" y="272"/>
                    </a:cubicBezTo>
                    <a:cubicBezTo>
                      <a:pt x="187" y="272"/>
                      <a:pt x="178" y="257"/>
                      <a:pt x="189" y="247"/>
                    </a:cubicBezTo>
                    <a:cubicBezTo>
                      <a:pt x="200" y="237"/>
                      <a:pt x="208" y="236"/>
                      <a:pt x="208" y="236"/>
                    </a:cubicBezTo>
                    <a:cubicBezTo>
                      <a:pt x="208" y="236"/>
                      <a:pt x="233" y="237"/>
                      <a:pt x="235" y="231"/>
                    </a:cubicBezTo>
                    <a:cubicBezTo>
                      <a:pt x="237" y="225"/>
                      <a:pt x="238" y="101"/>
                      <a:pt x="238" y="101"/>
                    </a:cubicBezTo>
                    <a:cubicBezTo>
                      <a:pt x="243" y="98"/>
                      <a:pt x="243" y="98"/>
                      <a:pt x="243" y="98"/>
                    </a:cubicBezTo>
                    <a:cubicBezTo>
                      <a:pt x="243" y="88"/>
                      <a:pt x="243" y="88"/>
                      <a:pt x="243" y="88"/>
                    </a:cubicBezTo>
                    <a:cubicBezTo>
                      <a:pt x="391" y="87"/>
                      <a:pt x="391" y="87"/>
                      <a:pt x="391" y="87"/>
                    </a:cubicBezTo>
                    <a:cubicBezTo>
                      <a:pt x="392" y="62"/>
                      <a:pt x="392" y="62"/>
                      <a:pt x="392" y="62"/>
                    </a:cubicBezTo>
                    <a:cubicBezTo>
                      <a:pt x="397" y="58"/>
                      <a:pt x="397" y="58"/>
                      <a:pt x="397" y="58"/>
                    </a:cubicBezTo>
                    <a:cubicBezTo>
                      <a:pt x="401" y="2"/>
                      <a:pt x="401" y="2"/>
                      <a:pt x="401" y="2"/>
                    </a:cubicBezTo>
                    <a:lnTo>
                      <a:pt x="364" y="0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Freeform 277">
                <a:extLst>
                  <a:ext uri="{FF2B5EF4-FFF2-40B4-BE49-F238E27FC236}">
                    <a16:creationId xmlns:a16="http://schemas.microsoft.com/office/drawing/2014/main" id="{54809D3C-7736-9377-520A-57794DC5B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8273" y="-11600"/>
                <a:ext cx="295" cy="243"/>
              </a:xfrm>
              <a:custGeom>
                <a:avLst/>
                <a:gdLst>
                  <a:gd name="T0" fmla="*/ 85 w 125"/>
                  <a:gd name="T1" fmla="*/ 67 h 103"/>
                  <a:gd name="T2" fmla="*/ 102 w 125"/>
                  <a:gd name="T3" fmla="*/ 60 h 103"/>
                  <a:gd name="T4" fmla="*/ 124 w 125"/>
                  <a:gd name="T5" fmla="*/ 49 h 103"/>
                  <a:gd name="T6" fmla="*/ 108 w 125"/>
                  <a:gd name="T7" fmla="*/ 28 h 103"/>
                  <a:gd name="T8" fmla="*/ 124 w 125"/>
                  <a:gd name="T9" fmla="*/ 19 h 103"/>
                  <a:gd name="T10" fmla="*/ 123 w 125"/>
                  <a:gd name="T11" fmla="*/ 2 h 103"/>
                  <a:gd name="T12" fmla="*/ 56 w 125"/>
                  <a:gd name="T13" fmla="*/ 0 h 103"/>
                  <a:gd name="T14" fmla="*/ 39 w 125"/>
                  <a:gd name="T15" fmla="*/ 15 h 103"/>
                  <a:gd name="T16" fmla="*/ 12 w 125"/>
                  <a:gd name="T17" fmla="*/ 15 h 103"/>
                  <a:gd name="T18" fmla="*/ 4 w 125"/>
                  <a:gd name="T19" fmla="*/ 25 h 103"/>
                  <a:gd name="T20" fmla="*/ 0 w 125"/>
                  <a:gd name="T21" fmla="*/ 48 h 103"/>
                  <a:gd name="T22" fmla="*/ 15 w 125"/>
                  <a:gd name="T23" fmla="*/ 50 h 103"/>
                  <a:gd name="T24" fmla="*/ 46 w 125"/>
                  <a:gd name="T25" fmla="*/ 45 h 103"/>
                  <a:gd name="T26" fmla="*/ 63 w 125"/>
                  <a:gd name="T27" fmla="*/ 39 h 103"/>
                  <a:gd name="T28" fmla="*/ 63 w 125"/>
                  <a:gd name="T29" fmla="*/ 54 h 103"/>
                  <a:gd name="T30" fmla="*/ 37 w 125"/>
                  <a:gd name="T31" fmla="*/ 52 h 103"/>
                  <a:gd name="T32" fmla="*/ 42 w 125"/>
                  <a:gd name="T33" fmla="*/ 68 h 103"/>
                  <a:gd name="T34" fmla="*/ 63 w 125"/>
                  <a:gd name="T35" fmla="*/ 63 h 103"/>
                  <a:gd name="T36" fmla="*/ 39 w 125"/>
                  <a:gd name="T37" fmla="*/ 75 h 103"/>
                  <a:gd name="T38" fmla="*/ 58 w 125"/>
                  <a:gd name="T39" fmla="*/ 103 h 103"/>
                  <a:gd name="T40" fmla="*/ 63 w 125"/>
                  <a:gd name="T41" fmla="*/ 88 h 103"/>
                  <a:gd name="T42" fmla="*/ 72 w 125"/>
                  <a:gd name="T43" fmla="*/ 68 h 103"/>
                  <a:gd name="T44" fmla="*/ 85 w 125"/>
                  <a:gd name="T45" fmla="*/ 67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25" h="103">
                    <a:moveTo>
                      <a:pt x="85" y="67"/>
                    </a:moveTo>
                    <a:cubicBezTo>
                      <a:pt x="85" y="67"/>
                      <a:pt x="92" y="60"/>
                      <a:pt x="102" y="60"/>
                    </a:cubicBezTo>
                    <a:cubicBezTo>
                      <a:pt x="112" y="60"/>
                      <a:pt x="123" y="64"/>
                      <a:pt x="124" y="49"/>
                    </a:cubicBezTo>
                    <a:cubicBezTo>
                      <a:pt x="125" y="34"/>
                      <a:pt x="108" y="39"/>
                      <a:pt x="108" y="28"/>
                    </a:cubicBezTo>
                    <a:cubicBezTo>
                      <a:pt x="108" y="17"/>
                      <a:pt x="124" y="19"/>
                      <a:pt x="124" y="19"/>
                    </a:cubicBezTo>
                    <a:cubicBezTo>
                      <a:pt x="123" y="2"/>
                      <a:pt x="123" y="2"/>
                      <a:pt x="123" y="2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39" y="15"/>
                      <a:pt x="39" y="15"/>
                      <a:pt x="39" y="15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8"/>
                      <a:pt x="8" y="56"/>
                      <a:pt x="15" y="50"/>
                    </a:cubicBezTo>
                    <a:cubicBezTo>
                      <a:pt x="22" y="44"/>
                      <a:pt x="46" y="45"/>
                      <a:pt x="46" y="45"/>
                    </a:cubicBezTo>
                    <a:cubicBezTo>
                      <a:pt x="63" y="39"/>
                      <a:pt x="63" y="39"/>
                      <a:pt x="63" y="39"/>
                    </a:cubicBezTo>
                    <a:cubicBezTo>
                      <a:pt x="63" y="54"/>
                      <a:pt x="63" y="54"/>
                      <a:pt x="63" y="54"/>
                    </a:cubicBezTo>
                    <a:cubicBezTo>
                      <a:pt x="63" y="54"/>
                      <a:pt x="39" y="42"/>
                      <a:pt x="37" y="52"/>
                    </a:cubicBezTo>
                    <a:cubicBezTo>
                      <a:pt x="35" y="62"/>
                      <a:pt x="42" y="68"/>
                      <a:pt x="42" y="68"/>
                    </a:cubicBezTo>
                    <a:cubicBezTo>
                      <a:pt x="63" y="63"/>
                      <a:pt x="63" y="63"/>
                      <a:pt x="63" y="63"/>
                    </a:cubicBezTo>
                    <a:cubicBezTo>
                      <a:pt x="39" y="75"/>
                      <a:pt x="39" y="75"/>
                      <a:pt x="39" y="75"/>
                    </a:cubicBezTo>
                    <a:cubicBezTo>
                      <a:pt x="58" y="103"/>
                      <a:pt x="58" y="103"/>
                      <a:pt x="58" y="103"/>
                    </a:cubicBezTo>
                    <a:cubicBezTo>
                      <a:pt x="63" y="88"/>
                      <a:pt x="63" y="88"/>
                      <a:pt x="63" y="88"/>
                    </a:cubicBezTo>
                    <a:cubicBezTo>
                      <a:pt x="72" y="68"/>
                      <a:pt x="72" y="68"/>
                      <a:pt x="72" y="68"/>
                    </a:cubicBezTo>
                    <a:lnTo>
                      <a:pt x="85" y="6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Freeform 278">
                <a:extLst>
                  <a:ext uri="{FF2B5EF4-FFF2-40B4-BE49-F238E27FC236}">
                    <a16:creationId xmlns:a16="http://schemas.microsoft.com/office/drawing/2014/main" id="{9E9C614A-7526-794E-ED87-233A9AC21AD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8323" y="-11742"/>
                <a:ext cx="364" cy="92"/>
              </a:xfrm>
              <a:custGeom>
                <a:avLst/>
                <a:gdLst>
                  <a:gd name="T0" fmla="*/ 11 w 154"/>
                  <a:gd name="T1" fmla="*/ 15 h 39"/>
                  <a:gd name="T2" fmla="*/ 0 w 154"/>
                  <a:gd name="T3" fmla="*/ 37 h 39"/>
                  <a:gd name="T4" fmla="*/ 0 w 154"/>
                  <a:gd name="T5" fmla="*/ 39 h 39"/>
                  <a:gd name="T6" fmla="*/ 43 w 154"/>
                  <a:gd name="T7" fmla="*/ 39 h 39"/>
                  <a:gd name="T8" fmla="*/ 47 w 154"/>
                  <a:gd name="T9" fmla="*/ 30 h 39"/>
                  <a:gd name="T10" fmla="*/ 72 w 154"/>
                  <a:gd name="T11" fmla="*/ 27 h 39"/>
                  <a:gd name="T12" fmla="*/ 84 w 154"/>
                  <a:gd name="T13" fmla="*/ 15 h 39"/>
                  <a:gd name="T14" fmla="*/ 118 w 154"/>
                  <a:gd name="T15" fmla="*/ 34 h 39"/>
                  <a:gd name="T16" fmla="*/ 137 w 154"/>
                  <a:gd name="T17" fmla="*/ 15 h 39"/>
                  <a:gd name="T18" fmla="*/ 116 w 154"/>
                  <a:gd name="T19" fmla="*/ 20 h 39"/>
                  <a:gd name="T20" fmla="*/ 103 w 154"/>
                  <a:gd name="T21" fmla="*/ 8 h 39"/>
                  <a:gd name="T22" fmla="*/ 95 w 154"/>
                  <a:gd name="T23" fmla="*/ 10 h 39"/>
                  <a:gd name="T24" fmla="*/ 84 w 154"/>
                  <a:gd name="T25" fmla="*/ 2 h 39"/>
                  <a:gd name="T26" fmla="*/ 59 w 154"/>
                  <a:gd name="T27" fmla="*/ 3 h 39"/>
                  <a:gd name="T28" fmla="*/ 59 w 154"/>
                  <a:gd name="T29" fmla="*/ 13 h 39"/>
                  <a:gd name="T30" fmla="*/ 9 w 154"/>
                  <a:gd name="T31" fmla="*/ 13 h 39"/>
                  <a:gd name="T32" fmla="*/ 11 w 154"/>
                  <a:gd name="T33" fmla="*/ 15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39">
                    <a:moveTo>
                      <a:pt x="11" y="15"/>
                    </a:moveTo>
                    <a:cubicBezTo>
                      <a:pt x="11" y="15"/>
                      <a:pt x="1" y="30"/>
                      <a:pt x="0" y="37"/>
                    </a:cubicBezTo>
                    <a:cubicBezTo>
                      <a:pt x="0" y="38"/>
                      <a:pt x="0" y="38"/>
                      <a:pt x="0" y="39"/>
                    </a:cubicBezTo>
                    <a:cubicBezTo>
                      <a:pt x="11" y="39"/>
                      <a:pt x="41" y="39"/>
                      <a:pt x="43" y="39"/>
                    </a:cubicBezTo>
                    <a:cubicBezTo>
                      <a:pt x="46" y="39"/>
                      <a:pt x="47" y="30"/>
                      <a:pt x="47" y="30"/>
                    </a:cubicBezTo>
                    <a:cubicBezTo>
                      <a:pt x="47" y="30"/>
                      <a:pt x="66" y="28"/>
                      <a:pt x="72" y="27"/>
                    </a:cubicBezTo>
                    <a:cubicBezTo>
                      <a:pt x="78" y="26"/>
                      <a:pt x="84" y="15"/>
                      <a:pt x="84" y="15"/>
                    </a:cubicBezTo>
                    <a:cubicBezTo>
                      <a:pt x="84" y="15"/>
                      <a:pt x="100" y="34"/>
                      <a:pt x="118" y="34"/>
                    </a:cubicBezTo>
                    <a:cubicBezTo>
                      <a:pt x="136" y="34"/>
                      <a:pt x="154" y="19"/>
                      <a:pt x="137" y="15"/>
                    </a:cubicBezTo>
                    <a:cubicBezTo>
                      <a:pt x="120" y="11"/>
                      <a:pt x="121" y="21"/>
                      <a:pt x="116" y="20"/>
                    </a:cubicBezTo>
                    <a:cubicBezTo>
                      <a:pt x="111" y="19"/>
                      <a:pt x="103" y="8"/>
                      <a:pt x="103" y="8"/>
                    </a:cubicBezTo>
                    <a:cubicBezTo>
                      <a:pt x="95" y="10"/>
                      <a:pt x="95" y="10"/>
                      <a:pt x="95" y="10"/>
                    </a:cubicBezTo>
                    <a:cubicBezTo>
                      <a:pt x="95" y="10"/>
                      <a:pt x="97" y="0"/>
                      <a:pt x="84" y="2"/>
                    </a:cubicBezTo>
                    <a:cubicBezTo>
                      <a:pt x="71" y="4"/>
                      <a:pt x="59" y="3"/>
                      <a:pt x="59" y="3"/>
                    </a:cubicBezTo>
                    <a:cubicBezTo>
                      <a:pt x="59" y="13"/>
                      <a:pt x="59" y="13"/>
                      <a:pt x="59" y="13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0" y="14"/>
                      <a:pt x="11" y="15"/>
                      <a:pt x="11" y="15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Freeform 279">
                <a:extLst>
                  <a:ext uri="{FF2B5EF4-FFF2-40B4-BE49-F238E27FC236}">
                    <a16:creationId xmlns:a16="http://schemas.microsoft.com/office/drawing/2014/main" id="{0D1323C1-50CA-5214-FF30-120B5D7BA87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775" y="-11090"/>
                <a:ext cx="489" cy="558"/>
              </a:xfrm>
              <a:custGeom>
                <a:avLst/>
                <a:gdLst>
                  <a:gd name="T0" fmla="*/ 207 w 207"/>
                  <a:gd name="T1" fmla="*/ 175 h 236"/>
                  <a:gd name="T2" fmla="*/ 186 w 207"/>
                  <a:gd name="T3" fmla="*/ 146 h 236"/>
                  <a:gd name="T4" fmla="*/ 185 w 207"/>
                  <a:gd name="T5" fmla="*/ 129 h 236"/>
                  <a:gd name="T6" fmla="*/ 161 w 207"/>
                  <a:gd name="T7" fmla="*/ 133 h 236"/>
                  <a:gd name="T8" fmla="*/ 161 w 207"/>
                  <a:gd name="T9" fmla="*/ 123 h 236"/>
                  <a:gd name="T10" fmla="*/ 148 w 207"/>
                  <a:gd name="T11" fmla="*/ 121 h 236"/>
                  <a:gd name="T12" fmla="*/ 162 w 207"/>
                  <a:gd name="T13" fmla="*/ 89 h 236"/>
                  <a:gd name="T14" fmla="*/ 149 w 207"/>
                  <a:gd name="T15" fmla="*/ 55 h 236"/>
                  <a:gd name="T16" fmla="*/ 145 w 207"/>
                  <a:gd name="T17" fmla="*/ 56 h 236"/>
                  <a:gd name="T18" fmla="*/ 129 w 207"/>
                  <a:gd name="T19" fmla="*/ 82 h 236"/>
                  <a:gd name="T20" fmla="*/ 117 w 207"/>
                  <a:gd name="T21" fmla="*/ 72 h 236"/>
                  <a:gd name="T22" fmla="*/ 109 w 207"/>
                  <a:gd name="T23" fmla="*/ 72 h 236"/>
                  <a:gd name="T24" fmla="*/ 99 w 207"/>
                  <a:gd name="T25" fmla="*/ 13 h 236"/>
                  <a:gd name="T26" fmla="*/ 83 w 207"/>
                  <a:gd name="T27" fmla="*/ 18 h 236"/>
                  <a:gd name="T28" fmla="*/ 67 w 207"/>
                  <a:gd name="T29" fmla="*/ 14 h 236"/>
                  <a:gd name="T30" fmla="*/ 69 w 207"/>
                  <a:gd name="T31" fmla="*/ 31 h 236"/>
                  <a:gd name="T32" fmla="*/ 55 w 207"/>
                  <a:gd name="T33" fmla="*/ 34 h 236"/>
                  <a:gd name="T34" fmla="*/ 55 w 207"/>
                  <a:gd name="T35" fmla="*/ 48 h 236"/>
                  <a:gd name="T36" fmla="*/ 16 w 207"/>
                  <a:gd name="T37" fmla="*/ 82 h 236"/>
                  <a:gd name="T38" fmla="*/ 14 w 207"/>
                  <a:gd name="T39" fmla="*/ 105 h 236"/>
                  <a:gd name="T40" fmla="*/ 0 w 207"/>
                  <a:gd name="T41" fmla="*/ 89 h 236"/>
                  <a:gd name="T42" fmla="*/ 0 w 207"/>
                  <a:gd name="T43" fmla="*/ 89 h 236"/>
                  <a:gd name="T44" fmla="*/ 23 w 207"/>
                  <a:gd name="T45" fmla="*/ 115 h 236"/>
                  <a:gd name="T46" fmla="*/ 40 w 207"/>
                  <a:gd name="T47" fmla="*/ 117 h 236"/>
                  <a:gd name="T48" fmla="*/ 48 w 207"/>
                  <a:gd name="T49" fmla="*/ 135 h 236"/>
                  <a:gd name="T50" fmla="*/ 70 w 207"/>
                  <a:gd name="T51" fmla="*/ 139 h 236"/>
                  <a:gd name="T52" fmla="*/ 105 w 207"/>
                  <a:gd name="T53" fmla="*/ 187 h 236"/>
                  <a:gd name="T54" fmla="*/ 156 w 207"/>
                  <a:gd name="T55" fmla="*/ 213 h 236"/>
                  <a:gd name="T56" fmla="*/ 195 w 207"/>
                  <a:gd name="T57" fmla="*/ 236 h 236"/>
                  <a:gd name="T58" fmla="*/ 198 w 207"/>
                  <a:gd name="T59" fmla="*/ 236 h 236"/>
                  <a:gd name="T60" fmla="*/ 197 w 207"/>
                  <a:gd name="T61" fmla="*/ 209 h 236"/>
                  <a:gd name="T62" fmla="*/ 207 w 207"/>
                  <a:gd name="T63" fmla="*/ 175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07" h="236">
                    <a:moveTo>
                      <a:pt x="207" y="175"/>
                    </a:moveTo>
                    <a:cubicBezTo>
                      <a:pt x="207" y="162"/>
                      <a:pt x="186" y="146"/>
                      <a:pt x="186" y="146"/>
                    </a:cubicBezTo>
                    <a:cubicBezTo>
                      <a:pt x="185" y="129"/>
                      <a:pt x="185" y="129"/>
                      <a:pt x="185" y="129"/>
                    </a:cubicBezTo>
                    <a:cubicBezTo>
                      <a:pt x="161" y="133"/>
                      <a:pt x="161" y="133"/>
                      <a:pt x="161" y="133"/>
                    </a:cubicBezTo>
                    <a:cubicBezTo>
                      <a:pt x="161" y="123"/>
                      <a:pt x="161" y="123"/>
                      <a:pt x="161" y="123"/>
                    </a:cubicBezTo>
                    <a:cubicBezTo>
                      <a:pt x="161" y="123"/>
                      <a:pt x="149" y="124"/>
                      <a:pt x="148" y="121"/>
                    </a:cubicBezTo>
                    <a:cubicBezTo>
                      <a:pt x="147" y="118"/>
                      <a:pt x="162" y="104"/>
                      <a:pt x="162" y="89"/>
                    </a:cubicBezTo>
                    <a:cubicBezTo>
                      <a:pt x="162" y="79"/>
                      <a:pt x="154" y="64"/>
                      <a:pt x="149" y="55"/>
                    </a:cubicBezTo>
                    <a:cubicBezTo>
                      <a:pt x="147" y="55"/>
                      <a:pt x="146" y="55"/>
                      <a:pt x="145" y="56"/>
                    </a:cubicBezTo>
                    <a:cubicBezTo>
                      <a:pt x="140" y="60"/>
                      <a:pt x="140" y="82"/>
                      <a:pt x="129" y="82"/>
                    </a:cubicBezTo>
                    <a:cubicBezTo>
                      <a:pt x="118" y="82"/>
                      <a:pt x="117" y="72"/>
                      <a:pt x="117" y="72"/>
                    </a:cubicBezTo>
                    <a:cubicBezTo>
                      <a:pt x="109" y="72"/>
                      <a:pt x="109" y="72"/>
                      <a:pt x="109" y="72"/>
                    </a:cubicBezTo>
                    <a:cubicBezTo>
                      <a:pt x="109" y="72"/>
                      <a:pt x="118" y="26"/>
                      <a:pt x="99" y="13"/>
                    </a:cubicBezTo>
                    <a:cubicBezTo>
                      <a:pt x="80" y="0"/>
                      <a:pt x="83" y="18"/>
                      <a:pt x="83" y="18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9" y="31"/>
                      <a:pt x="69" y="31"/>
                      <a:pt x="69" y="31"/>
                    </a:cubicBezTo>
                    <a:cubicBezTo>
                      <a:pt x="55" y="34"/>
                      <a:pt x="55" y="34"/>
                      <a:pt x="55" y="34"/>
                    </a:cubicBezTo>
                    <a:cubicBezTo>
                      <a:pt x="55" y="34"/>
                      <a:pt x="59" y="38"/>
                      <a:pt x="55" y="48"/>
                    </a:cubicBezTo>
                    <a:cubicBezTo>
                      <a:pt x="51" y="58"/>
                      <a:pt x="17" y="75"/>
                      <a:pt x="16" y="82"/>
                    </a:cubicBezTo>
                    <a:cubicBezTo>
                      <a:pt x="15" y="86"/>
                      <a:pt x="15" y="97"/>
                      <a:pt x="14" y="105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23" y="115"/>
                      <a:pt x="23" y="115"/>
                      <a:pt x="23" y="115"/>
                    </a:cubicBezTo>
                    <a:cubicBezTo>
                      <a:pt x="40" y="117"/>
                      <a:pt x="40" y="117"/>
                      <a:pt x="40" y="117"/>
                    </a:cubicBezTo>
                    <a:cubicBezTo>
                      <a:pt x="48" y="135"/>
                      <a:pt x="48" y="135"/>
                      <a:pt x="48" y="135"/>
                    </a:cubicBezTo>
                    <a:cubicBezTo>
                      <a:pt x="48" y="135"/>
                      <a:pt x="66" y="131"/>
                      <a:pt x="70" y="139"/>
                    </a:cubicBezTo>
                    <a:cubicBezTo>
                      <a:pt x="74" y="147"/>
                      <a:pt x="89" y="173"/>
                      <a:pt x="105" y="187"/>
                    </a:cubicBezTo>
                    <a:cubicBezTo>
                      <a:pt x="121" y="201"/>
                      <a:pt x="149" y="208"/>
                      <a:pt x="156" y="213"/>
                    </a:cubicBezTo>
                    <a:cubicBezTo>
                      <a:pt x="163" y="218"/>
                      <a:pt x="180" y="236"/>
                      <a:pt x="195" y="236"/>
                    </a:cubicBezTo>
                    <a:cubicBezTo>
                      <a:pt x="196" y="236"/>
                      <a:pt x="197" y="236"/>
                      <a:pt x="198" y="236"/>
                    </a:cubicBezTo>
                    <a:cubicBezTo>
                      <a:pt x="197" y="209"/>
                      <a:pt x="197" y="209"/>
                      <a:pt x="197" y="209"/>
                    </a:cubicBezTo>
                    <a:cubicBezTo>
                      <a:pt x="197" y="209"/>
                      <a:pt x="207" y="188"/>
                      <a:pt x="207" y="175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Freeform 280">
                <a:extLst>
                  <a:ext uri="{FF2B5EF4-FFF2-40B4-BE49-F238E27FC236}">
                    <a16:creationId xmlns:a16="http://schemas.microsoft.com/office/drawing/2014/main" id="{BDB87E57-C8E8-2224-8C34-2803EA1D50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942" y="-11265"/>
                <a:ext cx="330" cy="423"/>
              </a:xfrm>
              <a:custGeom>
                <a:avLst/>
                <a:gdLst>
                  <a:gd name="T0" fmla="*/ 126 w 140"/>
                  <a:gd name="T1" fmla="*/ 122 h 179"/>
                  <a:gd name="T2" fmla="*/ 126 w 140"/>
                  <a:gd name="T3" fmla="*/ 108 h 179"/>
                  <a:gd name="T4" fmla="*/ 140 w 140"/>
                  <a:gd name="T5" fmla="*/ 105 h 179"/>
                  <a:gd name="T6" fmla="*/ 138 w 140"/>
                  <a:gd name="T7" fmla="*/ 88 h 179"/>
                  <a:gd name="T8" fmla="*/ 119 w 140"/>
                  <a:gd name="T9" fmla="*/ 99 h 179"/>
                  <a:gd name="T10" fmla="*/ 120 w 140"/>
                  <a:gd name="T11" fmla="*/ 86 h 179"/>
                  <a:gd name="T12" fmla="*/ 131 w 140"/>
                  <a:gd name="T13" fmla="*/ 70 h 179"/>
                  <a:gd name="T14" fmla="*/ 120 w 140"/>
                  <a:gd name="T15" fmla="*/ 50 h 179"/>
                  <a:gd name="T16" fmla="*/ 123 w 140"/>
                  <a:gd name="T17" fmla="*/ 41 h 179"/>
                  <a:gd name="T18" fmla="*/ 95 w 140"/>
                  <a:gd name="T19" fmla="*/ 0 h 179"/>
                  <a:gd name="T20" fmla="*/ 69 w 140"/>
                  <a:gd name="T21" fmla="*/ 0 h 179"/>
                  <a:gd name="T22" fmla="*/ 65 w 140"/>
                  <a:gd name="T23" fmla="*/ 12 h 179"/>
                  <a:gd name="T24" fmla="*/ 40 w 140"/>
                  <a:gd name="T25" fmla="*/ 12 h 179"/>
                  <a:gd name="T26" fmla="*/ 9 w 140"/>
                  <a:gd name="T27" fmla="*/ 54 h 179"/>
                  <a:gd name="T28" fmla="*/ 0 w 140"/>
                  <a:gd name="T29" fmla="*/ 59 h 179"/>
                  <a:gd name="T30" fmla="*/ 9 w 140"/>
                  <a:gd name="T31" fmla="*/ 66 h 179"/>
                  <a:gd name="T32" fmla="*/ 1 w 140"/>
                  <a:gd name="T33" fmla="*/ 84 h 179"/>
                  <a:gd name="T34" fmla="*/ 16 w 140"/>
                  <a:gd name="T35" fmla="*/ 103 h 179"/>
                  <a:gd name="T36" fmla="*/ 15 w 140"/>
                  <a:gd name="T37" fmla="*/ 121 h 179"/>
                  <a:gd name="T38" fmla="*/ 29 w 140"/>
                  <a:gd name="T39" fmla="*/ 132 h 179"/>
                  <a:gd name="T40" fmla="*/ 37 w 140"/>
                  <a:gd name="T41" fmla="*/ 148 h 179"/>
                  <a:gd name="T42" fmla="*/ 65 w 140"/>
                  <a:gd name="T43" fmla="*/ 157 h 179"/>
                  <a:gd name="T44" fmla="*/ 85 w 140"/>
                  <a:gd name="T45" fmla="*/ 179 h 179"/>
                  <a:gd name="T46" fmla="*/ 87 w 140"/>
                  <a:gd name="T47" fmla="*/ 156 h 179"/>
                  <a:gd name="T48" fmla="*/ 126 w 140"/>
                  <a:gd name="T49" fmla="*/ 122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40" h="179">
                    <a:moveTo>
                      <a:pt x="126" y="122"/>
                    </a:moveTo>
                    <a:cubicBezTo>
                      <a:pt x="130" y="112"/>
                      <a:pt x="126" y="108"/>
                      <a:pt x="126" y="108"/>
                    </a:cubicBezTo>
                    <a:cubicBezTo>
                      <a:pt x="140" y="105"/>
                      <a:pt x="140" y="105"/>
                      <a:pt x="140" y="105"/>
                    </a:cubicBezTo>
                    <a:cubicBezTo>
                      <a:pt x="138" y="88"/>
                      <a:pt x="138" y="88"/>
                      <a:pt x="138" y="88"/>
                    </a:cubicBezTo>
                    <a:cubicBezTo>
                      <a:pt x="119" y="99"/>
                      <a:pt x="119" y="99"/>
                      <a:pt x="119" y="99"/>
                    </a:cubicBezTo>
                    <a:cubicBezTo>
                      <a:pt x="120" y="86"/>
                      <a:pt x="120" y="86"/>
                      <a:pt x="120" y="86"/>
                    </a:cubicBezTo>
                    <a:cubicBezTo>
                      <a:pt x="120" y="86"/>
                      <a:pt x="131" y="78"/>
                      <a:pt x="131" y="70"/>
                    </a:cubicBezTo>
                    <a:cubicBezTo>
                      <a:pt x="131" y="62"/>
                      <a:pt x="120" y="50"/>
                      <a:pt x="120" y="50"/>
                    </a:cubicBezTo>
                    <a:cubicBezTo>
                      <a:pt x="123" y="41"/>
                      <a:pt x="123" y="41"/>
                      <a:pt x="123" y="41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5" y="12"/>
                      <a:pt x="65" y="12"/>
                      <a:pt x="65" y="12"/>
                    </a:cubicBezTo>
                    <a:cubicBezTo>
                      <a:pt x="40" y="12"/>
                      <a:pt x="40" y="12"/>
                      <a:pt x="40" y="12"/>
                    </a:cubicBezTo>
                    <a:cubicBezTo>
                      <a:pt x="40" y="12"/>
                      <a:pt x="21" y="54"/>
                      <a:pt x="9" y="54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9" y="66"/>
                      <a:pt x="9" y="66"/>
                      <a:pt x="9" y="66"/>
                    </a:cubicBezTo>
                    <a:cubicBezTo>
                      <a:pt x="9" y="66"/>
                      <a:pt x="1" y="75"/>
                      <a:pt x="1" y="84"/>
                    </a:cubicBezTo>
                    <a:cubicBezTo>
                      <a:pt x="1" y="93"/>
                      <a:pt x="16" y="103"/>
                      <a:pt x="16" y="103"/>
                    </a:cubicBezTo>
                    <a:cubicBezTo>
                      <a:pt x="15" y="121"/>
                      <a:pt x="15" y="121"/>
                      <a:pt x="15" y="121"/>
                    </a:cubicBezTo>
                    <a:cubicBezTo>
                      <a:pt x="29" y="132"/>
                      <a:pt x="29" y="132"/>
                      <a:pt x="29" y="132"/>
                    </a:cubicBezTo>
                    <a:cubicBezTo>
                      <a:pt x="29" y="132"/>
                      <a:pt x="28" y="139"/>
                      <a:pt x="37" y="148"/>
                    </a:cubicBezTo>
                    <a:cubicBezTo>
                      <a:pt x="46" y="157"/>
                      <a:pt x="65" y="157"/>
                      <a:pt x="65" y="157"/>
                    </a:cubicBezTo>
                    <a:cubicBezTo>
                      <a:pt x="85" y="179"/>
                      <a:pt x="85" y="179"/>
                      <a:pt x="85" y="179"/>
                    </a:cubicBezTo>
                    <a:cubicBezTo>
                      <a:pt x="86" y="171"/>
                      <a:pt x="86" y="160"/>
                      <a:pt x="87" y="156"/>
                    </a:cubicBezTo>
                    <a:cubicBezTo>
                      <a:pt x="88" y="149"/>
                      <a:pt x="122" y="132"/>
                      <a:pt x="126" y="122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Freeform 281">
                <a:extLst>
                  <a:ext uri="{FF2B5EF4-FFF2-40B4-BE49-F238E27FC236}">
                    <a16:creationId xmlns:a16="http://schemas.microsoft.com/office/drawing/2014/main" id="{ED474E07-99EA-F92E-DBF9-AEB147D146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3511" y="-6361"/>
                <a:ext cx="262" cy="270"/>
              </a:xfrm>
              <a:custGeom>
                <a:avLst/>
                <a:gdLst>
                  <a:gd name="T0" fmla="*/ 0 w 111"/>
                  <a:gd name="T1" fmla="*/ 58 h 114"/>
                  <a:gd name="T2" fmla="*/ 17 w 111"/>
                  <a:gd name="T3" fmla="*/ 83 h 114"/>
                  <a:gd name="T4" fmla="*/ 17 w 111"/>
                  <a:gd name="T5" fmla="*/ 94 h 114"/>
                  <a:gd name="T6" fmla="*/ 35 w 111"/>
                  <a:gd name="T7" fmla="*/ 114 h 114"/>
                  <a:gd name="T8" fmla="*/ 50 w 111"/>
                  <a:gd name="T9" fmla="*/ 113 h 114"/>
                  <a:gd name="T10" fmla="*/ 61 w 111"/>
                  <a:gd name="T11" fmla="*/ 89 h 114"/>
                  <a:gd name="T12" fmla="*/ 82 w 111"/>
                  <a:gd name="T13" fmla="*/ 85 h 114"/>
                  <a:gd name="T14" fmla="*/ 99 w 111"/>
                  <a:gd name="T15" fmla="*/ 75 h 114"/>
                  <a:gd name="T16" fmla="*/ 96 w 111"/>
                  <a:gd name="T17" fmla="*/ 63 h 114"/>
                  <a:gd name="T18" fmla="*/ 111 w 111"/>
                  <a:gd name="T19" fmla="*/ 50 h 114"/>
                  <a:gd name="T20" fmla="*/ 110 w 111"/>
                  <a:gd name="T21" fmla="*/ 34 h 114"/>
                  <a:gd name="T22" fmla="*/ 100 w 111"/>
                  <a:gd name="T23" fmla="*/ 31 h 114"/>
                  <a:gd name="T24" fmla="*/ 83 w 111"/>
                  <a:gd name="T25" fmla="*/ 6 h 114"/>
                  <a:gd name="T26" fmla="*/ 62 w 111"/>
                  <a:gd name="T27" fmla="*/ 5 h 114"/>
                  <a:gd name="T28" fmla="*/ 54 w 111"/>
                  <a:gd name="T29" fmla="*/ 8 h 114"/>
                  <a:gd name="T30" fmla="*/ 53 w 111"/>
                  <a:gd name="T31" fmla="*/ 18 h 114"/>
                  <a:gd name="T32" fmla="*/ 38 w 111"/>
                  <a:gd name="T33" fmla="*/ 19 h 114"/>
                  <a:gd name="T34" fmla="*/ 31 w 111"/>
                  <a:gd name="T35" fmla="*/ 33 h 114"/>
                  <a:gd name="T36" fmla="*/ 19 w 111"/>
                  <a:gd name="T37" fmla="*/ 46 h 114"/>
                  <a:gd name="T38" fmla="*/ 17 w 111"/>
                  <a:gd name="T39" fmla="*/ 56 h 114"/>
                  <a:gd name="T40" fmla="*/ 0 w 111"/>
                  <a:gd name="T41" fmla="*/ 58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1" h="114">
                    <a:moveTo>
                      <a:pt x="0" y="58"/>
                    </a:moveTo>
                    <a:cubicBezTo>
                      <a:pt x="17" y="83"/>
                      <a:pt x="17" y="83"/>
                      <a:pt x="17" y="83"/>
                    </a:cubicBezTo>
                    <a:cubicBezTo>
                      <a:pt x="17" y="94"/>
                      <a:pt x="17" y="94"/>
                      <a:pt x="17" y="94"/>
                    </a:cubicBezTo>
                    <a:cubicBezTo>
                      <a:pt x="35" y="114"/>
                      <a:pt x="35" y="114"/>
                      <a:pt x="35" y="114"/>
                    </a:cubicBezTo>
                    <a:cubicBezTo>
                      <a:pt x="50" y="113"/>
                      <a:pt x="50" y="113"/>
                      <a:pt x="50" y="113"/>
                    </a:cubicBezTo>
                    <a:cubicBezTo>
                      <a:pt x="50" y="113"/>
                      <a:pt x="51" y="93"/>
                      <a:pt x="61" y="89"/>
                    </a:cubicBezTo>
                    <a:cubicBezTo>
                      <a:pt x="71" y="85"/>
                      <a:pt x="74" y="87"/>
                      <a:pt x="82" y="85"/>
                    </a:cubicBezTo>
                    <a:cubicBezTo>
                      <a:pt x="90" y="83"/>
                      <a:pt x="99" y="75"/>
                      <a:pt x="99" y="75"/>
                    </a:cubicBezTo>
                    <a:cubicBezTo>
                      <a:pt x="96" y="63"/>
                      <a:pt x="96" y="63"/>
                      <a:pt x="96" y="63"/>
                    </a:cubicBezTo>
                    <a:cubicBezTo>
                      <a:pt x="111" y="50"/>
                      <a:pt x="111" y="50"/>
                      <a:pt x="111" y="50"/>
                    </a:cubicBezTo>
                    <a:cubicBezTo>
                      <a:pt x="110" y="34"/>
                      <a:pt x="110" y="34"/>
                      <a:pt x="110" y="34"/>
                    </a:cubicBezTo>
                    <a:cubicBezTo>
                      <a:pt x="100" y="31"/>
                      <a:pt x="100" y="31"/>
                      <a:pt x="100" y="31"/>
                    </a:cubicBezTo>
                    <a:cubicBezTo>
                      <a:pt x="100" y="31"/>
                      <a:pt x="88" y="12"/>
                      <a:pt x="83" y="6"/>
                    </a:cubicBezTo>
                    <a:cubicBezTo>
                      <a:pt x="78" y="0"/>
                      <a:pt x="62" y="5"/>
                      <a:pt x="62" y="5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53" y="18"/>
                      <a:pt x="53" y="18"/>
                      <a:pt x="53" y="18"/>
                    </a:cubicBezTo>
                    <a:cubicBezTo>
                      <a:pt x="53" y="18"/>
                      <a:pt x="43" y="15"/>
                      <a:pt x="38" y="19"/>
                    </a:cubicBezTo>
                    <a:cubicBezTo>
                      <a:pt x="33" y="23"/>
                      <a:pt x="31" y="33"/>
                      <a:pt x="31" y="33"/>
                    </a:cubicBezTo>
                    <a:cubicBezTo>
                      <a:pt x="19" y="46"/>
                      <a:pt x="19" y="46"/>
                      <a:pt x="19" y="46"/>
                    </a:cubicBezTo>
                    <a:cubicBezTo>
                      <a:pt x="17" y="56"/>
                      <a:pt x="17" y="56"/>
                      <a:pt x="17" y="56"/>
                    </a:cubicBezTo>
                    <a:lnTo>
                      <a:pt x="0" y="5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Freeform 282">
                <a:extLst>
                  <a:ext uri="{FF2B5EF4-FFF2-40B4-BE49-F238E27FC236}">
                    <a16:creationId xmlns:a16="http://schemas.microsoft.com/office/drawing/2014/main" id="{C704B162-C5E2-0949-1BDD-AE1057F353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488" y="-10284"/>
                <a:ext cx="664" cy="800"/>
              </a:xfrm>
              <a:custGeom>
                <a:avLst/>
                <a:gdLst>
                  <a:gd name="T0" fmla="*/ 261 w 281"/>
                  <a:gd name="T1" fmla="*/ 153 h 339"/>
                  <a:gd name="T2" fmla="*/ 244 w 281"/>
                  <a:gd name="T3" fmla="*/ 140 h 339"/>
                  <a:gd name="T4" fmla="*/ 254 w 281"/>
                  <a:gd name="T5" fmla="*/ 100 h 339"/>
                  <a:gd name="T6" fmla="*/ 273 w 281"/>
                  <a:gd name="T7" fmla="*/ 74 h 339"/>
                  <a:gd name="T8" fmla="*/ 263 w 281"/>
                  <a:gd name="T9" fmla="*/ 56 h 339"/>
                  <a:gd name="T10" fmla="*/ 229 w 281"/>
                  <a:gd name="T11" fmla="*/ 62 h 339"/>
                  <a:gd name="T12" fmla="*/ 210 w 281"/>
                  <a:gd name="T13" fmla="*/ 36 h 339"/>
                  <a:gd name="T14" fmla="*/ 220 w 281"/>
                  <a:gd name="T15" fmla="*/ 4 h 339"/>
                  <a:gd name="T16" fmla="*/ 177 w 281"/>
                  <a:gd name="T17" fmla="*/ 1 h 339"/>
                  <a:gd name="T18" fmla="*/ 147 w 281"/>
                  <a:gd name="T19" fmla="*/ 9 h 339"/>
                  <a:gd name="T20" fmla="*/ 125 w 281"/>
                  <a:gd name="T21" fmla="*/ 10 h 339"/>
                  <a:gd name="T22" fmla="*/ 128 w 281"/>
                  <a:gd name="T23" fmla="*/ 37 h 339"/>
                  <a:gd name="T24" fmla="*/ 56 w 281"/>
                  <a:gd name="T25" fmla="*/ 75 h 339"/>
                  <a:gd name="T26" fmla="*/ 46 w 281"/>
                  <a:gd name="T27" fmla="*/ 71 h 339"/>
                  <a:gd name="T28" fmla="*/ 40 w 281"/>
                  <a:gd name="T29" fmla="*/ 77 h 339"/>
                  <a:gd name="T30" fmla="*/ 30 w 281"/>
                  <a:gd name="T31" fmla="*/ 107 h 339"/>
                  <a:gd name="T32" fmla="*/ 0 w 281"/>
                  <a:gd name="T33" fmla="*/ 166 h 339"/>
                  <a:gd name="T34" fmla="*/ 28 w 281"/>
                  <a:gd name="T35" fmla="*/ 195 h 339"/>
                  <a:gd name="T36" fmla="*/ 27 w 281"/>
                  <a:gd name="T37" fmla="*/ 228 h 339"/>
                  <a:gd name="T38" fmla="*/ 46 w 281"/>
                  <a:gd name="T39" fmla="*/ 259 h 339"/>
                  <a:gd name="T40" fmla="*/ 61 w 281"/>
                  <a:gd name="T41" fmla="*/ 271 h 339"/>
                  <a:gd name="T42" fmla="*/ 91 w 281"/>
                  <a:gd name="T43" fmla="*/ 311 h 339"/>
                  <a:gd name="T44" fmla="*/ 114 w 281"/>
                  <a:gd name="T45" fmla="*/ 339 h 339"/>
                  <a:gd name="T46" fmla="*/ 133 w 281"/>
                  <a:gd name="T47" fmla="*/ 317 h 339"/>
                  <a:gd name="T48" fmla="*/ 152 w 281"/>
                  <a:gd name="T49" fmla="*/ 304 h 339"/>
                  <a:gd name="T50" fmla="*/ 149 w 281"/>
                  <a:gd name="T51" fmla="*/ 287 h 339"/>
                  <a:gd name="T52" fmla="*/ 139 w 281"/>
                  <a:gd name="T53" fmla="*/ 274 h 339"/>
                  <a:gd name="T54" fmla="*/ 172 w 281"/>
                  <a:gd name="T55" fmla="*/ 257 h 339"/>
                  <a:gd name="T56" fmla="*/ 178 w 281"/>
                  <a:gd name="T57" fmla="*/ 225 h 339"/>
                  <a:gd name="T58" fmla="*/ 204 w 281"/>
                  <a:gd name="T59" fmla="*/ 255 h 339"/>
                  <a:gd name="T60" fmla="*/ 241 w 281"/>
                  <a:gd name="T61" fmla="*/ 239 h 339"/>
                  <a:gd name="T62" fmla="*/ 260 w 281"/>
                  <a:gd name="T63" fmla="*/ 244 h 339"/>
                  <a:gd name="T64" fmla="*/ 269 w 281"/>
                  <a:gd name="T65" fmla="*/ 212 h 339"/>
                  <a:gd name="T66" fmla="*/ 272 w 281"/>
                  <a:gd name="T67" fmla="*/ 171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81" h="339">
                    <a:moveTo>
                      <a:pt x="279" y="160"/>
                    </a:moveTo>
                    <a:cubicBezTo>
                      <a:pt x="277" y="154"/>
                      <a:pt x="261" y="153"/>
                      <a:pt x="261" y="153"/>
                    </a:cubicBezTo>
                    <a:cubicBezTo>
                      <a:pt x="256" y="141"/>
                      <a:pt x="256" y="141"/>
                      <a:pt x="256" y="141"/>
                    </a:cubicBezTo>
                    <a:cubicBezTo>
                      <a:pt x="244" y="140"/>
                      <a:pt x="244" y="140"/>
                      <a:pt x="244" y="140"/>
                    </a:cubicBezTo>
                    <a:cubicBezTo>
                      <a:pt x="245" y="116"/>
                      <a:pt x="245" y="116"/>
                      <a:pt x="245" y="116"/>
                    </a:cubicBezTo>
                    <a:cubicBezTo>
                      <a:pt x="254" y="100"/>
                      <a:pt x="254" y="100"/>
                      <a:pt x="254" y="100"/>
                    </a:cubicBezTo>
                    <a:cubicBezTo>
                      <a:pt x="254" y="100"/>
                      <a:pt x="261" y="101"/>
                      <a:pt x="267" y="94"/>
                    </a:cubicBezTo>
                    <a:cubicBezTo>
                      <a:pt x="273" y="87"/>
                      <a:pt x="273" y="74"/>
                      <a:pt x="273" y="74"/>
                    </a:cubicBezTo>
                    <a:cubicBezTo>
                      <a:pt x="267" y="70"/>
                      <a:pt x="267" y="70"/>
                      <a:pt x="267" y="70"/>
                    </a:cubicBezTo>
                    <a:cubicBezTo>
                      <a:pt x="267" y="70"/>
                      <a:pt x="266" y="60"/>
                      <a:pt x="263" y="56"/>
                    </a:cubicBezTo>
                    <a:cubicBezTo>
                      <a:pt x="260" y="52"/>
                      <a:pt x="248" y="47"/>
                      <a:pt x="243" y="47"/>
                    </a:cubicBezTo>
                    <a:cubicBezTo>
                      <a:pt x="238" y="47"/>
                      <a:pt x="238" y="62"/>
                      <a:pt x="229" y="62"/>
                    </a:cubicBezTo>
                    <a:cubicBezTo>
                      <a:pt x="220" y="62"/>
                      <a:pt x="212" y="57"/>
                      <a:pt x="212" y="57"/>
                    </a:cubicBezTo>
                    <a:cubicBezTo>
                      <a:pt x="210" y="36"/>
                      <a:pt x="210" y="36"/>
                      <a:pt x="210" y="36"/>
                    </a:cubicBezTo>
                    <a:cubicBezTo>
                      <a:pt x="220" y="14"/>
                      <a:pt x="220" y="14"/>
                      <a:pt x="220" y="14"/>
                    </a:cubicBezTo>
                    <a:cubicBezTo>
                      <a:pt x="220" y="4"/>
                      <a:pt x="220" y="4"/>
                      <a:pt x="220" y="4"/>
                    </a:cubicBezTo>
                    <a:cubicBezTo>
                      <a:pt x="188" y="5"/>
                      <a:pt x="188" y="5"/>
                      <a:pt x="188" y="5"/>
                    </a:cubicBezTo>
                    <a:cubicBezTo>
                      <a:pt x="188" y="5"/>
                      <a:pt x="181" y="1"/>
                      <a:pt x="177" y="1"/>
                    </a:cubicBezTo>
                    <a:cubicBezTo>
                      <a:pt x="173" y="1"/>
                      <a:pt x="168" y="9"/>
                      <a:pt x="168" y="9"/>
                    </a:cubicBezTo>
                    <a:cubicBezTo>
                      <a:pt x="147" y="9"/>
                      <a:pt x="147" y="9"/>
                      <a:pt x="147" y="9"/>
                    </a:cubicBezTo>
                    <a:cubicBezTo>
                      <a:pt x="137" y="0"/>
                      <a:pt x="137" y="0"/>
                      <a:pt x="137" y="0"/>
                    </a:cubicBezTo>
                    <a:cubicBezTo>
                      <a:pt x="125" y="10"/>
                      <a:pt x="125" y="10"/>
                      <a:pt x="125" y="10"/>
                    </a:cubicBezTo>
                    <a:cubicBezTo>
                      <a:pt x="122" y="33"/>
                      <a:pt x="122" y="33"/>
                      <a:pt x="122" y="33"/>
                    </a:cubicBezTo>
                    <a:cubicBezTo>
                      <a:pt x="128" y="37"/>
                      <a:pt x="128" y="37"/>
                      <a:pt x="128" y="37"/>
                    </a:cubicBezTo>
                    <a:cubicBezTo>
                      <a:pt x="128" y="37"/>
                      <a:pt x="128" y="72"/>
                      <a:pt x="123" y="73"/>
                    </a:cubicBezTo>
                    <a:cubicBezTo>
                      <a:pt x="118" y="74"/>
                      <a:pt x="56" y="75"/>
                      <a:pt x="56" y="75"/>
                    </a:cubicBezTo>
                    <a:cubicBezTo>
                      <a:pt x="54" y="69"/>
                      <a:pt x="54" y="69"/>
                      <a:pt x="54" y="69"/>
                    </a:cubicBezTo>
                    <a:cubicBezTo>
                      <a:pt x="46" y="71"/>
                      <a:pt x="46" y="71"/>
                      <a:pt x="46" y="71"/>
                    </a:cubicBezTo>
                    <a:cubicBezTo>
                      <a:pt x="47" y="72"/>
                      <a:pt x="48" y="72"/>
                      <a:pt x="48" y="72"/>
                    </a:cubicBezTo>
                    <a:cubicBezTo>
                      <a:pt x="40" y="77"/>
                      <a:pt x="40" y="77"/>
                      <a:pt x="40" y="77"/>
                    </a:cubicBezTo>
                    <a:cubicBezTo>
                      <a:pt x="40" y="77"/>
                      <a:pt x="49" y="105"/>
                      <a:pt x="45" y="107"/>
                    </a:cubicBezTo>
                    <a:cubicBezTo>
                      <a:pt x="41" y="109"/>
                      <a:pt x="30" y="107"/>
                      <a:pt x="30" y="107"/>
                    </a:cubicBezTo>
                    <a:cubicBezTo>
                      <a:pt x="30" y="107"/>
                      <a:pt x="33" y="148"/>
                      <a:pt x="23" y="159"/>
                    </a:cubicBezTo>
                    <a:cubicBezTo>
                      <a:pt x="13" y="170"/>
                      <a:pt x="0" y="166"/>
                      <a:pt x="0" y="166"/>
                    </a:cubicBezTo>
                    <a:cubicBezTo>
                      <a:pt x="17" y="203"/>
                      <a:pt x="17" y="203"/>
                      <a:pt x="17" y="203"/>
                    </a:cubicBezTo>
                    <a:cubicBezTo>
                      <a:pt x="28" y="195"/>
                      <a:pt x="28" y="195"/>
                      <a:pt x="28" y="195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4" y="208"/>
                      <a:pt x="25" y="221"/>
                      <a:pt x="27" y="228"/>
                    </a:cubicBezTo>
                    <a:cubicBezTo>
                      <a:pt x="29" y="235"/>
                      <a:pt x="42" y="232"/>
                      <a:pt x="42" y="232"/>
                    </a:cubicBezTo>
                    <a:cubicBezTo>
                      <a:pt x="46" y="259"/>
                      <a:pt x="46" y="259"/>
                      <a:pt x="46" y="259"/>
                    </a:cubicBezTo>
                    <a:cubicBezTo>
                      <a:pt x="66" y="263"/>
                      <a:pt x="66" y="263"/>
                      <a:pt x="66" y="263"/>
                    </a:cubicBezTo>
                    <a:cubicBezTo>
                      <a:pt x="61" y="271"/>
                      <a:pt x="61" y="271"/>
                      <a:pt x="61" y="271"/>
                    </a:cubicBezTo>
                    <a:cubicBezTo>
                      <a:pt x="94" y="306"/>
                      <a:pt x="94" y="306"/>
                      <a:pt x="94" y="306"/>
                    </a:cubicBezTo>
                    <a:cubicBezTo>
                      <a:pt x="91" y="311"/>
                      <a:pt x="91" y="311"/>
                      <a:pt x="91" y="311"/>
                    </a:cubicBezTo>
                    <a:cubicBezTo>
                      <a:pt x="113" y="338"/>
                      <a:pt x="113" y="338"/>
                      <a:pt x="113" y="338"/>
                    </a:cubicBezTo>
                    <a:cubicBezTo>
                      <a:pt x="114" y="339"/>
                      <a:pt x="114" y="339"/>
                      <a:pt x="114" y="339"/>
                    </a:cubicBezTo>
                    <a:cubicBezTo>
                      <a:pt x="119" y="326"/>
                      <a:pt x="119" y="326"/>
                      <a:pt x="119" y="326"/>
                    </a:cubicBezTo>
                    <a:cubicBezTo>
                      <a:pt x="133" y="317"/>
                      <a:pt x="133" y="317"/>
                      <a:pt x="133" y="317"/>
                    </a:cubicBezTo>
                    <a:cubicBezTo>
                      <a:pt x="133" y="317"/>
                      <a:pt x="148" y="335"/>
                      <a:pt x="152" y="326"/>
                    </a:cubicBezTo>
                    <a:cubicBezTo>
                      <a:pt x="156" y="317"/>
                      <a:pt x="152" y="304"/>
                      <a:pt x="152" y="304"/>
                    </a:cubicBezTo>
                    <a:cubicBezTo>
                      <a:pt x="140" y="296"/>
                      <a:pt x="140" y="296"/>
                      <a:pt x="140" y="296"/>
                    </a:cubicBezTo>
                    <a:cubicBezTo>
                      <a:pt x="149" y="287"/>
                      <a:pt x="149" y="287"/>
                      <a:pt x="149" y="287"/>
                    </a:cubicBezTo>
                    <a:cubicBezTo>
                      <a:pt x="132" y="274"/>
                      <a:pt x="132" y="274"/>
                      <a:pt x="132" y="274"/>
                    </a:cubicBezTo>
                    <a:cubicBezTo>
                      <a:pt x="139" y="274"/>
                      <a:pt x="139" y="274"/>
                      <a:pt x="139" y="274"/>
                    </a:cubicBezTo>
                    <a:cubicBezTo>
                      <a:pt x="139" y="274"/>
                      <a:pt x="132" y="249"/>
                      <a:pt x="138" y="251"/>
                    </a:cubicBezTo>
                    <a:cubicBezTo>
                      <a:pt x="144" y="253"/>
                      <a:pt x="168" y="262"/>
                      <a:pt x="172" y="257"/>
                    </a:cubicBezTo>
                    <a:cubicBezTo>
                      <a:pt x="176" y="252"/>
                      <a:pt x="185" y="244"/>
                      <a:pt x="185" y="244"/>
                    </a:cubicBezTo>
                    <a:cubicBezTo>
                      <a:pt x="185" y="244"/>
                      <a:pt x="172" y="226"/>
                      <a:pt x="178" y="225"/>
                    </a:cubicBezTo>
                    <a:cubicBezTo>
                      <a:pt x="184" y="224"/>
                      <a:pt x="195" y="226"/>
                      <a:pt x="195" y="226"/>
                    </a:cubicBezTo>
                    <a:cubicBezTo>
                      <a:pt x="204" y="255"/>
                      <a:pt x="204" y="255"/>
                      <a:pt x="204" y="255"/>
                    </a:cubicBezTo>
                    <a:cubicBezTo>
                      <a:pt x="204" y="255"/>
                      <a:pt x="218" y="256"/>
                      <a:pt x="226" y="254"/>
                    </a:cubicBezTo>
                    <a:cubicBezTo>
                      <a:pt x="234" y="252"/>
                      <a:pt x="237" y="236"/>
                      <a:pt x="241" y="239"/>
                    </a:cubicBezTo>
                    <a:cubicBezTo>
                      <a:pt x="245" y="242"/>
                      <a:pt x="238" y="264"/>
                      <a:pt x="248" y="264"/>
                    </a:cubicBezTo>
                    <a:cubicBezTo>
                      <a:pt x="258" y="264"/>
                      <a:pt x="260" y="258"/>
                      <a:pt x="260" y="244"/>
                    </a:cubicBezTo>
                    <a:cubicBezTo>
                      <a:pt x="260" y="230"/>
                      <a:pt x="273" y="226"/>
                      <a:pt x="273" y="226"/>
                    </a:cubicBezTo>
                    <a:cubicBezTo>
                      <a:pt x="269" y="212"/>
                      <a:pt x="269" y="212"/>
                      <a:pt x="269" y="212"/>
                    </a:cubicBezTo>
                    <a:cubicBezTo>
                      <a:pt x="273" y="201"/>
                      <a:pt x="273" y="201"/>
                      <a:pt x="273" y="201"/>
                    </a:cubicBezTo>
                    <a:cubicBezTo>
                      <a:pt x="272" y="171"/>
                      <a:pt x="272" y="171"/>
                      <a:pt x="272" y="171"/>
                    </a:cubicBezTo>
                    <a:cubicBezTo>
                      <a:pt x="272" y="171"/>
                      <a:pt x="281" y="166"/>
                      <a:pt x="279" y="16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Freeform 283">
                <a:extLst>
                  <a:ext uri="{FF2B5EF4-FFF2-40B4-BE49-F238E27FC236}">
                    <a16:creationId xmlns:a16="http://schemas.microsoft.com/office/drawing/2014/main" id="{BCE9C458-2E5F-8BF4-FACD-BFDB643521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3083" y="-6717"/>
                <a:ext cx="172" cy="205"/>
              </a:xfrm>
              <a:custGeom>
                <a:avLst/>
                <a:gdLst>
                  <a:gd name="T0" fmla="*/ 59 w 73"/>
                  <a:gd name="T1" fmla="*/ 35 h 87"/>
                  <a:gd name="T2" fmla="*/ 62 w 73"/>
                  <a:gd name="T3" fmla="*/ 11 h 87"/>
                  <a:gd name="T4" fmla="*/ 46 w 73"/>
                  <a:gd name="T5" fmla="*/ 14 h 87"/>
                  <a:gd name="T6" fmla="*/ 27 w 73"/>
                  <a:gd name="T7" fmla="*/ 0 h 87"/>
                  <a:gd name="T8" fmla="*/ 11 w 73"/>
                  <a:gd name="T9" fmla="*/ 29 h 87"/>
                  <a:gd name="T10" fmla="*/ 2 w 73"/>
                  <a:gd name="T11" fmla="*/ 58 h 87"/>
                  <a:gd name="T12" fmla="*/ 34 w 73"/>
                  <a:gd name="T13" fmla="*/ 86 h 87"/>
                  <a:gd name="T14" fmla="*/ 56 w 73"/>
                  <a:gd name="T15" fmla="*/ 87 h 87"/>
                  <a:gd name="T16" fmla="*/ 63 w 73"/>
                  <a:gd name="T17" fmla="*/ 62 h 87"/>
                  <a:gd name="T18" fmla="*/ 73 w 73"/>
                  <a:gd name="T19" fmla="*/ 58 h 87"/>
                  <a:gd name="T20" fmla="*/ 69 w 73"/>
                  <a:gd name="T21" fmla="*/ 42 h 87"/>
                  <a:gd name="T22" fmla="*/ 59 w 73"/>
                  <a:gd name="T23" fmla="*/ 35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3" h="87">
                    <a:moveTo>
                      <a:pt x="59" y="35"/>
                    </a:moveTo>
                    <a:cubicBezTo>
                      <a:pt x="57" y="28"/>
                      <a:pt x="62" y="11"/>
                      <a:pt x="62" y="11"/>
                    </a:cubicBezTo>
                    <a:cubicBezTo>
                      <a:pt x="46" y="14"/>
                      <a:pt x="46" y="14"/>
                      <a:pt x="46" y="14"/>
                    </a:cubicBezTo>
                    <a:cubicBezTo>
                      <a:pt x="46" y="14"/>
                      <a:pt x="34" y="0"/>
                      <a:pt x="27" y="0"/>
                    </a:cubicBezTo>
                    <a:cubicBezTo>
                      <a:pt x="20" y="0"/>
                      <a:pt x="14" y="25"/>
                      <a:pt x="11" y="29"/>
                    </a:cubicBezTo>
                    <a:cubicBezTo>
                      <a:pt x="8" y="33"/>
                      <a:pt x="0" y="46"/>
                      <a:pt x="2" y="58"/>
                    </a:cubicBezTo>
                    <a:cubicBezTo>
                      <a:pt x="4" y="70"/>
                      <a:pt x="27" y="86"/>
                      <a:pt x="34" y="86"/>
                    </a:cubicBezTo>
                    <a:cubicBezTo>
                      <a:pt x="41" y="86"/>
                      <a:pt x="56" y="87"/>
                      <a:pt x="56" y="87"/>
                    </a:cubicBezTo>
                    <a:cubicBezTo>
                      <a:pt x="63" y="62"/>
                      <a:pt x="63" y="62"/>
                      <a:pt x="63" y="62"/>
                    </a:cubicBezTo>
                    <a:cubicBezTo>
                      <a:pt x="63" y="62"/>
                      <a:pt x="68" y="59"/>
                      <a:pt x="73" y="58"/>
                    </a:cubicBezTo>
                    <a:cubicBezTo>
                      <a:pt x="69" y="42"/>
                      <a:pt x="69" y="42"/>
                      <a:pt x="69" y="42"/>
                    </a:cubicBezTo>
                    <a:cubicBezTo>
                      <a:pt x="69" y="42"/>
                      <a:pt x="62" y="42"/>
                      <a:pt x="59" y="35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Freeform 284">
                <a:extLst>
                  <a:ext uri="{FF2B5EF4-FFF2-40B4-BE49-F238E27FC236}">
                    <a16:creationId xmlns:a16="http://schemas.microsoft.com/office/drawing/2014/main" id="{6C53AF4D-ED0A-AE4A-46D1-E3965EF32C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157" y="-7830"/>
                <a:ext cx="1500" cy="1531"/>
              </a:xfrm>
              <a:custGeom>
                <a:avLst/>
                <a:gdLst>
                  <a:gd name="T0" fmla="*/ 257 w 635"/>
                  <a:gd name="T1" fmla="*/ 609 h 648"/>
                  <a:gd name="T2" fmla="*/ 281 w 635"/>
                  <a:gd name="T3" fmla="*/ 636 h 648"/>
                  <a:gd name="T4" fmla="*/ 304 w 635"/>
                  <a:gd name="T5" fmla="*/ 648 h 648"/>
                  <a:gd name="T6" fmla="*/ 330 w 635"/>
                  <a:gd name="T7" fmla="*/ 646 h 648"/>
                  <a:gd name="T8" fmla="*/ 345 w 635"/>
                  <a:gd name="T9" fmla="*/ 632 h 648"/>
                  <a:gd name="T10" fmla="*/ 358 w 635"/>
                  <a:gd name="T11" fmla="*/ 622 h 648"/>
                  <a:gd name="T12" fmla="*/ 384 w 635"/>
                  <a:gd name="T13" fmla="*/ 273 h 648"/>
                  <a:gd name="T14" fmla="*/ 431 w 635"/>
                  <a:gd name="T15" fmla="*/ 192 h 648"/>
                  <a:gd name="T16" fmla="*/ 435 w 635"/>
                  <a:gd name="T17" fmla="*/ 71 h 648"/>
                  <a:gd name="T18" fmla="*/ 541 w 635"/>
                  <a:gd name="T19" fmla="*/ 55 h 648"/>
                  <a:gd name="T20" fmla="*/ 554 w 635"/>
                  <a:gd name="T21" fmla="*/ 69 h 648"/>
                  <a:gd name="T22" fmla="*/ 577 w 635"/>
                  <a:gd name="T23" fmla="*/ 63 h 648"/>
                  <a:gd name="T24" fmla="*/ 601 w 635"/>
                  <a:gd name="T25" fmla="*/ 55 h 648"/>
                  <a:gd name="T26" fmla="*/ 635 w 635"/>
                  <a:gd name="T27" fmla="*/ 45 h 648"/>
                  <a:gd name="T28" fmla="*/ 602 w 635"/>
                  <a:gd name="T29" fmla="*/ 34 h 648"/>
                  <a:gd name="T30" fmla="*/ 576 w 635"/>
                  <a:gd name="T31" fmla="*/ 31 h 648"/>
                  <a:gd name="T32" fmla="*/ 548 w 635"/>
                  <a:gd name="T33" fmla="*/ 35 h 648"/>
                  <a:gd name="T34" fmla="*/ 414 w 635"/>
                  <a:gd name="T35" fmla="*/ 55 h 648"/>
                  <a:gd name="T36" fmla="*/ 362 w 635"/>
                  <a:gd name="T37" fmla="*/ 50 h 648"/>
                  <a:gd name="T38" fmla="*/ 335 w 635"/>
                  <a:gd name="T39" fmla="*/ 44 h 648"/>
                  <a:gd name="T40" fmla="*/ 116 w 635"/>
                  <a:gd name="T41" fmla="*/ 25 h 648"/>
                  <a:gd name="T42" fmla="*/ 58 w 635"/>
                  <a:gd name="T43" fmla="*/ 0 h 648"/>
                  <a:gd name="T44" fmla="*/ 28 w 635"/>
                  <a:gd name="T45" fmla="*/ 16 h 648"/>
                  <a:gd name="T46" fmla="*/ 10 w 635"/>
                  <a:gd name="T47" fmla="*/ 15 h 648"/>
                  <a:gd name="T48" fmla="*/ 4 w 635"/>
                  <a:gd name="T49" fmla="*/ 62 h 648"/>
                  <a:gd name="T50" fmla="*/ 65 w 635"/>
                  <a:gd name="T51" fmla="*/ 170 h 648"/>
                  <a:gd name="T52" fmla="*/ 102 w 635"/>
                  <a:gd name="T53" fmla="*/ 245 h 648"/>
                  <a:gd name="T54" fmla="*/ 131 w 635"/>
                  <a:gd name="T55" fmla="*/ 296 h 648"/>
                  <a:gd name="T56" fmla="*/ 146 w 635"/>
                  <a:gd name="T57" fmla="*/ 431 h 648"/>
                  <a:gd name="T58" fmla="*/ 149 w 635"/>
                  <a:gd name="T59" fmla="*/ 484 h 648"/>
                  <a:gd name="T60" fmla="*/ 159 w 635"/>
                  <a:gd name="T61" fmla="*/ 508 h 648"/>
                  <a:gd name="T62" fmla="*/ 168 w 635"/>
                  <a:gd name="T63" fmla="*/ 544 h 648"/>
                  <a:gd name="T64" fmla="*/ 190 w 635"/>
                  <a:gd name="T65" fmla="*/ 606 h 648"/>
                  <a:gd name="T66" fmla="*/ 216 w 635"/>
                  <a:gd name="T67" fmla="*/ 625 h 648"/>
                  <a:gd name="T68" fmla="*/ 243 w 635"/>
                  <a:gd name="T69" fmla="*/ 596 h 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35" h="648">
                    <a:moveTo>
                      <a:pt x="243" y="596"/>
                    </a:moveTo>
                    <a:cubicBezTo>
                      <a:pt x="247" y="597"/>
                      <a:pt x="257" y="609"/>
                      <a:pt x="257" y="609"/>
                    </a:cubicBezTo>
                    <a:cubicBezTo>
                      <a:pt x="257" y="609"/>
                      <a:pt x="256" y="624"/>
                      <a:pt x="261" y="631"/>
                    </a:cubicBezTo>
                    <a:cubicBezTo>
                      <a:pt x="265" y="638"/>
                      <a:pt x="274" y="632"/>
                      <a:pt x="281" y="636"/>
                    </a:cubicBezTo>
                    <a:cubicBezTo>
                      <a:pt x="288" y="640"/>
                      <a:pt x="292" y="648"/>
                      <a:pt x="292" y="648"/>
                    </a:cubicBezTo>
                    <a:cubicBezTo>
                      <a:pt x="304" y="648"/>
                      <a:pt x="304" y="648"/>
                      <a:pt x="304" y="648"/>
                    </a:cubicBezTo>
                    <a:cubicBezTo>
                      <a:pt x="304" y="648"/>
                      <a:pt x="310" y="640"/>
                      <a:pt x="318" y="640"/>
                    </a:cubicBezTo>
                    <a:cubicBezTo>
                      <a:pt x="326" y="640"/>
                      <a:pt x="330" y="646"/>
                      <a:pt x="330" y="646"/>
                    </a:cubicBezTo>
                    <a:cubicBezTo>
                      <a:pt x="330" y="646"/>
                      <a:pt x="337" y="646"/>
                      <a:pt x="342" y="646"/>
                    </a:cubicBezTo>
                    <a:cubicBezTo>
                      <a:pt x="348" y="646"/>
                      <a:pt x="345" y="632"/>
                      <a:pt x="345" y="632"/>
                    </a:cubicBezTo>
                    <a:cubicBezTo>
                      <a:pt x="353" y="630"/>
                      <a:pt x="353" y="630"/>
                      <a:pt x="353" y="630"/>
                    </a:cubicBezTo>
                    <a:cubicBezTo>
                      <a:pt x="353" y="630"/>
                      <a:pt x="351" y="625"/>
                      <a:pt x="358" y="622"/>
                    </a:cubicBezTo>
                    <a:cubicBezTo>
                      <a:pt x="365" y="619"/>
                      <a:pt x="379" y="618"/>
                      <a:pt x="379" y="618"/>
                    </a:cubicBezTo>
                    <a:cubicBezTo>
                      <a:pt x="384" y="273"/>
                      <a:pt x="384" y="273"/>
                      <a:pt x="384" y="273"/>
                    </a:cubicBezTo>
                    <a:cubicBezTo>
                      <a:pt x="432" y="273"/>
                      <a:pt x="432" y="273"/>
                      <a:pt x="432" y="273"/>
                    </a:cubicBezTo>
                    <a:cubicBezTo>
                      <a:pt x="431" y="192"/>
                      <a:pt x="431" y="192"/>
                      <a:pt x="431" y="192"/>
                    </a:cubicBezTo>
                    <a:cubicBezTo>
                      <a:pt x="435" y="188"/>
                      <a:pt x="435" y="188"/>
                      <a:pt x="435" y="188"/>
                    </a:cubicBezTo>
                    <a:cubicBezTo>
                      <a:pt x="435" y="71"/>
                      <a:pt x="435" y="71"/>
                      <a:pt x="435" y="71"/>
                    </a:cubicBezTo>
                    <a:cubicBezTo>
                      <a:pt x="435" y="71"/>
                      <a:pt x="474" y="68"/>
                      <a:pt x="496" y="65"/>
                    </a:cubicBezTo>
                    <a:cubicBezTo>
                      <a:pt x="517" y="63"/>
                      <a:pt x="533" y="55"/>
                      <a:pt x="541" y="55"/>
                    </a:cubicBezTo>
                    <a:cubicBezTo>
                      <a:pt x="550" y="55"/>
                      <a:pt x="548" y="69"/>
                      <a:pt x="548" y="69"/>
                    </a:cubicBezTo>
                    <a:cubicBezTo>
                      <a:pt x="554" y="69"/>
                      <a:pt x="554" y="69"/>
                      <a:pt x="554" y="69"/>
                    </a:cubicBezTo>
                    <a:cubicBezTo>
                      <a:pt x="554" y="69"/>
                      <a:pt x="556" y="83"/>
                      <a:pt x="559" y="82"/>
                    </a:cubicBezTo>
                    <a:cubicBezTo>
                      <a:pt x="562" y="81"/>
                      <a:pt x="572" y="68"/>
                      <a:pt x="577" y="63"/>
                    </a:cubicBezTo>
                    <a:cubicBezTo>
                      <a:pt x="583" y="57"/>
                      <a:pt x="593" y="55"/>
                      <a:pt x="593" y="55"/>
                    </a:cubicBezTo>
                    <a:cubicBezTo>
                      <a:pt x="601" y="55"/>
                      <a:pt x="601" y="55"/>
                      <a:pt x="601" y="55"/>
                    </a:cubicBezTo>
                    <a:cubicBezTo>
                      <a:pt x="612" y="47"/>
                      <a:pt x="612" y="47"/>
                      <a:pt x="612" y="47"/>
                    </a:cubicBezTo>
                    <a:cubicBezTo>
                      <a:pt x="635" y="45"/>
                      <a:pt x="635" y="45"/>
                      <a:pt x="635" y="45"/>
                    </a:cubicBezTo>
                    <a:cubicBezTo>
                      <a:pt x="622" y="32"/>
                      <a:pt x="622" y="32"/>
                      <a:pt x="622" y="32"/>
                    </a:cubicBezTo>
                    <a:cubicBezTo>
                      <a:pt x="602" y="34"/>
                      <a:pt x="602" y="34"/>
                      <a:pt x="602" y="34"/>
                    </a:cubicBezTo>
                    <a:cubicBezTo>
                      <a:pt x="602" y="34"/>
                      <a:pt x="601" y="26"/>
                      <a:pt x="592" y="26"/>
                    </a:cubicBezTo>
                    <a:cubicBezTo>
                      <a:pt x="583" y="26"/>
                      <a:pt x="576" y="31"/>
                      <a:pt x="576" y="31"/>
                    </a:cubicBezTo>
                    <a:cubicBezTo>
                      <a:pt x="563" y="39"/>
                      <a:pt x="563" y="39"/>
                      <a:pt x="563" y="39"/>
                    </a:cubicBezTo>
                    <a:cubicBezTo>
                      <a:pt x="548" y="35"/>
                      <a:pt x="548" y="35"/>
                      <a:pt x="548" y="35"/>
                    </a:cubicBezTo>
                    <a:cubicBezTo>
                      <a:pt x="548" y="35"/>
                      <a:pt x="488" y="55"/>
                      <a:pt x="460" y="55"/>
                    </a:cubicBezTo>
                    <a:cubicBezTo>
                      <a:pt x="432" y="55"/>
                      <a:pt x="414" y="55"/>
                      <a:pt x="414" y="55"/>
                    </a:cubicBezTo>
                    <a:cubicBezTo>
                      <a:pt x="408" y="49"/>
                      <a:pt x="408" y="49"/>
                      <a:pt x="408" y="49"/>
                    </a:cubicBezTo>
                    <a:cubicBezTo>
                      <a:pt x="362" y="50"/>
                      <a:pt x="362" y="50"/>
                      <a:pt x="362" y="50"/>
                    </a:cubicBezTo>
                    <a:cubicBezTo>
                      <a:pt x="358" y="44"/>
                      <a:pt x="358" y="44"/>
                      <a:pt x="358" y="44"/>
                    </a:cubicBezTo>
                    <a:cubicBezTo>
                      <a:pt x="358" y="44"/>
                      <a:pt x="342" y="46"/>
                      <a:pt x="335" y="44"/>
                    </a:cubicBezTo>
                    <a:cubicBezTo>
                      <a:pt x="328" y="42"/>
                      <a:pt x="319" y="23"/>
                      <a:pt x="319" y="23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25"/>
                      <a:pt x="82" y="12"/>
                      <a:pt x="78" y="1"/>
                    </a:cubicBezTo>
                    <a:cubicBezTo>
                      <a:pt x="79" y="2"/>
                      <a:pt x="58" y="0"/>
                      <a:pt x="58" y="0"/>
                    </a:cubicBezTo>
                    <a:cubicBezTo>
                      <a:pt x="58" y="0"/>
                      <a:pt x="54" y="14"/>
                      <a:pt x="47" y="15"/>
                    </a:cubicBezTo>
                    <a:cubicBezTo>
                      <a:pt x="40" y="16"/>
                      <a:pt x="28" y="16"/>
                      <a:pt x="28" y="16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4" y="62"/>
                      <a:pt x="4" y="62"/>
                      <a:pt x="4" y="62"/>
                    </a:cubicBezTo>
                    <a:cubicBezTo>
                      <a:pt x="4" y="62"/>
                      <a:pt x="13" y="79"/>
                      <a:pt x="22" y="92"/>
                    </a:cubicBezTo>
                    <a:cubicBezTo>
                      <a:pt x="31" y="105"/>
                      <a:pt x="64" y="153"/>
                      <a:pt x="65" y="170"/>
                    </a:cubicBezTo>
                    <a:cubicBezTo>
                      <a:pt x="66" y="187"/>
                      <a:pt x="79" y="204"/>
                      <a:pt x="83" y="217"/>
                    </a:cubicBezTo>
                    <a:cubicBezTo>
                      <a:pt x="87" y="230"/>
                      <a:pt x="102" y="245"/>
                      <a:pt x="102" y="245"/>
                    </a:cubicBezTo>
                    <a:cubicBezTo>
                      <a:pt x="102" y="259"/>
                      <a:pt x="102" y="259"/>
                      <a:pt x="102" y="259"/>
                    </a:cubicBezTo>
                    <a:cubicBezTo>
                      <a:pt x="102" y="259"/>
                      <a:pt x="131" y="280"/>
                      <a:pt x="131" y="296"/>
                    </a:cubicBezTo>
                    <a:cubicBezTo>
                      <a:pt x="131" y="312"/>
                      <a:pt x="129" y="386"/>
                      <a:pt x="129" y="386"/>
                    </a:cubicBezTo>
                    <a:cubicBezTo>
                      <a:pt x="129" y="386"/>
                      <a:pt x="144" y="411"/>
                      <a:pt x="146" y="431"/>
                    </a:cubicBezTo>
                    <a:cubicBezTo>
                      <a:pt x="148" y="451"/>
                      <a:pt x="140" y="451"/>
                      <a:pt x="140" y="451"/>
                    </a:cubicBezTo>
                    <a:cubicBezTo>
                      <a:pt x="149" y="484"/>
                      <a:pt x="149" y="484"/>
                      <a:pt x="149" y="484"/>
                    </a:cubicBezTo>
                    <a:cubicBezTo>
                      <a:pt x="151" y="508"/>
                      <a:pt x="151" y="508"/>
                      <a:pt x="151" y="508"/>
                    </a:cubicBezTo>
                    <a:cubicBezTo>
                      <a:pt x="159" y="508"/>
                      <a:pt x="159" y="508"/>
                      <a:pt x="159" y="508"/>
                    </a:cubicBezTo>
                    <a:cubicBezTo>
                      <a:pt x="159" y="508"/>
                      <a:pt x="156" y="528"/>
                      <a:pt x="157" y="532"/>
                    </a:cubicBezTo>
                    <a:cubicBezTo>
                      <a:pt x="158" y="536"/>
                      <a:pt x="168" y="544"/>
                      <a:pt x="168" y="544"/>
                    </a:cubicBezTo>
                    <a:cubicBezTo>
                      <a:pt x="169" y="563"/>
                      <a:pt x="169" y="563"/>
                      <a:pt x="169" y="563"/>
                    </a:cubicBezTo>
                    <a:cubicBezTo>
                      <a:pt x="169" y="563"/>
                      <a:pt x="184" y="595"/>
                      <a:pt x="190" y="606"/>
                    </a:cubicBezTo>
                    <a:cubicBezTo>
                      <a:pt x="196" y="617"/>
                      <a:pt x="216" y="624"/>
                      <a:pt x="216" y="624"/>
                    </a:cubicBezTo>
                    <a:cubicBezTo>
                      <a:pt x="216" y="624"/>
                      <a:pt x="216" y="624"/>
                      <a:pt x="216" y="625"/>
                    </a:cubicBezTo>
                    <a:cubicBezTo>
                      <a:pt x="228" y="619"/>
                      <a:pt x="228" y="619"/>
                      <a:pt x="228" y="619"/>
                    </a:cubicBezTo>
                    <a:cubicBezTo>
                      <a:pt x="228" y="619"/>
                      <a:pt x="239" y="595"/>
                      <a:pt x="243" y="596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Freeform 285">
                <a:extLst>
                  <a:ext uri="{FF2B5EF4-FFF2-40B4-BE49-F238E27FC236}">
                    <a16:creationId xmlns:a16="http://schemas.microsoft.com/office/drawing/2014/main" id="{F638EA7D-0F6E-910F-2327-B3674D3E89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3657" y="-8000"/>
                <a:ext cx="879" cy="864"/>
              </a:xfrm>
              <a:custGeom>
                <a:avLst/>
                <a:gdLst>
                  <a:gd name="T0" fmla="*/ 11 w 372"/>
                  <a:gd name="T1" fmla="*/ 136 h 366"/>
                  <a:gd name="T2" fmla="*/ 11 w 372"/>
                  <a:gd name="T3" fmla="*/ 156 h 366"/>
                  <a:gd name="T4" fmla="*/ 23 w 372"/>
                  <a:gd name="T5" fmla="*/ 160 h 366"/>
                  <a:gd name="T6" fmla="*/ 33 w 372"/>
                  <a:gd name="T7" fmla="*/ 181 h 366"/>
                  <a:gd name="T8" fmla="*/ 42 w 372"/>
                  <a:gd name="T9" fmla="*/ 213 h 366"/>
                  <a:gd name="T10" fmla="*/ 70 w 372"/>
                  <a:gd name="T11" fmla="*/ 234 h 366"/>
                  <a:gd name="T12" fmla="*/ 90 w 372"/>
                  <a:gd name="T13" fmla="*/ 238 h 366"/>
                  <a:gd name="T14" fmla="*/ 91 w 372"/>
                  <a:gd name="T15" fmla="*/ 260 h 366"/>
                  <a:gd name="T16" fmla="*/ 112 w 372"/>
                  <a:gd name="T17" fmla="*/ 261 h 366"/>
                  <a:gd name="T18" fmla="*/ 114 w 372"/>
                  <a:gd name="T19" fmla="*/ 276 h 366"/>
                  <a:gd name="T20" fmla="*/ 110 w 372"/>
                  <a:gd name="T21" fmla="*/ 281 h 366"/>
                  <a:gd name="T22" fmla="*/ 110 w 372"/>
                  <a:gd name="T23" fmla="*/ 299 h 366"/>
                  <a:gd name="T24" fmla="*/ 122 w 372"/>
                  <a:gd name="T25" fmla="*/ 304 h 366"/>
                  <a:gd name="T26" fmla="*/ 122 w 372"/>
                  <a:gd name="T27" fmla="*/ 319 h 366"/>
                  <a:gd name="T28" fmla="*/ 161 w 372"/>
                  <a:gd name="T29" fmla="*/ 327 h 366"/>
                  <a:gd name="T30" fmla="*/ 180 w 372"/>
                  <a:gd name="T31" fmla="*/ 352 h 366"/>
                  <a:gd name="T32" fmla="*/ 167 w 372"/>
                  <a:gd name="T33" fmla="*/ 353 h 366"/>
                  <a:gd name="T34" fmla="*/ 206 w 372"/>
                  <a:gd name="T35" fmla="*/ 351 h 366"/>
                  <a:gd name="T36" fmla="*/ 230 w 372"/>
                  <a:gd name="T37" fmla="*/ 359 h 366"/>
                  <a:gd name="T38" fmla="*/ 265 w 372"/>
                  <a:gd name="T39" fmla="*/ 359 h 366"/>
                  <a:gd name="T40" fmla="*/ 277 w 372"/>
                  <a:gd name="T41" fmla="*/ 366 h 366"/>
                  <a:gd name="T42" fmla="*/ 324 w 372"/>
                  <a:gd name="T43" fmla="*/ 310 h 366"/>
                  <a:gd name="T44" fmla="*/ 334 w 372"/>
                  <a:gd name="T45" fmla="*/ 307 h 366"/>
                  <a:gd name="T46" fmla="*/ 325 w 372"/>
                  <a:gd name="T47" fmla="*/ 294 h 366"/>
                  <a:gd name="T48" fmla="*/ 333 w 372"/>
                  <a:gd name="T49" fmla="*/ 289 h 366"/>
                  <a:gd name="T50" fmla="*/ 334 w 372"/>
                  <a:gd name="T51" fmla="*/ 266 h 366"/>
                  <a:gd name="T52" fmla="*/ 350 w 372"/>
                  <a:gd name="T53" fmla="*/ 257 h 366"/>
                  <a:gd name="T54" fmla="*/ 354 w 372"/>
                  <a:gd name="T55" fmla="*/ 242 h 366"/>
                  <a:gd name="T56" fmla="*/ 364 w 372"/>
                  <a:gd name="T57" fmla="*/ 229 h 366"/>
                  <a:gd name="T58" fmla="*/ 346 w 372"/>
                  <a:gd name="T59" fmla="*/ 206 h 366"/>
                  <a:gd name="T60" fmla="*/ 360 w 372"/>
                  <a:gd name="T61" fmla="*/ 190 h 366"/>
                  <a:gd name="T62" fmla="*/ 346 w 372"/>
                  <a:gd name="T63" fmla="*/ 174 h 366"/>
                  <a:gd name="T64" fmla="*/ 360 w 372"/>
                  <a:gd name="T65" fmla="*/ 167 h 366"/>
                  <a:gd name="T66" fmla="*/ 360 w 372"/>
                  <a:gd name="T67" fmla="*/ 158 h 366"/>
                  <a:gd name="T68" fmla="*/ 366 w 372"/>
                  <a:gd name="T69" fmla="*/ 145 h 366"/>
                  <a:gd name="T70" fmla="*/ 358 w 372"/>
                  <a:gd name="T71" fmla="*/ 119 h 366"/>
                  <a:gd name="T72" fmla="*/ 366 w 372"/>
                  <a:gd name="T73" fmla="*/ 107 h 366"/>
                  <a:gd name="T74" fmla="*/ 360 w 372"/>
                  <a:gd name="T75" fmla="*/ 99 h 366"/>
                  <a:gd name="T76" fmla="*/ 366 w 372"/>
                  <a:gd name="T77" fmla="*/ 90 h 366"/>
                  <a:gd name="T78" fmla="*/ 358 w 372"/>
                  <a:gd name="T79" fmla="*/ 81 h 366"/>
                  <a:gd name="T80" fmla="*/ 368 w 372"/>
                  <a:gd name="T81" fmla="*/ 63 h 366"/>
                  <a:gd name="T82" fmla="*/ 349 w 372"/>
                  <a:gd name="T83" fmla="*/ 55 h 366"/>
                  <a:gd name="T84" fmla="*/ 336 w 372"/>
                  <a:gd name="T85" fmla="*/ 43 h 366"/>
                  <a:gd name="T86" fmla="*/ 318 w 372"/>
                  <a:gd name="T87" fmla="*/ 46 h 366"/>
                  <a:gd name="T88" fmla="*/ 308 w 372"/>
                  <a:gd name="T89" fmla="*/ 30 h 366"/>
                  <a:gd name="T90" fmla="*/ 293 w 372"/>
                  <a:gd name="T91" fmla="*/ 33 h 366"/>
                  <a:gd name="T92" fmla="*/ 285 w 372"/>
                  <a:gd name="T93" fmla="*/ 21 h 366"/>
                  <a:gd name="T94" fmla="*/ 246 w 372"/>
                  <a:gd name="T95" fmla="*/ 21 h 366"/>
                  <a:gd name="T96" fmla="*/ 245 w 372"/>
                  <a:gd name="T97" fmla="*/ 1 h 366"/>
                  <a:gd name="T98" fmla="*/ 205 w 372"/>
                  <a:gd name="T99" fmla="*/ 5 h 366"/>
                  <a:gd name="T100" fmla="*/ 170 w 372"/>
                  <a:gd name="T101" fmla="*/ 25 h 366"/>
                  <a:gd name="T102" fmla="*/ 172 w 372"/>
                  <a:gd name="T103" fmla="*/ 49 h 366"/>
                  <a:gd name="T104" fmla="*/ 125 w 372"/>
                  <a:gd name="T105" fmla="*/ 68 h 366"/>
                  <a:gd name="T106" fmla="*/ 116 w 372"/>
                  <a:gd name="T107" fmla="*/ 91 h 366"/>
                  <a:gd name="T108" fmla="*/ 77 w 372"/>
                  <a:gd name="T109" fmla="*/ 127 h 366"/>
                  <a:gd name="T110" fmla="*/ 51 w 372"/>
                  <a:gd name="T111" fmla="*/ 121 h 366"/>
                  <a:gd name="T112" fmla="*/ 38 w 372"/>
                  <a:gd name="T113" fmla="*/ 127 h 366"/>
                  <a:gd name="T114" fmla="*/ 26 w 372"/>
                  <a:gd name="T115" fmla="*/ 117 h 366"/>
                  <a:gd name="T116" fmla="*/ 0 w 372"/>
                  <a:gd name="T117" fmla="*/ 117 h 366"/>
                  <a:gd name="T118" fmla="*/ 2 w 372"/>
                  <a:gd name="T119" fmla="*/ 127 h 366"/>
                  <a:gd name="T120" fmla="*/ 11 w 372"/>
                  <a:gd name="T121" fmla="*/ 13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72" h="366">
                    <a:moveTo>
                      <a:pt x="11" y="136"/>
                    </a:moveTo>
                    <a:cubicBezTo>
                      <a:pt x="11" y="156"/>
                      <a:pt x="11" y="156"/>
                      <a:pt x="11" y="156"/>
                    </a:cubicBezTo>
                    <a:cubicBezTo>
                      <a:pt x="11" y="156"/>
                      <a:pt x="19" y="150"/>
                      <a:pt x="23" y="160"/>
                    </a:cubicBezTo>
                    <a:cubicBezTo>
                      <a:pt x="27" y="170"/>
                      <a:pt x="33" y="181"/>
                      <a:pt x="33" y="181"/>
                    </a:cubicBezTo>
                    <a:cubicBezTo>
                      <a:pt x="33" y="181"/>
                      <a:pt x="35" y="204"/>
                      <a:pt x="42" y="213"/>
                    </a:cubicBezTo>
                    <a:cubicBezTo>
                      <a:pt x="49" y="222"/>
                      <a:pt x="70" y="234"/>
                      <a:pt x="70" y="234"/>
                    </a:cubicBezTo>
                    <a:cubicBezTo>
                      <a:pt x="70" y="234"/>
                      <a:pt x="88" y="231"/>
                      <a:pt x="90" y="238"/>
                    </a:cubicBezTo>
                    <a:cubicBezTo>
                      <a:pt x="92" y="245"/>
                      <a:pt x="91" y="260"/>
                      <a:pt x="91" y="260"/>
                    </a:cubicBezTo>
                    <a:cubicBezTo>
                      <a:pt x="112" y="261"/>
                      <a:pt x="112" y="261"/>
                      <a:pt x="112" y="261"/>
                    </a:cubicBezTo>
                    <a:cubicBezTo>
                      <a:pt x="114" y="276"/>
                      <a:pt x="114" y="276"/>
                      <a:pt x="114" y="276"/>
                    </a:cubicBezTo>
                    <a:cubicBezTo>
                      <a:pt x="110" y="281"/>
                      <a:pt x="110" y="281"/>
                      <a:pt x="110" y="281"/>
                    </a:cubicBezTo>
                    <a:cubicBezTo>
                      <a:pt x="110" y="299"/>
                      <a:pt x="110" y="299"/>
                      <a:pt x="110" y="299"/>
                    </a:cubicBezTo>
                    <a:cubicBezTo>
                      <a:pt x="110" y="299"/>
                      <a:pt x="122" y="297"/>
                      <a:pt x="122" y="304"/>
                    </a:cubicBezTo>
                    <a:cubicBezTo>
                      <a:pt x="122" y="311"/>
                      <a:pt x="122" y="319"/>
                      <a:pt x="122" y="319"/>
                    </a:cubicBezTo>
                    <a:cubicBezTo>
                      <a:pt x="122" y="319"/>
                      <a:pt x="148" y="322"/>
                      <a:pt x="161" y="327"/>
                    </a:cubicBezTo>
                    <a:cubicBezTo>
                      <a:pt x="171" y="331"/>
                      <a:pt x="177" y="345"/>
                      <a:pt x="180" y="352"/>
                    </a:cubicBezTo>
                    <a:cubicBezTo>
                      <a:pt x="167" y="353"/>
                      <a:pt x="167" y="353"/>
                      <a:pt x="167" y="353"/>
                    </a:cubicBezTo>
                    <a:cubicBezTo>
                      <a:pt x="206" y="351"/>
                      <a:pt x="206" y="351"/>
                      <a:pt x="206" y="351"/>
                    </a:cubicBezTo>
                    <a:cubicBezTo>
                      <a:pt x="206" y="351"/>
                      <a:pt x="222" y="358"/>
                      <a:pt x="230" y="359"/>
                    </a:cubicBezTo>
                    <a:cubicBezTo>
                      <a:pt x="238" y="360"/>
                      <a:pt x="265" y="359"/>
                      <a:pt x="265" y="359"/>
                    </a:cubicBezTo>
                    <a:cubicBezTo>
                      <a:pt x="277" y="366"/>
                      <a:pt x="277" y="366"/>
                      <a:pt x="277" y="366"/>
                    </a:cubicBezTo>
                    <a:cubicBezTo>
                      <a:pt x="324" y="310"/>
                      <a:pt x="324" y="310"/>
                      <a:pt x="324" y="310"/>
                    </a:cubicBezTo>
                    <a:cubicBezTo>
                      <a:pt x="334" y="307"/>
                      <a:pt x="334" y="307"/>
                      <a:pt x="334" y="307"/>
                    </a:cubicBezTo>
                    <a:cubicBezTo>
                      <a:pt x="325" y="294"/>
                      <a:pt x="325" y="294"/>
                      <a:pt x="325" y="294"/>
                    </a:cubicBezTo>
                    <a:cubicBezTo>
                      <a:pt x="333" y="289"/>
                      <a:pt x="333" y="289"/>
                      <a:pt x="333" y="289"/>
                    </a:cubicBezTo>
                    <a:cubicBezTo>
                      <a:pt x="334" y="266"/>
                      <a:pt x="334" y="266"/>
                      <a:pt x="334" y="266"/>
                    </a:cubicBezTo>
                    <a:cubicBezTo>
                      <a:pt x="334" y="266"/>
                      <a:pt x="349" y="265"/>
                      <a:pt x="350" y="257"/>
                    </a:cubicBezTo>
                    <a:cubicBezTo>
                      <a:pt x="352" y="249"/>
                      <a:pt x="354" y="242"/>
                      <a:pt x="354" y="242"/>
                    </a:cubicBezTo>
                    <a:cubicBezTo>
                      <a:pt x="354" y="242"/>
                      <a:pt x="365" y="235"/>
                      <a:pt x="364" y="229"/>
                    </a:cubicBezTo>
                    <a:cubicBezTo>
                      <a:pt x="362" y="222"/>
                      <a:pt x="345" y="211"/>
                      <a:pt x="346" y="206"/>
                    </a:cubicBezTo>
                    <a:cubicBezTo>
                      <a:pt x="348" y="201"/>
                      <a:pt x="360" y="190"/>
                      <a:pt x="360" y="190"/>
                    </a:cubicBezTo>
                    <a:cubicBezTo>
                      <a:pt x="346" y="174"/>
                      <a:pt x="346" y="174"/>
                      <a:pt x="346" y="174"/>
                    </a:cubicBezTo>
                    <a:cubicBezTo>
                      <a:pt x="360" y="167"/>
                      <a:pt x="360" y="167"/>
                      <a:pt x="360" y="167"/>
                    </a:cubicBezTo>
                    <a:cubicBezTo>
                      <a:pt x="360" y="158"/>
                      <a:pt x="360" y="158"/>
                      <a:pt x="360" y="158"/>
                    </a:cubicBezTo>
                    <a:cubicBezTo>
                      <a:pt x="360" y="158"/>
                      <a:pt x="369" y="158"/>
                      <a:pt x="366" y="145"/>
                    </a:cubicBezTo>
                    <a:cubicBezTo>
                      <a:pt x="364" y="131"/>
                      <a:pt x="356" y="125"/>
                      <a:pt x="358" y="119"/>
                    </a:cubicBezTo>
                    <a:cubicBezTo>
                      <a:pt x="361" y="114"/>
                      <a:pt x="366" y="107"/>
                      <a:pt x="366" y="107"/>
                    </a:cubicBezTo>
                    <a:cubicBezTo>
                      <a:pt x="360" y="99"/>
                      <a:pt x="360" y="99"/>
                      <a:pt x="360" y="99"/>
                    </a:cubicBezTo>
                    <a:cubicBezTo>
                      <a:pt x="366" y="90"/>
                      <a:pt x="366" y="90"/>
                      <a:pt x="366" y="90"/>
                    </a:cubicBezTo>
                    <a:cubicBezTo>
                      <a:pt x="358" y="81"/>
                      <a:pt x="358" y="81"/>
                      <a:pt x="358" y="81"/>
                    </a:cubicBezTo>
                    <a:cubicBezTo>
                      <a:pt x="358" y="81"/>
                      <a:pt x="372" y="71"/>
                      <a:pt x="368" y="63"/>
                    </a:cubicBezTo>
                    <a:cubicBezTo>
                      <a:pt x="364" y="55"/>
                      <a:pt x="349" y="55"/>
                      <a:pt x="349" y="55"/>
                    </a:cubicBezTo>
                    <a:cubicBezTo>
                      <a:pt x="349" y="55"/>
                      <a:pt x="344" y="43"/>
                      <a:pt x="336" y="43"/>
                    </a:cubicBezTo>
                    <a:cubicBezTo>
                      <a:pt x="328" y="43"/>
                      <a:pt x="318" y="46"/>
                      <a:pt x="318" y="46"/>
                    </a:cubicBezTo>
                    <a:cubicBezTo>
                      <a:pt x="308" y="30"/>
                      <a:pt x="308" y="30"/>
                      <a:pt x="308" y="30"/>
                    </a:cubicBezTo>
                    <a:cubicBezTo>
                      <a:pt x="293" y="33"/>
                      <a:pt x="293" y="33"/>
                      <a:pt x="293" y="33"/>
                    </a:cubicBezTo>
                    <a:cubicBezTo>
                      <a:pt x="285" y="21"/>
                      <a:pt x="285" y="21"/>
                      <a:pt x="285" y="21"/>
                    </a:cubicBezTo>
                    <a:cubicBezTo>
                      <a:pt x="246" y="21"/>
                      <a:pt x="246" y="21"/>
                      <a:pt x="246" y="2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36" y="0"/>
                      <a:pt x="218" y="0"/>
                      <a:pt x="205" y="5"/>
                    </a:cubicBezTo>
                    <a:cubicBezTo>
                      <a:pt x="188" y="11"/>
                      <a:pt x="170" y="25"/>
                      <a:pt x="170" y="25"/>
                    </a:cubicBezTo>
                    <a:cubicBezTo>
                      <a:pt x="170" y="25"/>
                      <a:pt x="173" y="48"/>
                      <a:pt x="172" y="49"/>
                    </a:cubicBezTo>
                    <a:cubicBezTo>
                      <a:pt x="171" y="50"/>
                      <a:pt x="132" y="61"/>
                      <a:pt x="125" y="68"/>
                    </a:cubicBezTo>
                    <a:cubicBezTo>
                      <a:pt x="118" y="75"/>
                      <a:pt x="116" y="91"/>
                      <a:pt x="116" y="91"/>
                    </a:cubicBezTo>
                    <a:cubicBezTo>
                      <a:pt x="116" y="91"/>
                      <a:pt x="95" y="118"/>
                      <a:pt x="77" y="127"/>
                    </a:cubicBezTo>
                    <a:cubicBezTo>
                      <a:pt x="59" y="136"/>
                      <a:pt x="58" y="127"/>
                      <a:pt x="51" y="121"/>
                    </a:cubicBezTo>
                    <a:cubicBezTo>
                      <a:pt x="44" y="115"/>
                      <a:pt x="42" y="127"/>
                      <a:pt x="38" y="127"/>
                    </a:cubicBezTo>
                    <a:cubicBezTo>
                      <a:pt x="34" y="127"/>
                      <a:pt x="28" y="121"/>
                      <a:pt x="26" y="117"/>
                    </a:cubicBezTo>
                    <a:cubicBezTo>
                      <a:pt x="24" y="113"/>
                      <a:pt x="0" y="117"/>
                      <a:pt x="0" y="117"/>
                    </a:cubicBezTo>
                    <a:cubicBezTo>
                      <a:pt x="2" y="127"/>
                      <a:pt x="2" y="127"/>
                      <a:pt x="2" y="127"/>
                    </a:cubicBezTo>
                    <a:lnTo>
                      <a:pt x="11" y="136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286">
                <a:extLst>
                  <a:ext uri="{FF2B5EF4-FFF2-40B4-BE49-F238E27FC236}">
                    <a16:creationId xmlns:a16="http://schemas.microsoft.com/office/drawing/2014/main" id="{C48F2E07-4D1F-5E0C-BDF7-09D19E48EFA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255" y="-7724"/>
                <a:ext cx="1023" cy="1158"/>
              </a:xfrm>
              <a:custGeom>
                <a:avLst/>
                <a:gdLst>
                  <a:gd name="T0" fmla="*/ 0 w 433"/>
                  <a:gd name="T1" fmla="*/ 377 h 490"/>
                  <a:gd name="T2" fmla="*/ 22 w 433"/>
                  <a:gd name="T3" fmla="*/ 394 h 490"/>
                  <a:gd name="T4" fmla="*/ 30 w 433"/>
                  <a:gd name="T5" fmla="*/ 423 h 490"/>
                  <a:gd name="T6" fmla="*/ 37 w 433"/>
                  <a:gd name="T7" fmla="*/ 443 h 490"/>
                  <a:gd name="T8" fmla="*/ 27 w 433"/>
                  <a:gd name="T9" fmla="*/ 465 h 490"/>
                  <a:gd name="T10" fmla="*/ 27 w 433"/>
                  <a:gd name="T11" fmla="*/ 487 h 490"/>
                  <a:gd name="T12" fmla="*/ 78 w 433"/>
                  <a:gd name="T13" fmla="*/ 485 h 490"/>
                  <a:gd name="T14" fmla="*/ 83 w 433"/>
                  <a:gd name="T15" fmla="*/ 473 h 490"/>
                  <a:gd name="T16" fmla="*/ 97 w 433"/>
                  <a:gd name="T17" fmla="*/ 474 h 490"/>
                  <a:gd name="T18" fmla="*/ 106 w 433"/>
                  <a:gd name="T19" fmla="*/ 454 h 490"/>
                  <a:gd name="T20" fmla="*/ 124 w 433"/>
                  <a:gd name="T21" fmla="*/ 446 h 490"/>
                  <a:gd name="T22" fmla="*/ 142 w 433"/>
                  <a:gd name="T23" fmla="*/ 401 h 490"/>
                  <a:gd name="T24" fmla="*/ 171 w 433"/>
                  <a:gd name="T25" fmla="*/ 413 h 490"/>
                  <a:gd name="T26" fmla="*/ 181 w 433"/>
                  <a:gd name="T27" fmla="*/ 423 h 490"/>
                  <a:gd name="T28" fmla="*/ 198 w 433"/>
                  <a:gd name="T29" fmla="*/ 424 h 490"/>
                  <a:gd name="T30" fmla="*/ 223 w 433"/>
                  <a:gd name="T31" fmla="*/ 433 h 490"/>
                  <a:gd name="T32" fmla="*/ 236 w 433"/>
                  <a:gd name="T33" fmla="*/ 426 h 490"/>
                  <a:gd name="T34" fmla="*/ 255 w 433"/>
                  <a:gd name="T35" fmla="*/ 426 h 490"/>
                  <a:gd name="T36" fmla="*/ 270 w 433"/>
                  <a:gd name="T37" fmla="*/ 386 h 490"/>
                  <a:gd name="T38" fmla="*/ 284 w 433"/>
                  <a:gd name="T39" fmla="*/ 374 h 490"/>
                  <a:gd name="T40" fmla="*/ 295 w 433"/>
                  <a:gd name="T41" fmla="*/ 371 h 490"/>
                  <a:gd name="T42" fmla="*/ 318 w 433"/>
                  <a:gd name="T43" fmla="*/ 347 h 490"/>
                  <a:gd name="T44" fmla="*/ 329 w 433"/>
                  <a:gd name="T45" fmla="*/ 311 h 490"/>
                  <a:gd name="T46" fmla="*/ 353 w 433"/>
                  <a:gd name="T47" fmla="*/ 298 h 490"/>
                  <a:gd name="T48" fmla="*/ 383 w 433"/>
                  <a:gd name="T49" fmla="*/ 259 h 490"/>
                  <a:gd name="T50" fmla="*/ 412 w 433"/>
                  <a:gd name="T51" fmla="*/ 252 h 490"/>
                  <a:gd name="T52" fmla="*/ 420 w 433"/>
                  <a:gd name="T53" fmla="*/ 236 h 490"/>
                  <a:gd name="T54" fmla="*/ 433 w 433"/>
                  <a:gd name="T55" fmla="*/ 235 h 490"/>
                  <a:gd name="T56" fmla="*/ 414 w 433"/>
                  <a:gd name="T57" fmla="*/ 210 h 490"/>
                  <a:gd name="T58" fmla="*/ 375 w 433"/>
                  <a:gd name="T59" fmla="*/ 202 h 490"/>
                  <a:gd name="T60" fmla="*/ 375 w 433"/>
                  <a:gd name="T61" fmla="*/ 187 h 490"/>
                  <a:gd name="T62" fmla="*/ 363 w 433"/>
                  <a:gd name="T63" fmla="*/ 182 h 490"/>
                  <a:gd name="T64" fmla="*/ 363 w 433"/>
                  <a:gd name="T65" fmla="*/ 164 h 490"/>
                  <a:gd name="T66" fmla="*/ 367 w 433"/>
                  <a:gd name="T67" fmla="*/ 159 h 490"/>
                  <a:gd name="T68" fmla="*/ 365 w 433"/>
                  <a:gd name="T69" fmla="*/ 144 h 490"/>
                  <a:gd name="T70" fmla="*/ 344 w 433"/>
                  <a:gd name="T71" fmla="*/ 143 h 490"/>
                  <a:gd name="T72" fmla="*/ 343 w 433"/>
                  <a:gd name="T73" fmla="*/ 121 h 490"/>
                  <a:gd name="T74" fmla="*/ 323 w 433"/>
                  <a:gd name="T75" fmla="*/ 117 h 490"/>
                  <a:gd name="T76" fmla="*/ 295 w 433"/>
                  <a:gd name="T77" fmla="*/ 96 h 490"/>
                  <a:gd name="T78" fmla="*/ 286 w 433"/>
                  <a:gd name="T79" fmla="*/ 64 h 490"/>
                  <a:gd name="T80" fmla="*/ 276 w 433"/>
                  <a:gd name="T81" fmla="*/ 43 h 490"/>
                  <a:gd name="T82" fmla="*/ 264 w 433"/>
                  <a:gd name="T83" fmla="*/ 39 h 490"/>
                  <a:gd name="T84" fmla="*/ 264 w 433"/>
                  <a:gd name="T85" fmla="*/ 19 h 490"/>
                  <a:gd name="T86" fmla="*/ 255 w 433"/>
                  <a:gd name="T87" fmla="*/ 10 h 490"/>
                  <a:gd name="T88" fmla="*/ 253 w 433"/>
                  <a:gd name="T89" fmla="*/ 0 h 490"/>
                  <a:gd name="T90" fmla="*/ 230 w 433"/>
                  <a:gd name="T91" fmla="*/ 2 h 490"/>
                  <a:gd name="T92" fmla="*/ 219 w 433"/>
                  <a:gd name="T93" fmla="*/ 10 h 490"/>
                  <a:gd name="T94" fmla="*/ 211 w 433"/>
                  <a:gd name="T95" fmla="*/ 10 h 490"/>
                  <a:gd name="T96" fmla="*/ 195 w 433"/>
                  <a:gd name="T97" fmla="*/ 18 h 490"/>
                  <a:gd name="T98" fmla="*/ 177 w 433"/>
                  <a:gd name="T99" fmla="*/ 37 h 490"/>
                  <a:gd name="T100" fmla="*/ 172 w 433"/>
                  <a:gd name="T101" fmla="*/ 24 h 490"/>
                  <a:gd name="T102" fmla="*/ 166 w 433"/>
                  <a:gd name="T103" fmla="*/ 24 h 490"/>
                  <a:gd name="T104" fmla="*/ 159 w 433"/>
                  <a:gd name="T105" fmla="*/ 10 h 490"/>
                  <a:gd name="T106" fmla="*/ 114 w 433"/>
                  <a:gd name="T107" fmla="*/ 20 h 490"/>
                  <a:gd name="T108" fmla="*/ 53 w 433"/>
                  <a:gd name="T109" fmla="*/ 26 h 490"/>
                  <a:gd name="T110" fmla="*/ 53 w 433"/>
                  <a:gd name="T111" fmla="*/ 143 h 490"/>
                  <a:gd name="T112" fmla="*/ 49 w 433"/>
                  <a:gd name="T113" fmla="*/ 147 h 490"/>
                  <a:gd name="T114" fmla="*/ 50 w 433"/>
                  <a:gd name="T115" fmla="*/ 228 h 490"/>
                  <a:gd name="T116" fmla="*/ 2 w 433"/>
                  <a:gd name="T117" fmla="*/ 228 h 490"/>
                  <a:gd name="T118" fmla="*/ 0 w 433"/>
                  <a:gd name="T119" fmla="*/ 377 h 4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33" h="490">
                    <a:moveTo>
                      <a:pt x="0" y="377"/>
                    </a:moveTo>
                    <a:cubicBezTo>
                      <a:pt x="9" y="381"/>
                      <a:pt x="18" y="386"/>
                      <a:pt x="22" y="394"/>
                    </a:cubicBezTo>
                    <a:cubicBezTo>
                      <a:pt x="31" y="413"/>
                      <a:pt x="30" y="423"/>
                      <a:pt x="30" y="423"/>
                    </a:cubicBezTo>
                    <a:cubicBezTo>
                      <a:pt x="30" y="423"/>
                      <a:pt x="39" y="434"/>
                      <a:pt x="37" y="443"/>
                    </a:cubicBezTo>
                    <a:cubicBezTo>
                      <a:pt x="35" y="452"/>
                      <a:pt x="27" y="465"/>
                      <a:pt x="27" y="465"/>
                    </a:cubicBezTo>
                    <a:cubicBezTo>
                      <a:pt x="27" y="465"/>
                      <a:pt x="22" y="484"/>
                      <a:pt x="27" y="487"/>
                    </a:cubicBezTo>
                    <a:cubicBezTo>
                      <a:pt x="32" y="490"/>
                      <a:pt x="78" y="485"/>
                      <a:pt x="78" y="485"/>
                    </a:cubicBezTo>
                    <a:cubicBezTo>
                      <a:pt x="78" y="485"/>
                      <a:pt x="79" y="474"/>
                      <a:pt x="83" y="473"/>
                    </a:cubicBezTo>
                    <a:cubicBezTo>
                      <a:pt x="87" y="472"/>
                      <a:pt x="97" y="474"/>
                      <a:pt x="97" y="474"/>
                    </a:cubicBezTo>
                    <a:cubicBezTo>
                      <a:pt x="97" y="474"/>
                      <a:pt x="99" y="457"/>
                      <a:pt x="106" y="454"/>
                    </a:cubicBezTo>
                    <a:cubicBezTo>
                      <a:pt x="113" y="451"/>
                      <a:pt x="124" y="453"/>
                      <a:pt x="124" y="446"/>
                    </a:cubicBezTo>
                    <a:cubicBezTo>
                      <a:pt x="124" y="439"/>
                      <a:pt x="129" y="401"/>
                      <a:pt x="142" y="401"/>
                    </a:cubicBezTo>
                    <a:cubicBezTo>
                      <a:pt x="155" y="401"/>
                      <a:pt x="171" y="413"/>
                      <a:pt x="171" y="413"/>
                    </a:cubicBezTo>
                    <a:cubicBezTo>
                      <a:pt x="181" y="423"/>
                      <a:pt x="181" y="423"/>
                      <a:pt x="181" y="423"/>
                    </a:cubicBezTo>
                    <a:cubicBezTo>
                      <a:pt x="198" y="424"/>
                      <a:pt x="198" y="424"/>
                      <a:pt x="198" y="424"/>
                    </a:cubicBezTo>
                    <a:cubicBezTo>
                      <a:pt x="198" y="424"/>
                      <a:pt x="213" y="435"/>
                      <a:pt x="223" y="433"/>
                    </a:cubicBezTo>
                    <a:cubicBezTo>
                      <a:pt x="233" y="431"/>
                      <a:pt x="236" y="426"/>
                      <a:pt x="236" y="426"/>
                    </a:cubicBezTo>
                    <a:cubicBezTo>
                      <a:pt x="236" y="426"/>
                      <a:pt x="244" y="433"/>
                      <a:pt x="255" y="426"/>
                    </a:cubicBezTo>
                    <a:cubicBezTo>
                      <a:pt x="266" y="419"/>
                      <a:pt x="270" y="386"/>
                      <a:pt x="270" y="386"/>
                    </a:cubicBezTo>
                    <a:cubicBezTo>
                      <a:pt x="284" y="374"/>
                      <a:pt x="284" y="374"/>
                      <a:pt x="284" y="374"/>
                    </a:cubicBezTo>
                    <a:cubicBezTo>
                      <a:pt x="295" y="371"/>
                      <a:pt x="295" y="371"/>
                      <a:pt x="295" y="371"/>
                    </a:cubicBezTo>
                    <a:cubicBezTo>
                      <a:pt x="295" y="371"/>
                      <a:pt x="318" y="353"/>
                      <a:pt x="318" y="347"/>
                    </a:cubicBezTo>
                    <a:cubicBezTo>
                      <a:pt x="318" y="341"/>
                      <a:pt x="319" y="318"/>
                      <a:pt x="329" y="311"/>
                    </a:cubicBezTo>
                    <a:cubicBezTo>
                      <a:pt x="339" y="304"/>
                      <a:pt x="342" y="305"/>
                      <a:pt x="353" y="298"/>
                    </a:cubicBezTo>
                    <a:cubicBezTo>
                      <a:pt x="364" y="291"/>
                      <a:pt x="378" y="265"/>
                      <a:pt x="383" y="259"/>
                    </a:cubicBezTo>
                    <a:cubicBezTo>
                      <a:pt x="388" y="253"/>
                      <a:pt x="412" y="252"/>
                      <a:pt x="412" y="252"/>
                    </a:cubicBezTo>
                    <a:cubicBezTo>
                      <a:pt x="420" y="236"/>
                      <a:pt x="420" y="236"/>
                      <a:pt x="420" y="236"/>
                    </a:cubicBezTo>
                    <a:cubicBezTo>
                      <a:pt x="433" y="235"/>
                      <a:pt x="433" y="235"/>
                      <a:pt x="433" y="235"/>
                    </a:cubicBezTo>
                    <a:cubicBezTo>
                      <a:pt x="430" y="228"/>
                      <a:pt x="424" y="214"/>
                      <a:pt x="414" y="210"/>
                    </a:cubicBezTo>
                    <a:cubicBezTo>
                      <a:pt x="401" y="205"/>
                      <a:pt x="375" y="202"/>
                      <a:pt x="375" y="202"/>
                    </a:cubicBezTo>
                    <a:cubicBezTo>
                      <a:pt x="375" y="202"/>
                      <a:pt x="375" y="194"/>
                      <a:pt x="375" y="187"/>
                    </a:cubicBezTo>
                    <a:cubicBezTo>
                      <a:pt x="375" y="180"/>
                      <a:pt x="363" y="182"/>
                      <a:pt x="363" y="182"/>
                    </a:cubicBezTo>
                    <a:cubicBezTo>
                      <a:pt x="363" y="164"/>
                      <a:pt x="363" y="164"/>
                      <a:pt x="363" y="164"/>
                    </a:cubicBezTo>
                    <a:cubicBezTo>
                      <a:pt x="367" y="159"/>
                      <a:pt x="367" y="159"/>
                      <a:pt x="367" y="159"/>
                    </a:cubicBezTo>
                    <a:cubicBezTo>
                      <a:pt x="365" y="144"/>
                      <a:pt x="365" y="144"/>
                      <a:pt x="365" y="144"/>
                    </a:cubicBezTo>
                    <a:cubicBezTo>
                      <a:pt x="344" y="143"/>
                      <a:pt x="344" y="143"/>
                      <a:pt x="344" y="143"/>
                    </a:cubicBezTo>
                    <a:cubicBezTo>
                      <a:pt x="344" y="143"/>
                      <a:pt x="345" y="128"/>
                      <a:pt x="343" y="121"/>
                    </a:cubicBezTo>
                    <a:cubicBezTo>
                      <a:pt x="341" y="114"/>
                      <a:pt x="323" y="117"/>
                      <a:pt x="323" y="117"/>
                    </a:cubicBezTo>
                    <a:cubicBezTo>
                      <a:pt x="323" y="117"/>
                      <a:pt x="302" y="105"/>
                      <a:pt x="295" y="96"/>
                    </a:cubicBezTo>
                    <a:cubicBezTo>
                      <a:pt x="288" y="87"/>
                      <a:pt x="286" y="64"/>
                      <a:pt x="286" y="64"/>
                    </a:cubicBezTo>
                    <a:cubicBezTo>
                      <a:pt x="286" y="64"/>
                      <a:pt x="280" y="53"/>
                      <a:pt x="276" y="43"/>
                    </a:cubicBezTo>
                    <a:cubicBezTo>
                      <a:pt x="272" y="33"/>
                      <a:pt x="264" y="39"/>
                      <a:pt x="264" y="39"/>
                    </a:cubicBezTo>
                    <a:cubicBezTo>
                      <a:pt x="264" y="19"/>
                      <a:pt x="264" y="19"/>
                      <a:pt x="264" y="19"/>
                    </a:cubicBezTo>
                    <a:cubicBezTo>
                      <a:pt x="255" y="10"/>
                      <a:pt x="255" y="10"/>
                      <a:pt x="255" y="10"/>
                    </a:cubicBezTo>
                    <a:cubicBezTo>
                      <a:pt x="253" y="0"/>
                      <a:pt x="253" y="0"/>
                      <a:pt x="253" y="0"/>
                    </a:cubicBezTo>
                    <a:cubicBezTo>
                      <a:pt x="230" y="2"/>
                      <a:pt x="230" y="2"/>
                      <a:pt x="230" y="2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11" y="10"/>
                      <a:pt x="211" y="10"/>
                      <a:pt x="211" y="10"/>
                    </a:cubicBezTo>
                    <a:cubicBezTo>
                      <a:pt x="211" y="10"/>
                      <a:pt x="201" y="12"/>
                      <a:pt x="195" y="18"/>
                    </a:cubicBezTo>
                    <a:cubicBezTo>
                      <a:pt x="190" y="23"/>
                      <a:pt x="180" y="36"/>
                      <a:pt x="177" y="37"/>
                    </a:cubicBezTo>
                    <a:cubicBezTo>
                      <a:pt x="174" y="38"/>
                      <a:pt x="172" y="24"/>
                      <a:pt x="172" y="24"/>
                    </a:cubicBezTo>
                    <a:cubicBezTo>
                      <a:pt x="166" y="24"/>
                      <a:pt x="166" y="24"/>
                      <a:pt x="166" y="24"/>
                    </a:cubicBezTo>
                    <a:cubicBezTo>
                      <a:pt x="166" y="24"/>
                      <a:pt x="168" y="10"/>
                      <a:pt x="159" y="10"/>
                    </a:cubicBezTo>
                    <a:cubicBezTo>
                      <a:pt x="151" y="10"/>
                      <a:pt x="135" y="18"/>
                      <a:pt x="114" y="20"/>
                    </a:cubicBezTo>
                    <a:cubicBezTo>
                      <a:pt x="92" y="23"/>
                      <a:pt x="53" y="26"/>
                      <a:pt x="53" y="26"/>
                    </a:cubicBezTo>
                    <a:cubicBezTo>
                      <a:pt x="53" y="143"/>
                      <a:pt x="53" y="143"/>
                      <a:pt x="53" y="143"/>
                    </a:cubicBezTo>
                    <a:cubicBezTo>
                      <a:pt x="49" y="147"/>
                      <a:pt x="49" y="147"/>
                      <a:pt x="49" y="147"/>
                    </a:cubicBezTo>
                    <a:cubicBezTo>
                      <a:pt x="50" y="228"/>
                      <a:pt x="50" y="228"/>
                      <a:pt x="50" y="228"/>
                    </a:cubicBezTo>
                    <a:cubicBezTo>
                      <a:pt x="2" y="228"/>
                      <a:pt x="2" y="228"/>
                      <a:pt x="2" y="228"/>
                    </a:cubicBezTo>
                    <a:lnTo>
                      <a:pt x="0" y="37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287">
                <a:extLst>
                  <a:ext uri="{FF2B5EF4-FFF2-40B4-BE49-F238E27FC236}">
                    <a16:creationId xmlns:a16="http://schemas.microsoft.com/office/drawing/2014/main" id="{FC8F6A2C-32F0-5858-403D-BBFFE5DD2D7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864" y="-11510"/>
                <a:ext cx="1134" cy="1745"/>
              </a:xfrm>
              <a:custGeom>
                <a:avLst/>
                <a:gdLst>
                  <a:gd name="T0" fmla="*/ 70 w 480"/>
                  <a:gd name="T1" fmla="*/ 77 h 739"/>
                  <a:gd name="T2" fmla="*/ 79 w 480"/>
                  <a:gd name="T3" fmla="*/ 85 h 739"/>
                  <a:gd name="T4" fmla="*/ 78 w 480"/>
                  <a:gd name="T5" fmla="*/ 93 h 739"/>
                  <a:gd name="T6" fmla="*/ 97 w 480"/>
                  <a:gd name="T7" fmla="*/ 117 h 739"/>
                  <a:gd name="T8" fmla="*/ 107 w 480"/>
                  <a:gd name="T9" fmla="*/ 142 h 739"/>
                  <a:gd name="T10" fmla="*/ 122 w 480"/>
                  <a:gd name="T11" fmla="*/ 142 h 739"/>
                  <a:gd name="T12" fmla="*/ 143 w 480"/>
                  <a:gd name="T13" fmla="*/ 167 h 739"/>
                  <a:gd name="T14" fmla="*/ 225 w 480"/>
                  <a:gd name="T15" fmla="*/ 194 h 739"/>
                  <a:gd name="T16" fmla="*/ 277 w 480"/>
                  <a:gd name="T17" fmla="*/ 220 h 739"/>
                  <a:gd name="T18" fmla="*/ 325 w 480"/>
                  <a:gd name="T19" fmla="*/ 217 h 739"/>
                  <a:gd name="T20" fmla="*/ 185 w 480"/>
                  <a:gd name="T21" fmla="*/ 382 h 739"/>
                  <a:gd name="T22" fmla="*/ 129 w 480"/>
                  <a:gd name="T23" fmla="*/ 382 h 739"/>
                  <a:gd name="T24" fmla="*/ 96 w 480"/>
                  <a:gd name="T25" fmla="*/ 396 h 739"/>
                  <a:gd name="T26" fmla="*/ 89 w 480"/>
                  <a:gd name="T27" fmla="*/ 414 h 739"/>
                  <a:gd name="T28" fmla="*/ 50 w 480"/>
                  <a:gd name="T29" fmla="*/ 421 h 739"/>
                  <a:gd name="T30" fmla="*/ 42 w 480"/>
                  <a:gd name="T31" fmla="*/ 435 h 739"/>
                  <a:gd name="T32" fmla="*/ 22 w 480"/>
                  <a:gd name="T33" fmla="*/ 471 h 739"/>
                  <a:gd name="T34" fmla="*/ 1 w 480"/>
                  <a:gd name="T35" fmla="*/ 492 h 739"/>
                  <a:gd name="T36" fmla="*/ 0 w 480"/>
                  <a:gd name="T37" fmla="*/ 695 h 739"/>
                  <a:gd name="T38" fmla="*/ 28 w 480"/>
                  <a:gd name="T39" fmla="*/ 735 h 739"/>
                  <a:gd name="T40" fmla="*/ 26 w 480"/>
                  <a:gd name="T41" fmla="*/ 739 h 739"/>
                  <a:gd name="T42" fmla="*/ 26 w 480"/>
                  <a:gd name="T43" fmla="*/ 739 h 739"/>
                  <a:gd name="T44" fmla="*/ 58 w 480"/>
                  <a:gd name="T45" fmla="*/ 680 h 739"/>
                  <a:gd name="T46" fmla="*/ 100 w 480"/>
                  <a:gd name="T47" fmla="*/ 639 h 739"/>
                  <a:gd name="T48" fmla="*/ 157 w 480"/>
                  <a:gd name="T49" fmla="*/ 573 h 739"/>
                  <a:gd name="T50" fmla="*/ 210 w 480"/>
                  <a:gd name="T51" fmla="*/ 536 h 739"/>
                  <a:gd name="T52" fmla="*/ 281 w 480"/>
                  <a:gd name="T53" fmla="*/ 473 h 739"/>
                  <a:gd name="T54" fmla="*/ 335 w 480"/>
                  <a:gd name="T55" fmla="*/ 399 h 739"/>
                  <a:gd name="T56" fmla="*/ 370 w 480"/>
                  <a:gd name="T57" fmla="*/ 334 h 739"/>
                  <a:gd name="T58" fmla="*/ 384 w 480"/>
                  <a:gd name="T59" fmla="*/ 308 h 739"/>
                  <a:gd name="T60" fmla="*/ 397 w 480"/>
                  <a:gd name="T61" fmla="*/ 262 h 739"/>
                  <a:gd name="T62" fmla="*/ 417 w 480"/>
                  <a:gd name="T63" fmla="*/ 228 h 739"/>
                  <a:gd name="T64" fmla="*/ 427 w 480"/>
                  <a:gd name="T65" fmla="*/ 205 h 739"/>
                  <a:gd name="T66" fmla="*/ 440 w 480"/>
                  <a:gd name="T67" fmla="*/ 169 h 739"/>
                  <a:gd name="T68" fmla="*/ 457 w 480"/>
                  <a:gd name="T69" fmla="*/ 147 h 739"/>
                  <a:gd name="T70" fmla="*/ 457 w 480"/>
                  <a:gd name="T71" fmla="*/ 93 h 739"/>
                  <a:gd name="T72" fmla="*/ 471 w 480"/>
                  <a:gd name="T73" fmla="*/ 84 h 739"/>
                  <a:gd name="T74" fmla="*/ 467 w 480"/>
                  <a:gd name="T75" fmla="*/ 38 h 739"/>
                  <a:gd name="T76" fmla="*/ 474 w 480"/>
                  <a:gd name="T77" fmla="*/ 8 h 739"/>
                  <a:gd name="T78" fmla="*/ 447 w 480"/>
                  <a:gd name="T79" fmla="*/ 0 h 739"/>
                  <a:gd name="T80" fmla="*/ 432 w 480"/>
                  <a:gd name="T81" fmla="*/ 21 h 739"/>
                  <a:gd name="T82" fmla="*/ 382 w 480"/>
                  <a:gd name="T83" fmla="*/ 37 h 739"/>
                  <a:gd name="T84" fmla="*/ 345 w 480"/>
                  <a:gd name="T85" fmla="*/ 35 h 739"/>
                  <a:gd name="T86" fmla="*/ 318 w 480"/>
                  <a:gd name="T87" fmla="*/ 54 h 739"/>
                  <a:gd name="T88" fmla="*/ 296 w 480"/>
                  <a:gd name="T89" fmla="*/ 43 h 739"/>
                  <a:gd name="T90" fmla="*/ 252 w 480"/>
                  <a:gd name="T91" fmla="*/ 73 h 739"/>
                  <a:gd name="T92" fmla="*/ 221 w 480"/>
                  <a:gd name="T93" fmla="*/ 62 h 739"/>
                  <a:gd name="T94" fmla="*/ 181 w 480"/>
                  <a:gd name="T95" fmla="*/ 84 h 739"/>
                  <a:gd name="T96" fmla="*/ 141 w 480"/>
                  <a:gd name="T97" fmla="*/ 85 h 739"/>
                  <a:gd name="T98" fmla="*/ 111 w 480"/>
                  <a:gd name="T99" fmla="*/ 48 h 739"/>
                  <a:gd name="T100" fmla="*/ 99 w 480"/>
                  <a:gd name="T101" fmla="*/ 35 h 739"/>
                  <a:gd name="T102" fmla="*/ 84 w 480"/>
                  <a:gd name="T103" fmla="*/ 55 h 739"/>
                  <a:gd name="T104" fmla="*/ 70 w 480"/>
                  <a:gd name="T105" fmla="*/ 77 h 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80" h="739">
                    <a:moveTo>
                      <a:pt x="70" y="77"/>
                    </a:moveTo>
                    <a:cubicBezTo>
                      <a:pt x="79" y="85"/>
                      <a:pt x="79" y="85"/>
                      <a:pt x="79" y="85"/>
                    </a:cubicBezTo>
                    <a:cubicBezTo>
                      <a:pt x="78" y="93"/>
                      <a:pt x="78" y="93"/>
                      <a:pt x="78" y="93"/>
                    </a:cubicBezTo>
                    <a:cubicBezTo>
                      <a:pt x="78" y="93"/>
                      <a:pt x="91" y="109"/>
                      <a:pt x="97" y="117"/>
                    </a:cubicBezTo>
                    <a:cubicBezTo>
                      <a:pt x="103" y="125"/>
                      <a:pt x="107" y="142"/>
                      <a:pt x="107" y="142"/>
                    </a:cubicBezTo>
                    <a:cubicBezTo>
                      <a:pt x="122" y="142"/>
                      <a:pt x="122" y="142"/>
                      <a:pt x="122" y="142"/>
                    </a:cubicBezTo>
                    <a:cubicBezTo>
                      <a:pt x="122" y="142"/>
                      <a:pt x="132" y="159"/>
                      <a:pt x="143" y="167"/>
                    </a:cubicBezTo>
                    <a:cubicBezTo>
                      <a:pt x="154" y="175"/>
                      <a:pt x="206" y="188"/>
                      <a:pt x="225" y="194"/>
                    </a:cubicBezTo>
                    <a:cubicBezTo>
                      <a:pt x="244" y="200"/>
                      <a:pt x="277" y="220"/>
                      <a:pt x="277" y="220"/>
                    </a:cubicBezTo>
                    <a:cubicBezTo>
                      <a:pt x="325" y="217"/>
                      <a:pt x="325" y="217"/>
                      <a:pt x="325" y="217"/>
                    </a:cubicBezTo>
                    <a:cubicBezTo>
                      <a:pt x="185" y="382"/>
                      <a:pt x="185" y="382"/>
                      <a:pt x="185" y="382"/>
                    </a:cubicBezTo>
                    <a:cubicBezTo>
                      <a:pt x="185" y="382"/>
                      <a:pt x="137" y="380"/>
                      <a:pt x="129" y="382"/>
                    </a:cubicBezTo>
                    <a:cubicBezTo>
                      <a:pt x="121" y="384"/>
                      <a:pt x="96" y="396"/>
                      <a:pt x="96" y="396"/>
                    </a:cubicBezTo>
                    <a:cubicBezTo>
                      <a:pt x="96" y="396"/>
                      <a:pt x="95" y="408"/>
                      <a:pt x="89" y="414"/>
                    </a:cubicBezTo>
                    <a:cubicBezTo>
                      <a:pt x="83" y="420"/>
                      <a:pt x="58" y="418"/>
                      <a:pt x="50" y="421"/>
                    </a:cubicBezTo>
                    <a:cubicBezTo>
                      <a:pt x="42" y="424"/>
                      <a:pt x="42" y="435"/>
                      <a:pt x="42" y="435"/>
                    </a:cubicBezTo>
                    <a:cubicBezTo>
                      <a:pt x="42" y="435"/>
                      <a:pt x="29" y="463"/>
                      <a:pt x="22" y="471"/>
                    </a:cubicBezTo>
                    <a:cubicBezTo>
                      <a:pt x="15" y="479"/>
                      <a:pt x="1" y="492"/>
                      <a:pt x="1" y="492"/>
                    </a:cubicBezTo>
                    <a:cubicBezTo>
                      <a:pt x="0" y="695"/>
                      <a:pt x="0" y="695"/>
                      <a:pt x="0" y="695"/>
                    </a:cubicBezTo>
                    <a:cubicBezTo>
                      <a:pt x="28" y="735"/>
                      <a:pt x="28" y="735"/>
                      <a:pt x="28" y="735"/>
                    </a:cubicBezTo>
                    <a:cubicBezTo>
                      <a:pt x="27" y="737"/>
                      <a:pt x="27" y="738"/>
                      <a:pt x="26" y="739"/>
                    </a:cubicBezTo>
                    <a:cubicBezTo>
                      <a:pt x="26" y="739"/>
                      <a:pt x="26" y="739"/>
                      <a:pt x="26" y="739"/>
                    </a:cubicBezTo>
                    <a:cubicBezTo>
                      <a:pt x="35" y="722"/>
                      <a:pt x="52" y="690"/>
                      <a:pt x="58" y="680"/>
                    </a:cubicBezTo>
                    <a:cubicBezTo>
                      <a:pt x="65" y="669"/>
                      <a:pt x="97" y="654"/>
                      <a:pt x="100" y="639"/>
                    </a:cubicBezTo>
                    <a:cubicBezTo>
                      <a:pt x="103" y="624"/>
                      <a:pt x="146" y="586"/>
                      <a:pt x="157" y="573"/>
                    </a:cubicBezTo>
                    <a:cubicBezTo>
                      <a:pt x="168" y="560"/>
                      <a:pt x="202" y="541"/>
                      <a:pt x="210" y="536"/>
                    </a:cubicBezTo>
                    <a:cubicBezTo>
                      <a:pt x="218" y="531"/>
                      <a:pt x="275" y="484"/>
                      <a:pt x="281" y="473"/>
                    </a:cubicBezTo>
                    <a:cubicBezTo>
                      <a:pt x="287" y="462"/>
                      <a:pt x="331" y="413"/>
                      <a:pt x="335" y="399"/>
                    </a:cubicBezTo>
                    <a:cubicBezTo>
                      <a:pt x="339" y="385"/>
                      <a:pt x="364" y="339"/>
                      <a:pt x="370" y="334"/>
                    </a:cubicBezTo>
                    <a:cubicBezTo>
                      <a:pt x="376" y="329"/>
                      <a:pt x="384" y="316"/>
                      <a:pt x="384" y="308"/>
                    </a:cubicBezTo>
                    <a:cubicBezTo>
                      <a:pt x="384" y="300"/>
                      <a:pt x="390" y="271"/>
                      <a:pt x="397" y="262"/>
                    </a:cubicBezTo>
                    <a:cubicBezTo>
                      <a:pt x="404" y="253"/>
                      <a:pt x="417" y="241"/>
                      <a:pt x="417" y="228"/>
                    </a:cubicBezTo>
                    <a:cubicBezTo>
                      <a:pt x="417" y="215"/>
                      <a:pt x="427" y="205"/>
                      <a:pt x="427" y="205"/>
                    </a:cubicBezTo>
                    <a:cubicBezTo>
                      <a:pt x="440" y="169"/>
                      <a:pt x="440" y="169"/>
                      <a:pt x="440" y="169"/>
                    </a:cubicBezTo>
                    <a:cubicBezTo>
                      <a:pt x="440" y="169"/>
                      <a:pt x="457" y="173"/>
                      <a:pt x="457" y="147"/>
                    </a:cubicBezTo>
                    <a:cubicBezTo>
                      <a:pt x="457" y="121"/>
                      <a:pt x="457" y="93"/>
                      <a:pt x="457" y="93"/>
                    </a:cubicBezTo>
                    <a:cubicBezTo>
                      <a:pt x="471" y="84"/>
                      <a:pt x="471" y="84"/>
                      <a:pt x="471" y="84"/>
                    </a:cubicBezTo>
                    <a:cubicBezTo>
                      <a:pt x="467" y="38"/>
                      <a:pt x="467" y="38"/>
                      <a:pt x="467" y="38"/>
                    </a:cubicBezTo>
                    <a:cubicBezTo>
                      <a:pt x="467" y="38"/>
                      <a:pt x="480" y="14"/>
                      <a:pt x="474" y="8"/>
                    </a:cubicBezTo>
                    <a:cubicBezTo>
                      <a:pt x="468" y="2"/>
                      <a:pt x="447" y="0"/>
                      <a:pt x="447" y="0"/>
                    </a:cubicBezTo>
                    <a:cubicBezTo>
                      <a:pt x="447" y="0"/>
                      <a:pt x="439" y="14"/>
                      <a:pt x="432" y="21"/>
                    </a:cubicBezTo>
                    <a:cubicBezTo>
                      <a:pt x="425" y="28"/>
                      <a:pt x="388" y="37"/>
                      <a:pt x="382" y="37"/>
                    </a:cubicBezTo>
                    <a:cubicBezTo>
                      <a:pt x="376" y="37"/>
                      <a:pt x="355" y="31"/>
                      <a:pt x="345" y="35"/>
                    </a:cubicBezTo>
                    <a:cubicBezTo>
                      <a:pt x="335" y="39"/>
                      <a:pt x="322" y="54"/>
                      <a:pt x="318" y="54"/>
                    </a:cubicBezTo>
                    <a:cubicBezTo>
                      <a:pt x="314" y="54"/>
                      <a:pt x="304" y="42"/>
                      <a:pt x="296" y="43"/>
                    </a:cubicBezTo>
                    <a:cubicBezTo>
                      <a:pt x="288" y="44"/>
                      <a:pt x="261" y="72"/>
                      <a:pt x="252" y="73"/>
                    </a:cubicBezTo>
                    <a:cubicBezTo>
                      <a:pt x="243" y="74"/>
                      <a:pt x="235" y="58"/>
                      <a:pt x="221" y="62"/>
                    </a:cubicBezTo>
                    <a:cubicBezTo>
                      <a:pt x="207" y="66"/>
                      <a:pt x="189" y="83"/>
                      <a:pt x="181" y="84"/>
                    </a:cubicBezTo>
                    <a:cubicBezTo>
                      <a:pt x="173" y="85"/>
                      <a:pt x="141" y="85"/>
                      <a:pt x="141" y="85"/>
                    </a:cubicBezTo>
                    <a:cubicBezTo>
                      <a:pt x="141" y="85"/>
                      <a:pt x="111" y="58"/>
                      <a:pt x="111" y="48"/>
                    </a:cubicBezTo>
                    <a:cubicBezTo>
                      <a:pt x="111" y="40"/>
                      <a:pt x="102" y="36"/>
                      <a:pt x="99" y="35"/>
                    </a:cubicBezTo>
                    <a:cubicBezTo>
                      <a:pt x="84" y="55"/>
                      <a:pt x="84" y="55"/>
                      <a:pt x="84" y="55"/>
                    </a:cubicBezTo>
                    <a:lnTo>
                      <a:pt x="70" y="77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Freeform 288">
                <a:extLst>
                  <a:ext uri="{FF2B5EF4-FFF2-40B4-BE49-F238E27FC236}">
                    <a16:creationId xmlns:a16="http://schemas.microsoft.com/office/drawing/2014/main" id="{1A4E6AD3-59C1-9B8B-9015-27EE603841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808" y="-11595"/>
                <a:ext cx="201" cy="224"/>
              </a:xfrm>
              <a:custGeom>
                <a:avLst/>
                <a:gdLst>
                  <a:gd name="T0" fmla="*/ 47 w 85"/>
                  <a:gd name="T1" fmla="*/ 18 h 95"/>
                  <a:gd name="T2" fmla="*/ 31 w 85"/>
                  <a:gd name="T3" fmla="*/ 8 h 95"/>
                  <a:gd name="T4" fmla="*/ 13 w 85"/>
                  <a:gd name="T5" fmla="*/ 47 h 95"/>
                  <a:gd name="T6" fmla="*/ 0 w 85"/>
                  <a:gd name="T7" fmla="*/ 56 h 95"/>
                  <a:gd name="T8" fmla="*/ 11 w 85"/>
                  <a:gd name="T9" fmla="*/ 94 h 95"/>
                  <a:gd name="T10" fmla="*/ 36 w 85"/>
                  <a:gd name="T11" fmla="*/ 91 h 95"/>
                  <a:gd name="T12" fmla="*/ 46 w 85"/>
                  <a:gd name="T13" fmla="*/ 84 h 95"/>
                  <a:gd name="T14" fmla="*/ 59 w 85"/>
                  <a:gd name="T15" fmla="*/ 93 h 95"/>
                  <a:gd name="T16" fmla="*/ 60 w 85"/>
                  <a:gd name="T17" fmla="*/ 91 h 95"/>
                  <a:gd name="T18" fmla="*/ 75 w 85"/>
                  <a:gd name="T19" fmla="*/ 71 h 95"/>
                  <a:gd name="T20" fmla="*/ 74 w 85"/>
                  <a:gd name="T21" fmla="*/ 71 h 95"/>
                  <a:gd name="T22" fmla="*/ 67 w 85"/>
                  <a:gd name="T23" fmla="*/ 61 h 95"/>
                  <a:gd name="T24" fmla="*/ 44 w 85"/>
                  <a:gd name="T25" fmla="*/ 63 h 95"/>
                  <a:gd name="T26" fmla="*/ 76 w 85"/>
                  <a:gd name="T27" fmla="*/ 17 h 95"/>
                  <a:gd name="T28" fmla="*/ 63 w 85"/>
                  <a:gd name="T29" fmla="*/ 0 h 95"/>
                  <a:gd name="T30" fmla="*/ 54 w 85"/>
                  <a:gd name="T31" fmla="*/ 6 h 95"/>
                  <a:gd name="T32" fmla="*/ 47 w 85"/>
                  <a:gd name="T33" fmla="*/ 18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5" h="95">
                    <a:moveTo>
                      <a:pt x="47" y="18"/>
                    </a:moveTo>
                    <a:cubicBezTo>
                      <a:pt x="31" y="8"/>
                      <a:pt x="31" y="8"/>
                      <a:pt x="31" y="8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6"/>
                      <a:pt x="3" y="93"/>
                      <a:pt x="11" y="94"/>
                    </a:cubicBezTo>
                    <a:cubicBezTo>
                      <a:pt x="19" y="95"/>
                      <a:pt x="36" y="91"/>
                      <a:pt x="36" y="91"/>
                    </a:cubicBezTo>
                    <a:cubicBezTo>
                      <a:pt x="36" y="91"/>
                      <a:pt x="39" y="83"/>
                      <a:pt x="46" y="84"/>
                    </a:cubicBezTo>
                    <a:cubicBezTo>
                      <a:pt x="50" y="85"/>
                      <a:pt x="55" y="89"/>
                      <a:pt x="59" y="93"/>
                    </a:cubicBezTo>
                    <a:cubicBezTo>
                      <a:pt x="60" y="91"/>
                      <a:pt x="60" y="91"/>
                      <a:pt x="60" y="91"/>
                    </a:cubicBezTo>
                    <a:cubicBezTo>
                      <a:pt x="75" y="71"/>
                      <a:pt x="75" y="71"/>
                      <a:pt x="75" y="71"/>
                    </a:cubicBezTo>
                    <a:cubicBezTo>
                      <a:pt x="74" y="71"/>
                      <a:pt x="74" y="71"/>
                      <a:pt x="74" y="71"/>
                    </a:cubicBezTo>
                    <a:cubicBezTo>
                      <a:pt x="67" y="61"/>
                      <a:pt x="67" y="61"/>
                      <a:pt x="67" y="61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4" y="63"/>
                      <a:pt x="85" y="30"/>
                      <a:pt x="76" y="17"/>
                    </a:cubicBezTo>
                    <a:cubicBezTo>
                      <a:pt x="73" y="12"/>
                      <a:pt x="68" y="6"/>
                      <a:pt x="63" y="0"/>
                    </a:cubicBezTo>
                    <a:cubicBezTo>
                      <a:pt x="54" y="6"/>
                      <a:pt x="54" y="6"/>
                      <a:pt x="54" y="6"/>
                    </a:cubicBezTo>
                    <a:lnTo>
                      <a:pt x="47" y="1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Freeform 289">
                <a:extLst>
                  <a:ext uri="{FF2B5EF4-FFF2-40B4-BE49-F238E27FC236}">
                    <a16:creationId xmlns:a16="http://schemas.microsoft.com/office/drawing/2014/main" id="{0841A339-3FAC-3C44-67F7-D9645B3558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415" y="-12273"/>
                <a:ext cx="756" cy="720"/>
              </a:xfrm>
              <a:custGeom>
                <a:avLst/>
                <a:gdLst>
                  <a:gd name="T0" fmla="*/ 51 w 320"/>
                  <a:gd name="T1" fmla="*/ 35 h 305"/>
                  <a:gd name="T2" fmla="*/ 50 w 320"/>
                  <a:gd name="T3" fmla="*/ 50 h 305"/>
                  <a:gd name="T4" fmla="*/ 31 w 320"/>
                  <a:gd name="T5" fmla="*/ 57 h 305"/>
                  <a:gd name="T6" fmla="*/ 31 w 320"/>
                  <a:gd name="T7" fmla="*/ 67 h 305"/>
                  <a:gd name="T8" fmla="*/ 20 w 320"/>
                  <a:gd name="T9" fmla="*/ 75 h 305"/>
                  <a:gd name="T10" fmla="*/ 26 w 320"/>
                  <a:gd name="T11" fmla="*/ 106 h 305"/>
                  <a:gd name="T12" fmla="*/ 14 w 320"/>
                  <a:gd name="T13" fmla="*/ 126 h 305"/>
                  <a:gd name="T14" fmla="*/ 13 w 320"/>
                  <a:gd name="T15" fmla="*/ 143 h 305"/>
                  <a:gd name="T16" fmla="*/ 1 w 320"/>
                  <a:gd name="T17" fmla="*/ 157 h 305"/>
                  <a:gd name="T18" fmla="*/ 6 w 320"/>
                  <a:gd name="T19" fmla="*/ 167 h 305"/>
                  <a:gd name="T20" fmla="*/ 8 w 320"/>
                  <a:gd name="T21" fmla="*/ 200 h 305"/>
                  <a:gd name="T22" fmla="*/ 31 w 320"/>
                  <a:gd name="T23" fmla="*/ 201 h 305"/>
                  <a:gd name="T24" fmla="*/ 41 w 320"/>
                  <a:gd name="T25" fmla="*/ 191 h 305"/>
                  <a:gd name="T26" fmla="*/ 57 w 320"/>
                  <a:gd name="T27" fmla="*/ 211 h 305"/>
                  <a:gd name="T28" fmla="*/ 73 w 320"/>
                  <a:gd name="T29" fmla="*/ 170 h 305"/>
                  <a:gd name="T30" fmla="*/ 89 w 320"/>
                  <a:gd name="T31" fmla="*/ 179 h 305"/>
                  <a:gd name="T32" fmla="*/ 99 w 320"/>
                  <a:gd name="T33" fmla="*/ 194 h 305"/>
                  <a:gd name="T34" fmla="*/ 116 w 320"/>
                  <a:gd name="T35" fmla="*/ 194 h 305"/>
                  <a:gd name="T36" fmla="*/ 128 w 320"/>
                  <a:gd name="T37" fmla="*/ 181 h 305"/>
                  <a:gd name="T38" fmla="*/ 137 w 320"/>
                  <a:gd name="T39" fmla="*/ 194 h 305"/>
                  <a:gd name="T40" fmla="*/ 155 w 320"/>
                  <a:gd name="T41" fmla="*/ 187 h 305"/>
                  <a:gd name="T42" fmla="*/ 165 w 320"/>
                  <a:gd name="T43" fmla="*/ 192 h 305"/>
                  <a:gd name="T44" fmla="*/ 185 w 320"/>
                  <a:gd name="T45" fmla="*/ 193 h 305"/>
                  <a:gd name="T46" fmla="*/ 196 w 320"/>
                  <a:gd name="T47" fmla="*/ 207 h 305"/>
                  <a:gd name="T48" fmla="*/ 216 w 320"/>
                  <a:gd name="T49" fmla="*/ 216 h 305"/>
                  <a:gd name="T50" fmla="*/ 231 w 320"/>
                  <a:gd name="T51" fmla="*/ 242 h 305"/>
                  <a:gd name="T52" fmla="*/ 257 w 320"/>
                  <a:gd name="T53" fmla="*/ 257 h 305"/>
                  <a:gd name="T54" fmla="*/ 262 w 320"/>
                  <a:gd name="T55" fmla="*/ 277 h 305"/>
                  <a:gd name="T56" fmla="*/ 280 w 320"/>
                  <a:gd name="T57" fmla="*/ 283 h 305"/>
                  <a:gd name="T58" fmla="*/ 288 w 320"/>
                  <a:gd name="T59" fmla="*/ 295 h 305"/>
                  <a:gd name="T60" fmla="*/ 304 w 320"/>
                  <a:gd name="T61" fmla="*/ 305 h 305"/>
                  <a:gd name="T62" fmla="*/ 311 w 320"/>
                  <a:gd name="T63" fmla="*/ 293 h 305"/>
                  <a:gd name="T64" fmla="*/ 320 w 320"/>
                  <a:gd name="T65" fmla="*/ 287 h 305"/>
                  <a:gd name="T66" fmla="*/ 304 w 320"/>
                  <a:gd name="T67" fmla="*/ 268 h 305"/>
                  <a:gd name="T68" fmla="*/ 285 w 320"/>
                  <a:gd name="T69" fmla="*/ 264 h 305"/>
                  <a:gd name="T70" fmla="*/ 283 w 320"/>
                  <a:gd name="T71" fmla="*/ 239 h 305"/>
                  <a:gd name="T72" fmla="*/ 241 w 320"/>
                  <a:gd name="T73" fmla="*/ 216 h 305"/>
                  <a:gd name="T74" fmla="*/ 231 w 320"/>
                  <a:gd name="T75" fmla="*/ 181 h 305"/>
                  <a:gd name="T76" fmla="*/ 204 w 320"/>
                  <a:gd name="T77" fmla="*/ 177 h 305"/>
                  <a:gd name="T78" fmla="*/ 190 w 320"/>
                  <a:gd name="T79" fmla="*/ 159 h 305"/>
                  <a:gd name="T80" fmla="*/ 177 w 320"/>
                  <a:gd name="T81" fmla="*/ 165 h 305"/>
                  <a:gd name="T82" fmla="*/ 169 w 320"/>
                  <a:gd name="T83" fmla="*/ 152 h 305"/>
                  <a:gd name="T84" fmla="*/ 157 w 320"/>
                  <a:gd name="T85" fmla="*/ 149 h 305"/>
                  <a:gd name="T86" fmla="*/ 134 w 320"/>
                  <a:gd name="T87" fmla="*/ 117 h 305"/>
                  <a:gd name="T88" fmla="*/ 128 w 320"/>
                  <a:gd name="T89" fmla="*/ 62 h 305"/>
                  <a:gd name="T90" fmla="*/ 100 w 320"/>
                  <a:gd name="T91" fmla="*/ 1 h 305"/>
                  <a:gd name="T92" fmla="*/ 98 w 320"/>
                  <a:gd name="T93" fmla="*/ 0 h 305"/>
                  <a:gd name="T94" fmla="*/ 87 w 320"/>
                  <a:gd name="T95" fmla="*/ 25 h 305"/>
                  <a:gd name="T96" fmla="*/ 51 w 320"/>
                  <a:gd name="T97" fmla="*/ 35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0" h="305">
                    <a:moveTo>
                      <a:pt x="51" y="35"/>
                    </a:moveTo>
                    <a:cubicBezTo>
                      <a:pt x="51" y="35"/>
                      <a:pt x="51" y="43"/>
                      <a:pt x="50" y="50"/>
                    </a:cubicBezTo>
                    <a:cubicBezTo>
                      <a:pt x="49" y="57"/>
                      <a:pt x="31" y="57"/>
                      <a:pt x="31" y="57"/>
                    </a:cubicBezTo>
                    <a:cubicBezTo>
                      <a:pt x="31" y="67"/>
                      <a:pt x="31" y="67"/>
                      <a:pt x="31" y="67"/>
                    </a:cubicBezTo>
                    <a:cubicBezTo>
                      <a:pt x="31" y="67"/>
                      <a:pt x="20" y="72"/>
                      <a:pt x="20" y="75"/>
                    </a:cubicBezTo>
                    <a:cubicBezTo>
                      <a:pt x="20" y="78"/>
                      <a:pt x="26" y="88"/>
                      <a:pt x="26" y="106"/>
                    </a:cubicBezTo>
                    <a:cubicBezTo>
                      <a:pt x="26" y="124"/>
                      <a:pt x="14" y="126"/>
                      <a:pt x="14" y="126"/>
                    </a:cubicBezTo>
                    <a:cubicBezTo>
                      <a:pt x="14" y="126"/>
                      <a:pt x="13" y="136"/>
                      <a:pt x="13" y="143"/>
                    </a:cubicBezTo>
                    <a:cubicBezTo>
                      <a:pt x="13" y="150"/>
                      <a:pt x="2" y="149"/>
                      <a:pt x="1" y="157"/>
                    </a:cubicBezTo>
                    <a:cubicBezTo>
                      <a:pt x="0" y="165"/>
                      <a:pt x="6" y="167"/>
                      <a:pt x="6" y="167"/>
                    </a:cubicBezTo>
                    <a:cubicBezTo>
                      <a:pt x="8" y="200"/>
                      <a:pt x="8" y="200"/>
                      <a:pt x="8" y="200"/>
                    </a:cubicBezTo>
                    <a:cubicBezTo>
                      <a:pt x="31" y="201"/>
                      <a:pt x="31" y="201"/>
                      <a:pt x="31" y="201"/>
                    </a:cubicBezTo>
                    <a:cubicBezTo>
                      <a:pt x="31" y="201"/>
                      <a:pt x="36" y="191"/>
                      <a:pt x="41" y="191"/>
                    </a:cubicBezTo>
                    <a:cubicBezTo>
                      <a:pt x="46" y="191"/>
                      <a:pt x="49" y="211"/>
                      <a:pt x="57" y="211"/>
                    </a:cubicBezTo>
                    <a:cubicBezTo>
                      <a:pt x="65" y="211"/>
                      <a:pt x="73" y="170"/>
                      <a:pt x="73" y="170"/>
                    </a:cubicBezTo>
                    <a:cubicBezTo>
                      <a:pt x="73" y="170"/>
                      <a:pt x="85" y="177"/>
                      <a:pt x="89" y="179"/>
                    </a:cubicBezTo>
                    <a:cubicBezTo>
                      <a:pt x="93" y="181"/>
                      <a:pt x="99" y="194"/>
                      <a:pt x="99" y="194"/>
                    </a:cubicBezTo>
                    <a:cubicBezTo>
                      <a:pt x="99" y="194"/>
                      <a:pt x="113" y="194"/>
                      <a:pt x="116" y="194"/>
                    </a:cubicBezTo>
                    <a:cubicBezTo>
                      <a:pt x="119" y="194"/>
                      <a:pt x="128" y="181"/>
                      <a:pt x="128" y="181"/>
                    </a:cubicBezTo>
                    <a:cubicBezTo>
                      <a:pt x="128" y="181"/>
                      <a:pt x="134" y="194"/>
                      <a:pt x="137" y="194"/>
                    </a:cubicBezTo>
                    <a:cubicBezTo>
                      <a:pt x="140" y="194"/>
                      <a:pt x="151" y="187"/>
                      <a:pt x="155" y="187"/>
                    </a:cubicBezTo>
                    <a:cubicBezTo>
                      <a:pt x="159" y="187"/>
                      <a:pt x="165" y="192"/>
                      <a:pt x="165" y="192"/>
                    </a:cubicBezTo>
                    <a:cubicBezTo>
                      <a:pt x="185" y="193"/>
                      <a:pt x="185" y="193"/>
                      <a:pt x="185" y="193"/>
                    </a:cubicBezTo>
                    <a:cubicBezTo>
                      <a:pt x="196" y="207"/>
                      <a:pt x="196" y="207"/>
                      <a:pt x="196" y="207"/>
                    </a:cubicBezTo>
                    <a:cubicBezTo>
                      <a:pt x="196" y="207"/>
                      <a:pt x="208" y="208"/>
                      <a:pt x="216" y="216"/>
                    </a:cubicBezTo>
                    <a:cubicBezTo>
                      <a:pt x="224" y="224"/>
                      <a:pt x="227" y="234"/>
                      <a:pt x="231" y="242"/>
                    </a:cubicBezTo>
                    <a:cubicBezTo>
                      <a:pt x="235" y="250"/>
                      <a:pt x="253" y="252"/>
                      <a:pt x="257" y="257"/>
                    </a:cubicBezTo>
                    <a:cubicBezTo>
                      <a:pt x="261" y="262"/>
                      <a:pt x="261" y="271"/>
                      <a:pt x="262" y="277"/>
                    </a:cubicBezTo>
                    <a:cubicBezTo>
                      <a:pt x="263" y="283"/>
                      <a:pt x="280" y="283"/>
                      <a:pt x="280" y="283"/>
                    </a:cubicBezTo>
                    <a:cubicBezTo>
                      <a:pt x="288" y="295"/>
                      <a:pt x="288" y="295"/>
                      <a:pt x="288" y="295"/>
                    </a:cubicBezTo>
                    <a:cubicBezTo>
                      <a:pt x="304" y="305"/>
                      <a:pt x="304" y="305"/>
                      <a:pt x="304" y="305"/>
                    </a:cubicBezTo>
                    <a:cubicBezTo>
                      <a:pt x="311" y="293"/>
                      <a:pt x="311" y="293"/>
                      <a:pt x="311" y="293"/>
                    </a:cubicBezTo>
                    <a:cubicBezTo>
                      <a:pt x="320" y="287"/>
                      <a:pt x="320" y="287"/>
                      <a:pt x="320" y="287"/>
                    </a:cubicBezTo>
                    <a:cubicBezTo>
                      <a:pt x="312" y="277"/>
                      <a:pt x="304" y="268"/>
                      <a:pt x="304" y="268"/>
                    </a:cubicBezTo>
                    <a:cubicBezTo>
                      <a:pt x="304" y="268"/>
                      <a:pt x="287" y="271"/>
                      <a:pt x="285" y="264"/>
                    </a:cubicBezTo>
                    <a:cubicBezTo>
                      <a:pt x="283" y="257"/>
                      <a:pt x="283" y="239"/>
                      <a:pt x="283" y="239"/>
                    </a:cubicBezTo>
                    <a:cubicBezTo>
                      <a:pt x="283" y="239"/>
                      <a:pt x="244" y="225"/>
                      <a:pt x="241" y="216"/>
                    </a:cubicBezTo>
                    <a:cubicBezTo>
                      <a:pt x="238" y="207"/>
                      <a:pt x="238" y="185"/>
                      <a:pt x="231" y="181"/>
                    </a:cubicBezTo>
                    <a:cubicBezTo>
                      <a:pt x="224" y="177"/>
                      <a:pt x="207" y="181"/>
                      <a:pt x="204" y="177"/>
                    </a:cubicBezTo>
                    <a:cubicBezTo>
                      <a:pt x="201" y="173"/>
                      <a:pt x="190" y="159"/>
                      <a:pt x="190" y="159"/>
                    </a:cubicBezTo>
                    <a:cubicBezTo>
                      <a:pt x="177" y="165"/>
                      <a:pt x="177" y="165"/>
                      <a:pt x="177" y="165"/>
                    </a:cubicBezTo>
                    <a:cubicBezTo>
                      <a:pt x="169" y="152"/>
                      <a:pt x="169" y="152"/>
                      <a:pt x="169" y="152"/>
                    </a:cubicBezTo>
                    <a:cubicBezTo>
                      <a:pt x="157" y="149"/>
                      <a:pt x="157" y="149"/>
                      <a:pt x="157" y="149"/>
                    </a:cubicBezTo>
                    <a:cubicBezTo>
                      <a:pt x="157" y="149"/>
                      <a:pt x="137" y="129"/>
                      <a:pt x="134" y="117"/>
                    </a:cubicBezTo>
                    <a:cubicBezTo>
                      <a:pt x="131" y="105"/>
                      <a:pt x="135" y="85"/>
                      <a:pt x="128" y="62"/>
                    </a:cubicBezTo>
                    <a:cubicBezTo>
                      <a:pt x="121" y="39"/>
                      <a:pt x="100" y="1"/>
                      <a:pt x="100" y="1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6" y="9"/>
                      <a:pt x="92" y="21"/>
                      <a:pt x="87" y="25"/>
                    </a:cubicBezTo>
                    <a:cubicBezTo>
                      <a:pt x="78" y="33"/>
                      <a:pt x="51" y="35"/>
                      <a:pt x="51" y="35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3" name="Freeform 290">
                <a:extLst>
                  <a:ext uri="{FF2B5EF4-FFF2-40B4-BE49-F238E27FC236}">
                    <a16:creationId xmlns:a16="http://schemas.microsoft.com/office/drawing/2014/main" id="{283A6836-AAA5-9CC7-C24E-1C56AAED00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771" y="-11872"/>
                <a:ext cx="1674" cy="1453"/>
              </a:xfrm>
              <a:custGeom>
                <a:avLst/>
                <a:gdLst>
                  <a:gd name="T0" fmla="*/ 75 w 709"/>
                  <a:gd name="T1" fmla="*/ 428 h 615"/>
                  <a:gd name="T2" fmla="*/ 87 w 709"/>
                  <a:gd name="T3" fmla="*/ 442 h 615"/>
                  <a:gd name="T4" fmla="*/ 96 w 709"/>
                  <a:gd name="T5" fmla="*/ 471 h 615"/>
                  <a:gd name="T6" fmla="*/ 133 w 709"/>
                  <a:gd name="T7" fmla="*/ 513 h 615"/>
                  <a:gd name="T8" fmla="*/ 138 w 709"/>
                  <a:gd name="T9" fmla="*/ 545 h 615"/>
                  <a:gd name="T10" fmla="*/ 191 w 709"/>
                  <a:gd name="T11" fmla="*/ 562 h 615"/>
                  <a:gd name="T12" fmla="*/ 282 w 709"/>
                  <a:gd name="T13" fmla="*/ 606 h 615"/>
                  <a:gd name="T14" fmla="*/ 326 w 709"/>
                  <a:gd name="T15" fmla="*/ 601 h 615"/>
                  <a:gd name="T16" fmla="*/ 360 w 709"/>
                  <a:gd name="T17" fmla="*/ 577 h 615"/>
                  <a:gd name="T18" fmla="*/ 388 w 709"/>
                  <a:gd name="T19" fmla="*/ 585 h 615"/>
                  <a:gd name="T20" fmla="*/ 410 w 709"/>
                  <a:gd name="T21" fmla="*/ 582 h 615"/>
                  <a:gd name="T22" fmla="*/ 434 w 709"/>
                  <a:gd name="T23" fmla="*/ 574 h 615"/>
                  <a:gd name="T24" fmla="*/ 480 w 709"/>
                  <a:gd name="T25" fmla="*/ 549 h 615"/>
                  <a:gd name="T26" fmla="*/ 569 w 709"/>
                  <a:gd name="T27" fmla="*/ 535 h 615"/>
                  <a:gd name="T28" fmla="*/ 661 w 709"/>
                  <a:gd name="T29" fmla="*/ 373 h 615"/>
                  <a:gd name="T30" fmla="*/ 527 w 709"/>
                  <a:gd name="T31" fmla="*/ 320 h 615"/>
                  <a:gd name="T32" fmla="*/ 491 w 709"/>
                  <a:gd name="T33" fmla="*/ 295 h 615"/>
                  <a:gd name="T34" fmla="*/ 462 w 709"/>
                  <a:gd name="T35" fmla="*/ 246 h 615"/>
                  <a:gd name="T36" fmla="*/ 454 w 709"/>
                  <a:gd name="T37" fmla="*/ 230 h 615"/>
                  <a:gd name="T38" fmla="*/ 454 w 709"/>
                  <a:gd name="T39" fmla="*/ 201 h 615"/>
                  <a:gd name="T40" fmla="*/ 419 w 709"/>
                  <a:gd name="T41" fmla="*/ 211 h 615"/>
                  <a:gd name="T42" fmla="*/ 421 w 709"/>
                  <a:gd name="T43" fmla="*/ 164 h 615"/>
                  <a:gd name="T44" fmla="*/ 431 w 709"/>
                  <a:gd name="T45" fmla="*/ 113 h 615"/>
                  <a:gd name="T46" fmla="*/ 408 w 709"/>
                  <a:gd name="T47" fmla="*/ 87 h 615"/>
                  <a:gd name="T48" fmla="*/ 367 w 709"/>
                  <a:gd name="T49" fmla="*/ 46 h 615"/>
                  <a:gd name="T50" fmla="*/ 336 w 709"/>
                  <a:gd name="T51" fmla="*/ 23 h 615"/>
                  <a:gd name="T52" fmla="*/ 306 w 709"/>
                  <a:gd name="T53" fmla="*/ 17 h 615"/>
                  <a:gd name="T54" fmla="*/ 279 w 709"/>
                  <a:gd name="T55" fmla="*/ 11 h 615"/>
                  <a:gd name="T56" fmla="*/ 250 w 709"/>
                  <a:gd name="T57" fmla="*/ 24 h 615"/>
                  <a:gd name="T58" fmla="*/ 224 w 709"/>
                  <a:gd name="T59" fmla="*/ 0 h 615"/>
                  <a:gd name="T60" fmla="*/ 192 w 709"/>
                  <a:gd name="T61" fmla="*/ 21 h 615"/>
                  <a:gd name="T62" fmla="*/ 159 w 709"/>
                  <a:gd name="T63" fmla="*/ 30 h 615"/>
                  <a:gd name="T64" fmla="*/ 143 w 709"/>
                  <a:gd name="T65" fmla="*/ 88 h 615"/>
                  <a:gd name="T66" fmla="*/ 123 w 709"/>
                  <a:gd name="T67" fmla="*/ 116 h 615"/>
                  <a:gd name="T68" fmla="*/ 110 w 709"/>
                  <a:gd name="T69" fmla="*/ 155 h 615"/>
                  <a:gd name="T70" fmla="*/ 96 w 709"/>
                  <a:gd name="T71" fmla="*/ 179 h 615"/>
                  <a:gd name="T72" fmla="*/ 90 w 709"/>
                  <a:gd name="T73" fmla="*/ 221 h 615"/>
                  <a:gd name="T74" fmla="*/ 71 w 709"/>
                  <a:gd name="T75" fmla="*/ 215 h 615"/>
                  <a:gd name="T76" fmla="*/ 65 w 709"/>
                  <a:gd name="T77" fmla="*/ 256 h 615"/>
                  <a:gd name="T78" fmla="*/ 54 w 709"/>
                  <a:gd name="T79" fmla="*/ 305 h 615"/>
                  <a:gd name="T80" fmla="*/ 36 w 709"/>
                  <a:gd name="T81" fmla="*/ 351 h 615"/>
                  <a:gd name="T82" fmla="*/ 8 w 709"/>
                  <a:gd name="T83" fmla="*/ 345 h 615"/>
                  <a:gd name="T84" fmla="*/ 3 w 709"/>
                  <a:gd name="T85" fmla="*/ 383 h 615"/>
                  <a:gd name="T86" fmla="*/ 55 w 709"/>
                  <a:gd name="T87" fmla="*/ 405 h 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09" h="615">
                    <a:moveTo>
                      <a:pt x="60" y="425"/>
                    </a:moveTo>
                    <a:cubicBezTo>
                      <a:pt x="64" y="430"/>
                      <a:pt x="75" y="428"/>
                      <a:pt x="75" y="428"/>
                    </a:cubicBezTo>
                    <a:cubicBezTo>
                      <a:pt x="78" y="441"/>
                      <a:pt x="78" y="441"/>
                      <a:pt x="78" y="441"/>
                    </a:cubicBezTo>
                    <a:cubicBezTo>
                      <a:pt x="87" y="442"/>
                      <a:pt x="87" y="442"/>
                      <a:pt x="87" y="442"/>
                    </a:cubicBezTo>
                    <a:cubicBezTo>
                      <a:pt x="89" y="467"/>
                      <a:pt x="89" y="467"/>
                      <a:pt x="89" y="467"/>
                    </a:cubicBezTo>
                    <a:cubicBezTo>
                      <a:pt x="96" y="471"/>
                      <a:pt x="96" y="471"/>
                      <a:pt x="96" y="471"/>
                    </a:cubicBezTo>
                    <a:cubicBezTo>
                      <a:pt x="96" y="471"/>
                      <a:pt x="98" y="498"/>
                      <a:pt x="108" y="506"/>
                    </a:cubicBezTo>
                    <a:cubicBezTo>
                      <a:pt x="118" y="514"/>
                      <a:pt x="128" y="505"/>
                      <a:pt x="133" y="513"/>
                    </a:cubicBezTo>
                    <a:cubicBezTo>
                      <a:pt x="138" y="521"/>
                      <a:pt x="137" y="535"/>
                      <a:pt x="137" y="535"/>
                    </a:cubicBezTo>
                    <a:cubicBezTo>
                      <a:pt x="138" y="545"/>
                      <a:pt x="138" y="545"/>
                      <a:pt x="138" y="545"/>
                    </a:cubicBezTo>
                    <a:cubicBezTo>
                      <a:pt x="144" y="560"/>
                      <a:pt x="144" y="560"/>
                      <a:pt x="144" y="560"/>
                    </a:cubicBezTo>
                    <a:cubicBezTo>
                      <a:pt x="191" y="562"/>
                      <a:pt x="191" y="562"/>
                      <a:pt x="191" y="562"/>
                    </a:cubicBezTo>
                    <a:cubicBezTo>
                      <a:pt x="242" y="602"/>
                      <a:pt x="242" y="602"/>
                      <a:pt x="242" y="602"/>
                    </a:cubicBezTo>
                    <a:cubicBezTo>
                      <a:pt x="242" y="602"/>
                      <a:pt x="269" y="604"/>
                      <a:pt x="282" y="606"/>
                    </a:cubicBezTo>
                    <a:cubicBezTo>
                      <a:pt x="295" y="608"/>
                      <a:pt x="313" y="615"/>
                      <a:pt x="313" y="615"/>
                    </a:cubicBezTo>
                    <a:cubicBezTo>
                      <a:pt x="326" y="601"/>
                      <a:pt x="326" y="601"/>
                      <a:pt x="326" y="601"/>
                    </a:cubicBezTo>
                    <a:cubicBezTo>
                      <a:pt x="326" y="601"/>
                      <a:pt x="324" y="597"/>
                      <a:pt x="331" y="591"/>
                    </a:cubicBezTo>
                    <a:cubicBezTo>
                      <a:pt x="338" y="585"/>
                      <a:pt x="360" y="577"/>
                      <a:pt x="360" y="577"/>
                    </a:cubicBezTo>
                    <a:cubicBezTo>
                      <a:pt x="372" y="568"/>
                      <a:pt x="372" y="568"/>
                      <a:pt x="372" y="568"/>
                    </a:cubicBezTo>
                    <a:cubicBezTo>
                      <a:pt x="388" y="585"/>
                      <a:pt x="388" y="585"/>
                      <a:pt x="388" y="585"/>
                    </a:cubicBezTo>
                    <a:cubicBezTo>
                      <a:pt x="406" y="586"/>
                      <a:pt x="406" y="586"/>
                      <a:pt x="406" y="586"/>
                    </a:cubicBezTo>
                    <a:cubicBezTo>
                      <a:pt x="410" y="582"/>
                      <a:pt x="410" y="582"/>
                      <a:pt x="410" y="582"/>
                    </a:cubicBezTo>
                    <a:cubicBezTo>
                      <a:pt x="426" y="588"/>
                      <a:pt x="426" y="588"/>
                      <a:pt x="426" y="588"/>
                    </a:cubicBezTo>
                    <a:cubicBezTo>
                      <a:pt x="426" y="588"/>
                      <a:pt x="426" y="577"/>
                      <a:pt x="434" y="574"/>
                    </a:cubicBezTo>
                    <a:cubicBezTo>
                      <a:pt x="442" y="571"/>
                      <a:pt x="467" y="573"/>
                      <a:pt x="473" y="567"/>
                    </a:cubicBezTo>
                    <a:cubicBezTo>
                      <a:pt x="479" y="561"/>
                      <a:pt x="480" y="549"/>
                      <a:pt x="480" y="549"/>
                    </a:cubicBezTo>
                    <a:cubicBezTo>
                      <a:pt x="480" y="549"/>
                      <a:pt x="505" y="537"/>
                      <a:pt x="513" y="535"/>
                    </a:cubicBezTo>
                    <a:cubicBezTo>
                      <a:pt x="521" y="533"/>
                      <a:pt x="569" y="535"/>
                      <a:pt x="569" y="535"/>
                    </a:cubicBezTo>
                    <a:cubicBezTo>
                      <a:pt x="709" y="370"/>
                      <a:pt x="709" y="370"/>
                      <a:pt x="709" y="370"/>
                    </a:cubicBezTo>
                    <a:cubicBezTo>
                      <a:pt x="661" y="373"/>
                      <a:pt x="661" y="373"/>
                      <a:pt x="661" y="373"/>
                    </a:cubicBezTo>
                    <a:cubicBezTo>
                      <a:pt x="661" y="373"/>
                      <a:pt x="628" y="353"/>
                      <a:pt x="609" y="347"/>
                    </a:cubicBezTo>
                    <a:cubicBezTo>
                      <a:pt x="590" y="341"/>
                      <a:pt x="538" y="328"/>
                      <a:pt x="527" y="320"/>
                    </a:cubicBezTo>
                    <a:cubicBezTo>
                      <a:pt x="516" y="312"/>
                      <a:pt x="506" y="295"/>
                      <a:pt x="506" y="295"/>
                    </a:cubicBezTo>
                    <a:cubicBezTo>
                      <a:pt x="491" y="295"/>
                      <a:pt x="491" y="295"/>
                      <a:pt x="491" y="295"/>
                    </a:cubicBezTo>
                    <a:cubicBezTo>
                      <a:pt x="491" y="295"/>
                      <a:pt x="487" y="278"/>
                      <a:pt x="481" y="270"/>
                    </a:cubicBezTo>
                    <a:cubicBezTo>
                      <a:pt x="475" y="262"/>
                      <a:pt x="462" y="246"/>
                      <a:pt x="462" y="246"/>
                    </a:cubicBezTo>
                    <a:cubicBezTo>
                      <a:pt x="463" y="238"/>
                      <a:pt x="463" y="238"/>
                      <a:pt x="463" y="238"/>
                    </a:cubicBezTo>
                    <a:cubicBezTo>
                      <a:pt x="454" y="230"/>
                      <a:pt x="454" y="230"/>
                      <a:pt x="454" y="230"/>
                    </a:cubicBezTo>
                    <a:cubicBezTo>
                      <a:pt x="467" y="210"/>
                      <a:pt x="467" y="210"/>
                      <a:pt x="467" y="210"/>
                    </a:cubicBezTo>
                    <a:cubicBezTo>
                      <a:pt x="463" y="206"/>
                      <a:pt x="458" y="202"/>
                      <a:pt x="454" y="201"/>
                    </a:cubicBezTo>
                    <a:cubicBezTo>
                      <a:pt x="447" y="200"/>
                      <a:pt x="444" y="208"/>
                      <a:pt x="444" y="208"/>
                    </a:cubicBezTo>
                    <a:cubicBezTo>
                      <a:pt x="444" y="208"/>
                      <a:pt x="427" y="212"/>
                      <a:pt x="419" y="211"/>
                    </a:cubicBezTo>
                    <a:cubicBezTo>
                      <a:pt x="411" y="210"/>
                      <a:pt x="408" y="173"/>
                      <a:pt x="408" y="173"/>
                    </a:cubicBezTo>
                    <a:cubicBezTo>
                      <a:pt x="421" y="164"/>
                      <a:pt x="421" y="164"/>
                      <a:pt x="421" y="164"/>
                    </a:cubicBezTo>
                    <a:cubicBezTo>
                      <a:pt x="439" y="125"/>
                      <a:pt x="439" y="125"/>
                      <a:pt x="439" y="125"/>
                    </a:cubicBezTo>
                    <a:cubicBezTo>
                      <a:pt x="431" y="113"/>
                      <a:pt x="431" y="113"/>
                      <a:pt x="431" y="113"/>
                    </a:cubicBezTo>
                    <a:cubicBezTo>
                      <a:pt x="431" y="113"/>
                      <a:pt x="414" y="113"/>
                      <a:pt x="413" y="107"/>
                    </a:cubicBezTo>
                    <a:cubicBezTo>
                      <a:pt x="412" y="101"/>
                      <a:pt x="412" y="92"/>
                      <a:pt x="408" y="87"/>
                    </a:cubicBezTo>
                    <a:cubicBezTo>
                      <a:pt x="404" y="82"/>
                      <a:pt x="386" y="80"/>
                      <a:pt x="382" y="72"/>
                    </a:cubicBezTo>
                    <a:cubicBezTo>
                      <a:pt x="378" y="64"/>
                      <a:pt x="375" y="54"/>
                      <a:pt x="367" y="46"/>
                    </a:cubicBezTo>
                    <a:cubicBezTo>
                      <a:pt x="359" y="38"/>
                      <a:pt x="347" y="37"/>
                      <a:pt x="347" y="37"/>
                    </a:cubicBezTo>
                    <a:cubicBezTo>
                      <a:pt x="336" y="23"/>
                      <a:pt x="336" y="23"/>
                      <a:pt x="336" y="23"/>
                    </a:cubicBezTo>
                    <a:cubicBezTo>
                      <a:pt x="316" y="22"/>
                      <a:pt x="316" y="22"/>
                      <a:pt x="316" y="22"/>
                    </a:cubicBezTo>
                    <a:cubicBezTo>
                      <a:pt x="316" y="22"/>
                      <a:pt x="310" y="17"/>
                      <a:pt x="306" y="17"/>
                    </a:cubicBezTo>
                    <a:cubicBezTo>
                      <a:pt x="302" y="17"/>
                      <a:pt x="291" y="24"/>
                      <a:pt x="288" y="24"/>
                    </a:cubicBezTo>
                    <a:cubicBezTo>
                      <a:pt x="285" y="24"/>
                      <a:pt x="279" y="11"/>
                      <a:pt x="279" y="11"/>
                    </a:cubicBezTo>
                    <a:cubicBezTo>
                      <a:pt x="279" y="11"/>
                      <a:pt x="270" y="24"/>
                      <a:pt x="267" y="24"/>
                    </a:cubicBezTo>
                    <a:cubicBezTo>
                      <a:pt x="264" y="24"/>
                      <a:pt x="250" y="24"/>
                      <a:pt x="250" y="24"/>
                    </a:cubicBezTo>
                    <a:cubicBezTo>
                      <a:pt x="250" y="24"/>
                      <a:pt x="244" y="11"/>
                      <a:pt x="240" y="9"/>
                    </a:cubicBezTo>
                    <a:cubicBezTo>
                      <a:pt x="236" y="7"/>
                      <a:pt x="224" y="0"/>
                      <a:pt x="224" y="0"/>
                    </a:cubicBezTo>
                    <a:cubicBezTo>
                      <a:pt x="224" y="0"/>
                      <a:pt x="216" y="41"/>
                      <a:pt x="208" y="41"/>
                    </a:cubicBezTo>
                    <a:cubicBezTo>
                      <a:pt x="200" y="41"/>
                      <a:pt x="197" y="21"/>
                      <a:pt x="192" y="21"/>
                    </a:cubicBezTo>
                    <a:cubicBezTo>
                      <a:pt x="187" y="21"/>
                      <a:pt x="182" y="31"/>
                      <a:pt x="182" y="31"/>
                    </a:cubicBezTo>
                    <a:cubicBezTo>
                      <a:pt x="159" y="30"/>
                      <a:pt x="159" y="30"/>
                      <a:pt x="159" y="30"/>
                    </a:cubicBezTo>
                    <a:cubicBezTo>
                      <a:pt x="159" y="60"/>
                      <a:pt x="159" y="60"/>
                      <a:pt x="159" y="60"/>
                    </a:cubicBezTo>
                    <a:cubicBezTo>
                      <a:pt x="159" y="60"/>
                      <a:pt x="143" y="80"/>
                      <a:pt x="143" y="88"/>
                    </a:cubicBezTo>
                    <a:cubicBezTo>
                      <a:pt x="143" y="96"/>
                      <a:pt x="145" y="114"/>
                      <a:pt x="145" y="114"/>
                    </a:cubicBezTo>
                    <a:cubicBezTo>
                      <a:pt x="123" y="116"/>
                      <a:pt x="123" y="116"/>
                      <a:pt x="123" y="116"/>
                    </a:cubicBezTo>
                    <a:cubicBezTo>
                      <a:pt x="123" y="116"/>
                      <a:pt x="112" y="130"/>
                      <a:pt x="111" y="135"/>
                    </a:cubicBezTo>
                    <a:cubicBezTo>
                      <a:pt x="110" y="140"/>
                      <a:pt x="115" y="150"/>
                      <a:pt x="110" y="155"/>
                    </a:cubicBezTo>
                    <a:cubicBezTo>
                      <a:pt x="105" y="160"/>
                      <a:pt x="94" y="164"/>
                      <a:pt x="94" y="164"/>
                    </a:cubicBezTo>
                    <a:cubicBezTo>
                      <a:pt x="96" y="179"/>
                      <a:pt x="96" y="179"/>
                      <a:pt x="96" y="179"/>
                    </a:cubicBezTo>
                    <a:cubicBezTo>
                      <a:pt x="89" y="190"/>
                      <a:pt x="89" y="190"/>
                      <a:pt x="89" y="190"/>
                    </a:cubicBezTo>
                    <a:cubicBezTo>
                      <a:pt x="89" y="190"/>
                      <a:pt x="96" y="213"/>
                      <a:pt x="90" y="221"/>
                    </a:cubicBezTo>
                    <a:cubicBezTo>
                      <a:pt x="84" y="229"/>
                      <a:pt x="78" y="226"/>
                      <a:pt x="78" y="226"/>
                    </a:cubicBezTo>
                    <a:cubicBezTo>
                      <a:pt x="78" y="226"/>
                      <a:pt x="76" y="215"/>
                      <a:pt x="71" y="215"/>
                    </a:cubicBezTo>
                    <a:cubicBezTo>
                      <a:pt x="66" y="215"/>
                      <a:pt x="60" y="228"/>
                      <a:pt x="60" y="235"/>
                    </a:cubicBezTo>
                    <a:cubicBezTo>
                      <a:pt x="60" y="242"/>
                      <a:pt x="66" y="253"/>
                      <a:pt x="65" y="256"/>
                    </a:cubicBezTo>
                    <a:cubicBezTo>
                      <a:pt x="64" y="259"/>
                      <a:pt x="49" y="270"/>
                      <a:pt x="48" y="278"/>
                    </a:cubicBezTo>
                    <a:cubicBezTo>
                      <a:pt x="47" y="286"/>
                      <a:pt x="54" y="305"/>
                      <a:pt x="54" y="305"/>
                    </a:cubicBezTo>
                    <a:cubicBezTo>
                      <a:pt x="54" y="305"/>
                      <a:pt x="57" y="336"/>
                      <a:pt x="50" y="341"/>
                    </a:cubicBezTo>
                    <a:cubicBezTo>
                      <a:pt x="43" y="346"/>
                      <a:pt x="36" y="351"/>
                      <a:pt x="36" y="351"/>
                    </a:cubicBezTo>
                    <a:cubicBezTo>
                      <a:pt x="31" y="346"/>
                      <a:pt x="31" y="346"/>
                      <a:pt x="31" y="346"/>
                    </a:cubicBezTo>
                    <a:cubicBezTo>
                      <a:pt x="8" y="345"/>
                      <a:pt x="8" y="345"/>
                      <a:pt x="8" y="345"/>
                    </a:cubicBezTo>
                    <a:cubicBezTo>
                      <a:pt x="10" y="361"/>
                      <a:pt x="10" y="361"/>
                      <a:pt x="10" y="361"/>
                    </a:cubicBezTo>
                    <a:cubicBezTo>
                      <a:pt x="10" y="361"/>
                      <a:pt x="0" y="378"/>
                      <a:pt x="3" y="383"/>
                    </a:cubicBezTo>
                    <a:cubicBezTo>
                      <a:pt x="6" y="388"/>
                      <a:pt x="22" y="382"/>
                      <a:pt x="30" y="386"/>
                    </a:cubicBezTo>
                    <a:cubicBezTo>
                      <a:pt x="38" y="390"/>
                      <a:pt x="55" y="405"/>
                      <a:pt x="55" y="405"/>
                    </a:cubicBezTo>
                    <a:cubicBezTo>
                      <a:pt x="55" y="405"/>
                      <a:pt x="56" y="420"/>
                      <a:pt x="60" y="425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Freeform 291">
                <a:extLst>
                  <a:ext uri="{FF2B5EF4-FFF2-40B4-BE49-F238E27FC236}">
                    <a16:creationId xmlns:a16="http://schemas.microsoft.com/office/drawing/2014/main" id="{153FF8D8-AB83-212E-8538-647F2CFA92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3771" y="-14005"/>
                <a:ext cx="1252" cy="1290"/>
              </a:xfrm>
              <a:custGeom>
                <a:avLst/>
                <a:gdLst>
                  <a:gd name="T0" fmla="*/ 11 w 530"/>
                  <a:gd name="T1" fmla="*/ 13 h 546"/>
                  <a:gd name="T2" fmla="*/ 7 w 530"/>
                  <a:gd name="T3" fmla="*/ 34 h 546"/>
                  <a:gd name="T4" fmla="*/ 17 w 530"/>
                  <a:gd name="T5" fmla="*/ 54 h 546"/>
                  <a:gd name="T6" fmla="*/ 3 w 530"/>
                  <a:gd name="T7" fmla="*/ 82 h 546"/>
                  <a:gd name="T8" fmla="*/ 21 w 530"/>
                  <a:gd name="T9" fmla="*/ 120 h 546"/>
                  <a:gd name="T10" fmla="*/ 34 w 530"/>
                  <a:gd name="T11" fmla="*/ 518 h 546"/>
                  <a:gd name="T12" fmla="*/ 320 w 530"/>
                  <a:gd name="T13" fmla="*/ 522 h 546"/>
                  <a:gd name="T14" fmla="*/ 329 w 530"/>
                  <a:gd name="T15" fmla="*/ 510 h 546"/>
                  <a:gd name="T16" fmla="*/ 334 w 530"/>
                  <a:gd name="T17" fmla="*/ 518 h 546"/>
                  <a:gd name="T18" fmla="*/ 413 w 530"/>
                  <a:gd name="T19" fmla="*/ 521 h 546"/>
                  <a:gd name="T20" fmla="*/ 438 w 530"/>
                  <a:gd name="T21" fmla="*/ 539 h 546"/>
                  <a:gd name="T22" fmla="*/ 460 w 530"/>
                  <a:gd name="T23" fmla="*/ 508 h 546"/>
                  <a:gd name="T24" fmla="*/ 482 w 530"/>
                  <a:gd name="T25" fmla="*/ 505 h 546"/>
                  <a:gd name="T26" fmla="*/ 492 w 530"/>
                  <a:gd name="T27" fmla="*/ 478 h 546"/>
                  <a:gd name="T28" fmla="*/ 509 w 530"/>
                  <a:gd name="T29" fmla="*/ 477 h 546"/>
                  <a:gd name="T30" fmla="*/ 525 w 530"/>
                  <a:gd name="T31" fmla="*/ 462 h 546"/>
                  <a:gd name="T32" fmla="*/ 520 w 530"/>
                  <a:gd name="T33" fmla="*/ 445 h 546"/>
                  <a:gd name="T34" fmla="*/ 518 w 530"/>
                  <a:gd name="T35" fmla="*/ 416 h 546"/>
                  <a:gd name="T36" fmla="*/ 530 w 530"/>
                  <a:gd name="T37" fmla="*/ 415 h 546"/>
                  <a:gd name="T38" fmla="*/ 490 w 530"/>
                  <a:gd name="T39" fmla="*/ 369 h 546"/>
                  <a:gd name="T40" fmla="*/ 469 w 530"/>
                  <a:gd name="T41" fmla="*/ 315 h 546"/>
                  <a:gd name="T42" fmla="*/ 448 w 530"/>
                  <a:gd name="T43" fmla="*/ 288 h 546"/>
                  <a:gd name="T44" fmla="*/ 440 w 530"/>
                  <a:gd name="T45" fmla="*/ 252 h 546"/>
                  <a:gd name="T46" fmla="*/ 415 w 530"/>
                  <a:gd name="T47" fmla="*/ 225 h 546"/>
                  <a:gd name="T48" fmla="*/ 412 w 530"/>
                  <a:gd name="T49" fmla="*/ 204 h 546"/>
                  <a:gd name="T50" fmla="*/ 378 w 530"/>
                  <a:gd name="T51" fmla="*/ 161 h 546"/>
                  <a:gd name="T52" fmla="*/ 368 w 530"/>
                  <a:gd name="T53" fmla="*/ 147 h 546"/>
                  <a:gd name="T54" fmla="*/ 368 w 530"/>
                  <a:gd name="T55" fmla="*/ 126 h 546"/>
                  <a:gd name="T56" fmla="*/ 350 w 530"/>
                  <a:gd name="T57" fmla="*/ 112 h 546"/>
                  <a:gd name="T58" fmla="*/ 361 w 530"/>
                  <a:gd name="T59" fmla="*/ 99 h 546"/>
                  <a:gd name="T60" fmla="*/ 373 w 530"/>
                  <a:gd name="T61" fmla="*/ 107 h 546"/>
                  <a:gd name="T62" fmla="*/ 381 w 530"/>
                  <a:gd name="T63" fmla="*/ 130 h 546"/>
                  <a:gd name="T64" fmla="*/ 395 w 530"/>
                  <a:gd name="T65" fmla="*/ 145 h 546"/>
                  <a:gd name="T66" fmla="*/ 394 w 530"/>
                  <a:gd name="T67" fmla="*/ 162 h 546"/>
                  <a:gd name="T68" fmla="*/ 438 w 530"/>
                  <a:gd name="T69" fmla="*/ 207 h 546"/>
                  <a:gd name="T70" fmla="*/ 456 w 530"/>
                  <a:gd name="T71" fmla="*/ 195 h 546"/>
                  <a:gd name="T72" fmla="*/ 449 w 530"/>
                  <a:gd name="T73" fmla="*/ 183 h 546"/>
                  <a:gd name="T74" fmla="*/ 462 w 530"/>
                  <a:gd name="T75" fmla="*/ 143 h 546"/>
                  <a:gd name="T76" fmla="*/ 471 w 530"/>
                  <a:gd name="T77" fmla="*/ 112 h 546"/>
                  <a:gd name="T78" fmla="*/ 435 w 530"/>
                  <a:gd name="T79" fmla="*/ 19 h 546"/>
                  <a:gd name="T80" fmla="*/ 388 w 530"/>
                  <a:gd name="T81" fmla="*/ 30 h 546"/>
                  <a:gd name="T82" fmla="*/ 373 w 530"/>
                  <a:gd name="T83" fmla="*/ 22 h 546"/>
                  <a:gd name="T84" fmla="*/ 350 w 530"/>
                  <a:gd name="T85" fmla="*/ 26 h 546"/>
                  <a:gd name="T86" fmla="*/ 325 w 530"/>
                  <a:gd name="T87" fmla="*/ 7 h 546"/>
                  <a:gd name="T88" fmla="*/ 288 w 530"/>
                  <a:gd name="T89" fmla="*/ 14 h 546"/>
                  <a:gd name="T90" fmla="*/ 262 w 530"/>
                  <a:gd name="T91" fmla="*/ 11 h 546"/>
                  <a:gd name="T92" fmla="*/ 243 w 530"/>
                  <a:gd name="T93" fmla="*/ 30 h 546"/>
                  <a:gd name="T94" fmla="*/ 227 w 530"/>
                  <a:gd name="T95" fmla="*/ 30 h 546"/>
                  <a:gd name="T96" fmla="*/ 210 w 530"/>
                  <a:gd name="T97" fmla="*/ 43 h 546"/>
                  <a:gd name="T98" fmla="*/ 170 w 530"/>
                  <a:gd name="T99" fmla="*/ 29 h 546"/>
                  <a:gd name="T100" fmla="*/ 140 w 530"/>
                  <a:gd name="T101" fmla="*/ 29 h 546"/>
                  <a:gd name="T102" fmla="*/ 112 w 530"/>
                  <a:gd name="T103" fmla="*/ 13 h 546"/>
                  <a:gd name="T104" fmla="*/ 89 w 530"/>
                  <a:gd name="T105" fmla="*/ 12 h 546"/>
                  <a:gd name="T106" fmla="*/ 60 w 530"/>
                  <a:gd name="T107" fmla="*/ 1 h 546"/>
                  <a:gd name="T108" fmla="*/ 31 w 530"/>
                  <a:gd name="T109" fmla="*/ 6 h 546"/>
                  <a:gd name="T110" fmla="*/ 24 w 530"/>
                  <a:gd name="T111" fmla="*/ 0 h 546"/>
                  <a:gd name="T112" fmla="*/ 11 w 530"/>
                  <a:gd name="T113" fmla="*/ 13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30" h="546">
                    <a:moveTo>
                      <a:pt x="11" y="13"/>
                    </a:moveTo>
                    <a:cubicBezTo>
                      <a:pt x="6" y="16"/>
                      <a:pt x="6" y="30"/>
                      <a:pt x="7" y="34"/>
                    </a:cubicBezTo>
                    <a:cubicBezTo>
                      <a:pt x="8" y="38"/>
                      <a:pt x="20" y="45"/>
                      <a:pt x="17" y="54"/>
                    </a:cubicBezTo>
                    <a:cubicBezTo>
                      <a:pt x="14" y="63"/>
                      <a:pt x="0" y="75"/>
                      <a:pt x="3" y="82"/>
                    </a:cubicBezTo>
                    <a:cubicBezTo>
                      <a:pt x="6" y="89"/>
                      <a:pt x="21" y="107"/>
                      <a:pt x="21" y="120"/>
                    </a:cubicBezTo>
                    <a:cubicBezTo>
                      <a:pt x="21" y="133"/>
                      <a:pt x="34" y="518"/>
                      <a:pt x="34" y="518"/>
                    </a:cubicBezTo>
                    <a:cubicBezTo>
                      <a:pt x="320" y="522"/>
                      <a:pt x="320" y="522"/>
                      <a:pt x="320" y="522"/>
                    </a:cubicBezTo>
                    <a:cubicBezTo>
                      <a:pt x="320" y="522"/>
                      <a:pt x="322" y="512"/>
                      <a:pt x="329" y="510"/>
                    </a:cubicBezTo>
                    <a:cubicBezTo>
                      <a:pt x="336" y="508"/>
                      <a:pt x="334" y="518"/>
                      <a:pt x="334" y="518"/>
                    </a:cubicBezTo>
                    <a:cubicBezTo>
                      <a:pt x="413" y="521"/>
                      <a:pt x="413" y="521"/>
                      <a:pt x="413" y="521"/>
                    </a:cubicBezTo>
                    <a:cubicBezTo>
                      <a:pt x="413" y="521"/>
                      <a:pt x="425" y="546"/>
                      <a:pt x="438" y="539"/>
                    </a:cubicBezTo>
                    <a:cubicBezTo>
                      <a:pt x="451" y="532"/>
                      <a:pt x="450" y="511"/>
                      <a:pt x="460" y="508"/>
                    </a:cubicBezTo>
                    <a:cubicBezTo>
                      <a:pt x="470" y="505"/>
                      <a:pt x="472" y="509"/>
                      <a:pt x="482" y="505"/>
                    </a:cubicBezTo>
                    <a:cubicBezTo>
                      <a:pt x="492" y="501"/>
                      <a:pt x="492" y="478"/>
                      <a:pt x="492" y="478"/>
                    </a:cubicBezTo>
                    <a:cubicBezTo>
                      <a:pt x="509" y="477"/>
                      <a:pt x="509" y="477"/>
                      <a:pt x="509" y="477"/>
                    </a:cubicBezTo>
                    <a:cubicBezTo>
                      <a:pt x="525" y="462"/>
                      <a:pt x="525" y="462"/>
                      <a:pt x="525" y="462"/>
                    </a:cubicBezTo>
                    <a:cubicBezTo>
                      <a:pt x="522" y="456"/>
                      <a:pt x="520" y="450"/>
                      <a:pt x="520" y="445"/>
                    </a:cubicBezTo>
                    <a:cubicBezTo>
                      <a:pt x="519" y="430"/>
                      <a:pt x="518" y="416"/>
                      <a:pt x="518" y="416"/>
                    </a:cubicBezTo>
                    <a:cubicBezTo>
                      <a:pt x="530" y="415"/>
                      <a:pt x="530" y="415"/>
                      <a:pt x="530" y="415"/>
                    </a:cubicBezTo>
                    <a:cubicBezTo>
                      <a:pt x="530" y="415"/>
                      <a:pt x="503" y="397"/>
                      <a:pt x="490" y="369"/>
                    </a:cubicBezTo>
                    <a:cubicBezTo>
                      <a:pt x="477" y="341"/>
                      <a:pt x="478" y="326"/>
                      <a:pt x="469" y="315"/>
                    </a:cubicBezTo>
                    <a:cubicBezTo>
                      <a:pt x="460" y="304"/>
                      <a:pt x="456" y="302"/>
                      <a:pt x="448" y="288"/>
                    </a:cubicBezTo>
                    <a:cubicBezTo>
                      <a:pt x="440" y="274"/>
                      <a:pt x="440" y="252"/>
                      <a:pt x="440" y="252"/>
                    </a:cubicBezTo>
                    <a:cubicBezTo>
                      <a:pt x="415" y="225"/>
                      <a:pt x="415" y="225"/>
                      <a:pt x="415" y="225"/>
                    </a:cubicBezTo>
                    <a:cubicBezTo>
                      <a:pt x="415" y="225"/>
                      <a:pt x="418" y="216"/>
                      <a:pt x="412" y="204"/>
                    </a:cubicBezTo>
                    <a:cubicBezTo>
                      <a:pt x="406" y="192"/>
                      <a:pt x="380" y="170"/>
                      <a:pt x="378" y="161"/>
                    </a:cubicBezTo>
                    <a:cubicBezTo>
                      <a:pt x="376" y="152"/>
                      <a:pt x="368" y="147"/>
                      <a:pt x="368" y="147"/>
                    </a:cubicBezTo>
                    <a:cubicBezTo>
                      <a:pt x="368" y="147"/>
                      <a:pt x="376" y="137"/>
                      <a:pt x="368" y="126"/>
                    </a:cubicBezTo>
                    <a:cubicBezTo>
                      <a:pt x="360" y="115"/>
                      <a:pt x="350" y="112"/>
                      <a:pt x="350" y="112"/>
                    </a:cubicBezTo>
                    <a:cubicBezTo>
                      <a:pt x="361" y="99"/>
                      <a:pt x="361" y="99"/>
                      <a:pt x="361" y="99"/>
                    </a:cubicBezTo>
                    <a:cubicBezTo>
                      <a:pt x="373" y="107"/>
                      <a:pt x="373" y="107"/>
                      <a:pt x="373" y="107"/>
                    </a:cubicBezTo>
                    <a:cubicBezTo>
                      <a:pt x="373" y="107"/>
                      <a:pt x="372" y="124"/>
                      <a:pt x="381" y="130"/>
                    </a:cubicBezTo>
                    <a:cubicBezTo>
                      <a:pt x="390" y="136"/>
                      <a:pt x="395" y="145"/>
                      <a:pt x="395" y="145"/>
                    </a:cubicBezTo>
                    <a:cubicBezTo>
                      <a:pt x="394" y="162"/>
                      <a:pt x="394" y="162"/>
                      <a:pt x="394" y="162"/>
                    </a:cubicBezTo>
                    <a:cubicBezTo>
                      <a:pt x="394" y="162"/>
                      <a:pt x="426" y="214"/>
                      <a:pt x="438" y="207"/>
                    </a:cubicBezTo>
                    <a:cubicBezTo>
                      <a:pt x="450" y="200"/>
                      <a:pt x="456" y="195"/>
                      <a:pt x="456" y="195"/>
                    </a:cubicBezTo>
                    <a:cubicBezTo>
                      <a:pt x="449" y="183"/>
                      <a:pt x="449" y="183"/>
                      <a:pt x="449" y="183"/>
                    </a:cubicBezTo>
                    <a:cubicBezTo>
                      <a:pt x="449" y="183"/>
                      <a:pt x="462" y="157"/>
                      <a:pt x="462" y="143"/>
                    </a:cubicBezTo>
                    <a:cubicBezTo>
                      <a:pt x="462" y="129"/>
                      <a:pt x="471" y="112"/>
                      <a:pt x="471" y="112"/>
                    </a:cubicBezTo>
                    <a:cubicBezTo>
                      <a:pt x="435" y="19"/>
                      <a:pt x="435" y="19"/>
                      <a:pt x="435" y="19"/>
                    </a:cubicBezTo>
                    <a:cubicBezTo>
                      <a:pt x="435" y="19"/>
                      <a:pt x="397" y="34"/>
                      <a:pt x="388" y="30"/>
                    </a:cubicBezTo>
                    <a:cubicBezTo>
                      <a:pt x="379" y="26"/>
                      <a:pt x="373" y="22"/>
                      <a:pt x="373" y="22"/>
                    </a:cubicBezTo>
                    <a:cubicBezTo>
                      <a:pt x="373" y="22"/>
                      <a:pt x="364" y="33"/>
                      <a:pt x="350" y="26"/>
                    </a:cubicBezTo>
                    <a:cubicBezTo>
                      <a:pt x="336" y="19"/>
                      <a:pt x="341" y="10"/>
                      <a:pt x="325" y="7"/>
                    </a:cubicBezTo>
                    <a:cubicBezTo>
                      <a:pt x="309" y="4"/>
                      <a:pt x="288" y="14"/>
                      <a:pt x="288" y="14"/>
                    </a:cubicBezTo>
                    <a:cubicBezTo>
                      <a:pt x="288" y="14"/>
                      <a:pt x="273" y="7"/>
                      <a:pt x="262" y="11"/>
                    </a:cubicBezTo>
                    <a:cubicBezTo>
                      <a:pt x="251" y="15"/>
                      <a:pt x="243" y="30"/>
                      <a:pt x="243" y="30"/>
                    </a:cubicBezTo>
                    <a:cubicBezTo>
                      <a:pt x="243" y="30"/>
                      <a:pt x="231" y="28"/>
                      <a:pt x="227" y="30"/>
                    </a:cubicBezTo>
                    <a:cubicBezTo>
                      <a:pt x="223" y="32"/>
                      <a:pt x="210" y="43"/>
                      <a:pt x="210" y="43"/>
                    </a:cubicBezTo>
                    <a:cubicBezTo>
                      <a:pt x="210" y="43"/>
                      <a:pt x="176" y="29"/>
                      <a:pt x="170" y="29"/>
                    </a:cubicBezTo>
                    <a:cubicBezTo>
                      <a:pt x="164" y="29"/>
                      <a:pt x="153" y="32"/>
                      <a:pt x="140" y="29"/>
                    </a:cubicBezTo>
                    <a:cubicBezTo>
                      <a:pt x="127" y="26"/>
                      <a:pt x="125" y="14"/>
                      <a:pt x="112" y="13"/>
                    </a:cubicBezTo>
                    <a:cubicBezTo>
                      <a:pt x="99" y="12"/>
                      <a:pt x="89" y="12"/>
                      <a:pt x="89" y="12"/>
                    </a:cubicBezTo>
                    <a:cubicBezTo>
                      <a:pt x="89" y="12"/>
                      <a:pt x="69" y="1"/>
                      <a:pt x="60" y="1"/>
                    </a:cubicBezTo>
                    <a:cubicBezTo>
                      <a:pt x="51" y="1"/>
                      <a:pt x="46" y="15"/>
                      <a:pt x="31" y="6"/>
                    </a:cubicBezTo>
                    <a:cubicBezTo>
                      <a:pt x="28" y="4"/>
                      <a:pt x="26" y="2"/>
                      <a:pt x="24" y="0"/>
                    </a:cubicBezTo>
                    <a:cubicBezTo>
                      <a:pt x="21" y="4"/>
                      <a:pt x="15" y="11"/>
                      <a:pt x="11" y="13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Freeform 292">
                <a:extLst>
                  <a:ext uri="{FF2B5EF4-FFF2-40B4-BE49-F238E27FC236}">
                    <a16:creationId xmlns:a16="http://schemas.microsoft.com/office/drawing/2014/main" id="{6E44CE8A-B36D-1923-2983-AC5F06C0AE9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504" y="-11645"/>
                <a:ext cx="857" cy="1450"/>
              </a:xfrm>
              <a:custGeom>
                <a:avLst/>
                <a:gdLst>
                  <a:gd name="T0" fmla="*/ 275 w 363"/>
                  <a:gd name="T1" fmla="*/ 0 h 614"/>
                  <a:gd name="T2" fmla="*/ 263 w 363"/>
                  <a:gd name="T3" fmla="*/ 43 h 614"/>
                  <a:gd name="T4" fmla="*/ 282 w 363"/>
                  <a:gd name="T5" fmla="*/ 70 h 614"/>
                  <a:gd name="T6" fmla="*/ 256 w 363"/>
                  <a:gd name="T7" fmla="*/ 100 h 614"/>
                  <a:gd name="T8" fmla="*/ 236 w 363"/>
                  <a:gd name="T9" fmla="*/ 136 h 614"/>
                  <a:gd name="T10" fmla="*/ 227 w 363"/>
                  <a:gd name="T11" fmla="*/ 159 h 614"/>
                  <a:gd name="T12" fmla="*/ 207 w 363"/>
                  <a:gd name="T13" fmla="*/ 198 h 614"/>
                  <a:gd name="T14" fmla="*/ 181 w 363"/>
                  <a:gd name="T15" fmla="*/ 250 h 614"/>
                  <a:gd name="T16" fmla="*/ 157 w 363"/>
                  <a:gd name="T17" fmla="*/ 302 h 614"/>
                  <a:gd name="T18" fmla="*/ 140 w 363"/>
                  <a:gd name="T19" fmla="*/ 337 h 614"/>
                  <a:gd name="T20" fmla="*/ 119 w 363"/>
                  <a:gd name="T21" fmla="*/ 342 h 614"/>
                  <a:gd name="T22" fmla="*/ 95 w 363"/>
                  <a:gd name="T23" fmla="*/ 334 h 614"/>
                  <a:gd name="T24" fmla="*/ 56 w 363"/>
                  <a:gd name="T25" fmla="*/ 353 h 614"/>
                  <a:gd name="T26" fmla="*/ 13 w 363"/>
                  <a:gd name="T27" fmla="*/ 428 h 614"/>
                  <a:gd name="T28" fmla="*/ 4 w 363"/>
                  <a:gd name="T29" fmla="*/ 449 h 614"/>
                  <a:gd name="T30" fmla="*/ 18 w 363"/>
                  <a:gd name="T31" fmla="*/ 455 h 614"/>
                  <a:gd name="T32" fmla="*/ 44 w 363"/>
                  <a:gd name="T33" fmla="*/ 497 h 614"/>
                  <a:gd name="T34" fmla="*/ 45 w 363"/>
                  <a:gd name="T35" fmla="*/ 504 h 614"/>
                  <a:gd name="T36" fmla="*/ 70 w 363"/>
                  <a:gd name="T37" fmla="*/ 527 h 614"/>
                  <a:gd name="T38" fmla="*/ 61 w 363"/>
                  <a:gd name="T39" fmla="*/ 559 h 614"/>
                  <a:gd name="T40" fmla="*/ 68 w 363"/>
                  <a:gd name="T41" fmla="*/ 586 h 614"/>
                  <a:gd name="T42" fmla="*/ 144 w 363"/>
                  <a:gd name="T43" fmla="*/ 576 h 614"/>
                  <a:gd name="T44" fmla="*/ 175 w 363"/>
                  <a:gd name="T45" fmla="*/ 585 h 614"/>
                  <a:gd name="T46" fmla="*/ 195 w 363"/>
                  <a:gd name="T47" fmla="*/ 581 h 614"/>
                  <a:gd name="T48" fmla="*/ 227 w 363"/>
                  <a:gd name="T49" fmla="*/ 590 h 614"/>
                  <a:gd name="T50" fmla="*/ 320 w 363"/>
                  <a:gd name="T51" fmla="*/ 600 h 614"/>
                  <a:gd name="T52" fmla="*/ 358 w 363"/>
                  <a:gd name="T53" fmla="*/ 614 h 614"/>
                  <a:gd name="T54" fmla="*/ 363 w 363"/>
                  <a:gd name="T55" fmla="*/ 581 h 614"/>
                  <a:gd name="T56" fmla="*/ 358 w 363"/>
                  <a:gd name="T57" fmla="*/ 556 h 614"/>
                  <a:gd name="T58" fmla="*/ 332 w 363"/>
                  <a:gd name="T59" fmla="*/ 526 h 614"/>
                  <a:gd name="T60" fmla="*/ 313 w 363"/>
                  <a:gd name="T61" fmla="*/ 472 h 614"/>
                  <a:gd name="T62" fmla="*/ 294 w 363"/>
                  <a:gd name="T63" fmla="*/ 427 h 614"/>
                  <a:gd name="T64" fmla="*/ 289 w 363"/>
                  <a:gd name="T65" fmla="*/ 412 h 614"/>
                  <a:gd name="T66" fmla="*/ 276 w 363"/>
                  <a:gd name="T67" fmla="*/ 378 h 614"/>
                  <a:gd name="T68" fmla="*/ 304 w 363"/>
                  <a:gd name="T69" fmla="*/ 338 h 614"/>
                  <a:gd name="T70" fmla="*/ 312 w 363"/>
                  <a:gd name="T71" fmla="*/ 318 h 614"/>
                  <a:gd name="T72" fmla="*/ 317 w 363"/>
                  <a:gd name="T73" fmla="*/ 243 h 614"/>
                  <a:gd name="T74" fmla="*/ 261 w 363"/>
                  <a:gd name="T75" fmla="*/ 174 h 614"/>
                  <a:gd name="T76" fmla="*/ 336 w 363"/>
                  <a:gd name="T77" fmla="*/ 165 h 614"/>
                  <a:gd name="T78" fmla="*/ 304 w 363"/>
                  <a:gd name="T79" fmla="*/ 91 h 614"/>
                  <a:gd name="T80" fmla="*/ 296 w 363"/>
                  <a:gd name="T81" fmla="*/ 52 h 614"/>
                  <a:gd name="T82" fmla="*/ 280 w 363"/>
                  <a:gd name="T83" fmla="*/ 17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63" h="614">
                    <a:moveTo>
                      <a:pt x="280" y="17"/>
                    </a:moveTo>
                    <a:cubicBezTo>
                      <a:pt x="276" y="12"/>
                      <a:pt x="275" y="0"/>
                      <a:pt x="275" y="0"/>
                    </a:cubicBezTo>
                    <a:cubicBezTo>
                      <a:pt x="259" y="2"/>
                      <a:pt x="259" y="2"/>
                      <a:pt x="259" y="2"/>
                    </a:cubicBezTo>
                    <a:cubicBezTo>
                      <a:pt x="260" y="11"/>
                      <a:pt x="261" y="40"/>
                      <a:pt x="263" y="43"/>
                    </a:cubicBezTo>
                    <a:cubicBezTo>
                      <a:pt x="265" y="46"/>
                      <a:pt x="284" y="35"/>
                      <a:pt x="285" y="46"/>
                    </a:cubicBezTo>
                    <a:cubicBezTo>
                      <a:pt x="286" y="57"/>
                      <a:pt x="282" y="70"/>
                      <a:pt x="282" y="70"/>
                    </a:cubicBezTo>
                    <a:cubicBezTo>
                      <a:pt x="282" y="70"/>
                      <a:pt x="290" y="79"/>
                      <a:pt x="280" y="88"/>
                    </a:cubicBezTo>
                    <a:cubicBezTo>
                      <a:pt x="270" y="97"/>
                      <a:pt x="256" y="100"/>
                      <a:pt x="256" y="100"/>
                    </a:cubicBezTo>
                    <a:cubicBezTo>
                      <a:pt x="256" y="100"/>
                      <a:pt x="248" y="117"/>
                      <a:pt x="247" y="120"/>
                    </a:cubicBezTo>
                    <a:cubicBezTo>
                      <a:pt x="246" y="123"/>
                      <a:pt x="236" y="136"/>
                      <a:pt x="236" y="136"/>
                    </a:cubicBezTo>
                    <a:cubicBezTo>
                      <a:pt x="234" y="155"/>
                      <a:pt x="234" y="155"/>
                      <a:pt x="234" y="155"/>
                    </a:cubicBezTo>
                    <a:cubicBezTo>
                      <a:pt x="227" y="159"/>
                      <a:pt x="227" y="159"/>
                      <a:pt x="227" y="159"/>
                    </a:cubicBezTo>
                    <a:cubicBezTo>
                      <a:pt x="227" y="159"/>
                      <a:pt x="229" y="180"/>
                      <a:pt x="224" y="189"/>
                    </a:cubicBezTo>
                    <a:cubicBezTo>
                      <a:pt x="219" y="198"/>
                      <a:pt x="209" y="191"/>
                      <a:pt x="207" y="198"/>
                    </a:cubicBezTo>
                    <a:cubicBezTo>
                      <a:pt x="205" y="205"/>
                      <a:pt x="210" y="223"/>
                      <a:pt x="205" y="233"/>
                    </a:cubicBezTo>
                    <a:cubicBezTo>
                      <a:pt x="200" y="243"/>
                      <a:pt x="181" y="250"/>
                      <a:pt x="181" y="250"/>
                    </a:cubicBezTo>
                    <a:cubicBezTo>
                      <a:pt x="173" y="282"/>
                      <a:pt x="173" y="282"/>
                      <a:pt x="173" y="282"/>
                    </a:cubicBezTo>
                    <a:cubicBezTo>
                      <a:pt x="157" y="302"/>
                      <a:pt x="157" y="302"/>
                      <a:pt x="157" y="302"/>
                    </a:cubicBezTo>
                    <a:cubicBezTo>
                      <a:pt x="157" y="302"/>
                      <a:pt x="161" y="316"/>
                      <a:pt x="156" y="322"/>
                    </a:cubicBezTo>
                    <a:cubicBezTo>
                      <a:pt x="151" y="328"/>
                      <a:pt x="140" y="337"/>
                      <a:pt x="140" y="337"/>
                    </a:cubicBezTo>
                    <a:cubicBezTo>
                      <a:pt x="140" y="337"/>
                      <a:pt x="140" y="358"/>
                      <a:pt x="128" y="358"/>
                    </a:cubicBezTo>
                    <a:cubicBezTo>
                      <a:pt x="116" y="358"/>
                      <a:pt x="119" y="342"/>
                      <a:pt x="119" y="342"/>
                    </a:cubicBezTo>
                    <a:cubicBezTo>
                      <a:pt x="119" y="342"/>
                      <a:pt x="105" y="318"/>
                      <a:pt x="98" y="318"/>
                    </a:cubicBezTo>
                    <a:cubicBezTo>
                      <a:pt x="91" y="318"/>
                      <a:pt x="104" y="332"/>
                      <a:pt x="95" y="334"/>
                    </a:cubicBezTo>
                    <a:cubicBezTo>
                      <a:pt x="86" y="336"/>
                      <a:pt x="78" y="323"/>
                      <a:pt x="72" y="328"/>
                    </a:cubicBezTo>
                    <a:cubicBezTo>
                      <a:pt x="66" y="333"/>
                      <a:pt x="56" y="353"/>
                      <a:pt x="56" y="353"/>
                    </a:cubicBezTo>
                    <a:cubicBezTo>
                      <a:pt x="13" y="390"/>
                      <a:pt x="13" y="390"/>
                      <a:pt x="13" y="390"/>
                    </a:cubicBezTo>
                    <a:cubicBezTo>
                      <a:pt x="13" y="390"/>
                      <a:pt x="15" y="422"/>
                      <a:pt x="13" y="428"/>
                    </a:cubicBezTo>
                    <a:cubicBezTo>
                      <a:pt x="11" y="434"/>
                      <a:pt x="4" y="449"/>
                      <a:pt x="4" y="449"/>
                    </a:cubicBezTo>
                    <a:cubicBezTo>
                      <a:pt x="4" y="449"/>
                      <a:pt x="4" y="449"/>
                      <a:pt x="4" y="449"/>
                    </a:cubicBezTo>
                    <a:cubicBezTo>
                      <a:pt x="0" y="458"/>
                      <a:pt x="0" y="458"/>
                      <a:pt x="0" y="458"/>
                    </a:cubicBezTo>
                    <a:cubicBezTo>
                      <a:pt x="18" y="455"/>
                      <a:pt x="18" y="455"/>
                      <a:pt x="18" y="455"/>
                    </a:cubicBezTo>
                    <a:cubicBezTo>
                      <a:pt x="18" y="455"/>
                      <a:pt x="17" y="477"/>
                      <a:pt x="27" y="486"/>
                    </a:cubicBezTo>
                    <a:cubicBezTo>
                      <a:pt x="37" y="495"/>
                      <a:pt x="44" y="497"/>
                      <a:pt x="44" y="497"/>
                    </a:cubicBezTo>
                    <a:cubicBezTo>
                      <a:pt x="58" y="484"/>
                      <a:pt x="58" y="484"/>
                      <a:pt x="58" y="484"/>
                    </a:cubicBezTo>
                    <a:cubicBezTo>
                      <a:pt x="45" y="504"/>
                      <a:pt x="45" y="504"/>
                      <a:pt x="45" y="504"/>
                    </a:cubicBezTo>
                    <a:cubicBezTo>
                      <a:pt x="57" y="522"/>
                      <a:pt x="57" y="522"/>
                      <a:pt x="57" y="522"/>
                    </a:cubicBezTo>
                    <a:cubicBezTo>
                      <a:pt x="70" y="527"/>
                      <a:pt x="70" y="527"/>
                      <a:pt x="70" y="527"/>
                    </a:cubicBezTo>
                    <a:cubicBezTo>
                      <a:pt x="68" y="557"/>
                      <a:pt x="68" y="557"/>
                      <a:pt x="68" y="557"/>
                    </a:cubicBezTo>
                    <a:cubicBezTo>
                      <a:pt x="61" y="559"/>
                      <a:pt x="61" y="559"/>
                      <a:pt x="61" y="559"/>
                    </a:cubicBezTo>
                    <a:cubicBezTo>
                      <a:pt x="62" y="580"/>
                      <a:pt x="62" y="580"/>
                      <a:pt x="62" y="580"/>
                    </a:cubicBezTo>
                    <a:cubicBezTo>
                      <a:pt x="68" y="586"/>
                      <a:pt x="68" y="586"/>
                      <a:pt x="68" y="586"/>
                    </a:cubicBezTo>
                    <a:cubicBezTo>
                      <a:pt x="132" y="586"/>
                      <a:pt x="132" y="586"/>
                      <a:pt x="132" y="586"/>
                    </a:cubicBezTo>
                    <a:cubicBezTo>
                      <a:pt x="144" y="576"/>
                      <a:pt x="144" y="576"/>
                      <a:pt x="144" y="576"/>
                    </a:cubicBezTo>
                    <a:cubicBezTo>
                      <a:pt x="154" y="585"/>
                      <a:pt x="154" y="585"/>
                      <a:pt x="154" y="585"/>
                    </a:cubicBezTo>
                    <a:cubicBezTo>
                      <a:pt x="175" y="585"/>
                      <a:pt x="175" y="585"/>
                      <a:pt x="175" y="585"/>
                    </a:cubicBezTo>
                    <a:cubicBezTo>
                      <a:pt x="175" y="585"/>
                      <a:pt x="180" y="577"/>
                      <a:pt x="184" y="577"/>
                    </a:cubicBezTo>
                    <a:cubicBezTo>
                      <a:pt x="188" y="577"/>
                      <a:pt x="195" y="581"/>
                      <a:pt x="195" y="581"/>
                    </a:cubicBezTo>
                    <a:cubicBezTo>
                      <a:pt x="227" y="580"/>
                      <a:pt x="227" y="580"/>
                      <a:pt x="227" y="580"/>
                    </a:cubicBezTo>
                    <a:cubicBezTo>
                      <a:pt x="227" y="590"/>
                      <a:pt x="227" y="590"/>
                      <a:pt x="227" y="590"/>
                    </a:cubicBezTo>
                    <a:cubicBezTo>
                      <a:pt x="227" y="590"/>
                      <a:pt x="282" y="587"/>
                      <a:pt x="287" y="587"/>
                    </a:cubicBezTo>
                    <a:cubicBezTo>
                      <a:pt x="292" y="587"/>
                      <a:pt x="320" y="600"/>
                      <a:pt x="320" y="600"/>
                    </a:cubicBezTo>
                    <a:cubicBezTo>
                      <a:pt x="340" y="599"/>
                      <a:pt x="340" y="599"/>
                      <a:pt x="340" y="599"/>
                    </a:cubicBezTo>
                    <a:cubicBezTo>
                      <a:pt x="358" y="614"/>
                      <a:pt x="358" y="614"/>
                      <a:pt x="358" y="614"/>
                    </a:cubicBezTo>
                    <a:cubicBezTo>
                      <a:pt x="359" y="587"/>
                      <a:pt x="359" y="587"/>
                      <a:pt x="359" y="587"/>
                    </a:cubicBezTo>
                    <a:cubicBezTo>
                      <a:pt x="363" y="581"/>
                      <a:pt x="363" y="581"/>
                      <a:pt x="363" y="581"/>
                    </a:cubicBezTo>
                    <a:cubicBezTo>
                      <a:pt x="358" y="575"/>
                      <a:pt x="358" y="575"/>
                      <a:pt x="358" y="575"/>
                    </a:cubicBezTo>
                    <a:cubicBezTo>
                      <a:pt x="358" y="556"/>
                      <a:pt x="358" y="556"/>
                      <a:pt x="358" y="556"/>
                    </a:cubicBezTo>
                    <a:cubicBezTo>
                      <a:pt x="354" y="542"/>
                      <a:pt x="354" y="542"/>
                      <a:pt x="354" y="542"/>
                    </a:cubicBezTo>
                    <a:cubicBezTo>
                      <a:pt x="354" y="542"/>
                      <a:pt x="342" y="534"/>
                      <a:pt x="332" y="526"/>
                    </a:cubicBezTo>
                    <a:cubicBezTo>
                      <a:pt x="322" y="518"/>
                      <a:pt x="311" y="495"/>
                      <a:pt x="311" y="495"/>
                    </a:cubicBezTo>
                    <a:cubicBezTo>
                      <a:pt x="311" y="495"/>
                      <a:pt x="315" y="475"/>
                      <a:pt x="313" y="472"/>
                    </a:cubicBezTo>
                    <a:cubicBezTo>
                      <a:pt x="311" y="469"/>
                      <a:pt x="294" y="458"/>
                      <a:pt x="294" y="458"/>
                    </a:cubicBezTo>
                    <a:cubicBezTo>
                      <a:pt x="294" y="427"/>
                      <a:pt x="294" y="427"/>
                      <a:pt x="294" y="427"/>
                    </a:cubicBezTo>
                    <a:cubicBezTo>
                      <a:pt x="282" y="420"/>
                      <a:pt x="282" y="420"/>
                      <a:pt x="282" y="420"/>
                    </a:cubicBezTo>
                    <a:cubicBezTo>
                      <a:pt x="289" y="412"/>
                      <a:pt x="289" y="412"/>
                      <a:pt x="289" y="412"/>
                    </a:cubicBezTo>
                    <a:cubicBezTo>
                      <a:pt x="290" y="387"/>
                      <a:pt x="290" y="387"/>
                      <a:pt x="290" y="387"/>
                    </a:cubicBezTo>
                    <a:cubicBezTo>
                      <a:pt x="290" y="387"/>
                      <a:pt x="275" y="386"/>
                      <a:pt x="276" y="378"/>
                    </a:cubicBezTo>
                    <a:cubicBezTo>
                      <a:pt x="277" y="370"/>
                      <a:pt x="299" y="363"/>
                      <a:pt x="299" y="363"/>
                    </a:cubicBezTo>
                    <a:cubicBezTo>
                      <a:pt x="304" y="338"/>
                      <a:pt x="304" y="338"/>
                      <a:pt x="304" y="338"/>
                    </a:cubicBezTo>
                    <a:cubicBezTo>
                      <a:pt x="310" y="338"/>
                      <a:pt x="310" y="338"/>
                      <a:pt x="310" y="338"/>
                    </a:cubicBezTo>
                    <a:cubicBezTo>
                      <a:pt x="310" y="338"/>
                      <a:pt x="311" y="326"/>
                      <a:pt x="312" y="318"/>
                    </a:cubicBezTo>
                    <a:cubicBezTo>
                      <a:pt x="313" y="310"/>
                      <a:pt x="331" y="300"/>
                      <a:pt x="331" y="300"/>
                    </a:cubicBezTo>
                    <a:cubicBezTo>
                      <a:pt x="331" y="300"/>
                      <a:pt x="326" y="253"/>
                      <a:pt x="317" y="243"/>
                    </a:cubicBezTo>
                    <a:cubicBezTo>
                      <a:pt x="308" y="233"/>
                      <a:pt x="287" y="224"/>
                      <a:pt x="279" y="216"/>
                    </a:cubicBezTo>
                    <a:cubicBezTo>
                      <a:pt x="271" y="208"/>
                      <a:pt x="256" y="187"/>
                      <a:pt x="261" y="174"/>
                    </a:cubicBezTo>
                    <a:cubicBezTo>
                      <a:pt x="266" y="161"/>
                      <a:pt x="306" y="168"/>
                      <a:pt x="314" y="167"/>
                    </a:cubicBezTo>
                    <a:cubicBezTo>
                      <a:pt x="322" y="166"/>
                      <a:pt x="336" y="165"/>
                      <a:pt x="336" y="165"/>
                    </a:cubicBezTo>
                    <a:cubicBezTo>
                      <a:pt x="336" y="165"/>
                      <a:pt x="315" y="147"/>
                      <a:pt x="310" y="133"/>
                    </a:cubicBezTo>
                    <a:cubicBezTo>
                      <a:pt x="305" y="119"/>
                      <a:pt x="304" y="91"/>
                      <a:pt x="304" y="91"/>
                    </a:cubicBezTo>
                    <a:cubicBezTo>
                      <a:pt x="304" y="91"/>
                      <a:pt x="310" y="81"/>
                      <a:pt x="310" y="70"/>
                    </a:cubicBezTo>
                    <a:cubicBezTo>
                      <a:pt x="310" y="59"/>
                      <a:pt x="296" y="52"/>
                      <a:pt x="296" y="52"/>
                    </a:cubicBezTo>
                    <a:cubicBezTo>
                      <a:pt x="300" y="25"/>
                      <a:pt x="300" y="25"/>
                      <a:pt x="300" y="25"/>
                    </a:cubicBezTo>
                    <a:cubicBezTo>
                      <a:pt x="300" y="25"/>
                      <a:pt x="284" y="22"/>
                      <a:pt x="280" y="17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Freeform 293">
                <a:extLst>
                  <a:ext uri="{FF2B5EF4-FFF2-40B4-BE49-F238E27FC236}">
                    <a16:creationId xmlns:a16="http://schemas.microsoft.com/office/drawing/2014/main" id="{CE3BF8AA-F31A-2405-D274-F766C20EA6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855" y="-14529"/>
                <a:ext cx="1335" cy="1034"/>
              </a:xfrm>
              <a:custGeom>
                <a:avLst/>
                <a:gdLst>
                  <a:gd name="T0" fmla="*/ 547 w 565"/>
                  <a:gd name="T1" fmla="*/ 165 h 438"/>
                  <a:gd name="T2" fmla="*/ 550 w 565"/>
                  <a:gd name="T3" fmla="*/ 145 h 438"/>
                  <a:gd name="T4" fmla="*/ 536 w 565"/>
                  <a:gd name="T5" fmla="*/ 145 h 438"/>
                  <a:gd name="T6" fmla="*/ 543 w 565"/>
                  <a:gd name="T7" fmla="*/ 124 h 438"/>
                  <a:gd name="T8" fmla="*/ 537 w 565"/>
                  <a:gd name="T9" fmla="*/ 113 h 438"/>
                  <a:gd name="T10" fmla="*/ 540 w 565"/>
                  <a:gd name="T11" fmla="*/ 68 h 438"/>
                  <a:gd name="T12" fmla="*/ 532 w 565"/>
                  <a:gd name="T13" fmla="*/ 68 h 438"/>
                  <a:gd name="T14" fmla="*/ 536 w 565"/>
                  <a:gd name="T15" fmla="*/ 56 h 438"/>
                  <a:gd name="T16" fmla="*/ 521 w 565"/>
                  <a:gd name="T17" fmla="*/ 39 h 438"/>
                  <a:gd name="T18" fmla="*/ 487 w 565"/>
                  <a:gd name="T19" fmla="*/ 26 h 438"/>
                  <a:gd name="T20" fmla="*/ 470 w 565"/>
                  <a:gd name="T21" fmla="*/ 34 h 438"/>
                  <a:gd name="T22" fmla="*/ 439 w 565"/>
                  <a:gd name="T23" fmla="*/ 29 h 438"/>
                  <a:gd name="T24" fmla="*/ 408 w 565"/>
                  <a:gd name="T25" fmla="*/ 33 h 438"/>
                  <a:gd name="T26" fmla="*/ 374 w 565"/>
                  <a:gd name="T27" fmla="*/ 2 h 438"/>
                  <a:gd name="T28" fmla="*/ 354 w 565"/>
                  <a:gd name="T29" fmla="*/ 0 h 438"/>
                  <a:gd name="T30" fmla="*/ 337 w 565"/>
                  <a:gd name="T31" fmla="*/ 48 h 438"/>
                  <a:gd name="T32" fmla="*/ 300 w 565"/>
                  <a:gd name="T33" fmla="*/ 107 h 438"/>
                  <a:gd name="T34" fmla="*/ 267 w 565"/>
                  <a:gd name="T35" fmla="*/ 116 h 438"/>
                  <a:gd name="T36" fmla="*/ 251 w 565"/>
                  <a:gd name="T37" fmla="*/ 131 h 438"/>
                  <a:gd name="T38" fmla="*/ 239 w 565"/>
                  <a:gd name="T39" fmla="*/ 128 h 438"/>
                  <a:gd name="T40" fmla="*/ 222 w 565"/>
                  <a:gd name="T41" fmla="*/ 137 h 438"/>
                  <a:gd name="T42" fmla="*/ 211 w 565"/>
                  <a:gd name="T43" fmla="*/ 158 h 438"/>
                  <a:gd name="T44" fmla="*/ 191 w 565"/>
                  <a:gd name="T45" fmla="*/ 174 h 438"/>
                  <a:gd name="T46" fmla="*/ 188 w 565"/>
                  <a:gd name="T47" fmla="*/ 199 h 438"/>
                  <a:gd name="T48" fmla="*/ 165 w 565"/>
                  <a:gd name="T49" fmla="*/ 244 h 438"/>
                  <a:gd name="T50" fmla="*/ 166 w 565"/>
                  <a:gd name="T51" fmla="*/ 269 h 438"/>
                  <a:gd name="T52" fmla="*/ 158 w 565"/>
                  <a:gd name="T53" fmla="*/ 276 h 438"/>
                  <a:gd name="T54" fmla="*/ 170 w 565"/>
                  <a:gd name="T55" fmla="*/ 292 h 438"/>
                  <a:gd name="T56" fmla="*/ 169 w 565"/>
                  <a:gd name="T57" fmla="*/ 316 h 438"/>
                  <a:gd name="T58" fmla="*/ 154 w 565"/>
                  <a:gd name="T59" fmla="*/ 321 h 438"/>
                  <a:gd name="T60" fmla="*/ 130 w 565"/>
                  <a:gd name="T61" fmla="*/ 359 h 438"/>
                  <a:gd name="T62" fmla="*/ 101 w 565"/>
                  <a:gd name="T63" fmla="*/ 376 h 438"/>
                  <a:gd name="T64" fmla="*/ 80 w 565"/>
                  <a:gd name="T65" fmla="*/ 404 h 438"/>
                  <a:gd name="T66" fmla="*/ 32 w 565"/>
                  <a:gd name="T67" fmla="*/ 421 h 438"/>
                  <a:gd name="T68" fmla="*/ 9 w 565"/>
                  <a:gd name="T69" fmla="*/ 423 h 438"/>
                  <a:gd name="T70" fmla="*/ 0 w 565"/>
                  <a:gd name="T71" fmla="*/ 438 h 438"/>
                  <a:gd name="T72" fmla="*/ 207 w 565"/>
                  <a:gd name="T73" fmla="*/ 438 h 438"/>
                  <a:gd name="T74" fmla="*/ 209 w 565"/>
                  <a:gd name="T75" fmla="*/ 399 h 438"/>
                  <a:gd name="T76" fmla="*/ 212 w 565"/>
                  <a:gd name="T77" fmla="*/ 381 h 438"/>
                  <a:gd name="T78" fmla="*/ 232 w 565"/>
                  <a:gd name="T79" fmla="*/ 369 h 438"/>
                  <a:gd name="T80" fmla="*/ 253 w 565"/>
                  <a:gd name="T81" fmla="*/ 344 h 438"/>
                  <a:gd name="T82" fmla="*/ 265 w 565"/>
                  <a:gd name="T83" fmla="*/ 345 h 438"/>
                  <a:gd name="T84" fmla="*/ 283 w 565"/>
                  <a:gd name="T85" fmla="*/ 331 h 438"/>
                  <a:gd name="T86" fmla="*/ 302 w 565"/>
                  <a:gd name="T87" fmla="*/ 339 h 438"/>
                  <a:gd name="T88" fmla="*/ 308 w 565"/>
                  <a:gd name="T89" fmla="*/ 326 h 438"/>
                  <a:gd name="T90" fmla="*/ 326 w 565"/>
                  <a:gd name="T91" fmla="*/ 325 h 438"/>
                  <a:gd name="T92" fmla="*/ 327 w 565"/>
                  <a:gd name="T93" fmla="*/ 317 h 438"/>
                  <a:gd name="T94" fmla="*/ 361 w 565"/>
                  <a:gd name="T95" fmla="*/ 318 h 438"/>
                  <a:gd name="T96" fmla="*/ 384 w 565"/>
                  <a:gd name="T97" fmla="*/ 284 h 438"/>
                  <a:gd name="T98" fmla="*/ 414 w 565"/>
                  <a:gd name="T99" fmla="*/ 283 h 438"/>
                  <a:gd name="T100" fmla="*/ 432 w 565"/>
                  <a:gd name="T101" fmla="*/ 264 h 438"/>
                  <a:gd name="T102" fmla="*/ 449 w 565"/>
                  <a:gd name="T103" fmla="*/ 257 h 438"/>
                  <a:gd name="T104" fmla="*/ 439 w 565"/>
                  <a:gd name="T105" fmla="*/ 245 h 438"/>
                  <a:gd name="T106" fmla="*/ 438 w 565"/>
                  <a:gd name="T107" fmla="*/ 221 h 438"/>
                  <a:gd name="T108" fmla="*/ 475 w 565"/>
                  <a:gd name="T109" fmla="*/ 215 h 438"/>
                  <a:gd name="T110" fmla="*/ 480 w 565"/>
                  <a:gd name="T111" fmla="*/ 200 h 438"/>
                  <a:gd name="T112" fmla="*/ 493 w 565"/>
                  <a:gd name="T113" fmla="*/ 202 h 438"/>
                  <a:gd name="T114" fmla="*/ 501 w 565"/>
                  <a:gd name="T115" fmla="*/ 195 h 438"/>
                  <a:gd name="T116" fmla="*/ 515 w 565"/>
                  <a:gd name="T117" fmla="*/ 201 h 438"/>
                  <a:gd name="T118" fmla="*/ 553 w 565"/>
                  <a:gd name="T119" fmla="*/ 196 h 438"/>
                  <a:gd name="T120" fmla="*/ 554 w 565"/>
                  <a:gd name="T121" fmla="*/ 186 h 438"/>
                  <a:gd name="T122" fmla="*/ 565 w 565"/>
                  <a:gd name="T123" fmla="*/ 177 h 438"/>
                  <a:gd name="T124" fmla="*/ 547 w 565"/>
                  <a:gd name="T125" fmla="*/ 165 h 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65" h="438">
                    <a:moveTo>
                      <a:pt x="547" y="165"/>
                    </a:moveTo>
                    <a:cubicBezTo>
                      <a:pt x="550" y="145"/>
                      <a:pt x="550" y="145"/>
                      <a:pt x="550" y="145"/>
                    </a:cubicBezTo>
                    <a:cubicBezTo>
                      <a:pt x="536" y="145"/>
                      <a:pt x="536" y="145"/>
                      <a:pt x="536" y="145"/>
                    </a:cubicBezTo>
                    <a:cubicBezTo>
                      <a:pt x="543" y="124"/>
                      <a:pt x="543" y="124"/>
                      <a:pt x="543" y="124"/>
                    </a:cubicBezTo>
                    <a:cubicBezTo>
                      <a:pt x="537" y="113"/>
                      <a:pt x="537" y="113"/>
                      <a:pt x="537" y="113"/>
                    </a:cubicBezTo>
                    <a:cubicBezTo>
                      <a:pt x="540" y="68"/>
                      <a:pt x="540" y="68"/>
                      <a:pt x="540" y="68"/>
                    </a:cubicBezTo>
                    <a:cubicBezTo>
                      <a:pt x="532" y="68"/>
                      <a:pt x="532" y="68"/>
                      <a:pt x="532" y="68"/>
                    </a:cubicBezTo>
                    <a:cubicBezTo>
                      <a:pt x="532" y="68"/>
                      <a:pt x="536" y="57"/>
                      <a:pt x="536" y="56"/>
                    </a:cubicBezTo>
                    <a:cubicBezTo>
                      <a:pt x="526" y="52"/>
                      <a:pt x="522" y="43"/>
                      <a:pt x="521" y="39"/>
                    </a:cubicBezTo>
                    <a:cubicBezTo>
                      <a:pt x="508" y="36"/>
                      <a:pt x="496" y="26"/>
                      <a:pt x="487" y="26"/>
                    </a:cubicBezTo>
                    <a:cubicBezTo>
                      <a:pt x="477" y="26"/>
                      <a:pt x="470" y="34"/>
                      <a:pt x="470" y="34"/>
                    </a:cubicBezTo>
                    <a:cubicBezTo>
                      <a:pt x="470" y="34"/>
                      <a:pt x="447" y="29"/>
                      <a:pt x="439" y="29"/>
                    </a:cubicBezTo>
                    <a:cubicBezTo>
                      <a:pt x="431" y="29"/>
                      <a:pt x="423" y="38"/>
                      <a:pt x="408" y="33"/>
                    </a:cubicBezTo>
                    <a:cubicBezTo>
                      <a:pt x="393" y="28"/>
                      <a:pt x="378" y="4"/>
                      <a:pt x="374" y="2"/>
                    </a:cubicBezTo>
                    <a:cubicBezTo>
                      <a:pt x="370" y="0"/>
                      <a:pt x="354" y="0"/>
                      <a:pt x="354" y="0"/>
                    </a:cubicBezTo>
                    <a:cubicBezTo>
                      <a:pt x="354" y="0"/>
                      <a:pt x="343" y="35"/>
                      <a:pt x="337" y="48"/>
                    </a:cubicBezTo>
                    <a:cubicBezTo>
                      <a:pt x="331" y="61"/>
                      <a:pt x="312" y="98"/>
                      <a:pt x="300" y="107"/>
                    </a:cubicBezTo>
                    <a:cubicBezTo>
                      <a:pt x="288" y="116"/>
                      <a:pt x="272" y="112"/>
                      <a:pt x="267" y="116"/>
                    </a:cubicBezTo>
                    <a:cubicBezTo>
                      <a:pt x="262" y="120"/>
                      <a:pt x="251" y="131"/>
                      <a:pt x="251" y="131"/>
                    </a:cubicBezTo>
                    <a:cubicBezTo>
                      <a:pt x="239" y="128"/>
                      <a:pt x="239" y="128"/>
                      <a:pt x="239" y="128"/>
                    </a:cubicBezTo>
                    <a:cubicBezTo>
                      <a:pt x="222" y="137"/>
                      <a:pt x="222" y="137"/>
                      <a:pt x="222" y="137"/>
                    </a:cubicBezTo>
                    <a:cubicBezTo>
                      <a:pt x="222" y="137"/>
                      <a:pt x="217" y="150"/>
                      <a:pt x="211" y="158"/>
                    </a:cubicBezTo>
                    <a:cubicBezTo>
                      <a:pt x="211" y="158"/>
                      <a:pt x="191" y="170"/>
                      <a:pt x="191" y="174"/>
                    </a:cubicBezTo>
                    <a:cubicBezTo>
                      <a:pt x="191" y="178"/>
                      <a:pt x="195" y="192"/>
                      <a:pt x="188" y="199"/>
                    </a:cubicBezTo>
                    <a:cubicBezTo>
                      <a:pt x="181" y="206"/>
                      <a:pt x="164" y="230"/>
                      <a:pt x="165" y="244"/>
                    </a:cubicBezTo>
                    <a:cubicBezTo>
                      <a:pt x="166" y="258"/>
                      <a:pt x="166" y="269"/>
                      <a:pt x="166" y="269"/>
                    </a:cubicBezTo>
                    <a:cubicBezTo>
                      <a:pt x="166" y="269"/>
                      <a:pt x="158" y="273"/>
                      <a:pt x="158" y="276"/>
                    </a:cubicBezTo>
                    <a:cubicBezTo>
                      <a:pt x="158" y="279"/>
                      <a:pt x="173" y="277"/>
                      <a:pt x="170" y="292"/>
                    </a:cubicBezTo>
                    <a:cubicBezTo>
                      <a:pt x="167" y="307"/>
                      <a:pt x="169" y="316"/>
                      <a:pt x="169" y="316"/>
                    </a:cubicBezTo>
                    <a:cubicBezTo>
                      <a:pt x="169" y="316"/>
                      <a:pt x="163" y="310"/>
                      <a:pt x="154" y="321"/>
                    </a:cubicBezTo>
                    <a:cubicBezTo>
                      <a:pt x="145" y="332"/>
                      <a:pt x="138" y="348"/>
                      <a:pt x="130" y="359"/>
                    </a:cubicBezTo>
                    <a:cubicBezTo>
                      <a:pt x="122" y="370"/>
                      <a:pt x="108" y="366"/>
                      <a:pt x="101" y="376"/>
                    </a:cubicBezTo>
                    <a:cubicBezTo>
                      <a:pt x="94" y="386"/>
                      <a:pt x="86" y="398"/>
                      <a:pt x="80" y="404"/>
                    </a:cubicBezTo>
                    <a:cubicBezTo>
                      <a:pt x="74" y="410"/>
                      <a:pt x="36" y="420"/>
                      <a:pt x="32" y="421"/>
                    </a:cubicBezTo>
                    <a:cubicBezTo>
                      <a:pt x="28" y="422"/>
                      <a:pt x="9" y="423"/>
                      <a:pt x="9" y="423"/>
                    </a:cubicBezTo>
                    <a:cubicBezTo>
                      <a:pt x="9" y="423"/>
                      <a:pt x="4" y="429"/>
                      <a:pt x="0" y="438"/>
                    </a:cubicBezTo>
                    <a:cubicBezTo>
                      <a:pt x="207" y="438"/>
                      <a:pt x="207" y="438"/>
                      <a:pt x="207" y="438"/>
                    </a:cubicBezTo>
                    <a:cubicBezTo>
                      <a:pt x="209" y="399"/>
                      <a:pt x="209" y="399"/>
                      <a:pt x="209" y="399"/>
                    </a:cubicBezTo>
                    <a:cubicBezTo>
                      <a:pt x="212" y="381"/>
                      <a:pt x="212" y="381"/>
                      <a:pt x="212" y="381"/>
                    </a:cubicBezTo>
                    <a:cubicBezTo>
                      <a:pt x="212" y="381"/>
                      <a:pt x="225" y="374"/>
                      <a:pt x="232" y="369"/>
                    </a:cubicBezTo>
                    <a:cubicBezTo>
                      <a:pt x="239" y="364"/>
                      <a:pt x="253" y="344"/>
                      <a:pt x="253" y="344"/>
                    </a:cubicBezTo>
                    <a:cubicBezTo>
                      <a:pt x="265" y="345"/>
                      <a:pt x="265" y="345"/>
                      <a:pt x="265" y="345"/>
                    </a:cubicBezTo>
                    <a:cubicBezTo>
                      <a:pt x="283" y="331"/>
                      <a:pt x="283" y="331"/>
                      <a:pt x="283" y="331"/>
                    </a:cubicBezTo>
                    <a:cubicBezTo>
                      <a:pt x="283" y="331"/>
                      <a:pt x="296" y="340"/>
                      <a:pt x="302" y="339"/>
                    </a:cubicBezTo>
                    <a:cubicBezTo>
                      <a:pt x="308" y="338"/>
                      <a:pt x="308" y="326"/>
                      <a:pt x="308" y="326"/>
                    </a:cubicBezTo>
                    <a:cubicBezTo>
                      <a:pt x="326" y="325"/>
                      <a:pt x="326" y="325"/>
                      <a:pt x="326" y="325"/>
                    </a:cubicBezTo>
                    <a:cubicBezTo>
                      <a:pt x="327" y="317"/>
                      <a:pt x="327" y="317"/>
                      <a:pt x="327" y="317"/>
                    </a:cubicBezTo>
                    <a:cubicBezTo>
                      <a:pt x="327" y="317"/>
                      <a:pt x="353" y="321"/>
                      <a:pt x="361" y="318"/>
                    </a:cubicBezTo>
                    <a:cubicBezTo>
                      <a:pt x="369" y="315"/>
                      <a:pt x="384" y="284"/>
                      <a:pt x="384" y="284"/>
                    </a:cubicBezTo>
                    <a:cubicBezTo>
                      <a:pt x="384" y="284"/>
                      <a:pt x="408" y="283"/>
                      <a:pt x="414" y="283"/>
                    </a:cubicBezTo>
                    <a:cubicBezTo>
                      <a:pt x="420" y="283"/>
                      <a:pt x="432" y="264"/>
                      <a:pt x="432" y="264"/>
                    </a:cubicBezTo>
                    <a:cubicBezTo>
                      <a:pt x="449" y="257"/>
                      <a:pt x="449" y="257"/>
                      <a:pt x="449" y="257"/>
                    </a:cubicBezTo>
                    <a:cubicBezTo>
                      <a:pt x="439" y="245"/>
                      <a:pt x="439" y="245"/>
                      <a:pt x="439" y="245"/>
                    </a:cubicBezTo>
                    <a:cubicBezTo>
                      <a:pt x="439" y="245"/>
                      <a:pt x="430" y="228"/>
                      <a:pt x="438" y="221"/>
                    </a:cubicBezTo>
                    <a:cubicBezTo>
                      <a:pt x="446" y="214"/>
                      <a:pt x="468" y="220"/>
                      <a:pt x="475" y="215"/>
                    </a:cubicBezTo>
                    <a:cubicBezTo>
                      <a:pt x="482" y="210"/>
                      <a:pt x="475" y="203"/>
                      <a:pt x="480" y="200"/>
                    </a:cubicBezTo>
                    <a:cubicBezTo>
                      <a:pt x="485" y="197"/>
                      <a:pt x="493" y="202"/>
                      <a:pt x="493" y="202"/>
                    </a:cubicBezTo>
                    <a:cubicBezTo>
                      <a:pt x="493" y="202"/>
                      <a:pt x="497" y="195"/>
                      <a:pt x="501" y="195"/>
                    </a:cubicBezTo>
                    <a:cubicBezTo>
                      <a:pt x="505" y="195"/>
                      <a:pt x="515" y="201"/>
                      <a:pt x="515" y="201"/>
                    </a:cubicBezTo>
                    <a:cubicBezTo>
                      <a:pt x="553" y="196"/>
                      <a:pt x="553" y="196"/>
                      <a:pt x="553" y="196"/>
                    </a:cubicBezTo>
                    <a:cubicBezTo>
                      <a:pt x="553" y="196"/>
                      <a:pt x="552" y="189"/>
                      <a:pt x="554" y="186"/>
                    </a:cubicBezTo>
                    <a:cubicBezTo>
                      <a:pt x="556" y="183"/>
                      <a:pt x="565" y="177"/>
                      <a:pt x="565" y="177"/>
                    </a:cubicBezTo>
                    <a:lnTo>
                      <a:pt x="547" y="165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7" name="Freeform 294">
                <a:extLst>
                  <a:ext uri="{FF2B5EF4-FFF2-40B4-BE49-F238E27FC236}">
                    <a16:creationId xmlns:a16="http://schemas.microsoft.com/office/drawing/2014/main" id="{1CB7287D-87DF-E726-32F4-F171CB9D7D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601" y="-14735"/>
                <a:ext cx="441" cy="914"/>
              </a:xfrm>
              <a:custGeom>
                <a:avLst/>
                <a:gdLst>
                  <a:gd name="T0" fmla="*/ 25 w 187"/>
                  <a:gd name="T1" fmla="*/ 48 h 387"/>
                  <a:gd name="T2" fmla="*/ 38 w 187"/>
                  <a:gd name="T3" fmla="*/ 52 h 387"/>
                  <a:gd name="T4" fmla="*/ 33 w 187"/>
                  <a:gd name="T5" fmla="*/ 90 h 387"/>
                  <a:gd name="T6" fmla="*/ 38 w 187"/>
                  <a:gd name="T7" fmla="*/ 119 h 387"/>
                  <a:gd name="T8" fmla="*/ 30 w 187"/>
                  <a:gd name="T9" fmla="*/ 151 h 387"/>
                  <a:gd name="T10" fmla="*/ 16 w 187"/>
                  <a:gd name="T11" fmla="*/ 162 h 387"/>
                  <a:gd name="T12" fmla="*/ 0 w 187"/>
                  <a:gd name="T13" fmla="*/ 185 h 387"/>
                  <a:gd name="T14" fmla="*/ 0 w 187"/>
                  <a:gd name="T15" fmla="*/ 208 h 387"/>
                  <a:gd name="T16" fmla="*/ 7 w 187"/>
                  <a:gd name="T17" fmla="*/ 208 h 387"/>
                  <a:gd name="T18" fmla="*/ 7 w 187"/>
                  <a:gd name="T19" fmla="*/ 227 h 387"/>
                  <a:gd name="T20" fmla="*/ 34 w 187"/>
                  <a:gd name="T21" fmla="*/ 240 h 387"/>
                  <a:gd name="T22" fmla="*/ 35 w 187"/>
                  <a:gd name="T23" fmla="*/ 266 h 387"/>
                  <a:gd name="T24" fmla="*/ 67 w 187"/>
                  <a:gd name="T25" fmla="*/ 291 h 387"/>
                  <a:gd name="T26" fmla="*/ 88 w 187"/>
                  <a:gd name="T27" fmla="*/ 387 h 387"/>
                  <a:gd name="T28" fmla="*/ 104 w 187"/>
                  <a:gd name="T29" fmla="*/ 381 h 387"/>
                  <a:gd name="T30" fmla="*/ 123 w 187"/>
                  <a:gd name="T31" fmla="*/ 355 h 387"/>
                  <a:gd name="T32" fmla="*/ 114 w 187"/>
                  <a:gd name="T33" fmla="*/ 317 h 387"/>
                  <a:gd name="T34" fmla="*/ 129 w 187"/>
                  <a:gd name="T35" fmla="*/ 306 h 387"/>
                  <a:gd name="T36" fmla="*/ 148 w 187"/>
                  <a:gd name="T37" fmla="*/ 283 h 387"/>
                  <a:gd name="T38" fmla="*/ 183 w 187"/>
                  <a:gd name="T39" fmla="*/ 265 h 387"/>
                  <a:gd name="T40" fmla="*/ 172 w 187"/>
                  <a:gd name="T41" fmla="*/ 255 h 387"/>
                  <a:gd name="T42" fmla="*/ 175 w 187"/>
                  <a:gd name="T43" fmla="*/ 228 h 387"/>
                  <a:gd name="T44" fmla="*/ 167 w 187"/>
                  <a:gd name="T45" fmla="*/ 226 h 387"/>
                  <a:gd name="T46" fmla="*/ 160 w 187"/>
                  <a:gd name="T47" fmla="*/ 207 h 387"/>
                  <a:gd name="T48" fmla="*/ 150 w 187"/>
                  <a:gd name="T49" fmla="*/ 201 h 387"/>
                  <a:gd name="T50" fmla="*/ 148 w 187"/>
                  <a:gd name="T51" fmla="*/ 212 h 387"/>
                  <a:gd name="T52" fmla="*/ 142 w 187"/>
                  <a:gd name="T53" fmla="*/ 203 h 387"/>
                  <a:gd name="T54" fmla="*/ 111 w 187"/>
                  <a:gd name="T55" fmla="*/ 183 h 387"/>
                  <a:gd name="T56" fmla="*/ 132 w 187"/>
                  <a:gd name="T57" fmla="*/ 154 h 387"/>
                  <a:gd name="T58" fmla="*/ 156 w 187"/>
                  <a:gd name="T59" fmla="*/ 102 h 387"/>
                  <a:gd name="T60" fmla="*/ 132 w 187"/>
                  <a:gd name="T61" fmla="*/ 73 h 387"/>
                  <a:gd name="T62" fmla="*/ 145 w 187"/>
                  <a:gd name="T63" fmla="*/ 50 h 387"/>
                  <a:gd name="T64" fmla="*/ 156 w 187"/>
                  <a:gd name="T65" fmla="*/ 18 h 387"/>
                  <a:gd name="T66" fmla="*/ 125 w 187"/>
                  <a:gd name="T67" fmla="*/ 45 h 387"/>
                  <a:gd name="T68" fmla="*/ 108 w 187"/>
                  <a:gd name="T69" fmla="*/ 33 h 387"/>
                  <a:gd name="T70" fmla="*/ 110 w 187"/>
                  <a:gd name="T71" fmla="*/ 8 h 387"/>
                  <a:gd name="T72" fmla="*/ 60 w 187"/>
                  <a:gd name="T73" fmla="*/ 23 h 387"/>
                  <a:gd name="T74" fmla="*/ 53 w 187"/>
                  <a:gd name="T75" fmla="*/ 25 h 387"/>
                  <a:gd name="T76" fmla="*/ 53 w 187"/>
                  <a:gd name="T77" fmla="*/ 35 h 387"/>
                  <a:gd name="T78" fmla="*/ 25 w 187"/>
                  <a:gd name="T79" fmla="*/ 48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87" h="387">
                    <a:moveTo>
                      <a:pt x="25" y="48"/>
                    </a:move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52"/>
                      <a:pt x="29" y="83"/>
                      <a:pt x="33" y="90"/>
                    </a:cubicBezTo>
                    <a:cubicBezTo>
                      <a:pt x="37" y="97"/>
                      <a:pt x="39" y="109"/>
                      <a:pt x="38" y="119"/>
                    </a:cubicBezTo>
                    <a:cubicBezTo>
                      <a:pt x="37" y="129"/>
                      <a:pt x="30" y="151"/>
                      <a:pt x="30" y="151"/>
                    </a:cubicBezTo>
                    <a:cubicBezTo>
                      <a:pt x="16" y="162"/>
                      <a:pt x="16" y="162"/>
                      <a:pt x="16" y="162"/>
                    </a:cubicBezTo>
                    <a:cubicBezTo>
                      <a:pt x="16" y="162"/>
                      <a:pt x="0" y="175"/>
                      <a:pt x="0" y="185"/>
                    </a:cubicBezTo>
                    <a:cubicBezTo>
                      <a:pt x="0" y="195"/>
                      <a:pt x="0" y="208"/>
                      <a:pt x="0" y="208"/>
                    </a:cubicBezTo>
                    <a:cubicBezTo>
                      <a:pt x="7" y="208"/>
                      <a:pt x="7" y="208"/>
                      <a:pt x="7" y="208"/>
                    </a:cubicBezTo>
                    <a:cubicBezTo>
                      <a:pt x="7" y="227"/>
                      <a:pt x="7" y="227"/>
                      <a:pt x="7" y="227"/>
                    </a:cubicBezTo>
                    <a:cubicBezTo>
                      <a:pt x="7" y="227"/>
                      <a:pt x="33" y="232"/>
                      <a:pt x="34" y="240"/>
                    </a:cubicBezTo>
                    <a:cubicBezTo>
                      <a:pt x="35" y="248"/>
                      <a:pt x="35" y="266"/>
                      <a:pt x="35" y="266"/>
                    </a:cubicBezTo>
                    <a:cubicBezTo>
                      <a:pt x="35" y="266"/>
                      <a:pt x="67" y="278"/>
                      <a:pt x="67" y="291"/>
                    </a:cubicBezTo>
                    <a:cubicBezTo>
                      <a:pt x="67" y="302"/>
                      <a:pt x="82" y="364"/>
                      <a:pt x="88" y="387"/>
                    </a:cubicBezTo>
                    <a:cubicBezTo>
                      <a:pt x="95" y="384"/>
                      <a:pt x="104" y="381"/>
                      <a:pt x="104" y="381"/>
                    </a:cubicBezTo>
                    <a:cubicBezTo>
                      <a:pt x="104" y="381"/>
                      <a:pt x="124" y="367"/>
                      <a:pt x="123" y="355"/>
                    </a:cubicBezTo>
                    <a:cubicBezTo>
                      <a:pt x="122" y="343"/>
                      <a:pt x="112" y="323"/>
                      <a:pt x="114" y="317"/>
                    </a:cubicBezTo>
                    <a:cubicBezTo>
                      <a:pt x="116" y="311"/>
                      <a:pt x="129" y="306"/>
                      <a:pt x="129" y="306"/>
                    </a:cubicBezTo>
                    <a:cubicBezTo>
                      <a:pt x="129" y="306"/>
                      <a:pt x="142" y="289"/>
                      <a:pt x="148" y="283"/>
                    </a:cubicBezTo>
                    <a:cubicBezTo>
                      <a:pt x="154" y="277"/>
                      <a:pt x="179" y="273"/>
                      <a:pt x="183" y="265"/>
                    </a:cubicBezTo>
                    <a:cubicBezTo>
                      <a:pt x="187" y="257"/>
                      <a:pt x="172" y="255"/>
                      <a:pt x="172" y="255"/>
                    </a:cubicBezTo>
                    <a:cubicBezTo>
                      <a:pt x="175" y="228"/>
                      <a:pt x="175" y="228"/>
                      <a:pt x="175" y="228"/>
                    </a:cubicBezTo>
                    <a:cubicBezTo>
                      <a:pt x="170" y="227"/>
                      <a:pt x="167" y="226"/>
                      <a:pt x="167" y="226"/>
                    </a:cubicBezTo>
                    <a:cubicBezTo>
                      <a:pt x="160" y="207"/>
                      <a:pt x="160" y="207"/>
                      <a:pt x="160" y="207"/>
                    </a:cubicBezTo>
                    <a:cubicBezTo>
                      <a:pt x="150" y="201"/>
                      <a:pt x="150" y="201"/>
                      <a:pt x="150" y="201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142" y="203"/>
                      <a:pt x="142" y="203"/>
                      <a:pt x="142" y="203"/>
                    </a:cubicBezTo>
                    <a:cubicBezTo>
                      <a:pt x="142" y="203"/>
                      <a:pt x="111" y="202"/>
                      <a:pt x="111" y="183"/>
                    </a:cubicBezTo>
                    <a:cubicBezTo>
                      <a:pt x="111" y="164"/>
                      <a:pt x="109" y="174"/>
                      <a:pt x="132" y="154"/>
                    </a:cubicBezTo>
                    <a:cubicBezTo>
                      <a:pt x="155" y="134"/>
                      <a:pt x="169" y="118"/>
                      <a:pt x="156" y="102"/>
                    </a:cubicBezTo>
                    <a:cubicBezTo>
                      <a:pt x="143" y="86"/>
                      <a:pt x="128" y="89"/>
                      <a:pt x="132" y="73"/>
                    </a:cubicBezTo>
                    <a:cubicBezTo>
                      <a:pt x="136" y="57"/>
                      <a:pt x="135" y="59"/>
                      <a:pt x="145" y="50"/>
                    </a:cubicBezTo>
                    <a:cubicBezTo>
                      <a:pt x="155" y="41"/>
                      <a:pt x="163" y="19"/>
                      <a:pt x="156" y="18"/>
                    </a:cubicBezTo>
                    <a:cubicBezTo>
                      <a:pt x="149" y="17"/>
                      <a:pt x="130" y="43"/>
                      <a:pt x="125" y="45"/>
                    </a:cubicBezTo>
                    <a:cubicBezTo>
                      <a:pt x="120" y="47"/>
                      <a:pt x="108" y="33"/>
                      <a:pt x="108" y="33"/>
                    </a:cubicBezTo>
                    <a:cubicBezTo>
                      <a:pt x="108" y="33"/>
                      <a:pt x="127" y="16"/>
                      <a:pt x="110" y="8"/>
                    </a:cubicBezTo>
                    <a:cubicBezTo>
                      <a:pt x="93" y="0"/>
                      <a:pt x="66" y="19"/>
                      <a:pt x="60" y="23"/>
                    </a:cubicBezTo>
                    <a:cubicBezTo>
                      <a:pt x="58" y="24"/>
                      <a:pt x="56" y="25"/>
                      <a:pt x="53" y="25"/>
                    </a:cubicBezTo>
                    <a:cubicBezTo>
                      <a:pt x="53" y="35"/>
                      <a:pt x="53" y="35"/>
                      <a:pt x="53" y="35"/>
                    </a:cubicBezTo>
                    <a:lnTo>
                      <a:pt x="25" y="4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8" name="Freeform 295">
                <a:extLst>
                  <a:ext uri="{FF2B5EF4-FFF2-40B4-BE49-F238E27FC236}">
                    <a16:creationId xmlns:a16="http://schemas.microsoft.com/office/drawing/2014/main" id="{E68F1276-3246-477B-6B13-AE2455BAA7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830" y="-11395"/>
                <a:ext cx="504" cy="825"/>
              </a:xfrm>
              <a:custGeom>
                <a:avLst/>
                <a:gdLst>
                  <a:gd name="T0" fmla="*/ 185 w 213"/>
                  <a:gd name="T1" fmla="*/ 228 h 349"/>
                  <a:gd name="T2" fmla="*/ 190 w 213"/>
                  <a:gd name="T3" fmla="*/ 205 h 349"/>
                  <a:gd name="T4" fmla="*/ 182 w 213"/>
                  <a:gd name="T5" fmla="*/ 198 h 349"/>
                  <a:gd name="T6" fmla="*/ 185 w 213"/>
                  <a:gd name="T7" fmla="*/ 186 h 349"/>
                  <a:gd name="T8" fmla="*/ 187 w 213"/>
                  <a:gd name="T9" fmla="*/ 157 h 349"/>
                  <a:gd name="T10" fmla="*/ 191 w 213"/>
                  <a:gd name="T11" fmla="*/ 148 h 349"/>
                  <a:gd name="T12" fmla="*/ 173 w 213"/>
                  <a:gd name="T13" fmla="*/ 134 h 349"/>
                  <a:gd name="T14" fmla="*/ 185 w 213"/>
                  <a:gd name="T15" fmla="*/ 123 h 349"/>
                  <a:gd name="T16" fmla="*/ 178 w 213"/>
                  <a:gd name="T17" fmla="*/ 113 h 349"/>
                  <a:gd name="T18" fmla="*/ 182 w 213"/>
                  <a:gd name="T19" fmla="*/ 88 h 349"/>
                  <a:gd name="T20" fmla="*/ 166 w 213"/>
                  <a:gd name="T21" fmla="*/ 91 h 349"/>
                  <a:gd name="T22" fmla="*/ 174 w 213"/>
                  <a:gd name="T23" fmla="*/ 42 h 349"/>
                  <a:gd name="T24" fmla="*/ 152 w 213"/>
                  <a:gd name="T25" fmla="*/ 24 h 349"/>
                  <a:gd name="T26" fmla="*/ 159 w 213"/>
                  <a:gd name="T27" fmla="*/ 15 h 349"/>
                  <a:gd name="T28" fmla="*/ 159 w 213"/>
                  <a:gd name="T29" fmla="*/ 4 h 349"/>
                  <a:gd name="T30" fmla="*/ 145 w 213"/>
                  <a:gd name="T31" fmla="*/ 0 h 349"/>
                  <a:gd name="T32" fmla="*/ 129 w 213"/>
                  <a:gd name="T33" fmla="*/ 10 h 349"/>
                  <a:gd name="T34" fmla="*/ 109 w 213"/>
                  <a:gd name="T35" fmla="*/ 7 h 349"/>
                  <a:gd name="T36" fmla="*/ 98 w 213"/>
                  <a:gd name="T37" fmla="*/ 10 h 349"/>
                  <a:gd name="T38" fmla="*/ 86 w 213"/>
                  <a:gd name="T39" fmla="*/ 7 h 349"/>
                  <a:gd name="T40" fmla="*/ 81 w 213"/>
                  <a:gd name="T41" fmla="*/ 10 h 349"/>
                  <a:gd name="T42" fmla="*/ 26 w 213"/>
                  <a:gd name="T43" fmla="*/ 7 h 349"/>
                  <a:gd name="T44" fmla="*/ 18 w 213"/>
                  <a:gd name="T45" fmla="*/ 24 h 349"/>
                  <a:gd name="T46" fmla="*/ 24 w 213"/>
                  <a:gd name="T47" fmla="*/ 33 h 349"/>
                  <a:gd name="T48" fmla="*/ 25 w 213"/>
                  <a:gd name="T49" fmla="*/ 51 h 349"/>
                  <a:gd name="T50" fmla="*/ 26 w 213"/>
                  <a:gd name="T51" fmla="*/ 87 h 349"/>
                  <a:gd name="T52" fmla="*/ 30 w 213"/>
                  <a:gd name="T53" fmla="*/ 86 h 349"/>
                  <a:gd name="T54" fmla="*/ 34 w 213"/>
                  <a:gd name="T55" fmla="*/ 105 h 349"/>
                  <a:gd name="T56" fmla="*/ 26 w 213"/>
                  <a:gd name="T57" fmla="*/ 106 h 349"/>
                  <a:gd name="T58" fmla="*/ 38 w 213"/>
                  <a:gd name="T59" fmla="*/ 152 h 349"/>
                  <a:gd name="T60" fmla="*/ 21 w 213"/>
                  <a:gd name="T61" fmla="*/ 179 h 349"/>
                  <a:gd name="T62" fmla="*/ 20 w 213"/>
                  <a:gd name="T63" fmla="*/ 209 h 349"/>
                  <a:gd name="T64" fmla="*/ 0 w 213"/>
                  <a:gd name="T65" fmla="*/ 241 h 349"/>
                  <a:gd name="T66" fmla="*/ 13 w 213"/>
                  <a:gd name="T67" fmla="*/ 291 h 349"/>
                  <a:gd name="T68" fmla="*/ 31 w 213"/>
                  <a:gd name="T69" fmla="*/ 297 h 349"/>
                  <a:gd name="T70" fmla="*/ 32 w 213"/>
                  <a:gd name="T71" fmla="*/ 332 h 349"/>
                  <a:gd name="T72" fmla="*/ 47 w 213"/>
                  <a:gd name="T73" fmla="*/ 334 h 349"/>
                  <a:gd name="T74" fmla="*/ 61 w 213"/>
                  <a:gd name="T75" fmla="*/ 345 h 349"/>
                  <a:gd name="T76" fmla="*/ 99 w 213"/>
                  <a:gd name="T77" fmla="*/ 321 h 349"/>
                  <a:gd name="T78" fmla="*/ 117 w 213"/>
                  <a:gd name="T79" fmla="*/ 321 h 349"/>
                  <a:gd name="T80" fmla="*/ 141 w 213"/>
                  <a:gd name="T81" fmla="*/ 302 h 349"/>
                  <a:gd name="T82" fmla="*/ 159 w 213"/>
                  <a:gd name="T83" fmla="*/ 298 h 349"/>
                  <a:gd name="T84" fmla="*/ 173 w 213"/>
                  <a:gd name="T85" fmla="*/ 283 h 349"/>
                  <a:gd name="T86" fmla="*/ 196 w 213"/>
                  <a:gd name="T87" fmla="*/ 287 h 349"/>
                  <a:gd name="T88" fmla="*/ 213 w 213"/>
                  <a:gd name="T89" fmla="*/ 273 h 349"/>
                  <a:gd name="T90" fmla="*/ 193 w 213"/>
                  <a:gd name="T91" fmla="*/ 256 h 349"/>
                  <a:gd name="T92" fmla="*/ 185 w 213"/>
                  <a:gd name="T93" fmla="*/ 228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13" h="349">
                    <a:moveTo>
                      <a:pt x="185" y="228"/>
                    </a:moveTo>
                    <a:cubicBezTo>
                      <a:pt x="185" y="228"/>
                      <a:pt x="191" y="211"/>
                      <a:pt x="190" y="205"/>
                    </a:cubicBezTo>
                    <a:cubicBezTo>
                      <a:pt x="189" y="199"/>
                      <a:pt x="182" y="203"/>
                      <a:pt x="182" y="198"/>
                    </a:cubicBezTo>
                    <a:cubicBezTo>
                      <a:pt x="182" y="193"/>
                      <a:pt x="185" y="186"/>
                      <a:pt x="185" y="186"/>
                    </a:cubicBezTo>
                    <a:cubicBezTo>
                      <a:pt x="187" y="157"/>
                      <a:pt x="187" y="157"/>
                      <a:pt x="187" y="157"/>
                    </a:cubicBezTo>
                    <a:cubicBezTo>
                      <a:pt x="187" y="157"/>
                      <a:pt x="192" y="154"/>
                      <a:pt x="191" y="148"/>
                    </a:cubicBezTo>
                    <a:cubicBezTo>
                      <a:pt x="190" y="142"/>
                      <a:pt x="173" y="134"/>
                      <a:pt x="173" y="134"/>
                    </a:cubicBezTo>
                    <a:cubicBezTo>
                      <a:pt x="173" y="134"/>
                      <a:pt x="184" y="126"/>
                      <a:pt x="185" y="123"/>
                    </a:cubicBezTo>
                    <a:cubicBezTo>
                      <a:pt x="186" y="120"/>
                      <a:pt x="178" y="113"/>
                      <a:pt x="178" y="113"/>
                    </a:cubicBezTo>
                    <a:cubicBezTo>
                      <a:pt x="178" y="113"/>
                      <a:pt x="186" y="95"/>
                      <a:pt x="182" y="88"/>
                    </a:cubicBezTo>
                    <a:cubicBezTo>
                      <a:pt x="178" y="81"/>
                      <a:pt x="166" y="91"/>
                      <a:pt x="166" y="91"/>
                    </a:cubicBezTo>
                    <a:cubicBezTo>
                      <a:pt x="174" y="42"/>
                      <a:pt x="174" y="42"/>
                      <a:pt x="174" y="42"/>
                    </a:cubicBezTo>
                    <a:cubicBezTo>
                      <a:pt x="152" y="24"/>
                      <a:pt x="152" y="24"/>
                      <a:pt x="152" y="24"/>
                    </a:cubicBezTo>
                    <a:cubicBezTo>
                      <a:pt x="159" y="15"/>
                      <a:pt x="159" y="15"/>
                      <a:pt x="159" y="15"/>
                    </a:cubicBezTo>
                    <a:cubicBezTo>
                      <a:pt x="159" y="4"/>
                      <a:pt x="159" y="4"/>
                      <a:pt x="159" y="4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29" y="10"/>
                      <a:pt x="129" y="10"/>
                      <a:pt x="129" y="10"/>
                    </a:cubicBezTo>
                    <a:cubicBezTo>
                      <a:pt x="109" y="7"/>
                      <a:pt x="109" y="7"/>
                      <a:pt x="109" y="7"/>
                    </a:cubicBezTo>
                    <a:cubicBezTo>
                      <a:pt x="98" y="10"/>
                      <a:pt x="98" y="10"/>
                      <a:pt x="98" y="10"/>
                    </a:cubicBezTo>
                    <a:cubicBezTo>
                      <a:pt x="86" y="7"/>
                      <a:pt x="86" y="7"/>
                      <a:pt x="86" y="7"/>
                    </a:cubicBezTo>
                    <a:cubicBezTo>
                      <a:pt x="81" y="10"/>
                      <a:pt x="81" y="10"/>
                      <a:pt x="81" y="10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6" y="7"/>
                      <a:pt x="18" y="16"/>
                      <a:pt x="18" y="24"/>
                    </a:cubicBezTo>
                    <a:cubicBezTo>
                      <a:pt x="18" y="32"/>
                      <a:pt x="24" y="33"/>
                      <a:pt x="24" y="33"/>
                    </a:cubicBezTo>
                    <a:cubicBezTo>
                      <a:pt x="25" y="51"/>
                      <a:pt x="25" y="51"/>
                      <a:pt x="25" y="51"/>
                    </a:cubicBezTo>
                    <a:cubicBezTo>
                      <a:pt x="26" y="87"/>
                      <a:pt x="26" y="87"/>
                      <a:pt x="26" y="87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4" y="105"/>
                      <a:pt x="34" y="105"/>
                      <a:pt x="34" y="105"/>
                    </a:cubicBezTo>
                    <a:cubicBezTo>
                      <a:pt x="26" y="106"/>
                      <a:pt x="26" y="106"/>
                      <a:pt x="26" y="106"/>
                    </a:cubicBezTo>
                    <a:cubicBezTo>
                      <a:pt x="26" y="106"/>
                      <a:pt x="38" y="140"/>
                      <a:pt x="38" y="152"/>
                    </a:cubicBezTo>
                    <a:cubicBezTo>
                      <a:pt x="38" y="164"/>
                      <a:pt x="21" y="171"/>
                      <a:pt x="21" y="179"/>
                    </a:cubicBezTo>
                    <a:cubicBezTo>
                      <a:pt x="21" y="187"/>
                      <a:pt x="20" y="209"/>
                      <a:pt x="20" y="209"/>
                    </a:cubicBezTo>
                    <a:cubicBezTo>
                      <a:pt x="20" y="209"/>
                      <a:pt x="0" y="227"/>
                      <a:pt x="0" y="241"/>
                    </a:cubicBezTo>
                    <a:cubicBezTo>
                      <a:pt x="0" y="255"/>
                      <a:pt x="13" y="291"/>
                      <a:pt x="13" y="291"/>
                    </a:cubicBezTo>
                    <a:cubicBezTo>
                      <a:pt x="31" y="297"/>
                      <a:pt x="31" y="297"/>
                      <a:pt x="31" y="297"/>
                    </a:cubicBezTo>
                    <a:cubicBezTo>
                      <a:pt x="32" y="332"/>
                      <a:pt x="32" y="332"/>
                      <a:pt x="32" y="332"/>
                    </a:cubicBezTo>
                    <a:cubicBezTo>
                      <a:pt x="41" y="334"/>
                      <a:pt x="47" y="334"/>
                      <a:pt x="47" y="334"/>
                    </a:cubicBezTo>
                    <a:cubicBezTo>
                      <a:pt x="47" y="334"/>
                      <a:pt x="51" y="349"/>
                      <a:pt x="61" y="345"/>
                    </a:cubicBezTo>
                    <a:cubicBezTo>
                      <a:pt x="71" y="341"/>
                      <a:pt x="92" y="323"/>
                      <a:pt x="99" y="321"/>
                    </a:cubicBezTo>
                    <a:cubicBezTo>
                      <a:pt x="106" y="319"/>
                      <a:pt x="117" y="321"/>
                      <a:pt x="117" y="321"/>
                    </a:cubicBezTo>
                    <a:cubicBezTo>
                      <a:pt x="117" y="321"/>
                      <a:pt x="138" y="303"/>
                      <a:pt x="141" y="302"/>
                    </a:cubicBezTo>
                    <a:cubicBezTo>
                      <a:pt x="144" y="301"/>
                      <a:pt x="159" y="298"/>
                      <a:pt x="159" y="298"/>
                    </a:cubicBezTo>
                    <a:cubicBezTo>
                      <a:pt x="159" y="298"/>
                      <a:pt x="165" y="282"/>
                      <a:pt x="173" y="283"/>
                    </a:cubicBezTo>
                    <a:cubicBezTo>
                      <a:pt x="181" y="284"/>
                      <a:pt x="187" y="292"/>
                      <a:pt x="196" y="287"/>
                    </a:cubicBezTo>
                    <a:cubicBezTo>
                      <a:pt x="201" y="284"/>
                      <a:pt x="207" y="278"/>
                      <a:pt x="213" y="273"/>
                    </a:cubicBezTo>
                    <a:cubicBezTo>
                      <a:pt x="193" y="256"/>
                      <a:pt x="193" y="256"/>
                      <a:pt x="193" y="256"/>
                    </a:cubicBezTo>
                    <a:lnTo>
                      <a:pt x="185" y="22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Freeform 296">
                <a:extLst>
                  <a:ext uri="{FF2B5EF4-FFF2-40B4-BE49-F238E27FC236}">
                    <a16:creationId xmlns:a16="http://schemas.microsoft.com/office/drawing/2014/main" id="{A810E3DB-31C3-5EC3-12BE-D16B3084FF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471" y="-11388"/>
                <a:ext cx="215" cy="638"/>
              </a:xfrm>
              <a:custGeom>
                <a:avLst/>
                <a:gdLst>
                  <a:gd name="T0" fmla="*/ 82 w 91"/>
                  <a:gd name="T1" fmla="*/ 239 h 270"/>
                  <a:gd name="T2" fmla="*/ 80 w 91"/>
                  <a:gd name="T3" fmla="*/ 195 h 270"/>
                  <a:gd name="T4" fmla="*/ 85 w 91"/>
                  <a:gd name="T5" fmla="*/ 188 h 270"/>
                  <a:gd name="T6" fmla="*/ 79 w 91"/>
                  <a:gd name="T7" fmla="*/ 182 h 270"/>
                  <a:gd name="T8" fmla="*/ 80 w 91"/>
                  <a:gd name="T9" fmla="*/ 143 h 270"/>
                  <a:gd name="T10" fmla="*/ 85 w 91"/>
                  <a:gd name="T11" fmla="*/ 135 h 270"/>
                  <a:gd name="T12" fmla="*/ 81 w 91"/>
                  <a:gd name="T13" fmla="*/ 108 h 270"/>
                  <a:gd name="T14" fmla="*/ 69 w 91"/>
                  <a:gd name="T15" fmla="*/ 91 h 270"/>
                  <a:gd name="T16" fmla="*/ 69 w 91"/>
                  <a:gd name="T17" fmla="*/ 60 h 270"/>
                  <a:gd name="T18" fmla="*/ 42 w 91"/>
                  <a:gd name="T19" fmla="*/ 37 h 270"/>
                  <a:gd name="T20" fmla="*/ 41 w 91"/>
                  <a:gd name="T21" fmla="*/ 18 h 270"/>
                  <a:gd name="T22" fmla="*/ 47 w 91"/>
                  <a:gd name="T23" fmla="*/ 6 h 270"/>
                  <a:gd name="T24" fmla="*/ 33 w 91"/>
                  <a:gd name="T25" fmla="*/ 7 h 270"/>
                  <a:gd name="T26" fmla="*/ 18 w 91"/>
                  <a:gd name="T27" fmla="*/ 0 h 270"/>
                  <a:gd name="T28" fmla="*/ 7 w 91"/>
                  <a:gd name="T29" fmla="*/ 1 h 270"/>
                  <a:gd name="T30" fmla="*/ 7 w 91"/>
                  <a:gd name="T31" fmla="*/ 12 h 270"/>
                  <a:gd name="T32" fmla="*/ 0 w 91"/>
                  <a:gd name="T33" fmla="*/ 21 h 270"/>
                  <a:gd name="T34" fmla="*/ 22 w 91"/>
                  <a:gd name="T35" fmla="*/ 39 h 270"/>
                  <a:gd name="T36" fmla="*/ 14 w 91"/>
                  <a:gd name="T37" fmla="*/ 88 h 270"/>
                  <a:gd name="T38" fmla="*/ 30 w 91"/>
                  <a:gd name="T39" fmla="*/ 85 h 270"/>
                  <a:gd name="T40" fmla="*/ 26 w 91"/>
                  <a:gd name="T41" fmla="*/ 110 h 270"/>
                  <a:gd name="T42" fmla="*/ 33 w 91"/>
                  <a:gd name="T43" fmla="*/ 120 h 270"/>
                  <a:gd name="T44" fmla="*/ 21 w 91"/>
                  <a:gd name="T45" fmla="*/ 131 h 270"/>
                  <a:gd name="T46" fmla="*/ 39 w 91"/>
                  <a:gd name="T47" fmla="*/ 145 h 270"/>
                  <a:gd name="T48" fmla="*/ 35 w 91"/>
                  <a:gd name="T49" fmla="*/ 154 h 270"/>
                  <a:gd name="T50" fmla="*/ 33 w 91"/>
                  <a:gd name="T51" fmla="*/ 183 h 270"/>
                  <a:gd name="T52" fmla="*/ 30 w 91"/>
                  <a:gd name="T53" fmla="*/ 195 h 270"/>
                  <a:gd name="T54" fmla="*/ 38 w 91"/>
                  <a:gd name="T55" fmla="*/ 202 h 270"/>
                  <a:gd name="T56" fmla="*/ 33 w 91"/>
                  <a:gd name="T57" fmla="*/ 225 h 270"/>
                  <a:gd name="T58" fmla="*/ 41 w 91"/>
                  <a:gd name="T59" fmla="*/ 253 h 270"/>
                  <a:gd name="T60" fmla="*/ 61 w 91"/>
                  <a:gd name="T61" fmla="*/ 270 h 270"/>
                  <a:gd name="T62" fmla="*/ 78 w 91"/>
                  <a:gd name="T63" fmla="*/ 259 h 270"/>
                  <a:gd name="T64" fmla="*/ 91 w 91"/>
                  <a:gd name="T65" fmla="*/ 258 h 270"/>
                  <a:gd name="T66" fmla="*/ 82 w 91"/>
                  <a:gd name="T67" fmla="*/ 239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91" h="270">
                    <a:moveTo>
                      <a:pt x="82" y="239"/>
                    </a:moveTo>
                    <a:cubicBezTo>
                      <a:pt x="80" y="195"/>
                      <a:pt x="80" y="195"/>
                      <a:pt x="80" y="195"/>
                    </a:cubicBezTo>
                    <a:cubicBezTo>
                      <a:pt x="85" y="188"/>
                      <a:pt x="85" y="188"/>
                      <a:pt x="85" y="188"/>
                    </a:cubicBezTo>
                    <a:cubicBezTo>
                      <a:pt x="79" y="182"/>
                      <a:pt x="79" y="182"/>
                      <a:pt x="79" y="182"/>
                    </a:cubicBezTo>
                    <a:cubicBezTo>
                      <a:pt x="80" y="143"/>
                      <a:pt x="80" y="143"/>
                      <a:pt x="80" y="143"/>
                    </a:cubicBezTo>
                    <a:cubicBezTo>
                      <a:pt x="85" y="135"/>
                      <a:pt x="85" y="135"/>
                      <a:pt x="85" y="135"/>
                    </a:cubicBezTo>
                    <a:cubicBezTo>
                      <a:pt x="85" y="135"/>
                      <a:pt x="80" y="116"/>
                      <a:pt x="81" y="108"/>
                    </a:cubicBezTo>
                    <a:cubicBezTo>
                      <a:pt x="82" y="100"/>
                      <a:pt x="69" y="91"/>
                      <a:pt x="69" y="91"/>
                    </a:cubicBezTo>
                    <a:cubicBezTo>
                      <a:pt x="69" y="91"/>
                      <a:pt x="71" y="68"/>
                      <a:pt x="69" y="60"/>
                    </a:cubicBezTo>
                    <a:cubicBezTo>
                      <a:pt x="67" y="52"/>
                      <a:pt x="42" y="37"/>
                      <a:pt x="42" y="37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7" y="6"/>
                      <a:pt x="47" y="6"/>
                      <a:pt x="47" y="6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4" y="88"/>
                      <a:pt x="26" y="78"/>
                      <a:pt x="30" y="85"/>
                    </a:cubicBezTo>
                    <a:cubicBezTo>
                      <a:pt x="34" y="92"/>
                      <a:pt x="26" y="110"/>
                      <a:pt x="26" y="110"/>
                    </a:cubicBezTo>
                    <a:cubicBezTo>
                      <a:pt x="26" y="110"/>
                      <a:pt x="34" y="117"/>
                      <a:pt x="33" y="120"/>
                    </a:cubicBezTo>
                    <a:cubicBezTo>
                      <a:pt x="32" y="123"/>
                      <a:pt x="21" y="131"/>
                      <a:pt x="21" y="131"/>
                    </a:cubicBezTo>
                    <a:cubicBezTo>
                      <a:pt x="21" y="131"/>
                      <a:pt x="38" y="139"/>
                      <a:pt x="39" y="145"/>
                    </a:cubicBezTo>
                    <a:cubicBezTo>
                      <a:pt x="40" y="151"/>
                      <a:pt x="35" y="154"/>
                      <a:pt x="35" y="154"/>
                    </a:cubicBezTo>
                    <a:cubicBezTo>
                      <a:pt x="33" y="183"/>
                      <a:pt x="33" y="183"/>
                      <a:pt x="33" y="183"/>
                    </a:cubicBezTo>
                    <a:cubicBezTo>
                      <a:pt x="33" y="183"/>
                      <a:pt x="30" y="190"/>
                      <a:pt x="30" y="195"/>
                    </a:cubicBezTo>
                    <a:cubicBezTo>
                      <a:pt x="30" y="200"/>
                      <a:pt x="37" y="196"/>
                      <a:pt x="38" y="202"/>
                    </a:cubicBezTo>
                    <a:cubicBezTo>
                      <a:pt x="39" y="208"/>
                      <a:pt x="33" y="225"/>
                      <a:pt x="33" y="225"/>
                    </a:cubicBezTo>
                    <a:cubicBezTo>
                      <a:pt x="41" y="253"/>
                      <a:pt x="41" y="253"/>
                      <a:pt x="41" y="253"/>
                    </a:cubicBezTo>
                    <a:cubicBezTo>
                      <a:pt x="61" y="270"/>
                      <a:pt x="61" y="270"/>
                      <a:pt x="61" y="270"/>
                    </a:cubicBezTo>
                    <a:cubicBezTo>
                      <a:pt x="66" y="264"/>
                      <a:pt x="72" y="260"/>
                      <a:pt x="78" y="259"/>
                    </a:cubicBezTo>
                    <a:cubicBezTo>
                      <a:pt x="82" y="258"/>
                      <a:pt x="86" y="258"/>
                      <a:pt x="91" y="258"/>
                    </a:cubicBezTo>
                    <a:cubicBezTo>
                      <a:pt x="91" y="248"/>
                      <a:pt x="82" y="239"/>
                      <a:pt x="82" y="239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0" name="Freeform 297">
                <a:extLst>
                  <a:ext uri="{FF2B5EF4-FFF2-40B4-BE49-F238E27FC236}">
                    <a16:creationId xmlns:a16="http://schemas.microsoft.com/office/drawing/2014/main" id="{6901F612-CBD9-8749-B87A-9AF3F3CB3F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374" y="-11555"/>
                <a:ext cx="355" cy="784"/>
              </a:xfrm>
              <a:custGeom>
                <a:avLst/>
                <a:gdLst>
                  <a:gd name="T0" fmla="*/ 94 w 150"/>
                  <a:gd name="T1" fmla="*/ 247 h 332"/>
                  <a:gd name="T2" fmla="*/ 97 w 150"/>
                  <a:gd name="T3" fmla="*/ 228 h 332"/>
                  <a:gd name="T4" fmla="*/ 94 w 150"/>
                  <a:gd name="T5" fmla="*/ 206 h 332"/>
                  <a:gd name="T6" fmla="*/ 96 w 150"/>
                  <a:gd name="T7" fmla="*/ 183 h 332"/>
                  <a:gd name="T8" fmla="*/ 112 w 150"/>
                  <a:gd name="T9" fmla="*/ 177 h 332"/>
                  <a:gd name="T10" fmla="*/ 118 w 150"/>
                  <a:gd name="T11" fmla="*/ 148 h 332"/>
                  <a:gd name="T12" fmla="*/ 133 w 150"/>
                  <a:gd name="T13" fmla="*/ 132 h 332"/>
                  <a:gd name="T14" fmla="*/ 135 w 150"/>
                  <a:gd name="T15" fmla="*/ 105 h 332"/>
                  <a:gd name="T16" fmla="*/ 148 w 150"/>
                  <a:gd name="T17" fmla="*/ 95 h 332"/>
                  <a:gd name="T18" fmla="*/ 144 w 150"/>
                  <a:gd name="T19" fmla="*/ 85 h 332"/>
                  <a:gd name="T20" fmla="*/ 145 w 150"/>
                  <a:gd name="T21" fmla="*/ 76 h 332"/>
                  <a:gd name="T22" fmla="*/ 131 w 150"/>
                  <a:gd name="T23" fmla="*/ 51 h 332"/>
                  <a:gd name="T24" fmla="*/ 139 w 150"/>
                  <a:gd name="T25" fmla="*/ 31 h 332"/>
                  <a:gd name="T26" fmla="*/ 118 w 150"/>
                  <a:gd name="T27" fmla="*/ 22 h 332"/>
                  <a:gd name="T28" fmla="*/ 96 w 150"/>
                  <a:gd name="T29" fmla="*/ 0 h 332"/>
                  <a:gd name="T30" fmla="*/ 79 w 150"/>
                  <a:gd name="T31" fmla="*/ 7 h 332"/>
                  <a:gd name="T32" fmla="*/ 76 w 150"/>
                  <a:gd name="T33" fmla="*/ 23 h 332"/>
                  <a:gd name="T34" fmla="*/ 83 w 150"/>
                  <a:gd name="T35" fmla="*/ 26 h 332"/>
                  <a:gd name="T36" fmla="*/ 77 w 150"/>
                  <a:gd name="T37" fmla="*/ 28 h 332"/>
                  <a:gd name="T38" fmla="*/ 74 w 150"/>
                  <a:gd name="T39" fmla="*/ 39 h 332"/>
                  <a:gd name="T40" fmla="*/ 63 w 150"/>
                  <a:gd name="T41" fmla="*/ 43 h 332"/>
                  <a:gd name="T42" fmla="*/ 58 w 150"/>
                  <a:gd name="T43" fmla="*/ 53 h 332"/>
                  <a:gd name="T44" fmla="*/ 32 w 150"/>
                  <a:gd name="T45" fmla="*/ 51 h 332"/>
                  <a:gd name="T46" fmla="*/ 19 w 150"/>
                  <a:gd name="T47" fmla="*/ 70 h 332"/>
                  <a:gd name="T48" fmla="*/ 11 w 150"/>
                  <a:gd name="T49" fmla="*/ 70 h 332"/>
                  <a:gd name="T50" fmla="*/ 6 w 150"/>
                  <a:gd name="T51" fmla="*/ 77 h 332"/>
                  <a:gd name="T52" fmla="*/ 0 w 150"/>
                  <a:gd name="T53" fmla="*/ 89 h 332"/>
                  <a:gd name="T54" fmla="*/ 1 w 150"/>
                  <a:gd name="T55" fmla="*/ 108 h 332"/>
                  <a:gd name="T56" fmla="*/ 28 w 150"/>
                  <a:gd name="T57" fmla="*/ 131 h 332"/>
                  <a:gd name="T58" fmla="*/ 28 w 150"/>
                  <a:gd name="T59" fmla="*/ 162 h 332"/>
                  <a:gd name="T60" fmla="*/ 40 w 150"/>
                  <a:gd name="T61" fmla="*/ 179 h 332"/>
                  <a:gd name="T62" fmla="*/ 44 w 150"/>
                  <a:gd name="T63" fmla="*/ 206 h 332"/>
                  <a:gd name="T64" fmla="*/ 39 w 150"/>
                  <a:gd name="T65" fmla="*/ 214 h 332"/>
                  <a:gd name="T66" fmla="*/ 38 w 150"/>
                  <a:gd name="T67" fmla="*/ 253 h 332"/>
                  <a:gd name="T68" fmla="*/ 44 w 150"/>
                  <a:gd name="T69" fmla="*/ 259 h 332"/>
                  <a:gd name="T70" fmla="*/ 39 w 150"/>
                  <a:gd name="T71" fmla="*/ 266 h 332"/>
                  <a:gd name="T72" fmla="*/ 41 w 150"/>
                  <a:gd name="T73" fmla="*/ 310 h 332"/>
                  <a:gd name="T74" fmla="*/ 50 w 150"/>
                  <a:gd name="T75" fmla="*/ 329 h 332"/>
                  <a:gd name="T76" fmla="*/ 50 w 150"/>
                  <a:gd name="T77" fmla="*/ 329 h 332"/>
                  <a:gd name="T78" fmla="*/ 73 w 150"/>
                  <a:gd name="T79" fmla="*/ 332 h 332"/>
                  <a:gd name="T80" fmla="*/ 81 w 150"/>
                  <a:gd name="T81" fmla="*/ 318 h 332"/>
                  <a:gd name="T82" fmla="*/ 91 w 150"/>
                  <a:gd name="T83" fmla="*/ 323 h 332"/>
                  <a:gd name="T84" fmla="*/ 95 w 150"/>
                  <a:gd name="T85" fmla="*/ 306 h 332"/>
                  <a:gd name="T86" fmla="*/ 94 w 150"/>
                  <a:gd name="T87" fmla="*/ 247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0" h="332">
                    <a:moveTo>
                      <a:pt x="94" y="247"/>
                    </a:moveTo>
                    <a:cubicBezTo>
                      <a:pt x="97" y="228"/>
                      <a:pt x="97" y="228"/>
                      <a:pt x="97" y="228"/>
                    </a:cubicBezTo>
                    <a:cubicBezTo>
                      <a:pt x="94" y="206"/>
                      <a:pt x="94" y="206"/>
                      <a:pt x="94" y="206"/>
                    </a:cubicBezTo>
                    <a:cubicBezTo>
                      <a:pt x="96" y="183"/>
                      <a:pt x="96" y="183"/>
                      <a:pt x="96" y="183"/>
                    </a:cubicBezTo>
                    <a:cubicBezTo>
                      <a:pt x="96" y="183"/>
                      <a:pt x="104" y="187"/>
                      <a:pt x="112" y="177"/>
                    </a:cubicBezTo>
                    <a:cubicBezTo>
                      <a:pt x="120" y="167"/>
                      <a:pt x="115" y="155"/>
                      <a:pt x="118" y="148"/>
                    </a:cubicBezTo>
                    <a:cubicBezTo>
                      <a:pt x="121" y="141"/>
                      <a:pt x="133" y="132"/>
                      <a:pt x="133" y="132"/>
                    </a:cubicBezTo>
                    <a:cubicBezTo>
                      <a:pt x="135" y="105"/>
                      <a:pt x="135" y="105"/>
                      <a:pt x="135" y="105"/>
                    </a:cubicBezTo>
                    <a:cubicBezTo>
                      <a:pt x="135" y="105"/>
                      <a:pt x="146" y="102"/>
                      <a:pt x="148" y="95"/>
                    </a:cubicBezTo>
                    <a:cubicBezTo>
                      <a:pt x="150" y="88"/>
                      <a:pt x="144" y="85"/>
                      <a:pt x="144" y="85"/>
                    </a:cubicBezTo>
                    <a:cubicBezTo>
                      <a:pt x="144" y="85"/>
                      <a:pt x="145" y="82"/>
                      <a:pt x="145" y="76"/>
                    </a:cubicBezTo>
                    <a:cubicBezTo>
                      <a:pt x="145" y="70"/>
                      <a:pt x="130" y="58"/>
                      <a:pt x="131" y="51"/>
                    </a:cubicBezTo>
                    <a:cubicBezTo>
                      <a:pt x="132" y="44"/>
                      <a:pt x="139" y="31"/>
                      <a:pt x="139" y="31"/>
                    </a:cubicBezTo>
                    <a:cubicBezTo>
                      <a:pt x="139" y="31"/>
                      <a:pt x="123" y="25"/>
                      <a:pt x="118" y="22"/>
                    </a:cubicBezTo>
                    <a:cubicBezTo>
                      <a:pt x="113" y="19"/>
                      <a:pt x="96" y="0"/>
                      <a:pt x="96" y="0"/>
                    </a:cubicBezTo>
                    <a:cubicBezTo>
                      <a:pt x="79" y="7"/>
                      <a:pt x="79" y="7"/>
                      <a:pt x="79" y="7"/>
                    </a:cubicBezTo>
                    <a:cubicBezTo>
                      <a:pt x="76" y="23"/>
                      <a:pt x="76" y="23"/>
                      <a:pt x="76" y="23"/>
                    </a:cubicBezTo>
                    <a:cubicBezTo>
                      <a:pt x="83" y="26"/>
                      <a:pt x="83" y="26"/>
                      <a:pt x="83" y="26"/>
                    </a:cubicBezTo>
                    <a:cubicBezTo>
                      <a:pt x="77" y="28"/>
                      <a:pt x="77" y="28"/>
                      <a:pt x="77" y="28"/>
                    </a:cubicBezTo>
                    <a:cubicBezTo>
                      <a:pt x="74" y="39"/>
                      <a:pt x="74" y="39"/>
                      <a:pt x="74" y="39"/>
                    </a:cubicBezTo>
                    <a:cubicBezTo>
                      <a:pt x="74" y="39"/>
                      <a:pt x="67" y="40"/>
                      <a:pt x="63" y="43"/>
                    </a:cubicBezTo>
                    <a:cubicBezTo>
                      <a:pt x="59" y="46"/>
                      <a:pt x="58" y="53"/>
                      <a:pt x="58" y="53"/>
                    </a:cubicBezTo>
                    <a:cubicBezTo>
                      <a:pt x="58" y="53"/>
                      <a:pt x="32" y="52"/>
                      <a:pt x="32" y="51"/>
                    </a:cubicBezTo>
                    <a:cubicBezTo>
                      <a:pt x="21" y="56"/>
                      <a:pt x="19" y="70"/>
                      <a:pt x="19" y="70"/>
                    </a:cubicBezTo>
                    <a:cubicBezTo>
                      <a:pt x="11" y="70"/>
                      <a:pt x="11" y="70"/>
                      <a:pt x="11" y="70"/>
                    </a:cubicBezTo>
                    <a:cubicBezTo>
                      <a:pt x="6" y="77"/>
                      <a:pt x="6" y="77"/>
                      <a:pt x="6" y="77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1" y="108"/>
                      <a:pt x="1" y="108"/>
                      <a:pt x="1" y="108"/>
                    </a:cubicBezTo>
                    <a:cubicBezTo>
                      <a:pt x="1" y="108"/>
                      <a:pt x="26" y="123"/>
                      <a:pt x="28" y="131"/>
                    </a:cubicBezTo>
                    <a:cubicBezTo>
                      <a:pt x="30" y="139"/>
                      <a:pt x="28" y="162"/>
                      <a:pt x="28" y="162"/>
                    </a:cubicBezTo>
                    <a:cubicBezTo>
                      <a:pt x="28" y="162"/>
                      <a:pt x="41" y="171"/>
                      <a:pt x="40" y="179"/>
                    </a:cubicBezTo>
                    <a:cubicBezTo>
                      <a:pt x="39" y="187"/>
                      <a:pt x="44" y="206"/>
                      <a:pt x="44" y="206"/>
                    </a:cubicBezTo>
                    <a:cubicBezTo>
                      <a:pt x="39" y="214"/>
                      <a:pt x="39" y="214"/>
                      <a:pt x="39" y="214"/>
                    </a:cubicBezTo>
                    <a:cubicBezTo>
                      <a:pt x="38" y="253"/>
                      <a:pt x="38" y="253"/>
                      <a:pt x="38" y="253"/>
                    </a:cubicBezTo>
                    <a:cubicBezTo>
                      <a:pt x="44" y="259"/>
                      <a:pt x="44" y="259"/>
                      <a:pt x="44" y="259"/>
                    </a:cubicBezTo>
                    <a:cubicBezTo>
                      <a:pt x="39" y="266"/>
                      <a:pt x="39" y="266"/>
                      <a:pt x="39" y="266"/>
                    </a:cubicBezTo>
                    <a:cubicBezTo>
                      <a:pt x="41" y="310"/>
                      <a:pt x="41" y="310"/>
                      <a:pt x="41" y="310"/>
                    </a:cubicBezTo>
                    <a:cubicBezTo>
                      <a:pt x="41" y="310"/>
                      <a:pt x="50" y="319"/>
                      <a:pt x="50" y="329"/>
                    </a:cubicBezTo>
                    <a:cubicBezTo>
                      <a:pt x="50" y="329"/>
                      <a:pt x="50" y="329"/>
                      <a:pt x="50" y="329"/>
                    </a:cubicBezTo>
                    <a:cubicBezTo>
                      <a:pt x="61" y="330"/>
                      <a:pt x="73" y="332"/>
                      <a:pt x="73" y="332"/>
                    </a:cubicBezTo>
                    <a:cubicBezTo>
                      <a:pt x="81" y="318"/>
                      <a:pt x="81" y="318"/>
                      <a:pt x="81" y="318"/>
                    </a:cubicBezTo>
                    <a:cubicBezTo>
                      <a:pt x="81" y="318"/>
                      <a:pt x="85" y="320"/>
                      <a:pt x="91" y="323"/>
                    </a:cubicBezTo>
                    <a:cubicBezTo>
                      <a:pt x="95" y="306"/>
                      <a:pt x="95" y="306"/>
                      <a:pt x="95" y="306"/>
                    </a:cubicBezTo>
                    <a:lnTo>
                      <a:pt x="94" y="24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Freeform 298">
                <a:extLst>
                  <a:ext uri="{FF2B5EF4-FFF2-40B4-BE49-F238E27FC236}">
                    <a16:creationId xmlns:a16="http://schemas.microsoft.com/office/drawing/2014/main" id="{E07A81DF-1930-178C-8C41-CB32214D1E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159" y="-11742"/>
                <a:ext cx="1340" cy="1207"/>
              </a:xfrm>
              <a:custGeom>
                <a:avLst/>
                <a:gdLst>
                  <a:gd name="T0" fmla="*/ 290 w 567"/>
                  <a:gd name="T1" fmla="*/ 469 h 511"/>
                  <a:gd name="T2" fmla="*/ 333 w 567"/>
                  <a:gd name="T3" fmla="*/ 394 h 511"/>
                  <a:gd name="T4" fmla="*/ 372 w 567"/>
                  <a:gd name="T5" fmla="*/ 375 h 511"/>
                  <a:gd name="T6" fmla="*/ 396 w 567"/>
                  <a:gd name="T7" fmla="*/ 383 h 511"/>
                  <a:gd name="T8" fmla="*/ 417 w 567"/>
                  <a:gd name="T9" fmla="*/ 378 h 511"/>
                  <a:gd name="T10" fmla="*/ 434 w 567"/>
                  <a:gd name="T11" fmla="*/ 343 h 511"/>
                  <a:gd name="T12" fmla="*/ 458 w 567"/>
                  <a:gd name="T13" fmla="*/ 291 h 511"/>
                  <a:gd name="T14" fmla="*/ 484 w 567"/>
                  <a:gd name="T15" fmla="*/ 239 h 511"/>
                  <a:gd name="T16" fmla="*/ 504 w 567"/>
                  <a:gd name="T17" fmla="*/ 200 h 511"/>
                  <a:gd name="T18" fmla="*/ 513 w 567"/>
                  <a:gd name="T19" fmla="*/ 177 h 511"/>
                  <a:gd name="T20" fmla="*/ 533 w 567"/>
                  <a:gd name="T21" fmla="*/ 141 h 511"/>
                  <a:gd name="T22" fmla="*/ 559 w 567"/>
                  <a:gd name="T23" fmla="*/ 111 h 511"/>
                  <a:gd name="T24" fmla="*/ 540 w 567"/>
                  <a:gd name="T25" fmla="*/ 84 h 511"/>
                  <a:gd name="T26" fmla="*/ 517 w 567"/>
                  <a:gd name="T27" fmla="*/ 8 h 511"/>
                  <a:gd name="T28" fmla="*/ 499 w 567"/>
                  <a:gd name="T29" fmla="*/ 22 h 511"/>
                  <a:gd name="T30" fmla="*/ 458 w 567"/>
                  <a:gd name="T31" fmla="*/ 40 h 511"/>
                  <a:gd name="T32" fmla="*/ 382 w 567"/>
                  <a:gd name="T33" fmla="*/ 25 h 511"/>
                  <a:gd name="T34" fmla="*/ 293 w 567"/>
                  <a:gd name="T35" fmla="*/ 55 h 511"/>
                  <a:gd name="T36" fmla="*/ 205 w 567"/>
                  <a:gd name="T37" fmla="*/ 47 h 511"/>
                  <a:gd name="T38" fmla="*/ 174 w 567"/>
                  <a:gd name="T39" fmla="*/ 12 h 511"/>
                  <a:gd name="T40" fmla="*/ 135 w 567"/>
                  <a:gd name="T41" fmla="*/ 1 h 511"/>
                  <a:gd name="T42" fmla="*/ 88 w 567"/>
                  <a:gd name="T43" fmla="*/ 7 h 511"/>
                  <a:gd name="T44" fmla="*/ 68 w 567"/>
                  <a:gd name="T45" fmla="*/ 50 h 511"/>
                  <a:gd name="T46" fmla="*/ 48 w 567"/>
                  <a:gd name="T47" fmla="*/ 110 h 511"/>
                  <a:gd name="T48" fmla="*/ 54 w 567"/>
                  <a:gd name="T49" fmla="*/ 155 h 511"/>
                  <a:gd name="T50" fmla="*/ 57 w 567"/>
                  <a:gd name="T51" fmla="*/ 174 h 511"/>
                  <a:gd name="T52" fmla="*/ 42 w 567"/>
                  <a:gd name="T53" fmla="*/ 211 h 511"/>
                  <a:gd name="T54" fmla="*/ 21 w 567"/>
                  <a:gd name="T55" fmla="*/ 256 h 511"/>
                  <a:gd name="T56" fmla="*/ 3 w 567"/>
                  <a:gd name="T57" fmla="*/ 285 h 511"/>
                  <a:gd name="T58" fmla="*/ 3 w 567"/>
                  <a:gd name="T59" fmla="*/ 326 h 511"/>
                  <a:gd name="T60" fmla="*/ 0 w 567"/>
                  <a:gd name="T61" fmla="*/ 402 h 511"/>
                  <a:gd name="T62" fmla="*/ 44 w 567"/>
                  <a:gd name="T63" fmla="*/ 394 h 511"/>
                  <a:gd name="T64" fmla="*/ 96 w 567"/>
                  <a:gd name="T65" fmla="*/ 413 h 511"/>
                  <a:gd name="T66" fmla="*/ 127 w 567"/>
                  <a:gd name="T67" fmla="*/ 440 h 511"/>
                  <a:gd name="T68" fmla="*/ 133 w 567"/>
                  <a:gd name="T69" fmla="*/ 453 h 511"/>
                  <a:gd name="T70" fmla="*/ 157 w 567"/>
                  <a:gd name="T71" fmla="*/ 510 h 511"/>
                  <a:gd name="T72" fmla="*/ 194 w 567"/>
                  <a:gd name="T73" fmla="*/ 491 h 511"/>
                  <a:gd name="T74" fmla="*/ 228 w 567"/>
                  <a:gd name="T75" fmla="*/ 496 h 511"/>
                  <a:gd name="T76" fmla="*/ 265 w 567"/>
                  <a:gd name="T77" fmla="*/ 504 h 511"/>
                  <a:gd name="T78" fmla="*/ 282 w 567"/>
                  <a:gd name="T79" fmla="*/ 487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67" h="511">
                    <a:moveTo>
                      <a:pt x="281" y="490"/>
                    </a:moveTo>
                    <a:cubicBezTo>
                      <a:pt x="281" y="490"/>
                      <a:pt x="288" y="475"/>
                      <a:pt x="290" y="469"/>
                    </a:cubicBezTo>
                    <a:cubicBezTo>
                      <a:pt x="292" y="463"/>
                      <a:pt x="290" y="431"/>
                      <a:pt x="290" y="431"/>
                    </a:cubicBezTo>
                    <a:cubicBezTo>
                      <a:pt x="333" y="394"/>
                      <a:pt x="333" y="394"/>
                      <a:pt x="333" y="394"/>
                    </a:cubicBezTo>
                    <a:cubicBezTo>
                      <a:pt x="333" y="394"/>
                      <a:pt x="343" y="374"/>
                      <a:pt x="349" y="369"/>
                    </a:cubicBezTo>
                    <a:cubicBezTo>
                      <a:pt x="355" y="364"/>
                      <a:pt x="363" y="377"/>
                      <a:pt x="372" y="375"/>
                    </a:cubicBezTo>
                    <a:cubicBezTo>
                      <a:pt x="381" y="373"/>
                      <a:pt x="368" y="359"/>
                      <a:pt x="375" y="359"/>
                    </a:cubicBezTo>
                    <a:cubicBezTo>
                      <a:pt x="382" y="359"/>
                      <a:pt x="396" y="383"/>
                      <a:pt x="396" y="383"/>
                    </a:cubicBezTo>
                    <a:cubicBezTo>
                      <a:pt x="396" y="383"/>
                      <a:pt x="393" y="399"/>
                      <a:pt x="405" y="399"/>
                    </a:cubicBezTo>
                    <a:cubicBezTo>
                      <a:pt x="417" y="399"/>
                      <a:pt x="417" y="378"/>
                      <a:pt x="417" y="378"/>
                    </a:cubicBezTo>
                    <a:cubicBezTo>
                      <a:pt x="417" y="378"/>
                      <a:pt x="428" y="369"/>
                      <a:pt x="433" y="363"/>
                    </a:cubicBezTo>
                    <a:cubicBezTo>
                      <a:pt x="438" y="357"/>
                      <a:pt x="434" y="343"/>
                      <a:pt x="434" y="343"/>
                    </a:cubicBezTo>
                    <a:cubicBezTo>
                      <a:pt x="450" y="323"/>
                      <a:pt x="450" y="323"/>
                      <a:pt x="450" y="323"/>
                    </a:cubicBezTo>
                    <a:cubicBezTo>
                      <a:pt x="458" y="291"/>
                      <a:pt x="458" y="291"/>
                      <a:pt x="458" y="291"/>
                    </a:cubicBezTo>
                    <a:cubicBezTo>
                      <a:pt x="458" y="291"/>
                      <a:pt x="477" y="284"/>
                      <a:pt x="482" y="274"/>
                    </a:cubicBezTo>
                    <a:cubicBezTo>
                      <a:pt x="487" y="264"/>
                      <a:pt x="482" y="246"/>
                      <a:pt x="484" y="239"/>
                    </a:cubicBezTo>
                    <a:cubicBezTo>
                      <a:pt x="486" y="232"/>
                      <a:pt x="496" y="239"/>
                      <a:pt x="501" y="230"/>
                    </a:cubicBezTo>
                    <a:cubicBezTo>
                      <a:pt x="506" y="221"/>
                      <a:pt x="504" y="200"/>
                      <a:pt x="504" y="200"/>
                    </a:cubicBezTo>
                    <a:cubicBezTo>
                      <a:pt x="511" y="196"/>
                      <a:pt x="511" y="196"/>
                      <a:pt x="511" y="196"/>
                    </a:cubicBezTo>
                    <a:cubicBezTo>
                      <a:pt x="513" y="177"/>
                      <a:pt x="513" y="177"/>
                      <a:pt x="513" y="177"/>
                    </a:cubicBezTo>
                    <a:cubicBezTo>
                      <a:pt x="513" y="177"/>
                      <a:pt x="523" y="164"/>
                      <a:pt x="524" y="161"/>
                    </a:cubicBezTo>
                    <a:cubicBezTo>
                      <a:pt x="525" y="158"/>
                      <a:pt x="533" y="141"/>
                      <a:pt x="533" y="141"/>
                    </a:cubicBezTo>
                    <a:cubicBezTo>
                      <a:pt x="533" y="141"/>
                      <a:pt x="547" y="138"/>
                      <a:pt x="557" y="129"/>
                    </a:cubicBezTo>
                    <a:cubicBezTo>
                      <a:pt x="567" y="120"/>
                      <a:pt x="559" y="111"/>
                      <a:pt x="559" y="111"/>
                    </a:cubicBezTo>
                    <a:cubicBezTo>
                      <a:pt x="559" y="111"/>
                      <a:pt x="563" y="98"/>
                      <a:pt x="562" y="87"/>
                    </a:cubicBezTo>
                    <a:cubicBezTo>
                      <a:pt x="561" y="76"/>
                      <a:pt x="542" y="87"/>
                      <a:pt x="540" y="84"/>
                    </a:cubicBezTo>
                    <a:cubicBezTo>
                      <a:pt x="538" y="81"/>
                      <a:pt x="536" y="40"/>
                      <a:pt x="536" y="40"/>
                    </a:cubicBezTo>
                    <a:cubicBezTo>
                      <a:pt x="517" y="8"/>
                      <a:pt x="517" y="8"/>
                      <a:pt x="517" y="8"/>
                    </a:cubicBezTo>
                    <a:cubicBezTo>
                      <a:pt x="517" y="8"/>
                      <a:pt x="511" y="8"/>
                      <a:pt x="507" y="8"/>
                    </a:cubicBezTo>
                    <a:cubicBezTo>
                      <a:pt x="503" y="8"/>
                      <a:pt x="499" y="22"/>
                      <a:pt x="499" y="22"/>
                    </a:cubicBezTo>
                    <a:cubicBezTo>
                      <a:pt x="499" y="22"/>
                      <a:pt x="490" y="19"/>
                      <a:pt x="483" y="23"/>
                    </a:cubicBezTo>
                    <a:cubicBezTo>
                      <a:pt x="476" y="27"/>
                      <a:pt x="458" y="40"/>
                      <a:pt x="458" y="40"/>
                    </a:cubicBezTo>
                    <a:cubicBezTo>
                      <a:pt x="440" y="39"/>
                      <a:pt x="440" y="39"/>
                      <a:pt x="440" y="39"/>
                    </a:cubicBezTo>
                    <a:cubicBezTo>
                      <a:pt x="440" y="39"/>
                      <a:pt x="424" y="25"/>
                      <a:pt x="382" y="25"/>
                    </a:cubicBezTo>
                    <a:cubicBezTo>
                      <a:pt x="340" y="25"/>
                      <a:pt x="328" y="60"/>
                      <a:pt x="328" y="60"/>
                    </a:cubicBezTo>
                    <a:cubicBezTo>
                      <a:pt x="328" y="60"/>
                      <a:pt x="312" y="56"/>
                      <a:pt x="293" y="55"/>
                    </a:cubicBezTo>
                    <a:cubicBezTo>
                      <a:pt x="274" y="54"/>
                      <a:pt x="262" y="26"/>
                      <a:pt x="250" y="26"/>
                    </a:cubicBezTo>
                    <a:cubicBezTo>
                      <a:pt x="238" y="26"/>
                      <a:pt x="214" y="46"/>
                      <a:pt x="205" y="47"/>
                    </a:cubicBezTo>
                    <a:cubicBezTo>
                      <a:pt x="196" y="48"/>
                      <a:pt x="191" y="26"/>
                      <a:pt x="191" y="26"/>
                    </a:cubicBezTo>
                    <a:cubicBezTo>
                      <a:pt x="174" y="12"/>
                      <a:pt x="174" y="12"/>
                      <a:pt x="174" y="12"/>
                    </a:cubicBezTo>
                    <a:cubicBezTo>
                      <a:pt x="174" y="12"/>
                      <a:pt x="162" y="12"/>
                      <a:pt x="155" y="11"/>
                    </a:cubicBezTo>
                    <a:cubicBezTo>
                      <a:pt x="148" y="10"/>
                      <a:pt x="149" y="0"/>
                      <a:pt x="135" y="1"/>
                    </a:cubicBezTo>
                    <a:cubicBezTo>
                      <a:pt x="121" y="2"/>
                      <a:pt x="122" y="8"/>
                      <a:pt x="122" y="8"/>
                    </a:cubicBezTo>
                    <a:cubicBezTo>
                      <a:pt x="88" y="7"/>
                      <a:pt x="88" y="7"/>
                      <a:pt x="88" y="7"/>
                    </a:cubicBezTo>
                    <a:cubicBezTo>
                      <a:pt x="69" y="24"/>
                      <a:pt x="69" y="24"/>
                      <a:pt x="69" y="24"/>
                    </a:cubicBezTo>
                    <a:cubicBezTo>
                      <a:pt x="69" y="24"/>
                      <a:pt x="69" y="35"/>
                      <a:pt x="68" y="50"/>
                    </a:cubicBezTo>
                    <a:cubicBezTo>
                      <a:pt x="67" y="65"/>
                      <a:pt x="45" y="76"/>
                      <a:pt x="45" y="76"/>
                    </a:cubicBezTo>
                    <a:cubicBezTo>
                      <a:pt x="48" y="110"/>
                      <a:pt x="48" y="110"/>
                      <a:pt x="48" y="110"/>
                    </a:cubicBezTo>
                    <a:cubicBezTo>
                      <a:pt x="48" y="110"/>
                      <a:pt x="41" y="123"/>
                      <a:pt x="40" y="130"/>
                    </a:cubicBezTo>
                    <a:cubicBezTo>
                      <a:pt x="39" y="137"/>
                      <a:pt x="54" y="149"/>
                      <a:pt x="54" y="155"/>
                    </a:cubicBezTo>
                    <a:cubicBezTo>
                      <a:pt x="54" y="161"/>
                      <a:pt x="53" y="164"/>
                      <a:pt x="53" y="164"/>
                    </a:cubicBezTo>
                    <a:cubicBezTo>
                      <a:pt x="53" y="164"/>
                      <a:pt x="59" y="167"/>
                      <a:pt x="57" y="174"/>
                    </a:cubicBezTo>
                    <a:cubicBezTo>
                      <a:pt x="55" y="181"/>
                      <a:pt x="44" y="184"/>
                      <a:pt x="44" y="184"/>
                    </a:cubicBezTo>
                    <a:cubicBezTo>
                      <a:pt x="42" y="211"/>
                      <a:pt x="42" y="211"/>
                      <a:pt x="42" y="211"/>
                    </a:cubicBezTo>
                    <a:cubicBezTo>
                      <a:pt x="42" y="211"/>
                      <a:pt x="30" y="220"/>
                      <a:pt x="27" y="227"/>
                    </a:cubicBezTo>
                    <a:cubicBezTo>
                      <a:pt x="24" y="234"/>
                      <a:pt x="29" y="246"/>
                      <a:pt x="21" y="256"/>
                    </a:cubicBezTo>
                    <a:cubicBezTo>
                      <a:pt x="13" y="266"/>
                      <a:pt x="5" y="262"/>
                      <a:pt x="5" y="262"/>
                    </a:cubicBezTo>
                    <a:cubicBezTo>
                      <a:pt x="3" y="285"/>
                      <a:pt x="3" y="285"/>
                      <a:pt x="3" y="285"/>
                    </a:cubicBezTo>
                    <a:cubicBezTo>
                      <a:pt x="6" y="307"/>
                      <a:pt x="6" y="307"/>
                      <a:pt x="6" y="307"/>
                    </a:cubicBezTo>
                    <a:cubicBezTo>
                      <a:pt x="3" y="326"/>
                      <a:pt x="3" y="326"/>
                      <a:pt x="3" y="326"/>
                    </a:cubicBezTo>
                    <a:cubicBezTo>
                      <a:pt x="4" y="385"/>
                      <a:pt x="4" y="385"/>
                      <a:pt x="4" y="385"/>
                    </a:cubicBezTo>
                    <a:cubicBezTo>
                      <a:pt x="0" y="402"/>
                      <a:pt x="0" y="402"/>
                      <a:pt x="0" y="402"/>
                    </a:cubicBezTo>
                    <a:cubicBezTo>
                      <a:pt x="7" y="405"/>
                      <a:pt x="17" y="408"/>
                      <a:pt x="23" y="406"/>
                    </a:cubicBezTo>
                    <a:cubicBezTo>
                      <a:pt x="34" y="402"/>
                      <a:pt x="44" y="394"/>
                      <a:pt x="44" y="394"/>
                    </a:cubicBezTo>
                    <a:cubicBezTo>
                      <a:pt x="47" y="401"/>
                      <a:pt x="47" y="401"/>
                      <a:pt x="47" y="401"/>
                    </a:cubicBezTo>
                    <a:cubicBezTo>
                      <a:pt x="47" y="401"/>
                      <a:pt x="80" y="394"/>
                      <a:pt x="96" y="413"/>
                    </a:cubicBezTo>
                    <a:cubicBezTo>
                      <a:pt x="112" y="432"/>
                      <a:pt x="113" y="441"/>
                      <a:pt x="113" y="441"/>
                    </a:cubicBezTo>
                    <a:cubicBezTo>
                      <a:pt x="127" y="440"/>
                      <a:pt x="127" y="440"/>
                      <a:pt x="127" y="440"/>
                    </a:cubicBezTo>
                    <a:cubicBezTo>
                      <a:pt x="127" y="440"/>
                      <a:pt x="117" y="455"/>
                      <a:pt x="120" y="456"/>
                    </a:cubicBezTo>
                    <a:cubicBezTo>
                      <a:pt x="123" y="457"/>
                      <a:pt x="133" y="450"/>
                      <a:pt x="133" y="453"/>
                    </a:cubicBezTo>
                    <a:cubicBezTo>
                      <a:pt x="133" y="456"/>
                      <a:pt x="128" y="464"/>
                      <a:pt x="128" y="472"/>
                    </a:cubicBezTo>
                    <a:cubicBezTo>
                      <a:pt x="128" y="480"/>
                      <a:pt x="136" y="509"/>
                      <a:pt x="157" y="510"/>
                    </a:cubicBezTo>
                    <a:cubicBezTo>
                      <a:pt x="178" y="511"/>
                      <a:pt x="191" y="509"/>
                      <a:pt x="191" y="509"/>
                    </a:cubicBezTo>
                    <a:cubicBezTo>
                      <a:pt x="194" y="491"/>
                      <a:pt x="194" y="491"/>
                      <a:pt x="194" y="491"/>
                    </a:cubicBezTo>
                    <a:cubicBezTo>
                      <a:pt x="212" y="501"/>
                      <a:pt x="212" y="501"/>
                      <a:pt x="212" y="501"/>
                    </a:cubicBezTo>
                    <a:cubicBezTo>
                      <a:pt x="228" y="496"/>
                      <a:pt x="228" y="496"/>
                      <a:pt x="228" y="496"/>
                    </a:cubicBezTo>
                    <a:cubicBezTo>
                      <a:pt x="237" y="505"/>
                      <a:pt x="237" y="505"/>
                      <a:pt x="237" y="505"/>
                    </a:cubicBezTo>
                    <a:cubicBezTo>
                      <a:pt x="265" y="504"/>
                      <a:pt x="265" y="504"/>
                      <a:pt x="265" y="504"/>
                    </a:cubicBezTo>
                    <a:cubicBezTo>
                      <a:pt x="265" y="488"/>
                      <a:pt x="265" y="488"/>
                      <a:pt x="265" y="488"/>
                    </a:cubicBezTo>
                    <a:cubicBezTo>
                      <a:pt x="282" y="487"/>
                      <a:pt x="282" y="487"/>
                      <a:pt x="282" y="487"/>
                    </a:cubicBezTo>
                    <a:cubicBezTo>
                      <a:pt x="281" y="490"/>
                      <a:pt x="281" y="490"/>
                      <a:pt x="281" y="49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Freeform 299">
                <a:extLst>
                  <a:ext uri="{FF2B5EF4-FFF2-40B4-BE49-F238E27FC236}">
                    <a16:creationId xmlns:a16="http://schemas.microsoft.com/office/drawing/2014/main" id="{096CC752-333A-112C-0FCD-E65B97BD85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961" y="-12966"/>
                <a:ext cx="1172" cy="2046"/>
              </a:xfrm>
              <a:custGeom>
                <a:avLst/>
                <a:gdLst>
                  <a:gd name="T0" fmla="*/ 496 w 496"/>
                  <a:gd name="T1" fmla="*/ 420 h 866"/>
                  <a:gd name="T2" fmla="*/ 119 w 496"/>
                  <a:gd name="T3" fmla="*/ 0 h 866"/>
                  <a:gd name="T4" fmla="*/ 83 w 496"/>
                  <a:gd name="T5" fmla="*/ 72 h 866"/>
                  <a:gd name="T6" fmla="*/ 95 w 496"/>
                  <a:gd name="T7" fmla="*/ 129 h 866"/>
                  <a:gd name="T8" fmla="*/ 120 w 496"/>
                  <a:gd name="T9" fmla="*/ 169 h 866"/>
                  <a:gd name="T10" fmla="*/ 96 w 496"/>
                  <a:gd name="T11" fmla="*/ 356 h 866"/>
                  <a:gd name="T12" fmla="*/ 13 w 496"/>
                  <a:gd name="T13" fmla="*/ 479 h 866"/>
                  <a:gd name="T14" fmla="*/ 3 w 496"/>
                  <a:gd name="T15" fmla="*/ 526 h 866"/>
                  <a:gd name="T16" fmla="*/ 29 w 496"/>
                  <a:gd name="T17" fmla="*/ 558 h 866"/>
                  <a:gd name="T18" fmla="*/ 29 w 496"/>
                  <a:gd name="T19" fmla="*/ 561 h 866"/>
                  <a:gd name="T20" fmla="*/ 50 w 496"/>
                  <a:gd name="T21" fmla="*/ 576 h 866"/>
                  <a:gd name="T22" fmla="*/ 66 w 496"/>
                  <a:gd name="T23" fmla="*/ 611 h 866"/>
                  <a:gd name="T24" fmla="*/ 74 w 496"/>
                  <a:gd name="T25" fmla="*/ 650 h 866"/>
                  <a:gd name="T26" fmla="*/ 106 w 496"/>
                  <a:gd name="T27" fmla="*/ 724 h 866"/>
                  <a:gd name="T28" fmla="*/ 31 w 496"/>
                  <a:gd name="T29" fmla="*/ 733 h 866"/>
                  <a:gd name="T30" fmla="*/ 87 w 496"/>
                  <a:gd name="T31" fmla="*/ 802 h 866"/>
                  <a:gd name="T32" fmla="*/ 123 w 496"/>
                  <a:gd name="T33" fmla="*/ 860 h 866"/>
                  <a:gd name="T34" fmla="*/ 165 w 496"/>
                  <a:gd name="T35" fmla="*/ 858 h 866"/>
                  <a:gd name="T36" fmla="*/ 248 w 496"/>
                  <a:gd name="T37" fmla="*/ 833 h 866"/>
                  <a:gd name="T38" fmla="*/ 253 w 496"/>
                  <a:gd name="T39" fmla="*/ 788 h 866"/>
                  <a:gd name="T40" fmla="*/ 338 w 496"/>
                  <a:gd name="T41" fmla="*/ 765 h 866"/>
                  <a:gd name="T42" fmla="*/ 378 w 496"/>
                  <a:gd name="T43" fmla="*/ 723 h 866"/>
                  <a:gd name="T44" fmla="*/ 393 w 496"/>
                  <a:gd name="T45" fmla="*/ 691 h 866"/>
                  <a:gd name="T46" fmla="*/ 446 w 496"/>
                  <a:gd name="T47" fmla="*/ 674 h 866"/>
                  <a:gd name="T48" fmla="*/ 451 w 496"/>
                  <a:gd name="T49" fmla="*/ 656 h 866"/>
                  <a:gd name="T50" fmla="*/ 426 w 496"/>
                  <a:gd name="T51" fmla="*/ 625 h 866"/>
                  <a:gd name="T52" fmla="*/ 428 w 496"/>
                  <a:gd name="T53" fmla="*/ 612 h 866"/>
                  <a:gd name="T54" fmla="*/ 406 w 496"/>
                  <a:gd name="T55" fmla="*/ 587 h 866"/>
                  <a:gd name="T56" fmla="*/ 417 w 496"/>
                  <a:gd name="T57" fmla="*/ 549 h 866"/>
                  <a:gd name="T58" fmla="*/ 419 w 496"/>
                  <a:gd name="T59" fmla="*/ 508 h 866"/>
                  <a:gd name="T60" fmla="*/ 425 w 496"/>
                  <a:gd name="T61" fmla="*/ 490 h 866"/>
                  <a:gd name="T62" fmla="*/ 432 w 496"/>
                  <a:gd name="T63" fmla="*/ 474 h 866"/>
                  <a:gd name="T64" fmla="*/ 449 w 496"/>
                  <a:gd name="T65" fmla="*/ 442 h 8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96" h="866">
                    <a:moveTo>
                      <a:pt x="451" y="419"/>
                    </a:moveTo>
                    <a:cubicBezTo>
                      <a:pt x="464" y="415"/>
                      <a:pt x="496" y="420"/>
                      <a:pt x="496" y="420"/>
                    </a:cubicBezTo>
                    <a:cubicBezTo>
                      <a:pt x="492" y="216"/>
                      <a:pt x="492" y="216"/>
                      <a:pt x="492" y="216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19" y="0"/>
                      <a:pt x="94" y="15"/>
                      <a:pt x="71" y="28"/>
                    </a:cubicBezTo>
                    <a:cubicBezTo>
                      <a:pt x="83" y="72"/>
                      <a:pt x="83" y="72"/>
                      <a:pt x="83" y="72"/>
                    </a:cubicBezTo>
                    <a:cubicBezTo>
                      <a:pt x="76" y="105"/>
                      <a:pt x="76" y="105"/>
                      <a:pt x="76" y="105"/>
                    </a:cubicBezTo>
                    <a:cubicBezTo>
                      <a:pt x="95" y="129"/>
                      <a:pt x="95" y="129"/>
                      <a:pt x="95" y="129"/>
                    </a:cubicBezTo>
                    <a:cubicBezTo>
                      <a:pt x="100" y="145"/>
                      <a:pt x="100" y="145"/>
                      <a:pt x="100" y="145"/>
                    </a:cubicBezTo>
                    <a:cubicBezTo>
                      <a:pt x="120" y="169"/>
                      <a:pt x="120" y="169"/>
                      <a:pt x="120" y="169"/>
                    </a:cubicBezTo>
                    <a:cubicBezTo>
                      <a:pt x="106" y="194"/>
                      <a:pt x="106" y="194"/>
                      <a:pt x="106" y="194"/>
                    </a:cubicBezTo>
                    <a:cubicBezTo>
                      <a:pt x="96" y="356"/>
                      <a:pt x="96" y="356"/>
                      <a:pt x="96" y="356"/>
                    </a:cubicBezTo>
                    <a:cubicBezTo>
                      <a:pt x="96" y="356"/>
                      <a:pt x="46" y="409"/>
                      <a:pt x="35" y="426"/>
                    </a:cubicBezTo>
                    <a:cubicBezTo>
                      <a:pt x="23" y="442"/>
                      <a:pt x="13" y="479"/>
                      <a:pt x="13" y="479"/>
                    </a:cubicBezTo>
                    <a:cubicBezTo>
                      <a:pt x="0" y="484"/>
                      <a:pt x="0" y="484"/>
                      <a:pt x="0" y="484"/>
                    </a:cubicBezTo>
                    <a:cubicBezTo>
                      <a:pt x="3" y="526"/>
                      <a:pt x="3" y="526"/>
                      <a:pt x="3" y="526"/>
                    </a:cubicBezTo>
                    <a:cubicBezTo>
                      <a:pt x="7" y="526"/>
                      <a:pt x="10" y="526"/>
                      <a:pt x="10" y="526"/>
                    </a:cubicBezTo>
                    <a:cubicBezTo>
                      <a:pt x="29" y="558"/>
                      <a:pt x="29" y="558"/>
                      <a:pt x="29" y="558"/>
                    </a:cubicBezTo>
                    <a:cubicBezTo>
                      <a:pt x="29" y="558"/>
                      <a:pt x="29" y="560"/>
                      <a:pt x="29" y="563"/>
                    </a:cubicBezTo>
                    <a:cubicBezTo>
                      <a:pt x="29" y="562"/>
                      <a:pt x="29" y="561"/>
                      <a:pt x="29" y="561"/>
                    </a:cubicBezTo>
                    <a:cubicBezTo>
                      <a:pt x="45" y="559"/>
                      <a:pt x="45" y="559"/>
                      <a:pt x="45" y="559"/>
                    </a:cubicBezTo>
                    <a:cubicBezTo>
                      <a:pt x="45" y="559"/>
                      <a:pt x="46" y="571"/>
                      <a:pt x="50" y="576"/>
                    </a:cubicBezTo>
                    <a:cubicBezTo>
                      <a:pt x="54" y="581"/>
                      <a:pt x="70" y="584"/>
                      <a:pt x="70" y="584"/>
                    </a:cubicBezTo>
                    <a:cubicBezTo>
                      <a:pt x="66" y="611"/>
                      <a:pt x="66" y="611"/>
                      <a:pt x="66" y="611"/>
                    </a:cubicBezTo>
                    <a:cubicBezTo>
                      <a:pt x="66" y="611"/>
                      <a:pt x="80" y="618"/>
                      <a:pt x="80" y="629"/>
                    </a:cubicBezTo>
                    <a:cubicBezTo>
                      <a:pt x="80" y="640"/>
                      <a:pt x="74" y="650"/>
                      <a:pt x="74" y="650"/>
                    </a:cubicBezTo>
                    <a:cubicBezTo>
                      <a:pt x="74" y="650"/>
                      <a:pt x="75" y="678"/>
                      <a:pt x="80" y="692"/>
                    </a:cubicBezTo>
                    <a:cubicBezTo>
                      <a:pt x="85" y="706"/>
                      <a:pt x="106" y="724"/>
                      <a:pt x="106" y="724"/>
                    </a:cubicBezTo>
                    <a:cubicBezTo>
                      <a:pt x="106" y="724"/>
                      <a:pt x="92" y="725"/>
                      <a:pt x="84" y="726"/>
                    </a:cubicBezTo>
                    <a:cubicBezTo>
                      <a:pt x="76" y="727"/>
                      <a:pt x="36" y="720"/>
                      <a:pt x="31" y="733"/>
                    </a:cubicBezTo>
                    <a:cubicBezTo>
                      <a:pt x="26" y="746"/>
                      <a:pt x="41" y="767"/>
                      <a:pt x="49" y="775"/>
                    </a:cubicBezTo>
                    <a:cubicBezTo>
                      <a:pt x="57" y="783"/>
                      <a:pt x="78" y="792"/>
                      <a:pt x="87" y="802"/>
                    </a:cubicBezTo>
                    <a:cubicBezTo>
                      <a:pt x="96" y="812"/>
                      <a:pt x="101" y="859"/>
                      <a:pt x="101" y="859"/>
                    </a:cubicBezTo>
                    <a:cubicBezTo>
                      <a:pt x="101" y="859"/>
                      <a:pt x="113" y="866"/>
                      <a:pt x="123" y="860"/>
                    </a:cubicBezTo>
                    <a:cubicBezTo>
                      <a:pt x="133" y="853"/>
                      <a:pt x="153" y="838"/>
                      <a:pt x="153" y="838"/>
                    </a:cubicBezTo>
                    <a:cubicBezTo>
                      <a:pt x="153" y="838"/>
                      <a:pt x="146" y="863"/>
                      <a:pt x="165" y="858"/>
                    </a:cubicBezTo>
                    <a:cubicBezTo>
                      <a:pt x="183" y="853"/>
                      <a:pt x="178" y="833"/>
                      <a:pt x="196" y="833"/>
                    </a:cubicBezTo>
                    <a:cubicBezTo>
                      <a:pt x="215" y="833"/>
                      <a:pt x="248" y="833"/>
                      <a:pt x="248" y="833"/>
                    </a:cubicBezTo>
                    <a:cubicBezTo>
                      <a:pt x="248" y="833"/>
                      <a:pt x="263" y="811"/>
                      <a:pt x="268" y="805"/>
                    </a:cubicBezTo>
                    <a:cubicBezTo>
                      <a:pt x="273" y="798"/>
                      <a:pt x="253" y="788"/>
                      <a:pt x="253" y="788"/>
                    </a:cubicBezTo>
                    <a:cubicBezTo>
                      <a:pt x="267" y="780"/>
                      <a:pt x="267" y="780"/>
                      <a:pt x="267" y="780"/>
                    </a:cubicBezTo>
                    <a:cubicBezTo>
                      <a:pt x="267" y="780"/>
                      <a:pt x="307" y="780"/>
                      <a:pt x="338" y="765"/>
                    </a:cubicBezTo>
                    <a:cubicBezTo>
                      <a:pt x="370" y="750"/>
                      <a:pt x="365" y="728"/>
                      <a:pt x="365" y="728"/>
                    </a:cubicBezTo>
                    <a:cubicBezTo>
                      <a:pt x="378" y="723"/>
                      <a:pt x="378" y="723"/>
                      <a:pt x="378" y="723"/>
                    </a:cubicBezTo>
                    <a:cubicBezTo>
                      <a:pt x="390" y="711"/>
                      <a:pt x="390" y="711"/>
                      <a:pt x="390" y="711"/>
                    </a:cubicBezTo>
                    <a:cubicBezTo>
                      <a:pt x="393" y="691"/>
                      <a:pt x="393" y="691"/>
                      <a:pt x="393" y="691"/>
                    </a:cubicBezTo>
                    <a:cubicBezTo>
                      <a:pt x="430" y="673"/>
                      <a:pt x="430" y="673"/>
                      <a:pt x="430" y="673"/>
                    </a:cubicBezTo>
                    <a:cubicBezTo>
                      <a:pt x="446" y="674"/>
                      <a:pt x="446" y="674"/>
                      <a:pt x="446" y="674"/>
                    </a:cubicBezTo>
                    <a:cubicBezTo>
                      <a:pt x="445" y="665"/>
                      <a:pt x="445" y="665"/>
                      <a:pt x="445" y="665"/>
                    </a:cubicBezTo>
                    <a:cubicBezTo>
                      <a:pt x="445" y="665"/>
                      <a:pt x="463" y="669"/>
                      <a:pt x="451" y="656"/>
                    </a:cubicBezTo>
                    <a:cubicBezTo>
                      <a:pt x="439" y="643"/>
                      <a:pt x="430" y="642"/>
                      <a:pt x="430" y="642"/>
                    </a:cubicBezTo>
                    <a:cubicBezTo>
                      <a:pt x="426" y="625"/>
                      <a:pt x="426" y="625"/>
                      <a:pt x="426" y="625"/>
                    </a:cubicBezTo>
                    <a:cubicBezTo>
                      <a:pt x="437" y="620"/>
                      <a:pt x="437" y="620"/>
                      <a:pt x="437" y="620"/>
                    </a:cubicBezTo>
                    <a:cubicBezTo>
                      <a:pt x="428" y="612"/>
                      <a:pt x="428" y="612"/>
                      <a:pt x="428" y="612"/>
                    </a:cubicBezTo>
                    <a:cubicBezTo>
                      <a:pt x="428" y="612"/>
                      <a:pt x="430" y="585"/>
                      <a:pt x="423" y="582"/>
                    </a:cubicBezTo>
                    <a:cubicBezTo>
                      <a:pt x="416" y="579"/>
                      <a:pt x="411" y="589"/>
                      <a:pt x="406" y="587"/>
                    </a:cubicBezTo>
                    <a:cubicBezTo>
                      <a:pt x="401" y="585"/>
                      <a:pt x="395" y="580"/>
                      <a:pt x="398" y="569"/>
                    </a:cubicBezTo>
                    <a:cubicBezTo>
                      <a:pt x="401" y="558"/>
                      <a:pt x="415" y="558"/>
                      <a:pt x="417" y="549"/>
                    </a:cubicBezTo>
                    <a:cubicBezTo>
                      <a:pt x="419" y="540"/>
                      <a:pt x="416" y="536"/>
                      <a:pt x="410" y="526"/>
                    </a:cubicBezTo>
                    <a:cubicBezTo>
                      <a:pt x="404" y="516"/>
                      <a:pt x="419" y="508"/>
                      <a:pt x="419" y="508"/>
                    </a:cubicBezTo>
                    <a:cubicBezTo>
                      <a:pt x="430" y="501"/>
                      <a:pt x="430" y="501"/>
                      <a:pt x="430" y="501"/>
                    </a:cubicBezTo>
                    <a:cubicBezTo>
                      <a:pt x="425" y="490"/>
                      <a:pt x="425" y="490"/>
                      <a:pt x="425" y="490"/>
                    </a:cubicBezTo>
                    <a:cubicBezTo>
                      <a:pt x="422" y="474"/>
                      <a:pt x="422" y="474"/>
                      <a:pt x="422" y="474"/>
                    </a:cubicBezTo>
                    <a:cubicBezTo>
                      <a:pt x="432" y="474"/>
                      <a:pt x="432" y="474"/>
                      <a:pt x="432" y="474"/>
                    </a:cubicBezTo>
                    <a:cubicBezTo>
                      <a:pt x="432" y="474"/>
                      <a:pt x="430" y="462"/>
                      <a:pt x="436" y="456"/>
                    </a:cubicBezTo>
                    <a:cubicBezTo>
                      <a:pt x="442" y="450"/>
                      <a:pt x="451" y="450"/>
                      <a:pt x="449" y="442"/>
                    </a:cubicBezTo>
                    <a:cubicBezTo>
                      <a:pt x="447" y="434"/>
                      <a:pt x="438" y="423"/>
                      <a:pt x="451" y="419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Freeform 300">
                <a:extLst>
                  <a:ext uri="{FF2B5EF4-FFF2-40B4-BE49-F238E27FC236}">
                    <a16:creationId xmlns:a16="http://schemas.microsoft.com/office/drawing/2014/main" id="{B0170D21-EBE9-44A3-6474-58B4D380AF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817" y="-13159"/>
                <a:ext cx="1838" cy="1889"/>
              </a:xfrm>
              <a:custGeom>
                <a:avLst/>
                <a:gdLst>
                  <a:gd name="T0" fmla="*/ 424 w 778"/>
                  <a:gd name="T1" fmla="*/ 631 h 800"/>
                  <a:gd name="T2" fmla="*/ 437 w 778"/>
                  <a:gd name="T3" fmla="*/ 607 h 800"/>
                  <a:gd name="T4" fmla="*/ 481 w 778"/>
                  <a:gd name="T5" fmla="*/ 585 h 800"/>
                  <a:gd name="T6" fmla="*/ 502 w 778"/>
                  <a:gd name="T7" fmla="*/ 563 h 800"/>
                  <a:gd name="T8" fmla="*/ 527 w 778"/>
                  <a:gd name="T9" fmla="*/ 547 h 800"/>
                  <a:gd name="T10" fmla="*/ 572 w 778"/>
                  <a:gd name="T11" fmla="*/ 537 h 800"/>
                  <a:gd name="T12" fmla="*/ 620 w 778"/>
                  <a:gd name="T13" fmla="*/ 537 h 800"/>
                  <a:gd name="T14" fmla="*/ 680 w 778"/>
                  <a:gd name="T15" fmla="*/ 526 h 800"/>
                  <a:gd name="T16" fmla="*/ 712 w 778"/>
                  <a:gd name="T17" fmla="*/ 519 h 800"/>
                  <a:gd name="T18" fmla="*/ 748 w 778"/>
                  <a:gd name="T19" fmla="*/ 509 h 800"/>
                  <a:gd name="T20" fmla="*/ 778 w 778"/>
                  <a:gd name="T21" fmla="*/ 454 h 800"/>
                  <a:gd name="T22" fmla="*/ 766 w 778"/>
                  <a:gd name="T23" fmla="*/ 320 h 800"/>
                  <a:gd name="T24" fmla="*/ 738 w 778"/>
                  <a:gd name="T25" fmla="*/ 300 h 800"/>
                  <a:gd name="T26" fmla="*/ 694 w 778"/>
                  <a:gd name="T27" fmla="*/ 270 h 800"/>
                  <a:gd name="T28" fmla="*/ 666 w 778"/>
                  <a:gd name="T29" fmla="*/ 251 h 800"/>
                  <a:gd name="T30" fmla="*/ 637 w 778"/>
                  <a:gd name="T31" fmla="*/ 229 h 800"/>
                  <a:gd name="T32" fmla="*/ 364 w 778"/>
                  <a:gd name="T33" fmla="*/ 3 h 800"/>
                  <a:gd name="T34" fmla="*/ 314 w 778"/>
                  <a:gd name="T35" fmla="*/ 459 h 800"/>
                  <a:gd name="T36" fmla="*/ 323 w 778"/>
                  <a:gd name="T37" fmla="*/ 483 h 800"/>
                  <a:gd name="T38" fmla="*/ 141 w 778"/>
                  <a:gd name="T39" fmla="*/ 513 h 800"/>
                  <a:gd name="T40" fmla="*/ 127 w 778"/>
                  <a:gd name="T41" fmla="*/ 517 h 800"/>
                  <a:gd name="T42" fmla="*/ 96 w 778"/>
                  <a:gd name="T43" fmla="*/ 515 h 800"/>
                  <a:gd name="T44" fmla="*/ 64 w 778"/>
                  <a:gd name="T45" fmla="*/ 532 h 800"/>
                  <a:gd name="T46" fmla="*/ 24 w 778"/>
                  <a:gd name="T47" fmla="*/ 535 h 800"/>
                  <a:gd name="T48" fmla="*/ 0 w 778"/>
                  <a:gd name="T49" fmla="*/ 550 h 800"/>
                  <a:gd name="T50" fmla="*/ 9 w 778"/>
                  <a:gd name="T51" fmla="*/ 578 h 800"/>
                  <a:gd name="T52" fmla="*/ 14 w 778"/>
                  <a:gd name="T53" fmla="*/ 623 h 800"/>
                  <a:gd name="T54" fmla="*/ 37 w 778"/>
                  <a:gd name="T55" fmla="*/ 644 h 800"/>
                  <a:gd name="T56" fmla="*/ 44 w 778"/>
                  <a:gd name="T57" fmla="*/ 703 h 800"/>
                  <a:gd name="T58" fmla="*/ 73 w 778"/>
                  <a:gd name="T59" fmla="*/ 706 h 800"/>
                  <a:gd name="T60" fmla="*/ 119 w 778"/>
                  <a:gd name="T61" fmla="*/ 698 h 800"/>
                  <a:gd name="T62" fmla="*/ 145 w 778"/>
                  <a:gd name="T63" fmla="*/ 673 h 800"/>
                  <a:gd name="T64" fmla="*/ 163 w 778"/>
                  <a:gd name="T65" fmla="*/ 697 h 800"/>
                  <a:gd name="T66" fmla="*/ 180 w 778"/>
                  <a:gd name="T67" fmla="*/ 730 h 800"/>
                  <a:gd name="T68" fmla="*/ 182 w 778"/>
                  <a:gd name="T69" fmla="*/ 752 h 800"/>
                  <a:gd name="T70" fmla="*/ 201 w 778"/>
                  <a:gd name="T71" fmla="*/ 796 h 800"/>
                  <a:gd name="T72" fmla="*/ 220 w 778"/>
                  <a:gd name="T73" fmla="*/ 784 h 800"/>
                  <a:gd name="T74" fmla="*/ 250 w 778"/>
                  <a:gd name="T75" fmla="*/ 788 h 800"/>
                  <a:gd name="T76" fmla="*/ 264 w 778"/>
                  <a:gd name="T77" fmla="*/ 770 h 800"/>
                  <a:gd name="T78" fmla="*/ 281 w 778"/>
                  <a:gd name="T79" fmla="*/ 769 h 800"/>
                  <a:gd name="T80" fmla="*/ 296 w 778"/>
                  <a:gd name="T81" fmla="*/ 795 h 800"/>
                  <a:gd name="T82" fmla="*/ 312 w 778"/>
                  <a:gd name="T83" fmla="*/ 744 h 800"/>
                  <a:gd name="T84" fmla="*/ 335 w 778"/>
                  <a:gd name="T85" fmla="*/ 729 h 800"/>
                  <a:gd name="T86" fmla="*/ 333 w 778"/>
                  <a:gd name="T87" fmla="*/ 700 h 800"/>
                  <a:gd name="T88" fmla="*/ 359 w 778"/>
                  <a:gd name="T89" fmla="*/ 685 h 800"/>
                  <a:gd name="T90" fmla="*/ 367 w 778"/>
                  <a:gd name="T91" fmla="*/ 659 h 800"/>
                  <a:gd name="T92" fmla="*/ 375 w 778"/>
                  <a:gd name="T93" fmla="*/ 637 h 800"/>
                  <a:gd name="T94" fmla="*/ 409 w 778"/>
                  <a:gd name="T95" fmla="*/ 636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78" h="800">
                    <a:moveTo>
                      <a:pt x="409" y="636"/>
                    </a:moveTo>
                    <a:cubicBezTo>
                      <a:pt x="424" y="631"/>
                      <a:pt x="424" y="631"/>
                      <a:pt x="424" y="631"/>
                    </a:cubicBezTo>
                    <a:cubicBezTo>
                      <a:pt x="424" y="607"/>
                      <a:pt x="424" y="607"/>
                      <a:pt x="424" y="607"/>
                    </a:cubicBezTo>
                    <a:cubicBezTo>
                      <a:pt x="437" y="607"/>
                      <a:pt x="437" y="607"/>
                      <a:pt x="437" y="607"/>
                    </a:cubicBezTo>
                    <a:cubicBezTo>
                      <a:pt x="437" y="607"/>
                      <a:pt x="454" y="578"/>
                      <a:pt x="460" y="576"/>
                    </a:cubicBezTo>
                    <a:cubicBezTo>
                      <a:pt x="466" y="574"/>
                      <a:pt x="478" y="586"/>
                      <a:pt x="481" y="585"/>
                    </a:cubicBezTo>
                    <a:cubicBezTo>
                      <a:pt x="484" y="584"/>
                      <a:pt x="485" y="563"/>
                      <a:pt x="485" y="563"/>
                    </a:cubicBezTo>
                    <a:cubicBezTo>
                      <a:pt x="502" y="563"/>
                      <a:pt x="502" y="563"/>
                      <a:pt x="502" y="563"/>
                    </a:cubicBezTo>
                    <a:cubicBezTo>
                      <a:pt x="513" y="549"/>
                      <a:pt x="513" y="549"/>
                      <a:pt x="513" y="549"/>
                    </a:cubicBezTo>
                    <a:cubicBezTo>
                      <a:pt x="513" y="549"/>
                      <a:pt x="517" y="551"/>
                      <a:pt x="527" y="547"/>
                    </a:cubicBezTo>
                    <a:cubicBezTo>
                      <a:pt x="537" y="543"/>
                      <a:pt x="539" y="535"/>
                      <a:pt x="539" y="535"/>
                    </a:cubicBezTo>
                    <a:cubicBezTo>
                      <a:pt x="572" y="537"/>
                      <a:pt x="572" y="537"/>
                      <a:pt x="572" y="537"/>
                    </a:cubicBezTo>
                    <a:cubicBezTo>
                      <a:pt x="588" y="544"/>
                      <a:pt x="588" y="544"/>
                      <a:pt x="588" y="544"/>
                    </a:cubicBezTo>
                    <a:cubicBezTo>
                      <a:pt x="620" y="537"/>
                      <a:pt x="620" y="537"/>
                      <a:pt x="620" y="537"/>
                    </a:cubicBezTo>
                    <a:cubicBezTo>
                      <a:pt x="638" y="525"/>
                      <a:pt x="638" y="525"/>
                      <a:pt x="638" y="525"/>
                    </a:cubicBezTo>
                    <a:cubicBezTo>
                      <a:pt x="680" y="526"/>
                      <a:pt x="680" y="526"/>
                      <a:pt x="680" y="526"/>
                    </a:cubicBezTo>
                    <a:cubicBezTo>
                      <a:pt x="681" y="517"/>
                      <a:pt x="681" y="517"/>
                      <a:pt x="681" y="517"/>
                    </a:cubicBezTo>
                    <a:cubicBezTo>
                      <a:pt x="712" y="519"/>
                      <a:pt x="712" y="519"/>
                      <a:pt x="712" y="519"/>
                    </a:cubicBezTo>
                    <a:cubicBezTo>
                      <a:pt x="719" y="514"/>
                      <a:pt x="719" y="514"/>
                      <a:pt x="719" y="514"/>
                    </a:cubicBezTo>
                    <a:cubicBezTo>
                      <a:pt x="719" y="514"/>
                      <a:pt x="726" y="520"/>
                      <a:pt x="748" y="509"/>
                    </a:cubicBezTo>
                    <a:cubicBezTo>
                      <a:pt x="763" y="502"/>
                      <a:pt x="763" y="469"/>
                      <a:pt x="763" y="469"/>
                    </a:cubicBezTo>
                    <a:cubicBezTo>
                      <a:pt x="778" y="454"/>
                      <a:pt x="778" y="454"/>
                      <a:pt x="778" y="454"/>
                    </a:cubicBezTo>
                    <a:cubicBezTo>
                      <a:pt x="778" y="317"/>
                      <a:pt x="778" y="317"/>
                      <a:pt x="778" y="317"/>
                    </a:cubicBezTo>
                    <a:cubicBezTo>
                      <a:pt x="771" y="319"/>
                      <a:pt x="766" y="320"/>
                      <a:pt x="766" y="320"/>
                    </a:cubicBezTo>
                    <a:cubicBezTo>
                      <a:pt x="766" y="320"/>
                      <a:pt x="744" y="328"/>
                      <a:pt x="729" y="321"/>
                    </a:cubicBezTo>
                    <a:cubicBezTo>
                      <a:pt x="714" y="314"/>
                      <a:pt x="738" y="300"/>
                      <a:pt x="738" y="300"/>
                    </a:cubicBezTo>
                    <a:cubicBezTo>
                      <a:pt x="738" y="300"/>
                      <a:pt x="737" y="280"/>
                      <a:pt x="727" y="272"/>
                    </a:cubicBezTo>
                    <a:cubicBezTo>
                      <a:pt x="717" y="264"/>
                      <a:pt x="694" y="270"/>
                      <a:pt x="694" y="270"/>
                    </a:cubicBezTo>
                    <a:cubicBezTo>
                      <a:pt x="689" y="252"/>
                      <a:pt x="689" y="252"/>
                      <a:pt x="689" y="252"/>
                    </a:cubicBezTo>
                    <a:cubicBezTo>
                      <a:pt x="689" y="252"/>
                      <a:pt x="676" y="254"/>
                      <a:pt x="666" y="251"/>
                    </a:cubicBezTo>
                    <a:cubicBezTo>
                      <a:pt x="656" y="248"/>
                      <a:pt x="658" y="241"/>
                      <a:pt x="656" y="233"/>
                    </a:cubicBezTo>
                    <a:cubicBezTo>
                      <a:pt x="654" y="225"/>
                      <a:pt x="637" y="229"/>
                      <a:pt x="637" y="229"/>
                    </a:cubicBezTo>
                    <a:cubicBezTo>
                      <a:pt x="638" y="212"/>
                      <a:pt x="638" y="212"/>
                      <a:pt x="638" y="212"/>
                    </a:cubicBezTo>
                    <a:cubicBezTo>
                      <a:pt x="364" y="3"/>
                      <a:pt x="364" y="3"/>
                      <a:pt x="364" y="3"/>
                    </a:cubicBezTo>
                    <a:cubicBezTo>
                      <a:pt x="283" y="0"/>
                      <a:pt x="283" y="0"/>
                      <a:pt x="283" y="0"/>
                    </a:cubicBezTo>
                    <a:cubicBezTo>
                      <a:pt x="314" y="459"/>
                      <a:pt x="314" y="459"/>
                      <a:pt x="314" y="459"/>
                    </a:cubicBezTo>
                    <a:cubicBezTo>
                      <a:pt x="314" y="459"/>
                      <a:pt x="327" y="465"/>
                      <a:pt x="328" y="472"/>
                    </a:cubicBezTo>
                    <a:cubicBezTo>
                      <a:pt x="329" y="479"/>
                      <a:pt x="323" y="483"/>
                      <a:pt x="323" y="483"/>
                    </a:cubicBezTo>
                    <a:cubicBezTo>
                      <a:pt x="318" y="510"/>
                      <a:pt x="318" y="510"/>
                      <a:pt x="318" y="510"/>
                    </a:cubicBezTo>
                    <a:cubicBezTo>
                      <a:pt x="141" y="513"/>
                      <a:pt x="141" y="513"/>
                      <a:pt x="141" y="513"/>
                    </a:cubicBezTo>
                    <a:cubicBezTo>
                      <a:pt x="141" y="513"/>
                      <a:pt x="141" y="502"/>
                      <a:pt x="137" y="503"/>
                    </a:cubicBezTo>
                    <a:cubicBezTo>
                      <a:pt x="133" y="504"/>
                      <a:pt x="135" y="516"/>
                      <a:pt x="127" y="517"/>
                    </a:cubicBezTo>
                    <a:cubicBezTo>
                      <a:pt x="119" y="518"/>
                      <a:pt x="102" y="521"/>
                      <a:pt x="102" y="521"/>
                    </a:cubicBezTo>
                    <a:cubicBezTo>
                      <a:pt x="96" y="515"/>
                      <a:pt x="96" y="515"/>
                      <a:pt x="96" y="515"/>
                    </a:cubicBezTo>
                    <a:cubicBezTo>
                      <a:pt x="74" y="515"/>
                      <a:pt x="74" y="515"/>
                      <a:pt x="74" y="515"/>
                    </a:cubicBezTo>
                    <a:cubicBezTo>
                      <a:pt x="64" y="532"/>
                      <a:pt x="64" y="532"/>
                      <a:pt x="64" y="532"/>
                    </a:cubicBezTo>
                    <a:cubicBezTo>
                      <a:pt x="64" y="532"/>
                      <a:pt x="52" y="507"/>
                      <a:pt x="39" y="507"/>
                    </a:cubicBezTo>
                    <a:cubicBezTo>
                      <a:pt x="26" y="507"/>
                      <a:pt x="24" y="516"/>
                      <a:pt x="24" y="535"/>
                    </a:cubicBezTo>
                    <a:cubicBezTo>
                      <a:pt x="25" y="536"/>
                      <a:pt x="28" y="546"/>
                      <a:pt x="20" y="549"/>
                    </a:cubicBezTo>
                    <a:cubicBezTo>
                      <a:pt x="12" y="552"/>
                      <a:pt x="0" y="550"/>
                      <a:pt x="0" y="550"/>
                    </a:cubicBezTo>
                    <a:cubicBezTo>
                      <a:pt x="1" y="568"/>
                      <a:pt x="1" y="568"/>
                      <a:pt x="1" y="568"/>
                    </a:cubicBezTo>
                    <a:cubicBezTo>
                      <a:pt x="9" y="578"/>
                      <a:pt x="9" y="578"/>
                      <a:pt x="9" y="578"/>
                    </a:cubicBezTo>
                    <a:cubicBezTo>
                      <a:pt x="9" y="578"/>
                      <a:pt x="21" y="600"/>
                      <a:pt x="16" y="604"/>
                    </a:cubicBezTo>
                    <a:cubicBezTo>
                      <a:pt x="11" y="608"/>
                      <a:pt x="7" y="612"/>
                      <a:pt x="14" y="623"/>
                    </a:cubicBezTo>
                    <a:cubicBezTo>
                      <a:pt x="21" y="634"/>
                      <a:pt x="25" y="622"/>
                      <a:pt x="30" y="625"/>
                    </a:cubicBezTo>
                    <a:cubicBezTo>
                      <a:pt x="35" y="628"/>
                      <a:pt x="37" y="644"/>
                      <a:pt x="37" y="644"/>
                    </a:cubicBezTo>
                    <a:cubicBezTo>
                      <a:pt x="36" y="678"/>
                      <a:pt x="36" y="678"/>
                      <a:pt x="36" y="678"/>
                    </a:cubicBezTo>
                    <a:cubicBezTo>
                      <a:pt x="36" y="678"/>
                      <a:pt x="40" y="705"/>
                      <a:pt x="44" y="703"/>
                    </a:cubicBezTo>
                    <a:cubicBezTo>
                      <a:pt x="48" y="701"/>
                      <a:pt x="52" y="685"/>
                      <a:pt x="61" y="685"/>
                    </a:cubicBezTo>
                    <a:cubicBezTo>
                      <a:pt x="70" y="685"/>
                      <a:pt x="73" y="706"/>
                      <a:pt x="73" y="706"/>
                    </a:cubicBezTo>
                    <a:cubicBezTo>
                      <a:pt x="73" y="706"/>
                      <a:pt x="87" y="683"/>
                      <a:pt x="92" y="685"/>
                    </a:cubicBezTo>
                    <a:cubicBezTo>
                      <a:pt x="97" y="687"/>
                      <a:pt x="119" y="698"/>
                      <a:pt x="119" y="698"/>
                    </a:cubicBezTo>
                    <a:cubicBezTo>
                      <a:pt x="131" y="689"/>
                      <a:pt x="131" y="689"/>
                      <a:pt x="131" y="689"/>
                    </a:cubicBezTo>
                    <a:cubicBezTo>
                      <a:pt x="131" y="689"/>
                      <a:pt x="129" y="665"/>
                      <a:pt x="145" y="673"/>
                    </a:cubicBezTo>
                    <a:cubicBezTo>
                      <a:pt x="161" y="681"/>
                      <a:pt x="154" y="688"/>
                      <a:pt x="154" y="688"/>
                    </a:cubicBezTo>
                    <a:cubicBezTo>
                      <a:pt x="163" y="697"/>
                      <a:pt x="163" y="697"/>
                      <a:pt x="163" y="697"/>
                    </a:cubicBezTo>
                    <a:cubicBezTo>
                      <a:pt x="157" y="714"/>
                      <a:pt x="157" y="714"/>
                      <a:pt x="157" y="714"/>
                    </a:cubicBezTo>
                    <a:cubicBezTo>
                      <a:pt x="180" y="730"/>
                      <a:pt x="180" y="730"/>
                      <a:pt x="180" y="730"/>
                    </a:cubicBezTo>
                    <a:cubicBezTo>
                      <a:pt x="163" y="753"/>
                      <a:pt x="163" y="753"/>
                      <a:pt x="163" y="753"/>
                    </a:cubicBezTo>
                    <a:cubicBezTo>
                      <a:pt x="182" y="752"/>
                      <a:pt x="182" y="752"/>
                      <a:pt x="182" y="752"/>
                    </a:cubicBezTo>
                    <a:cubicBezTo>
                      <a:pt x="182" y="777"/>
                      <a:pt x="182" y="777"/>
                      <a:pt x="182" y="777"/>
                    </a:cubicBezTo>
                    <a:cubicBezTo>
                      <a:pt x="201" y="796"/>
                      <a:pt x="201" y="796"/>
                      <a:pt x="201" y="796"/>
                    </a:cubicBezTo>
                    <a:cubicBezTo>
                      <a:pt x="207" y="799"/>
                      <a:pt x="207" y="799"/>
                      <a:pt x="207" y="799"/>
                    </a:cubicBezTo>
                    <a:cubicBezTo>
                      <a:pt x="207" y="799"/>
                      <a:pt x="204" y="782"/>
                      <a:pt x="220" y="784"/>
                    </a:cubicBezTo>
                    <a:cubicBezTo>
                      <a:pt x="236" y="786"/>
                      <a:pt x="246" y="800"/>
                      <a:pt x="246" y="800"/>
                    </a:cubicBezTo>
                    <a:cubicBezTo>
                      <a:pt x="250" y="788"/>
                      <a:pt x="250" y="788"/>
                      <a:pt x="250" y="788"/>
                    </a:cubicBezTo>
                    <a:cubicBezTo>
                      <a:pt x="260" y="788"/>
                      <a:pt x="260" y="788"/>
                      <a:pt x="260" y="788"/>
                    </a:cubicBezTo>
                    <a:cubicBezTo>
                      <a:pt x="264" y="770"/>
                      <a:pt x="264" y="770"/>
                      <a:pt x="264" y="770"/>
                    </a:cubicBezTo>
                    <a:cubicBezTo>
                      <a:pt x="273" y="782"/>
                      <a:pt x="273" y="782"/>
                      <a:pt x="273" y="782"/>
                    </a:cubicBezTo>
                    <a:cubicBezTo>
                      <a:pt x="281" y="769"/>
                      <a:pt x="281" y="769"/>
                      <a:pt x="281" y="769"/>
                    </a:cubicBezTo>
                    <a:cubicBezTo>
                      <a:pt x="281" y="793"/>
                      <a:pt x="281" y="793"/>
                      <a:pt x="281" y="793"/>
                    </a:cubicBezTo>
                    <a:cubicBezTo>
                      <a:pt x="296" y="795"/>
                      <a:pt x="296" y="795"/>
                      <a:pt x="296" y="795"/>
                    </a:cubicBezTo>
                    <a:cubicBezTo>
                      <a:pt x="296" y="795"/>
                      <a:pt x="300" y="781"/>
                      <a:pt x="315" y="781"/>
                    </a:cubicBezTo>
                    <a:cubicBezTo>
                      <a:pt x="312" y="744"/>
                      <a:pt x="312" y="744"/>
                      <a:pt x="312" y="744"/>
                    </a:cubicBezTo>
                    <a:cubicBezTo>
                      <a:pt x="327" y="744"/>
                      <a:pt x="327" y="744"/>
                      <a:pt x="327" y="744"/>
                    </a:cubicBezTo>
                    <a:cubicBezTo>
                      <a:pt x="335" y="729"/>
                      <a:pt x="335" y="729"/>
                      <a:pt x="335" y="729"/>
                    </a:cubicBezTo>
                    <a:cubicBezTo>
                      <a:pt x="320" y="708"/>
                      <a:pt x="320" y="708"/>
                      <a:pt x="320" y="708"/>
                    </a:cubicBezTo>
                    <a:cubicBezTo>
                      <a:pt x="333" y="700"/>
                      <a:pt x="333" y="700"/>
                      <a:pt x="333" y="700"/>
                    </a:cubicBezTo>
                    <a:cubicBezTo>
                      <a:pt x="333" y="700"/>
                      <a:pt x="348" y="697"/>
                      <a:pt x="360" y="696"/>
                    </a:cubicBezTo>
                    <a:cubicBezTo>
                      <a:pt x="372" y="695"/>
                      <a:pt x="359" y="685"/>
                      <a:pt x="359" y="685"/>
                    </a:cubicBezTo>
                    <a:cubicBezTo>
                      <a:pt x="359" y="685"/>
                      <a:pt x="366" y="684"/>
                      <a:pt x="369" y="680"/>
                    </a:cubicBezTo>
                    <a:cubicBezTo>
                      <a:pt x="372" y="676"/>
                      <a:pt x="367" y="659"/>
                      <a:pt x="367" y="659"/>
                    </a:cubicBezTo>
                    <a:cubicBezTo>
                      <a:pt x="367" y="659"/>
                      <a:pt x="379" y="661"/>
                      <a:pt x="381" y="656"/>
                    </a:cubicBezTo>
                    <a:cubicBezTo>
                      <a:pt x="383" y="651"/>
                      <a:pt x="375" y="637"/>
                      <a:pt x="375" y="637"/>
                    </a:cubicBezTo>
                    <a:cubicBezTo>
                      <a:pt x="388" y="617"/>
                      <a:pt x="388" y="617"/>
                      <a:pt x="388" y="617"/>
                    </a:cubicBezTo>
                    <a:lnTo>
                      <a:pt x="409" y="63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4" name="Freeform 301">
                <a:extLst>
                  <a:ext uri="{FF2B5EF4-FFF2-40B4-BE49-F238E27FC236}">
                    <a16:creationId xmlns:a16="http://schemas.microsoft.com/office/drawing/2014/main" id="{A96CE539-8C6A-8340-CD79-56533A21E3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8382" y="-12110"/>
                <a:ext cx="652" cy="581"/>
              </a:xfrm>
              <a:custGeom>
                <a:avLst/>
                <a:gdLst>
                  <a:gd name="T0" fmla="*/ 269 w 276"/>
                  <a:gd name="T1" fmla="*/ 181 h 246"/>
                  <a:gd name="T2" fmla="*/ 253 w 276"/>
                  <a:gd name="T3" fmla="*/ 179 h 246"/>
                  <a:gd name="T4" fmla="*/ 255 w 276"/>
                  <a:gd name="T5" fmla="*/ 160 h 246"/>
                  <a:gd name="T6" fmla="*/ 248 w 276"/>
                  <a:gd name="T7" fmla="*/ 134 h 246"/>
                  <a:gd name="T8" fmla="*/ 240 w 276"/>
                  <a:gd name="T9" fmla="*/ 124 h 246"/>
                  <a:gd name="T10" fmla="*/ 239 w 276"/>
                  <a:gd name="T11" fmla="*/ 106 h 246"/>
                  <a:gd name="T12" fmla="*/ 230 w 276"/>
                  <a:gd name="T13" fmla="*/ 92 h 246"/>
                  <a:gd name="T14" fmla="*/ 213 w 276"/>
                  <a:gd name="T15" fmla="*/ 86 h 246"/>
                  <a:gd name="T16" fmla="*/ 210 w 276"/>
                  <a:gd name="T17" fmla="*/ 70 h 246"/>
                  <a:gd name="T18" fmla="*/ 196 w 276"/>
                  <a:gd name="T19" fmla="*/ 68 h 246"/>
                  <a:gd name="T20" fmla="*/ 188 w 276"/>
                  <a:gd name="T21" fmla="*/ 31 h 246"/>
                  <a:gd name="T22" fmla="*/ 167 w 276"/>
                  <a:gd name="T23" fmla="*/ 34 h 246"/>
                  <a:gd name="T24" fmla="*/ 146 w 276"/>
                  <a:gd name="T25" fmla="*/ 10 h 246"/>
                  <a:gd name="T26" fmla="*/ 122 w 276"/>
                  <a:gd name="T27" fmla="*/ 7 h 246"/>
                  <a:gd name="T28" fmla="*/ 109 w 276"/>
                  <a:gd name="T29" fmla="*/ 0 h 246"/>
                  <a:gd name="T30" fmla="*/ 109 w 276"/>
                  <a:gd name="T31" fmla="*/ 10 h 246"/>
                  <a:gd name="T32" fmla="*/ 86 w 276"/>
                  <a:gd name="T33" fmla="*/ 9 h 246"/>
                  <a:gd name="T34" fmla="*/ 78 w 276"/>
                  <a:gd name="T35" fmla="*/ 13 h 246"/>
                  <a:gd name="T36" fmla="*/ 59 w 276"/>
                  <a:gd name="T37" fmla="*/ 11 h 246"/>
                  <a:gd name="T38" fmla="*/ 41 w 276"/>
                  <a:gd name="T39" fmla="*/ 43 h 246"/>
                  <a:gd name="T40" fmla="*/ 40 w 276"/>
                  <a:gd name="T41" fmla="*/ 57 h 246"/>
                  <a:gd name="T42" fmla="*/ 22 w 276"/>
                  <a:gd name="T43" fmla="*/ 80 h 246"/>
                  <a:gd name="T44" fmla="*/ 0 w 276"/>
                  <a:gd name="T45" fmla="*/ 106 h 246"/>
                  <a:gd name="T46" fmla="*/ 2 w 276"/>
                  <a:gd name="T47" fmla="*/ 113 h 246"/>
                  <a:gd name="T48" fmla="*/ 8 w 276"/>
                  <a:gd name="T49" fmla="*/ 112 h 246"/>
                  <a:gd name="T50" fmla="*/ 17 w 276"/>
                  <a:gd name="T51" fmla="*/ 128 h 246"/>
                  <a:gd name="T52" fmla="*/ 20 w 276"/>
                  <a:gd name="T53" fmla="*/ 141 h 246"/>
                  <a:gd name="T54" fmla="*/ 29 w 276"/>
                  <a:gd name="T55" fmla="*/ 149 h 246"/>
                  <a:gd name="T56" fmla="*/ 28 w 276"/>
                  <a:gd name="T57" fmla="*/ 157 h 246"/>
                  <a:gd name="T58" fmla="*/ 34 w 276"/>
                  <a:gd name="T59" fmla="*/ 169 h 246"/>
                  <a:gd name="T60" fmla="*/ 84 w 276"/>
                  <a:gd name="T61" fmla="*/ 169 h 246"/>
                  <a:gd name="T62" fmla="*/ 84 w 276"/>
                  <a:gd name="T63" fmla="*/ 159 h 246"/>
                  <a:gd name="T64" fmla="*/ 109 w 276"/>
                  <a:gd name="T65" fmla="*/ 158 h 246"/>
                  <a:gd name="T66" fmla="*/ 120 w 276"/>
                  <a:gd name="T67" fmla="*/ 166 h 246"/>
                  <a:gd name="T68" fmla="*/ 128 w 276"/>
                  <a:gd name="T69" fmla="*/ 164 h 246"/>
                  <a:gd name="T70" fmla="*/ 141 w 276"/>
                  <a:gd name="T71" fmla="*/ 176 h 246"/>
                  <a:gd name="T72" fmla="*/ 162 w 276"/>
                  <a:gd name="T73" fmla="*/ 171 h 246"/>
                  <a:gd name="T74" fmla="*/ 143 w 276"/>
                  <a:gd name="T75" fmla="*/ 190 h 246"/>
                  <a:gd name="T76" fmla="*/ 109 w 276"/>
                  <a:gd name="T77" fmla="*/ 171 h 246"/>
                  <a:gd name="T78" fmla="*/ 97 w 276"/>
                  <a:gd name="T79" fmla="*/ 183 h 246"/>
                  <a:gd name="T80" fmla="*/ 72 w 276"/>
                  <a:gd name="T81" fmla="*/ 186 h 246"/>
                  <a:gd name="T82" fmla="*/ 68 w 276"/>
                  <a:gd name="T83" fmla="*/ 195 h 246"/>
                  <a:gd name="T84" fmla="*/ 25 w 276"/>
                  <a:gd name="T85" fmla="*/ 195 h 246"/>
                  <a:gd name="T86" fmla="*/ 24 w 276"/>
                  <a:gd name="T87" fmla="*/ 212 h 246"/>
                  <a:gd name="T88" fmla="*/ 18 w 276"/>
                  <a:gd name="T89" fmla="*/ 215 h 246"/>
                  <a:gd name="T90" fmla="*/ 31 w 276"/>
                  <a:gd name="T91" fmla="*/ 241 h 246"/>
                  <a:gd name="T92" fmla="*/ 50 w 276"/>
                  <a:gd name="T93" fmla="*/ 241 h 246"/>
                  <a:gd name="T94" fmla="*/ 58 w 276"/>
                  <a:gd name="T95" fmla="*/ 231 h 246"/>
                  <a:gd name="T96" fmla="*/ 85 w 276"/>
                  <a:gd name="T97" fmla="*/ 231 h 246"/>
                  <a:gd name="T98" fmla="*/ 102 w 276"/>
                  <a:gd name="T99" fmla="*/ 216 h 246"/>
                  <a:gd name="T100" fmla="*/ 196 w 276"/>
                  <a:gd name="T101" fmla="*/ 219 h 246"/>
                  <a:gd name="T102" fmla="*/ 204 w 276"/>
                  <a:gd name="T103" fmla="*/ 232 h 246"/>
                  <a:gd name="T104" fmla="*/ 215 w 276"/>
                  <a:gd name="T105" fmla="*/ 226 h 246"/>
                  <a:gd name="T106" fmla="*/ 231 w 276"/>
                  <a:gd name="T107" fmla="*/ 242 h 246"/>
                  <a:gd name="T108" fmla="*/ 247 w 276"/>
                  <a:gd name="T109" fmla="*/ 235 h 246"/>
                  <a:gd name="T110" fmla="*/ 275 w 276"/>
                  <a:gd name="T111" fmla="*/ 234 h 246"/>
                  <a:gd name="T112" fmla="*/ 276 w 276"/>
                  <a:gd name="T113" fmla="*/ 200 h 246"/>
                  <a:gd name="T114" fmla="*/ 269 w 276"/>
                  <a:gd name="T115" fmla="*/ 181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76" h="246">
                    <a:moveTo>
                      <a:pt x="269" y="181"/>
                    </a:moveTo>
                    <a:cubicBezTo>
                      <a:pt x="264" y="178"/>
                      <a:pt x="260" y="190"/>
                      <a:pt x="253" y="179"/>
                    </a:cubicBezTo>
                    <a:cubicBezTo>
                      <a:pt x="246" y="168"/>
                      <a:pt x="250" y="164"/>
                      <a:pt x="255" y="160"/>
                    </a:cubicBezTo>
                    <a:cubicBezTo>
                      <a:pt x="260" y="156"/>
                      <a:pt x="248" y="134"/>
                      <a:pt x="248" y="134"/>
                    </a:cubicBezTo>
                    <a:cubicBezTo>
                      <a:pt x="240" y="124"/>
                      <a:pt x="240" y="124"/>
                      <a:pt x="240" y="124"/>
                    </a:cubicBezTo>
                    <a:cubicBezTo>
                      <a:pt x="239" y="106"/>
                      <a:pt x="239" y="106"/>
                      <a:pt x="239" y="106"/>
                    </a:cubicBezTo>
                    <a:cubicBezTo>
                      <a:pt x="230" y="92"/>
                      <a:pt x="230" y="92"/>
                      <a:pt x="230" y="92"/>
                    </a:cubicBezTo>
                    <a:cubicBezTo>
                      <a:pt x="213" y="86"/>
                      <a:pt x="213" y="86"/>
                      <a:pt x="213" y="86"/>
                    </a:cubicBezTo>
                    <a:cubicBezTo>
                      <a:pt x="213" y="86"/>
                      <a:pt x="213" y="71"/>
                      <a:pt x="210" y="70"/>
                    </a:cubicBezTo>
                    <a:cubicBezTo>
                      <a:pt x="207" y="69"/>
                      <a:pt x="196" y="68"/>
                      <a:pt x="196" y="68"/>
                    </a:cubicBezTo>
                    <a:cubicBezTo>
                      <a:pt x="196" y="68"/>
                      <a:pt x="195" y="32"/>
                      <a:pt x="188" y="31"/>
                    </a:cubicBezTo>
                    <a:cubicBezTo>
                      <a:pt x="181" y="30"/>
                      <a:pt x="167" y="34"/>
                      <a:pt x="167" y="34"/>
                    </a:cubicBezTo>
                    <a:cubicBezTo>
                      <a:pt x="167" y="34"/>
                      <a:pt x="156" y="12"/>
                      <a:pt x="146" y="10"/>
                    </a:cubicBezTo>
                    <a:cubicBezTo>
                      <a:pt x="136" y="8"/>
                      <a:pt x="122" y="7"/>
                      <a:pt x="122" y="7"/>
                    </a:cubicBezTo>
                    <a:cubicBezTo>
                      <a:pt x="109" y="0"/>
                      <a:pt x="109" y="0"/>
                      <a:pt x="109" y="0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86" y="9"/>
                      <a:pt x="86" y="9"/>
                      <a:pt x="86" y="9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8" y="13"/>
                      <a:pt x="68" y="5"/>
                      <a:pt x="59" y="11"/>
                    </a:cubicBezTo>
                    <a:cubicBezTo>
                      <a:pt x="50" y="17"/>
                      <a:pt x="53" y="41"/>
                      <a:pt x="41" y="43"/>
                    </a:cubicBezTo>
                    <a:cubicBezTo>
                      <a:pt x="40" y="50"/>
                      <a:pt x="40" y="56"/>
                      <a:pt x="40" y="57"/>
                    </a:cubicBezTo>
                    <a:cubicBezTo>
                      <a:pt x="39" y="60"/>
                      <a:pt x="29" y="67"/>
                      <a:pt x="22" y="80"/>
                    </a:cubicBezTo>
                    <a:cubicBezTo>
                      <a:pt x="15" y="93"/>
                      <a:pt x="0" y="106"/>
                      <a:pt x="0" y="106"/>
                    </a:cubicBezTo>
                    <a:cubicBezTo>
                      <a:pt x="2" y="113"/>
                      <a:pt x="2" y="113"/>
                      <a:pt x="2" y="113"/>
                    </a:cubicBezTo>
                    <a:cubicBezTo>
                      <a:pt x="8" y="112"/>
                      <a:pt x="8" y="112"/>
                      <a:pt x="8" y="112"/>
                    </a:cubicBezTo>
                    <a:cubicBezTo>
                      <a:pt x="8" y="112"/>
                      <a:pt x="17" y="121"/>
                      <a:pt x="17" y="128"/>
                    </a:cubicBezTo>
                    <a:cubicBezTo>
                      <a:pt x="17" y="135"/>
                      <a:pt x="20" y="141"/>
                      <a:pt x="20" y="141"/>
                    </a:cubicBezTo>
                    <a:cubicBezTo>
                      <a:pt x="29" y="149"/>
                      <a:pt x="29" y="149"/>
                      <a:pt x="29" y="149"/>
                    </a:cubicBezTo>
                    <a:cubicBezTo>
                      <a:pt x="29" y="149"/>
                      <a:pt x="28" y="150"/>
                      <a:pt x="28" y="157"/>
                    </a:cubicBezTo>
                    <a:cubicBezTo>
                      <a:pt x="28" y="162"/>
                      <a:pt x="32" y="166"/>
                      <a:pt x="34" y="169"/>
                    </a:cubicBezTo>
                    <a:cubicBezTo>
                      <a:pt x="84" y="169"/>
                      <a:pt x="84" y="169"/>
                      <a:pt x="84" y="169"/>
                    </a:cubicBezTo>
                    <a:cubicBezTo>
                      <a:pt x="84" y="159"/>
                      <a:pt x="84" y="159"/>
                      <a:pt x="84" y="159"/>
                    </a:cubicBezTo>
                    <a:cubicBezTo>
                      <a:pt x="84" y="159"/>
                      <a:pt x="96" y="160"/>
                      <a:pt x="109" y="158"/>
                    </a:cubicBezTo>
                    <a:cubicBezTo>
                      <a:pt x="122" y="156"/>
                      <a:pt x="120" y="166"/>
                      <a:pt x="120" y="166"/>
                    </a:cubicBezTo>
                    <a:cubicBezTo>
                      <a:pt x="128" y="164"/>
                      <a:pt x="128" y="164"/>
                      <a:pt x="128" y="164"/>
                    </a:cubicBezTo>
                    <a:cubicBezTo>
                      <a:pt x="128" y="164"/>
                      <a:pt x="136" y="175"/>
                      <a:pt x="141" y="176"/>
                    </a:cubicBezTo>
                    <a:cubicBezTo>
                      <a:pt x="146" y="177"/>
                      <a:pt x="145" y="167"/>
                      <a:pt x="162" y="171"/>
                    </a:cubicBezTo>
                    <a:cubicBezTo>
                      <a:pt x="179" y="175"/>
                      <a:pt x="161" y="190"/>
                      <a:pt x="143" y="190"/>
                    </a:cubicBezTo>
                    <a:cubicBezTo>
                      <a:pt x="125" y="190"/>
                      <a:pt x="109" y="171"/>
                      <a:pt x="109" y="171"/>
                    </a:cubicBezTo>
                    <a:cubicBezTo>
                      <a:pt x="109" y="171"/>
                      <a:pt x="103" y="182"/>
                      <a:pt x="97" y="183"/>
                    </a:cubicBezTo>
                    <a:cubicBezTo>
                      <a:pt x="91" y="184"/>
                      <a:pt x="72" y="186"/>
                      <a:pt x="72" y="186"/>
                    </a:cubicBezTo>
                    <a:cubicBezTo>
                      <a:pt x="72" y="186"/>
                      <a:pt x="71" y="195"/>
                      <a:pt x="68" y="195"/>
                    </a:cubicBezTo>
                    <a:cubicBezTo>
                      <a:pt x="66" y="195"/>
                      <a:pt x="36" y="195"/>
                      <a:pt x="25" y="195"/>
                    </a:cubicBezTo>
                    <a:cubicBezTo>
                      <a:pt x="24" y="202"/>
                      <a:pt x="24" y="212"/>
                      <a:pt x="24" y="212"/>
                    </a:cubicBezTo>
                    <a:cubicBezTo>
                      <a:pt x="18" y="215"/>
                      <a:pt x="18" y="215"/>
                      <a:pt x="18" y="215"/>
                    </a:cubicBezTo>
                    <a:cubicBezTo>
                      <a:pt x="18" y="215"/>
                      <a:pt x="22" y="236"/>
                      <a:pt x="31" y="241"/>
                    </a:cubicBezTo>
                    <a:cubicBezTo>
                      <a:pt x="40" y="246"/>
                      <a:pt x="50" y="241"/>
                      <a:pt x="50" y="241"/>
                    </a:cubicBezTo>
                    <a:cubicBezTo>
                      <a:pt x="58" y="231"/>
                      <a:pt x="58" y="231"/>
                      <a:pt x="58" y="231"/>
                    </a:cubicBezTo>
                    <a:cubicBezTo>
                      <a:pt x="85" y="231"/>
                      <a:pt x="85" y="231"/>
                      <a:pt x="85" y="231"/>
                    </a:cubicBezTo>
                    <a:cubicBezTo>
                      <a:pt x="102" y="216"/>
                      <a:pt x="102" y="216"/>
                      <a:pt x="102" y="216"/>
                    </a:cubicBezTo>
                    <a:cubicBezTo>
                      <a:pt x="196" y="219"/>
                      <a:pt x="196" y="219"/>
                      <a:pt x="196" y="219"/>
                    </a:cubicBezTo>
                    <a:cubicBezTo>
                      <a:pt x="196" y="219"/>
                      <a:pt x="196" y="230"/>
                      <a:pt x="204" y="232"/>
                    </a:cubicBezTo>
                    <a:cubicBezTo>
                      <a:pt x="212" y="234"/>
                      <a:pt x="215" y="226"/>
                      <a:pt x="215" y="226"/>
                    </a:cubicBezTo>
                    <a:cubicBezTo>
                      <a:pt x="215" y="226"/>
                      <a:pt x="224" y="242"/>
                      <a:pt x="231" y="242"/>
                    </a:cubicBezTo>
                    <a:cubicBezTo>
                      <a:pt x="238" y="242"/>
                      <a:pt x="247" y="235"/>
                      <a:pt x="247" y="235"/>
                    </a:cubicBezTo>
                    <a:cubicBezTo>
                      <a:pt x="275" y="234"/>
                      <a:pt x="275" y="234"/>
                      <a:pt x="275" y="234"/>
                    </a:cubicBezTo>
                    <a:cubicBezTo>
                      <a:pt x="276" y="200"/>
                      <a:pt x="276" y="200"/>
                      <a:pt x="276" y="200"/>
                    </a:cubicBezTo>
                    <a:cubicBezTo>
                      <a:pt x="276" y="200"/>
                      <a:pt x="274" y="184"/>
                      <a:pt x="269" y="18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Freeform 302">
                <a:extLst>
                  <a:ext uri="{FF2B5EF4-FFF2-40B4-BE49-F238E27FC236}">
                    <a16:creationId xmlns:a16="http://schemas.microsoft.com/office/drawing/2014/main" id="{CDDF1957-8BE9-5196-FAB0-C3146530203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8124" y="-11595"/>
                <a:ext cx="815" cy="699"/>
              </a:xfrm>
              <a:custGeom>
                <a:avLst/>
                <a:gdLst>
                  <a:gd name="T0" fmla="*/ 61 w 345"/>
                  <a:gd name="T1" fmla="*/ 17 h 296"/>
                  <a:gd name="T2" fmla="*/ 61 w 345"/>
                  <a:gd name="T3" fmla="*/ 47 h 296"/>
                  <a:gd name="T4" fmla="*/ 22 w 345"/>
                  <a:gd name="T5" fmla="*/ 65 h 296"/>
                  <a:gd name="T6" fmla="*/ 0 w 345"/>
                  <a:gd name="T7" fmla="*/ 86 h 296"/>
                  <a:gd name="T8" fmla="*/ 19 w 345"/>
                  <a:gd name="T9" fmla="*/ 103 h 296"/>
                  <a:gd name="T10" fmla="*/ 45 w 345"/>
                  <a:gd name="T11" fmla="*/ 138 h 296"/>
                  <a:gd name="T12" fmla="*/ 59 w 345"/>
                  <a:gd name="T13" fmla="*/ 149 h 296"/>
                  <a:gd name="T14" fmla="*/ 86 w 345"/>
                  <a:gd name="T15" fmla="*/ 194 h 296"/>
                  <a:gd name="T16" fmla="*/ 142 w 345"/>
                  <a:gd name="T17" fmla="*/ 152 h 296"/>
                  <a:gd name="T18" fmla="*/ 172 w 345"/>
                  <a:gd name="T19" fmla="*/ 140 h 296"/>
                  <a:gd name="T20" fmla="*/ 197 w 345"/>
                  <a:gd name="T21" fmla="*/ 190 h 296"/>
                  <a:gd name="T22" fmla="*/ 197 w 345"/>
                  <a:gd name="T23" fmla="*/ 226 h 296"/>
                  <a:gd name="T24" fmla="*/ 215 w 345"/>
                  <a:gd name="T25" fmla="*/ 228 h 296"/>
                  <a:gd name="T26" fmla="*/ 247 w 345"/>
                  <a:gd name="T27" fmla="*/ 227 h 296"/>
                  <a:gd name="T28" fmla="*/ 265 w 345"/>
                  <a:gd name="T29" fmla="*/ 286 h 296"/>
                  <a:gd name="T30" fmla="*/ 293 w 345"/>
                  <a:gd name="T31" fmla="*/ 270 h 296"/>
                  <a:gd name="T32" fmla="*/ 320 w 345"/>
                  <a:gd name="T33" fmla="*/ 255 h 296"/>
                  <a:gd name="T34" fmla="*/ 314 w 345"/>
                  <a:gd name="T35" fmla="*/ 229 h 296"/>
                  <a:gd name="T36" fmla="*/ 345 w 345"/>
                  <a:gd name="T37" fmla="*/ 220 h 296"/>
                  <a:gd name="T38" fmla="*/ 338 w 345"/>
                  <a:gd name="T39" fmla="*/ 193 h 296"/>
                  <a:gd name="T40" fmla="*/ 335 w 345"/>
                  <a:gd name="T41" fmla="*/ 176 h 296"/>
                  <a:gd name="T42" fmla="*/ 318 w 345"/>
                  <a:gd name="T43" fmla="*/ 148 h 296"/>
                  <a:gd name="T44" fmla="*/ 312 w 345"/>
                  <a:gd name="T45" fmla="*/ 115 h 296"/>
                  <a:gd name="T46" fmla="*/ 293 w 345"/>
                  <a:gd name="T47" fmla="*/ 91 h 296"/>
                  <a:gd name="T48" fmla="*/ 287 w 345"/>
                  <a:gd name="T49" fmla="*/ 52 h 296"/>
                  <a:gd name="T50" fmla="*/ 284 w 345"/>
                  <a:gd name="T51" fmla="*/ 26 h 296"/>
                  <a:gd name="T52" fmla="*/ 261 w 345"/>
                  <a:gd name="T53" fmla="*/ 27 h 296"/>
                  <a:gd name="T54" fmla="*/ 222 w 345"/>
                  <a:gd name="T55" fmla="*/ 23 h 296"/>
                  <a:gd name="T56" fmla="*/ 191 w 345"/>
                  <a:gd name="T57" fmla="*/ 23 h 296"/>
                  <a:gd name="T58" fmla="*/ 166 w 345"/>
                  <a:gd name="T59" fmla="*/ 16 h 296"/>
                  <a:gd name="T60" fmla="*/ 122 w 345"/>
                  <a:gd name="T61" fmla="*/ 24 h 296"/>
                  <a:gd name="T62" fmla="*/ 95 w 345"/>
                  <a:gd name="T63" fmla="*/ 14 h 296"/>
                  <a:gd name="T64" fmla="*/ 60 w 345"/>
                  <a:gd name="T65" fmla="*/ 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5" h="296">
                    <a:moveTo>
                      <a:pt x="60" y="0"/>
                    </a:moveTo>
                    <a:cubicBezTo>
                      <a:pt x="61" y="17"/>
                      <a:pt x="61" y="17"/>
                      <a:pt x="61" y="17"/>
                    </a:cubicBezTo>
                    <a:cubicBezTo>
                      <a:pt x="61" y="17"/>
                      <a:pt x="45" y="15"/>
                      <a:pt x="45" y="26"/>
                    </a:cubicBezTo>
                    <a:cubicBezTo>
                      <a:pt x="45" y="37"/>
                      <a:pt x="62" y="32"/>
                      <a:pt x="61" y="47"/>
                    </a:cubicBezTo>
                    <a:cubicBezTo>
                      <a:pt x="60" y="62"/>
                      <a:pt x="49" y="58"/>
                      <a:pt x="39" y="58"/>
                    </a:cubicBezTo>
                    <a:cubicBezTo>
                      <a:pt x="29" y="58"/>
                      <a:pt x="22" y="65"/>
                      <a:pt x="22" y="65"/>
                    </a:cubicBezTo>
                    <a:cubicBezTo>
                      <a:pt x="9" y="66"/>
                      <a:pt x="9" y="66"/>
                      <a:pt x="9" y="66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86"/>
                      <a:pt x="4" y="100"/>
                      <a:pt x="9" y="102"/>
                    </a:cubicBezTo>
                    <a:cubicBezTo>
                      <a:pt x="14" y="104"/>
                      <a:pt x="19" y="103"/>
                      <a:pt x="19" y="103"/>
                    </a:cubicBezTo>
                    <a:cubicBezTo>
                      <a:pt x="19" y="103"/>
                      <a:pt x="10" y="127"/>
                      <a:pt x="25" y="134"/>
                    </a:cubicBezTo>
                    <a:cubicBezTo>
                      <a:pt x="40" y="141"/>
                      <a:pt x="45" y="138"/>
                      <a:pt x="45" y="138"/>
                    </a:cubicBezTo>
                    <a:cubicBezTo>
                      <a:pt x="45" y="138"/>
                      <a:pt x="42" y="150"/>
                      <a:pt x="46" y="154"/>
                    </a:cubicBezTo>
                    <a:cubicBezTo>
                      <a:pt x="50" y="158"/>
                      <a:pt x="59" y="149"/>
                      <a:pt x="59" y="149"/>
                    </a:cubicBezTo>
                    <a:cubicBezTo>
                      <a:pt x="59" y="149"/>
                      <a:pt x="63" y="169"/>
                      <a:pt x="67" y="176"/>
                    </a:cubicBezTo>
                    <a:cubicBezTo>
                      <a:pt x="71" y="183"/>
                      <a:pt x="86" y="194"/>
                      <a:pt x="86" y="194"/>
                    </a:cubicBezTo>
                    <a:cubicBezTo>
                      <a:pt x="98" y="194"/>
                      <a:pt x="117" y="152"/>
                      <a:pt x="117" y="152"/>
                    </a:cubicBezTo>
                    <a:cubicBezTo>
                      <a:pt x="142" y="152"/>
                      <a:pt x="142" y="152"/>
                      <a:pt x="142" y="152"/>
                    </a:cubicBezTo>
                    <a:cubicBezTo>
                      <a:pt x="146" y="140"/>
                      <a:pt x="146" y="140"/>
                      <a:pt x="146" y="140"/>
                    </a:cubicBezTo>
                    <a:cubicBezTo>
                      <a:pt x="172" y="140"/>
                      <a:pt x="172" y="140"/>
                      <a:pt x="172" y="140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7" y="190"/>
                      <a:pt x="197" y="190"/>
                      <a:pt x="197" y="190"/>
                    </a:cubicBezTo>
                    <a:cubicBezTo>
                      <a:pt x="197" y="190"/>
                      <a:pt x="208" y="202"/>
                      <a:pt x="208" y="210"/>
                    </a:cubicBezTo>
                    <a:cubicBezTo>
                      <a:pt x="208" y="218"/>
                      <a:pt x="197" y="226"/>
                      <a:pt x="197" y="226"/>
                    </a:cubicBezTo>
                    <a:cubicBezTo>
                      <a:pt x="196" y="239"/>
                      <a:pt x="196" y="239"/>
                      <a:pt x="196" y="239"/>
                    </a:cubicBezTo>
                    <a:cubicBezTo>
                      <a:pt x="215" y="228"/>
                      <a:pt x="215" y="228"/>
                      <a:pt x="215" y="228"/>
                    </a:cubicBezTo>
                    <a:cubicBezTo>
                      <a:pt x="231" y="232"/>
                      <a:pt x="231" y="232"/>
                      <a:pt x="231" y="232"/>
                    </a:cubicBezTo>
                    <a:cubicBezTo>
                      <a:pt x="231" y="232"/>
                      <a:pt x="228" y="214"/>
                      <a:pt x="247" y="227"/>
                    </a:cubicBezTo>
                    <a:cubicBezTo>
                      <a:pt x="266" y="240"/>
                      <a:pt x="257" y="286"/>
                      <a:pt x="257" y="286"/>
                    </a:cubicBezTo>
                    <a:cubicBezTo>
                      <a:pt x="265" y="286"/>
                      <a:pt x="265" y="286"/>
                      <a:pt x="265" y="286"/>
                    </a:cubicBezTo>
                    <a:cubicBezTo>
                      <a:pt x="265" y="286"/>
                      <a:pt x="266" y="296"/>
                      <a:pt x="277" y="296"/>
                    </a:cubicBezTo>
                    <a:cubicBezTo>
                      <a:pt x="288" y="296"/>
                      <a:pt x="288" y="274"/>
                      <a:pt x="293" y="270"/>
                    </a:cubicBezTo>
                    <a:cubicBezTo>
                      <a:pt x="298" y="266"/>
                      <a:pt x="313" y="279"/>
                      <a:pt x="320" y="276"/>
                    </a:cubicBezTo>
                    <a:cubicBezTo>
                      <a:pt x="327" y="273"/>
                      <a:pt x="320" y="255"/>
                      <a:pt x="320" y="255"/>
                    </a:cubicBezTo>
                    <a:cubicBezTo>
                      <a:pt x="332" y="252"/>
                      <a:pt x="332" y="252"/>
                      <a:pt x="332" y="252"/>
                    </a:cubicBezTo>
                    <a:cubicBezTo>
                      <a:pt x="332" y="252"/>
                      <a:pt x="314" y="239"/>
                      <a:pt x="314" y="229"/>
                    </a:cubicBezTo>
                    <a:cubicBezTo>
                      <a:pt x="314" y="219"/>
                      <a:pt x="344" y="233"/>
                      <a:pt x="344" y="233"/>
                    </a:cubicBezTo>
                    <a:cubicBezTo>
                      <a:pt x="344" y="233"/>
                      <a:pt x="345" y="227"/>
                      <a:pt x="345" y="220"/>
                    </a:cubicBezTo>
                    <a:cubicBezTo>
                      <a:pt x="345" y="213"/>
                      <a:pt x="330" y="218"/>
                      <a:pt x="329" y="210"/>
                    </a:cubicBezTo>
                    <a:cubicBezTo>
                      <a:pt x="328" y="202"/>
                      <a:pt x="338" y="193"/>
                      <a:pt x="338" y="193"/>
                    </a:cubicBezTo>
                    <a:cubicBezTo>
                      <a:pt x="328" y="189"/>
                      <a:pt x="328" y="189"/>
                      <a:pt x="328" y="189"/>
                    </a:cubicBezTo>
                    <a:cubicBezTo>
                      <a:pt x="335" y="176"/>
                      <a:pt x="335" y="176"/>
                      <a:pt x="335" y="176"/>
                    </a:cubicBezTo>
                    <a:cubicBezTo>
                      <a:pt x="323" y="175"/>
                      <a:pt x="323" y="175"/>
                      <a:pt x="323" y="175"/>
                    </a:cubicBezTo>
                    <a:cubicBezTo>
                      <a:pt x="318" y="148"/>
                      <a:pt x="318" y="148"/>
                      <a:pt x="318" y="148"/>
                    </a:cubicBezTo>
                    <a:cubicBezTo>
                      <a:pt x="331" y="134"/>
                      <a:pt x="331" y="134"/>
                      <a:pt x="331" y="134"/>
                    </a:cubicBezTo>
                    <a:cubicBezTo>
                      <a:pt x="312" y="115"/>
                      <a:pt x="312" y="115"/>
                      <a:pt x="312" y="115"/>
                    </a:cubicBezTo>
                    <a:cubicBezTo>
                      <a:pt x="312" y="90"/>
                      <a:pt x="312" y="90"/>
                      <a:pt x="312" y="90"/>
                    </a:cubicBezTo>
                    <a:cubicBezTo>
                      <a:pt x="293" y="91"/>
                      <a:pt x="293" y="91"/>
                      <a:pt x="293" y="91"/>
                    </a:cubicBezTo>
                    <a:cubicBezTo>
                      <a:pt x="310" y="68"/>
                      <a:pt x="310" y="68"/>
                      <a:pt x="310" y="68"/>
                    </a:cubicBezTo>
                    <a:cubicBezTo>
                      <a:pt x="287" y="52"/>
                      <a:pt x="287" y="52"/>
                      <a:pt x="287" y="52"/>
                    </a:cubicBezTo>
                    <a:cubicBezTo>
                      <a:pt x="293" y="35"/>
                      <a:pt x="293" y="35"/>
                      <a:pt x="293" y="35"/>
                    </a:cubicBezTo>
                    <a:cubicBezTo>
                      <a:pt x="284" y="26"/>
                      <a:pt x="284" y="26"/>
                      <a:pt x="284" y="26"/>
                    </a:cubicBezTo>
                    <a:cubicBezTo>
                      <a:pt x="284" y="26"/>
                      <a:pt x="291" y="19"/>
                      <a:pt x="275" y="11"/>
                    </a:cubicBezTo>
                    <a:cubicBezTo>
                      <a:pt x="259" y="3"/>
                      <a:pt x="261" y="27"/>
                      <a:pt x="261" y="27"/>
                    </a:cubicBezTo>
                    <a:cubicBezTo>
                      <a:pt x="249" y="36"/>
                      <a:pt x="249" y="36"/>
                      <a:pt x="249" y="36"/>
                    </a:cubicBezTo>
                    <a:cubicBezTo>
                      <a:pt x="249" y="36"/>
                      <a:pt x="227" y="25"/>
                      <a:pt x="222" y="23"/>
                    </a:cubicBezTo>
                    <a:cubicBezTo>
                      <a:pt x="217" y="21"/>
                      <a:pt x="203" y="44"/>
                      <a:pt x="203" y="44"/>
                    </a:cubicBezTo>
                    <a:cubicBezTo>
                      <a:pt x="203" y="44"/>
                      <a:pt x="200" y="23"/>
                      <a:pt x="191" y="23"/>
                    </a:cubicBezTo>
                    <a:cubicBezTo>
                      <a:pt x="182" y="23"/>
                      <a:pt x="178" y="39"/>
                      <a:pt x="174" y="41"/>
                    </a:cubicBezTo>
                    <a:cubicBezTo>
                      <a:pt x="170" y="43"/>
                      <a:pt x="166" y="16"/>
                      <a:pt x="166" y="16"/>
                    </a:cubicBezTo>
                    <a:cubicBezTo>
                      <a:pt x="138" y="17"/>
                      <a:pt x="138" y="17"/>
                      <a:pt x="138" y="17"/>
                    </a:cubicBezTo>
                    <a:cubicBezTo>
                      <a:pt x="138" y="17"/>
                      <a:pt x="129" y="24"/>
                      <a:pt x="122" y="24"/>
                    </a:cubicBezTo>
                    <a:cubicBezTo>
                      <a:pt x="115" y="24"/>
                      <a:pt x="106" y="8"/>
                      <a:pt x="106" y="8"/>
                    </a:cubicBezTo>
                    <a:cubicBezTo>
                      <a:pt x="106" y="8"/>
                      <a:pt x="103" y="16"/>
                      <a:pt x="95" y="14"/>
                    </a:cubicBezTo>
                    <a:cubicBezTo>
                      <a:pt x="87" y="12"/>
                      <a:pt x="87" y="1"/>
                      <a:pt x="87" y="1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Freeform 303">
                <a:extLst>
                  <a:ext uri="{FF2B5EF4-FFF2-40B4-BE49-F238E27FC236}">
                    <a16:creationId xmlns:a16="http://schemas.microsoft.com/office/drawing/2014/main" id="{9DBA406D-AA89-1184-0AA4-FBA6C731FF9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8308" y="-13438"/>
                <a:ext cx="1351" cy="1583"/>
              </a:xfrm>
              <a:custGeom>
                <a:avLst/>
                <a:gdLst>
                  <a:gd name="T0" fmla="*/ 0 w 572"/>
                  <a:gd name="T1" fmla="*/ 332 h 670"/>
                  <a:gd name="T2" fmla="*/ 11 w 572"/>
                  <a:gd name="T3" fmla="*/ 336 h 670"/>
                  <a:gd name="T4" fmla="*/ 15 w 572"/>
                  <a:gd name="T5" fmla="*/ 357 h 670"/>
                  <a:gd name="T6" fmla="*/ 24 w 572"/>
                  <a:gd name="T7" fmla="*/ 349 h 670"/>
                  <a:gd name="T8" fmla="*/ 32 w 572"/>
                  <a:gd name="T9" fmla="*/ 372 h 670"/>
                  <a:gd name="T10" fmla="*/ 30 w 572"/>
                  <a:gd name="T11" fmla="*/ 403 h 670"/>
                  <a:gd name="T12" fmla="*/ 21 w 572"/>
                  <a:gd name="T13" fmla="*/ 403 h 670"/>
                  <a:gd name="T14" fmla="*/ 24 w 572"/>
                  <a:gd name="T15" fmla="*/ 417 h 670"/>
                  <a:gd name="T16" fmla="*/ 16 w 572"/>
                  <a:gd name="T17" fmla="*/ 423 h 670"/>
                  <a:gd name="T18" fmla="*/ 39 w 572"/>
                  <a:gd name="T19" fmla="*/ 470 h 670"/>
                  <a:gd name="T20" fmla="*/ 33 w 572"/>
                  <a:gd name="T21" fmla="*/ 509 h 670"/>
                  <a:gd name="T22" fmla="*/ 31 w 572"/>
                  <a:gd name="T23" fmla="*/ 538 h 670"/>
                  <a:gd name="T24" fmla="*/ 12 w 572"/>
                  <a:gd name="T25" fmla="*/ 570 h 670"/>
                  <a:gd name="T26" fmla="*/ 10 w 572"/>
                  <a:gd name="T27" fmla="*/ 605 h 670"/>
                  <a:gd name="T28" fmla="*/ 28 w 572"/>
                  <a:gd name="T29" fmla="*/ 573 h 670"/>
                  <a:gd name="T30" fmla="*/ 47 w 572"/>
                  <a:gd name="T31" fmla="*/ 575 h 670"/>
                  <a:gd name="T32" fmla="*/ 55 w 572"/>
                  <a:gd name="T33" fmla="*/ 571 h 670"/>
                  <a:gd name="T34" fmla="*/ 78 w 572"/>
                  <a:gd name="T35" fmla="*/ 572 h 670"/>
                  <a:gd name="T36" fmla="*/ 78 w 572"/>
                  <a:gd name="T37" fmla="*/ 562 h 670"/>
                  <a:gd name="T38" fmla="*/ 91 w 572"/>
                  <a:gd name="T39" fmla="*/ 569 h 670"/>
                  <a:gd name="T40" fmla="*/ 115 w 572"/>
                  <a:gd name="T41" fmla="*/ 572 h 670"/>
                  <a:gd name="T42" fmla="*/ 136 w 572"/>
                  <a:gd name="T43" fmla="*/ 596 h 670"/>
                  <a:gd name="T44" fmla="*/ 157 w 572"/>
                  <a:gd name="T45" fmla="*/ 593 h 670"/>
                  <a:gd name="T46" fmla="*/ 165 w 572"/>
                  <a:gd name="T47" fmla="*/ 630 h 670"/>
                  <a:gd name="T48" fmla="*/ 179 w 572"/>
                  <a:gd name="T49" fmla="*/ 632 h 670"/>
                  <a:gd name="T50" fmla="*/ 182 w 572"/>
                  <a:gd name="T51" fmla="*/ 648 h 670"/>
                  <a:gd name="T52" fmla="*/ 199 w 572"/>
                  <a:gd name="T53" fmla="*/ 654 h 670"/>
                  <a:gd name="T54" fmla="*/ 208 w 572"/>
                  <a:gd name="T55" fmla="*/ 668 h 670"/>
                  <a:gd name="T56" fmla="*/ 228 w 572"/>
                  <a:gd name="T57" fmla="*/ 667 h 670"/>
                  <a:gd name="T58" fmla="*/ 232 w 572"/>
                  <a:gd name="T59" fmla="*/ 653 h 670"/>
                  <a:gd name="T60" fmla="*/ 247 w 572"/>
                  <a:gd name="T61" fmla="*/ 625 h 670"/>
                  <a:gd name="T62" fmla="*/ 272 w 572"/>
                  <a:gd name="T63" fmla="*/ 650 h 670"/>
                  <a:gd name="T64" fmla="*/ 282 w 572"/>
                  <a:gd name="T65" fmla="*/ 633 h 670"/>
                  <a:gd name="T66" fmla="*/ 304 w 572"/>
                  <a:gd name="T67" fmla="*/ 633 h 670"/>
                  <a:gd name="T68" fmla="*/ 310 w 572"/>
                  <a:gd name="T69" fmla="*/ 639 h 670"/>
                  <a:gd name="T70" fmla="*/ 335 w 572"/>
                  <a:gd name="T71" fmla="*/ 635 h 670"/>
                  <a:gd name="T72" fmla="*/ 345 w 572"/>
                  <a:gd name="T73" fmla="*/ 621 h 670"/>
                  <a:gd name="T74" fmla="*/ 349 w 572"/>
                  <a:gd name="T75" fmla="*/ 631 h 670"/>
                  <a:gd name="T76" fmla="*/ 526 w 572"/>
                  <a:gd name="T77" fmla="*/ 628 h 670"/>
                  <a:gd name="T78" fmla="*/ 531 w 572"/>
                  <a:gd name="T79" fmla="*/ 601 h 670"/>
                  <a:gd name="T80" fmla="*/ 536 w 572"/>
                  <a:gd name="T81" fmla="*/ 590 h 670"/>
                  <a:gd name="T82" fmla="*/ 522 w 572"/>
                  <a:gd name="T83" fmla="*/ 577 h 670"/>
                  <a:gd name="T84" fmla="*/ 491 w 572"/>
                  <a:gd name="T85" fmla="*/ 118 h 670"/>
                  <a:gd name="T86" fmla="*/ 572 w 572"/>
                  <a:gd name="T87" fmla="*/ 121 h 670"/>
                  <a:gd name="T88" fmla="*/ 399 w 572"/>
                  <a:gd name="T89" fmla="*/ 0 h 670"/>
                  <a:gd name="T90" fmla="*/ 397 w 572"/>
                  <a:gd name="T91" fmla="*/ 34 h 670"/>
                  <a:gd name="T92" fmla="*/ 392 w 572"/>
                  <a:gd name="T93" fmla="*/ 38 h 670"/>
                  <a:gd name="T94" fmla="*/ 391 w 572"/>
                  <a:gd name="T95" fmla="*/ 63 h 670"/>
                  <a:gd name="T96" fmla="*/ 243 w 572"/>
                  <a:gd name="T97" fmla="*/ 64 h 670"/>
                  <a:gd name="T98" fmla="*/ 243 w 572"/>
                  <a:gd name="T99" fmla="*/ 74 h 670"/>
                  <a:gd name="T100" fmla="*/ 238 w 572"/>
                  <a:gd name="T101" fmla="*/ 77 h 670"/>
                  <a:gd name="T102" fmla="*/ 235 w 572"/>
                  <a:gd name="T103" fmla="*/ 207 h 670"/>
                  <a:gd name="T104" fmla="*/ 208 w 572"/>
                  <a:gd name="T105" fmla="*/ 212 h 670"/>
                  <a:gd name="T106" fmla="*/ 189 w 572"/>
                  <a:gd name="T107" fmla="*/ 223 h 670"/>
                  <a:gd name="T108" fmla="*/ 187 w 572"/>
                  <a:gd name="T109" fmla="*/ 248 h 670"/>
                  <a:gd name="T110" fmla="*/ 186 w 572"/>
                  <a:gd name="T111" fmla="*/ 317 h 670"/>
                  <a:gd name="T112" fmla="*/ 0 w 572"/>
                  <a:gd name="T113" fmla="*/ 319 h 670"/>
                  <a:gd name="T114" fmla="*/ 0 w 572"/>
                  <a:gd name="T115" fmla="*/ 319 h 670"/>
                  <a:gd name="T116" fmla="*/ 0 w 572"/>
                  <a:gd name="T117" fmla="*/ 332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72" h="670">
                    <a:moveTo>
                      <a:pt x="0" y="332"/>
                    </a:moveTo>
                    <a:cubicBezTo>
                      <a:pt x="0" y="332"/>
                      <a:pt x="11" y="331"/>
                      <a:pt x="11" y="336"/>
                    </a:cubicBezTo>
                    <a:cubicBezTo>
                      <a:pt x="11" y="341"/>
                      <a:pt x="11" y="354"/>
                      <a:pt x="15" y="357"/>
                    </a:cubicBezTo>
                    <a:cubicBezTo>
                      <a:pt x="19" y="360"/>
                      <a:pt x="24" y="349"/>
                      <a:pt x="24" y="349"/>
                    </a:cubicBezTo>
                    <a:cubicBezTo>
                      <a:pt x="32" y="372"/>
                      <a:pt x="32" y="372"/>
                      <a:pt x="32" y="372"/>
                    </a:cubicBezTo>
                    <a:cubicBezTo>
                      <a:pt x="30" y="403"/>
                      <a:pt x="30" y="403"/>
                      <a:pt x="30" y="403"/>
                    </a:cubicBezTo>
                    <a:cubicBezTo>
                      <a:pt x="21" y="403"/>
                      <a:pt x="21" y="403"/>
                      <a:pt x="21" y="403"/>
                    </a:cubicBezTo>
                    <a:cubicBezTo>
                      <a:pt x="24" y="417"/>
                      <a:pt x="24" y="417"/>
                      <a:pt x="24" y="417"/>
                    </a:cubicBezTo>
                    <a:cubicBezTo>
                      <a:pt x="16" y="423"/>
                      <a:pt x="16" y="423"/>
                      <a:pt x="16" y="423"/>
                    </a:cubicBezTo>
                    <a:cubicBezTo>
                      <a:pt x="16" y="423"/>
                      <a:pt x="39" y="452"/>
                      <a:pt x="39" y="470"/>
                    </a:cubicBezTo>
                    <a:cubicBezTo>
                      <a:pt x="39" y="488"/>
                      <a:pt x="33" y="509"/>
                      <a:pt x="33" y="509"/>
                    </a:cubicBezTo>
                    <a:cubicBezTo>
                      <a:pt x="31" y="538"/>
                      <a:pt x="31" y="538"/>
                      <a:pt x="31" y="538"/>
                    </a:cubicBezTo>
                    <a:cubicBezTo>
                      <a:pt x="31" y="538"/>
                      <a:pt x="15" y="555"/>
                      <a:pt x="12" y="570"/>
                    </a:cubicBezTo>
                    <a:cubicBezTo>
                      <a:pt x="10" y="579"/>
                      <a:pt x="10" y="594"/>
                      <a:pt x="10" y="605"/>
                    </a:cubicBezTo>
                    <a:cubicBezTo>
                      <a:pt x="22" y="603"/>
                      <a:pt x="19" y="579"/>
                      <a:pt x="28" y="573"/>
                    </a:cubicBezTo>
                    <a:cubicBezTo>
                      <a:pt x="37" y="567"/>
                      <a:pt x="47" y="575"/>
                      <a:pt x="47" y="575"/>
                    </a:cubicBezTo>
                    <a:cubicBezTo>
                      <a:pt x="55" y="571"/>
                      <a:pt x="55" y="571"/>
                      <a:pt x="55" y="571"/>
                    </a:cubicBezTo>
                    <a:cubicBezTo>
                      <a:pt x="78" y="572"/>
                      <a:pt x="78" y="572"/>
                      <a:pt x="78" y="572"/>
                    </a:cubicBezTo>
                    <a:cubicBezTo>
                      <a:pt x="78" y="562"/>
                      <a:pt x="78" y="562"/>
                      <a:pt x="78" y="562"/>
                    </a:cubicBezTo>
                    <a:cubicBezTo>
                      <a:pt x="91" y="569"/>
                      <a:pt x="91" y="569"/>
                      <a:pt x="91" y="569"/>
                    </a:cubicBezTo>
                    <a:cubicBezTo>
                      <a:pt x="91" y="569"/>
                      <a:pt x="105" y="570"/>
                      <a:pt x="115" y="572"/>
                    </a:cubicBezTo>
                    <a:cubicBezTo>
                      <a:pt x="125" y="574"/>
                      <a:pt x="136" y="596"/>
                      <a:pt x="136" y="596"/>
                    </a:cubicBezTo>
                    <a:cubicBezTo>
                      <a:pt x="136" y="596"/>
                      <a:pt x="150" y="592"/>
                      <a:pt x="157" y="593"/>
                    </a:cubicBezTo>
                    <a:cubicBezTo>
                      <a:pt x="164" y="594"/>
                      <a:pt x="165" y="630"/>
                      <a:pt x="165" y="630"/>
                    </a:cubicBezTo>
                    <a:cubicBezTo>
                      <a:pt x="165" y="630"/>
                      <a:pt x="176" y="631"/>
                      <a:pt x="179" y="632"/>
                    </a:cubicBezTo>
                    <a:cubicBezTo>
                      <a:pt x="182" y="633"/>
                      <a:pt x="182" y="648"/>
                      <a:pt x="182" y="648"/>
                    </a:cubicBezTo>
                    <a:cubicBezTo>
                      <a:pt x="199" y="654"/>
                      <a:pt x="199" y="654"/>
                      <a:pt x="199" y="654"/>
                    </a:cubicBezTo>
                    <a:cubicBezTo>
                      <a:pt x="208" y="668"/>
                      <a:pt x="208" y="668"/>
                      <a:pt x="208" y="668"/>
                    </a:cubicBezTo>
                    <a:cubicBezTo>
                      <a:pt x="208" y="668"/>
                      <a:pt x="220" y="670"/>
                      <a:pt x="228" y="667"/>
                    </a:cubicBezTo>
                    <a:cubicBezTo>
                      <a:pt x="236" y="664"/>
                      <a:pt x="233" y="654"/>
                      <a:pt x="232" y="653"/>
                    </a:cubicBezTo>
                    <a:cubicBezTo>
                      <a:pt x="232" y="634"/>
                      <a:pt x="234" y="625"/>
                      <a:pt x="247" y="625"/>
                    </a:cubicBezTo>
                    <a:cubicBezTo>
                      <a:pt x="260" y="625"/>
                      <a:pt x="272" y="650"/>
                      <a:pt x="272" y="650"/>
                    </a:cubicBezTo>
                    <a:cubicBezTo>
                      <a:pt x="282" y="633"/>
                      <a:pt x="282" y="633"/>
                      <a:pt x="282" y="633"/>
                    </a:cubicBezTo>
                    <a:cubicBezTo>
                      <a:pt x="304" y="633"/>
                      <a:pt x="304" y="633"/>
                      <a:pt x="304" y="633"/>
                    </a:cubicBezTo>
                    <a:cubicBezTo>
                      <a:pt x="310" y="639"/>
                      <a:pt x="310" y="639"/>
                      <a:pt x="310" y="639"/>
                    </a:cubicBezTo>
                    <a:cubicBezTo>
                      <a:pt x="310" y="639"/>
                      <a:pt x="327" y="636"/>
                      <a:pt x="335" y="635"/>
                    </a:cubicBezTo>
                    <a:cubicBezTo>
                      <a:pt x="343" y="634"/>
                      <a:pt x="341" y="622"/>
                      <a:pt x="345" y="621"/>
                    </a:cubicBezTo>
                    <a:cubicBezTo>
                      <a:pt x="349" y="620"/>
                      <a:pt x="349" y="631"/>
                      <a:pt x="349" y="631"/>
                    </a:cubicBezTo>
                    <a:cubicBezTo>
                      <a:pt x="526" y="628"/>
                      <a:pt x="526" y="628"/>
                      <a:pt x="526" y="628"/>
                    </a:cubicBezTo>
                    <a:cubicBezTo>
                      <a:pt x="531" y="601"/>
                      <a:pt x="531" y="601"/>
                      <a:pt x="531" y="601"/>
                    </a:cubicBezTo>
                    <a:cubicBezTo>
                      <a:pt x="531" y="601"/>
                      <a:pt x="537" y="597"/>
                      <a:pt x="536" y="590"/>
                    </a:cubicBezTo>
                    <a:cubicBezTo>
                      <a:pt x="535" y="583"/>
                      <a:pt x="522" y="577"/>
                      <a:pt x="522" y="577"/>
                    </a:cubicBezTo>
                    <a:cubicBezTo>
                      <a:pt x="491" y="118"/>
                      <a:pt x="491" y="118"/>
                      <a:pt x="491" y="118"/>
                    </a:cubicBezTo>
                    <a:cubicBezTo>
                      <a:pt x="572" y="121"/>
                      <a:pt x="572" y="121"/>
                      <a:pt x="572" y="121"/>
                    </a:cubicBezTo>
                    <a:cubicBezTo>
                      <a:pt x="399" y="0"/>
                      <a:pt x="399" y="0"/>
                      <a:pt x="399" y="0"/>
                    </a:cubicBezTo>
                    <a:cubicBezTo>
                      <a:pt x="397" y="34"/>
                      <a:pt x="397" y="34"/>
                      <a:pt x="397" y="34"/>
                    </a:cubicBezTo>
                    <a:cubicBezTo>
                      <a:pt x="392" y="38"/>
                      <a:pt x="392" y="38"/>
                      <a:pt x="392" y="38"/>
                    </a:cubicBezTo>
                    <a:cubicBezTo>
                      <a:pt x="391" y="63"/>
                      <a:pt x="391" y="63"/>
                      <a:pt x="391" y="63"/>
                    </a:cubicBezTo>
                    <a:cubicBezTo>
                      <a:pt x="243" y="64"/>
                      <a:pt x="243" y="64"/>
                      <a:pt x="243" y="64"/>
                    </a:cubicBezTo>
                    <a:cubicBezTo>
                      <a:pt x="243" y="74"/>
                      <a:pt x="243" y="74"/>
                      <a:pt x="243" y="74"/>
                    </a:cubicBezTo>
                    <a:cubicBezTo>
                      <a:pt x="238" y="77"/>
                      <a:pt x="238" y="77"/>
                      <a:pt x="238" y="77"/>
                    </a:cubicBezTo>
                    <a:cubicBezTo>
                      <a:pt x="238" y="77"/>
                      <a:pt x="237" y="201"/>
                      <a:pt x="235" y="207"/>
                    </a:cubicBezTo>
                    <a:cubicBezTo>
                      <a:pt x="233" y="213"/>
                      <a:pt x="208" y="212"/>
                      <a:pt x="208" y="212"/>
                    </a:cubicBezTo>
                    <a:cubicBezTo>
                      <a:pt x="208" y="212"/>
                      <a:pt x="200" y="213"/>
                      <a:pt x="189" y="223"/>
                    </a:cubicBezTo>
                    <a:cubicBezTo>
                      <a:pt x="178" y="233"/>
                      <a:pt x="187" y="248"/>
                      <a:pt x="187" y="248"/>
                    </a:cubicBezTo>
                    <a:cubicBezTo>
                      <a:pt x="186" y="317"/>
                      <a:pt x="186" y="317"/>
                      <a:pt x="186" y="317"/>
                    </a:cubicBezTo>
                    <a:cubicBezTo>
                      <a:pt x="0" y="319"/>
                      <a:pt x="0" y="319"/>
                      <a:pt x="0" y="319"/>
                    </a:cubicBezTo>
                    <a:cubicBezTo>
                      <a:pt x="0" y="319"/>
                      <a:pt x="0" y="319"/>
                      <a:pt x="0" y="319"/>
                    </a:cubicBezTo>
                    <a:cubicBezTo>
                      <a:pt x="0" y="326"/>
                      <a:pt x="0" y="332"/>
                      <a:pt x="0" y="332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Freeform 304">
                <a:extLst>
                  <a:ext uri="{FF2B5EF4-FFF2-40B4-BE49-F238E27FC236}">
                    <a16:creationId xmlns:a16="http://schemas.microsoft.com/office/drawing/2014/main" id="{B7B9C8CA-80D3-ABD2-0105-D672E900E9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080" y="-11896"/>
                <a:ext cx="902" cy="709"/>
              </a:xfrm>
              <a:custGeom>
                <a:avLst/>
                <a:gdLst>
                  <a:gd name="T0" fmla="*/ 3 w 382"/>
                  <a:gd name="T1" fmla="*/ 246 h 300"/>
                  <a:gd name="T2" fmla="*/ 19 w 382"/>
                  <a:gd name="T3" fmla="*/ 256 h 300"/>
                  <a:gd name="T4" fmla="*/ 59 w 382"/>
                  <a:gd name="T5" fmla="*/ 293 h 300"/>
                  <a:gd name="T6" fmla="*/ 124 w 382"/>
                  <a:gd name="T7" fmla="*/ 300 h 300"/>
                  <a:gd name="T8" fmla="*/ 132 w 382"/>
                  <a:gd name="T9" fmla="*/ 299 h 300"/>
                  <a:gd name="T10" fmla="*/ 130 w 382"/>
                  <a:gd name="T11" fmla="*/ 245 h 300"/>
                  <a:gd name="T12" fmla="*/ 132 w 382"/>
                  <a:gd name="T13" fmla="*/ 219 h 300"/>
                  <a:gd name="T14" fmla="*/ 192 w 382"/>
                  <a:gd name="T15" fmla="*/ 219 h 300"/>
                  <a:gd name="T16" fmla="*/ 215 w 382"/>
                  <a:gd name="T17" fmla="*/ 219 h 300"/>
                  <a:gd name="T18" fmla="*/ 251 w 382"/>
                  <a:gd name="T19" fmla="*/ 212 h 300"/>
                  <a:gd name="T20" fmla="*/ 276 w 382"/>
                  <a:gd name="T21" fmla="*/ 215 h 300"/>
                  <a:gd name="T22" fmla="*/ 305 w 382"/>
                  <a:gd name="T23" fmla="*/ 221 h 300"/>
                  <a:gd name="T24" fmla="*/ 318 w 382"/>
                  <a:gd name="T25" fmla="*/ 214 h 300"/>
                  <a:gd name="T26" fmla="*/ 357 w 382"/>
                  <a:gd name="T27" fmla="*/ 197 h 300"/>
                  <a:gd name="T28" fmla="*/ 373 w 382"/>
                  <a:gd name="T29" fmla="*/ 183 h 300"/>
                  <a:gd name="T30" fmla="*/ 382 w 382"/>
                  <a:gd name="T31" fmla="*/ 170 h 300"/>
                  <a:gd name="T32" fmla="*/ 360 w 382"/>
                  <a:gd name="T33" fmla="*/ 145 h 300"/>
                  <a:gd name="T34" fmla="*/ 364 w 382"/>
                  <a:gd name="T35" fmla="*/ 126 h 300"/>
                  <a:gd name="T36" fmla="*/ 310 w 382"/>
                  <a:gd name="T37" fmla="*/ 104 h 300"/>
                  <a:gd name="T38" fmla="*/ 312 w 382"/>
                  <a:gd name="T39" fmla="*/ 87 h 300"/>
                  <a:gd name="T40" fmla="*/ 289 w 382"/>
                  <a:gd name="T41" fmla="*/ 72 h 300"/>
                  <a:gd name="T42" fmla="*/ 277 w 382"/>
                  <a:gd name="T43" fmla="*/ 32 h 300"/>
                  <a:gd name="T44" fmla="*/ 260 w 382"/>
                  <a:gd name="T45" fmla="*/ 2 h 300"/>
                  <a:gd name="T46" fmla="*/ 215 w 382"/>
                  <a:gd name="T47" fmla="*/ 12 h 300"/>
                  <a:gd name="T48" fmla="*/ 190 w 382"/>
                  <a:gd name="T49" fmla="*/ 28 h 300"/>
                  <a:gd name="T50" fmla="*/ 169 w 382"/>
                  <a:gd name="T51" fmla="*/ 50 h 300"/>
                  <a:gd name="T52" fmla="*/ 125 w 382"/>
                  <a:gd name="T53" fmla="*/ 72 h 300"/>
                  <a:gd name="T54" fmla="*/ 112 w 382"/>
                  <a:gd name="T55" fmla="*/ 96 h 300"/>
                  <a:gd name="T56" fmla="*/ 76 w 382"/>
                  <a:gd name="T57" fmla="*/ 82 h 300"/>
                  <a:gd name="T58" fmla="*/ 69 w 382"/>
                  <a:gd name="T59" fmla="*/ 121 h 300"/>
                  <a:gd name="T60" fmla="*/ 57 w 382"/>
                  <a:gd name="T61" fmla="*/ 145 h 300"/>
                  <a:gd name="T62" fmla="*/ 48 w 382"/>
                  <a:gd name="T63" fmla="*/ 161 h 300"/>
                  <a:gd name="T64" fmla="*/ 8 w 382"/>
                  <a:gd name="T65" fmla="*/ 173 h 300"/>
                  <a:gd name="T66" fmla="*/ 15 w 382"/>
                  <a:gd name="T67" fmla="*/ 209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82" h="300">
                    <a:moveTo>
                      <a:pt x="0" y="209"/>
                    </a:moveTo>
                    <a:cubicBezTo>
                      <a:pt x="3" y="246"/>
                      <a:pt x="3" y="246"/>
                      <a:pt x="3" y="246"/>
                    </a:cubicBezTo>
                    <a:cubicBezTo>
                      <a:pt x="6" y="260"/>
                      <a:pt x="6" y="260"/>
                      <a:pt x="6" y="260"/>
                    </a:cubicBezTo>
                    <a:cubicBezTo>
                      <a:pt x="19" y="256"/>
                      <a:pt x="19" y="256"/>
                      <a:pt x="19" y="256"/>
                    </a:cubicBezTo>
                    <a:cubicBezTo>
                      <a:pt x="19" y="256"/>
                      <a:pt x="29" y="287"/>
                      <a:pt x="39" y="288"/>
                    </a:cubicBezTo>
                    <a:cubicBezTo>
                      <a:pt x="49" y="289"/>
                      <a:pt x="59" y="293"/>
                      <a:pt x="59" y="293"/>
                    </a:cubicBezTo>
                    <a:cubicBezTo>
                      <a:pt x="59" y="293"/>
                      <a:pt x="70" y="271"/>
                      <a:pt x="100" y="275"/>
                    </a:cubicBezTo>
                    <a:cubicBezTo>
                      <a:pt x="130" y="279"/>
                      <a:pt x="124" y="300"/>
                      <a:pt x="124" y="300"/>
                    </a:cubicBezTo>
                    <a:cubicBezTo>
                      <a:pt x="136" y="298"/>
                      <a:pt x="136" y="298"/>
                      <a:pt x="136" y="298"/>
                    </a:cubicBezTo>
                    <a:cubicBezTo>
                      <a:pt x="132" y="299"/>
                      <a:pt x="132" y="299"/>
                      <a:pt x="132" y="299"/>
                    </a:cubicBezTo>
                    <a:cubicBezTo>
                      <a:pt x="131" y="263"/>
                      <a:pt x="131" y="263"/>
                      <a:pt x="131" y="263"/>
                    </a:cubicBezTo>
                    <a:cubicBezTo>
                      <a:pt x="130" y="245"/>
                      <a:pt x="130" y="245"/>
                      <a:pt x="130" y="245"/>
                    </a:cubicBezTo>
                    <a:cubicBezTo>
                      <a:pt x="130" y="245"/>
                      <a:pt x="124" y="244"/>
                      <a:pt x="124" y="236"/>
                    </a:cubicBezTo>
                    <a:cubicBezTo>
                      <a:pt x="124" y="228"/>
                      <a:pt x="132" y="219"/>
                      <a:pt x="132" y="219"/>
                    </a:cubicBezTo>
                    <a:cubicBezTo>
                      <a:pt x="187" y="222"/>
                      <a:pt x="187" y="222"/>
                      <a:pt x="187" y="222"/>
                    </a:cubicBezTo>
                    <a:cubicBezTo>
                      <a:pt x="192" y="219"/>
                      <a:pt x="192" y="219"/>
                      <a:pt x="192" y="219"/>
                    </a:cubicBezTo>
                    <a:cubicBezTo>
                      <a:pt x="204" y="222"/>
                      <a:pt x="204" y="222"/>
                      <a:pt x="204" y="222"/>
                    </a:cubicBezTo>
                    <a:cubicBezTo>
                      <a:pt x="215" y="219"/>
                      <a:pt x="215" y="219"/>
                      <a:pt x="215" y="219"/>
                    </a:cubicBezTo>
                    <a:cubicBezTo>
                      <a:pt x="235" y="222"/>
                      <a:pt x="235" y="222"/>
                      <a:pt x="235" y="222"/>
                    </a:cubicBezTo>
                    <a:cubicBezTo>
                      <a:pt x="251" y="212"/>
                      <a:pt x="251" y="212"/>
                      <a:pt x="251" y="212"/>
                    </a:cubicBezTo>
                    <a:cubicBezTo>
                      <a:pt x="265" y="216"/>
                      <a:pt x="265" y="216"/>
                      <a:pt x="265" y="216"/>
                    </a:cubicBezTo>
                    <a:cubicBezTo>
                      <a:pt x="276" y="215"/>
                      <a:pt x="276" y="215"/>
                      <a:pt x="276" y="215"/>
                    </a:cubicBezTo>
                    <a:cubicBezTo>
                      <a:pt x="291" y="222"/>
                      <a:pt x="291" y="222"/>
                      <a:pt x="291" y="222"/>
                    </a:cubicBezTo>
                    <a:cubicBezTo>
                      <a:pt x="305" y="221"/>
                      <a:pt x="305" y="221"/>
                      <a:pt x="305" y="221"/>
                    </a:cubicBezTo>
                    <a:cubicBezTo>
                      <a:pt x="310" y="214"/>
                      <a:pt x="310" y="214"/>
                      <a:pt x="310" y="214"/>
                    </a:cubicBezTo>
                    <a:cubicBezTo>
                      <a:pt x="318" y="214"/>
                      <a:pt x="318" y="214"/>
                      <a:pt x="318" y="214"/>
                    </a:cubicBezTo>
                    <a:cubicBezTo>
                      <a:pt x="318" y="214"/>
                      <a:pt x="320" y="200"/>
                      <a:pt x="331" y="195"/>
                    </a:cubicBezTo>
                    <a:cubicBezTo>
                      <a:pt x="331" y="196"/>
                      <a:pt x="357" y="197"/>
                      <a:pt x="357" y="197"/>
                    </a:cubicBezTo>
                    <a:cubicBezTo>
                      <a:pt x="357" y="197"/>
                      <a:pt x="358" y="190"/>
                      <a:pt x="362" y="187"/>
                    </a:cubicBezTo>
                    <a:cubicBezTo>
                      <a:pt x="366" y="184"/>
                      <a:pt x="373" y="183"/>
                      <a:pt x="373" y="183"/>
                    </a:cubicBezTo>
                    <a:cubicBezTo>
                      <a:pt x="376" y="172"/>
                      <a:pt x="376" y="172"/>
                      <a:pt x="376" y="172"/>
                    </a:cubicBezTo>
                    <a:cubicBezTo>
                      <a:pt x="382" y="170"/>
                      <a:pt x="382" y="170"/>
                      <a:pt x="382" y="170"/>
                    </a:cubicBezTo>
                    <a:cubicBezTo>
                      <a:pt x="375" y="167"/>
                      <a:pt x="375" y="167"/>
                      <a:pt x="375" y="167"/>
                    </a:cubicBezTo>
                    <a:cubicBezTo>
                      <a:pt x="360" y="145"/>
                      <a:pt x="360" y="145"/>
                      <a:pt x="360" y="145"/>
                    </a:cubicBezTo>
                    <a:cubicBezTo>
                      <a:pt x="375" y="140"/>
                      <a:pt x="375" y="140"/>
                      <a:pt x="375" y="140"/>
                    </a:cubicBezTo>
                    <a:cubicBezTo>
                      <a:pt x="375" y="140"/>
                      <a:pt x="373" y="130"/>
                      <a:pt x="364" y="126"/>
                    </a:cubicBezTo>
                    <a:cubicBezTo>
                      <a:pt x="355" y="122"/>
                      <a:pt x="356" y="131"/>
                      <a:pt x="344" y="131"/>
                    </a:cubicBezTo>
                    <a:cubicBezTo>
                      <a:pt x="332" y="131"/>
                      <a:pt x="313" y="109"/>
                      <a:pt x="310" y="104"/>
                    </a:cubicBezTo>
                    <a:cubicBezTo>
                      <a:pt x="307" y="99"/>
                      <a:pt x="322" y="88"/>
                      <a:pt x="322" y="88"/>
                    </a:cubicBezTo>
                    <a:cubicBezTo>
                      <a:pt x="312" y="87"/>
                      <a:pt x="312" y="87"/>
                      <a:pt x="312" y="87"/>
                    </a:cubicBezTo>
                    <a:cubicBezTo>
                      <a:pt x="311" y="78"/>
                      <a:pt x="311" y="78"/>
                      <a:pt x="311" y="78"/>
                    </a:cubicBezTo>
                    <a:cubicBezTo>
                      <a:pt x="311" y="78"/>
                      <a:pt x="299" y="79"/>
                      <a:pt x="289" y="72"/>
                    </a:cubicBezTo>
                    <a:cubicBezTo>
                      <a:pt x="279" y="65"/>
                      <a:pt x="280" y="41"/>
                      <a:pt x="280" y="41"/>
                    </a:cubicBezTo>
                    <a:cubicBezTo>
                      <a:pt x="277" y="32"/>
                      <a:pt x="277" y="32"/>
                      <a:pt x="277" y="32"/>
                    </a:cubicBezTo>
                    <a:cubicBezTo>
                      <a:pt x="276" y="9"/>
                      <a:pt x="276" y="9"/>
                      <a:pt x="276" y="9"/>
                    </a:cubicBezTo>
                    <a:cubicBezTo>
                      <a:pt x="260" y="2"/>
                      <a:pt x="260" y="2"/>
                      <a:pt x="260" y="2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227" y="0"/>
                      <a:pt x="225" y="8"/>
                      <a:pt x="215" y="12"/>
                    </a:cubicBezTo>
                    <a:cubicBezTo>
                      <a:pt x="205" y="16"/>
                      <a:pt x="201" y="14"/>
                      <a:pt x="201" y="14"/>
                    </a:cubicBezTo>
                    <a:cubicBezTo>
                      <a:pt x="190" y="28"/>
                      <a:pt x="190" y="28"/>
                      <a:pt x="190" y="28"/>
                    </a:cubicBezTo>
                    <a:cubicBezTo>
                      <a:pt x="173" y="28"/>
                      <a:pt x="173" y="28"/>
                      <a:pt x="173" y="28"/>
                    </a:cubicBezTo>
                    <a:cubicBezTo>
                      <a:pt x="173" y="28"/>
                      <a:pt x="172" y="49"/>
                      <a:pt x="169" y="50"/>
                    </a:cubicBezTo>
                    <a:cubicBezTo>
                      <a:pt x="166" y="51"/>
                      <a:pt x="154" y="39"/>
                      <a:pt x="148" y="41"/>
                    </a:cubicBezTo>
                    <a:cubicBezTo>
                      <a:pt x="142" y="43"/>
                      <a:pt x="125" y="72"/>
                      <a:pt x="125" y="72"/>
                    </a:cubicBezTo>
                    <a:cubicBezTo>
                      <a:pt x="112" y="72"/>
                      <a:pt x="112" y="72"/>
                      <a:pt x="112" y="72"/>
                    </a:cubicBezTo>
                    <a:cubicBezTo>
                      <a:pt x="112" y="96"/>
                      <a:pt x="112" y="96"/>
                      <a:pt x="112" y="96"/>
                    </a:cubicBezTo>
                    <a:cubicBezTo>
                      <a:pt x="97" y="101"/>
                      <a:pt x="97" y="101"/>
                      <a:pt x="97" y="101"/>
                    </a:cubicBezTo>
                    <a:cubicBezTo>
                      <a:pt x="76" y="82"/>
                      <a:pt x="76" y="82"/>
                      <a:pt x="76" y="82"/>
                    </a:cubicBezTo>
                    <a:cubicBezTo>
                      <a:pt x="63" y="102"/>
                      <a:pt x="63" y="102"/>
                      <a:pt x="63" y="102"/>
                    </a:cubicBezTo>
                    <a:cubicBezTo>
                      <a:pt x="63" y="102"/>
                      <a:pt x="71" y="116"/>
                      <a:pt x="69" y="121"/>
                    </a:cubicBezTo>
                    <a:cubicBezTo>
                      <a:pt x="67" y="126"/>
                      <a:pt x="55" y="124"/>
                      <a:pt x="55" y="124"/>
                    </a:cubicBezTo>
                    <a:cubicBezTo>
                      <a:pt x="55" y="124"/>
                      <a:pt x="60" y="141"/>
                      <a:pt x="57" y="145"/>
                    </a:cubicBezTo>
                    <a:cubicBezTo>
                      <a:pt x="54" y="149"/>
                      <a:pt x="47" y="150"/>
                      <a:pt x="47" y="150"/>
                    </a:cubicBezTo>
                    <a:cubicBezTo>
                      <a:pt x="47" y="150"/>
                      <a:pt x="60" y="160"/>
                      <a:pt x="48" y="161"/>
                    </a:cubicBezTo>
                    <a:cubicBezTo>
                      <a:pt x="36" y="162"/>
                      <a:pt x="21" y="165"/>
                      <a:pt x="21" y="165"/>
                    </a:cubicBezTo>
                    <a:cubicBezTo>
                      <a:pt x="8" y="173"/>
                      <a:pt x="8" y="173"/>
                      <a:pt x="8" y="173"/>
                    </a:cubicBezTo>
                    <a:cubicBezTo>
                      <a:pt x="23" y="194"/>
                      <a:pt x="23" y="194"/>
                      <a:pt x="23" y="194"/>
                    </a:cubicBezTo>
                    <a:cubicBezTo>
                      <a:pt x="15" y="209"/>
                      <a:pt x="15" y="209"/>
                      <a:pt x="15" y="209"/>
                    </a:cubicBezTo>
                    <a:lnTo>
                      <a:pt x="0" y="20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" name="Freeform 305">
                <a:extLst>
                  <a:ext uri="{FF2B5EF4-FFF2-40B4-BE49-F238E27FC236}">
                    <a16:creationId xmlns:a16="http://schemas.microsoft.com/office/drawing/2014/main" id="{4505B92E-13A3-755E-1BA8-0B8E548E47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427" y="-11343"/>
                <a:ext cx="687" cy="811"/>
              </a:xfrm>
              <a:custGeom>
                <a:avLst/>
                <a:gdLst>
                  <a:gd name="T0" fmla="*/ 266 w 291"/>
                  <a:gd name="T1" fmla="*/ 269 h 343"/>
                  <a:gd name="T2" fmla="*/ 253 w 291"/>
                  <a:gd name="T3" fmla="*/ 219 h 343"/>
                  <a:gd name="T4" fmla="*/ 273 w 291"/>
                  <a:gd name="T5" fmla="*/ 187 h 343"/>
                  <a:gd name="T6" fmla="*/ 274 w 291"/>
                  <a:gd name="T7" fmla="*/ 157 h 343"/>
                  <a:gd name="T8" fmla="*/ 291 w 291"/>
                  <a:gd name="T9" fmla="*/ 130 h 343"/>
                  <a:gd name="T10" fmla="*/ 279 w 291"/>
                  <a:gd name="T11" fmla="*/ 84 h 343"/>
                  <a:gd name="T12" fmla="*/ 287 w 291"/>
                  <a:gd name="T13" fmla="*/ 83 h 343"/>
                  <a:gd name="T14" fmla="*/ 283 w 291"/>
                  <a:gd name="T15" fmla="*/ 64 h 343"/>
                  <a:gd name="T16" fmla="*/ 271 w 291"/>
                  <a:gd name="T17" fmla="*/ 66 h 343"/>
                  <a:gd name="T18" fmla="*/ 247 w 291"/>
                  <a:gd name="T19" fmla="*/ 41 h 343"/>
                  <a:gd name="T20" fmla="*/ 206 w 291"/>
                  <a:gd name="T21" fmla="*/ 59 h 343"/>
                  <a:gd name="T22" fmla="*/ 186 w 291"/>
                  <a:gd name="T23" fmla="*/ 54 h 343"/>
                  <a:gd name="T24" fmla="*/ 166 w 291"/>
                  <a:gd name="T25" fmla="*/ 22 h 343"/>
                  <a:gd name="T26" fmla="*/ 153 w 291"/>
                  <a:gd name="T27" fmla="*/ 26 h 343"/>
                  <a:gd name="T28" fmla="*/ 150 w 291"/>
                  <a:gd name="T29" fmla="*/ 12 h 343"/>
                  <a:gd name="T30" fmla="*/ 131 w 291"/>
                  <a:gd name="T31" fmla="*/ 26 h 343"/>
                  <a:gd name="T32" fmla="*/ 116 w 291"/>
                  <a:gd name="T33" fmla="*/ 24 h 343"/>
                  <a:gd name="T34" fmla="*/ 116 w 291"/>
                  <a:gd name="T35" fmla="*/ 0 h 343"/>
                  <a:gd name="T36" fmla="*/ 108 w 291"/>
                  <a:gd name="T37" fmla="*/ 13 h 343"/>
                  <a:gd name="T38" fmla="*/ 99 w 291"/>
                  <a:gd name="T39" fmla="*/ 1 h 343"/>
                  <a:gd name="T40" fmla="*/ 95 w 291"/>
                  <a:gd name="T41" fmla="*/ 19 h 343"/>
                  <a:gd name="T42" fmla="*/ 85 w 291"/>
                  <a:gd name="T43" fmla="*/ 19 h 343"/>
                  <a:gd name="T44" fmla="*/ 81 w 291"/>
                  <a:gd name="T45" fmla="*/ 31 h 343"/>
                  <a:gd name="T46" fmla="*/ 55 w 291"/>
                  <a:gd name="T47" fmla="*/ 15 h 343"/>
                  <a:gd name="T48" fmla="*/ 42 w 291"/>
                  <a:gd name="T49" fmla="*/ 30 h 343"/>
                  <a:gd name="T50" fmla="*/ 36 w 291"/>
                  <a:gd name="T51" fmla="*/ 27 h 343"/>
                  <a:gd name="T52" fmla="*/ 23 w 291"/>
                  <a:gd name="T53" fmla="*/ 41 h 343"/>
                  <a:gd name="T54" fmla="*/ 28 w 291"/>
                  <a:gd name="T55" fmla="*/ 68 h 343"/>
                  <a:gd name="T56" fmla="*/ 40 w 291"/>
                  <a:gd name="T57" fmla="*/ 69 h 343"/>
                  <a:gd name="T58" fmla="*/ 33 w 291"/>
                  <a:gd name="T59" fmla="*/ 82 h 343"/>
                  <a:gd name="T60" fmla="*/ 43 w 291"/>
                  <a:gd name="T61" fmla="*/ 86 h 343"/>
                  <a:gd name="T62" fmla="*/ 34 w 291"/>
                  <a:gd name="T63" fmla="*/ 103 h 343"/>
                  <a:gd name="T64" fmla="*/ 50 w 291"/>
                  <a:gd name="T65" fmla="*/ 113 h 343"/>
                  <a:gd name="T66" fmla="*/ 49 w 291"/>
                  <a:gd name="T67" fmla="*/ 126 h 343"/>
                  <a:gd name="T68" fmla="*/ 19 w 291"/>
                  <a:gd name="T69" fmla="*/ 122 h 343"/>
                  <a:gd name="T70" fmla="*/ 37 w 291"/>
                  <a:gd name="T71" fmla="*/ 145 h 343"/>
                  <a:gd name="T72" fmla="*/ 25 w 291"/>
                  <a:gd name="T73" fmla="*/ 148 h 343"/>
                  <a:gd name="T74" fmla="*/ 25 w 291"/>
                  <a:gd name="T75" fmla="*/ 169 h 343"/>
                  <a:gd name="T76" fmla="*/ 2 w 291"/>
                  <a:gd name="T77" fmla="*/ 162 h 343"/>
                  <a:gd name="T78" fmla="*/ 15 w 291"/>
                  <a:gd name="T79" fmla="*/ 196 h 343"/>
                  <a:gd name="T80" fmla="*/ 1 w 291"/>
                  <a:gd name="T81" fmla="*/ 228 h 343"/>
                  <a:gd name="T82" fmla="*/ 14 w 291"/>
                  <a:gd name="T83" fmla="*/ 230 h 343"/>
                  <a:gd name="T84" fmla="*/ 14 w 291"/>
                  <a:gd name="T85" fmla="*/ 240 h 343"/>
                  <a:gd name="T86" fmla="*/ 38 w 291"/>
                  <a:gd name="T87" fmla="*/ 236 h 343"/>
                  <a:gd name="T88" fmla="*/ 39 w 291"/>
                  <a:gd name="T89" fmla="*/ 253 h 343"/>
                  <a:gd name="T90" fmla="*/ 60 w 291"/>
                  <a:gd name="T91" fmla="*/ 282 h 343"/>
                  <a:gd name="T92" fmla="*/ 50 w 291"/>
                  <a:gd name="T93" fmla="*/ 316 h 343"/>
                  <a:gd name="T94" fmla="*/ 51 w 291"/>
                  <a:gd name="T95" fmla="*/ 343 h 343"/>
                  <a:gd name="T96" fmla="*/ 66 w 291"/>
                  <a:gd name="T97" fmla="*/ 331 h 343"/>
                  <a:gd name="T98" fmla="*/ 75 w 291"/>
                  <a:gd name="T99" fmla="*/ 331 h 343"/>
                  <a:gd name="T100" fmla="*/ 85 w 291"/>
                  <a:gd name="T101" fmla="*/ 323 h 343"/>
                  <a:gd name="T102" fmla="*/ 151 w 291"/>
                  <a:gd name="T103" fmla="*/ 300 h 343"/>
                  <a:gd name="T104" fmla="*/ 178 w 291"/>
                  <a:gd name="T105" fmla="*/ 296 h 343"/>
                  <a:gd name="T106" fmla="*/ 218 w 291"/>
                  <a:gd name="T107" fmla="*/ 290 h 343"/>
                  <a:gd name="T108" fmla="*/ 236 w 291"/>
                  <a:gd name="T109" fmla="*/ 299 h 343"/>
                  <a:gd name="T110" fmla="*/ 256 w 291"/>
                  <a:gd name="T111" fmla="*/ 289 h 343"/>
                  <a:gd name="T112" fmla="*/ 273 w 291"/>
                  <a:gd name="T113" fmla="*/ 306 h 343"/>
                  <a:gd name="T114" fmla="*/ 285 w 291"/>
                  <a:gd name="T115" fmla="*/ 310 h 343"/>
                  <a:gd name="T116" fmla="*/ 284 w 291"/>
                  <a:gd name="T117" fmla="*/ 275 h 343"/>
                  <a:gd name="T118" fmla="*/ 266 w 291"/>
                  <a:gd name="T119" fmla="*/ 269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1" h="343">
                    <a:moveTo>
                      <a:pt x="266" y="269"/>
                    </a:moveTo>
                    <a:cubicBezTo>
                      <a:pt x="266" y="269"/>
                      <a:pt x="253" y="233"/>
                      <a:pt x="253" y="219"/>
                    </a:cubicBezTo>
                    <a:cubicBezTo>
                      <a:pt x="253" y="205"/>
                      <a:pt x="273" y="187"/>
                      <a:pt x="273" y="187"/>
                    </a:cubicBezTo>
                    <a:cubicBezTo>
                      <a:pt x="273" y="187"/>
                      <a:pt x="274" y="165"/>
                      <a:pt x="274" y="157"/>
                    </a:cubicBezTo>
                    <a:cubicBezTo>
                      <a:pt x="274" y="149"/>
                      <a:pt x="291" y="142"/>
                      <a:pt x="291" y="130"/>
                    </a:cubicBezTo>
                    <a:cubicBezTo>
                      <a:pt x="291" y="118"/>
                      <a:pt x="279" y="84"/>
                      <a:pt x="279" y="84"/>
                    </a:cubicBezTo>
                    <a:cubicBezTo>
                      <a:pt x="287" y="83"/>
                      <a:pt x="287" y="83"/>
                      <a:pt x="287" y="83"/>
                    </a:cubicBezTo>
                    <a:cubicBezTo>
                      <a:pt x="283" y="64"/>
                      <a:pt x="283" y="64"/>
                      <a:pt x="283" y="64"/>
                    </a:cubicBezTo>
                    <a:cubicBezTo>
                      <a:pt x="271" y="66"/>
                      <a:pt x="271" y="66"/>
                      <a:pt x="271" y="66"/>
                    </a:cubicBezTo>
                    <a:cubicBezTo>
                      <a:pt x="271" y="66"/>
                      <a:pt x="277" y="45"/>
                      <a:pt x="247" y="41"/>
                    </a:cubicBezTo>
                    <a:cubicBezTo>
                      <a:pt x="217" y="37"/>
                      <a:pt x="206" y="59"/>
                      <a:pt x="206" y="59"/>
                    </a:cubicBezTo>
                    <a:cubicBezTo>
                      <a:pt x="206" y="59"/>
                      <a:pt x="196" y="55"/>
                      <a:pt x="186" y="54"/>
                    </a:cubicBezTo>
                    <a:cubicBezTo>
                      <a:pt x="176" y="53"/>
                      <a:pt x="166" y="22"/>
                      <a:pt x="166" y="22"/>
                    </a:cubicBezTo>
                    <a:cubicBezTo>
                      <a:pt x="153" y="26"/>
                      <a:pt x="153" y="26"/>
                      <a:pt x="153" y="26"/>
                    </a:cubicBezTo>
                    <a:cubicBezTo>
                      <a:pt x="150" y="12"/>
                      <a:pt x="150" y="12"/>
                      <a:pt x="150" y="12"/>
                    </a:cubicBezTo>
                    <a:cubicBezTo>
                      <a:pt x="135" y="12"/>
                      <a:pt x="131" y="26"/>
                      <a:pt x="131" y="26"/>
                    </a:cubicBezTo>
                    <a:cubicBezTo>
                      <a:pt x="116" y="24"/>
                      <a:pt x="116" y="24"/>
                      <a:pt x="116" y="24"/>
                    </a:cubicBezTo>
                    <a:cubicBezTo>
                      <a:pt x="116" y="0"/>
                      <a:pt x="116" y="0"/>
                      <a:pt x="116" y="0"/>
                    </a:cubicBezTo>
                    <a:cubicBezTo>
                      <a:pt x="108" y="13"/>
                      <a:pt x="108" y="13"/>
                      <a:pt x="108" y="13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5" y="19"/>
                      <a:pt x="95" y="19"/>
                      <a:pt x="95" y="19"/>
                    </a:cubicBezTo>
                    <a:cubicBezTo>
                      <a:pt x="85" y="19"/>
                      <a:pt x="85" y="19"/>
                      <a:pt x="85" y="19"/>
                    </a:cubicBezTo>
                    <a:cubicBezTo>
                      <a:pt x="81" y="31"/>
                      <a:pt x="81" y="31"/>
                      <a:pt x="81" y="31"/>
                    </a:cubicBezTo>
                    <a:cubicBezTo>
                      <a:pt x="81" y="31"/>
                      <a:pt x="71" y="17"/>
                      <a:pt x="55" y="15"/>
                    </a:cubicBezTo>
                    <a:cubicBezTo>
                      <a:pt x="39" y="13"/>
                      <a:pt x="42" y="30"/>
                      <a:pt x="42" y="30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8" y="68"/>
                      <a:pt x="28" y="68"/>
                      <a:pt x="28" y="68"/>
                    </a:cubicBezTo>
                    <a:cubicBezTo>
                      <a:pt x="40" y="69"/>
                      <a:pt x="40" y="69"/>
                      <a:pt x="40" y="69"/>
                    </a:cubicBezTo>
                    <a:cubicBezTo>
                      <a:pt x="33" y="82"/>
                      <a:pt x="33" y="82"/>
                      <a:pt x="33" y="82"/>
                    </a:cubicBezTo>
                    <a:cubicBezTo>
                      <a:pt x="43" y="86"/>
                      <a:pt x="43" y="86"/>
                      <a:pt x="43" y="86"/>
                    </a:cubicBezTo>
                    <a:cubicBezTo>
                      <a:pt x="43" y="86"/>
                      <a:pt x="33" y="95"/>
                      <a:pt x="34" y="103"/>
                    </a:cubicBezTo>
                    <a:cubicBezTo>
                      <a:pt x="35" y="111"/>
                      <a:pt x="50" y="106"/>
                      <a:pt x="50" y="113"/>
                    </a:cubicBezTo>
                    <a:cubicBezTo>
                      <a:pt x="50" y="120"/>
                      <a:pt x="49" y="126"/>
                      <a:pt x="49" y="126"/>
                    </a:cubicBezTo>
                    <a:cubicBezTo>
                      <a:pt x="49" y="126"/>
                      <a:pt x="19" y="112"/>
                      <a:pt x="19" y="122"/>
                    </a:cubicBezTo>
                    <a:cubicBezTo>
                      <a:pt x="19" y="132"/>
                      <a:pt x="37" y="145"/>
                      <a:pt x="37" y="145"/>
                    </a:cubicBezTo>
                    <a:cubicBezTo>
                      <a:pt x="25" y="148"/>
                      <a:pt x="25" y="148"/>
                      <a:pt x="25" y="148"/>
                    </a:cubicBezTo>
                    <a:cubicBezTo>
                      <a:pt x="25" y="148"/>
                      <a:pt x="32" y="166"/>
                      <a:pt x="25" y="169"/>
                    </a:cubicBezTo>
                    <a:cubicBezTo>
                      <a:pt x="19" y="171"/>
                      <a:pt x="9" y="164"/>
                      <a:pt x="2" y="162"/>
                    </a:cubicBezTo>
                    <a:cubicBezTo>
                      <a:pt x="7" y="172"/>
                      <a:pt x="15" y="186"/>
                      <a:pt x="15" y="196"/>
                    </a:cubicBezTo>
                    <a:cubicBezTo>
                      <a:pt x="15" y="211"/>
                      <a:pt x="0" y="225"/>
                      <a:pt x="1" y="228"/>
                    </a:cubicBezTo>
                    <a:cubicBezTo>
                      <a:pt x="2" y="231"/>
                      <a:pt x="14" y="230"/>
                      <a:pt x="14" y="230"/>
                    </a:cubicBezTo>
                    <a:cubicBezTo>
                      <a:pt x="14" y="240"/>
                      <a:pt x="14" y="240"/>
                      <a:pt x="14" y="240"/>
                    </a:cubicBezTo>
                    <a:cubicBezTo>
                      <a:pt x="38" y="236"/>
                      <a:pt x="38" y="236"/>
                      <a:pt x="38" y="236"/>
                    </a:cubicBezTo>
                    <a:cubicBezTo>
                      <a:pt x="39" y="253"/>
                      <a:pt x="39" y="253"/>
                      <a:pt x="39" y="253"/>
                    </a:cubicBezTo>
                    <a:cubicBezTo>
                      <a:pt x="39" y="253"/>
                      <a:pt x="60" y="269"/>
                      <a:pt x="60" y="282"/>
                    </a:cubicBezTo>
                    <a:cubicBezTo>
                      <a:pt x="60" y="295"/>
                      <a:pt x="50" y="316"/>
                      <a:pt x="50" y="316"/>
                    </a:cubicBezTo>
                    <a:cubicBezTo>
                      <a:pt x="51" y="343"/>
                      <a:pt x="51" y="343"/>
                      <a:pt x="51" y="343"/>
                    </a:cubicBezTo>
                    <a:cubicBezTo>
                      <a:pt x="63" y="341"/>
                      <a:pt x="66" y="331"/>
                      <a:pt x="66" y="331"/>
                    </a:cubicBezTo>
                    <a:cubicBezTo>
                      <a:pt x="75" y="331"/>
                      <a:pt x="75" y="331"/>
                      <a:pt x="75" y="331"/>
                    </a:cubicBezTo>
                    <a:cubicBezTo>
                      <a:pt x="85" y="323"/>
                      <a:pt x="85" y="323"/>
                      <a:pt x="85" y="323"/>
                    </a:cubicBezTo>
                    <a:cubicBezTo>
                      <a:pt x="85" y="323"/>
                      <a:pt x="131" y="298"/>
                      <a:pt x="151" y="300"/>
                    </a:cubicBezTo>
                    <a:cubicBezTo>
                      <a:pt x="171" y="302"/>
                      <a:pt x="178" y="296"/>
                      <a:pt x="178" y="296"/>
                    </a:cubicBezTo>
                    <a:cubicBezTo>
                      <a:pt x="178" y="296"/>
                      <a:pt x="209" y="285"/>
                      <a:pt x="218" y="290"/>
                    </a:cubicBezTo>
                    <a:cubicBezTo>
                      <a:pt x="227" y="295"/>
                      <a:pt x="229" y="300"/>
                      <a:pt x="236" y="299"/>
                    </a:cubicBezTo>
                    <a:cubicBezTo>
                      <a:pt x="243" y="298"/>
                      <a:pt x="256" y="289"/>
                      <a:pt x="256" y="289"/>
                    </a:cubicBezTo>
                    <a:cubicBezTo>
                      <a:pt x="256" y="289"/>
                      <a:pt x="257" y="299"/>
                      <a:pt x="273" y="306"/>
                    </a:cubicBezTo>
                    <a:cubicBezTo>
                      <a:pt x="277" y="308"/>
                      <a:pt x="281" y="309"/>
                      <a:pt x="285" y="310"/>
                    </a:cubicBezTo>
                    <a:cubicBezTo>
                      <a:pt x="284" y="275"/>
                      <a:pt x="284" y="275"/>
                      <a:pt x="284" y="275"/>
                    </a:cubicBezTo>
                    <a:lnTo>
                      <a:pt x="266" y="26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" name="Freeform 306">
                <a:extLst>
                  <a:ext uri="{FF2B5EF4-FFF2-40B4-BE49-F238E27FC236}">
                    <a16:creationId xmlns:a16="http://schemas.microsoft.com/office/drawing/2014/main" id="{C6D3098E-8625-BE48-645E-549928D086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428" y="-12966"/>
                <a:ext cx="1750" cy="1484"/>
              </a:xfrm>
              <a:custGeom>
                <a:avLst/>
                <a:gdLst>
                  <a:gd name="T0" fmla="*/ 36 w 741"/>
                  <a:gd name="T1" fmla="*/ 540 h 628"/>
                  <a:gd name="T2" fmla="*/ 34 w 741"/>
                  <a:gd name="T3" fmla="*/ 557 h 628"/>
                  <a:gd name="T4" fmla="*/ 88 w 741"/>
                  <a:gd name="T5" fmla="*/ 579 h 628"/>
                  <a:gd name="T6" fmla="*/ 84 w 741"/>
                  <a:gd name="T7" fmla="*/ 598 h 628"/>
                  <a:gd name="T8" fmla="*/ 102 w 741"/>
                  <a:gd name="T9" fmla="*/ 604 h 628"/>
                  <a:gd name="T10" fmla="*/ 141 w 741"/>
                  <a:gd name="T11" fmla="*/ 619 h 628"/>
                  <a:gd name="T12" fmla="*/ 159 w 741"/>
                  <a:gd name="T13" fmla="*/ 594 h 628"/>
                  <a:gd name="T14" fmla="*/ 183 w 741"/>
                  <a:gd name="T15" fmla="*/ 542 h 628"/>
                  <a:gd name="T16" fmla="*/ 236 w 741"/>
                  <a:gd name="T17" fmla="*/ 526 h 628"/>
                  <a:gd name="T18" fmla="*/ 269 w 741"/>
                  <a:gd name="T19" fmla="*/ 529 h 628"/>
                  <a:gd name="T20" fmla="*/ 305 w 741"/>
                  <a:gd name="T21" fmla="*/ 544 h 628"/>
                  <a:gd name="T22" fmla="*/ 364 w 741"/>
                  <a:gd name="T23" fmla="*/ 544 h 628"/>
                  <a:gd name="T24" fmla="*/ 442 w 741"/>
                  <a:gd name="T25" fmla="*/ 578 h 628"/>
                  <a:gd name="T26" fmla="*/ 554 w 741"/>
                  <a:gd name="T27" fmla="*/ 557 h 628"/>
                  <a:gd name="T28" fmla="*/ 597 w 741"/>
                  <a:gd name="T29" fmla="*/ 541 h 628"/>
                  <a:gd name="T30" fmla="*/ 621 w 741"/>
                  <a:gd name="T31" fmla="*/ 526 h 628"/>
                  <a:gd name="T32" fmla="*/ 621 w 741"/>
                  <a:gd name="T33" fmla="*/ 484 h 628"/>
                  <a:gd name="T34" fmla="*/ 656 w 741"/>
                  <a:gd name="T35" fmla="*/ 426 h 628"/>
                  <a:gd name="T36" fmla="*/ 727 w 741"/>
                  <a:gd name="T37" fmla="*/ 194 h 628"/>
                  <a:gd name="T38" fmla="*/ 721 w 741"/>
                  <a:gd name="T39" fmla="*/ 145 h 628"/>
                  <a:gd name="T40" fmla="*/ 697 w 741"/>
                  <a:gd name="T41" fmla="*/ 105 h 628"/>
                  <a:gd name="T42" fmla="*/ 692 w 741"/>
                  <a:gd name="T43" fmla="*/ 28 h 628"/>
                  <a:gd name="T44" fmla="*/ 623 w 741"/>
                  <a:gd name="T45" fmla="*/ 16 h 628"/>
                  <a:gd name="T46" fmla="*/ 551 w 741"/>
                  <a:gd name="T47" fmla="*/ 0 h 628"/>
                  <a:gd name="T48" fmla="*/ 261 w 741"/>
                  <a:gd name="T49" fmla="*/ 221 h 628"/>
                  <a:gd name="T50" fmla="*/ 190 w 741"/>
                  <a:gd name="T51" fmla="*/ 372 h 628"/>
                  <a:gd name="T52" fmla="*/ 160 w 741"/>
                  <a:gd name="T53" fmla="*/ 427 h 628"/>
                  <a:gd name="T54" fmla="*/ 124 w 741"/>
                  <a:gd name="T55" fmla="*/ 437 h 628"/>
                  <a:gd name="T56" fmla="*/ 92 w 741"/>
                  <a:gd name="T57" fmla="*/ 444 h 628"/>
                  <a:gd name="T58" fmla="*/ 32 w 741"/>
                  <a:gd name="T59" fmla="*/ 455 h 628"/>
                  <a:gd name="T60" fmla="*/ 1 w 741"/>
                  <a:gd name="T61" fmla="*/ 485 h 628"/>
                  <a:gd name="T62" fmla="*/ 13 w 741"/>
                  <a:gd name="T63" fmla="*/ 525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41" h="628">
                    <a:moveTo>
                      <a:pt x="35" y="531"/>
                    </a:moveTo>
                    <a:cubicBezTo>
                      <a:pt x="36" y="540"/>
                      <a:pt x="36" y="540"/>
                      <a:pt x="36" y="540"/>
                    </a:cubicBezTo>
                    <a:cubicBezTo>
                      <a:pt x="46" y="541"/>
                      <a:pt x="46" y="541"/>
                      <a:pt x="46" y="541"/>
                    </a:cubicBezTo>
                    <a:cubicBezTo>
                      <a:pt x="46" y="541"/>
                      <a:pt x="31" y="552"/>
                      <a:pt x="34" y="557"/>
                    </a:cubicBezTo>
                    <a:cubicBezTo>
                      <a:pt x="37" y="562"/>
                      <a:pt x="56" y="584"/>
                      <a:pt x="68" y="584"/>
                    </a:cubicBezTo>
                    <a:cubicBezTo>
                      <a:pt x="80" y="584"/>
                      <a:pt x="79" y="575"/>
                      <a:pt x="88" y="579"/>
                    </a:cubicBezTo>
                    <a:cubicBezTo>
                      <a:pt x="97" y="583"/>
                      <a:pt x="99" y="593"/>
                      <a:pt x="99" y="593"/>
                    </a:cubicBezTo>
                    <a:cubicBezTo>
                      <a:pt x="84" y="598"/>
                      <a:pt x="84" y="598"/>
                      <a:pt x="84" y="598"/>
                    </a:cubicBezTo>
                    <a:cubicBezTo>
                      <a:pt x="99" y="620"/>
                      <a:pt x="99" y="620"/>
                      <a:pt x="99" y="620"/>
                    </a:cubicBezTo>
                    <a:cubicBezTo>
                      <a:pt x="102" y="604"/>
                      <a:pt x="102" y="604"/>
                      <a:pt x="102" y="604"/>
                    </a:cubicBezTo>
                    <a:cubicBezTo>
                      <a:pt x="119" y="597"/>
                      <a:pt x="119" y="597"/>
                      <a:pt x="119" y="597"/>
                    </a:cubicBezTo>
                    <a:cubicBezTo>
                      <a:pt x="119" y="597"/>
                      <a:pt x="136" y="616"/>
                      <a:pt x="141" y="619"/>
                    </a:cubicBezTo>
                    <a:cubicBezTo>
                      <a:pt x="146" y="622"/>
                      <a:pt x="162" y="628"/>
                      <a:pt x="162" y="628"/>
                    </a:cubicBezTo>
                    <a:cubicBezTo>
                      <a:pt x="159" y="594"/>
                      <a:pt x="159" y="594"/>
                      <a:pt x="159" y="594"/>
                    </a:cubicBezTo>
                    <a:cubicBezTo>
                      <a:pt x="159" y="594"/>
                      <a:pt x="181" y="583"/>
                      <a:pt x="182" y="568"/>
                    </a:cubicBezTo>
                    <a:cubicBezTo>
                      <a:pt x="183" y="553"/>
                      <a:pt x="183" y="542"/>
                      <a:pt x="183" y="542"/>
                    </a:cubicBezTo>
                    <a:cubicBezTo>
                      <a:pt x="202" y="525"/>
                      <a:pt x="202" y="525"/>
                      <a:pt x="202" y="525"/>
                    </a:cubicBezTo>
                    <a:cubicBezTo>
                      <a:pt x="236" y="526"/>
                      <a:pt x="236" y="526"/>
                      <a:pt x="236" y="526"/>
                    </a:cubicBezTo>
                    <a:cubicBezTo>
                      <a:pt x="236" y="526"/>
                      <a:pt x="235" y="520"/>
                      <a:pt x="249" y="519"/>
                    </a:cubicBezTo>
                    <a:cubicBezTo>
                      <a:pt x="263" y="518"/>
                      <a:pt x="262" y="528"/>
                      <a:pt x="269" y="529"/>
                    </a:cubicBezTo>
                    <a:cubicBezTo>
                      <a:pt x="276" y="530"/>
                      <a:pt x="288" y="530"/>
                      <a:pt x="288" y="530"/>
                    </a:cubicBezTo>
                    <a:cubicBezTo>
                      <a:pt x="305" y="544"/>
                      <a:pt x="305" y="544"/>
                      <a:pt x="305" y="544"/>
                    </a:cubicBezTo>
                    <a:cubicBezTo>
                      <a:pt x="305" y="544"/>
                      <a:pt x="310" y="566"/>
                      <a:pt x="319" y="565"/>
                    </a:cubicBezTo>
                    <a:cubicBezTo>
                      <a:pt x="328" y="564"/>
                      <a:pt x="352" y="544"/>
                      <a:pt x="364" y="544"/>
                    </a:cubicBezTo>
                    <a:cubicBezTo>
                      <a:pt x="376" y="544"/>
                      <a:pt x="388" y="572"/>
                      <a:pt x="407" y="573"/>
                    </a:cubicBezTo>
                    <a:cubicBezTo>
                      <a:pt x="426" y="574"/>
                      <a:pt x="442" y="578"/>
                      <a:pt x="442" y="578"/>
                    </a:cubicBezTo>
                    <a:cubicBezTo>
                      <a:pt x="442" y="578"/>
                      <a:pt x="454" y="543"/>
                      <a:pt x="496" y="543"/>
                    </a:cubicBezTo>
                    <a:cubicBezTo>
                      <a:pt x="538" y="543"/>
                      <a:pt x="554" y="557"/>
                      <a:pt x="554" y="557"/>
                    </a:cubicBezTo>
                    <a:cubicBezTo>
                      <a:pt x="572" y="558"/>
                      <a:pt x="572" y="558"/>
                      <a:pt x="572" y="558"/>
                    </a:cubicBezTo>
                    <a:cubicBezTo>
                      <a:pt x="572" y="558"/>
                      <a:pt x="590" y="545"/>
                      <a:pt x="597" y="541"/>
                    </a:cubicBezTo>
                    <a:cubicBezTo>
                      <a:pt x="604" y="537"/>
                      <a:pt x="613" y="540"/>
                      <a:pt x="613" y="540"/>
                    </a:cubicBezTo>
                    <a:cubicBezTo>
                      <a:pt x="613" y="540"/>
                      <a:pt x="617" y="526"/>
                      <a:pt x="621" y="526"/>
                    </a:cubicBezTo>
                    <a:cubicBezTo>
                      <a:pt x="622" y="526"/>
                      <a:pt x="623" y="526"/>
                      <a:pt x="624" y="526"/>
                    </a:cubicBezTo>
                    <a:cubicBezTo>
                      <a:pt x="621" y="484"/>
                      <a:pt x="621" y="484"/>
                      <a:pt x="621" y="484"/>
                    </a:cubicBezTo>
                    <a:cubicBezTo>
                      <a:pt x="634" y="479"/>
                      <a:pt x="634" y="479"/>
                      <a:pt x="634" y="479"/>
                    </a:cubicBezTo>
                    <a:cubicBezTo>
                      <a:pt x="634" y="479"/>
                      <a:pt x="644" y="442"/>
                      <a:pt x="656" y="426"/>
                    </a:cubicBezTo>
                    <a:cubicBezTo>
                      <a:pt x="667" y="409"/>
                      <a:pt x="717" y="356"/>
                      <a:pt x="717" y="356"/>
                    </a:cubicBezTo>
                    <a:cubicBezTo>
                      <a:pt x="727" y="194"/>
                      <a:pt x="727" y="194"/>
                      <a:pt x="727" y="194"/>
                    </a:cubicBezTo>
                    <a:cubicBezTo>
                      <a:pt x="741" y="169"/>
                      <a:pt x="741" y="169"/>
                      <a:pt x="741" y="169"/>
                    </a:cubicBezTo>
                    <a:cubicBezTo>
                      <a:pt x="721" y="145"/>
                      <a:pt x="721" y="145"/>
                      <a:pt x="721" y="145"/>
                    </a:cubicBezTo>
                    <a:cubicBezTo>
                      <a:pt x="716" y="129"/>
                      <a:pt x="716" y="129"/>
                      <a:pt x="716" y="129"/>
                    </a:cubicBezTo>
                    <a:cubicBezTo>
                      <a:pt x="697" y="105"/>
                      <a:pt x="697" y="105"/>
                      <a:pt x="697" y="105"/>
                    </a:cubicBezTo>
                    <a:cubicBezTo>
                      <a:pt x="704" y="72"/>
                      <a:pt x="704" y="72"/>
                      <a:pt x="704" y="72"/>
                    </a:cubicBezTo>
                    <a:cubicBezTo>
                      <a:pt x="692" y="28"/>
                      <a:pt x="692" y="28"/>
                      <a:pt x="692" y="28"/>
                    </a:cubicBezTo>
                    <a:cubicBezTo>
                      <a:pt x="676" y="37"/>
                      <a:pt x="662" y="44"/>
                      <a:pt x="657" y="45"/>
                    </a:cubicBezTo>
                    <a:cubicBezTo>
                      <a:pt x="646" y="46"/>
                      <a:pt x="630" y="18"/>
                      <a:pt x="623" y="16"/>
                    </a:cubicBezTo>
                    <a:cubicBezTo>
                      <a:pt x="616" y="14"/>
                      <a:pt x="576" y="6"/>
                      <a:pt x="576" y="6"/>
                    </a:cubicBez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364" y="136"/>
                      <a:pt x="342" y="151"/>
                    </a:cubicBezTo>
                    <a:cubicBezTo>
                      <a:pt x="320" y="166"/>
                      <a:pt x="275" y="219"/>
                      <a:pt x="261" y="221"/>
                    </a:cubicBezTo>
                    <a:cubicBezTo>
                      <a:pt x="251" y="222"/>
                      <a:pt x="210" y="231"/>
                      <a:pt x="190" y="235"/>
                    </a:cubicBezTo>
                    <a:cubicBezTo>
                      <a:pt x="190" y="372"/>
                      <a:pt x="190" y="372"/>
                      <a:pt x="190" y="372"/>
                    </a:cubicBezTo>
                    <a:cubicBezTo>
                      <a:pt x="175" y="387"/>
                      <a:pt x="175" y="387"/>
                      <a:pt x="175" y="387"/>
                    </a:cubicBezTo>
                    <a:cubicBezTo>
                      <a:pt x="175" y="387"/>
                      <a:pt x="175" y="420"/>
                      <a:pt x="160" y="427"/>
                    </a:cubicBezTo>
                    <a:cubicBezTo>
                      <a:pt x="138" y="438"/>
                      <a:pt x="131" y="432"/>
                      <a:pt x="131" y="432"/>
                    </a:cubicBezTo>
                    <a:cubicBezTo>
                      <a:pt x="124" y="437"/>
                      <a:pt x="124" y="437"/>
                      <a:pt x="124" y="437"/>
                    </a:cubicBezTo>
                    <a:cubicBezTo>
                      <a:pt x="93" y="435"/>
                      <a:pt x="93" y="435"/>
                      <a:pt x="93" y="435"/>
                    </a:cubicBezTo>
                    <a:cubicBezTo>
                      <a:pt x="92" y="444"/>
                      <a:pt x="92" y="444"/>
                      <a:pt x="92" y="444"/>
                    </a:cubicBezTo>
                    <a:cubicBezTo>
                      <a:pt x="50" y="443"/>
                      <a:pt x="50" y="443"/>
                      <a:pt x="50" y="443"/>
                    </a:cubicBezTo>
                    <a:cubicBezTo>
                      <a:pt x="32" y="455"/>
                      <a:pt x="32" y="455"/>
                      <a:pt x="32" y="455"/>
                    </a:cubicBezTo>
                    <a:cubicBezTo>
                      <a:pt x="0" y="462"/>
                      <a:pt x="0" y="462"/>
                      <a:pt x="0" y="462"/>
                    </a:cubicBezTo>
                    <a:cubicBezTo>
                      <a:pt x="1" y="485"/>
                      <a:pt x="1" y="485"/>
                      <a:pt x="1" y="485"/>
                    </a:cubicBezTo>
                    <a:cubicBezTo>
                      <a:pt x="4" y="494"/>
                      <a:pt x="4" y="494"/>
                      <a:pt x="4" y="494"/>
                    </a:cubicBezTo>
                    <a:cubicBezTo>
                      <a:pt x="4" y="494"/>
                      <a:pt x="3" y="518"/>
                      <a:pt x="13" y="525"/>
                    </a:cubicBezTo>
                    <a:cubicBezTo>
                      <a:pt x="23" y="532"/>
                      <a:pt x="35" y="531"/>
                      <a:pt x="35" y="53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" name="Freeform 307">
                <a:extLst>
                  <a:ext uri="{FF2B5EF4-FFF2-40B4-BE49-F238E27FC236}">
                    <a16:creationId xmlns:a16="http://schemas.microsoft.com/office/drawing/2014/main" id="{0891C7D7-417C-0012-AA55-9D912ED3710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449" y="-14702"/>
                <a:ext cx="2323" cy="2318"/>
              </a:xfrm>
              <a:custGeom>
                <a:avLst/>
                <a:gdLst>
                  <a:gd name="T0" fmla="*/ 212 w 983"/>
                  <a:gd name="T1" fmla="*/ 357 h 981"/>
                  <a:gd name="T2" fmla="*/ 155 w 983"/>
                  <a:gd name="T3" fmla="*/ 390 h 981"/>
                  <a:gd name="T4" fmla="*/ 136 w 983"/>
                  <a:gd name="T5" fmla="*/ 399 h 981"/>
                  <a:gd name="T6" fmla="*/ 111 w 983"/>
                  <a:gd name="T7" fmla="*/ 404 h 981"/>
                  <a:gd name="T8" fmla="*/ 81 w 983"/>
                  <a:gd name="T9" fmla="*/ 417 h 981"/>
                  <a:gd name="T10" fmla="*/ 40 w 983"/>
                  <a:gd name="T11" fmla="*/ 454 h 981"/>
                  <a:gd name="T12" fmla="*/ 35 w 983"/>
                  <a:gd name="T13" fmla="*/ 511 h 981"/>
                  <a:gd name="T14" fmla="*/ 37 w 983"/>
                  <a:gd name="T15" fmla="*/ 513 h 981"/>
                  <a:gd name="T16" fmla="*/ 208 w 983"/>
                  <a:gd name="T17" fmla="*/ 656 h 981"/>
                  <a:gd name="T18" fmla="*/ 481 w 983"/>
                  <a:gd name="T19" fmla="*/ 882 h 981"/>
                  <a:gd name="T20" fmla="*/ 510 w 983"/>
                  <a:gd name="T21" fmla="*/ 904 h 981"/>
                  <a:gd name="T22" fmla="*/ 538 w 983"/>
                  <a:gd name="T23" fmla="*/ 923 h 981"/>
                  <a:gd name="T24" fmla="*/ 582 w 983"/>
                  <a:gd name="T25" fmla="*/ 953 h 981"/>
                  <a:gd name="T26" fmla="*/ 610 w 983"/>
                  <a:gd name="T27" fmla="*/ 973 h 981"/>
                  <a:gd name="T28" fmla="*/ 774 w 983"/>
                  <a:gd name="T29" fmla="*/ 886 h 981"/>
                  <a:gd name="T30" fmla="*/ 963 w 983"/>
                  <a:gd name="T31" fmla="*/ 691 h 981"/>
                  <a:gd name="T32" fmla="*/ 909 w 983"/>
                  <a:gd name="T33" fmla="*/ 684 h 981"/>
                  <a:gd name="T34" fmla="*/ 893 w 983"/>
                  <a:gd name="T35" fmla="*/ 639 h 981"/>
                  <a:gd name="T36" fmla="*/ 889 w 983"/>
                  <a:gd name="T37" fmla="*/ 569 h 981"/>
                  <a:gd name="T38" fmla="*/ 880 w 983"/>
                  <a:gd name="T39" fmla="*/ 515 h 981"/>
                  <a:gd name="T40" fmla="*/ 883 w 983"/>
                  <a:gd name="T41" fmla="*/ 488 h 981"/>
                  <a:gd name="T42" fmla="*/ 862 w 983"/>
                  <a:gd name="T43" fmla="*/ 381 h 981"/>
                  <a:gd name="T44" fmla="*/ 870 w 983"/>
                  <a:gd name="T45" fmla="*/ 373 h 981"/>
                  <a:gd name="T46" fmla="*/ 817 w 983"/>
                  <a:gd name="T47" fmla="*/ 252 h 981"/>
                  <a:gd name="T48" fmla="*/ 789 w 983"/>
                  <a:gd name="T49" fmla="*/ 213 h 981"/>
                  <a:gd name="T50" fmla="*/ 782 w 983"/>
                  <a:gd name="T51" fmla="*/ 194 h 981"/>
                  <a:gd name="T52" fmla="*/ 798 w 983"/>
                  <a:gd name="T53" fmla="*/ 148 h 981"/>
                  <a:gd name="T54" fmla="*/ 820 w 983"/>
                  <a:gd name="T55" fmla="*/ 105 h 981"/>
                  <a:gd name="T56" fmla="*/ 820 w 983"/>
                  <a:gd name="T57" fmla="*/ 38 h 981"/>
                  <a:gd name="T58" fmla="*/ 835 w 983"/>
                  <a:gd name="T59" fmla="*/ 21 h 981"/>
                  <a:gd name="T60" fmla="*/ 815 w 983"/>
                  <a:gd name="T61" fmla="*/ 10 h 981"/>
                  <a:gd name="T62" fmla="*/ 779 w 983"/>
                  <a:gd name="T63" fmla="*/ 3 h 981"/>
                  <a:gd name="T64" fmla="*/ 769 w 983"/>
                  <a:gd name="T65" fmla="*/ 14 h 981"/>
                  <a:gd name="T66" fmla="*/ 728 w 983"/>
                  <a:gd name="T67" fmla="*/ 0 h 981"/>
                  <a:gd name="T68" fmla="*/ 704 w 983"/>
                  <a:gd name="T69" fmla="*/ 14 h 981"/>
                  <a:gd name="T70" fmla="*/ 631 w 983"/>
                  <a:gd name="T71" fmla="*/ 18 h 981"/>
                  <a:gd name="T72" fmla="*/ 545 w 983"/>
                  <a:gd name="T73" fmla="*/ 27 h 981"/>
                  <a:gd name="T74" fmla="*/ 503 w 983"/>
                  <a:gd name="T75" fmla="*/ 33 h 981"/>
                  <a:gd name="T76" fmla="*/ 446 w 983"/>
                  <a:gd name="T77" fmla="*/ 72 h 981"/>
                  <a:gd name="T78" fmla="*/ 355 w 983"/>
                  <a:gd name="T79" fmla="*/ 113 h 981"/>
                  <a:gd name="T80" fmla="*/ 349 w 983"/>
                  <a:gd name="T81" fmla="*/ 112 h 981"/>
                  <a:gd name="T82" fmla="*/ 360 w 983"/>
                  <a:gd name="T83" fmla="*/ 141 h 981"/>
                  <a:gd name="T84" fmla="*/ 365 w 983"/>
                  <a:gd name="T85" fmla="*/ 186 h 981"/>
                  <a:gd name="T86" fmla="*/ 364 w 983"/>
                  <a:gd name="T87" fmla="*/ 218 h 981"/>
                  <a:gd name="T88" fmla="*/ 375 w 983"/>
                  <a:gd name="T89" fmla="*/ 238 h 981"/>
                  <a:gd name="T90" fmla="*/ 382 w 983"/>
                  <a:gd name="T91" fmla="*/ 259 h 981"/>
                  <a:gd name="T92" fmla="*/ 343 w 983"/>
                  <a:gd name="T93" fmla="*/ 274 h 981"/>
                  <a:gd name="T94" fmla="*/ 321 w 983"/>
                  <a:gd name="T95" fmla="*/ 275 h 981"/>
                  <a:gd name="T96" fmla="*/ 303 w 983"/>
                  <a:gd name="T97" fmla="*/ 288 h 981"/>
                  <a:gd name="T98" fmla="*/ 267 w 983"/>
                  <a:gd name="T99" fmla="*/ 318 h 981"/>
                  <a:gd name="T100" fmla="*/ 260 w 983"/>
                  <a:gd name="T101" fmla="*/ 337 h 9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83" h="981">
                    <a:moveTo>
                      <a:pt x="242" y="356"/>
                    </a:moveTo>
                    <a:cubicBezTo>
                      <a:pt x="236" y="356"/>
                      <a:pt x="212" y="357"/>
                      <a:pt x="212" y="357"/>
                    </a:cubicBezTo>
                    <a:cubicBezTo>
                      <a:pt x="212" y="357"/>
                      <a:pt x="197" y="388"/>
                      <a:pt x="189" y="391"/>
                    </a:cubicBezTo>
                    <a:cubicBezTo>
                      <a:pt x="181" y="394"/>
                      <a:pt x="155" y="390"/>
                      <a:pt x="155" y="390"/>
                    </a:cubicBezTo>
                    <a:cubicBezTo>
                      <a:pt x="154" y="398"/>
                      <a:pt x="154" y="398"/>
                      <a:pt x="154" y="398"/>
                    </a:cubicBezTo>
                    <a:cubicBezTo>
                      <a:pt x="136" y="399"/>
                      <a:pt x="136" y="399"/>
                      <a:pt x="136" y="399"/>
                    </a:cubicBezTo>
                    <a:cubicBezTo>
                      <a:pt x="136" y="399"/>
                      <a:pt x="136" y="411"/>
                      <a:pt x="130" y="412"/>
                    </a:cubicBezTo>
                    <a:cubicBezTo>
                      <a:pt x="124" y="413"/>
                      <a:pt x="111" y="404"/>
                      <a:pt x="111" y="404"/>
                    </a:cubicBezTo>
                    <a:cubicBezTo>
                      <a:pt x="93" y="418"/>
                      <a:pt x="93" y="418"/>
                      <a:pt x="93" y="418"/>
                    </a:cubicBezTo>
                    <a:cubicBezTo>
                      <a:pt x="81" y="417"/>
                      <a:pt x="81" y="417"/>
                      <a:pt x="81" y="417"/>
                    </a:cubicBezTo>
                    <a:cubicBezTo>
                      <a:pt x="81" y="417"/>
                      <a:pt x="67" y="437"/>
                      <a:pt x="60" y="442"/>
                    </a:cubicBezTo>
                    <a:cubicBezTo>
                      <a:pt x="53" y="447"/>
                      <a:pt x="40" y="454"/>
                      <a:pt x="40" y="454"/>
                    </a:cubicBezTo>
                    <a:cubicBezTo>
                      <a:pt x="37" y="472"/>
                      <a:pt x="37" y="472"/>
                      <a:pt x="37" y="472"/>
                    </a:cubicBezTo>
                    <a:cubicBezTo>
                      <a:pt x="35" y="511"/>
                      <a:pt x="35" y="511"/>
                      <a:pt x="35" y="511"/>
                    </a:cubicBezTo>
                    <a:cubicBezTo>
                      <a:pt x="0" y="511"/>
                      <a:pt x="0" y="511"/>
                      <a:pt x="0" y="511"/>
                    </a:cubicBezTo>
                    <a:cubicBezTo>
                      <a:pt x="37" y="513"/>
                      <a:pt x="37" y="513"/>
                      <a:pt x="37" y="513"/>
                    </a:cubicBezTo>
                    <a:cubicBezTo>
                      <a:pt x="35" y="535"/>
                      <a:pt x="35" y="535"/>
                      <a:pt x="35" y="535"/>
                    </a:cubicBezTo>
                    <a:cubicBezTo>
                      <a:pt x="208" y="656"/>
                      <a:pt x="208" y="656"/>
                      <a:pt x="208" y="656"/>
                    </a:cubicBezTo>
                    <a:cubicBezTo>
                      <a:pt x="482" y="865"/>
                      <a:pt x="482" y="865"/>
                      <a:pt x="482" y="865"/>
                    </a:cubicBezTo>
                    <a:cubicBezTo>
                      <a:pt x="481" y="882"/>
                      <a:pt x="481" y="882"/>
                      <a:pt x="481" y="882"/>
                    </a:cubicBezTo>
                    <a:cubicBezTo>
                      <a:pt x="481" y="882"/>
                      <a:pt x="498" y="878"/>
                      <a:pt x="500" y="886"/>
                    </a:cubicBezTo>
                    <a:cubicBezTo>
                      <a:pt x="502" y="894"/>
                      <a:pt x="500" y="901"/>
                      <a:pt x="510" y="904"/>
                    </a:cubicBezTo>
                    <a:cubicBezTo>
                      <a:pt x="520" y="907"/>
                      <a:pt x="533" y="905"/>
                      <a:pt x="533" y="905"/>
                    </a:cubicBezTo>
                    <a:cubicBezTo>
                      <a:pt x="538" y="923"/>
                      <a:pt x="538" y="923"/>
                      <a:pt x="538" y="923"/>
                    </a:cubicBezTo>
                    <a:cubicBezTo>
                      <a:pt x="538" y="923"/>
                      <a:pt x="561" y="917"/>
                      <a:pt x="571" y="925"/>
                    </a:cubicBezTo>
                    <a:cubicBezTo>
                      <a:pt x="581" y="933"/>
                      <a:pt x="582" y="953"/>
                      <a:pt x="582" y="953"/>
                    </a:cubicBezTo>
                    <a:cubicBezTo>
                      <a:pt x="582" y="953"/>
                      <a:pt x="558" y="967"/>
                      <a:pt x="573" y="974"/>
                    </a:cubicBezTo>
                    <a:cubicBezTo>
                      <a:pt x="588" y="981"/>
                      <a:pt x="610" y="973"/>
                      <a:pt x="610" y="973"/>
                    </a:cubicBezTo>
                    <a:cubicBezTo>
                      <a:pt x="610" y="973"/>
                      <a:pt x="679" y="958"/>
                      <a:pt x="693" y="956"/>
                    </a:cubicBezTo>
                    <a:cubicBezTo>
                      <a:pt x="707" y="954"/>
                      <a:pt x="752" y="901"/>
                      <a:pt x="774" y="886"/>
                    </a:cubicBezTo>
                    <a:cubicBezTo>
                      <a:pt x="796" y="871"/>
                      <a:pt x="983" y="735"/>
                      <a:pt x="983" y="735"/>
                    </a:cubicBezTo>
                    <a:cubicBezTo>
                      <a:pt x="983" y="735"/>
                      <a:pt x="968" y="694"/>
                      <a:pt x="963" y="691"/>
                    </a:cubicBezTo>
                    <a:cubicBezTo>
                      <a:pt x="958" y="688"/>
                      <a:pt x="930" y="675"/>
                      <a:pt x="924" y="678"/>
                    </a:cubicBezTo>
                    <a:cubicBezTo>
                      <a:pt x="918" y="681"/>
                      <a:pt x="913" y="686"/>
                      <a:pt x="909" y="684"/>
                    </a:cubicBezTo>
                    <a:cubicBezTo>
                      <a:pt x="905" y="682"/>
                      <a:pt x="893" y="671"/>
                      <a:pt x="893" y="664"/>
                    </a:cubicBezTo>
                    <a:cubicBezTo>
                      <a:pt x="893" y="657"/>
                      <a:pt x="898" y="647"/>
                      <a:pt x="893" y="639"/>
                    </a:cubicBezTo>
                    <a:cubicBezTo>
                      <a:pt x="888" y="631"/>
                      <a:pt x="861" y="595"/>
                      <a:pt x="862" y="589"/>
                    </a:cubicBezTo>
                    <a:cubicBezTo>
                      <a:pt x="863" y="583"/>
                      <a:pt x="889" y="581"/>
                      <a:pt x="889" y="569"/>
                    </a:cubicBezTo>
                    <a:cubicBezTo>
                      <a:pt x="889" y="557"/>
                      <a:pt x="885" y="551"/>
                      <a:pt x="885" y="551"/>
                    </a:cubicBezTo>
                    <a:cubicBezTo>
                      <a:pt x="880" y="515"/>
                      <a:pt x="880" y="515"/>
                      <a:pt x="880" y="515"/>
                    </a:cubicBezTo>
                    <a:cubicBezTo>
                      <a:pt x="889" y="502"/>
                      <a:pt x="889" y="502"/>
                      <a:pt x="889" y="502"/>
                    </a:cubicBezTo>
                    <a:cubicBezTo>
                      <a:pt x="883" y="488"/>
                      <a:pt x="883" y="488"/>
                      <a:pt x="883" y="488"/>
                    </a:cubicBezTo>
                    <a:cubicBezTo>
                      <a:pt x="883" y="488"/>
                      <a:pt x="892" y="458"/>
                      <a:pt x="891" y="448"/>
                    </a:cubicBezTo>
                    <a:cubicBezTo>
                      <a:pt x="890" y="438"/>
                      <a:pt x="863" y="387"/>
                      <a:pt x="862" y="381"/>
                    </a:cubicBezTo>
                    <a:cubicBezTo>
                      <a:pt x="862" y="378"/>
                      <a:pt x="866" y="376"/>
                      <a:pt x="870" y="373"/>
                    </a:cubicBezTo>
                    <a:cubicBezTo>
                      <a:pt x="870" y="373"/>
                      <a:pt x="870" y="373"/>
                      <a:pt x="870" y="373"/>
                    </a:cubicBezTo>
                    <a:cubicBezTo>
                      <a:pt x="864" y="350"/>
                      <a:pt x="849" y="288"/>
                      <a:pt x="849" y="277"/>
                    </a:cubicBezTo>
                    <a:cubicBezTo>
                      <a:pt x="849" y="264"/>
                      <a:pt x="817" y="252"/>
                      <a:pt x="817" y="252"/>
                    </a:cubicBezTo>
                    <a:cubicBezTo>
                      <a:pt x="817" y="252"/>
                      <a:pt x="817" y="234"/>
                      <a:pt x="816" y="226"/>
                    </a:cubicBezTo>
                    <a:cubicBezTo>
                      <a:pt x="815" y="218"/>
                      <a:pt x="789" y="213"/>
                      <a:pt x="789" y="213"/>
                    </a:cubicBezTo>
                    <a:cubicBezTo>
                      <a:pt x="789" y="194"/>
                      <a:pt x="789" y="194"/>
                      <a:pt x="789" y="194"/>
                    </a:cubicBezTo>
                    <a:cubicBezTo>
                      <a:pt x="782" y="194"/>
                      <a:pt x="782" y="194"/>
                      <a:pt x="782" y="194"/>
                    </a:cubicBezTo>
                    <a:cubicBezTo>
                      <a:pt x="782" y="194"/>
                      <a:pt x="782" y="181"/>
                      <a:pt x="782" y="171"/>
                    </a:cubicBezTo>
                    <a:cubicBezTo>
                      <a:pt x="782" y="161"/>
                      <a:pt x="798" y="148"/>
                      <a:pt x="798" y="148"/>
                    </a:cubicBezTo>
                    <a:cubicBezTo>
                      <a:pt x="812" y="137"/>
                      <a:pt x="812" y="137"/>
                      <a:pt x="812" y="137"/>
                    </a:cubicBezTo>
                    <a:cubicBezTo>
                      <a:pt x="812" y="137"/>
                      <a:pt x="819" y="115"/>
                      <a:pt x="820" y="105"/>
                    </a:cubicBezTo>
                    <a:cubicBezTo>
                      <a:pt x="821" y="95"/>
                      <a:pt x="819" y="83"/>
                      <a:pt x="815" y="76"/>
                    </a:cubicBezTo>
                    <a:cubicBezTo>
                      <a:pt x="811" y="69"/>
                      <a:pt x="820" y="38"/>
                      <a:pt x="820" y="38"/>
                    </a:cubicBezTo>
                    <a:cubicBezTo>
                      <a:pt x="807" y="34"/>
                      <a:pt x="807" y="34"/>
                      <a:pt x="807" y="34"/>
                    </a:cubicBezTo>
                    <a:cubicBezTo>
                      <a:pt x="835" y="21"/>
                      <a:pt x="835" y="21"/>
                      <a:pt x="835" y="21"/>
                    </a:cubicBezTo>
                    <a:cubicBezTo>
                      <a:pt x="835" y="11"/>
                      <a:pt x="835" y="11"/>
                      <a:pt x="835" y="11"/>
                    </a:cubicBezTo>
                    <a:cubicBezTo>
                      <a:pt x="826" y="11"/>
                      <a:pt x="815" y="10"/>
                      <a:pt x="815" y="10"/>
                    </a:cubicBezTo>
                    <a:cubicBezTo>
                      <a:pt x="806" y="15"/>
                      <a:pt x="806" y="15"/>
                      <a:pt x="806" y="15"/>
                    </a:cubicBezTo>
                    <a:cubicBezTo>
                      <a:pt x="779" y="3"/>
                      <a:pt x="779" y="3"/>
                      <a:pt x="779" y="3"/>
                    </a:cubicBezTo>
                    <a:cubicBezTo>
                      <a:pt x="769" y="5"/>
                      <a:pt x="769" y="5"/>
                      <a:pt x="769" y="5"/>
                    </a:cubicBezTo>
                    <a:cubicBezTo>
                      <a:pt x="769" y="14"/>
                      <a:pt x="769" y="14"/>
                      <a:pt x="769" y="14"/>
                    </a:cubicBezTo>
                    <a:cubicBezTo>
                      <a:pt x="744" y="12"/>
                      <a:pt x="744" y="12"/>
                      <a:pt x="744" y="12"/>
                    </a:cubicBezTo>
                    <a:cubicBezTo>
                      <a:pt x="728" y="0"/>
                      <a:pt x="728" y="0"/>
                      <a:pt x="728" y="0"/>
                    </a:cubicBezTo>
                    <a:cubicBezTo>
                      <a:pt x="724" y="19"/>
                      <a:pt x="724" y="19"/>
                      <a:pt x="724" y="19"/>
                    </a:cubicBezTo>
                    <a:cubicBezTo>
                      <a:pt x="704" y="14"/>
                      <a:pt x="704" y="14"/>
                      <a:pt x="704" y="14"/>
                    </a:cubicBezTo>
                    <a:cubicBezTo>
                      <a:pt x="686" y="29"/>
                      <a:pt x="686" y="29"/>
                      <a:pt x="686" y="29"/>
                    </a:cubicBezTo>
                    <a:cubicBezTo>
                      <a:pt x="686" y="29"/>
                      <a:pt x="662" y="17"/>
                      <a:pt x="631" y="18"/>
                    </a:cubicBezTo>
                    <a:cubicBezTo>
                      <a:pt x="600" y="19"/>
                      <a:pt x="599" y="26"/>
                      <a:pt x="585" y="27"/>
                    </a:cubicBezTo>
                    <a:cubicBezTo>
                      <a:pt x="571" y="28"/>
                      <a:pt x="545" y="27"/>
                      <a:pt x="545" y="27"/>
                    </a:cubicBezTo>
                    <a:cubicBezTo>
                      <a:pt x="542" y="34"/>
                      <a:pt x="542" y="34"/>
                      <a:pt x="542" y="34"/>
                    </a:cubicBezTo>
                    <a:cubicBezTo>
                      <a:pt x="503" y="33"/>
                      <a:pt x="503" y="33"/>
                      <a:pt x="503" y="33"/>
                    </a:cubicBezTo>
                    <a:cubicBezTo>
                      <a:pt x="503" y="33"/>
                      <a:pt x="456" y="43"/>
                      <a:pt x="455" y="51"/>
                    </a:cubicBezTo>
                    <a:cubicBezTo>
                      <a:pt x="454" y="59"/>
                      <a:pt x="446" y="72"/>
                      <a:pt x="446" y="72"/>
                    </a:cubicBezTo>
                    <a:cubicBezTo>
                      <a:pt x="446" y="72"/>
                      <a:pt x="396" y="74"/>
                      <a:pt x="394" y="83"/>
                    </a:cubicBezTo>
                    <a:cubicBezTo>
                      <a:pt x="392" y="92"/>
                      <a:pt x="370" y="113"/>
                      <a:pt x="355" y="113"/>
                    </a:cubicBezTo>
                    <a:cubicBezTo>
                      <a:pt x="353" y="113"/>
                      <a:pt x="351" y="113"/>
                      <a:pt x="349" y="112"/>
                    </a:cubicBezTo>
                    <a:cubicBezTo>
                      <a:pt x="349" y="112"/>
                      <a:pt x="349" y="112"/>
                      <a:pt x="349" y="112"/>
                    </a:cubicBezTo>
                    <a:cubicBezTo>
                      <a:pt x="350" y="116"/>
                      <a:pt x="354" y="125"/>
                      <a:pt x="364" y="129"/>
                    </a:cubicBezTo>
                    <a:cubicBezTo>
                      <a:pt x="364" y="130"/>
                      <a:pt x="360" y="141"/>
                      <a:pt x="360" y="141"/>
                    </a:cubicBezTo>
                    <a:cubicBezTo>
                      <a:pt x="368" y="141"/>
                      <a:pt x="368" y="141"/>
                      <a:pt x="368" y="141"/>
                    </a:cubicBezTo>
                    <a:cubicBezTo>
                      <a:pt x="365" y="186"/>
                      <a:pt x="365" y="186"/>
                      <a:pt x="365" y="186"/>
                    </a:cubicBezTo>
                    <a:cubicBezTo>
                      <a:pt x="371" y="197"/>
                      <a:pt x="371" y="197"/>
                      <a:pt x="371" y="197"/>
                    </a:cubicBezTo>
                    <a:cubicBezTo>
                      <a:pt x="364" y="218"/>
                      <a:pt x="364" y="218"/>
                      <a:pt x="364" y="218"/>
                    </a:cubicBezTo>
                    <a:cubicBezTo>
                      <a:pt x="378" y="218"/>
                      <a:pt x="378" y="218"/>
                      <a:pt x="378" y="218"/>
                    </a:cubicBezTo>
                    <a:cubicBezTo>
                      <a:pt x="375" y="238"/>
                      <a:pt x="375" y="238"/>
                      <a:pt x="375" y="238"/>
                    </a:cubicBezTo>
                    <a:cubicBezTo>
                      <a:pt x="393" y="250"/>
                      <a:pt x="393" y="250"/>
                      <a:pt x="393" y="250"/>
                    </a:cubicBezTo>
                    <a:cubicBezTo>
                      <a:pt x="393" y="250"/>
                      <a:pt x="384" y="256"/>
                      <a:pt x="382" y="259"/>
                    </a:cubicBezTo>
                    <a:cubicBezTo>
                      <a:pt x="380" y="262"/>
                      <a:pt x="381" y="269"/>
                      <a:pt x="381" y="269"/>
                    </a:cubicBezTo>
                    <a:cubicBezTo>
                      <a:pt x="343" y="274"/>
                      <a:pt x="343" y="274"/>
                      <a:pt x="343" y="274"/>
                    </a:cubicBezTo>
                    <a:cubicBezTo>
                      <a:pt x="343" y="274"/>
                      <a:pt x="333" y="268"/>
                      <a:pt x="329" y="268"/>
                    </a:cubicBezTo>
                    <a:cubicBezTo>
                      <a:pt x="325" y="268"/>
                      <a:pt x="321" y="275"/>
                      <a:pt x="321" y="275"/>
                    </a:cubicBezTo>
                    <a:cubicBezTo>
                      <a:pt x="321" y="275"/>
                      <a:pt x="313" y="270"/>
                      <a:pt x="308" y="273"/>
                    </a:cubicBezTo>
                    <a:cubicBezTo>
                      <a:pt x="303" y="276"/>
                      <a:pt x="310" y="283"/>
                      <a:pt x="303" y="288"/>
                    </a:cubicBezTo>
                    <a:cubicBezTo>
                      <a:pt x="296" y="293"/>
                      <a:pt x="274" y="287"/>
                      <a:pt x="266" y="294"/>
                    </a:cubicBezTo>
                    <a:cubicBezTo>
                      <a:pt x="258" y="301"/>
                      <a:pt x="267" y="318"/>
                      <a:pt x="267" y="318"/>
                    </a:cubicBezTo>
                    <a:cubicBezTo>
                      <a:pt x="277" y="330"/>
                      <a:pt x="277" y="330"/>
                      <a:pt x="277" y="330"/>
                    </a:cubicBezTo>
                    <a:cubicBezTo>
                      <a:pt x="260" y="337"/>
                      <a:pt x="260" y="337"/>
                      <a:pt x="260" y="337"/>
                    </a:cubicBezTo>
                    <a:cubicBezTo>
                      <a:pt x="260" y="337"/>
                      <a:pt x="248" y="356"/>
                      <a:pt x="242" y="356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" name="Freeform 308">
                <a:extLst>
                  <a:ext uri="{FF2B5EF4-FFF2-40B4-BE49-F238E27FC236}">
                    <a16:creationId xmlns:a16="http://schemas.microsoft.com/office/drawing/2014/main" id="{5136F827-F4EA-9B17-4D39-3D0A8155B46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415" y="-14196"/>
                <a:ext cx="1727" cy="1741"/>
              </a:xfrm>
              <a:custGeom>
                <a:avLst/>
                <a:gdLst>
                  <a:gd name="T0" fmla="*/ 104 w 731"/>
                  <a:gd name="T1" fmla="*/ 37 h 737"/>
                  <a:gd name="T2" fmla="*/ 69 w 731"/>
                  <a:gd name="T3" fmla="*/ 55 h 737"/>
                  <a:gd name="T4" fmla="*/ 50 w 731"/>
                  <a:gd name="T5" fmla="*/ 78 h 737"/>
                  <a:gd name="T6" fmla="*/ 35 w 731"/>
                  <a:gd name="T7" fmla="*/ 89 h 737"/>
                  <a:gd name="T8" fmla="*/ 44 w 731"/>
                  <a:gd name="T9" fmla="*/ 127 h 737"/>
                  <a:gd name="T10" fmla="*/ 25 w 731"/>
                  <a:gd name="T11" fmla="*/ 153 h 737"/>
                  <a:gd name="T12" fmla="*/ 1 w 731"/>
                  <a:gd name="T13" fmla="*/ 167 h 737"/>
                  <a:gd name="T14" fmla="*/ 30 w 731"/>
                  <a:gd name="T15" fmla="*/ 234 h 737"/>
                  <a:gd name="T16" fmla="*/ 22 w 731"/>
                  <a:gd name="T17" fmla="*/ 274 h 737"/>
                  <a:gd name="T18" fmla="*/ 28 w 731"/>
                  <a:gd name="T19" fmla="*/ 288 h 737"/>
                  <a:gd name="T20" fmla="*/ 19 w 731"/>
                  <a:gd name="T21" fmla="*/ 301 h 737"/>
                  <a:gd name="T22" fmla="*/ 24 w 731"/>
                  <a:gd name="T23" fmla="*/ 337 h 737"/>
                  <a:gd name="T24" fmla="*/ 28 w 731"/>
                  <a:gd name="T25" fmla="*/ 355 h 737"/>
                  <a:gd name="T26" fmla="*/ 1 w 731"/>
                  <a:gd name="T27" fmla="*/ 375 h 737"/>
                  <a:gd name="T28" fmla="*/ 32 w 731"/>
                  <a:gd name="T29" fmla="*/ 425 h 737"/>
                  <a:gd name="T30" fmla="*/ 32 w 731"/>
                  <a:gd name="T31" fmla="*/ 450 h 737"/>
                  <a:gd name="T32" fmla="*/ 48 w 731"/>
                  <a:gd name="T33" fmla="*/ 470 h 737"/>
                  <a:gd name="T34" fmla="*/ 63 w 731"/>
                  <a:gd name="T35" fmla="*/ 464 h 737"/>
                  <a:gd name="T36" fmla="*/ 102 w 731"/>
                  <a:gd name="T37" fmla="*/ 477 h 737"/>
                  <a:gd name="T38" fmla="*/ 122 w 731"/>
                  <a:gd name="T39" fmla="*/ 521 h 737"/>
                  <a:gd name="T40" fmla="*/ 147 w 731"/>
                  <a:gd name="T41" fmla="*/ 527 h 737"/>
                  <a:gd name="T42" fmla="*/ 194 w 731"/>
                  <a:gd name="T43" fmla="*/ 537 h 737"/>
                  <a:gd name="T44" fmla="*/ 228 w 731"/>
                  <a:gd name="T45" fmla="*/ 566 h 737"/>
                  <a:gd name="T46" fmla="*/ 311 w 731"/>
                  <a:gd name="T47" fmla="*/ 521 h 737"/>
                  <a:gd name="T48" fmla="*/ 684 w 731"/>
                  <a:gd name="T49" fmla="*/ 737 h 737"/>
                  <a:gd name="T50" fmla="*/ 683 w 731"/>
                  <a:gd name="T51" fmla="*/ 708 h 737"/>
                  <a:gd name="T52" fmla="*/ 731 w 731"/>
                  <a:gd name="T53" fmla="*/ 707 h 737"/>
                  <a:gd name="T54" fmla="*/ 730 w 731"/>
                  <a:gd name="T55" fmla="*/ 599 h 737"/>
                  <a:gd name="T56" fmla="*/ 717 w 731"/>
                  <a:gd name="T57" fmla="*/ 201 h 737"/>
                  <a:gd name="T58" fmla="*/ 699 w 731"/>
                  <a:gd name="T59" fmla="*/ 163 h 737"/>
                  <a:gd name="T60" fmla="*/ 713 w 731"/>
                  <a:gd name="T61" fmla="*/ 135 h 737"/>
                  <a:gd name="T62" fmla="*/ 703 w 731"/>
                  <a:gd name="T63" fmla="*/ 115 h 737"/>
                  <a:gd name="T64" fmla="*/ 707 w 731"/>
                  <a:gd name="T65" fmla="*/ 94 h 737"/>
                  <a:gd name="T66" fmla="*/ 720 w 731"/>
                  <a:gd name="T67" fmla="*/ 81 h 737"/>
                  <a:gd name="T68" fmla="*/ 716 w 731"/>
                  <a:gd name="T69" fmla="*/ 63 h 737"/>
                  <a:gd name="T70" fmla="*/ 701 w 731"/>
                  <a:gd name="T71" fmla="*/ 68 h 737"/>
                  <a:gd name="T72" fmla="*/ 694 w 731"/>
                  <a:gd name="T73" fmla="*/ 59 h 737"/>
                  <a:gd name="T74" fmla="*/ 682 w 731"/>
                  <a:gd name="T75" fmla="*/ 67 h 737"/>
                  <a:gd name="T76" fmla="*/ 658 w 731"/>
                  <a:gd name="T77" fmla="*/ 50 h 737"/>
                  <a:gd name="T78" fmla="*/ 628 w 731"/>
                  <a:gd name="T79" fmla="*/ 49 h 737"/>
                  <a:gd name="T80" fmla="*/ 617 w 731"/>
                  <a:gd name="T81" fmla="*/ 28 h 737"/>
                  <a:gd name="T82" fmla="*/ 590 w 731"/>
                  <a:gd name="T83" fmla="*/ 23 h 737"/>
                  <a:gd name="T84" fmla="*/ 561 w 731"/>
                  <a:gd name="T85" fmla="*/ 15 h 737"/>
                  <a:gd name="T86" fmla="*/ 553 w 731"/>
                  <a:gd name="T87" fmla="*/ 23 h 737"/>
                  <a:gd name="T88" fmla="*/ 510 w 731"/>
                  <a:gd name="T89" fmla="*/ 31 h 737"/>
                  <a:gd name="T90" fmla="*/ 480 w 731"/>
                  <a:gd name="T91" fmla="*/ 70 h 737"/>
                  <a:gd name="T92" fmla="*/ 496 w 731"/>
                  <a:gd name="T93" fmla="*/ 114 h 737"/>
                  <a:gd name="T94" fmla="*/ 463 w 731"/>
                  <a:gd name="T95" fmla="*/ 154 h 737"/>
                  <a:gd name="T96" fmla="*/ 419 w 731"/>
                  <a:gd name="T97" fmla="*/ 144 h 737"/>
                  <a:gd name="T98" fmla="*/ 351 w 731"/>
                  <a:gd name="T99" fmla="*/ 105 h 737"/>
                  <a:gd name="T100" fmla="*/ 289 w 731"/>
                  <a:gd name="T101" fmla="*/ 97 h 737"/>
                  <a:gd name="T102" fmla="*/ 271 w 731"/>
                  <a:gd name="T103" fmla="*/ 53 h 737"/>
                  <a:gd name="T104" fmla="*/ 244 w 731"/>
                  <a:gd name="T105" fmla="*/ 40 h 737"/>
                  <a:gd name="T106" fmla="*/ 212 w 731"/>
                  <a:gd name="T107" fmla="*/ 21 h 737"/>
                  <a:gd name="T108" fmla="*/ 173 w 731"/>
                  <a:gd name="T109" fmla="*/ 20 h 737"/>
                  <a:gd name="T110" fmla="*/ 143 w 731"/>
                  <a:gd name="T111" fmla="*/ 24 h 737"/>
                  <a:gd name="T112" fmla="*/ 107 w 731"/>
                  <a:gd name="T113" fmla="*/ 3 h 737"/>
                  <a:gd name="T114" fmla="*/ 96 w 731"/>
                  <a:gd name="T115" fmla="*/ 0 h 737"/>
                  <a:gd name="T116" fmla="*/ 93 w 731"/>
                  <a:gd name="T117" fmla="*/ 27 h 737"/>
                  <a:gd name="T118" fmla="*/ 104 w 731"/>
                  <a:gd name="T119" fmla="*/ 37 h 7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31" h="737">
                    <a:moveTo>
                      <a:pt x="104" y="37"/>
                    </a:moveTo>
                    <a:cubicBezTo>
                      <a:pt x="100" y="45"/>
                      <a:pt x="75" y="49"/>
                      <a:pt x="69" y="55"/>
                    </a:cubicBezTo>
                    <a:cubicBezTo>
                      <a:pt x="63" y="61"/>
                      <a:pt x="50" y="78"/>
                      <a:pt x="50" y="78"/>
                    </a:cubicBezTo>
                    <a:cubicBezTo>
                      <a:pt x="50" y="78"/>
                      <a:pt x="37" y="83"/>
                      <a:pt x="35" y="89"/>
                    </a:cubicBezTo>
                    <a:cubicBezTo>
                      <a:pt x="33" y="95"/>
                      <a:pt x="43" y="115"/>
                      <a:pt x="44" y="127"/>
                    </a:cubicBezTo>
                    <a:cubicBezTo>
                      <a:pt x="45" y="139"/>
                      <a:pt x="25" y="153"/>
                      <a:pt x="25" y="153"/>
                    </a:cubicBezTo>
                    <a:cubicBezTo>
                      <a:pt x="25" y="153"/>
                      <a:pt x="0" y="161"/>
                      <a:pt x="1" y="167"/>
                    </a:cubicBezTo>
                    <a:cubicBezTo>
                      <a:pt x="2" y="173"/>
                      <a:pt x="29" y="224"/>
                      <a:pt x="30" y="234"/>
                    </a:cubicBezTo>
                    <a:cubicBezTo>
                      <a:pt x="31" y="244"/>
                      <a:pt x="22" y="274"/>
                      <a:pt x="22" y="274"/>
                    </a:cubicBezTo>
                    <a:cubicBezTo>
                      <a:pt x="28" y="288"/>
                      <a:pt x="28" y="288"/>
                      <a:pt x="28" y="288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24" y="337"/>
                      <a:pt x="24" y="337"/>
                      <a:pt x="24" y="337"/>
                    </a:cubicBezTo>
                    <a:cubicBezTo>
                      <a:pt x="24" y="337"/>
                      <a:pt x="28" y="343"/>
                      <a:pt x="28" y="355"/>
                    </a:cubicBezTo>
                    <a:cubicBezTo>
                      <a:pt x="28" y="367"/>
                      <a:pt x="2" y="369"/>
                      <a:pt x="1" y="375"/>
                    </a:cubicBezTo>
                    <a:cubicBezTo>
                      <a:pt x="0" y="381"/>
                      <a:pt x="27" y="417"/>
                      <a:pt x="32" y="425"/>
                    </a:cubicBezTo>
                    <a:cubicBezTo>
                      <a:pt x="37" y="433"/>
                      <a:pt x="32" y="443"/>
                      <a:pt x="32" y="450"/>
                    </a:cubicBezTo>
                    <a:cubicBezTo>
                      <a:pt x="32" y="457"/>
                      <a:pt x="44" y="468"/>
                      <a:pt x="48" y="470"/>
                    </a:cubicBezTo>
                    <a:cubicBezTo>
                      <a:pt x="52" y="472"/>
                      <a:pt x="57" y="467"/>
                      <a:pt x="63" y="464"/>
                    </a:cubicBezTo>
                    <a:cubicBezTo>
                      <a:pt x="69" y="461"/>
                      <a:pt x="97" y="474"/>
                      <a:pt x="102" y="477"/>
                    </a:cubicBezTo>
                    <a:cubicBezTo>
                      <a:pt x="107" y="480"/>
                      <a:pt x="122" y="521"/>
                      <a:pt x="122" y="521"/>
                    </a:cubicBezTo>
                    <a:cubicBezTo>
                      <a:pt x="147" y="527"/>
                      <a:pt x="147" y="527"/>
                      <a:pt x="147" y="527"/>
                    </a:cubicBezTo>
                    <a:cubicBezTo>
                      <a:pt x="147" y="527"/>
                      <a:pt x="187" y="535"/>
                      <a:pt x="194" y="537"/>
                    </a:cubicBezTo>
                    <a:cubicBezTo>
                      <a:pt x="201" y="539"/>
                      <a:pt x="217" y="567"/>
                      <a:pt x="228" y="566"/>
                    </a:cubicBezTo>
                    <a:cubicBezTo>
                      <a:pt x="239" y="565"/>
                      <a:pt x="311" y="521"/>
                      <a:pt x="311" y="521"/>
                    </a:cubicBezTo>
                    <a:cubicBezTo>
                      <a:pt x="684" y="737"/>
                      <a:pt x="684" y="737"/>
                      <a:pt x="684" y="737"/>
                    </a:cubicBezTo>
                    <a:cubicBezTo>
                      <a:pt x="683" y="708"/>
                      <a:pt x="683" y="708"/>
                      <a:pt x="683" y="708"/>
                    </a:cubicBezTo>
                    <a:cubicBezTo>
                      <a:pt x="731" y="707"/>
                      <a:pt x="731" y="707"/>
                      <a:pt x="731" y="707"/>
                    </a:cubicBezTo>
                    <a:cubicBezTo>
                      <a:pt x="730" y="599"/>
                      <a:pt x="730" y="599"/>
                      <a:pt x="730" y="599"/>
                    </a:cubicBezTo>
                    <a:cubicBezTo>
                      <a:pt x="730" y="599"/>
                      <a:pt x="717" y="214"/>
                      <a:pt x="717" y="201"/>
                    </a:cubicBezTo>
                    <a:cubicBezTo>
                      <a:pt x="717" y="188"/>
                      <a:pt x="702" y="170"/>
                      <a:pt x="699" y="163"/>
                    </a:cubicBezTo>
                    <a:cubicBezTo>
                      <a:pt x="696" y="156"/>
                      <a:pt x="710" y="144"/>
                      <a:pt x="713" y="135"/>
                    </a:cubicBezTo>
                    <a:cubicBezTo>
                      <a:pt x="716" y="126"/>
                      <a:pt x="704" y="119"/>
                      <a:pt x="703" y="115"/>
                    </a:cubicBezTo>
                    <a:cubicBezTo>
                      <a:pt x="702" y="111"/>
                      <a:pt x="702" y="97"/>
                      <a:pt x="707" y="94"/>
                    </a:cubicBezTo>
                    <a:cubicBezTo>
                      <a:pt x="711" y="92"/>
                      <a:pt x="717" y="85"/>
                      <a:pt x="720" y="81"/>
                    </a:cubicBezTo>
                    <a:cubicBezTo>
                      <a:pt x="714" y="72"/>
                      <a:pt x="716" y="63"/>
                      <a:pt x="716" y="63"/>
                    </a:cubicBezTo>
                    <a:cubicBezTo>
                      <a:pt x="701" y="68"/>
                      <a:pt x="701" y="68"/>
                      <a:pt x="701" y="68"/>
                    </a:cubicBezTo>
                    <a:cubicBezTo>
                      <a:pt x="694" y="59"/>
                      <a:pt x="694" y="59"/>
                      <a:pt x="694" y="59"/>
                    </a:cubicBezTo>
                    <a:cubicBezTo>
                      <a:pt x="694" y="59"/>
                      <a:pt x="689" y="67"/>
                      <a:pt x="682" y="67"/>
                    </a:cubicBezTo>
                    <a:cubicBezTo>
                      <a:pt x="675" y="67"/>
                      <a:pt x="667" y="50"/>
                      <a:pt x="658" y="50"/>
                    </a:cubicBezTo>
                    <a:cubicBezTo>
                      <a:pt x="649" y="50"/>
                      <a:pt x="639" y="57"/>
                      <a:pt x="628" y="49"/>
                    </a:cubicBezTo>
                    <a:cubicBezTo>
                      <a:pt x="617" y="41"/>
                      <a:pt x="626" y="32"/>
                      <a:pt x="617" y="28"/>
                    </a:cubicBezTo>
                    <a:cubicBezTo>
                      <a:pt x="608" y="24"/>
                      <a:pt x="590" y="23"/>
                      <a:pt x="590" y="23"/>
                    </a:cubicBezTo>
                    <a:cubicBezTo>
                      <a:pt x="590" y="23"/>
                      <a:pt x="569" y="15"/>
                      <a:pt x="561" y="15"/>
                    </a:cubicBezTo>
                    <a:cubicBezTo>
                      <a:pt x="553" y="15"/>
                      <a:pt x="553" y="23"/>
                      <a:pt x="553" y="23"/>
                    </a:cubicBezTo>
                    <a:cubicBezTo>
                      <a:pt x="553" y="23"/>
                      <a:pt x="523" y="21"/>
                      <a:pt x="510" y="31"/>
                    </a:cubicBezTo>
                    <a:cubicBezTo>
                      <a:pt x="497" y="41"/>
                      <a:pt x="480" y="54"/>
                      <a:pt x="480" y="70"/>
                    </a:cubicBezTo>
                    <a:cubicBezTo>
                      <a:pt x="480" y="86"/>
                      <a:pt x="496" y="105"/>
                      <a:pt x="496" y="114"/>
                    </a:cubicBezTo>
                    <a:cubicBezTo>
                      <a:pt x="496" y="123"/>
                      <a:pt x="475" y="152"/>
                      <a:pt x="463" y="154"/>
                    </a:cubicBezTo>
                    <a:cubicBezTo>
                      <a:pt x="451" y="156"/>
                      <a:pt x="433" y="159"/>
                      <a:pt x="419" y="144"/>
                    </a:cubicBezTo>
                    <a:cubicBezTo>
                      <a:pt x="405" y="129"/>
                      <a:pt x="366" y="106"/>
                      <a:pt x="351" y="105"/>
                    </a:cubicBezTo>
                    <a:cubicBezTo>
                      <a:pt x="336" y="104"/>
                      <a:pt x="302" y="113"/>
                      <a:pt x="289" y="97"/>
                    </a:cubicBezTo>
                    <a:cubicBezTo>
                      <a:pt x="276" y="81"/>
                      <a:pt x="280" y="69"/>
                      <a:pt x="271" y="53"/>
                    </a:cubicBezTo>
                    <a:cubicBezTo>
                      <a:pt x="262" y="37"/>
                      <a:pt x="244" y="40"/>
                      <a:pt x="244" y="40"/>
                    </a:cubicBezTo>
                    <a:cubicBezTo>
                      <a:pt x="244" y="40"/>
                      <a:pt x="220" y="22"/>
                      <a:pt x="212" y="21"/>
                    </a:cubicBezTo>
                    <a:cubicBezTo>
                      <a:pt x="204" y="20"/>
                      <a:pt x="180" y="19"/>
                      <a:pt x="173" y="20"/>
                    </a:cubicBezTo>
                    <a:cubicBezTo>
                      <a:pt x="166" y="21"/>
                      <a:pt x="154" y="28"/>
                      <a:pt x="143" y="24"/>
                    </a:cubicBezTo>
                    <a:cubicBezTo>
                      <a:pt x="132" y="20"/>
                      <a:pt x="112" y="4"/>
                      <a:pt x="107" y="3"/>
                    </a:cubicBezTo>
                    <a:cubicBezTo>
                      <a:pt x="104" y="2"/>
                      <a:pt x="100" y="1"/>
                      <a:pt x="96" y="0"/>
                    </a:cubicBezTo>
                    <a:cubicBezTo>
                      <a:pt x="93" y="27"/>
                      <a:pt x="93" y="27"/>
                      <a:pt x="93" y="27"/>
                    </a:cubicBezTo>
                    <a:cubicBezTo>
                      <a:pt x="93" y="27"/>
                      <a:pt x="108" y="29"/>
                      <a:pt x="104" y="37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" name="Freeform 309">
                <a:extLst>
                  <a:ext uri="{FF2B5EF4-FFF2-40B4-BE49-F238E27FC236}">
                    <a16:creationId xmlns:a16="http://schemas.microsoft.com/office/drawing/2014/main" id="{3FB1528B-729B-FC5B-322A-D322B0CA353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5164" y="-9436"/>
                <a:ext cx="1410" cy="1736"/>
              </a:xfrm>
              <a:custGeom>
                <a:avLst/>
                <a:gdLst>
                  <a:gd name="T0" fmla="*/ 32 w 597"/>
                  <a:gd name="T1" fmla="*/ 79 h 735"/>
                  <a:gd name="T2" fmla="*/ 41 w 597"/>
                  <a:gd name="T3" fmla="*/ 42 h 735"/>
                  <a:gd name="T4" fmla="*/ 68 w 597"/>
                  <a:gd name="T5" fmla="*/ 17 h 735"/>
                  <a:gd name="T6" fmla="*/ 38 w 597"/>
                  <a:gd name="T7" fmla="*/ 15 h 735"/>
                  <a:gd name="T8" fmla="*/ 27 w 597"/>
                  <a:gd name="T9" fmla="*/ 29 h 735"/>
                  <a:gd name="T10" fmla="*/ 26 w 597"/>
                  <a:gd name="T11" fmla="*/ 39 h 735"/>
                  <a:gd name="T12" fmla="*/ 583 w 597"/>
                  <a:gd name="T13" fmla="*/ 362 h 735"/>
                  <a:gd name="T14" fmla="*/ 558 w 597"/>
                  <a:gd name="T15" fmla="*/ 357 h 735"/>
                  <a:gd name="T16" fmla="*/ 535 w 597"/>
                  <a:gd name="T17" fmla="*/ 367 h 735"/>
                  <a:gd name="T18" fmla="*/ 511 w 597"/>
                  <a:gd name="T19" fmla="*/ 375 h 735"/>
                  <a:gd name="T20" fmla="*/ 503 w 597"/>
                  <a:gd name="T21" fmla="*/ 346 h 735"/>
                  <a:gd name="T22" fmla="*/ 496 w 597"/>
                  <a:gd name="T23" fmla="*/ 299 h 735"/>
                  <a:gd name="T24" fmla="*/ 488 w 597"/>
                  <a:gd name="T25" fmla="*/ 256 h 735"/>
                  <a:gd name="T26" fmla="*/ 493 w 597"/>
                  <a:gd name="T27" fmla="*/ 224 h 735"/>
                  <a:gd name="T28" fmla="*/ 477 w 597"/>
                  <a:gd name="T29" fmla="*/ 190 h 735"/>
                  <a:gd name="T30" fmla="*/ 484 w 597"/>
                  <a:gd name="T31" fmla="*/ 162 h 735"/>
                  <a:gd name="T32" fmla="*/ 423 w 597"/>
                  <a:gd name="T33" fmla="*/ 155 h 735"/>
                  <a:gd name="T34" fmla="*/ 409 w 597"/>
                  <a:gd name="T35" fmla="*/ 148 h 735"/>
                  <a:gd name="T36" fmla="*/ 381 w 597"/>
                  <a:gd name="T37" fmla="*/ 170 h 735"/>
                  <a:gd name="T38" fmla="*/ 369 w 597"/>
                  <a:gd name="T39" fmla="*/ 197 h 735"/>
                  <a:gd name="T40" fmla="*/ 335 w 597"/>
                  <a:gd name="T41" fmla="*/ 195 h 735"/>
                  <a:gd name="T42" fmla="*/ 313 w 597"/>
                  <a:gd name="T43" fmla="*/ 201 h 735"/>
                  <a:gd name="T44" fmla="*/ 302 w 597"/>
                  <a:gd name="T45" fmla="*/ 203 h 735"/>
                  <a:gd name="T46" fmla="*/ 278 w 597"/>
                  <a:gd name="T47" fmla="*/ 194 h 735"/>
                  <a:gd name="T48" fmla="*/ 265 w 597"/>
                  <a:gd name="T49" fmla="*/ 172 h 735"/>
                  <a:gd name="T50" fmla="*/ 255 w 597"/>
                  <a:gd name="T51" fmla="*/ 141 h 735"/>
                  <a:gd name="T52" fmla="*/ 243 w 597"/>
                  <a:gd name="T53" fmla="*/ 98 h 735"/>
                  <a:gd name="T54" fmla="*/ 209 w 597"/>
                  <a:gd name="T55" fmla="*/ 84 h 735"/>
                  <a:gd name="T56" fmla="*/ 185 w 597"/>
                  <a:gd name="T57" fmla="*/ 86 h 735"/>
                  <a:gd name="T58" fmla="*/ 155 w 597"/>
                  <a:gd name="T59" fmla="*/ 84 h 735"/>
                  <a:gd name="T60" fmla="*/ 112 w 597"/>
                  <a:gd name="T61" fmla="*/ 82 h 735"/>
                  <a:gd name="T62" fmla="*/ 89 w 597"/>
                  <a:gd name="T63" fmla="*/ 84 h 735"/>
                  <a:gd name="T64" fmla="*/ 67 w 597"/>
                  <a:gd name="T65" fmla="*/ 84 h 735"/>
                  <a:gd name="T66" fmla="*/ 43 w 597"/>
                  <a:gd name="T67" fmla="*/ 97 h 735"/>
                  <a:gd name="T68" fmla="*/ 48 w 597"/>
                  <a:gd name="T69" fmla="*/ 128 h 735"/>
                  <a:gd name="T70" fmla="*/ 56 w 597"/>
                  <a:gd name="T71" fmla="*/ 157 h 735"/>
                  <a:gd name="T72" fmla="*/ 69 w 597"/>
                  <a:gd name="T73" fmla="*/ 254 h 735"/>
                  <a:gd name="T74" fmla="*/ 75 w 597"/>
                  <a:gd name="T75" fmla="*/ 270 h 735"/>
                  <a:gd name="T76" fmla="*/ 108 w 597"/>
                  <a:gd name="T77" fmla="*/ 388 h 735"/>
                  <a:gd name="T78" fmla="*/ 93 w 597"/>
                  <a:gd name="T79" fmla="*/ 442 h 735"/>
                  <a:gd name="T80" fmla="*/ 66 w 597"/>
                  <a:gd name="T81" fmla="*/ 460 h 735"/>
                  <a:gd name="T82" fmla="*/ 44 w 597"/>
                  <a:gd name="T83" fmla="*/ 484 h 735"/>
                  <a:gd name="T84" fmla="*/ 34 w 597"/>
                  <a:gd name="T85" fmla="*/ 524 h 735"/>
                  <a:gd name="T86" fmla="*/ 21 w 597"/>
                  <a:gd name="T87" fmla="*/ 579 h 735"/>
                  <a:gd name="T88" fmla="*/ 6 w 597"/>
                  <a:gd name="T89" fmla="*/ 618 h 735"/>
                  <a:gd name="T90" fmla="*/ 13 w 597"/>
                  <a:gd name="T91" fmla="*/ 654 h 735"/>
                  <a:gd name="T92" fmla="*/ 3 w 597"/>
                  <a:gd name="T93" fmla="*/ 696 h 735"/>
                  <a:gd name="T94" fmla="*/ 24 w 597"/>
                  <a:gd name="T95" fmla="*/ 691 h 735"/>
                  <a:gd name="T96" fmla="*/ 50 w 597"/>
                  <a:gd name="T97" fmla="*/ 695 h 735"/>
                  <a:gd name="T98" fmla="*/ 81 w 597"/>
                  <a:gd name="T99" fmla="*/ 681 h 735"/>
                  <a:gd name="T100" fmla="*/ 322 w 597"/>
                  <a:gd name="T101" fmla="*/ 703 h 735"/>
                  <a:gd name="T102" fmla="*/ 361 w 597"/>
                  <a:gd name="T103" fmla="*/ 724 h 735"/>
                  <a:gd name="T104" fmla="*/ 411 w 597"/>
                  <a:gd name="T105" fmla="*/ 729 h 735"/>
                  <a:gd name="T106" fmla="*/ 463 w 597"/>
                  <a:gd name="T107" fmla="*/ 735 h 735"/>
                  <a:gd name="T108" fmla="*/ 493 w 597"/>
                  <a:gd name="T109" fmla="*/ 657 h 735"/>
                  <a:gd name="T110" fmla="*/ 487 w 597"/>
                  <a:gd name="T111" fmla="*/ 635 h 735"/>
                  <a:gd name="T112" fmla="*/ 571 w 597"/>
                  <a:gd name="T113" fmla="*/ 470 h 735"/>
                  <a:gd name="T114" fmla="*/ 580 w 597"/>
                  <a:gd name="T115" fmla="*/ 440 h 735"/>
                  <a:gd name="T116" fmla="*/ 585 w 597"/>
                  <a:gd name="T117" fmla="*/ 426 h 735"/>
                  <a:gd name="T118" fmla="*/ 594 w 597"/>
                  <a:gd name="T119" fmla="*/ 386 h 7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97" h="735">
                    <a:moveTo>
                      <a:pt x="30" y="77"/>
                    </a:moveTo>
                    <a:cubicBezTo>
                      <a:pt x="30" y="77"/>
                      <a:pt x="31" y="78"/>
                      <a:pt x="32" y="79"/>
                    </a:cubicBezTo>
                    <a:cubicBezTo>
                      <a:pt x="37" y="76"/>
                      <a:pt x="42" y="74"/>
                      <a:pt x="45" y="72"/>
                    </a:cubicBezTo>
                    <a:cubicBezTo>
                      <a:pt x="53" y="68"/>
                      <a:pt x="41" y="42"/>
                      <a:pt x="41" y="42"/>
                    </a:cubicBezTo>
                    <a:cubicBezTo>
                      <a:pt x="65" y="25"/>
                      <a:pt x="65" y="25"/>
                      <a:pt x="65" y="25"/>
                    </a:cubicBezTo>
                    <a:cubicBezTo>
                      <a:pt x="68" y="17"/>
                      <a:pt x="68" y="17"/>
                      <a:pt x="68" y="17"/>
                    </a:cubicBezTo>
                    <a:cubicBezTo>
                      <a:pt x="68" y="17"/>
                      <a:pt x="66" y="0"/>
                      <a:pt x="59" y="1"/>
                    </a:cubicBezTo>
                    <a:cubicBezTo>
                      <a:pt x="52" y="2"/>
                      <a:pt x="38" y="15"/>
                      <a:pt x="38" y="15"/>
                    </a:cubicBezTo>
                    <a:cubicBezTo>
                      <a:pt x="38" y="29"/>
                      <a:pt x="38" y="29"/>
                      <a:pt x="38" y="29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23" y="35"/>
                      <a:pt x="23" y="35"/>
                      <a:pt x="23" y="35"/>
                    </a:cubicBezTo>
                    <a:cubicBezTo>
                      <a:pt x="26" y="39"/>
                      <a:pt x="26" y="39"/>
                      <a:pt x="26" y="39"/>
                    </a:cubicBezTo>
                    <a:lnTo>
                      <a:pt x="30" y="77"/>
                    </a:lnTo>
                    <a:close/>
                    <a:moveTo>
                      <a:pt x="583" y="362"/>
                    </a:moveTo>
                    <a:cubicBezTo>
                      <a:pt x="569" y="364"/>
                      <a:pt x="569" y="364"/>
                      <a:pt x="569" y="364"/>
                    </a:cubicBezTo>
                    <a:cubicBezTo>
                      <a:pt x="569" y="364"/>
                      <a:pt x="565" y="357"/>
                      <a:pt x="558" y="357"/>
                    </a:cubicBezTo>
                    <a:cubicBezTo>
                      <a:pt x="551" y="357"/>
                      <a:pt x="551" y="362"/>
                      <a:pt x="551" y="362"/>
                    </a:cubicBezTo>
                    <a:cubicBezTo>
                      <a:pt x="535" y="367"/>
                      <a:pt x="535" y="367"/>
                      <a:pt x="535" y="367"/>
                    </a:cubicBezTo>
                    <a:cubicBezTo>
                      <a:pt x="517" y="363"/>
                      <a:pt x="517" y="363"/>
                      <a:pt x="517" y="363"/>
                    </a:cubicBezTo>
                    <a:cubicBezTo>
                      <a:pt x="511" y="375"/>
                      <a:pt x="511" y="375"/>
                      <a:pt x="511" y="375"/>
                    </a:cubicBezTo>
                    <a:cubicBezTo>
                      <a:pt x="511" y="375"/>
                      <a:pt x="503" y="373"/>
                      <a:pt x="500" y="369"/>
                    </a:cubicBezTo>
                    <a:cubicBezTo>
                      <a:pt x="497" y="365"/>
                      <a:pt x="500" y="353"/>
                      <a:pt x="503" y="346"/>
                    </a:cubicBezTo>
                    <a:cubicBezTo>
                      <a:pt x="506" y="339"/>
                      <a:pt x="507" y="324"/>
                      <a:pt x="507" y="324"/>
                    </a:cubicBezTo>
                    <a:cubicBezTo>
                      <a:pt x="507" y="324"/>
                      <a:pt x="503" y="306"/>
                      <a:pt x="496" y="299"/>
                    </a:cubicBezTo>
                    <a:cubicBezTo>
                      <a:pt x="489" y="292"/>
                      <a:pt x="483" y="284"/>
                      <a:pt x="483" y="276"/>
                    </a:cubicBezTo>
                    <a:cubicBezTo>
                      <a:pt x="483" y="268"/>
                      <a:pt x="488" y="256"/>
                      <a:pt x="488" y="256"/>
                    </a:cubicBezTo>
                    <a:cubicBezTo>
                      <a:pt x="485" y="240"/>
                      <a:pt x="485" y="240"/>
                      <a:pt x="485" y="240"/>
                    </a:cubicBezTo>
                    <a:cubicBezTo>
                      <a:pt x="485" y="240"/>
                      <a:pt x="493" y="231"/>
                      <a:pt x="493" y="224"/>
                    </a:cubicBezTo>
                    <a:cubicBezTo>
                      <a:pt x="493" y="217"/>
                      <a:pt x="480" y="204"/>
                      <a:pt x="480" y="204"/>
                    </a:cubicBezTo>
                    <a:cubicBezTo>
                      <a:pt x="477" y="190"/>
                      <a:pt x="477" y="190"/>
                      <a:pt x="477" y="190"/>
                    </a:cubicBezTo>
                    <a:cubicBezTo>
                      <a:pt x="484" y="180"/>
                      <a:pt x="484" y="180"/>
                      <a:pt x="484" y="180"/>
                    </a:cubicBezTo>
                    <a:cubicBezTo>
                      <a:pt x="484" y="162"/>
                      <a:pt x="484" y="162"/>
                      <a:pt x="484" y="162"/>
                    </a:cubicBezTo>
                    <a:cubicBezTo>
                      <a:pt x="424" y="163"/>
                      <a:pt x="424" y="163"/>
                      <a:pt x="424" y="163"/>
                    </a:cubicBezTo>
                    <a:cubicBezTo>
                      <a:pt x="423" y="155"/>
                      <a:pt x="423" y="155"/>
                      <a:pt x="423" y="155"/>
                    </a:cubicBezTo>
                    <a:cubicBezTo>
                      <a:pt x="423" y="155"/>
                      <a:pt x="427" y="146"/>
                      <a:pt x="418" y="143"/>
                    </a:cubicBezTo>
                    <a:cubicBezTo>
                      <a:pt x="409" y="140"/>
                      <a:pt x="409" y="148"/>
                      <a:pt x="409" y="148"/>
                    </a:cubicBezTo>
                    <a:cubicBezTo>
                      <a:pt x="409" y="148"/>
                      <a:pt x="380" y="145"/>
                      <a:pt x="375" y="149"/>
                    </a:cubicBezTo>
                    <a:cubicBezTo>
                      <a:pt x="370" y="153"/>
                      <a:pt x="381" y="165"/>
                      <a:pt x="381" y="170"/>
                    </a:cubicBezTo>
                    <a:cubicBezTo>
                      <a:pt x="381" y="175"/>
                      <a:pt x="374" y="175"/>
                      <a:pt x="371" y="179"/>
                    </a:cubicBezTo>
                    <a:cubicBezTo>
                      <a:pt x="368" y="183"/>
                      <a:pt x="369" y="197"/>
                      <a:pt x="369" y="197"/>
                    </a:cubicBezTo>
                    <a:cubicBezTo>
                      <a:pt x="339" y="200"/>
                      <a:pt x="339" y="200"/>
                      <a:pt x="339" y="200"/>
                    </a:cubicBezTo>
                    <a:cubicBezTo>
                      <a:pt x="335" y="195"/>
                      <a:pt x="335" y="195"/>
                      <a:pt x="335" y="195"/>
                    </a:cubicBezTo>
                    <a:cubicBezTo>
                      <a:pt x="328" y="201"/>
                      <a:pt x="328" y="201"/>
                      <a:pt x="328" y="201"/>
                    </a:cubicBezTo>
                    <a:cubicBezTo>
                      <a:pt x="313" y="201"/>
                      <a:pt x="313" y="201"/>
                      <a:pt x="313" y="201"/>
                    </a:cubicBezTo>
                    <a:cubicBezTo>
                      <a:pt x="309" y="208"/>
                      <a:pt x="309" y="208"/>
                      <a:pt x="309" y="208"/>
                    </a:cubicBezTo>
                    <a:cubicBezTo>
                      <a:pt x="302" y="203"/>
                      <a:pt x="302" y="203"/>
                      <a:pt x="302" y="203"/>
                    </a:cubicBezTo>
                    <a:cubicBezTo>
                      <a:pt x="281" y="204"/>
                      <a:pt x="281" y="204"/>
                      <a:pt x="281" y="204"/>
                    </a:cubicBezTo>
                    <a:cubicBezTo>
                      <a:pt x="278" y="194"/>
                      <a:pt x="278" y="194"/>
                      <a:pt x="278" y="194"/>
                    </a:cubicBezTo>
                    <a:cubicBezTo>
                      <a:pt x="272" y="186"/>
                      <a:pt x="272" y="186"/>
                      <a:pt x="272" y="186"/>
                    </a:cubicBezTo>
                    <a:cubicBezTo>
                      <a:pt x="272" y="186"/>
                      <a:pt x="270" y="178"/>
                      <a:pt x="265" y="172"/>
                    </a:cubicBezTo>
                    <a:cubicBezTo>
                      <a:pt x="260" y="166"/>
                      <a:pt x="254" y="163"/>
                      <a:pt x="254" y="163"/>
                    </a:cubicBezTo>
                    <a:cubicBezTo>
                      <a:pt x="254" y="163"/>
                      <a:pt x="256" y="147"/>
                      <a:pt x="255" y="141"/>
                    </a:cubicBezTo>
                    <a:cubicBezTo>
                      <a:pt x="254" y="135"/>
                      <a:pt x="244" y="128"/>
                      <a:pt x="244" y="128"/>
                    </a:cubicBezTo>
                    <a:cubicBezTo>
                      <a:pt x="243" y="98"/>
                      <a:pt x="243" y="98"/>
                      <a:pt x="243" y="98"/>
                    </a:cubicBezTo>
                    <a:cubicBezTo>
                      <a:pt x="243" y="98"/>
                      <a:pt x="237" y="94"/>
                      <a:pt x="232" y="85"/>
                    </a:cubicBezTo>
                    <a:cubicBezTo>
                      <a:pt x="227" y="76"/>
                      <a:pt x="209" y="84"/>
                      <a:pt x="209" y="84"/>
                    </a:cubicBezTo>
                    <a:cubicBezTo>
                      <a:pt x="195" y="83"/>
                      <a:pt x="195" y="83"/>
                      <a:pt x="195" y="83"/>
                    </a:cubicBezTo>
                    <a:cubicBezTo>
                      <a:pt x="185" y="86"/>
                      <a:pt x="185" y="86"/>
                      <a:pt x="185" y="86"/>
                    </a:cubicBezTo>
                    <a:cubicBezTo>
                      <a:pt x="185" y="86"/>
                      <a:pt x="178" y="86"/>
                      <a:pt x="173" y="86"/>
                    </a:cubicBezTo>
                    <a:cubicBezTo>
                      <a:pt x="168" y="86"/>
                      <a:pt x="155" y="84"/>
                      <a:pt x="155" y="84"/>
                    </a:cubicBezTo>
                    <a:cubicBezTo>
                      <a:pt x="155" y="84"/>
                      <a:pt x="137" y="87"/>
                      <a:pt x="130" y="88"/>
                    </a:cubicBezTo>
                    <a:cubicBezTo>
                      <a:pt x="123" y="89"/>
                      <a:pt x="112" y="82"/>
                      <a:pt x="112" y="82"/>
                    </a:cubicBezTo>
                    <a:cubicBezTo>
                      <a:pt x="97" y="86"/>
                      <a:pt x="97" y="86"/>
                      <a:pt x="97" y="86"/>
                    </a:cubicBezTo>
                    <a:cubicBezTo>
                      <a:pt x="89" y="84"/>
                      <a:pt x="89" y="84"/>
                      <a:pt x="89" y="84"/>
                    </a:cubicBezTo>
                    <a:cubicBezTo>
                      <a:pt x="84" y="86"/>
                      <a:pt x="84" y="86"/>
                      <a:pt x="84" y="86"/>
                    </a:cubicBezTo>
                    <a:cubicBezTo>
                      <a:pt x="67" y="84"/>
                      <a:pt x="67" y="84"/>
                      <a:pt x="67" y="84"/>
                    </a:cubicBezTo>
                    <a:cubicBezTo>
                      <a:pt x="44" y="94"/>
                      <a:pt x="44" y="94"/>
                      <a:pt x="44" y="94"/>
                    </a:cubicBezTo>
                    <a:cubicBezTo>
                      <a:pt x="44" y="95"/>
                      <a:pt x="44" y="96"/>
                      <a:pt x="43" y="97"/>
                    </a:cubicBezTo>
                    <a:cubicBezTo>
                      <a:pt x="37" y="101"/>
                      <a:pt x="32" y="102"/>
                      <a:pt x="32" y="102"/>
                    </a:cubicBezTo>
                    <a:cubicBezTo>
                      <a:pt x="32" y="102"/>
                      <a:pt x="45" y="121"/>
                      <a:pt x="48" y="128"/>
                    </a:cubicBezTo>
                    <a:cubicBezTo>
                      <a:pt x="51" y="135"/>
                      <a:pt x="60" y="138"/>
                      <a:pt x="60" y="138"/>
                    </a:cubicBezTo>
                    <a:cubicBezTo>
                      <a:pt x="56" y="157"/>
                      <a:pt x="56" y="157"/>
                      <a:pt x="56" y="157"/>
                    </a:cubicBezTo>
                    <a:cubicBezTo>
                      <a:pt x="56" y="157"/>
                      <a:pt x="88" y="194"/>
                      <a:pt x="85" y="221"/>
                    </a:cubicBezTo>
                    <a:cubicBezTo>
                      <a:pt x="82" y="248"/>
                      <a:pt x="69" y="254"/>
                      <a:pt x="69" y="254"/>
                    </a:cubicBezTo>
                    <a:cubicBezTo>
                      <a:pt x="68" y="271"/>
                      <a:pt x="68" y="271"/>
                      <a:pt x="68" y="271"/>
                    </a:cubicBezTo>
                    <a:cubicBezTo>
                      <a:pt x="75" y="270"/>
                      <a:pt x="75" y="270"/>
                      <a:pt x="75" y="270"/>
                    </a:cubicBezTo>
                    <a:cubicBezTo>
                      <a:pt x="75" y="270"/>
                      <a:pt x="71" y="293"/>
                      <a:pt x="85" y="314"/>
                    </a:cubicBezTo>
                    <a:cubicBezTo>
                      <a:pt x="99" y="335"/>
                      <a:pt x="111" y="373"/>
                      <a:pt x="108" y="388"/>
                    </a:cubicBezTo>
                    <a:cubicBezTo>
                      <a:pt x="105" y="403"/>
                      <a:pt x="94" y="420"/>
                      <a:pt x="94" y="420"/>
                    </a:cubicBezTo>
                    <a:cubicBezTo>
                      <a:pt x="94" y="420"/>
                      <a:pt x="101" y="436"/>
                      <a:pt x="93" y="442"/>
                    </a:cubicBezTo>
                    <a:cubicBezTo>
                      <a:pt x="85" y="448"/>
                      <a:pt x="72" y="446"/>
                      <a:pt x="72" y="446"/>
                    </a:cubicBezTo>
                    <a:cubicBezTo>
                      <a:pt x="66" y="460"/>
                      <a:pt x="66" y="460"/>
                      <a:pt x="66" y="460"/>
                    </a:cubicBezTo>
                    <a:cubicBezTo>
                      <a:pt x="68" y="475"/>
                      <a:pt x="68" y="475"/>
                      <a:pt x="68" y="475"/>
                    </a:cubicBezTo>
                    <a:cubicBezTo>
                      <a:pt x="68" y="475"/>
                      <a:pt x="43" y="472"/>
                      <a:pt x="44" y="484"/>
                    </a:cubicBezTo>
                    <a:cubicBezTo>
                      <a:pt x="45" y="496"/>
                      <a:pt x="41" y="514"/>
                      <a:pt x="41" y="514"/>
                    </a:cubicBezTo>
                    <a:cubicBezTo>
                      <a:pt x="34" y="524"/>
                      <a:pt x="34" y="524"/>
                      <a:pt x="34" y="524"/>
                    </a:cubicBezTo>
                    <a:cubicBezTo>
                      <a:pt x="34" y="524"/>
                      <a:pt x="38" y="556"/>
                      <a:pt x="35" y="566"/>
                    </a:cubicBezTo>
                    <a:cubicBezTo>
                      <a:pt x="32" y="576"/>
                      <a:pt x="21" y="579"/>
                      <a:pt x="21" y="579"/>
                    </a:cubicBezTo>
                    <a:cubicBezTo>
                      <a:pt x="21" y="606"/>
                      <a:pt x="21" y="606"/>
                      <a:pt x="21" y="606"/>
                    </a:cubicBezTo>
                    <a:cubicBezTo>
                      <a:pt x="6" y="618"/>
                      <a:pt x="6" y="618"/>
                      <a:pt x="6" y="618"/>
                    </a:cubicBezTo>
                    <a:cubicBezTo>
                      <a:pt x="6" y="645"/>
                      <a:pt x="6" y="645"/>
                      <a:pt x="6" y="645"/>
                    </a:cubicBezTo>
                    <a:cubicBezTo>
                      <a:pt x="13" y="654"/>
                      <a:pt x="13" y="654"/>
                      <a:pt x="13" y="654"/>
                    </a:cubicBezTo>
                    <a:cubicBezTo>
                      <a:pt x="0" y="669"/>
                      <a:pt x="0" y="669"/>
                      <a:pt x="0" y="669"/>
                    </a:cubicBezTo>
                    <a:cubicBezTo>
                      <a:pt x="3" y="696"/>
                      <a:pt x="3" y="696"/>
                      <a:pt x="3" y="696"/>
                    </a:cubicBezTo>
                    <a:cubicBezTo>
                      <a:pt x="13" y="695"/>
                      <a:pt x="13" y="695"/>
                      <a:pt x="13" y="695"/>
                    </a:cubicBezTo>
                    <a:cubicBezTo>
                      <a:pt x="24" y="691"/>
                      <a:pt x="24" y="691"/>
                      <a:pt x="24" y="691"/>
                    </a:cubicBezTo>
                    <a:cubicBezTo>
                      <a:pt x="31" y="696"/>
                      <a:pt x="31" y="696"/>
                      <a:pt x="31" y="696"/>
                    </a:cubicBezTo>
                    <a:cubicBezTo>
                      <a:pt x="31" y="696"/>
                      <a:pt x="43" y="696"/>
                      <a:pt x="50" y="695"/>
                    </a:cubicBezTo>
                    <a:cubicBezTo>
                      <a:pt x="57" y="694"/>
                      <a:pt x="61" y="680"/>
                      <a:pt x="61" y="680"/>
                    </a:cubicBezTo>
                    <a:cubicBezTo>
                      <a:pt x="61" y="680"/>
                      <a:pt x="82" y="682"/>
                      <a:pt x="81" y="681"/>
                    </a:cubicBezTo>
                    <a:cubicBezTo>
                      <a:pt x="85" y="692"/>
                      <a:pt x="119" y="705"/>
                      <a:pt x="119" y="705"/>
                    </a:cubicBezTo>
                    <a:cubicBezTo>
                      <a:pt x="322" y="703"/>
                      <a:pt x="322" y="703"/>
                      <a:pt x="322" y="703"/>
                    </a:cubicBezTo>
                    <a:cubicBezTo>
                      <a:pt x="322" y="703"/>
                      <a:pt x="331" y="722"/>
                      <a:pt x="338" y="724"/>
                    </a:cubicBezTo>
                    <a:cubicBezTo>
                      <a:pt x="345" y="726"/>
                      <a:pt x="361" y="724"/>
                      <a:pt x="361" y="724"/>
                    </a:cubicBezTo>
                    <a:cubicBezTo>
                      <a:pt x="365" y="730"/>
                      <a:pt x="365" y="730"/>
                      <a:pt x="365" y="730"/>
                    </a:cubicBezTo>
                    <a:cubicBezTo>
                      <a:pt x="411" y="729"/>
                      <a:pt x="411" y="729"/>
                      <a:pt x="411" y="729"/>
                    </a:cubicBezTo>
                    <a:cubicBezTo>
                      <a:pt x="417" y="735"/>
                      <a:pt x="417" y="735"/>
                      <a:pt x="417" y="735"/>
                    </a:cubicBezTo>
                    <a:cubicBezTo>
                      <a:pt x="417" y="735"/>
                      <a:pt x="435" y="735"/>
                      <a:pt x="463" y="735"/>
                    </a:cubicBezTo>
                    <a:cubicBezTo>
                      <a:pt x="491" y="735"/>
                      <a:pt x="551" y="715"/>
                      <a:pt x="551" y="715"/>
                    </a:cubicBezTo>
                    <a:cubicBezTo>
                      <a:pt x="493" y="657"/>
                      <a:pt x="493" y="657"/>
                      <a:pt x="493" y="657"/>
                    </a:cubicBezTo>
                    <a:cubicBezTo>
                      <a:pt x="493" y="645"/>
                      <a:pt x="493" y="645"/>
                      <a:pt x="493" y="645"/>
                    </a:cubicBezTo>
                    <a:cubicBezTo>
                      <a:pt x="487" y="635"/>
                      <a:pt x="487" y="635"/>
                      <a:pt x="487" y="635"/>
                    </a:cubicBezTo>
                    <a:cubicBezTo>
                      <a:pt x="488" y="468"/>
                      <a:pt x="488" y="468"/>
                      <a:pt x="488" y="468"/>
                    </a:cubicBezTo>
                    <a:cubicBezTo>
                      <a:pt x="571" y="470"/>
                      <a:pt x="571" y="470"/>
                      <a:pt x="571" y="470"/>
                    </a:cubicBezTo>
                    <a:cubicBezTo>
                      <a:pt x="571" y="470"/>
                      <a:pt x="582" y="470"/>
                      <a:pt x="584" y="463"/>
                    </a:cubicBezTo>
                    <a:cubicBezTo>
                      <a:pt x="586" y="456"/>
                      <a:pt x="580" y="440"/>
                      <a:pt x="580" y="440"/>
                    </a:cubicBezTo>
                    <a:cubicBezTo>
                      <a:pt x="593" y="437"/>
                      <a:pt x="593" y="437"/>
                      <a:pt x="593" y="437"/>
                    </a:cubicBezTo>
                    <a:cubicBezTo>
                      <a:pt x="585" y="426"/>
                      <a:pt x="585" y="426"/>
                      <a:pt x="585" y="426"/>
                    </a:cubicBezTo>
                    <a:cubicBezTo>
                      <a:pt x="583" y="391"/>
                      <a:pt x="583" y="391"/>
                      <a:pt x="583" y="391"/>
                    </a:cubicBezTo>
                    <a:cubicBezTo>
                      <a:pt x="583" y="391"/>
                      <a:pt x="591" y="389"/>
                      <a:pt x="594" y="386"/>
                    </a:cubicBezTo>
                    <a:cubicBezTo>
                      <a:pt x="597" y="383"/>
                      <a:pt x="583" y="362"/>
                      <a:pt x="583" y="362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" name="Freeform 310">
                <a:extLst>
                  <a:ext uri="{FF2B5EF4-FFF2-40B4-BE49-F238E27FC236}">
                    <a16:creationId xmlns:a16="http://schemas.microsoft.com/office/drawing/2014/main" id="{5DDE3A02-0C1E-C0C2-D6EB-878BF95108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3241" y="-9850"/>
                <a:ext cx="245" cy="232"/>
              </a:xfrm>
              <a:custGeom>
                <a:avLst/>
                <a:gdLst>
                  <a:gd name="T0" fmla="*/ 35 w 104"/>
                  <a:gd name="T1" fmla="*/ 98 h 98"/>
                  <a:gd name="T2" fmla="*/ 52 w 104"/>
                  <a:gd name="T3" fmla="*/ 91 h 98"/>
                  <a:gd name="T4" fmla="*/ 57 w 104"/>
                  <a:gd name="T5" fmla="*/ 74 h 98"/>
                  <a:gd name="T6" fmla="*/ 87 w 104"/>
                  <a:gd name="T7" fmla="*/ 74 h 98"/>
                  <a:gd name="T8" fmla="*/ 90 w 104"/>
                  <a:gd name="T9" fmla="*/ 74 h 98"/>
                  <a:gd name="T10" fmla="*/ 104 w 104"/>
                  <a:gd name="T11" fmla="*/ 64 h 98"/>
                  <a:gd name="T12" fmla="*/ 98 w 104"/>
                  <a:gd name="T13" fmla="*/ 44 h 98"/>
                  <a:gd name="T14" fmla="*/ 100 w 104"/>
                  <a:gd name="T15" fmla="*/ 31 h 98"/>
                  <a:gd name="T16" fmla="*/ 86 w 104"/>
                  <a:gd name="T17" fmla="*/ 13 h 98"/>
                  <a:gd name="T18" fmla="*/ 91 w 104"/>
                  <a:gd name="T19" fmla="*/ 0 h 98"/>
                  <a:gd name="T20" fmla="*/ 75 w 104"/>
                  <a:gd name="T21" fmla="*/ 1 h 98"/>
                  <a:gd name="T22" fmla="*/ 64 w 104"/>
                  <a:gd name="T23" fmla="*/ 25 h 98"/>
                  <a:gd name="T24" fmla="*/ 52 w 104"/>
                  <a:gd name="T25" fmla="*/ 17 h 98"/>
                  <a:gd name="T26" fmla="*/ 42 w 104"/>
                  <a:gd name="T27" fmla="*/ 17 h 98"/>
                  <a:gd name="T28" fmla="*/ 17 w 104"/>
                  <a:gd name="T29" fmla="*/ 36 h 98"/>
                  <a:gd name="T30" fmla="*/ 24 w 104"/>
                  <a:gd name="T31" fmla="*/ 58 h 98"/>
                  <a:gd name="T32" fmla="*/ 4 w 104"/>
                  <a:gd name="T33" fmla="*/ 80 h 98"/>
                  <a:gd name="T34" fmla="*/ 22 w 104"/>
                  <a:gd name="T35" fmla="*/ 85 h 98"/>
                  <a:gd name="T36" fmla="*/ 35 w 104"/>
                  <a:gd name="T37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4" h="98">
                    <a:moveTo>
                      <a:pt x="35" y="98"/>
                    </a:moveTo>
                    <a:cubicBezTo>
                      <a:pt x="39" y="98"/>
                      <a:pt x="52" y="91"/>
                      <a:pt x="52" y="91"/>
                    </a:cubicBezTo>
                    <a:cubicBezTo>
                      <a:pt x="57" y="74"/>
                      <a:pt x="57" y="74"/>
                      <a:pt x="57" y="74"/>
                    </a:cubicBezTo>
                    <a:cubicBezTo>
                      <a:pt x="87" y="74"/>
                      <a:pt x="87" y="74"/>
                      <a:pt x="87" y="74"/>
                    </a:cubicBezTo>
                    <a:cubicBezTo>
                      <a:pt x="90" y="74"/>
                      <a:pt x="90" y="74"/>
                      <a:pt x="90" y="74"/>
                    </a:cubicBezTo>
                    <a:cubicBezTo>
                      <a:pt x="96" y="73"/>
                      <a:pt x="104" y="71"/>
                      <a:pt x="104" y="64"/>
                    </a:cubicBezTo>
                    <a:cubicBezTo>
                      <a:pt x="104" y="52"/>
                      <a:pt x="98" y="44"/>
                      <a:pt x="98" y="44"/>
                    </a:cubicBezTo>
                    <a:cubicBezTo>
                      <a:pt x="98" y="44"/>
                      <a:pt x="104" y="39"/>
                      <a:pt x="100" y="31"/>
                    </a:cubicBezTo>
                    <a:cubicBezTo>
                      <a:pt x="96" y="23"/>
                      <a:pt x="86" y="13"/>
                      <a:pt x="86" y="1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75" y="1"/>
                      <a:pt x="75" y="1"/>
                      <a:pt x="75" y="1"/>
                    </a:cubicBezTo>
                    <a:cubicBezTo>
                      <a:pt x="75" y="1"/>
                      <a:pt x="71" y="17"/>
                      <a:pt x="64" y="25"/>
                    </a:cubicBezTo>
                    <a:cubicBezTo>
                      <a:pt x="58" y="32"/>
                      <a:pt x="52" y="17"/>
                      <a:pt x="52" y="17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2" y="17"/>
                      <a:pt x="18" y="28"/>
                      <a:pt x="17" y="36"/>
                    </a:cubicBezTo>
                    <a:cubicBezTo>
                      <a:pt x="15" y="44"/>
                      <a:pt x="25" y="55"/>
                      <a:pt x="24" y="58"/>
                    </a:cubicBezTo>
                    <a:cubicBezTo>
                      <a:pt x="22" y="62"/>
                      <a:pt x="0" y="72"/>
                      <a:pt x="4" y="80"/>
                    </a:cubicBezTo>
                    <a:cubicBezTo>
                      <a:pt x="8" y="88"/>
                      <a:pt x="22" y="85"/>
                      <a:pt x="22" y="85"/>
                    </a:cubicBezTo>
                    <a:cubicBezTo>
                      <a:pt x="22" y="85"/>
                      <a:pt x="31" y="98"/>
                      <a:pt x="35" y="98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" name="Freeform 311">
                <a:extLst>
                  <a:ext uri="{FF2B5EF4-FFF2-40B4-BE49-F238E27FC236}">
                    <a16:creationId xmlns:a16="http://schemas.microsoft.com/office/drawing/2014/main" id="{CE0490AC-ADED-E1D6-57B1-760BDF6EEB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855" y="-11376"/>
                <a:ext cx="1451" cy="1103"/>
              </a:xfrm>
              <a:custGeom>
                <a:avLst/>
                <a:gdLst>
                  <a:gd name="T0" fmla="*/ 589 w 614"/>
                  <a:gd name="T1" fmla="*/ 267 h 467"/>
                  <a:gd name="T2" fmla="*/ 575 w 614"/>
                  <a:gd name="T3" fmla="*/ 253 h 467"/>
                  <a:gd name="T4" fmla="*/ 573 w 614"/>
                  <a:gd name="T5" fmla="*/ 236 h 467"/>
                  <a:gd name="T6" fmla="*/ 542 w 614"/>
                  <a:gd name="T7" fmla="*/ 203 h 467"/>
                  <a:gd name="T8" fmla="*/ 521 w 614"/>
                  <a:gd name="T9" fmla="*/ 175 h 467"/>
                  <a:gd name="T10" fmla="*/ 502 w 614"/>
                  <a:gd name="T11" fmla="*/ 152 h 467"/>
                  <a:gd name="T12" fmla="*/ 467 w 614"/>
                  <a:gd name="T13" fmla="*/ 130 h 467"/>
                  <a:gd name="T14" fmla="*/ 433 w 614"/>
                  <a:gd name="T15" fmla="*/ 120 h 467"/>
                  <a:gd name="T16" fmla="*/ 431 w 614"/>
                  <a:gd name="T17" fmla="*/ 102 h 467"/>
                  <a:gd name="T18" fmla="*/ 402 w 614"/>
                  <a:gd name="T19" fmla="*/ 8 h 467"/>
                  <a:gd name="T20" fmla="*/ 385 w 614"/>
                  <a:gd name="T21" fmla="*/ 0 h 467"/>
                  <a:gd name="T22" fmla="*/ 345 w 614"/>
                  <a:gd name="T23" fmla="*/ 38 h 467"/>
                  <a:gd name="T24" fmla="*/ 320 w 614"/>
                  <a:gd name="T25" fmla="*/ 55 h 467"/>
                  <a:gd name="T26" fmla="*/ 222 w 614"/>
                  <a:gd name="T27" fmla="*/ 107 h 467"/>
                  <a:gd name="T28" fmla="*/ 223 w 614"/>
                  <a:gd name="T29" fmla="*/ 132 h 467"/>
                  <a:gd name="T30" fmla="*/ 151 w 614"/>
                  <a:gd name="T31" fmla="*/ 160 h 467"/>
                  <a:gd name="T32" fmla="*/ 108 w 614"/>
                  <a:gd name="T33" fmla="*/ 165 h 467"/>
                  <a:gd name="T34" fmla="*/ 56 w 614"/>
                  <a:gd name="T35" fmla="*/ 186 h 467"/>
                  <a:gd name="T36" fmla="*/ 35 w 614"/>
                  <a:gd name="T37" fmla="*/ 224 h 467"/>
                  <a:gd name="T38" fmla="*/ 24 w 614"/>
                  <a:gd name="T39" fmla="*/ 249 h 467"/>
                  <a:gd name="T40" fmla="*/ 15 w 614"/>
                  <a:gd name="T41" fmla="*/ 273 h 467"/>
                  <a:gd name="T42" fmla="*/ 7 w 614"/>
                  <a:gd name="T43" fmla="*/ 306 h 467"/>
                  <a:gd name="T44" fmla="*/ 19 w 614"/>
                  <a:gd name="T45" fmla="*/ 344 h 467"/>
                  <a:gd name="T46" fmla="*/ 36 w 614"/>
                  <a:gd name="T47" fmla="*/ 381 h 467"/>
                  <a:gd name="T48" fmla="*/ 79 w 614"/>
                  <a:gd name="T49" fmla="*/ 428 h 467"/>
                  <a:gd name="T50" fmla="*/ 83 w 614"/>
                  <a:gd name="T51" fmla="*/ 461 h 467"/>
                  <a:gd name="T52" fmla="*/ 106 w 614"/>
                  <a:gd name="T53" fmla="*/ 441 h 467"/>
                  <a:gd name="T54" fmla="*/ 108 w 614"/>
                  <a:gd name="T55" fmla="*/ 400 h 467"/>
                  <a:gd name="T56" fmla="*/ 147 w 614"/>
                  <a:gd name="T57" fmla="*/ 390 h 467"/>
                  <a:gd name="T58" fmla="*/ 193 w 614"/>
                  <a:gd name="T59" fmla="*/ 394 h 467"/>
                  <a:gd name="T60" fmla="*/ 203 w 614"/>
                  <a:gd name="T61" fmla="*/ 370 h 467"/>
                  <a:gd name="T62" fmla="*/ 218 w 614"/>
                  <a:gd name="T63" fmla="*/ 344 h 467"/>
                  <a:gd name="T64" fmla="*/ 273 w 614"/>
                  <a:gd name="T65" fmla="*/ 330 h 467"/>
                  <a:gd name="T66" fmla="*/ 295 w 614"/>
                  <a:gd name="T67" fmla="*/ 351 h 467"/>
                  <a:gd name="T68" fmla="*/ 335 w 614"/>
                  <a:gd name="T69" fmla="*/ 362 h 467"/>
                  <a:gd name="T70" fmla="*/ 385 w 614"/>
                  <a:gd name="T71" fmla="*/ 368 h 467"/>
                  <a:gd name="T72" fmla="*/ 410 w 614"/>
                  <a:gd name="T73" fmla="*/ 328 h 467"/>
                  <a:gd name="T74" fmla="*/ 449 w 614"/>
                  <a:gd name="T75" fmla="*/ 330 h 467"/>
                  <a:gd name="T76" fmla="*/ 477 w 614"/>
                  <a:gd name="T77" fmla="*/ 316 h 467"/>
                  <a:gd name="T78" fmla="*/ 512 w 614"/>
                  <a:gd name="T79" fmla="*/ 321 h 467"/>
                  <a:gd name="T80" fmla="*/ 539 w 614"/>
                  <a:gd name="T81" fmla="*/ 311 h 467"/>
                  <a:gd name="T82" fmla="*/ 586 w 614"/>
                  <a:gd name="T83" fmla="*/ 319 h 467"/>
                  <a:gd name="T84" fmla="*/ 606 w 614"/>
                  <a:gd name="T85" fmla="*/ 281 h 4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14" h="467">
                    <a:moveTo>
                      <a:pt x="606" y="281"/>
                    </a:moveTo>
                    <a:cubicBezTo>
                      <a:pt x="598" y="273"/>
                      <a:pt x="589" y="267"/>
                      <a:pt x="589" y="267"/>
                    </a:cubicBezTo>
                    <a:cubicBezTo>
                      <a:pt x="574" y="266"/>
                      <a:pt x="574" y="266"/>
                      <a:pt x="574" y="266"/>
                    </a:cubicBezTo>
                    <a:cubicBezTo>
                      <a:pt x="575" y="253"/>
                      <a:pt x="575" y="253"/>
                      <a:pt x="575" y="253"/>
                    </a:cubicBezTo>
                    <a:cubicBezTo>
                      <a:pt x="575" y="253"/>
                      <a:pt x="568" y="250"/>
                      <a:pt x="567" y="244"/>
                    </a:cubicBezTo>
                    <a:cubicBezTo>
                      <a:pt x="566" y="238"/>
                      <a:pt x="573" y="244"/>
                      <a:pt x="573" y="236"/>
                    </a:cubicBezTo>
                    <a:cubicBezTo>
                      <a:pt x="573" y="228"/>
                      <a:pt x="558" y="227"/>
                      <a:pt x="558" y="227"/>
                    </a:cubicBezTo>
                    <a:cubicBezTo>
                      <a:pt x="558" y="227"/>
                      <a:pt x="549" y="204"/>
                      <a:pt x="542" y="203"/>
                    </a:cubicBezTo>
                    <a:cubicBezTo>
                      <a:pt x="535" y="202"/>
                      <a:pt x="521" y="200"/>
                      <a:pt x="515" y="190"/>
                    </a:cubicBezTo>
                    <a:cubicBezTo>
                      <a:pt x="509" y="180"/>
                      <a:pt x="524" y="186"/>
                      <a:pt x="521" y="175"/>
                    </a:cubicBezTo>
                    <a:cubicBezTo>
                      <a:pt x="518" y="164"/>
                      <a:pt x="502" y="165"/>
                      <a:pt x="502" y="165"/>
                    </a:cubicBezTo>
                    <a:cubicBezTo>
                      <a:pt x="502" y="152"/>
                      <a:pt x="502" y="152"/>
                      <a:pt x="502" y="152"/>
                    </a:cubicBezTo>
                    <a:cubicBezTo>
                      <a:pt x="502" y="152"/>
                      <a:pt x="472" y="154"/>
                      <a:pt x="466" y="146"/>
                    </a:cubicBezTo>
                    <a:cubicBezTo>
                      <a:pt x="460" y="138"/>
                      <a:pt x="467" y="130"/>
                      <a:pt x="467" y="130"/>
                    </a:cubicBezTo>
                    <a:cubicBezTo>
                      <a:pt x="467" y="123"/>
                      <a:pt x="467" y="123"/>
                      <a:pt x="467" y="123"/>
                    </a:cubicBezTo>
                    <a:cubicBezTo>
                      <a:pt x="433" y="120"/>
                      <a:pt x="433" y="120"/>
                      <a:pt x="433" y="120"/>
                    </a:cubicBezTo>
                    <a:cubicBezTo>
                      <a:pt x="439" y="109"/>
                      <a:pt x="439" y="109"/>
                      <a:pt x="439" y="109"/>
                    </a:cubicBezTo>
                    <a:cubicBezTo>
                      <a:pt x="439" y="109"/>
                      <a:pt x="430" y="112"/>
                      <a:pt x="431" y="102"/>
                    </a:cubicBezTo>
                    <a:cubicBezTo>
                      <a:pt x="432" y="92"/>
                      <a:pt x="447" y="85"/>
                      <a:pt x="443" y="63"/>
                    </a:cubicBezTo>
                    <a:cubicBezTo>
                      <a:pt x="439" y="41"/>
                      <a:pt x="402" y="8"/>
                      <a:pt x="402" y="8"/>
                    </a:cubicBezTo>
                    <a:cubicBezTo>
                      <a:pt x="401" y="1"/>
                      <a:pt x="401" y="1"/>
                      <a:pt x="401" y="1"/>
                    </a:cubicBezTo>
                    <a:cubicBezTo>
                      <a:pt x="385" y="0"/>
                      <a:pt x="385" y="0"/>
                      <a:pt x="385" y="0"/>
                    </a:cubicBezTo>
                    <a:cubicBezTo>
                      <a:pt x="348" y="18"/>
                      <a:pt x="348" y="18"/>
                      <a:pt x="348" y="18"/>
                    </a:cubicBezTo>
                    <a:cubicBezTo>
                      <a:pt x="345" y="38"/>
                      <a:pt x="345" y="38"/>
                      <a:pt x="345" y="38"/>
                    </a:cubicBezTo>
                    <a:cubicBezTo>
                      <a:pt x="333" y="50"/>
                      <a:pt x="333" y="50"/>
                      <a:pt x="333" y="50"/>
                    </a:cubicBezTo>
                    <a:cubicBezTo>
                      <a:pt x="320" y="55"/>
                      <a:pt x="320" y="55"/>
                      <a:pt x="320" y="55"/>
                    </a:cubicBezTo>
                    <a:cubicBezTo>
                      <a:pt x="320" y="55"/>
                      <a:pt x="325" y="77"/>
                      <a:pt x="293" y="92"/>
                    </a:cubicBezTo>
                    <a:cubicBezTo>
                      <a:pt x="262" y="107"/>
                      <a:pt x="222" y="107"/>
                      <a:pt x="222" y="107"/>
                    </a:cubicBezTo>
                    <a:cubicBezTo>
                      <a:pt x="208" y="115"/>
                      <a:pt x="208" y="115"/>
                      <a:pt x="208" y="115"/>
                    </a:cubicBezTo>
                    <a:cubicBezTo>
                      <a:pt x="208" y="115"/>
                      <a:pt x="228" y="125"/>
                      <a:pt x="223" y="132"/>
                    </a:cubicBezTo>
                    <a:cubicBezTo>
                      <a:pt x="218" y="138"/>
                      <a:pt x="203" y="160"/>
                      <a:pt x="203" y="160"/>
                    </a:cubicBezTo>
                    <a:cubicBezTo>
                      <a:pt x="203" y="160"/>
                      <a:pt x="170" y="160"/>
                      <a:pt x="151" y="160"/>
                    </a:cubicBezTo>
                    <a:cubicBezTo>
                      <a:pt x="133" y="160"/>
                      <a:pt x="138" y="180"/>
                      <a:pt x="120" y="185"/>
                    </a:cubicBezTo>
                    <a:cubicBezTo>
                      <a:pt x="101" y="190"/>
                      <a:pt x="108" y="165"/>
                      <a:pt x="108" y="165"/>
                    </a:cubicBezTo>
                    <a:cubicBezTo>
                      <a:pt x="108" y="165"/>
                      <a:pt x="88" y="180"/>
                      <a:pt x="78" y="187"/>
                    </a:cubicBezTo>
                    <a:cubicBezTo>
                      <a:pt x="68" y="193"/>
                      <a:pt x="56" y="186"/>
                      <a:pt x="56" y="186"/>
                    </a:cubicBezTo>
                    <a:cubicBezTo>
                      <a:pt x="56" y="186"/>
                      <a:pt x="38" y="196"/>
                      <a:pt x="37" y="204"/>
                    </a:cubicBezTo>
                    <a:cubicBezTo>
                      <a:pt x="36" y="212"/>
                      <a:pt x="35" y="224"/>
                      <a:pt x="35" y="224"/>
                    </a:cubicBezTo>
                    <a:cubicBezTo>
                      <a:pt x="29" y="224"/>
                      <a:pt x="29" y="224"/>
                      <a:pt x="29" y="224"/>
                    </a:cubicBezTo>
                    <a:cubicBezTo>
                      <a:pt x="24" y="249"/>
                      <a:pt x="24" y="249"/>
                      <a:pt x="24" y="249"/>
                    </a:cubicBezTo>
                    <a:cubicBezTo>
                      <a:pt x="24" y="249"/>
                      <a:pt x="2" y="256"/>
                      <a:pt x="1" y="264"/>
                    </a:cubicBezTo>
                    <a:cubicBezTo>
                      <a:pt x="0" y="272"/>
                      <a:pt x="15" y="273"/>
                      <a:pt x="15" y="273"/>
                    </a:cubicBezTo>
                    <a:cubicBezTo>
                      <a:pt x="14" y="298"/>
                      <a:pt x="14" y="298"/>
                      <a:pt x="14" y="298"/>
                    </a:cubicBezTo>
                    <a:cubicBezTo>
                      <a:pt x="7" y="306"/>
                      <a:pt x="7" y="306"/>
                      <a:pt x="7" y="306"/>
                    </a:cubicBezTo>
                    <a:cubicBezTo>
                      <a:pt x="19" y="313"/>
                      <a:pt x="19" y="313"/>
                      <a:pt x="19" y="313"/>
                    </a:cubicBezTo>
                    <a:cubicBezTo>
                      <a:pt x="19" y="344"/>
                      <a:pt x="19" y="344"/>
                      <a:pt x="19" y="344"/>
                    </a:cubicBezTo>
                    <a:cubicBezTo>
                      <a:pt x="19" y="344"/>
                      <a:pt x="36" y="355"/>
                      <a:pt x="38" y="358"/>
                    </a:cubicBezTo>
                    <a:cubicBezTo>
                      <a:pt x="40" y="361"/>
                      <a:pt x="36" y="381"/>
                      <a:pt x="36" y="381"/>
                    </a:cubicBezTo>
                    <a:cubicBezTo>
                      <a:pt x="36" y="381"/>
                      <a:pt x="47" y="404"/>
                      <a:pt x="57" y="412"/>
                    </a:cubicBezTo>
                    <a:cubicBezTo>
                      <a:pt x="67" y="420"/>
                      <a:pt x="79" y="428"/>
                      <a:pt x="79" y="428"/>
                    </a:cubicBezTo>
                    <a:cubicBezTo>
                      <a:pt x="83" y="442"/>
                      <a:pt x="83" y="442"/>
                      <a:pt x="83" y="442"/>
                    </a:cubicBezTo>
                    <a:cubicBezTo>
                      <a:pt x="83" y="461"/>
                      <a:pt x="83" y="461"/>
                      <a:pt x="83" y="461"/>
                    </a:cubicBezTo>
                    <a:cubicBezTo>
                      <a:pt x="88" y="467"/>
                      <a:pt x="88" y="467"/>
                      <a:pt x="88" y="467"/>
                    </a:cubicBezTo>
                    <a:cubicBezTo>
                      <a:pt x="88" y="467"/>
                      <a:pt x="104" y="448"/>
                      <a:pt x="106" y="441"/>
                    </a:cubicBezTo>
                    <a:cubicBezTo>
                      <a:pt x="108" y="434"/>
                      <a:pt x="98" y="421"/>
                      <a:pt x="98" y="421"/>
                    </a:cubicBezTo>
                    <a:cubicBezTo>
                      <a:pt x="108" y="400"/>
                      <a:pt x="108" y="400"/>
                      <a:pt x="108" y="400"/>
                    </a:cubicBezTo>
                    <a:cubicBezTo>
                      <a:pt x="128" y="401"/>
                      <a:pt x="128" y="401"/>
                      <a:pt x="128" y="401"/>
                    </a:cubicBezTo>
                    <a:cubicBezTo>
                      <a:pt x="128" y="401"/>
                      <a:pt x="141" y="390"/>
                      <a:pt x="147" y="390"/>
                    </a:cubicBezTo>
                    <a:cubicBezTo>
                      <a:pt x="153" y="390"/>
                      <a:pt x="167" y="398"/>
                      <a:pt x="178" y="399"/>
                    </a:cubicBezTo>
                    <a:cubicBezTo>
                      <a:pt x="189" y="400"/>
                      <a:pt x="193" y="394"/>
                      <a:pt x="193" y="394"/>
                    </a:cubicBezTo>
                    <a:cubicBezTo>
                      <a:pt x="203" y="380"/>
                      <a:pt x="203" y="380"/>
                      <a:pt x="203" y="380"/>
                    </a:cubicBezTo>
                    <a:cubicBezTo>
                      <a:pt x="203" y="370"/>
                      <a:pt x="203" y="370"/>
                      <a:pt x="203" y="370"/>
                    </a:cubicBezTo>
                    <a:cubicBezTo>
                      <a:pt x="203" y="370"/>
                      <a:pt x="193" y="367"/>
                      <a:pt x="201" y="357"/>
                    </a:cubicBezTo>
                    <a:cubicBezTo>
                      <a:pt x="209" y="347"/>
                      <a:pt x="208" y="358"/>
                      <a:pt x="218" y="344"/>
                    </a:cubicBezTo>
                    <a:cubicBezTo>
                      <a:pt x="228" y="330"/>
                      <a:pt x="218" y="311"/>
                      <a:pt x="247" y="313"/>
                    </a:cubicBezTo>
                    <a:cubicBezTo>
                      <a:pt x="276" y="315"/>
                      <a:pt x="273" y="330"/>
                      <a:pt x="273" y="330"/>
                    </a:cubicBezTo>
                    <a:cubicBezTo>
                      <a:pt x="273" y="330"/>
                      <a:pt x="286" y="328"/>
                      <a:pt x="289" y="332"/>
                    </a:cubicBezTo>
                    <a:cubicBezTo>
                      <a:pt x="292" y="336"/>
                      <a:pt x="280" y="351"/>
                      <a:pt x="295" y="351"/>
                    </a:cubicBezTo>
                    <a:cubicBezTo>
                      <a:pt x="310" y="351"/>
                      <a:pt x="319" y="351"/>
                      <a:pt x="319" y="351"/>
                    </a:cubicBezTo>
                    <a:cubicBezTo>
                      <a:pt x="319" y="351"/>
                      <a:pt x="325" y="363"/>
                      <a:pt x="335" y="362"/>
                    </a:cubicBezTo>
                    <a:cubicBezTo>
                      <a:pt x="345" y="361"/>
                      <a:pt x="363" y="361"/>
                      <a:pt x="363" y="361"/>
                    </a:cubicBezTo>
                    <a:cubicBezTo>
                      <a:pt x="363" y="361"/>
                      <a:pt x="376" y="375"/>
                      <a:pt x="385" y="368"/>
                    </a:cubicBezTo>
                    <a:cubicBezTo>
                      <a:pt x="394" y="361"/>
                      <a:pt x="389" y="347"/>
                      <a:pt x="396" y="344"/>
                    </a:cubicBezTo>
                    <a:cubicBezTo>
                      <a:pt x="403" y="341"/>
                      <a:pt x="410" y="328"/>
                      <a:pt x="410" y="328"/>
                    </a:cubicBezTo>
                    <a:cubicBezTo>
                      <a:pt x="410" y="328"/>
                      <a:pt x="424" y="349"/>
                      <a:pt x="430" y="344"/>
                    </a:cubicBezTo>
                    <a:cubicBezTo>
                      <a:pt x="436" y="339"/>
                      <a:pt x="449" y="330"/>
                      <a:pt x="449" y="330"/>
                    </a:cubicBezTo>
                    <a:cubicBezTo>
                      <a:pt x="461" y="330"/>
                      <a:pt x="461" y="330"/>
                      <a:pt x="461" y="330"/>
                    </a:cubicBezTo>
                    <a:cubicBezTo>
                      <a:pt x="477" y="316"/>
                      <a:pt x="477" y="316"/>
                      <a:pt x="477" y="316"/>
                    </a:cubicBezTo>
                    <a:cubicBezTo>
                      <a:pt x="477" y="316"/>
                      <a:pt x="486" y="326"/>
                      <a:pt x="490" y="326"/>
                    </a:cubicBezTo>
                    <a:cubicBezTo>
                      <a:pt x="494" y="326"/>
                      <a:pt x="512" y="321"/>
                      <a:pt x="512" y="321"/>
                    </a:cubicBezTo>
                    <a:cubicBezTo>
                      <a:pt x="512" y="321"/>
                      <a:pt x="517" y="300"/>
                      <a:pt x="524" y="299"/>
                    </a:cubicBezTo>
                    <a:cubicBezTo>
                      <a:pt x="531" y="298"/>
                      <a:pt x="539" y="311"/>
                      <a:pt x="539" y="311"/>
                    </a:cubicBezTo>
                    <a:cubicBezTo>
                      <a:pt x="560" y="308"/>
                      <a:pt x="560" y="308"/>
                      <a:pt x="560" y="308"/>
                    </a:cubicBezTo>
                    <a:cubicBezTo>
                      <a:pt x="560" y="308"/>
                      <a:pt x="566" y="324"/>
                      <a:pt x="586" y="319"/>
                    </a:cubicBezTo>
                    <a:cubicBezTo>
                      <a:pt x="606" y="314"/>
                      <a:pt x="610" y="303"/>
                      <a:pt x="610" y="303"/>
                    </a:cubicBezTo>
                    <a:cubicBezTo>
                      <a:pt x="610" y="303"/>
                      <a:pt x="614" y="289"/>
                      <a:pt x="606" y="28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Freeform 312">
                <a:extLst>
                  <a:ext uri="{FF2B5EF4-FFF2-40B4-BE49-F238E27FC236}">
                    <a16:creationId xmlns:a16="http://schemas.microsoft.com/office/drawing/2014/main" id="{ED95F97C-203D-60E9-739B-6CEAD8B4D9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219" y="-10455"/>
                <a:ext cx="841" cy="1101"/>
              </a:xfrm>
              <a:custGeom>
                <a:avLst/>
                <a:gdLst>
                  <a:gd name="T0" fmla="*/ 238 w 356"/>
                  <a:gd name="T1" fmla="*/ 83 h 466"/>
                  <a:gd name="T2" fmla="*/ 219 w 356"/>
                  <a:gd name="T3" fmla="*/ 95 h 466"/>
                  <a:gd name="T4" fmla="*/ 166 w 356"/>
                  <a:gd name="T5" fmla="*/ 83 h 466"/>
                  <a:gd name="T6" fmla="*/ 96 w 356"/>
                  <a:gd name="T7" fmla="*/ 108 h 466"/>
                  <a:gd name="T8" fmla="*/ 115 w 356"/>
                  <a:gd name="T9" fmla="*/ 134 h 466"/>
                  <a:gd name="T10" fmla="*/ 149 w 356"/>
                  <a:gd name="T11" fmla="*/ 128 h 466"/>
                  <a:gd name="T12" fmla="*/ 159 w 356"/>
                  <a:gd name="T13" fmla="*/ 146 h 466"/>
                  <a:gd name="T14" fmla="*/ 140 w 356"/>
                  <a:gd name="T15" fmla="*/ 172 h 466"/>
                  <a:gd name="T16" fmla="*/ 130 w 356"/>
                  <a:gd name="T17" fmla="*/ 212 h 466"/>
                  <a:gd name="T18" fmla="*/ 147 w 356"/>
                  <a:gd name="T19" fmla="*/ 225 h 466"/>
                  <a:gd name="T20" fmla="*/ 158 w 356"/>
                  <a:gd name="T21" fmla="*/ 243 h 466"/>
                  <a:gd name="T22" fmla="*/ 155 w 356"/>
                  <a:gd name="T23" fmla="*/ 284 h 466"/>
                  <a:gd name="T24" fmla="*/ 146 w 356"/>
                  <a:gd name="T25" fmla="*/ 316 h 466"/>
                  <a:gd name="T26" fmla="*/ 127 w 356"/>
                  <a:gd name="T27" fmla="*/ 311 h 466"/>
                  <a:gd name="T28" fmla="*/ 90 w 356"/>
                  <a:gd name="T29" fmla="*/ 327 h 466"/>
                  <a:gd name="T30" fmla="*/ 64 w 356"/>
                  <a:gd name="T31" fmla="*/ 297 h 466"/>
                  <a:gd name="T32" fmla="*/ 58 w 356"/>
                  <a:gd name="T33" fmla="*/ 329 h 466"/>
                  <a:gd name="T34" fmla="*/ 25 w 356"/>
                  <a:gd name="T35" fmla="*/ 346 h 466"/>
                  <a:gd name="T36" fmla="*/ 35 w 356"/>
                  <a:gd name="T37" fmla="*/ 359 h 466"/>
                  <a:gd name="T38" fmla="*/ 38 w 356"/>
                  <a:gd name="T39" fmla="*/ 376 h 466"/>
                  <a:gd name="T40" fmla="*/ 19 w 356"/>
                  <a:gd name="T41" fmla="*/ 389 h 466"/>
                  <a:gd name="T42" fmla="*/ 0 w 356"/>
                  <a:gd name="T43" fmla="*/ 411 h 466"/>
                  <a:gd name="T44" fmla="*/ 37 w 356"/>
                  <a:gd name="T45" fmla="*/ 454 h 466"/>
                  <a:gd name="T46" fmla="*/ 50 w 356"/>
                  <a:gd name="T47" fmla="*/ 460 h 466"/>
                  <a:gd name="T48" fmla="*/ 61 w 356"/>
                  <a:gd name="T49" fmla="*/ 446 h 466"/>
                  <a:gd name="T50" fmla="*/ 91 w 356"/>
                  <a:gd name="T51" fmla="*/ 448 h 466"/>
                  <a:gd name="T52" fmla="*/ 114 w 356"/>
                  <a:gd name="T53" fmla="*/ 461 h 466"/>
                  <a:gd name="T54" fmla="*/ 138 w 356"/>
                  <a:gd name="T55" fmla="*/ 441 h 466"/>
                  <a:gd name="T56" fmla="*/ 159 w 356"/>
                  <a:gd name="T57" fmla="*/ 462 h 466"/>
                  <a:gd name="T58" fmla="*/ 209 w 356"/>
                  <a:gd name="T59" fmla="*/ 418 h 466"/>
                  <a:gd name="T60" fmla="*/ 242 w 356"/>
                  <a:gd name="T61" fmla="*/ 385 h 466"/>
                  <a:gd name="T62" fmla="*/ 260 w 356"/>
                  <a:gd name="T63" fmla="*/ 302 h 466"/>
                  <a:gd name="T64" fmla="*/ 298 w 356"/>
                  <a:gd name="T65" fmla="*/ 251 h 466"/>
                  <a:gd name="T66" fmla="*/ 317 w 356"/>
                  <a:gd name="T67" fmla="*/ 197 h 466"/>
                  <a:gd name="T68" fmla="*/ 320 w 356"/>
                  <a:gd name="T69" fmla="*/ 152 h 466"/>
                  <a:gd name="T70" fmla="*/ 332 w 356"/>
                  <a:gd name="T71" fmla="*/ 77 h 466"/>
                  <a:gd name="T72" fmla="*/ 356 w 356"/>
                  <a:gd name="T73" fmla="*/ 11 h 466"/>
                  <a:gd name="T74" fmla="*/ 332 w 356"/>
                  <a:gd name="T75" fmla="*/ 9 h 466"/>
                  <a:gd name="T76" fmla="*/ 282 w 356"/>
                  <a:gd name="T77" fmla="*/ 11 h 466"/>
                  <a:gd name="T78" fmla="*/ 252 w 356"/>
                  <a:gd name="T79" fmla="*/ 31 h 466"/>
                  <a:gd name="T80" fmla="*/ 242 w 356"/>
                  <a:gd name="T81" fmla="*/ 77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6" h="466">
                    <a:moveTo>
                      <a:pt x="242" y="77"/>
                    </a:moveTo>
                    <a:cubicBezTo>
                      <a:pt x="238" y="83"/>
                      <a:pt x="238" y="83"/>
                      <a:pt x="238" y="83"/>
                    </a:cubicBezTo>
                    <a:cubicBezTo>
                      <a:pt x="237" y="110"/>
                      <a:pt x="237" y="110"/>
                      <a:pt x="237" y="110"/>
                    </a:cubicBezTo>
                    <a:cubicBezTo>
                      <a:pt x="219" y="95"/>
                      <a:pt x="219" y="95"/>
                      <a:pt x="219" y="95"/>
                    </a:cubicBezTo>
                    <a:cubicBezTo>
                      <a:pt x="199" y="96"/>
                      <a:pt x="199" y="96"/>
                      <a:pt x="199" y="96"/>
                    </a:cubicBezTo>
                    <a:cubicBezTo>
                      <a:pt x="199" y="96"/>
                      <a:pt x="171" y="83"/>
                      <a:pt x="166" y="83"/>
                    </a:cubicBezTo>
                    <a:cubicBezTo>
                      <a:pt x="161" y="83"/>
                      <a:pt x="106" y="86"/>
                      <a:pt x="106" y="86"/>
                    </a:cubicBezTo>
                    <a:cubicBezTo>
                      <a:pt x="96" y="108"/>
                      <a:pt x="96" y="108"/>
                      <a:pt x="96" y="108"/>
                    </a:cubicBezTo>
                    <a:cubicBezTo>
                      <a:pt x="98" y="129"/>
                      <a:pt x="98" y="129"/>
                      <a:pt x="98" y="129"/>
                    </a:cubicBezTo>
                    <a:cubicBezTo>
                      <a:pt x="98" y="129"/>
                      <a:pt x="106" y="134"/>
                      <a:pt x="115" y="134"/>
                    </a:cubicBezTo>
                    <a:cubicBezTo>
                      <a:pt x="124" y="134"/>
                      <a:pt x="124" y="119"/>
                      <a:pt x="129" y="119"/>
                    </a:cubicBezTo>
                    <a:cubicBezTo>
                      <a:pt x="134" y="119"/>
                      <a:pt x="146" y="124"/>
                      <a:pt x="149" y="128"/>
                    </a:cubicBezTo>
                    <a:cubicBezTo>
                      <a:pt x="152" y="132"/>
                      <a:pt x="153" y="142"/>
                      <a:pt x="153" y="142"/>
                    </a:cubicBezTo>
                    <a:cubicBezTo>
                      <a:pt x="159" y="146"/>
                      <a:pt x="159" y="146"/>
                      <a:pt x="159" y="146"/>
                    </a:cubicBezTo>
                    <a:cubicBezTo>
                      <a:pt x="159" y="146"/>
                      <a:pt x="159" y="159"/>
                      <a:pt x="153" y="166"/>
                    </a:cubicBezTo>
                    <a:cubicBezTo>
                      <a:pt x="147" y="173"/>
                      <a:pt x="140" y="172"/>
                      <a:pt x="140" y="172"/>
                    </a:cubicBezTo>
                    <a:cubicBezTo>
                      <a:pt x="131" y="188"/>
                      <a:pt x="131" y="188"/>
                      <a:pt x="131" y="188"/>
                    </a:cubicBezTo>
                    <a:cubicBezTo>
                      <a:pt x="130" y="212"/>
                      <a:pt x="130" y="212"/>
                      <a:pt x="130" y="212"/>
                    </a:cubicBezTo>
                    <a:cubicBezTo>
                      <a:pt x="142" y="213"/>
                      <a:pt x="142" y="213"/>
                      <a:pt x="142" y="213"/>
                    </a:cubicBezTo>
                    <a:cubicBezTo>
                      <a:pt x="147" y="225"/>
                      <a:pt x="147" y="225"/>
                      <a:pt x="147" y="225"/>
                    </a:cubicBezTo>
                    <a:cubicBezTo>
                      <a:pt x="147" y="225"/>
                      <a:pt x="163" y="226"/>
                      <a:pt x="165" y="232"/>
                    </a:cubicBezTo>
                    <a:cubicBezTo>
                      <a:pt x="167" y="238"/>
                      <a:pt x="158" y="243"/>
                      <a:pt x="158" y="243"/>
                    </a:cubicBezTo>
                    <a:cubicBezTo>
                      <a:pt x="159" y="273"/>
                      <a:pt x="159" y="273"/>
                      <a:pt x="159" y="273"/>
                    </a:cubicBezTo>
                    <a:cubicBezTo>
                      <a:pt x="155" y="284"/>
                      <a:pt x="155" y="284"/>
                      <a:pt x="155" y="284"/>
                    </a:cubicBezTo>
                    <a:cubicBezTo>
                      <a:pt x="159" y="298"/>
                      <a:pt x="159" y="298"/>
                      <a:pt x="159" y="298"/>
                    </a:cubicBezTo>
                    <a:cubicBezTo>
                      <a:pt x="159" y="298"/>
                      <a:pt x="146" y="302"/>
                      <a:pt x="146" y="316"/>
                    </a:cubicBezTo>
                    <a:cubicBezTo>
                      <a:pt x="146" y="330"/>
                      <a:pt x="144" y="336"/>
                      <a:pt x="134" y="336"/>
                    </a:cubicBezTo>
                    <a:cubicBezTo>
                      <a:pt x="124" y="336"/>
                      <a:pt x="131" y="314"/>
                      <a:pt x="127" y="311"/>
                    </a:cubicBezTo>
                    <a:cubicBezTo>
                      <a:pt x="123" y="308"/>
                      <a:pt x="120" y="324"/>
                      <a:pt x="112" y="326"/>
                    </a:cubicBezTo>
                    <a:cubicBezTo>
                      <a:pt x="104" y="328"/>
                      <a:pt x="90" y="327"/>
                      <a:pt x="90" y="327"/>
                    </a:cubicBezTo>
                    <a:cubicBezTo>
                      <a:pt x="81" y="298"/>
                      <a:pt x="81" y="298"/>
                      <a:pt x="81" y="298"/>
                    </a:cubicBezTo>
                    <a:cubicBezTo>
                      <a:pt x="81" y="298"/>
                      <a:pt x="70" y="296"/>
                      <a:pt x="64" y="297"/>
                    </a:cubicBezTo>
                    <a:cubicBezTo>
                      <a:pt x="58" y="298"/>
                      <a:pt x="71" y="316"/>
                      <a:pt x="71" y="316"/>
                    </a:cubicBezTo>
                    <a:cubicBezTo>
                      <a:pt x="71" y="316"/>
                      <a:pt x="62" y="324"/>
                      <a:pt x="58" y="329"/>
                    </a:cubicBezTo>
                    <a:cubicBezTo>
                      <a:pt x="54" y="334"/>
                      <a:pt x="30" y="325"/>
                      <a:pt x="24" y="323"/>
                    </a:cubicBezTo>
                    <a:cubicBezTo>
                      <a:pt x="18" y="321"/>
                      <a:pt x="25" y="346"/>
                      <a:pt x="25" y="346"/>
                    </a:cubicBezTo>
                    <a:cubicBezTo>
                      <a:pt x="18" y="346"/>
                      <a:pt x="18" y="346"/>
                      <a:pt x="18" y="346"/>
                    </a:cubicBezTo>
                    <a:cubicBezTo>
                      <a:pt x="35" y="359"/>
                      <a:pt x="35" y="359"/>
                      <a:pt x="35" y="359"/>
                    </a:cubicBezTo>
                    <a:cubicBezTo>
                      <a:pt x="26" y="368"/>
                      <a:pt x="26" y="368"/>
                      <a:pt x="26" y="368"/>
                    </a:cubicBezTo>
                    <a:cubicBezTo>
                      <a:pt x="38" y="376"/>
                      <a:pt x="38" y="376"/>
                      <a:pt x="38" y="376"/>
                    </a:cubicBezTo>
                    <a:cubicBezTo>
                      <a:pt x="38" y="376"/>
                      <a:pt x="42" y="389"/>
                      <a:pt x="38" y="398"/>
                    </a:cubicBezTo>
                    <a:cubicBezTo>
                      <a:pt x="34" y="407"/>
                      <a:pt x="19" y="389"/>
                      <a:pt x="19" y="389"/>
                    </a:cubicBezTo>
                    <a:cubicBezTo>
                      <a:pt x="5" y="398"/>
                      <a:pt x="5" y="398"/>
                      <a:pt x="5" y="398"/>
                    </a:cubicBezTo>
                    <a:cubicBezTo>
                      <a:pt x="0" y="411"/>
                      <a:pt x="0" y="411"/>
                      <a:pt x="0" y="411"/>
                    </a:cubicBezTo>
                    <a:cubicBezTo>
                      <a:pt x="36" y="442"/>
                      <a:pt x="36" y="442"/>
                      <a:pt x="36" y="442"/>
                    </a:cubicBezTo>
                    <a:cubicBezTo>
                      <a:pt x="37" y="454"/>
                      <a:pt x="37" y="454"/>
                      <a:pt x="37" y="454"/>
                    </a:cubicBezTo>
                    <a:cubicBezTo>
                      <a:pt x="46" y="466"/>
                      <a:pt x="46" y="466"/>
                      <a:pt x="46" y="466"/>
                    </a:cubicBezTo>
                    <a:cubicBezTo>
                      <a:pt x="50" y="460"/>
                      <a:pt x="50" y="460"/>
                      <a:pt x="50" y="460"/>
                    </a:cubicBezTo>
                    <a:cubicBezTo>
                      <a:pt x="61" y="460"/>
                      <a:pt x="61" y="460"/>
                      <a:pt x="61" y="460"/>
                    </a:cubicBezTo>
                    <a:cubicBezTo>
                      <a:pt x="61" y="446"/>
                      <a:pt x="61" y="446"/>
                      <a:pt x="61" y="446"/>
                    </a:cubicBezTo>
                    <a:cubicBezTo>
                      <a:pt x="61" y="446"/>
                      <a:pt x="75" y="433"/>
                      <a:pt x="82" y="432"/>
                    </a:cubicBezTo>
                    <a:cubicBezTo>
                      <a:pt x="89" y="431"/>
                      <a:pt x="91" y="448"/>
                      <a:pt x="91" y="448"/>
                    </a:cubicBezTo>
                    <a:cubicBezTo>
                      <a:pt x="98" y="445"/>
                      <a:pt x="98" y="445"/>
                      <a:pt x="98" y="445"/>
                    </a:cubicBezTo>
                    <a:cubicBezTo>
                      <a:pt x="98" y="445"/>
                      <a:pt x="102" y="466"/>
                      <a:pt x="114" y="461"/>
                    </a:cubicBezTo>
                    <a:cubicBezTo>
                      <a:pt x="126" y="456"/>
                      <a:pt x="125" y="440"/>
                      <a:pt x="125" y="440"/>
                    </a:cubicBezTo>
                    <a:cubicBezTo>
                      <a:pt x="138" y="441"/>
                      <a:pt x="138" y="441"/>
                      <a:pt x="138" y="441"/>
                    </a:cubicBezTo>
                    <a:cubicBezTo>
                      <a:pt x="138" y="441"/>
                      <a:pt x="148" y="425"/>
                      <a:pt x="155" y="432"/>
                    </a:cubicBezTo>
                    <a:cubicBezTo>
                      <a:pt x="162" y="439"/>
                      <a:pt x="144" y="462"/>
                      <a:pt x="159" y="462"/>
                    </a:cubicBezTo>
                    <a:cubicBezTo>
                      <a:pt x="174" y="462"/>
                      <a:pt x="177" y="457"/>
                      <a:pt x="184" y="448"/>
                    </a:cubicBezTo>
                    <a:cubicBezTo>
                      <a:pt x="191" y="439"/>
                      <a:pt x="203" y="418"/>
                      <a:pt x="209" y="418"/>
                    </a:cubicBezTo>
                    <a:cubicBezTo>
                      <a:pt x="215" y="418"/>
                      <a:pt x="225" y="415"/>
                      <a:pt x="225" y="415"/>
                    </a:cubicBezTo>
                    <a:cubicBezTo>
                      <a:pt x="242" y="385"/>
                      <a:pt x="242" y="385"/>
                      <a:pt x="242" y="385"/>
                    </a:cubicBezTo>
                    <a:cubicBezTo>
                      <a:pt x="241" y="318"/>
                      <a:pt x="241" y="318"/>
                      <a:pt x="241" y="318"/>
                    </a:cubicBezTo>
                    <a:cubicBezTo>
                      <a:pt x="241" y="318"/>
                      <a:pt x="259" y="311"/>
                      <a:pt x="260" y="302"/>
                    </a:cubicBezTo>
                    <a:cubicBezTo>
                      <a:pt x="261" y="293"/>
                      <a:pt x="261" y="270"/>
                      <a:pt x="268" y="267"/>
                    </a:cubicBezTo>
                    <a:cubicBezTo>
                      <a:pt x="275" y="264"/>
                      <a:pt x="288" y="258"/>
                      <a:pt x="298" y="251"/>
                    </a:cubicBezTo>
                    <a:cubicBezTo>
                      <a:pt x="308" y="244"/>
                      <a:pt x="314" y="229"/>
                      <a:pt x="314" y="229"/>
                    </a:cubicBezTo>
                    <a:cubicBezTo>
                      <a:pt x="317" y="197"/>
                      <a:pt x="317" y="197"/>
                      <a:pt x="317" y="197"/>
                    </a:cubicBezTo>
                    <a:cubicBezTo>
                      <a:pt x="317" y="197"/>
                      <a:pt x="327" y="189"/>
                      <a:pt x="327" y="178"/>
                    </a:cubicBezTo>
                    <a:cubicBezTo>
                      <a:pt x="327" y="167"/>
                      <a:pt x="318" y="160"/>
                      <a:pt x="320" y="152"/>
                    </a:cubicBezTo>
                    <a:cubicBezTo>
                      <a:pt x="322" y="144"/>
                      <a:pt x="332" y="136"/>
                      <a:pt x="331" y="125"/>
                    </a:cubicBezTo>
                    <a:cubicBezTo>
                      <a:pt x="330" y="114"/>
                      <a:pt x="323" y="87"/>
                      <a:pt x="332" y="77"/>
                    </a:cubicBezTo>
                    <a:cubicBezTo>
                      <a:pt x="341" y="67"/>
                      <a:pt x="356" y="38"/>
                      <a:pt x="356" y="30"/>
                    </a:cubicBezTo>
                    <a:cubicBezTo>
                      <a:pt x="356" y="22"/>
                      <a:pt x="356" y="11"/>
                      <a:pt x="356" y="11"/>
                    </a:cubicBezTo>
                    <a:cubicBezTo>
                      <a:pt x="347" y="4"/>
                      <a:pt x="347" y="4"/>
                      <a:pt x="347" y="4"/>
                    </a:cubicBezTo>
                    <a:cubicBezTo>
                      <a:pt x="347" y="4"/>
                      <a:pt x="343" y="10"/>
                      <a:pt x="332" y="9"/>
                    </a:cubicBezTo>
                    <a:cubicBezTo>
                      <a:pt x="321" y="8"/>
                      <a:pt x="307" y="0"/>
                      <a:pt x="301" y="0"/>
                    </a:cubicBezTo>
                    <a:cubicBezTo>
                      <a:pt x="295" y="0"/>
                      <a:pt x="282" y="11"/>
                      <a:pt x="282" y="11"/>
                    </a:cubicBezTo>
                    <a:cubicBezTo>
                      <a:pt x="262" y="10"/>
                      <a:pt x="262" y="10"/>
                      <a:pt x="262" y="10"/>
                    </a:cubicBezTo>
                    <a:cubicBezTo>
                      <a:pt x="252" y="31"/>
                      <a:pt x="252" y="31"/>
                      <a:pt x="252" y="31"/>
                    </a:cubicBezTo>
                    <a:cubicBezTo>
                      <a:pt x="252" y="31"/>
                      <a:pt x="262" y="44"/>
                      <a:pt x="260" y="51"/>
                    </a:cubicBezTo>
                    <a:cubicBezTo>
                      <a:pt x="258" y="58"/>
                      <a:pt x="242" y="77"/>
                      <a:pt x="242" y="77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" name="Freeform 313">
                <a:extLst>
                  <a:ext uri="{FF2B5EF4-FFF2-40B4-BE49-F238E27FC236}">
                    <a16:creationId xmlns:a16="http://schemas.microsoft.com/office/drawing/2014/main" id="{BDE58CA2-73F2-603B-892C-EE0BA5C0058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028" y="-12914"/>
                <a:ext cx="1845" cy="2490"/>
              </a:xfrm>
              <a:custGeom>
                <a:avLst/>
                <a:gdLst>
                  <a:gd name="T0" fmla="*/ 569 w 781"/>
                  <a:gd name="T1" fmla="*/ 46 h 1054"/>
                  <a:gd name="T2" fmla="*/ 443 w 781"/>
                  <a:gd name="T3" fmla="*/ 56 h 1054"/>
                  <a:gd name="T4" fmla="*/ 143 w 781"/>
                  <a:gd name="T5" fmla="*/ 56 h 1054"/>
                  <a:gd name="T6" fmla="*/ 101 w 781"/>
                  <a:gd name="T7" fmla="*/ 398 h 1054"/>
                  <a:gd name="T8" fmla="*/ 41 w 781"/>
                  <a:gd name="T9" fmla="*/ 434 h 1054"/>
                  <a:gd name="T10" fmla="*/ 30 w 781"/>
                  <a:gd name="T11" fmla="*/ 468 h 1054"/>
                  <a:gd name="T12" fmla="*/ 15 w 781"/>
                  <a:gd name="T13" fmla="*/ 504 h 1054"/>
                  <a:gd name="T14" fmla="*/ 11 w 781"/>
                  <a:gd name="T15" fmla="*/ 565 h 1054"/>
                  <a:gd name="T16" fmla="*/ 42 w 781"/>
                  <a:gd name="T17" fmla="*/ 598 h 1054"/>
                  <a:gd name="T18" fmla="*/ 56 w 781"/>
                  <a:gd name="T19" fmla="*/ 634 h 1054"/>
                  <a:gd name="T20" fmla="*/ 93 w 781"/>
                  <a:gd name="T21" fmla="*/ 714 h 1054"/>
                  <a:gd name="T22" fmla="*/ 83 w 781"/>
                  <a:gd name="T23" fmla="*/ 771 h 1054"/>
                  <a:gd name="T24" fmla="*/ 116 w 781"/>
                  <a:gd name="T25" fmla="*/ 797 h 1054"/>
                  <a:gd name="T26" fmla="*/ 171 w 781"/>
                  <a:gd name="T27" fmla="*/ 826 h 1054"/>
                  <a:gd name="T28" fmla="*/ 208 w 781"/>
                  <a:gd name="T29" fmla="*/ 878 h 1054"/>
                  <a:gd name="T30" fmla="*/ 225 w 781"/>
                  <a:gd name="T31" fmla="*/ 904 h 1054"/>
                  <a:gd name="T32" fmla="*/ 256 w 781"/>
                  <a:gd name="T33" fmla="*/ 932 h 1054"/>
                  <a:gd name="T34" fmla="*/ 285 w 781"/>
                  <a:gd name="T35" fmla="*/ 981 h 1054"/>
                  <a:gd name="T36" fmla="*/ 333 w 781"/>
                  <a:gd name="T37" fmla="*/ 994 h 1054"/>
                  <a:gd name="T38" fmla="*/ 390 w 781"/>
                  <a:gd name="T39" fmla="*/ 1017 h 1054"/>
                  <a:gd name="T40" fmla="*/ 431 w 781"/>
                  <a:gd name="T41" fmla="*/ 1049 h 1054"/>
                  <a:gd name="T42" fmla="*/ 474 w 781"/>
                  <a:gd name="T43" fmla="*/ 1037 h 1054"/>
                  <a:gd name="T44" fmla="*/ 508 w 781"/>
                  <a:gd name="T45" fmla="*/ 1039 h 1054"/>
                  <a:gd name="T46" fmla="*/ 553 w 781"/>
                  <a:gd name="T47" fmla="*/ 1040 h 1054"/>
                  <a:gd name="T48" fmla="*/ 597 w 781"/>
                  <a:gd name="T49" fmla="*/ 995 h 1054"/>
                  <a:gd name="T50" fmla="*/ 669 w 781"/>
                  <a:gd name="T51" fmla="*/ 976 h 1054"/>
                  <a:gd name="T52" fmla="*/ 628 w 781"/>
                  <a:gd name="T53" fmla="*/ 912 h 1054"/>
                  <a:gd name="T54" fmla="*/ 610 w 781"/>
                  <a:gd name="T55" fmla="*/ 882 h 1054"/>
                  <a:gd name="T56" fmla="*/ 587 w 781"/>
                  <a:gd name="T57" fmla="*/ 846 h 1054"/>
                  <a:gd name="T58" fmla="*/ 542 w 781"/>
                  <a:gd name="T59" fmla="*/ 802 h 1054"/>
                  <a:gd name="T60" fmla="*/ 568 w 781"/>
                  <a:gd name="T61" fmla="*/ 792 h 1054"/>
                  <a:gd name="T62" fmla="*/ 580 w 781"/>
                  <a:gd name="T63" fmla="*/ 719 h 1054"/>
                  <a:gd name="T64" fmla="*/ 603 w 781"/>
                  <a:gd name="T65" fmla="*/ 656 h 1054"/>
                  <a:gd name="T66" fmla="*/ 621 w 781"/>
                  <a:gd name="T67" fmla="*/ 631 h 1054"/>
                  <a:gd name="T68" fmla="*/ 642 w 781"/>
                  <a:gd name="T69" fmla="*/ 596 h 1054"/>
                  <a:gd name="T70" fmla="*/ 677 w 781"/>
                  <a:gd name="T71" fmla="*/ 555 h 1054"/>
                  <a:gd name="T72" fmla="*/ 691 w 781"/>
                  <a:gd name="T73" fmla="*/ 471 h 1054"/>
                  <a:gd name="T74" fmla="*/ 696 w 781"/>
                  <a:gd name="T75" fmla="*/ 414 h 1054"/>
                  <a:gd name="T76" fmla="*/ 703 w 781"/>
                  <a:gd name="T77" fmla="*/ 346 h 1054"/>
                  <a:gd name="T78" fmla="*/ 733 w 781"/>
                  <a:gd name="T79" fmla="*/ 321 h 1054"/>
                  <a:gd name="T80" fmla="*/ 781 w 781"/>
                  <a:gd name="T81" fmla="*/ 271 h 1054"/>
                  <a:gd name="T82" fmla="*/ 722 w 781"/>
                  <a:gd name="T83" fmla="*/ 228 h 1054"/>
                  <a:gd name="T84" fmla="*/ 708 w 781"/>
                  <a:gd name="T85" fmla="*/ 127 h 1054"/>
                  <a:gd name="T86" fmla="*/ 696 w 781"/>
                  <a:gd name="T87" fmla="*/ 84 h 1054"/>
                  <a:gd name="T88" fmla="*/ 661 w 781"/>
                  <a:gd name="T89" fmla="*/ 23 h 1054"/>
                  <a:gd name="T90" fmla="*/ 618 w 781"/>
                  <a:gd name="T91" fmla="*/ 15 h 10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81" h="1054">
                    <a:moveTo>
                      <a:pt x="601" y="16"/>
                    </a:moveTo>
                    <a:cubicBezTo>
                      <a:pt x="601" y="16"/>
                      <a:pt x="601" y="39"/>
                      <a:pt x="591" y="43"/>
                    </a:cubicBezTo>
                    <a:cubicBezTo>
                      <a:pt x="581" y="47"/>
                      <a:pt x="579" y="43"/>
                      <a:pt x="569" y="46"/>
                    </a:cubicBezTo>
                    <a:cubicBezTo>
                      <a:pt x="559" y="49"/>
                      <a:pt x="560" y="70"/>
                      <a:pt x="547" y="77"/>
                    </a:cubicBezTo>
                    <a:cubicBezTo>
                      <a:pt x="534" y="84"/>
                      <a:pt x="522" y="59"/>
                      <a:pt x="522" y="59"/>
                    </a:cubicBezTo>
                    <a:cubicBezTo>
                      <a:pt x="443" y="56"/>
                      <a:pt x="443" y="56"/>
                      <a:pt x="443" y="56"/>
                    </a:cubicBezTo>
                    <a:cubicBezTo>
                      <a:pt x="443" y="56"/>
                      <a:pt x="445" y="46"/>
                      <a:pt x="438" y="48"/>
                    </a:cubicBezTo>
                    <a:cubicBezTo>
                      <a:pt x="431" y="50"/>
                      <a:pt x="429" y="60"/>
                      <a:pt x="429" y="60"/>
                    </a:cubicBezTo>
                    <a:cubicBezTo>
                      <a:pt x="143" y="56"/>
                      <a:pt x="143" y="56"/>
                      <a:pt x="143" y="56"/>
                    </a:cubicBezTo>
                    <a:cubicBezTo>
                      <a:pt x="144" y="164"/>
                      <a:pt x="144" y="164"/>
                      <a:pt x="144" y="164"/>
                    </a:cubicBezTo>
                    <a:cubicBezTo>
                      <a:pt x="96" y="165"/>
                      <a:pt x="96" y="165"/>
                      <a:pt x="96" y="165"/>
                    </a:cubicBezTo>
                    <a:cubicBezTo>
                      <a:pt x="101" y="398"/>
                      <a:pt x="101" y="398"/>
                      <a:pt x="101" y="398"/>
                    </a:cubicBezTo>
                    <a:cubicBezTo>
                      <a:pt x="101" y="398"/>
                      <a:pt x="69" y="393"/>
                      <a:pt x="56" y="397"/>
                    </a:cubicBezTo>
                    <a:cubicBezTo>
                      <a:pt x="43" y="401"/>
                      <a:pt x="52" y="412"/>
                      <a:pt x="54" y="420"/>
                    </a:cubicBezTo>
                    <a:cubicBezTo>
                      <a:pt x="56" y="428"/>
                      <a:pt x="47" y="428"/>
                      <a:pt x="41" y="434"/>
                    </a:cubicBezTo>
                    <a:cubicBezTo>
                      <a:pt x="35" y="440"/>
                      <a:pt x="37" y="452"/>
                      <a:pt x="37" y="452"/>
                    </a:cubicBezTo>
                    <a:cubicBezTo>
                      <a:pt x="27" y="452"/>
                      <a:pt x="27" y="452"/>
                      <a:pt x="27" y="452"/>
                    </a:cubicBezTo>
                    <a:cubicBezTo>
                      <a:pt x="30" y="468"/>
                      <a:pt x="30" y="468"/>
                      <a:pt x="30" y="468"/>
                    </a:cubicBezTo>
                    <a:cubicBezTo>
                      <a:pt x="35" y="479"/>
                      <a:pt x="35" y="479"/>
                      <a:pt x="35" y="479"/>
                    </a:cubicBezTo>
                    <a:cubicBezTo>
                      <a:pt x="24" y="486"/>
                      <a:pt x="24" y="486"/>
                      <a:pt x="24" y="486"/>
                    </a:cubicBezTo>
                    <a:cubicBezTo>
                      <a:pt x="24" y="486"/>
                      <a:pt x="9" y="494"/>
                      <a:pt x="15" y="504"/>
                    </a:cubicBezTo>
                    <a:cubicBezTo>
                      <a:pt x="21" y="514"/>
                      <a:pt x="24" y="518"/>
                      <a:pt x="22" y="527"/>
                    </a:cubicBezTo>
                    <a:cubicBezTo>
                      <a:pt x="20" y="536"/>
                      <a:pt x="6" y="536"/>
                      <a:pt x="3" y="547"/>
                    </a:cubicBezTo>
                    <a:cubicBezTo>
                      <a:pt x="0" y="558"/>
                      <a:pt x="6" y="563"/>
                      <a:pt x="11" y="565"/>
                    </a:cubicBezTo>
                    <a:cubicBezTo>
                      <a:pt x="16" y="567"/>
                      <a:pt x="21" y="557"/>
                      <a:pt x="28" y="560"/>
                    </a:cubicBezTo>
                    <a:cubicBezTo>
                      <a:pt x="35" y="563"/>
                      <a:pt x="33" y="590"/>
                      <a:pt x="33" y="590"/>
                    </a:cubicBezTo>
                    <a:cubicBezTo>
                      <a:pt x="42" y="598"/>
                      <a:pt x="42" y="598"/>
                      <a:pt x="42" y="598"/>
                    </a:cubicBezTo>
                    <a:cubicBezTo>
                      <a:pt x="31" y="603"/>
                      <a:pt x="31" y="603"/>
                      <a:pt x="31" y="603"/>
                    </a:cubicBezTo>
                    <a:cubicBezTo>
                      <a:pt x="35" y="620"/>
                      <a:pt x="35" y="620"/>
                      <a:pt x="35" y="620"/>
                    </a:cubicBezTo>
                    <a:cubicBezTo>
                      <a:pt x="35" y="620"/>
                      <a:pt x="44" y="621"/>
                      <a:pt x="56" y="634"/>
                    </a:cubicBezTo>
                    <a:cubicBezTo>
                      <a:pt x="68" y="647"/>
                      <a:pt x="50" y="643"/>
                      <a:pt x="50" y="643"/>
                    </a:cubicBezTo>
                    <a:cubicBezTo>
                      <a:pt x="52" y="659"/>
                      <a:pt x="52" y="659"/>
                      <a:pt x="52" y="659"/>
                    </a:cubicBezTo>
                    <a:cubicBezTo>
                      <a:pt x="52" y="659"/>
                      <a:pt x="89" y="692"/>
                      <a:pt x="93" y="714"/>
                    </a:cubicBezTo>
                    <a:cubicBezTo>
                      <a:pt x="97" y="736"/>
                      <a:pt x="82" y="743"/>
                      <a:pt x="81" y="753"/>
                    </a:cubicBezTo>
                    <a:cubicBezTo>
                      <a:pt x="80" y="763"/>
                      <a:pt x="89" y="760"/>
                      <a:pt x="89" y="760"/>
                    </a:cubicBezTo>
                    <a:cubicBezTo>
                      <a:pt x="83" y="771"/>
                      <a:pt x="83" y="771"/>
                      <a:pt x="83" y="771"/>
                    </a:cubicBezTo>
                    <a:cubicBezTo>
                      <a:pt x="117" y="774"/>
                      <a:pt x="117" y="774"/>
                      <a:pt x="117" y="774"/>
                    </a:cubicBezTo>
                    <a:cubicBezTo>
                      <a:pt x="117" y="781"/>
                      <a:pt x="117" y="781"/>
                      <a:pt x="117" y="781"/>
                    </a:cubicBezTo>
                    <a:cubicBezTo>
                      <a:pt x="117" y="781"/>
                      <a:pt x="110" y="789"/>
                      <a:pt x="116" y="797"/>
                    </a:cubicBezTo>
                    <a:cubicBezTo>
                      <a:pt x="122" y="805"/>
                      <a:pt x="152" y="803"/>
                      <a:pt x="152" y="803"/>
                    </a:cubicBezTo>
                    <a:cubicBezTo>
                      <a:pt x="152" y="816"/>
                      <a:pt x="152" y="816"/>
                      <a:pt x="152" y="816"/>
                    </a:cubicBezTo>
                    <a:cubicBezTo>
                      <a:pt x="152" y="816"/>
                      <a:pt x="168" y="815"/>
                      <a:pt x="171" y="826"/>
                    </a:cubicBezTo>
                    <a:cubicBezTo>
                      <a:pt x="174" y="837"/>
                      <a:pt x="159" y="831"/>
                      <a:pt x="165" y="841"/>
                    </a:cubicBezTo>
                    <a:cubicBezTo>
                      <a:pt x="171" y="851"/>
                      <a:pt x="185" y="853"/>
                      <a:pt x="192" y="854"/>
                    </a:cubicBezTo>
                    <a:cubicBezTo>
                      <a:pt x="199" y="855"/>
                      <a:pt x="208" y="878"/>
                      <a:pt x="208" y="878"/>
                    </a:cubicBezTo>
                    <a:cubicBezTo>
                      <a:pt x="208" y="878"/>
                      <a:pt x="223" y="879"/>
                      <a:pt x="223" y="887"/>
                    </a:cubicBezTo>
                    <a:cubicBezTo>
                      <a:pt x="223" y="895"/>
                      <a:pt x="216" y="889"/>
                      <a:pt x="217" y="895"/>
                    </a:cubicBezTo>
                    <a:cubicBezTo>
                      <a:pt x="218" y="901"/>
                      <a:pt x="225" y="904"/>
                      <a:pt x="225" y="904"/>
                    </a:cubicBezTo>
                    <a:cubicBezTo>
                      <a:pt x="224" y="917"/>
                      <a:pt x="224" y="917"/>
                      <a:pt x="224" y="917"/>
                    </a:cubicBezTo>
                    <a:cubicBezTo>
                      <a:pt x="239" y="918"/>
                      <a:pt x="239" y="918"/>
                      <a:pt x="239" y="918"/>
                    </a:cubicBezTo>
                    <a:cubicBezTo>
                      <a:pt x="239" y="918"/>
                      <a:pt x="248" y="924"/>
                      <a:pt x="256" y="932"/>
                    </a:cubicBezTo>
                    <a:cubicBezTo>
                      <a:pt x="264" y="940"/>
                      <a:pt x="260" y="954"/>
                      <a:pt x="260" y="954"/>
                    </a:cubicBezTo>
                    <a:cubicBezTo>
                      <a:pt x="264" y="962"/>
                      <a:pt x="264" y="962"/>
                      <a:pt x="264" y="962"/>
                    </a:cubicBezTo>
                    <a:cubicBezTo>
                      <a:pt x="285" y="981"/>
                      <a:pt x="285" y="981"/>
                      <a:pt x="285" y="981"/>
                    </a:cubicBezTo>
                    <a:cubicBezTo>
                      <a:pt x="285" y="995"/>
                      <a:pt x="285" y="995"/>
                      <a:pt x="285" y="995"/>
                    </a:cubicBezTo>
                    <a:cubicBezTo>
                      <a:pt x="316" y="1010"/>
                      <a:pt x="316" y="1010"/>
                      <a:pt x="316" y="1010"/>
                    </a:cubicBezTo>
                    <a:cubicBezTo>
                      <a:pt x="316" y="1010"/>
                      <a:pt x="324" y="994"/>
                      <a:pt x="333" y="994"/>
                    </a:cubicBezTo>
                    <a:cubicBezTo>
                      <a:pt x="342" y="994"/>
                      <a:pt x="343" y="1006"/>
                      <a:pt x="354" y="1006"/>
                    </a:cubicBezTo>
                    <a:cubicBezTo>
                      <a:pt x="365" y="1006"/>
                      <a:pt x="364" y="988"/>
                      <a:pt x="371" y="988"/>
                    </a:cubicBezTo>
                    <a:cubicBezTo>
                      <a:pt x="378" y="988"/>
                      <a:pt x="382" y="1005"/>
                      <a:pt x="390" y="1017"/>
                    </a:cubicBezTo>
                    <a:cubicBezTo>
                      <a:pt x="398" y="1029"/>
                      <a:pt x="417" y="1033"/>
                      <a:pt x="417" y="1033"/>
                    </a:cubicBezTo>
                    <a:cubicBezTo>
                      <a:pt x="420" y="1047"/>
                      <a:pt x="420" y="1047"/>
                      <a:pt x="420" y="1047"/>
                    </a:cubicBezTo>
                    <a:cubicBezTo>
                      <a:pt x="431" y="1049"/>
                      <a:pt x="431" y="1049"/>
                      <a:pt x="431" y="1049"/>
                    </a:cubicBezTo>
                    <a:cubicBezTo>
                      <a:pt x="431" y="1049"/>
                      <a:pt x="442" y="1036"/>
                      <a:pt x="447" y="1036"/>
                    </a:cubicBezTo>
                    <a:cubicBezTo>
                      <a:pt x="452" y="1036"/>
                      <a:pt x="461" y="1043"/>
                      <a:pt x="467" y="1044"/>
                    </a:cubicBezTo>
                    <a:cubicBezTo>
                      <a:pt x="473" y="1045"/>
                      <a:pt x="474" y="1037"/>
                      <a:pt x="474" y="1037"/>
                    </a:cubicBezTo>
                    <a:cubicBezTo>
                      <a:pt x="481" y="1036"/>
                      <a:pt x="481" y="1036"/>
                      <a:pt x="481" y="1036"/>
                    </a:cubicBezTo>
                    <a:cubicBezTo>
                      <a:pt x="495" y="1054"/>
                      <a:pt x="495" y="1054"/>
                      <a:pt x="495" y="1054"/>
                    </a:cubicBezTo>
                    <a:cubicBezTo>
                      <a:pt x="508" y="1039"/>
                      <a:pt x="508" y="1039"/>
                      <a:pt x="508" y="1039"/>
                    </a:cubicBezTo>
                    <a:cubicBezTo>
                      <a:pt x="524" y="1040"/>
                      <a:pt x="524" y="1040"/>
                      <a:pt x="524" y="1040"/>
                    </a:cubicBezTo>
                    <a:cubicBezTo>
                      <a:pt x="524" y="1040"/>
                      <a:pt x="531" y="1032"/>
                      <a:pt x="536" y="1032"/>
                    </a:cubicBezTo>
                    <a:cubicBezTo>
                      <a:pt x="541" y="1032"/>
                      <a:pt x="540" y="1038"/>
                      <a:pt x="553" y="1040"/>
                    </a:cubicBezTo>
                    <a:cubicBezTo>
                      <a:pt x="566" y="1042"/>
                      <a:pt x="575" y="1015"/>
                      <a:pt x="575" y="1015"/>
                    </a:cubicBezTo>
                    <a:cubicBezTo>
                      <a:pt x="583" y="1015"/>
                      <a:pt x="583" y="1015"/>
                      <a:pt x="583" y="1015"/>
                    </a:cubicBezTo>
                    <a:cubicBezTo>
                      <a:pt x="597" y="995"/>
                      <a:pt x="597" y="995"/>
                      <a:pt x="597" y="995"/>
                    </a:cubicBezTo>
                    <a:cubicBezTo>
                      <a:pt x="657" y="994"/>
                      <a:pt x="657" y="994"/>
                      <a:pt x="657" y="994"/>
                    </a:cubicBezTo>
                    <a:cubicBezTo>
                      <a:pt x="670" y="986"/>
                      <a:pt x="670" y="986"/>
                      <a:pt x="670" y="986"/>
                    </a:cubicBezTo>
                    <a:cubicBezTo>
                      <a:pt x="669" y="976"/>
                      <a:pt x="669" y="976"/>
                      <a:pt x="669" y="976"/>
                    </a:cubicBezTo>
                    <a:cubicBezTo>
                      <a:pt x="669" y="976"/>
                      <a:pt x="670" y="962"/>
                      <a:pt x="665" y="954"/>
                    </a:cubicBezTo>
                    <a:cubicBezTo>
                      <a:pt x="660" y="946"/>
                      <a:pt x="650" y="955"/>
                      <a:pt x="640" y="947"/>
                    </a:cubicBezTo>
                    <a:cubicBezTo>
                      <a:pt x="630" y="939"/>
                      <a:pt x="628" y="912"/>
                      <a:pt x="628" y="912"/>
                    </a:cubicBezTo>
                    <a:cubicBezTo>
                      <a:pt x="621" y="908"/>
                      <a:pt x="621" y="908"/>
                      <a:pt x="621" y="908"/>
                    </a:cubicBezTo>
                    <a:cubicBezTo>
                      <a:pt x="619" y="883"/>
                      <a:pt x="619" y="883"/>
                      <a:pt x="619" y="883"/>
                    </a:cubicBezTo>
                    <a:cubicBezTo>
                      <a:pt x="610" y="882"/>
                      <a:pt x="610" y="882"/>
                      <a:pt x="610" y="882"/>
                    </a:cubicBezTo>
                    <a:cubicBezTo>
                      <a:pt x="607" y="869"/>
                      <a:pt x="607" y="869"/>
                      <a:pt x="607" y="869"/>
                    </a:cubicBezTo>
                    <a:cubicBezTo>
                      <a:pt x="607" y="869"/>
                      <a:pt x="596" y="871"/>
                      <a:pt x="592" y="866"/>
                    </a:cubicBezTo>
                    <a:cubicBezTo>
                      <a:pt x="588" y="861"/>
                      <a:pt x="587" y="846"/>
                      <a:pt x="587" y="846"/>
                    </a:cubicBezTo>
                    <a:cubicBezTo>
                      <a:pt x="587" y="846"/>
                      <a:pt x="570" y="831"/>
                      <a:pt x="562" y="827"/>
                    </a:cubicBezTo>
                    <a:cubicBezTo>
                      <a:pt x="554" y="823"/>
                      <a:pt x="538" y="829"/>
                      <a:pt x="535" y="824"/>
                    </a:cubicBezTo>
                    <a:cubicBezTo>
                      <a:pt x="532" y="819"/>
                      <a:pt x="542" y="802"/>
                      <a:pt x="542" y="802"/>
                    </a:cubicBezTo>
                    <a:cubicBezTo>
                      <a:pt x="540" y="786"/>
                      <a:pt x="540" y="786"/>
                      <a:pt x="540" y="786"/>
                    </a:cubicBezTo>
                    <a:cubicBezTo>
                      <a:pt x="563" y="787"/>
                      <a:pt x="563" y="787"/>
                      <a:pt x="563" y="787"/>
                    </a:cubicBezTo>
                    <a:cubicBezTo>
                      <a:pt x="568" y="792"/>
                      <a:pt x="568" y="792"/>
                      <a:pt x="568" y="792"/>
                    </a:cubicBezTo>
                    <a:cubicBezTo>
                      <a:pt x="568" y="792"/>
                      <a:pt x="575" y="787"/>
                      <a:pt x="582" y="782"/>
                    </a:cubicBezTo>
                    <a:cubicBezTo>
                      <a:pt x="589" y="777"/>
                      <a:pt x="586" y="746"/>
                      <a:pt x="586" y="746"/>
                    </a:cubicBezTo>
                    <a:cubicBezTo>
                      <a:pt x="586" y="746"/>
                      <a:pt x="579" y="727"/>
                      <a:pt x="580" y="719"/>
                    </a:cubicBezTo>
                    <a:cubicBezTo>
                      <a:pt x="581" y="711"/>
                      <a:pt x="596" y="700"/>
                      <a:pt x="597" y="697"/>
                    </a:cubicBezTo>
                    <a:cubicBezTo>
                      <a:pt x="598" y="694"/>
                      <a:pt x="592" y="683"/>
                      <a:pt x="592" y="676"/>
                    </a:cubicBezTo>
                    <a:cubicBezTo>
                      <a:pt x="592" y="669"/>
                      <a:pt x="598" y="656"/>
                      <a:pt x="603" y="656"/>
                    </a:cubicBezTo>
                    <a:cubicBezTo>
                      <a:pt x="608" y="656"/>
                      <a:pt x="610" y="667"/>
                      <a:pt x="610" y="667"/>
                    </a:cubicBezTo>
                    <a:cubicBezTo>
                      <a:pt x="610" y="667"/>
                      <a:pt x="616" y="670"/>
                      <a:pt x="622" y="662"/>
                    </a:cubicBezTo>
                    <a:cubicBezTo>
                      <a:pt x="628" y="654"/>
                      <a:pt x="621" y="631"/>
                      <a:pt x="621" y="631"/>
                    </a:cubicBezTo>
                    <a:cubicBezTo>
                      <a:pt x="628" y="620"/>
                      <a:pt x="628" y="620"/>
                      <a:pt x="628" y="620"/>
                    </a:cubicBezTo>
                    <a:cubicBezTo>
                      <a:pt x="626" y="605"/>
                      <a:pt x="626" y="605"/>
                      <a:pt x="626" y="605"/>
                    </a:cubicBezTo>
                    <a:cubicBezTo>
                      <a:pt x="626" y="605"/>
                      <a:pt x="637" y="601"/>
                      <a:pt x="642" y="596"/>
                    </a:cubicBezTo>
                    <a:cubicBezTo>
                      <a:pt x="647" y="591"/>
                      <a:pt x="642" y="581"/>
                      <a:pt x="643" y="576"/>
                    </a:cubicBezTo>
                    <a:cubicBezTo>
                      <a:pt x="644" y="571"/>
                      <a:pt x="655" y="557"/>
                      <a:pt x="655" y="557"/>
                    </a:cubicBezTo>
                    <a:cubicBezTo>
                      <a:pt x="677" y="555"/>
                      <a:pt x="677" y="555"/>
                      <a:pt x="677" y="555"/>
                    </a:cubicBezTo>
                    <a:cubicBezTo>
                      <a:pt x="677" y="555"/>
                      <a:pt x="675" y="537"/>
                      <a:pt x="675" y="529"/>
                    </a:cubicBezTo>
                    <a:cubicBezTo>
                      <a:pt x="675" y="521"/>
                      <a:pt x="691" y="501"/>
                      <a:pt x="691" y="501"/>
                    </a:cubicBezTo>
                    <a:cubicBezTo>
                      <a:pt x="691" y="471"/>
                      <a:pt x="691" y="471"/>
                      <a:pt x="691" y="471"/>
                    </a:cubicBezTo>
                    <a:cubicBezTo>
                      <a:pt x="689" y="438"/>
                      <a:pt x="689" y="438"/>
                      <a:pt x="689" y="438"/>
                    </a:cubicBezTo>
                    <a:cubicBezTo>
                      <a:pt x="689" y="438"/>
                      <a:pt x="683" y="436"/>
                      <a:pt x="684" y="428"/>
                    </a:cubicBezTo>
                    <a:cubicBezTo>
                      <a:pt x="685" y="420"/>
                      <a:pt x="696" y="421"/>
                      <a:pt x="696" y="414"/>
                    </a:cubicBezTo>
                    <a:cubicBezTo>
                      <a:pt x="696" y="407"/>
                      <a:pt x="697" y="397"/>
                      <a:pt x="697" y="397"/>
                    </a:cubicBezTo>
                    <a:cubicBezTo>
                      <a:pt x="697" y="397"/>
                      <a:pt x="709" y="395"/>
                      <a:pt x="709" y="377"/>
                    </a:cubicBezTo>
                    <a:cubicBezTo>
                      <a:pt x="709" y="359"/>
                      <a:pt x="703" y="349"/>
                      <a:pt x="703" y="346"/>
                    </a:cubicBezTo>
                    <a:cubicBezTo>
                      <a:pt x="703" y="343"/>
                      <a:pt x="714" y="338"/>
                      <a:pt x="714" y="338"/>
                    </a:cubicBezTo>
                    <a:cubicBezTo>
                      <a:pt x="714" y="328"/>
                      <a:pt x="714" y="328"/>
                      <a:pt x="714" y="328"/>
                    </a:cubicBezTo>
                    <a:cubicBezTo>
                      <a:pt x="714" y="328"/>
                      <a:pt x="732" y="328"/>
                      <a:pt x="733" y="321"/>
                    </a:cubicBezTo>
                    <a:cubicBezTo>
                      <a:pt x="734" y="314"/>
                      <a:pt x="734" y="306"/>
                      <a:pt x="734" y="306"/>
                    </a:cubicBezTo>
                    <a:cubicBezTo>
                      <a:pt x="734" y="306"/>
                      <a:pt x="761" y="304"/>
                      <a:pt x="770" y="296"/>
                    </a:cubicBezTo>
                    <a:cubicBezTo>
                      <a:pt x="775" y="292"/>
                      <a:pt x="779" y="280"/>
                      <a:pt x="781" y="271"/>
                    </a:cubicBezTo>
                    <a:cubicBezTo>
                      <a:pt x="756" y="256"/>
                      <a:pt x="756" y="256"/>
                      <a:pt x="756" y="256"/>
                    </a:cubicBezTo>
                    <a:cubicBezTo>
                      <a:pt x="756" y="256"/>
                      <a:pt x="753" y="240"/>
                      <a:pt x="747" y="236"/>
                    </a:cubicBezTo>
                    <a:cubicBezTo>
                      <a:pt x="741" y="232"/>
                      <a:pt x="726" y="242"/>
                      <a:pt x="722" y="228"/>
                    </a:cubicBezTo>
                    <a:cubicBezTo>
                      <a:pt x="718" y="214"/>
                      <a:pt x="717" y="176"/>
                      <a:pt x="717" y="176"/>
                    </a:cubicBezTo>
                    <a:cubicBezTo>
                      <a:pt x="710" y="174"/>
                      <a:pt x="710" y="174"/>
                      <a:pt x="710" y="174"/>
                    </a:cubicBezTo>
                    <a:cubicBezTo>
                      <a:pt x="710" y="174"/>
                      <a:pt x="708" y="132"/>
                      <a:pt x="708" y="127"/>
                    </a:cubicBezTo>
                    <a:cubicBezTo>
                      <a:pt x="708" y="122"/>
                      <a:pt x="703" y="111"/>
                      <a:pt x="703" y="111"/>
                    </a:cubicBezTo>
                    <a:cubicBezTo>
                      <a:pt x="715" y="108"/>
                      <a:pt x="715" y="108"/>
                      <a:pt x="715" y="108"/>
                    </a:cubicBezTo>
                    <a:cubicBezTo>
                      <a:pt x="715" y="108"/>
                      <a:pt x="697" y="93"/>
                      <a:pt x="696" y="84"/>
                    </a:cubicBezTo>
                    <a:cubicBezTo>
                      <a:pt x="695" y="75"/>
                      <a:pt x="701" y="59"/>
                      <a:pt x="693" y="53"/>
                    </a:cubicBezTo>
                    <a:cubicBezTo>
                      <a:pt x="685" y="47"/>
                      <a:pt x="674" y="39"/>
                      <a:pt x="674" y="39"/>
                    </a:cubicBezTo>
                    <a:cubicBezTo>
                      <a:pt x="674" y="39"/>
                      <a:pt x="665" y="27"/>
                      <a:pt x="661" y="23"/>
                    </a:cubicBezTo>
                    <a:cubicBezTo>
                      <a:pt x="657" y="19"/>
                      <a:pt x="656" y="26"/>
                      <a:pt x="650" y="22"/>
                    </a:cubicBezTo>
                    <a:cubicBezTo>
                      <a:pt x="646" y="19"/>
                      <a:pt x="639" y="10"/>
                      <a:pt x="634" y="0"/>
                    </a:cubicBezTo>
                    <a:cubicBezTo>
                      <a:pt x="618" y="15"/>
                      <a:pt x="618" y="15"/>
                      <a:pt x="618" y="15"/>
                    </a:cubicBezTo>
                    <a:lnTo>
                      <a:pt x="601" y="16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" name="Freeform 314">
                <a:extLst>
                  <a:ext uri="{FF2B5EF4-FFF2-40B4-BE49-F238E27FC236}">
                    <a16:creationId xmlns:a16="http://schemas.microsoft.com/office/drawing/2014/main" id="{A8DC75E0-1F22-5AA8-5541-164803836D3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369" y="-17411"/>
                <a:ext cx="470" cy="1875"/>
              </a:xfrm>
              <a:custGeom>
                <a:avLst/>
                <a:gdLst>
                  <a:gd name="T0" fmla="*/ 0 w 199"/>
                  <a:gd name="T1" fmla="*/ 794 h 794"/>
                  <a:gd name="T2" fmla="*/ 9 w 199"/>
                  <a:gd name="T3" fmla="*/ 791 h 794"/>
                  <a:gd name="T4" fmla="*/ 25 w 199"/>
                  <a:gd name="T5" fmla="*/ 764 h 794"/>
                  <a:gd name="T6" fmla="*/ 12 w 199"/>
                  <a:gd name="T7" fmla="*/ 755 h 794"/>
                  <a:gd name="T8" fmla="*/ 0 w 199"/>
                  <a:gd name="T9" fmla="*/ 794 h 794"/>
                  <a:gd name="T10" fmla="*/ 76 w 199"/>
                  <a:gd name="T11" fmla="*/ 712 h 794"/>
                  <a:gd name="T12" fmla="*/ 49 w 199"/>
                  <a:gd name="T13" fmla="*/ 708 h 794"/>
                  <a:gd name="T14" fmla="*/ 36 w 199"/>
                  <a:gd name="T15" fmla="*/ 755 h 794"/>
                  <a:gd name="T16" fmla="*/ 43 w 199"/>
                  <a:gd name="T17" fmla="*/ 757 h 794"/>
                  <a:gd name="T18" fmla="*/ 55 w 199"/>
                  <a:gd name="T19" fmla="*/ 733 h 794"/>
                  <a:gd name="T20" fmla="*/ 88 w 199"/>
                  <a:gd name="T21" fmla="*/ 715 h 794"/>
                  <a:gd name="T22" fmla="*/ 79 w 199"/>
                  <a:gd name="T23" fmla="*/ 699 h 794"/>
                  <a:gd name="T24" fmla="*/ 76 w 199"/>
                  <a:gd name="T25" fmla="*/ 712 h 794"/>
                  <a:gd name="T26" fmla="*/ 128 w 199"/>
                  <a:gd name="T27" fmla="*/ 672 h 794"/>
                  <a:gd name="T28" fmla="*/ 117 w 199"/>
                  <a:gd name="T29" fmla="*/ 697 h 794"/>
                  <a:gd name="T30" fmla="*/ 128 w 199"/>
                  <a:gd name="T31" fmla="*/ 672 h 794"/>
                  <a:gd name="T32" fmla="*/ 189 w 199"/>
                  <a:gd name="T33" fmla="*/ 423 h 794"/>
                  <a:gd name="T34" fmla="*/ 177 w 199"/>
                  <a:gd name="T35" fmla="*/ 434 h 794"/>
                  <a:gd name="T36" fmla="*/ 185 w 199"/>
                  <a:gd name="T37" fmla="*/ 449 h 794"/>
                  <a:gd name="T38" fmla="*/ 173 w 199"/>
                  <a:gd name="T39" fmla="*/ 449 h 794"/>
                  <a:gd name="T40" fmla="*/ 173 w 199"/>
                  <a:gd name="T41" fmla="*/ 469 h 794"/>
                  <a:gd name="T42" fmla="*/ 189 w 199"/>
                  <a:gd name="T43" fmla="*/ 467 h 794"/>
                  <a:gd name="T44" fmla="*/ 198 w 199"/>
                  <a:gd name="T45" fmla="*/ 456 h 794"/>
                  <a:gd name="T46" fmla="*/ 189 w 199"/>
                  <a:gd name="T47" fmla="*/ 437 h 794"/>
                  <a:gd name="T48" fmla="*/ 199 w 199"/>
                  <a:gd name="T49" fmla="*/ 435 h 794"/>
                  <a:gd name="T50" fmla="*/ 189 w 199"/>
                  <a:gd name="T51" fmla="*/ 423 h 794"/>
                  <a:gd name="T52" fmla="*/ 184 w 199"/>
                  <a:gd name="T53" fmla="*/ 513 h 794"/>
                  <a:gd name="T54" fmla="*/ 195 w 199"/>
                  <a:gd name="T55" fmla="*/ 499 h 794"/>
                  <a:gd name="T56" fmla="*/ 178 w 199"/>
                  <a:gd name="T57" fmla="*/ 485 h 794"/>
                  <a:gd name="T58" fmla="*/ 184 w 199"/>
                  <a:gd name="T59" fmla="*/ 513 h 794"/>
                  <a:gd name="T60" fmla="*/ 170 w 199"/>
                  <a:gd name="T61" fmla="*/ 636 h 794"/>
                  <a:gd name="T62" fmla="*/ 171 w 199"/>
                  <a:gd name="T63" fmla="*/ 615 h 794"/>
                  <a:gd name="T64" fmla="*/ 162 w 199"/>
                  <a:gd name="T65" fmla="*/ 632 h 794"/>
                  <a:gd name="T66" fmla="*/ 170 w 199"/>
                  <a:gd name="T67" fmla="*/ 636 h 794"/>
                  <a:gd name="T68" fmla="*/ 169 w 199"/>
                  <a:gd name="T69" fmla="*/ 573 h 794"/>
                  <a:gd name="T70" fmla="*/ 181 w 199"/>
                  <a:gd name="T71" fmla="*/ 571 h 794"/>
                  <a:gd name="T72" fmla="*/ 169 w 199"/>
                  <a:gd name="T73" fmla="*/ 559 h 794"/>
                  <a:gd name="T74" fmla="*/ 169 w 199"/>
                  <a:gd name="T75" fmla="*/ 573 h 794"/>
                  <a:gd name="T76" fmla="*/ 82 w 199"/>
                  <a:gd name="T77" fmla="*/ 14 h 794"/>
                  <a:gd name="T78" fmla="*/ 94 w 199"/>
                  <a:gd name="T79" fmla="*/ 38 h 794"/>
                  <a:gd name="T80" fmla="*/ 114 w 199"/>
                  <a:gd name="T81" fmla="*/ 14 h 794"/>
                  <a:gd name="T82" fmla="*/ 106 w 199"/>
                  <a:gd name="T83" fmla="*/ 0 h 794"/>
                  <a:gd name="T84" fmla="*/ 82 w 199"/>
                  <a:gd name="T85" fmla="*/ 14 h 7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99" h="794">
                    <a:moveTo>
                      <a:pt x="0" y="794"/>
                    </a:moveTo>
                    <a:cubicBezTo>
                      <a:pt x="9" y="791"/>
                      <a:pt x="9" y="791"/>
                      <a:pt x="9" y="791"/>
                    </a:cubicBezTo>
                    <a:cubicBezTo>
                      <a:pt x="25" y="764"/>
                      <a:pt x="25" y="764"/>
                      <a:pt x="25" y="764"/>
                    </a:cubicBezTo>
                    <a:cubicBezTo>
                      <a:pt x="12" y="755"/>
                      <a:pt x="12" y="755"/>
                      <a:pt x="12" y="755"/>
                    </a:cubicBezTo>
                    <a:lnTo>
                      <a:pt x="0" y="794"/>
                    </a:lnTo>
                    <a:close/>
                    <a:moveTo>
                      <a:pt x="76" y="712"/>
                    </a:moveTo>
                    <a:cubicBezTo>
                      <a:pt x="49" y="708"/>
                      <a:pt x="49" y="708"/>
                      <a:pt x="49" y="708"/>
                    </a:cubicBezTo>
                    <a:cubicBezTo>
                      <a:pt x="36" y="755"/>
                      <a:pt x="36" y="755"/>
                      <a:pt x="36" y="755"/>
                    </a:cubicBezTo>
                    <a:cubicBezTo>
                      <a:pt x="43" y="757"/>
                      <a:pt x="43" y="757"/>
                      <a:pt x="43" y="757"/>
                    </a:cubicBezTo>
                    <a:cubicBezTo>
                      <a:pt x="55" y="733"/>
                      <a:pt x="55" y="733"/>
                      <a:pt x="55" y="733"/>
                    </a:cubicBezTo>
                    <a:cubicBezTo>
                      <a:pt x="88" y="715"/>
                      <a:pt x="88" y="715"/>
                      <a:pt x="88" y="715"/>
                    </a:cubicBezTo>
                    <a:cubicBezTo>
                      <a:pt x="79" y="699"/>
                      <a:pt x="79" y="699"/>
                      <a:pt x="79" y="699"/>
                    </a:cubicBezTo>
                    <a:lnTo>
                      <a:pt x="76" y="712"/>
                    </a:lnTo>
                    <a:close/>
                    <a:moveTo>
                      <a:pt x="128" y="672"/>
                    </a:moveTo>
                    <a:cubicBezTo>
                      <a:pt x="119" y="670"/>
                      <a:pt x="109" y="694"/>
                      <a:pt x="117" y="697"/>
                    </a:cubicBezTo>
                    <a:cubicBezTo>
                      <a:pt x="128" y="701"/>
                      <a:pt x="138" y="675"/>
                      <a:pt x="128" y="672"/>
                    </a:cubicBezTo>
                    <a:close/>
                    <a:moveTo>
                      <a:pt x="189" y="423"/>
                    </a:moveTo>
                    <a:cubicBezTo>
                      <a:pt x="177" y="434"/>
                      <a:pt x="177" y="434"/>
                      <a:pt x="177" y="434"/>
                    </a:cubicBezTo>
                    <a:cubicBezTo>
                      <a:pt x="185" y="449"/>
                      <a:pt x="185" y="449"/>
                      <a:pt x="185" y="449"/>
                    </a:cubicBezTo>
                    <a:cubicBezTo>
                      <a:pt x="173" y="449"/>
                      <a:pt x="173" y="449"/>
                      <a:pt x="173" y="449"/>
                    </a:cubicBezTo>
                    <a:cubicBezTo>
                      <a:pt x="173" y="469"/>
                      <a:pt x="173" y="469"/>
                      <a:pt x="173" y="469"/>
                    </a:cubicBezTo>
                    <a:cubicBezTo>
                      <a:pt x="189" y="467"/>
                      <a:pt x="189" y="467"/>
                      <a:pt x="189" y="467"/>
                    </a:cubicBezTo>
                    <a:cubicBezTo>
                      <a:pt x="198" y="456"/>
                      <a:pt x="198" y="456"/>
                      <a:pt x="198" y="456"/>
                    </a:cubicBezTo>
                    <a:cubicBezTo>
                      <a:pt x="189" y="437"/>
                      <a:pt x="189" y="437"/>
                      <a:pt x="189" y="437"/>
                    </a:cubicBezTo>
                    <a:cubicBezTo>
                      <a:pt x="199" y="435"/>
                      <a:pt x="199" y="435"/>
                      <a:pt x="199" y="435"/>
                    </a:cubicBezTo>
                    <a:lnTo>
                      <a:pt x="189" y="423"/>
                    </a:lnTo>
                    <a:close/>
                    <a:moveTo>
                      <a:pt x="184" y="513"/>
                    </a:moveTo>
                    <a:cubicBezTo>
                      <a:pt x="195" y="499"/>
                      <a:pt x="195" y="499"/>
                      <a:pt x="195" y="499"/>
                    </a:cubicBezTo>
                    <a:cubicBezTo>
                      <a:pt x="178" y="485"/>
                      <a:pt x="178" y="485"/>
                      <a:pt x="178" y="485"/>
                    </a:cubicBezTo>
                    <a:lnTo>
                      <a:pt x="184" y="513"/>
                    </a:lnTo>
                    <a:close/>
                    <a:moveTo>
                      <a:pt x="170" y="636"/>
                    </a:moveTo>
                    <a:cubicBezTo>
                      <a:pt x="171" y="615"/>
                      <a:pt x="171" y="615"/>
                      <a:pt x="171" y="615"/>
                    </a:cubicBezTo>
                    <a:cubicBezTo>
                      <a:pt x="162" y="632"/>
                      <a:pt x="162" y="632"/>
                      <a:pt x="162" y="632"/>
                    </a:cubicBezTo>
                    <a:lnTo>
                      <a:pt x="170" y="636"/>
                    </a:lnTo>
                    <a:close/>
                    <a:moveTo>
                      <a:pt x="169" y="573"/>
                    </a:moveTo>
                    <a:cubicBezTo>
                      <a:pt x="181" y="571"/>
                      <a:pt x="181" y="571"/>
                      <a:pt x="181" y="571"/>
                    </a:cubicBezTo>
                    <a:cubicBezTo>
                      <a:pt x="169" y="559"/>
                      <a:pt x="169" y="559"/>
                      <a:pt x="169" y="559"/>
                    </a:cubicBezTo>
                    <a:lnTo>
                      <a:pt x="169" y="573"/>
                    </a:lnTo>
                    <a:close/>
                    <a:moveTo>
                      <a:pt x="82" y="14"/>
                    </a:moveTo>
                    <a:cubicBezTo>
                      <a:pt x="94" y="38"/>
                      <a:pt x="94" y="38"/>
                      <a:pt x="94" y="38"/>
                    </a:cubicBezTo>
                    <a:cubicBezTo>
                      <a:pt x="114" y="14"/>
                      <a:pt x="114" y="14"/>
                      <a:pt x="114" y="14"/>
                    </a:cubicBezTo>
                    <a:cubicBezTo>
                      <a:pt x="106" y="0"/>
                      <a:pt x="106" y="0"/>
                      <a:pt x="106" y="0"/>
                    </a:cubicBezTo>
                    <a:lnTo>
                      <a:pt x="82" y="1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" name="Freeform 315">
                <a:extLst>
                  <a:ext uri="{FF2B5EF4-FFF2-40B4-BE49-F238E27FC236}">
                    <a16:creationId xmlns:a16="http://schemas.microsoft.com/office/drawing/2014/main" id="{64677B24-EED6-8258-D2DE-2C5597A27DF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853" y="-12193"/>
                <a:ext cx="180" cy="123"/>
              </a:xfrm>
              <a:custGeom>
                <a:avLst/>
                <a:gdLst>
                  <a:gd name="T0" fmla="*/ 16 w 76"/>
                  <a:gd name="T1" fmla="*/ 34 h 52"/>
                  <a:gd name="T2" fmla="*/ 11 w 76"/>
                  <a:gd name="T3" fmla="*/ 52 h 52"/>
                  <a:gd name="T4" fmla="*/ 16 w 76"/>
                  <a:gd name="T5" fmla="*/ 34 h 52"/>
                  <a:gd name="T6" fmla="*/ 35 w 76"/>
                  <a:gd name="T7" fmla="*/ 8 h 52"/>
                  <a:gd name="T8" fmla="*/ 47 w 76"/>
                  <a:gd name="T9" fmla="*/ 26 h 52"/>
                  <a:gd name="T10" fmla="*/ 58 w 76"/>
                  <a:gd name="T11" fmla="*/ 21 h 52"/>
                  <a:gd name="T12" fmla="*/ 35 w 76"/>
                  <a:gd name="T13" fmla="*/ 8 h 52"/>
                  <a:gd name="T14" fmla="*/ 71 w 76"/>
                  <a:gd name="T15" fmla="*/ 32 h 52"/>
                  <a:gd name="T16" fmla="*/ 58 w 76"/>
                  <a:gd name="T17" fmla="*/ 42 h 52"/>
                  <a:gd name="T18" fmla="*/ 71 w 76"/>
                  <a:gd name="T19" fmla="*/ 3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6" h="52">
                    <a:moveTo>
                      <a:pt x="16" y="34"/>
                    </a:moveTo>
                    <a:cubicBezTo>
                      <a:pt x="0" y="34"/>
                      <a:pt x="11" y="52"/>
                      <a:pt x="11" y="52"/>
                    </a:cubicBezTo>
                    <a:cubicBezTo>
                      <a:pt x="23" y="52"/>
                      <a:pt x="32" y="34"/>
                      <a:pt x="16" y="34"/>
                    </a:cubicBezTo>
                    <a:close/>
                    <a:moveTo>
                      <a:pt x="35" y="8"/>
                    </a:moveTo>
                    <a:cubicBezTo>
                      <a:pt x="28" y="16"/>
                      <a:pt x="47" y="26"/>
                      <a:pt x="47" y="26"/>
                    </a:cubicBezTo>
                    <a:cubicBezTo>
                      <a:pt x="58" y="21"/>
                      <a:pt x="58" y="21"/>
                      <a:pt x="58" y="21"/>
                    </a:cubicBezTo>
                    <a:cubicBezTo>
                      <a:pt x="58" y="21"/>
                      <a:pt x="41" y="0"/>
                      <a:pt x="35" y="8"/>
                    </a:cubicBezTo>
                    <a:close/>
                    <a:moveTo>
                      <a:pt x="71" y="32"/>
                    </a:moveTo>
                    <a:cubicBezTo>
                      <a:pt x="66" y="26"/>
                      <a:pt x="51" y="38"/>
                      <a:pt x="58" y="42"/>
                    </a:cubicBezTo>
                    <a:cubicBezTo>
                      <a:pt x="68" y="48"/>
                      <a:pt x="76" y="37"/>
                      <a:pt x="71" y="32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" name="Freeform 316">
                <a:extLst>
                  <a:ext uri="{FF2B5EF4-FFF2-40B4-BE49-F238E27FC236}">
                    <a16:creationId xmlns:a16="http://schemas.microsoft.com/office/drawing/2014/main" id="{59ADA2D6-BE4B-1336-9E31-A8D915D62D5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058" y="-15774"/>
                <a:ext cx="1396" cy="2723"/>
              </a:xfrm>
              <a:custGeom>
                <a:avLst/>
                <a:gdLst>
                  <a:gd name="T0" fmla="*/ 529 w 591"/>
                  <a:gd name="T1" fmla="*/ 401 h 1153"/>
                  <a:gd name="T2" fmla="*/ 547 w 591"/>
                  <a:gd name="T3" fmla="*/ 349 h 1153"/>
                  <a:gd name="T4" fmla="*/ 492 w 591"/>
                  <a:gd name="T5" fmla="*/ 276 h 1153"/>
                  <a:gd name="T6" fmla="*/ 448 w 591"/>
                  <a:gd name="T7" fmla="*/ 241 h 1153"/>
                  <a:gd name="T8" fmla="*/ 441 w 591"/>
                  <a:gd name="T9" fmla="*/ 258 h 1153"/>
                  <a:gd name="T10" fmla="*/ 418 w 591"/>
                  <a:gd name="T11" fmla="*/ 264 h 1153"/>
                  <a:gd name="T12" fmla="*/ 456 w 591"/>
                  <a:gd name="T13" fmla="*/ 373 h 1153"/>
                  <a:gd name="T14" fmla="*/ 443 w 591"/>
                  <a:gd name="T15" fmla="*/ 450 h 1153"/>
                  <a:gd name="T16" fmla="*/ 383 w 591"/>
                  <a:gd name="T17" fmla="*/ 448 h 1153"/>
                  <a:gd name="T18" fmla="*/ 367 w 591"/>
                  <a:gd name="T19" fmla="*/ 514 h 1153"/>
                  <a:gd name="T20" fmla="*/ 259 w 591"/>
                  <a:gd name="T21" fmla="*/ 546 h 1153"/>
                  <a:gd name="T22" fmla="*/ 179 w 591"/>
                  <a:gd name="T23" fmla="*/ 601 h 1153"/>
                  <a:gd name="T24" fmla="*/ 241 w 591"/>
                  <a:gd name="T25" fmla="*/ 607 h 1153"/>
                  <a:gd name="T26" fmla="*/ 331 w 591"/>
                  <a:gd name="T27" fmla="*/ 584 h 1153"/>
                  <a:gd name="T28" fmla="*/ 407 w 591"/>
                  <a:gd name="T29" fmla="*/ 654 h 1153"/>
                  <a:gd name="T30" fmla="*/ 415 w 591"/>
                  <a:gd name="T31" fmla="*/ 583 h 1153"/>
                  <a:gd name="T32" fmla="*/ 464 w 591"/>
                  <a:gd name="T33" fmla="*/ 585 h 1153"/>
                  <a:gd name="T34" fmla="*/ 528 w 591"/>
                  <a:gd name="T35" fmla="*/ 556 h 1153"/>
                  <a:gd name="T36" fmla="*/ 578 w 591"/>
                  <a:gd name="T37" fmla="*/ 538 h 1153"/>
                  <a:gd name="T38" fmla="*/ 299 w 591"/>
                  <a:gd name="T39" fmla="*/ 628 h 1153"/>
                  <a:gd name="T40" fmla="*/ 276 w 591"/>
                  <a:gd name="T41" fmla="*/ 674 h 1153"/>
                  <a:gd name="T42" fmla="*/ 358 w 591"/>
                  <a:gd name="T43" fmla="*/ 638 h 1153"/>
                  <a:gd name="T44" fmla="*/ 256 w 591"/>
                  <a:gd name="T45" fmla="*/ 689 h 1153"/>
                  <a:gd name="T46" fmla="*/ 184 w 591"/>
                  <a:gd name="T47" fmla="*/ 634 h 1153"/>
                  <a:gd name="T48" fmla="*/ 174 w 591"/>
                  <a:gd name="T49" fmla="*/ 687 h 1153"/>
                  <a:gd name="T50" fmla="*/ 182 w 591"/>
                  <a:gd name="T51" fmla="*/ 727 h 1153"/>
                  <a:gd name="T52" fmla="*/ 233 w 591"/>
                  <a:gd name="T53" fmla="*/ 780 h 1153"/>
                  <a:gd name="T54" fmla="*/ 172 w 591"/>
                  <a:gd name="T55" fmla="*/ 718 h 1153"/>
                  <a:gd name="T56" fmla="*/ 432 w 591"/>
                  <a:gd name="T57" fmla="*/ 423 h 1153"/>
                  <a:gd name="T58" fmla="*/ 411 w 591"/>
                  <a:gd name="T59" fmla="*/ 400 h 1153"/>
                  <a:gd name="T60" fmla="*/ 374 w 591"/>
                  <a:gd name="T61" fmla="*/ 72 h 1153"/>
                  <a:gd name="T62" fmla="*/ 354 w 591"/>
                  <a:gd name="T63" fmla="*/ 123 h 1153"/>
                  <a:gd name="T64" fmla="*/ 390 w 591"/>
                  <a:gd name="T65" fmla="*/ 198 h 1153"/>
                  <a:gd name="T66" fmla="*/ 437 w 591"/>
                  <a:gd name="T67" fmla="*/ 205 h 1153"/>
                  <a:gd name="T68" fmla="*/ 409 w 591"/>
                  <a:gd name="T69" fmla="*/ 179 h 1153"/>
                  <a:gd name="T70" fmla="*/ 557 w 591"/>
                  <a:gd name="T71" fmla="*/ 147 h 1153"/>
                  <a:gd name="T72" fmla="*/ 523 w 591"/>
                  <a:gd name="T73" fmla="*/ 96 h 1153"/>
                  <a:gd name="T74" fmla="*/ 194 w 591"/>
                  <a:gd name="T75" fmla="*/ 984 h 1153"/>
                  <a:gd name="T76" fmla="*/ 208 w 591"/>
                  <a:gd name="T77" fmla="*/ 933 h 1153"/>
                  <a:gd name="T78" fmla="*/ 208 w 591"/>
                  <a:gd name="T79" fmla="*/ 933 h 1153"/>
                  <a:gd name="T80" fmla="*/ 230 w 591"/>
                  <a:gd name="T81" fmla="*/ 810 h 1153"/>
                  <a:gd name="T82" fmla="*/ 252 w 591"/>
                  <a:gd name="T83" fmla="*/ 792 h 1153"/>
                  <a:gd name="T84" fmla="*/ 252 w 591"/>
                  <a:gd name="T85" fmla="*/ 792 h 1153"/>
                  <a:gd name="T86" fmla="*/ 32 w 591"/>
                  <a:gd name="T87" fmla="*/ 1144 h 1153"/>
                  <a:gd name="T88" fmla="*/ 90 w 591"/>
                  <a:gd name="T89" fmla="*/ 1125 h 1153"/>
                  <a:gd name="T90" fmla="*/ 16 w 591"/>
                  <a:gd name="T91" fmla="*/ 1134 h 1153"/>
                  <a:gd name="T92" fmla="*/ 184 w 591"/>
                  <a:gd name="T93" fmla="*/ 1008 h 1153"/>
                  <a:gd name="T94" fmla="*/ 198 w 591"/>
                  <a:gd name="T95" fmla="*/ 1014 h 1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91" h="1153">
                    <a:moveTo>
                      <a:pt x="591" y="531"/>
                    </a:moveTo>
                    <a:cubicBezTo>
                      <a:pt x="591" y="531"/>
                      <a:pt x="559" y="513"/>
                      <a:pt x="560" y="499"/>
                    </a:cubicBezTo>
                    <a:cubicBezTo>
                      <a:pt x="561" y="485"/>
                      <a:pt x="562" y="459"/>
                      <a:pt x="556" y="447"/>
                    </a:cubicBezTo>
                    <a:cubicBezTo>
                      <a:pt x="550" y="435"/>
                      <a:pt x="526" y="418"/>
                      <a:pt x="529" y="401"/>
                    </a:cubicBezTo>
                    <a:cubicBezTo>
                      <a:pt x="532" y="384"/>
                      <a:pt x="548" y="389"/>
                      <a:pt x="548" y="389"/>
                    </a:cubicBezTo>
                    <a:cubicBezTo>
                      <a:pt x="545" y="362"/>
                      <a:pt x="545" y="362"/>
                      <a:pt x="545" y="362"/>
                    </a:cubicBezTo>
                    <a:cubicBezTo>
                      <a:pt x="537" y="356"/>
                      <a:pt x="537" y="356"/>
                      <a:pt x="537" y="356"/>
                    </a:cubicBezTo>
                    <a:cubicBezTo>
                      <a:pt x="547" y="349"/>
                      <a:pt x="547" y="349"/>
                      <a:pt x="547" y="349"/>
                    </a:cubicBezTo>
                    <a:cubicBezTo>
                      <a:pt x="547" y="349"/>
                      <a:pt x="542" y="331"/>
                      <a:pt x="538" y="321"/>
                    </a:cubicBezTo>
                    <a:cubicBezTo>
                      <a:pt x="534" y="311"/>
                      <a:pt x="520" y="303"/>
                      <a:pt x="520" y="303"/>
                    </a:cubicBezTo>
                    <a:cubicBezTo>
                      <a:pt x="516" y="290"/>
                      <a:pt x="516" y="290"/>
                      <a:pt x="516" y="290"/>
                    </a:cubicBezTo>
                    <a:cubicBezTo>
                      <a:pt x="516" y="290"/>
                      <a:pt x="501" y="283"/>
                      <a:pt x="492" y="276"/>
                    </a:cubicBezTo>
                    <a:cubicBezTo>
                      <a:pt x="483" y="269"/>
                      <a:pt x="468" y="253"/>
                      <a:pt x="468" y="244"/>
                    </a:cubicBezTo>
                    <a:cubicBezTo>
                      <a:pt x="468" y="235"/>
                      <a:pt x="465" y="231"/>
                      <a:pt x="465" y="231"/>
                    </a:cubicBezTo>
                    <a:cubicBezTo>
                      <a:pt x="465" y="231"/>
                      <a:pt x="442" y="214"/>
                      <a:pt x="439" y="226"/>
                    </a:cubicBezTo>
                    <a:cubicBezTo>
                      <a:pt x="436" y="238"/>
                      <a:pt x="448" y="241"/>
                      <a:pt x="448" y="241"/>
                    </a:cubicBezTo>
                    <a:cubicBezTo>
                      <a:pt x="455" y="237"/>
                      <a:pt x="455" y="237"/>
                      <a:pt x="455" y="237"/>
                    </a:cubicBezTo>
                    <a:cubicBezTo>
                      <a:pt x="455" y="237"/>
                      <a:pt x="463" y="256"/>
                      <a:pt x="459" y="256"/>
                    </a:cubicBezTo>
                    <a:cubicBezTo>
                      <a:pt x="455" y="256"/>
                      <a:pt x="450" y="249"/>
                      <a:pt x="450" y="249"/>
                    </a:cubicBezTo>
                    <a:cubicBezTo>
                      <a:pt x="441" y="258"/>
                      <a:pt x="441" y="258"/>
                      <a:pt x="441" y="258"/>
                    </a:cubicBezTo>
                    <a:cubicBezTo>
                      <a:pt x="428" y="237"/>
                      <a:pt x="428" y="237"/>
                      <a:pt x="428" y="237"/>
                    </a:cubicBezTo>
                    <a:cubicBezTo>
                      <a:pt x="416" y="237"/>
                      <a:pt x="416" y="237"/>
                      <a:pt x="416" y="237"/>
                    </a:cubicBezTo>
                    <a:cubicBezTo>
                      <a:pt x="430" y="261"/>
                      <a:pt x="430" y="261"/>
                      <a:pt x="430" y="261"/>
                    </a:cubicBezTo>
                    <a:cubicBezTo>
                      <a:pt x="418" y="264"/>
                      <a:pt x="418" y="264"/>
                      <a:pt x="418" y="264"/>
                    </a:cubicBezTo>
                    <a:cubicBezTo>
                      <a:pt x="437" y="296"/>
                      <a:pt x="437" y="296"/>
                      <a:pt x="437" y="296"/>
                    </a:cubicBezTo>
                    <a:cubicBezTo>
                      <a:pt x="430" y="304"/>
                      <a:pt x="430" y="304"/>
                      <a:pt x="430" y="304"/>
                    </a:cubicBezTo>
                    <a:cubicBezTo>
                      <a:pt x="430" y="304"/>
                      <a:pt x="466" y="322"/>
                      <a:pt x="464" y="337"/>
                    </a:cubicBezTo>
                    <a:cubicBezTo>
                      <a:pt x="462" y="352"/>
                      <a:pt x="456" y="373"/>
                      <a:pt x="456" y="373"/>
                    </a:cubicBezTo>
                    <a:cubicBezTo>
                      <a:pt x="454" y="391"/>
                      <a:pt x="454" y="391"/>
                      <a:pt x="454" y="391"/>
                    </a:cubicBezTo>
                    <a:cubicBezTo>
                      <a:pt x="454" y="391"/>
                      <a:pt x="475" y="404"/>
                      <a:pt x="465" y="411"/>
                    </a:cubicBezTo>
                    <a:cubicBezTo>
                      <a:pt x="455" y="418"/>
                      <a:pt x="447" y="414"/>
                      <a:pt x="447" y="414"/>
                    </a:cubicBezTo>
                    <a:cubicBezTo>
                      <a:pt x="447" y="414"/>
                      <a:pt x="454" y="444"/>
                      <a:pt x="443" y="450"/>
                    </a:cubicBezTo>
                    <a:cubicBezTo>
                      <a:pt x="432" y="456"/>
                      <a:pt x="409" y="464"/>
                      <a:pt x="409" y="464"/>
                    </a:cubicBezTo>
                    <a:cubicBezTo>
                      <a:pt x="409" y="473"/>
                      <a:pt x="409" y="473"/>
                      <a:pt x="409" y="473"/>
                    </a:cubicBezTo>
                    <a:cubicBezTo>
                      <a:pt x="409" y="473"/>
                      <a:pt x="398" y="477"/>
                      <a:pt x="389" y="467"/>
                    </a:cubicBezTo>
                    <a:cubicBezTo>
                      <a:pt x="380" y="457"/>
                      <a:pt x="383" y="448"/>
                      <a:pt x="383" y="448"/>
                    </a:cubicBezTo>
                    <a:cubicBezTo>
                      <a:pt x="386" y="435"/>
                      <a:pt x="386" y="435"/>
                      <a:pt x="386" y="435"/>
                    </a:cubicBezTo>
                    <a:cubicBezTo>
                      <a:pt x="386" y="435"/>
                      <a:pt x="360" y="440"/>
                      <a:pt x="364" y="450"/>
                    </a:cubicBezTo>
                    <a:cubicBezTo>
                      <a:pt x="368" y="460"/>
                      <a:pt x="381" y="474"/>
                      <a:pt x="379" y="481"/>
                    </a:cubicBezTo>
                    <a:cubicBezTo>
                      <a:pt x="377" y="488"/>
                      <a:pt x="363" y="504"/>
                      <a:pt x="367" y="514"/>
                    </a:cubicBezTo>
                    <a:cubicBezTo>
                      <a:pt x="371" y="524"/>
                      <a:pt x="384" y="539"/>
                      <a:pt x="374" y="540"/>
                    </a:cubicBezTo>
                    <a:cubicBezTo>
                      <a:pt x="364" y="541"/>
                      <a:pt x="338" y="529"/>
                      <a:pt x="329" y="530"/>
                    </a:cubicBezTo>
                    <a:cubicBezTo>
                      <a:pt x="320" y="531"/>
                      <a:pt x="281" y="546"/>
                      <a:pt x="278" y="546"/>
                    </a:cubicBezTo>
                    <a:cubicBezTo>
                      <a:pt x="275" y="546"/>
                      <a:pt x="259" y="546"/>
                      <a:pt x="259" y="546"/>
                    </a:cubicBezTo>
                    <a:cubicBezTo>
                      <a:pt x="251" y="538"/>
                      <a:pt x="251" y="538"/>
                      <a:pt x="251" y="538"/>
                    </a:cubicBezTo>
                    <a:cubicBezTo>
                      <a:pt x="229" y="555"/>
                      <a:pt x="229" y="555"/>
                      <a:pt x="229" y="555"/>
                    </a:cubicBezTo>
                    <a:cubicBezTo>
                      <a:pt x="229" y="555"/>
                      <a:pt x="202" y="600"/>
                      <a:pt x="198" y="600"/>
                    </a:cubicBezTo>
                    <a:cubicBezTo>
                      <a:pt x="194" y="600"/>
                      <a:pt x="179" y="601"/>
                      <a:pt x="179" y="601"/>
                    </a:cubicBezTo>
                    <a:cubicBezTo>
                      <a:pt x="179" y="601"/>
                      <a:pt x="184" y="625"/>
                      <a:pt x="191" y="625"/>
                    </a:cubicBezTo>
                    <a:cubicBezTo>
                      <a:pt x="198" y="625"/>
                      <a:pt x="210" y="621"/>
                      <a:pt x="210" y="621"/>
                    </a:cubicBezTo>
                    <a:cubicBezTo>
                      <a:pt x="210" y="621"/>
                      <a:pt x="229" y="632"/>
                      <a:pt x="234" y="630"/>
                    </a:cubicBezTo>
                    <a:cubicBezTo>
                      <a:pt x="239" y="628"/>
                      <a:pt x="241" y="607"/>
                      <a:pt x="241" y="607"/>
                    </a:cubicBezTo>
                    <a:cubicBezTo>
                      <a:pt x="256" y="615"/>
                      <a:pt x="256" y="615"/>
                      <a:pt x="256" y="615"/>
                    </a:cubicBezTo>
                    <a:cubicBezTo>
                      <a:pt x="256" y="615"/>
                      <a:pt x="290" y="598"/>
                      <a:pt x="295" y="595"/>
                    </a:cubicBezTo>
                    <a:cubicBezTo>
                      <a:pt x="300" y="592"/>
                      <a:pt x="313" y="601"/>
                      <a:pt x="321" y="600"/>
                    </a:cubicBezTo>
                    <a:cubicBezTo>
                      <a:pt x="329" y="599"/>
                      <a:pt x="314" y="584"/>
                      <a:pt x="331" y="584"/>
                    </a:cubicBezTo>
                    <a:cubicBezTo>
                      <a:pt x="348" y="584"/>
                      <a:pt x="352" y="593"/>
                      <a:pt x="352" y="593"/>
                    </a:cubicBezTo>
                    <a:cubicBezTo>
                      <a:pt x="352" y="593"/>
                      <a:pt x="372" y="580"/>
                      <a:pt x="376" y="588"/>
                    </a:cubicBezTo>
                    <a:cubicBezTo>
                      <a:pt x="380" y="596"/>
                      <a:pt x="367" y="615"/>
                      <a:pt x="367" y="615"/>
                    </a:cubicBezTo>
                    <a:cubicBezTo>
                      <a:pt x="367" y="615"/>
                      <a:pt x="387" y="654"/>
                      <a:pt x="407" y="654"/>
                    </a:cubicBezTo>
                    <a:cubicBezTo>
                      <a:pt x="427" y="654"/>
                      <a:pt x="425" y="616"/>
                      <a:pt x="425" y="616"/>
                    </a:cubicBezTo>
                    <a:cubicBezTo>
                      <a:pt x="447" y="612"/>
                      <a:pt x="447" y="612"/>
                      <a:pt x="447" y="612"/>
                    </a:cubicBezTo>
                    <a:cubicBezTo>
                      <a:pt x="447" y="612"/>
                      <a:pt x="430" y="592"/>
                      <a:pt x="427" y="591"/>
                    </a:cubicBezTo>
                    <a:cubicBezTo>
                      <a:pt x="424" y="590"/>
                      <a:pt x="415" y="583"/>
                      <a:pt x="415" y="583"/>
                    </a:cubicBezTo>
                    <a:cubicBezTo>
                      <a:pt x="426" y="568"/>
                      <a:pt x="426" y="568"/>
                      <a:pt x="426" y="568"/>
                    </a:cubicBezTo>
                    <a:cubicBezTo>
                      <a:pt x="435" y="567"/>
                      <a:pt x="429" y="581"/>
                      <a:pt x="439" y="581"/>
                    </a:cubicBezTo>
                    <a:cubicBezTo>
                      <a:pt x="449" y="581"/>
                      <a:pt x="452" y="594"/>
                      <a:pt x="452" y="594"/>
                    </a:cubicBezTo>
                    <a:cubicBezTo>
                      <a:pt x="464" y="585"/>
                      <a:pt x="464" y="585"/>
                      <a:pt x="464" y="585"/>
                    </a:cubicBezTo>
                    <a:cubicBezTo>
                      <a:pt x="464" y="585"/>
                      <a:pt x="479" y="593"/>
                      <a:pt x="494" y="589"/>
                    </a:cubicBezTo>
                    <a:cubicBezTo>
                      <a:pt x="509" y="585"/>
                      <a:pt x="491" y="564"/>
                      <a:pt x="508" y="566"/>
                    </a:cubicBezTo>
                    <a:cubicBezTo>
                      <a:pt x="525" y="568"/>
                      <a:pt x="516" y="596"/>
                      <a:pt x="527" y="590"/>
                    </a:cubicBezTo>
                    <a:cubicBezTo>
                      <a:pt x="538" y="584"/>
                      <a:pt x="520" y="561"/>
                      <a:pt x="528" y="556"/>
                    </a:cubicBezTo>
                    <a:cubicBezTo>
                      <a:pt x="536" y="551"/>
                      <a:pt x="541" y="553"/>
                      <a:pt x="541" y="553"/>
                    </a:cubicBezTo>
                    <a:cubicBezTo>
                      <a:pt x="541" y="553"/>
                      <a:pt x="543" y="522"/>
                      <a:pt x="555" y="534"/>
                    </a:cubicBezTo>
                    <a:cubicBezTo>
                      <a:pt x="567" y="546"/>
                      <a:pt x="548" y="571"/>
                      <a:pt x="568" y="570"/>
                    </a:cubicBezTo>
                    <a:cubicBezTo>
                      <a:pt x="588" y="569"/>
                      <a:pt x="578" y="538"/>
                      <a:pt x="578" y="538"/>
                    </a:cubicBezTo>
                    <a:lnTo>
                      <a:pt x="591" y="531"/>
                    </a:lnTo>
                    <a:close/>
                    <a:moveTo>
                      <a:pt x="338" y="618"/>
                    </a:moveTo>
                    <a:cubicBezTo>
                      <a:pt x="338" y="618"/>
                      <a:pt x="321" y="605"/>
                      <a:pt x="312" y="606"/>
                    </a:cubicBezTo>
                    <a:cubicBezTo>
                      <a:pt x="292" y="608"/>
                      <a:pt x="299" y="628"/>
                      <a:pt x="299" y="628"/>
                    </a:cubicBezTo>
                    <a:cubicBezTo>
                      <a:pt x="299" y="628"/>
                      <a:pt x="282" y="622"/>
                      <a:pt x="272" y="624"/>
                    </a:cubicBezTo>
                    <a:cubicBezTo>
                      <a:pt x="262" y="626"/>
                      <a:pt x="269" y="648"/>
                      <a:pt x="269" y="648"/>
                    </a:cubicBezTo>
                    <a:cubicBezTo>
                      <a:pt x="257" y="659"/>
                      <a:pt x="257" y="659"/>
                      <a:pt x="257" y="659"/>
                    </a:cubicBezTo>
                    <a:cubicBezTo>
                      <a:pt x="257" y="659"/>
                      <a:pt x="270" y="667"/>
                      <a:pt x="276" y="674"/>
                    </a:cubicBezTo>
                    <a:cubicBezTo>
                      <a:pt x="282" y="681"/>
                      <a:pt x="305" y="695"/>
                      <a:pt x="305" y="695"/>
                    </a:cubicBezTo>
                    <a:cubicBezTo>
                      <a:pt x="305" y="695"/>
                      <a:pt x="299" y="664"/>
                      <a:pt x="314" y="654"/>
                    </a:cubicBezTo>
                    <a:cubicBezTo>
                      <a:pt x="329" y="644"/>
                      <a:pt x="351" y="672"/>
                      <a:pt x="351" y="672"/>
                    </a:cubicBezTo>
                    <a:cubicBezTo>
                      <a:pt x="351" y="672"/>
                      <a:pt x="356" y="650"/>
                      <a:pt x="358" y="638"/>
                    </a:cubicBezTo>
                    <a:cubicBezTo>
                      <a:pt x="360" y="626"/>
                      <a:pt x="351" y="615"/>
                      <a:pt x="351" y="615"/>
                    </a:cubicBezTo>
                    <a:lnTo>
                      <a:pt x="338" y="618"/>
                    </a:lnTo>
                    <a:close/>
                    <a:moveTo>
                      <a:pt x="241" y="709"/>
                    </a:moveTo>
                    <a:cubicBezTo>
                      <a:pt x="241" y="698"/>
                      <a:pt x="256" y="689"/>
                      <a:pt x="256" y="689"/>
                    </a:cubicBezTo>
                    <a:cubicBezTo>
                      <a:pt x="255" y="677"/>
                      <a:pt x="232" y="662"/>
                      <a:pt x="232" y="662"/>
                    </a:cubicBezTo>
                    <a:cubicBezTo>
                      <a:pt x="232" y="662"/>
                      <a:pt x="231" y="652"/>
                      <a:pt x="224" y="649"/>
                    </a:cubicBezTo>
                    <a:cubicBezTo>
                      <a:pt x="217" y="646"/>
                      <a:pt x="212" y="648"/>
                      <a:pt x="212" y="648"/>
                    </a:cubicBezTo>
                    <a:cubicBezTo>
                      <a:pt x="212" y="648"/>
                      <a:pt x="191" y="634"/>
                      <a:pt x="184" y="634"/>
                    </a:cubicBezTo>
                    <a:cubicBezTo>
                      <a:pt x="177" y="634"/>
                      <a:pt x="168" y="646"/>
                      <a:pt x="168" y="646"/>
                    </a:cubicBezTo>
                    <a:cubicBezTo>
                      <a:pt x="143" y="660"/>
                      <a:pt x="143" y="660"/>
                      <a:pt x="143" y="660"/>
                    </a:cubicBezTo>
                    <a:cubicBezTo>
                      <a:pt x="162" y="693"/>
                      <a:pt x="162" y="693"/>
                      <a:pt x="162" y="693"/>
                    </a:cubicBezTo>
                    <a:cubicBezTo>
                      <a:pt x="174" y="687"/>
                      <a:pt x="174" y="687"/>
                      <a:pt x="174" y="687"/>
                    </a:cubicBezTo>
                    <a:cubicBezTo>
                      <a:pt x="174" y="687"/>
                      <a:pt x="167" y="668"/>
                      <a:pt x="175" y="672"/>
                    </a:cubicBezTo>
                    <a:cubicBezTo>
                      <a:pt x="183" y="676"/>
                      <a:pt x="195" y="697"/>
                      <a:pt x="195" y="697"/>
                    </a:cubicBezTo>
                    <a:cubicBezTo>
                      <a:pt x="194" y="722"/>
                      <a:pt x="194" y="722"/>
                      <a:pt x="194" y="722"/>
                    </a:cubicBezTo>
                    <a:cubicBezTo>
                      <a:pt x="182" y="727"/>
                      <a:pt x="182" y="727"/>
                      <a:pt x="182" y="727"/>
                    </a:cubicBezTo>
                    <a:cubicBezTo>
                      <a:pt x="182" y="727"/>
                      <a:pt x="193" y="774"/>
                      <a:pt x="203" y="776"/>
                    </a:cubicBezTo>
                    <a:cubicBezTo>
                      <a:pt x="213" y="778"/>
                      <a:pt x="211" y="746"/>
                      <a:pt x="211" y="746"/>
                    </a:cubicBezTo>
                    <a:cubicBezTo>
                      <a:pt x="232" y="753"/>
                      <a:pt x="232" y="753"/>
                      <a:pt x="232" y="753"/>
                    </a:cubicBezTo>
                    <a:cubicBezTo>
                      <a:pt x="232" y="753"/>
                      <a:pt x="229" y="780"/>
                      <a:pt x="233" y="780"/>
                    </a:cubicBezTo>
                    <a:cubicBezTo>
                      <a:pt x="237" y="780"/>
                      <a:pt x="251" y="756"/>
                      <a:pt x="251" y="756"/>
                    </a:cubicBezTo>
                    <a:cubicBezTo>
                      <a:pt x="251" y="756"/>
                      <a:pt x="241" y="720"/>
                      <a:pt x="241" y="709"/>
                    </a:cubicBezTo>
                    <a:close/>
                    <a:moveTo>
                      <a:pt x="183" y="693"/>
                    </a:moveTo>
                    <a:cubicBezTo>
                      <a:pt x="172" y="718"/>
                      <a:pt x="172" y="718"/>
                      <a:pt x="172" y="718"/>
                    </a:cubicBezTo>
                    <a:cubicBezTo>
                      <a:pt x="184" y="715"/>
                      <a:pt x="184" y="715"/>
                      <a:pt x="184" y="715"/>
                    </a:cubicBezTo>
                    <a:lnTo>
                      <a:pt x="183" y="693"/>
                    </a:lnTo>
                    <a:close/>
                    <a:moveTo>
                      <a:pt x="424" y="424"/>
                    </a:moveTo>
                    <a:cubicBezTo>
                      <a:pt x="432" y="423"/>
                      <a:pt x="432" y="423"/>
                      <a:pt x="432" y="423"/>
                    </a:cubicBezTo>
                    <a:cubicBezTo>
                      <a:pt x="431" y="407"/>
                      <a:pt x="431" y="407"/>
                      <a:pt x="431" y="407"/>
                    </a:cubicBezTo>
                    <a:cubicBezTo>
                      <a:pt x="425" y="405"/>
                      <a:pt x="425" y="405"/>
                      <a:pt x="425" y="405"/>
                    </a:cubicBezTo>
                    <a:cubicBezTo>
                      <a:pt x="415" y="392"/>
                      <a:pt x="415" y="392"/>
                      <a:pt x="415" y="392"/>
                    </a:cubicBezTo>
                    <a:cubicBezTo>
                      <a:pt x="411" y="400"/>
                      <a:pt x="411" y="400"/>
                      <a:pt x="411" y="400"/>
                    </a:cubicBezTo>
                    <a:cubicBezTo>
                      <a:pt x="419" y="409"/>
                      <a:pt x="419" y="409"/>
                      <a:pt x="419" y="409"/>
                    </a:cubicBezTo>
                    <a:lnTo>
                      <a:pt x="424" y="424"/>
                    </a:lnTo>
                    <a:close/>
                    <a:moveTo>
                      <a:pt x="372" y="57"/>
                    </a:moveTo>
                    <a:cubicBezTo>
                      <a:pt x="374" y="72"/>
                      <a:pt x="374" y="72"/>
                      <a:pt x="374" y="72"/>
                    </a:cubicBezTo>
                    <a:cubicBezTo>
                      <a:pt x="374" y="72"/>
                      <a:pt x="391" y="83"/>
                      <a:pt x="391" y="90"/>
                    </a:cubicBezTo>
                    <a:cubicBezTo>
                      <a:pt x="391" y="97"/>
                      <a:pt x="384" y="110"/>
                      <a:pt x="384" y="110"/>
                    </a:cubicBezTo>
                    <a:cubicBezTo>
                      <a:pt x="384" y="110"/>
                      <a:pt x="402" y="132"/>
                      <a:pt x="397" y="133"/>
                    </a:cubicBezTo>
                    <a:cubicBezTo>
                      <a:pt x="391" y="134"/>
                      <a:pt x="359" y="125"/>
                      <a:pt x="354" y="123"/>
                    </a:cubicBezTo>
                    <a:cubicBezTo>
                      <a:pt x="348" y="122"/>
                      <a:pt x="369" y="143"/>
                      <a:pt x="369" y="143"/>
                    </a:cubicBezTo>
                    <a:cubicBezTo>
                      <a:pt x="352" y="161"/>
                      <a:pt x="352" y="161"/>
                      <a:pt x="352" y="161"/>
                    </a:cubicBezTo>
                    <a:cubicBezTo>
                      <a:pt x="352" y="161"/>
                      <a:pt x="358" y="173"/>
                      <a:pt x="361" y="179"/>
                    </a:cubicBezTo>
                    <a:cubicBezTo>
                      <a:pt x="363" y="184"/>
                      <a:pt x="390" y="198"/>
                      <a:pt x="390" y="198"/>
                    </a:cubicBezTo>
                    <a:cubicBezTo>
                      <a:pt x="390" y="198"/>
                      <a:pt x="381" y="231"/>
                      <a:pt x="404" y="230"/>
                    </a:cubicBezTo>
                    <a:cubicBezTo>
                      <a:pt x="414" y="229"/>
                      <a:pt x="398" y="211"/>
                      <a:pt x="410" y="211"/>
                    </a:cubicBezTo>
                    <a:cubicBezTo>
                      <a:pt x="423" y="211"/>
                      <a:pt x="433" y="211"/>
                      <a:pt x="433" y="211"/>
                    </a:cubicBezTo>
                    <a:cubicBezTo>
                      <a:pt x="437" y="205"/>
                      <a:pt x="437" y="205"/>
                      <a:pt x="437" y="205"/>
                    </a:cubicBezTo>
                    <a:cubicBezTo>
                      <a:pt x="412" y="189"/>
                      <a:pt x="412" y="189"/>
                      <a:pt x="412" y="189"/>
                    </a:cubicBezTo>
                    <a:cubicBezTo>
                      <a:pt x="399" y="189"/>
                      <a:pt x="399" y="189"/>
                      <a:pt x="399" y="189"/>
                    </a:cubicBezTo>
                    <a:cubicBezTo>
                      <a:pt x="399" y="189"/>
                      <a:pt x="365" y="176"/>
                      <a:pt x="381" y="169"/>
                    </a:cubicBezTo>
                    <a:cubicBezTo>
                      <a:pt x="398" y="162"/>
                      <a:pt x="409" y="179"/>
                      <a:pt x="409" y="179"/>
                    </a:cubicBezTo>
                    <a:cubicBezTo>
                      <a:pt x="409" y="179"/>
                      <a:pt x="423" y="168"/>
                      <a:pt x="433" y="166"/>
                    </a:cubicBezTo>
                    <a:cubicBezTo>
                      <a:pt x="442" y="165"/>
                      <a:pt x="513" y="202"/>
                      <a:pt x="519" y="198"/>
                    </a:cubicBezTo>
                    <a:cubicBezTo>
                      <a:pt x="524" y="194"/>
                      <a:pt x="505" y="155"/>
                      <a:pt x="523" y="148"/>
                    </a:cubicBezTo>
                    <a:cubicBezTo>
                      <a:pt x="541" y="141"/>
                      <a:pt x="539" y="157"/>
                      <a:pt x="557" y="147"/>
                    </a:cubicBezTo>
                    <a:cubicBezTo>
                      <a:pt x="575" y="137"/>
                      <a:pt x="578" y="130"/>
                      <a:pt x="578" y="130"/>
                    </a:cubicBezTo>
                    <a:cubicBezTo>
                      <a:pt x="542" y="107"/>
                      <a:pt x="542" y="107"/>
                      <a:pt x="542" y="107"/>
                    </a:cubicBezTo>
                    <a:cubicBezTo>
                      <a:pt x="542" y="107"/>
                      <a:pt x="542" y="83"/>
                      <a:pt x="535" y="78"/>
                    </a:cubicBezTo>
                    <a:cubicBezTo>
                      <a:pt x="528" y="72"/>
                      <a:pt x="523" y="96"/>
                      <a:pt x="523" y="96"/>
                    </a:cubicBezTo>
                    <a:cubicBezTo>
                      <a:pt x="523" y="96"/>
                      <a:pt x="455" y="80"/>
                      <a:pt x="440" y="69"/>
                    </a:cubicBezTo>
                    <a:cubicBezTo>
                      <a:pt x="424" y="58"/>
                      <a:pt x="350" y="0"/>
                      <a:pt x="340" y="11"/>
                    </a:cubicBezTo>
                    <a:cubicBezTo>
                      <a:pt x="330" y="22"/>
                      <a:pt x="372" y="57"/>
                      <a:pt x="372" y="57"/>
                    </a:cubicBezTo>
                    <a:close/>
                    <a:moveTo>
                      <a:pt x="194" y="984"/>
                    </a:moveTo>
                    <a:cubicBezTo>
                      <a:pt x="209" y="984"/>
                      <a:pt x="209" y="984"/>
                      <a:pt x="209" y="984"/>
                    </a:cubicBezTo>
                    <a:cubicBezTo>
                      <a:pt x="192" y="972"/>
                      <a:pt x="192" y="972"/>
                      <a:pt x="192" y="972"/>
                    </a:cubicBezTo>
                    <a:lnTo>
                      <a:pt x="194" y="984"/>
                    </a:lnTo>
                    <a:close/>
                    <a:moveTo>
                      <a:pt x="208" y="933"/>
                    </a:moveTo>
                    <a:cubicBezTo>
                      <a:pt x="210" y="942"/>
                      <a:pt x="214" y="942"/>
                      <a:pt x="214" y="942"/>
                    </a:cubicBezTo>
                    <a:cubicBezTo>
                      <a:pt x="224" y="944"/>
                      <a:pt x="225" y="934"/>
                      <a:pt x="225" y="934"/>
                    </a:cubicBezTo>
                    <a:cubicBezTo>
                      <a:pt x="225" y="934"/>
                      <a:pt x="240" y="933"/>
                      <a:pt x="233" y="922"/>
                    </a:cubicBezTo>
                    <a:cubicBezTo>
                      <a:pt x="226" y="912"/>
                      <a:pt x="205" y="924"/>
                      <a:pt x="208" y="933"/>
                    </a:cubicBezTo>
                    <a:close/>
                    <a:moveTo>
                      <a:pt x="214" y="956"/>
                    </a:moveTo>
                    <a:cubicBezTo>
                      <a:pt x="204" y="952"/>
                      <a:pt x="205" y="961"/>
                      <a:pt x="205" y="961"/>
                    </a:cubicBezTo>
                    <a:cubicBezTo>
                      <a:pt x="220" y="968"/>
                      <a:pt x="225" y="960"/>
                      <a:pt x="214" y="956"/>
                    </a:cubicBezTo>
                    <a:close/>
                    <a:moveTo>
                      <a:pt x="230" y="810"/>
                    </a:moveTo>
                    <a:cubicBezTo>
                      <a:pt x="230" y="814"/>
                      <a:pt x="217" y="820"/>
                      <a:pt x="217" y="820"/>
                    </a:cubicBezTo>
                    <a:cubicBezTo>
                      <a:pt x="234" y="829"/>
                      <a:pt x="234" y="829"/>
                      <a:pt x="234" y="829"/>
                    </a:cubicBezTo>
                    <a:cubicBezTo>
                      <a:pt x="234" y="829"/>
                      <a:pt x="230" y="806"/>
                      <a:pt x="230" y="810"/>
                    </a:cubicBezTo>
                    <a:close/>
                    <a:moveTo>
                      <a:pt x="252" y="792"/>
                    </a:moveTo>
                    <a:cubicBezTo>
                      <a:pt x="252" y="796"/>
                      <a:pt x="248" y="805"/>
                      <a:pt x="248" y="805"/>
                    </a:cubicBezTo>
                    <a:cubicBezTo>
                      <a:pt x="257" y="825"/>
                      <a:pt x="257" y="825"/>
                      <a:pt x="257" y="825"/>
                    </a:cubicBezTo>
                    <a:cubicBezTo>
                      <a:pt x="258" y="814"/>
                      <a:pt x="258" y="814"/>
                      <a:pt x="258" y="814"/>
                    </a:cubicBezTo>
                    <a:cubicBezTo>
                      <a:pt x="258" y="814"/>
                      <a:pt x="252" y="788"/>
                      <a:pt x="252" y="792"/>
                    </a:cubicBezTo>
                    <a:close/>
                    <a:moveTo>
                      <a:pt x="32" y="1144"/>
                    </a:moveTo>
                    <a:cubicBezTo>
                      <a:pt x="36" y="1144"/>
                      <a:pt x="54" y="1138"/>
                      <a:pt x="54" y="1138"/>
                    </a:cubicBezTo>
                    <a:cubicBezTo>
                      <a:pt x="36" y="1129"/>
                      <a:pt x="36" y="1129"/>
                      <a:pt x="36" y="1129"/>
                    </a:cubicBezTo>
                    <a:cubicBezTo>
                      <a:pt x="36" y="1129"/>
                      <a:pt x="28" y="1144"/>
                      <a:pt x="32" y="1144"/>
                    </a:cubicBezTo>
                    <a:close/>
                    <a:moveTo>
                      <a:pt x="81" y="1117"/>
                    </a:moveTo>
                    <a:cubicBezTo>
                      <a:pt x="72" y="1100"/>
                      <a:pt x="72" y="1100"/>
                      <a:pt x="72" y="1100"/>
                    </a:cubicBezTo>
                    <a:cubicBezTo>
                      <a:pt x="72" y="1110"/>
                      <a:pt x="72" y="1110"/>
                      <a:pt x="72" y="1110"/>
                    </a:cubicBezTo>
                    <a:cubicBezTo>
                      <a:pt x="70" y="1126"/>
                      <a:pt x="85" y="1133"/>
                      <a:pt x="90" y="1125"/>
                    </a:cubicBezTo>
                    <a:cubicBezTo>
                      <a:pt x="96" y="1117"/>
                      <a:pt x="81" y="1117"/>
                      <a:pt x="81" y="1117"/>
                    </a:cubicBezTo>
                    <a:close/>
                    <a:moveTo>
                      <a:pt x="16" y="1134"/>
                    </a:moveTo>
                    <a:cubicBezTo>
                      <a:pt x="0" y="1133"/>
                      <a:pt x="9" y="1150"/>
                      <a:pt x="9" y="1150"/>
                    </a:cubicBezTo>
                    <a:cubicBezTo>
                      <a:pt x="21" y="1153"/>
                      <a:pt x="32" y="1136"/>
                      <a:pt x="16" y="1134"/>
                    </a:cubicBezTo>
                    <a:close/>
                    <a:moveTo>
                      <a:pt x="118" y="1033"/>
                    </a:moveTo>
                    <a:cubicBezTo>
                      <a:pt x="118" y="1041"/>
                      <a:pt x="129" y="1041"/>
                      <a:pt x="129" y="1041"/>
                    </a:cubicBezTo>
                    <a:cubicBezTo>
                      <a:pt x="136" y="1029"/>
                      <a:pt x="118" y="1025"/>
                      <a:pt x="118" y="1033"/>
                    </a:cubicBezTo>
                    <a:close/>
                    <a:moveTo>
                      <a:pt x="184" y="1008"/>
                    </a:moveTo>
                    <a:cubicBezTo>
                      <a:pt x="174" y="1018"/>
                      <a:pt x="165" y="1050"/>
                      <a:pt x="165" y="1050"/>
                    </a:cubicBezTo>
                    <a:cubicBezTo>
                      <a:pt x="178" y="1053"/>
                      <a:pt x="178" y="1053"/>
                      <a:pt x="178" y="1053"/>
                    </a:cubicBezTo>
                    <a:cubicBezTo>
                      <a:pt x="178" y="1053"/>
                      <a:pt x="190" y="1032"/>
                      <a:pt x="186" y="1032"/>
                    </a:cubicBezTo>
                    <a:cubicBezTo>
                      <a:pt x="182" y="1032"/>
                      <a:pt x="198" y="1014"/>
                      <a:pt x="198" y="1014"/>
                    </a:cubicBezTo>
                    <a:cubicBezTo>
                      <a:pt x="198" y="1014"/>
                      <a:pt x="193" y="997"/>
                      <a:pt x="184" y="1008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" name="Freeform 317">
                <a:extLst>
                  <a:ext uri="{FF2B5EF4-FFF2-40B4-BE49-F238E27FC236}">
                    <a16:creationId xmlns:a16="http://schemas.microsoft.com/office/drawing/2014/main" id="{D0FCEBAA-FD1A-6A85-0097-8DAFE597CDD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4425" y="-19748"/>
                <a:ext cx="14280" cy="4543"/>
              </a:xfrm>
              <a:custGeom>
                <a:avLst/>
                <a:gdLst>
                  <a:gd name="T0" fmla="*/ 1604 w 6045"/>
                  <a:gd name="T1" fmla="*/ 319 h 1923"/>
                  <a:gd name="T2" fmla="*/ 1125 w 6045"/>
                  <a:gd name="T3" fmla="*/ 38 h 1923"/>
                  <a:gd name="T4" fmla="*/ 1119 w 6045"/>
                  <a:gd name="T5" fmla="*/ 335 h 1923"/>
                  <a:gd name="T6" fmla="*/ 1136 w 6045"/>
                  <a:gd name="T7" fmla="*/ 227 h 1923"/>
                  <a:gd name="T8" fmla="*/ 1032 w 6045"/>
                  <a:gd name="T9" fmla="*/ 349 h 1923"/>
                  <a:gd name="T10" fmla="*/ 4026 w 6045"/>
                  <a:gd name="T11" fmla="*/ 259 h 1923"/>
                  <a:gd name="T12" fmla="*/ 2394 w 6045"/>
                  <a:gd name="T13" fmla="*/ 103 h 1923"/>
                  <a:gd name="T14" fmla="*/ 3618 w 6045"/>
                  <a:gd name="T15" fmla="*/ 235 h 1923"/>
                  <a:gd name="T16" fmla="*/ 113 w 6045"/>
                  <a:gd name="T17" fmla="*/ 1236 h 1923"/>
                  <a:gd name="T18" fmla="*/ 755 w 6045"/>
                  <a:gd name="T19" fmla="*/ 45 h 1923"/>
                  <a:gd name="T20" fmla="*/ 5033 w 6045"/>
                  <a:gd name="T21" fmla="*/ 1361 h 1923"/>
                  <a:gd name="T22" fmla="*/ 5193 w 6045"/>
                  <a:gd name="T23" fmla="*/ 1629 h 1923"/>
                  <a:gd name="T24" fmla="*/ 5935 w 6045"/>
                  <a:gd name="T25" fmla="*/ 632 h 1923"/>
                  <a:gd name="T26" fmla="*/ 5061 w 6045"/>
                  <a:gd name="T27" fmla="*/ 515 h 1923"/>
                  <a:gd name="T28" fmla="*/ 4321 w 6045"/>
                  <a:gd name="T29" fmla="*/ 409 h 1923"/>
                  <a:gd name="T30" fmla="*/ 3936 w 6045"/>
                  <a:gd name="T31" fmla="*/ 365 h 1923"/>
                  <a:gd name="T32" fmla="*/ 3577 w 6045"/>
                  <a:gd name="T33" fmla="*/ 386 h 1923"/>
                  <a:gd name="T34" fmla="*/ 3251 w 6045"/>
                  <a:gd name="T35" fmla="*/ 351 h 1923"/>
                  <a:gd name="T36" fmla="*/ 2915 w 6045"/>
                  <a:gd name="T37" fmla="*/ 313 h 1923"/>
                  <a:gd name="T38" fmla="*/ 2906 w 6045"/>
                  <a:gd name="T39" fmla="*/ 254 h 1923"/>
                  <a:gd name="T40" fmla="*/ 2423 w 6045"/>
                  <a:gd name="T41" fmla="*/ 210 h 1923"/>
                  <a:gd name="T42" fmla="*/ 2038 w 6045"/>
                  <a:gd name="T43" fmla="*/ 402 h 1923"/>
                  <a:gd name="T44" fmla="*/ 1740 w 6045"/>
                  <a:gd name="T45" fmla="*/ 389 h 1923"/>
                  <a:gd name="T46" fmla="*/ 1845 w 6045"/>
                  <a:gd name="T47" fmla="*/ 542 h 1923"/>
                  <a:gd name="T48" fmla="*/ 1684 w 6045"/>
                  <a:gd name="T49" fmla="*/ 417 h 1923"/>
                  <a:gd name="T50" fmla="*/ 1499 w 6045"/>
                  <a:gd name="T51" fmla="*/ 522 h 1923"/>
                  <a:gd name="T52" fmla="*/ 1060 w 6045"/>
                  <a:gd name="T53" fmla="*/ 545 h 1923"/>
                  <a:gd name="T54" fmla="*/ 795 w 6045"/>
                  <a:gd name="T55" fmla="*/ 644 h 1923"/>
                  <a:gd name="T56" fmla="*/ 508 w 6045"/>
                  <a:gd name="T57" fmla="*/ 670 h 1923"/>
                  <a:gd name="T58" fmla="*/ 357 w 6045"/>
                  <a:gd name="T59" fmla="*/ 475 h 1923"/>
                  <a:gd name="T60" fmla="*/ 323 w 6045"/>
                  <a:gd name="T61" fmla="*/ 703 h 1923"/>
                  <a:gd name="T62" fmla="*/ 303 w 6045"/>
                  <a:gd name="T63" fmla="*/ 980 h 1923"/>
                  <a:gd name="T64" fmla="*/ 382 w 6045"/>
                  <a:gd name="T65" fmla="*/ 1163 h 1923"/>
                  <a:gd name="T66" fmla="*/ 538 w 6045"/>
                  <a:gd name="T67" fmla="*/ 1342 h 1923"/>
                  <a:gd name="T68" fmla="*/ 827 w 6045"/>
                  <a:gd name="T69" fmla="*/ 1472 h 1923"/>
                  <a:gd name="T70" fmla="*/ 752 w 6045"/>
                  <a:gd name="T71" fmla="*/ 1694 h 1923"/>
                  <a:gd name="T72" fmla="*/ 1214 w 6045"/>
                  <a:gd name="T73" fmla="*/ 1892 h 1923"/>
                  <a:gd name="T74" fmla="*/ 1231 w 6045"/>
                  <a:gd name="T75" fmla="*/ 1631 h 1923"/>
                  <a:gd name="T76" fmla="*/ 1419 w 6045"/>
                  <a:gd name="T77" fmla="*/ 1396 h 1923"/>
                  <a:gd name="T78" fmla="*/ 1765 w 6045"/>
                  <a:gd name="T79" fmla="*/ 1244 h 1923"/>
                  <a:gd name="T80" fmla="*/ 2222 w 6045"/>
                  <a:gd name="T81" fmla="*/ 1256 h 1923"/>
                  <a:gd name="T82" fmla="*/ 2847 w 6045"/>
                  <a:gd name="T83" fmla="*/ 1496 h 1923"/>
                  <a:gd name="T84" fmla="*/ 3152 w 6045"/>
                  <a:gd name="T85" fmla="*/ 1456 h 1923"/>
                  <a:gd name="T86" fmla="*/ 3428 w 6045"/>
                  <a:gd name="T87" fmla="*/ 1441 h 1923"/>
                  <a:gd name="T88" fmla="*/ 3929 w 6045"/>
                  <a:gd name="T89" fmla="*/ 1447 h 1923"/>
                  <a:gd name="T90" fmla="*/ 4174 w 6045"/>
                  <a:gd name="T91" fmla="*/ 1268 h 1923"/>
                  <a:gd name="T92" fmla="*/ 4630 w 6045"/>
                  <a:gd name="T93" fmla="*/ 1533 h 1923"/>
                  <a:gd name="T94" fmla="*/ 4843 w 6045"/>
                  <a:gd name="T95" fmla="*/ 1667 h 1923"/>
                  <a:gd name="T96" fmla="*/ 4985 w 6045"/>
                  <a:gd name="T97" fmla="*/ 1754 h 1923"/>
                  <a:gd name="T98" fmla="*/ 4903 w 6045"/>
                  <a:gd name="T99" fmla="*/ 1298 h 1923"/>
                  <a:gd name="T100" fmla="*/ 4580 w 6045"/>
                  <a:gd name="T101" fmla="*/ 1205 h 1923"/>
                  <a:gd name="T102" fmla="*/ 4885 w 6045"/>
                  <a:gd name="T103" fmla="*/ 977 h 1923"/>
                  <a:gd name="T104" fmla="*/ 5110 w 6045"/>
                  <a:gd name="T105" fmla="*/ 890 h 1923"/>
                  <a:gd name="T106" fmla="*/ 5374 w 6045"/>
                  <a:gd name="T107" fmla="*/ 897 h 1923"/>
                  <a:gd name="T108" fmla="*/ 5630 w 6045"/>
                  <a:gd name="T109" fmla="*/ 1386 h 1923"/>
                  <a:gd name="T110" fmla="*/ 5463 w 6045"/>
                  <a:gd name="T111" fmla="*/ 992 h 1923"/>
                  <a:gd name="T112" fmla="*/ 5791 w 6045"/>
                  <a:gd name="T113" fmla="*/ 813 h 1923"/>
                  <a:gd name="T114" fmla="*/ 5719 w 6045"/>
                  <a:gd name="T115" fmla="*/ 660 h 1923"/>
                  <a:gd name="T116" fmla="*/ 3494 w 6045"/>
                  <a:gd name="T117" fmla="*/ 1368 h 1923"/>
                  <a:gd name="T118" fmla="*/ 3579 w 6045"/>
                  <a:gd name="T119" fmla="*/ 1259 h 1923"/>
                  <a:gd name="T120" fmla="*/ 943 w 6045"/>
                  <a:gd name="T121" fmla="*/ 537 h 1923"/>
                  <a:gd name="T122" fmla="*/ 924 w 6045"/>
                  <a:gd name="T123" fmla="*/ 25 h 19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45" h="1923">
                    <a:moveTo>
                      <a:pt x="1866" y="364"/>
                    </a:moveTo>
                    <a:cubicBezTo>
                      <a:pt x="1845" y="359"/>
                      <a:pt x="1845" y="359"/>
                      <a:pt x="1845" y="359"/>
                    </a:cubicBezTo>
                    <a:cubicBezTo>
                      <a:pt x="1828" y="373"/>
                      <a:pt x="1828" y="373"/>
                      <a:pt x="1828" y="373"/>
                    </a:cubicBezTo>
                    <a:cubicBezTo>
                      <a:pt x="1854" y="380"/>
                      <a:pt x="1854" y="380"/>
                      <a:pt x="1854" y="380"/>
                    </a:cubicBezTo>
                    <a:lnTo>
                      <a:pt x="1866" y="364"/>
                    </a:lnTo>
                    <a:close/>
                    <a:moveTo>
                      <a:pt x="1894" y="346"/>
                    </a:moveTo>
                    <a:cubicBezTo>
                      <a:pt x="1869" y="329"/>
                      <a:pt x="1876" y="352"/>
                      <a:pt x="1876" y="352"/>
                    </a:cubicBezTo>
                    <a:cubicBezTo>
                      <a:pt x="1901" y="362"/>
                      <a:pt x="1919" y="363"/>
                      <a:pt x="1894" y="346"/>
                    </a:cubicBezTo>
                    <a:close/>
                    <a:moveTo>
                      <a:pt x="1138" y="13"/>
                    </a:moveTo>
                    <a:cubicBezTo>
                      <a:pt x="1148" y="11"/>
                      <a:pt x="1162" y="1"/>
                      <a:pt x="1155" y="1"/>
                    </a:cubicBezTo>
                    <a:cubicBezTo>
                      <a:pt x="1148" y="1"/>
                      <a:pt x="1100" y="1"/>
                      <a:pt x="1100" y="1"/>
                    </a:cubicBezTo>
                    <a:cubicBezTo>
                      <a:pt x="1097" y="10"/>
                      <a:pt x="1097" y="10"/>
                      <a:pt x="1097" y="10"/>
                    </a:cubicBezTo>
                    <a:cubicBezTo>
                      <a:pt x="1124" y="7"/>
                      <a:pt x="1124" y="7"/>
                      <a:pt x="1124" y="7"/>
                    </a:cubicBezTo>
                    <a:cubicBezTo>
                      <a:pt x="1124" y="7"/>
                      <a:pt x="1128" y="14"/>
                      <a:pt x="1138" y="13"/>
                    </a:cubicBezTo>
                    <a:close/>
                    <a:moveTo>
                      <a:pt x="1163" y="39"/>
                    </a:moveTo>
                    <a:cubicBezTo>
                      <a:pt x="1168" y="39"/>
                      <a:pt x="1176" y="34"/>
                      <a:pt x="1176" y="34"/>
                    </a:cubicBezTo>
                    <a:cubicBezTo>
                      <a:pt x="1176" y="34"/>
                      <a:pt x="1203" y="42"/>
                      <a:pt x="1210" y="35"/>
                    </a:cubicBezTo>
                    <a:cubicBezTo>
                      <a:pt x="1217" y="28"/>
                      <a:pt x="1211" y="17"/>
                      <a:pt x="1189" y="17"/>
                    </a:cubicBezTo>
                    <a:cubicBezTo>
                      <a:pt x="1166" y="17"/>
                      <a:pt x="1145" y="34"/>
                      <a:pt x="1145" y="34"/>
                    </a:cubicBezTo>
                    <a:cubicBezTo>
                      <a:pt x="1149" y="39"/>
                      <a:pt x="1159" y="39"/>
                      <a:pt x="1163" y="39"/>
                    </a:cubicBezTo>
                    <a:close/>
                    <a:moveTo>
                      <a:pt x="1590" y="341"/>
                    </a:moveTo>
                    <a:cubicBezTo>
                      <a:pt x="1623" y="333"/>
                      <a:pt x="1612" y="323"/>
                      <a:pt x="1604" y="319"/>
                    </a:cubicBezTo>
                    <a:cubicBezTo>
                      <a:pt x="1596" y="315"/>
                      <a:pt x="1566" y="319"/>
                      <a:pt x="1566" y="319"/>
                    </a:cubicBezTo>
                    <a:cubicBezTo>
                      <a:pt x="1566" y="319"/>
                      <a:pt x="1572" y="345"/>
                      <a:pt x="1590" y="341"/>
                    </a:cubicBezTo>
                    <a:close/>
                    <a:moveTo>
                      <a:pt x="1062" y="20"/>
                    </a:moveTo>
                    <a:cubicBezTo>
                      <a:pt x="1034" y="17"/>
                      <a:pt x="1034" y="17"/>
                      <a:pt x="1034" y="17"/>
                    </a:cubicBezTo>
                    <a:cubicBezTo>
                      <a:pt x="1041" y="25"/>
                      <a:pt x="1041" y="25"/>
                      <a:pt x="1041" y="25"/>
                    </a:cubicBezTo>
                    <a:lnTo>
                      <a:pt x="1062" y="20"/>
                    </a:lnTo>
                    <a:close/>
                    <a:moveTo>
                      <a:pt x="1264" y="465"/>
                    </a:moveTo>
                    <a:cubicBezTo>
                      <a:pt x="1259" y="473"/>
                      <a:pt x="1324" y="507"/>
                      <a:pt x="1330" y="491"/>
                    </a:cubicBezTo>
                    <a:cubicBezTo>
                      <a:pt x="1336" y="475"/>
                      <a:pt x="1270" y="455"/>
                      <a:pt x="1264" y="465"/>
                    </a:cubicBezTo>
                    <a:close/>
                    <a:moveTo>
                      <a:pt x="2074" y="83"/>
                    </a:moveTo>
                    <a:cubicBezTo>
                      <a:pt x="2084" y="73"/>
                      <a:pt x="2084" y="73"/>
                      <a:pt x="2084" y="73"/>
                    </a:cubicBezTo>
                    <a:cubicBezTo>
                      <a:pt x="2024" y="73"/>
                      <a:pt x="2024" y="73"/>
                      <a:pt x="2024" y="73"/>
                    </a:cubicBezTo>
                    <a:lnTo>
                      <a:pt x="2074" y="83"/>
                    </a:lnTo>
                    <a:close/>
                    <a:moveTo>
                      <a:pt x="1044" y="68"/>
                    </a:moveTo>
                    <a:cubicBezTo>
                      <a:pt x="1090" y="66"/>
                      <a:pt x="1090" y="66"/>
                      <a:pt x="1090" y="66"/>
                    </a:cubicBezTo>
                    <a:cubicBezTo>
                      <a:pt x="1075" y="56"/>
                      <a:pt x="1075" y="56"/>
                      <a:pt x="1075" y="56"/>
                    </a:cubicBezTo>
                    <a:lnTo>
                      <a:pt x="1044" y="68"/>
                    </a:lnTo>
                    <a:close/>
                    <a:moveTo>
                      <a:pt x="1051" y="39"/>
                    </a:moveTo>
                    <a:cubicBezTo>
                      <a:pt x="1064" y="48"/>
                      <a:pt x="1066" y="52"/>
                      <a:pt x="1066" y="52"/>
                    </a:cubicBezTo>
                    <a:cubicBezTo>
                      <a:pt x="1083" y="44"/>
                      <a:pt x="1083" y="44"/>
                      <a:pt x="1083" y="44"/>
                    </a:cubicBezTo>
                    <a:cubicBezTo>
                      <a:pt x="1083" y="44"/>
                      <a:pt x="1076" y="49"/>
                      <a:pt x="1090" y="49"/>
                    </a:cubicBezTo>
                    <a:cubicBezTo>
                      <a:pt x="1104" y="49"/>
                      <a:pt x="1125" y="38"/>
                      <a:pt x="1125" y="38"/>
                    </a:cubicBezTo>
                    <a:cubicBezTo>
                      <a:pt x="1089" y="32"/>
                      <a:pt x="1089" y="32"/>
                      <a:pt x="1089" y="32"/>
                    </a:cubicBezTo>
                    <a:cubicBezTo>
                      <a:pt x="1079" y="38"/>
                      <a:pt x="1079" y="38"/>
                      <a:pt x="1079" y="38"/>
                    </a:cubicBezTo>
                    <a:cubicBezTo>
                      <a:pt x="1079" y="38"/>
                      <a:pt x="1065" y="32"/>
                      <a:pt x="1061" y="34"/>
                    </a:cubicBezTo>
                    <a:cubicBezTo>
                      <a:pt x="1057" y="35"/>
                      <a:pt x="1051" y="39"/>
                      <a:pt x="1051" y="39"/>
                    </a:cubicBezTo>
                    <a:close/>
                    <a:moveTo>
                      <a:pt x="1113" y="23"/>
                    </a:moveTo>
                    <a:cubicBezTo>
                      <a:pt x="1071" y="23"/>
                      <a:pt x="1071" y="23"/>
                      <a:pt x="1071" y="23"/>
                    </a:cubicBezTo>
                    <a:cubicBezTo>
                      <a:pt x="1106" y="31"/>
                      <a:pt x="1106" y="31"/>
                      <a:pt x="1106" y="31"/>
                    </a:cubicBezTo>
                    <a:lnTo>
                      <a:pt x="1113" y="23"/>
                    </a:lnTo>
                    <a:close/>
                    <a:moveTo>
                      <a:pt x="1032" y="349"/>
                    </a:moveTo>
                    <a:cubicBezTo>
                      <a:pt x="1002" y="354"/>
                      <a:pt x="1002" y="354"/>
                      <a:pt x="1002" y="354"/>
                    </a:cubicBezTo>
                    <a:cubicBezTo>
                      <a:pt x="1011" y="366"/>
                      <a:pt x="1011" y="366"/>
                      <a:pt x="1011" y="366"/>
                    </a:cubicBezTo>
                    <a:cubicBezTo>
                      <a:pt x="1030" y="357"/>
                      <a:pt x="1030" y="357"/>
                      <a:pt x="1030" y="357"/>
                    </a:cubicBezTo>
                    <a:cubicBezTo>
                      <a:pt x="1020" y="373"/>
                      <a:pt x="1020" y="373"/>
                      <a:pt x="1020" y="373"/>
                    </a:cubicBezTo>
                    <a:cubicBezTo>
                      <a:pt x="1020" y="373"/>
                      <a:pt x="992" y="379"/>
                      <a:pt x="994" y="390"/>
                    </a:cubicBezTo>
                    <a:cubicBezTo>
                      <a:pt x="996" y="401"/>
                      <a:pt x="1023" y="405"/>
                      <a:pt x="1035" y="405"/>
                    </a:cubicBezTo>
                    <a:cubicBezTo>
                      <a:pt x="1048" y="405"/>
                      <a:pt x="1065" y="408"/>
                      <a:pt x="1076" y="414"/>
                    </a:cubicBezTo>
                    <a:cubicBezTo>
                      <a:pt x="1086" y="420"/>
                      <a:pt x="1085" y="437"/>
                      <a:pt x="1088" y="438"/>
                    </a:cubicBezTo>
                    <a:cubicBezTo>
                      <a:pt x="1091" y="440"/>
                      <a:pt x="1140" y="447"/>
                      <a:pt x="1140" y="447"/>
                    </a:cubicBezTo>
                    <a:cubicBezTo>
                      <a:pt x="1214" y="443"/>
                      <a:pt x="1214" y="443"/>
                      <a:pt x="1214" y="443"/>
                    </a:cubicBezTo>
                    <a:cubicBezTo>
                      <a:pt x="1214" y="443"/>
                      <a:pt x="1154" y="437"/>
                      <a:pt x="1138" y="411"/>
                    </a:cubicBezTo>
                    <a:cubicBezTo>
                      <a:pt x="1122" y="385"/>
                      <a:pt x="1106" y="385"/>
                      <a:pt x="1122" y="361"/>
                    </a:cubicBezTo>
                    <a:cubicBezTo>
                      <a:pt x="1138" y="337"/>
                      <a:pt x="1119" y="335"/>
                      <a:pt x="1119" y="335"/>
                    </a:cubicBezTo>
                    <a:cubicBezTo>
                      <a:pt x="1146" y="331"/>
                      <a:pt x="1146" y="331"/>
                      <a:pt x="1146" y="331"/>
                    </a:cubicBezTo>
                    <a:cubicBezTo>
                      <a:pt x="1135" y="319"/>
                      <a:pt x="1135" y="319"/>
                      <a:pt x="1135" y="319"/>
                    </a:cubicBezTo>
                    <a:cubicBezTo>
                      <a:pt x="1158" y="322"/>
                      <a:pt x="1158" y="322"/>
                      <a:pt x="1158" y="322"/>
                    </a:cubicBezTo>
                    <a:cubicBezTo>
                      <a:pt x="1145" y="314"/>
                      <a:pt x="1145" y="314"/>
                      <a:pt x="1145" y="314"/>
                    </a:cubicBezTo>
                    <a:cubicBezTo>
                      <a:pt x="1161" y="316"/>
                      <a:pt x="1161" y="316"/>
                      <a:pt x="1161" y="316"/>
                    </a:cubicBezTo>
                    <a:cubicBezTo>
                      <a:pt x="1165" y="306"/>
                      <a:pt x="1165" y="306"/>
                      <a:pt x="1165" y="306"/>
                    </a:cubicBezTo>
                    <a:cubicBezTo>
                      <a:pt x="1151" y="299"/>
                      <a:pt x="1151" y="299"/>
                      <a:pt x="1151" y="299"/>
                    </a:cubicBezTo>
                    <a:cubicBezTo>
                      <a:pt x="1151" y="299"/>
                      <a:pt x="1178" y="303"/>
                      <a:pt x="1182" y="299"/>
                    </a:cubicBezTo>
                    <a:cubicBezTo>
                      <a:pt x="1186" y="295"/>
                      <a:pt x="1171" y="285"/>
                      <a:pt x="1171" y="285"/>
                    </a:cubicBezTo>
                    <a:cubicBezTo>
                      <a:pt x="1193" y="287"/>
                      <a:pt x="1193" y="287"/>
                      <a:pt x="1193" y="287"/>
                    </a:cubicBezTo>
                    <a:cubicBezTo>
                      <a:pt x="1191" y="268"/>
                      <a:pt x="1191" y="268"/>
                      <a:pt x="1191" y="268"/>
                    </a:cubicBezTo>
                    <a:cubicBezTo>
                      <a:pt x="1191" y="268"/>
                      <a:pt x="1205" y="279"/>
                      <a:pt x="1223" y="271"/>
                    </a:cubicBezTo>
                    <a:cubicBezTo>
                      <a:pt x="1242" y="264"/>
                      <a:pt x="1254" y="250"/>
                      <a:pt x="1254" y="250"/>
                    </a:cubicBezTo>
                    <a:cubicBezTo>
                      <a:pt x="1254" y="250"/>
                      <a:pt x="1399" y="229"/>
                      <a:pt x="1420" y="220"/>
                    </a:cubicBezTo>
                    <a:cubicBezTo>
                      <a:pt x="1442" y="210"/>
                      <a:pt x="1463" y="195"/>
                      <a:pt x="1430" y="184"/>
                    </a:cubicBezTo>
                    <a:cubicBezTo>
                      <a:pt x="1397" y="172"/>
                      <a:pt x="1363" y="188"/>
                      <a:pt x="1348" y="194"/>
                    </a:cubicBezTo>
                    <a:cubicBezTo>
                      <a:pt x="1334" y="200"/>
                      <a:pt x="1290" y="215"/>
                      <a:pt x="1270" y="212"/>
                    </a:cubicBezTo>
                    <a:cubicBezTo>
                      <a:pt x="1249" y="210"/>
                      <a:pt x="1218" y="206"/>
                      <a:pt x="1218" y="206"/>
                    </a:cubicBezTo>
                    <a:cubicBezTo>
                      <a:pt x="1207" y="223"/>
                      <a:pt x="1207" y="223"/>
                      <a:pt x="1207" y="223"/>
                    </a:cubicBezTo>
                    <a:cubicBezTo>
                      <a:pt x="1190" y="214"/>
                      <a:pt x="1190" y="214"/>
                      <a:pt x="1190" y="214"/>
                    </a:cubicBezTo>
                    <a:cubicBezTo>
                      <a:pt x="1155" y="228"/>
                      <a:pt x="1155" y="228"/>
                      <a:pt x="1155" y="228"/>
                    </a:cubicBezTo>
                    <a:cubicBezTo>
                      <a:pt x="1136" y="227"/>
                      <a:pt x="1136" y="227"/>
                      <a:pt x="1136" y="227"/>
                    </a:cubicBezTo>
                    <a:cubicBezTo>
                      <a:pt x="1117" y="242"/>
                      <a:pt x="1117" y="242"/>
                      <a:pt x="1117" y="242"/>
                    </a:cubicBezTo>
                    <a:cubicBezTo>
                      <a:pt x="1131" y="247"/>
                      <a:pt x="1131" y="247"/>
                      <a:pt x="1131" y="247"/>
                    </a:cubicBezTo>
                    <a:cubicBezTo>
                      <a:pt x="1098" y="248"/>
                      <a:pt x="1098" y="248"/>
                      <a:pt x="1098" y="248"/>
                    </a:cubicBezTo>
                    <a:cubicBezTo>
                      <a:pt x="1079" y="254"/>
                      <a:pt x="1079" y="254"/>
                      <a:pt x="1079" y="254"/>
                    </a:cubicBezTo>
                    <a:cubicBezTo>
                      <a:pt x="1080" y="263"/>
                      <a:pt x="1080" y="263"/>
                      <a:pt x="1080" y="263"/>
                    </a:cubicBezTo>
                    <a:cubicBezTo>
                      <a:pt x="1097" y="254"/>
                      <a:pt x="1097" y="254"/>
                      <a:pt x="1097" y="254"/>
                    </a:cubicBezTo>
                    <a:cubicBezTo>
                      <a:pt x="1098" y="263"/>
                      <a:pt x="1098" y="263"/>
                      <a:pt x="1098" y="263"/>
                    </a:cubicBezTo>
                    <a:cubicBezTo>
                      <a:pt x="1117" y="265"/>
                      <a:pt x="1117" y="265"/>
                      <a:pt x="1117" y="265"/>
                    </a:cubicBezTo>
                    <a:cubicBezTo>
                      <a:pt x="1111" y="273"/>
                      <a:pt x="1111" y="273"/>
                      <a:pt x="1111" y="273"/>
                    </a:cubicBezTo>
                    <a:cubicBezTo>
                      <a:pt x="1085" y="273"/>
                      <a:pt x="1085" y="273"/>
                      <a:pt x="1085" y="273"/>
                    </a:cubicBezTo>
                    <a:cubicBezTo>
                      <a:pt x="1081" y="282"/>
                      <a:pt x="1081" y="282"/>
                      <a:pt x="1081" y="282"/>
                    </a:cubicBezTo>
                    <a:cubicBezTo>
                      <a:pt x="1099" y="285"/>
                      <a:pt x="1099" y="285"/>
                      <a:pt x="1099" y="285"/>
                    </a:cubicBezTo>
                    <a:cubicBezTo>
                      <a:pt x="1068" y="287"/>
                      <a:pt x="1068" y="287"/>
                      <a:pt x="1068" y="287"/>
                    </a:cubicBezTo>
                    <a:cubicBezTo>
                      <a:pt x="1090" y="293"/>
                      <a:pt x="1090" y="293"/>
                      <a:pt x="1090" y="293"/>
                    </a:cubicBezTo>
                    <a:cubicBezTo>
                      <a:pt x="1061" y="295"/>
                      <a:pt x="1061" y="295"/>
                      <a:pt x="1061" y="295"/>
                    </a:cubicBezTo>
                    <a:cubicBezTo>
                      <a:pt x="1059" y="309"/>
                      <a:pt x="1059" y="309"/>
                      <a:pt x="1059" y="309"/>
                    </a:cubicBezTo>
                    <a:cubicBezTo>
                      <a:pt x="1039" y="316"/>
                      <a:pt x="1039" y="316"/>
                      <a:pt x="1039" y="316"/>
                    </a:cubicBezTo>
                    <a:cubicBezTo>
                      <a:pt x="1046" y="326"/>
                      <a:pt x="1046" y="326"/>
                      <a:pt x="1046" y="326"/>
                    </a:cubicBezTo>
                    <a:cubicBezTo>
                      <a:pt x="1073" y="314"/>
                      <a:pt x="1073" y="314"/>
                      <a:pt x="1073" y="314"/>
                    </a:cubicBezTo>
                    <a:cubicBezTo>
                      <a:pt x="1062" y="332"/>
                      <a:pt x="1062" y="332"/>
                      <a:pt x="1062" y="332"/>
                    </a:cubicBezTo>
                    <a:cubicBezTo>
                      <a:pt x="1062" y="332"/>
                      <a:pt x="1041" y="327"/>
                      <a:pt x="1033" y="334"/>
                    </a:cubicBezTo>
                    <a:cubicBezTo>
                      <a:pt x="1026" y="341"/>
                      <a:pt x="1032" y="349"/>
                      <a:pt x="1032" y="349"/>
                    </a:cubicBezTo>
                    <a:close/>
                    <a:moveTo>
                      <a:pt x="3856" y="331"/>
                    </a:moveTo>
                    <a:cubicBezTo>
                      <a:pt x="3904" y="325"/>
                      <a:pt x="3904" y="325"/>
                      <a:pt x="3904" y="325"/>
                    </a:cubicBezTo>
                    <a:cubicBezTo>
                      <a:pt x="3976" y="335"/>
                      <a:pt x="3976" y="335"/>
                      <a:pt x="3976" y="335"/>
                    </a:cubicBezTo>
                    <a:cubicBezTo>
                      <a:pt x="3976" y="335"/>
                      <a:pt x="3954" y="311"/>
                      <a:pt x="3938" y="307"/>
                    </a:cubicBezTo>
                    <a:cubicBezTo>
                      <a:pt x="3922" y="303"/>
                      <a:pt x="3866" y="311"/>
                      <a:pt x="3866" y="311"/>
                    </a:cubicBezTo>
                    <a:lnTo>
                      <a:pt x="3856" y="331"/>
                    </a:lnTo>
                    <a:close/>
                    <a:moveTo>
                      <a:pt x="3858" y="253"/>
                    </a:moveTo>
                    <a:cubicBezTo>
                      <a:pt x="3896" y="257"/>
                      <a:pt x="3896" y="257"/>
                      <a:pt x="3896" y="257"/>
                    </a:cubicBezTo>
                    <a:cubicBezTo>
                      <a:pt x="3906" y="247"/>
                      <a:pt x="3904" y="235"/>
                      <a:pt x="3886" y="235"/>
                    </a:cubicBezTo>
                    <a:cubicBezTo>
                      <a:pt x="3868" y="235"/>
                      <a:pt x="3808" y="221"/>
                      <a:pt x="3816" y="233"/>
                    </a:cubicBezTo>
                    <a:cubicBezTo>
                      <a:pt x="3824" y="245"/>
                      <a:pt x="3858" y="253"/>
                      <a:pt x="3858" y="253"/>
                    </a:cubicBezTo>
                    <a:close/>
                    <a:moveTo>
                      <a:pt x="3818" y="289"/>
                    </a:moveTo>
                    <a:cubicBezTo>
                      <a:pt x="3792" y="315"/>
                      <a:pt x="3848" y="313"/>
                      <a:pt x="3856" y="303"/>
                    </a:cubicBezTo>
                    <a:cubicBezTo>
                      <a:pt x="3864" y="293"/>
                      <a:pt x="3825" y="282"/>
                      <a:pt x="3818" y="289"/>
                    </a:cubicBezTo>
                    <a:close/>
                    <a:moveTo>
                      <a:pt x="2050" y="65"/>
                    </a:moveTo>
                    <a:cubicBezTo>
                      <a:pt x="2050" y="65"/>
                      <a:pt x="2106" y="69"/>
                      <a:pt x="2118" y="65"/>
                    </a:cubicBezTo>
                    <a:cubicBezTo>
                      <a:pt x="2130" y="61"/>
                      <a:pt x="2172" y="65"/>
                      <a:pt x="2164" y="49"/>
                    </a:cubicBezTo>
                    <a:cubicBezTo>
                      <a:pt x="2156" y="33"/>
                      <a:pt x="2082" y="11"/>
                      <a:pt x="2082" y="11"/>
                    </a:cubicBezTo>
                    <a:cubicBezTo>
                      <a:pt x="2082" y="11"/>
                      <a:pt x="2026" y="1"/>
                      <a:pt x="2024" y="21"/>
                    </a:cubicBezTo>
                    <a:cubicBezTo>
                      <a:pt x="2022" y="41"/>
                      <a:pt x="2050" y="65"/>
                      <a:pt x="2050" y="65"/>
                    </a:cubicBezTo>
                    <a:close/>
                    <a:moveTo>
                      <a:pt x="4094" y="273"/>
                    </a:moveTo>
                    <a:cubicBezTo>
                      <a:pt x="4122" y="259"/>
                      <a:pt x="4026" y="259"/>
                      <a:pt x="4026" y="259"/>
                    </a:cubicBezTo>
                    <a:cubicBezTo>
                      <a:pt x="4026" y="259"/>
                      <a:pt x="4006" y="241"/>
                      <a:pt x="3998" y="241"/>
                    </a:cubicBezTo>
                    <a:cubicBezTo>
                      <a:pt x="3990" y="241"/>
                      <a:pt x="3966" y="245"/>
                      <a:pt x="3966" y="245"/>
                    </a:cubicBezTo>
                    <a:cubicBezTo>
                      <a:pt x="3942" y="243"/>
                      <a:pt x="3942" y="243"/>
                      <a:pt x="3942" y="243"/>
                    </a:cubicBezTo>
                    <a:cubicBezTo>
                      <a:pt x="3966" y="259"/>
                      <a:pt x="3966" y="259"/>
                      <a:pt x="3966" y="259"/>
                    </a:cubicBezTo>
                    <a:cubicBezTo>
                      <a:pt x="3966" y="259"/>
                      <a:pt x="4066" y="287"/>
                      <a:pt x="4094" y="273"/>
                    </a:cubicBezTo>
                    <a:close/>
                    <a:moveTo>
                      <a:pt x="5070" y="495"/>
                    </a:moveTo>
                    <a:cubicBezTo>
                      <a:pt x="5078" y="485"/>
                      <a:pt x="5004" y="475"/>
                      <a:pt x="5004" y="475"/>
                    </a:cubicBezTo>
                    <a:cubicBezTo>
                      <a:pt x="5004" y="483"/>
                      <a:pt x="5062" y="505"/>
                      <a:pt x="5070" y="495"/>
                    </a:cubicBezTo>
                    <a:close/>
                    <a:moveTo>
                      <a:pt x="2112" y="81"/>
                    </a:moveTo>
                    <a:cubicBezTo>
                      <a:pt x="2112" y="89"/>
                      <a:pt x="2178" y="95"/>
                      <a:pt x="2178" y="95"/>
                    </a:cubicBezTo>
                    <a:cubicBezTo>
                      <a:pt x="2212" y="91"/>
                      <a:pt x="2212" y="91"/>
                      <a:pt x="2212" y="91"/>
                    </a:cubicBezTo>
                    <a:cubicBezTo>
                      <a:pt x="2250" y="105"/>
                      <a:pt x="2250" y="105"/>
                      <a:pt x="2250" y="105"/>
                    </a:cubicBezTo>
                    <a:cubicBezTo>
                      <a:pt x="2292" y="103"/>
                      <a:pt x="2292" y="103"/>
                      <a:pt x="2292" y="103"/>
                    </a:cubicBezTo>
                    <a:cubicBezTo>
                      <a:pt x="2286" y="85"/>
                      <a:pt x="2268" y="59"/>
                      <a:pt x="2250" y="61"/>
                    </a:cubicBezTo>
                    <a:cubicBezTo>
                      <a:pt x="2232" y="63"/>
                      <a:pt x="2214" y="75"/>
                      <a:pt x="2214" y="75"/>
                    </a:cubicBezTo>
                    <a:cubicBezTo>
                      <a:pt x="2200" y="59"/>
                      <a:pt x="2200" y="59"/>
                      <a:pt x="2200" y="59"/>
                    </a:cubicBezTo>
                    <a:cubicBezTo>
                      <a:pt x="2200" y="59"/>
                      <a:pt x="2112" y="73"/>
                      <a:pt x="2112" y="81"/>
                    </a:cubicBezTo>
                    <a:close/>
                    <a:moveTo>
                      <a:pt x="2392" y="133"/>
                    </a:moveTo>
                    <a:cubicBezTo>
                      <a:pt x="2498" y="127"/>
                      <a:pt x="2498" y="127"/>
                      <a:pt x="2498" y="127"/>
                    </a:cubicBezTo>
                    <a:cubicBezTo>
                      <a:pt x="2470" y="111"/>
                      <a:pt x="2470" y="111"/>
                      <a:pt x="2470" y="111"/>
                    </a:cubicBezTo>
                    <a:cubicBezTo>
                      <a:pt x="2470" y="111"/>
                      <a:pt x="2432" y="91"/>
                      <a:pt x="2422" y="91"/>
                    </a:cubicBezTo>
                    <a:cubicBezTo>
                      <a:pt x="2412" y="91"/>
                      <a:pt x="2394" y="103"/>
                      <a:pt x="2394" y="103"/>
                    </a:cubicBezTo>
                    <a:cubicBezTo>
                      <a:pt x="2394" y="103"/>
                      <a:pt x="2388" y="75"/>
                      <a:pt x="2366" y="75"/>
                    </a:cubicBezTo>
                    <a:cubicBezTo>
                      <a:pt x="2344" y="75"/>
                      <a:pt x="2332" y="141"/>
                      <a:pt x="2332" y="141"/>
                    </a:cubicBezTo>
                    <a:cubicBezTo>
                      <a:pt x="2348" y="149"/>
                      <a:pt x="2348" y="149"/>
                      <a:pt x="2348" y="149"/>
                    </a:cubicBezTo>
                    <a:cubicBezTo>
                      <a:pt x="2366" y="145"/>
                      <a:pt x="2392" y="133"/>
                      <a:pt x="2392" y="133"/>
                    </a:cubicBezTo>
                    <a:close/>
                    <a:moveTo>
                      <a:pt x="3752" y="279"/>
                    </a:moveTo>
                    <a:cubicBezTo>
                      <a:pt x="3762" y="261"/>
                      <a:pt x="3762" y="261"/>
                      <a:pt x="3762" y="261"/>
                    </a:cubicBezTo>
                    <a:cubicBezTo>
                      <a:pt x="3762" y="261"/>
                      <a:pt x="3788" y="261"/>
                      <a:pt x="3798" y="261"/>
                    </a:cubicBezTo>
                    <a:cubicBezTo>
                      <a:pt x="3808" y="261"/>
                      <a:pt x="3838" y="259"/>
                      <a:pt x="3838" y="259"/>
                    </a:cubicBezTo>
                    <a:cubicBezTo>
                      <a:pt x="3796" y="239"/>
                      <a:pt x="3796" y="239"/>
                      <a:pt x="3796" y="239"/>
                    </a:cubicBezTo>
                    <a:cubicBezTo>
                      <a:pt x="3804" y="225"/>
                      <a:pt x="3804" y="225"/>
                      <a:pt x="3804" y="225"/>
                    </a:cubicBezTo>
                    <a:cubicBezTo>
                      <a:pt x="3744" y="213"/>
                      <a:pt x="3744" y="213"/>
                      <a:pt x="3744" y="213"/>
                    </a:cubicBezTo>
                    <a:cubicBezTo>
                      <a:pt x="3754" y="231"/>
                      <a:pt x="3754" y="231"/>
                      <a:pt x="3754" y="231"/>
                    </a:cubicBezTo>
                    <a:cubicBezTo>
                      <a:pt x="3754" y="231"/>
                      <a:pt x="3632" y="191"/>
                      <a:pt x="3634" y="221"/>
                    </a:cubicBezTo>
                    <a:cubicBezTo>
                      <a:pt x="3636" y="251"/>
                      <a:pt x="3752" y="279"/>
                      <a:pt x="3752" y="279"/>
                    </a:cubicBezTo>
                    <a:close/>
                    <a:moveTo>
                      <a:pt x="2882" y="289"/>
                    </a:moveTo>
                    <a:cubicBezTo>
                      <a:pt x="2914" y="295"/>
                      <a:pt x="2914" y="295"/>
                      <a:pt x="2914" y="295"/>
                    </a:cubicBezTo>
                    <a:cubicBezTo>
                      <a:pt x="2934" y="297"/>
                      <a:pt x="2954" y="285"/>
                      <a:pt x="2924" y="279"/>
                    </a:cubicBezTo>
                    <a:cubicBezTo>
                      <a:pt x="2894" y="273"/>
                      <a:pt x="2882" y="289"/>
                      <a:pt x="2882" y="289"/>
                    </a:cubicBezTo>
                    <a:close/>
                    <a:moveTo>
                      <a:pt x="3618" y="235"/>
                    </a:moveTo>
                    <a:cubicBezTo>
                      <a:pt x="3582" y="223"/>
                      <a:pt x="3582" y="223"/>
                      <a:pt x="3582" y="223"/>
                    </a:cubicBezTo>
                    <a:cubicBezTo>
                      <a:pt x="3598" y="245"/>
                      <a:pt x="3598" y="245"/>
                      <a:pt x="3598" y="245"/>
                    </a:cubicBezTo>
                    <a:lnTo>
                      <a:pt x="3618" y="235"/>
                    </a:lnTo>
                    <a:close/>
                    <a:moveTo>
                      <a:pt x="5328" y="443"/>
                    </a:moveTo>
                    <a:cubicBezTo>
                      <a:pt x="5340" y="439"/>
                      <a:pt x="5358" y="437"/>
                      <a:pt x="5384" y="437"/>
                    </a:cubicBezTo>
                    <a:cubicBezTo>
                      <a:pt x="5410" y="437"/>
                      <a:pt x="5414" y="421"/>
                      <a:pt x="5396" y="419"/>
                    </a:cubicBezTo>
                    <a:cubicBezTo>
                      <a:pt x="5378" y="417"/>
                      <a:pt x="5346" y="405"/>
                      <a:pt x="5334" y="405"/>
                    </a:cubicBezTo>
                    <a:cubicBezTo>
                      <a:pt x="5322" y="405"/>
                      <a:pt x="5294" y="405"/>
                      <a:pt x="5294" y="427"/>
                    </a:cubicBezTo>
                    <a:cubicBezTo>
                      <a:pt x="5294" y="451"/>
                      <a:pt x="5316" y="447"/>
                      <a:pt x="5328" y="443"/>
                    </a:cubicBezTo>
                    <a:close/>
                    <a:moveTo>
                      <a:pt x="111" y="1194"/>
                    </a:moveTo>
                    <a:cubicBezTo>
                      <a:pt x="103" y="1195"/>
                      <a:pt x="79" y="1198"/>
                      <a:pt x="79" y="1198"/>
                    </a:cubicBezTo>
                    <a:cubicBezTo>
                      <a:pt x="77" y="1192"/>
                      <a:pt x="77" y="1192"/>
                      <a:pt x="77" y="1192"/>
                    </a:cubicBezTo>
                    <a:cubicBezTo>
                      <a:pt x="69" y="1193"/>
                      <a:pt x="69" y="1193"/>
                      <a:pt x="69" y="1193"/>
                    </a:cubicBezTo>
                    <a:cubicBezTo>
                      <a:pt x="66" y="1187"/>
                      <a:pt x="66" y="1187"/>
                      <a:pt x="66" y="1187"/>
                    </a:cubicBezTo>
                    <a:cubicBezTo>
                      <a:pt x="61" y="1187"/>
                      <a:pt x="61" y="1187"/>
                      <a:pt x="61" y="1187"/>
                    </a:cubicBezTo>
                    <a:cubicBezTo>
                      <a:pt x="61" y="1192"/>
                      <a:pt x="53" y="1201"/>
                      <a:pt x="53" y="1201"/>
                    </a:cubicBezTo>
                    <a:cubicBezTo>
                      <a:pt x="53" y="1201"/>
                      <a:pt x="12" y="1196"/>
                      <a:pt x="6" y="1203"/>
                    </a:cubicBezTo>
                    <a:cubicBezTo>
                      <a:pt x="0" y="1210"/>
                      <a:pt x="13" y="1219"/>
                      <a:pt x="13" y="1219"/>
                    </a:cubicBezTo>
                    <a:cubicBezTo>
                      <a:pt x="8" y="1228"/>
                      <a:pt x="8" y="1228"/>
                      <a:pt x="8" y="1228"/>
                    </a:cubicBezTo>
                    <a:cubicBezTo>
                      <a:pt x="8" y="1227"/>
                      <a:pt x="8" y="1227"/>
                      <a:pt x="8" y="1227"/>
                    </a:cubicBezTo>
                    <a:cubicBezTo>
                      <a:pt x="13" y="1232"/>
                      <a:pt x="13" y="1232"/>
                      <a:pt x="13" y="1232"/>
                    </a:cubicBezTo>
                    <a:cubicBezTo>
                      <a:pt x="13" y="1232"/>
                      <a:pt x="25" y="1227"/>
                      <a:pt x="34" y="1229"/>
                    </a:cubicBezTo>
                    <a:cubicBezTo>
                      <a:pt x="43" y="1231"/>
                      <a:pt x="51" y="1236"/>
                      <a:pt x="51" y="1236"/>
                    </a:cubicBezTo>
                    <a:cubicBezTo>
                      <a:pt x="51" y="1236"/>
                      <a:pt x="82" y="1234"/>
                      <a:pt x="90" y="1235"/>
                    </a:cubicBezTo>
                    <a:cubicBezTo>
                      <a:pt x="98" y="1236"/>
                      <a:pt x="113" y="1236"/>
                      <a:pt x="113" y="1236"/>
                    </a:cubicBezTo>
                    <a:cubicBezTo>
                      <a:pt x="113" y="1236"/>
                      <a:pt x="109" y="1230"/>
                      <a:pt x="117" y="1231"/>
                    </a:cubicBezTo>
                    <a:cubicBezTo>
                      <a:pt x="112" y="1221"/>
                      <a:pt x="112" y="1221"/>
                      <a:pt x="112" y="1221"/>
                    </a:cubicBezTo>
                    <a:cubicBezTo>
                      <a:pt x="112" y="1221"/>
                      <a:pt x="120" y="1214"/>
                      <a:pt x="121" y="1209"/>
                    </a:cubicBezTo>
                    <a:cubicBezTo>
                      <a:pt x="122" y="1204"/>
                      <a:pt x="119" y="1193"/>
                      <a:pt x="111" y="1194"/>
                    </a:cubicBezTo>
                    <a:close/>
                    <a:moveTo>
                      <a:pt x="698" y="59"/>
                    </a:moveTo>
                    <a:cubicBezTo>
                      <a:pt x="712" y="49"/>
                      <a:pt x="712" y="49"/>
                      <a:pt x="712" y="49"/>
                    </a:cubicBezTo>
                    <a:cubicBezTo>
                      <a:pt x="712" y="49"/>
                      <a:pt x="677" y="42"/>
                      <a:pt x="698" y="59"/>
                    </a:cubicBezTo>
                    <a:close/>
                    <a:moveTo>
                      <a:pt x="664" y="48"/>
                    </a:moveTo>
                    <a:cubicBezTo>
                      <a:pt x="720" y="35"/>
                      <a:pt x="720" y="35"/>
                      <a:pt x="720" y="35"/>
                    </a:cubicBezTo>
                    <a:cubicBezTo>
                      <a:pt x="702" y="30"/>
                      <a:pt x="702" y="30"/>
                      <a:pt x="702" y="30"/>
                    </a:cubicBezTo>
                    <a:cubicBezTo>
                      <a:pt x="668" y="38"/>
                      <a:pt x="668" y="38"/>
                      <a:pt x="668" y="38"/>
                    </a:cubicBezTo>
                    <a:cubicBezTo>
                      <a:pt x="634" y="37"/>
                      <a:pt x="634" y="37"/>
                      <a:pt x="634" y="37"/>
                    </a:cubicBezTo>
                    <a:cubicBezTo>
                      <a:pt x="650" y="44"/>
                      <a:pt x="650" y="44"/>
                      <a:pt x="650" y="44"/>
                    </a:cubicBezTo>
                    <a:lnTo>
                      <a:pt x="664" y="48"/>
                    </a:lnTo>
                    <a:close/>
                    <a:moveTo>
                      <a:pt x="754" y="61"/>
                    </a:moveTo>
                    <a:cubicBezTo>
                      <a:pt x="757" y="51"/>
                      <a:pt x="757" y="51"/>
                      <a:pt x="757" y="51"/>
                    </a:cubicBezTo>
                    <a:cubicBezTo>
                      <a:pt x="774" y="51"/>
                      <a:pt x="774" y="51"/>
                      <a:pt x="774" y="51"/>
                    </a:cubicBezTo>
                    <a:cubicBezTo>
                      <a:pt x="779" y="45"/>
                      <a:pt x="779" y="45"/>
                      <a:pt x="779" y="45"/>
                    </a:cubicBezTo>
                    <a:cubicBezTo>
                      <a:pt x="779" y="45"/>
                      <a:pt x="806" y="48"/>
                      <a:pt x="816" y="42"/>
                    </a:cubicBezTo>
                    <a:cubicBezTo>
                      <a:pt x="826" y="37"/>
                      <a:pt x="791" y="37"/>
                      <a:pt x="791" y="37"/>
                    </a:cubicBezTo>
                    <a:cubicBezTo>
                      <a:pt x="791" y="37"/>
                      <a:pt x="791" y="27"/>
                      <a:pt x="774" y="27"/>
                    </a:cubicBezTo>
                    <a:cubicBezTo>
                      <a:pt x="757" y="27"/>
                      <a:pt x="755" y="45"/>
                      <a:pt x="755" y="45"/>
                    </a:cubicBezTo>
                    <a:cubicBezTo>
                      <a:pt x="755" y="45"/>
                      <a:pt x="719" y="51"/>
                      <a:pt x="722" y="56"/>
                    </a:cubicBezTo>
                    <a:cubicBezTo>
                      <a:pt x="724" y="62"/>
                      <a:pt x="754" y="61"/>
                      <a:pt x="754" y="61"/>
                    </a:cubicBezTo>
                    <a:close/>
                    <a:moveTo>
                      <a:pt x="786" y="53"/>
                    </a:moveTo>
                    <a:cubicBezTo>
                      <a:pt x="776" y="59"/>
                      <a:pt x="776" y="59"/>
                      <a:pt x="776" y="59"/>
                    </a:cubicBezTo>
                    <a:cubicBezTo>
                      <a:pt x="789" y="66"/>
                      <a:pt x="789" y="66"/>
                      <a:pt x="789" y="66"/>
                    </a:cubicBezTo>
                    <a:cubicBezTo>
                      <a:pt x="802" y="72"/>
                      <a:pt x="802" y="72"/>
                      <a:pt x="802" y="72"/>
                    </a:cubicBezTo>
                    <a:cubicBezTo>
                      <a:pt x="834" y="69"/>
                      <a:pt x="834" y="69"/>
                      <a:pt x="834" y="69"/>
                    </a:cubicBezTo>
                    <a:cubicBezTo>
                      <a:pt x="833" y="61"/>
                      <a:pt x="833" y="61"/>
                      <a:pt x="833" y="61"/>
                    </a:cubicBezTo>
                    <a:cubicBezTo>
                      <a:pt x="810" y="61"/>
                      <a:pt x="810" y="61"/>
                      <a:pt x="810" y="61"/>
                    </a:cubicBezTo>
                    <a:lnTo>
                      <a:pt x="786" y="53"/>
                    </a:lnTo>
                    <a:close/>
                    <a:moveTo>
                      <a:pt x="5213" y="1622"/>
                    </a:moveTo>
                    <a:cubicBezTo>
                      <a:pt x="5191" y="1599"/>
                      <a:pt x="5191" y="1599"/>
                      <a:pt x="5191" y="1599"/>
                    </a:cubicBezTo>
                    <a:cubicBezTo>
                      <a:pt x="5191" y="1599"/>
                      <a:pt x="5169" y="1593"/>
                      <a:pt x="5156" y="1575"/>
                    </a:cubicBezTo>
                    <a:cubicBezTo>
                      <a:pt x="5144" y="1557"/>
                      <a:pt x="5136" y="1516"/>
                      <a:pt x="5136" y="1516"/>
                    </a:cubicBezTo>
                    <a:cubicBezTo>
                      <a:pt x="5136" y="1516"/>
                      <a:pt x="5112" y="1502"/>
                      <a:pt x="5125" y="1495"/>
                    </a:cubicBezTo>
                    <a:cubicBezTo>
                      <a:pt x="5137" y="1488"/>
                      <a:pt x="5213" y="1526"/>
                      <a:pt x="5213" y="1526"/>
                    </a:cubicBezTo>
                    <a:cubicBezTo>
                      <a:pt x="5163" y="1489"/>
                      <a:pt x="5163" y="1489"/>
                      <a:pt x="5163" y="1489"/>
                    </a:cubicBezTo>
                    <a:cubicBezTo>
                      <a:pt x="5163" y="1489"/>
                      <a:pt x="5144" y="1459"/>
                      <a:pt x="5134" y="1452"/>
                    </a:cubicBezTo>
                    <a:cubicBezTo>
                      <a:pt x="5125" y="1445"/>
                      <a:pt x="5109" y="1435"/>
                      <a:pt x="5109" y="1435"/>
                    </a:cubicBezTo>
                    <a:cubicBezTo>
                      <a:pt x="5057" y="1379"/>
                      <a:pt x="5057" y="1379"/>
                      <a:pt x="5057" y="1379"/>
                    </a:cubicBezTo>
                    <a:cubicBezTo>
                      <a:pt x="5040" y="1380"/>
                      <a:pt x="5040" y="1380"/>
                      <a:pt x="5040" y="1380"/>
                    </a:cubicBezTo>
                    <a:cubicBezTo>
                      <a:pt x="5033" y="1361"/>
                      <a:pt x="5033" y="1361"/>
                      <a:pt x="5033" y="1361"/>
                    </a:cubicBezTo>
                    <a:cubicBezTo>
                      <a:pt x="5033" y="1361"/>
                      <a:pt x="5023" y="1363"/>
                      <a:pt x="5011" y="1351"/>
                    </a:cubicBezTo>
                    <a:cubicBezTo>
                      <a:pt x="4999" y="1338"/>
                      <a:pt x="5003" y="1322"/>
                      <a:pt x="5003" y="1322"/>
                    </a:cubicBezTo>
                    <a:cubicBezTo>
                      <a:pt x="4983" y="1297"/>
                      <a:pt x="4983" y="1297"/>
                      <a:pt x="4983" y="1297"/>
                    </a:cubicBezTo>
                    <a:cubicBezTo>
                      <a:pt x="4969" y="1298"/>
                      <a:pt x="4969" y="1298"/>
                      <a:pt x="4969" y="1298"/>
                    </a:cubicBezTo>
                    <a:cubicBezTo>
                      <a:pt x="4960" y="1279"/>
                      <a:pt x="4960" y="1279"/>
                      <a:pt x="4960" y="1279"/>
                    </a:cubicBezTo>
                    <a:cubicBezTo>
                      <a:pt x="4933" y="1259"/>
                      <a:pt x="4933" y="1259"/>
                      <a:pt x="4933" y="1259"/>
                    </a:cubicBezTo>
                    <a:cubicBezTo>
                      <a:pt x="4925" y="1243"/>
                      <a:pt x="4925" y="1243"/>
                      <a:pt x="4925" y="1243"/>
                    </a:cubicBezTo>
                    <a:cubicBezTo>
                      <a:pt x="4925" y="1243"/>
                      <a:pt x="4907" y="1230"/>
                      <a:pt x="4900" y="1235"/>
                    </a:cubicBezTo>
                    <a:cubicBezTo>
                      <a:pt x="4893" y="1239"/>
                      <a:pt x="4939" y="1272"/>
                      <a:pt x="4933" y="1275"/>
                    </a:cubicBezTo>
                    <a:cubicBezTo>
                      <a:pt x="4928" y="1277"/>
                      <a:pt x="4915" y="1262"/>
                      <a:pt x="4913" y="1277"/>
                    </a:cubicBezTo>
                    <a:cubicBezTo>
                      <a:pt x="4910" y="1293"/>
                      <a:pt x="4939" y="1322"/>
                      <a:pt x="4939" y="1322"/>
                    </a:cubicBezTo>
                    <a:cubicBezTo>
                      <a:pt x="4939" y="1322"/>
                      <a:pt x="4946" y="1340"/>
                      <a:pt x="4953" y="1347"/>
                    </a:cubicBezTo>
                    <a:cubicBezTo>
                      <a:pt x="4960" y="1354"/>
                      <a:pt x="5007" y="1384"/>
                      <a:pt x="5018" y="1398"/>
                    </a:cubicBezTo>
                    <a:cubicBezTo>
                      <a:pt x="5029" y="1412"/>
                      <a:pt x="5028" y="1434"/>
                      <a:pt x="5041" y="1445"/>
                    </a:cubicBezTo>
                    <a:cubicBezTo>
                      <a:pt x="5055" y="1456"/>
                      <a:pt x="5087" y="1512"/>
                      <a:pt x="5087" y="1512"/>
                    </a:cubicBezTo>
                    <a:cubicBezTo>
                      <a:pt x="5087" y="1512"/>
                      <a:pt x="5093" y="1535"/>
                      <a:pt x="5100" y="1535"/>
                    </a:cubicBezTo>
                    <a:cubicBezTo>
                      <a:pt x="5107" y="1535"/>
                      <a:pt x="5120" y="1545"/>
                      <a:pt x="5127" y="1555"/>
                    </a:cubicBezTo>
                    <a:cubicBezTo>
                      <a:pt x="5134" y="1564"/>
                      <a:pt x="5134" y="1584"/>
                      <a:pt x="5134" y="1584"/>
                    </a:cubicBezTo>
                    <a:cubicBezTo>
                      <a:pt x="5162" y="1607"/>
                      <a:pt x="5162" y="1607"/>
                      <a:pt x="5162" y="1607"/>
                    </a:cubicBezTo>
                    <a:cubicBezTo>
                      <a:pt x="5172" y="1643"/>
                      <a:pt x="5172" y="1643"/>
                      <a:pt x="5172" y="1643"/>
                    </a:cubicBezTo>
                    <a:cubicBezTo>
                      <a:pt x="5198" y="1671"/>
                      <a:pt x="5198" y="1671"/>
                      <a:pt x="5198" y="1671"/>
                    </a:cubicBezTo>
                    <a:cubicBezTo>
                      <a:pt x="5198" y="1671"/>
                      <a:pt x="5184" y="1632"/>
                      <a:pt x="5193" y="1629"/>
                    </a:cubicBezTo>
                    <a:cubicBezTo>
                      <a:pt x="5201" y="1627"/>
                      <a:pt x="5205" y="1636"/>
                      <a:pt x="5205" y="1636"/>
                    </a:cubicBezTo>
                    <a:cubicBezTo>
                      <a:pt x="5226" y="1636"/>
                      <a:pt x="5226" y="1636"/>
                      <a:pt x="5226" y="1636"/>
                    </a:cubicBezTo>
                    <a:cubicBezTo>
                      <a:pt x="5248" y="1663"/>
                      <a:pt x="5248" y="1663"/>
                      <a:pt x="5248" y="1663"/>
                    </a:cubicBezTo>
                    <a:cubicBezTo>
                      <a:pt x="5249" y="1646"/>
                      <a:pt x="5249" y="1646"/>
                      <a:pt x="5249" y="1646"/>
                    </a:cubicBezTo>
                    <a:cubicBezTo>
                      <a:pt x="5229" y="1621"/>
                      <a:pt x="5229" y="1621"/>
                      <a:pt x="5229" y="1621"/>
                    </a:cubicBezTo>
                    <a:lnTo>
                      <a:pt x="5213" y="1622"/>
                    </a:lnTo>
                    <a:close/>
                    <a:moveTo>
                      <a:pt x="899" y="58"/>
                    </a:moveTo>
                    <a:cubicBezTo>
                      <a:pt x="905" y="46"/>
                      <a:pt x="905" y="46"/>
                      <a:pt x="905" y="46"/>
                    </a:cubicBezTo>
                    <a:cubicBezTo>
                      <a:pt x="876" y="42"/>
                      <a:pt x="876" y="42"/>
                      <a:pt x="876" y="42"/>
                    </a:cubicBezTo>
                    <a:cubicBezTo>
                      <a:pt x="861" y="52"/>
                      <a:pt x="861" y="52"/>
                      <a:pt x="861" y="52"/>
                    </a:cubicBezTo>
                    <a:cubicBezTo>
                      <a:pt x="864" y="61"/>
                      <a:pt x="864" y="61"/>
                      <a:pt x="864" y="61"/>
                    </a:cubicBezTo>
                    <a:lnTo>
                      <a:pt x="899" y="58"/>
                    </a:lnTo>
                    <a:close/>
                    <a:moveTo>
                      <a:pt x="771" y="1607"/>
                    </a:moveTo>
                    <a:cubicBezTo>
                      <a:pt x="771" y="1607"/>
                      <a:pt x="773" y="1608"/>
                      <a:pt x="774" y="1608"/>
                    </a:cubicBezTo>
                    <a:cubicBezTo>
                      <a:pt x="773" y="1608"/>
                      <a:pt x="771" y="1607"/>
                      <a:pt x="771" y="1607"/>
                    </a:cubicBezTo>
                    <a:close/>
                    <a:moveTo>
                      <a:pt x="771" y="1607"/>
                    </a:moveTo>
                    <a:cubicBezTo>
                      <a:pt x="770" y="1607"/>
                      <a:pt x="770" y="1607"/>
                      <a:pt x="770" y="1607"/>
                    </a:cubicBezTo>
                    <a:cubicBezTo>
                      <a:pt x="770" y="1607"/>
                      <a:pt x="770" y="1607"/>
                      <a:pt x="771" y="1607"/>
                    </a:cubicBezTo>
                    <a:close/>
                    <a:moveTo>
                      <a:pt x="6034" y="664"/>
                    </a:moveTo>
                    <a:cubicBezTo>
                      <a:pt x="6023" y="650"/>
                      <a:pt x="5993" y="645"/>
                      <a:pt x="5993" y="645"/>
                    </a:cubicBezTo>
                    <a:cubicBezTo>
                      <a:pt x="5962" y="631"/>
                      <a:pt x="5962" y="631"/>
                      <a:pt x="5962" y="631"/>
                    </a:cubicBezTo>
                    <a:cubicBezTo>
                      <a:pt x="5935" y="632"/>
                      <a:pt x="5935" y="632"/>
                      <a:pt x="5935" y="632"/>
                    </a:cubicBezTo>
                    <a:cubicBezTo>
                      <a:pt x="5915" y="619"/>
                      <a:pt x="5915" y="619"/>
                      <a:pt x="5915" y="619"/>
                    </a:cubicBezTo>
                    <a:cubicBezTo>
                      <a:pt x="5854" y="615"/>
                      <a:pt x="5854" y="615"/>
                      <a:pt x="5854" y="615"/>
                    </a:cubicBezTo>
                    <a:cubicBezTo>
                      <a:pt x="5829" y="603"/>
                      <a:pt x="5829" y="603"/>
                      <a:pt x="5829" y="603"/>
                    </a:cubicBezTo>
                    <a:cubicBezTo>
                      <a:pt x="5805" y="605"/>
                      <a:pt x="5805" y="605"/>
                      <a:pt x="5805" y="605"/>
                    </a:cubicBezTo>
                    <a:cubicBezTo>
                      <a:pt x="5838" y="630"/>
                      <a:pt x="5838" y="630"/>
                      <a:pt x="5838" y="630"/>
                    </a:cubicBezTo>
                    <a:cubicBezTo>
                      <a:pt x="5874" y="646"/>
                      <a:pt x="5874" y="646"/>
                      <a:pt x="5874" y="646"/>
                    </a:cubicBezTo>
                    <a:cubicBezTo>
                      <a:pt x="5874" y="646"/>
                      <a:pt x="5834" y="652"/>
                      <a:pt x="5822" y="642"/>
                    </a:cubicBezTo>
                    <a:cubicBezTo>
                      <a:pt x="5810" y="632"/>
                      <a:pt x="5809" y="610"/>
                      <a:pt x="5756" y="592"/>
                    </a:cubicBezTo>
                    <a:cubicBezTo>
                      <a:pt x="5703" y="574"/>
                      <a:pt x="5687" y="567"/>
                      <a:pt x="5633" y="558"/>
                    </a:cubicBezTo>
                    <a:cubicBezTo>
                      <a:pt x="5579" y="549"/>
                      <a:pt x="5466" y="523"/>
                      <a:pt x="5412" y="510"/>
                    </a:cubicBezTo>
                    <a:cubicBezTo>
                      <a:pt x="5358" y="497"/>
                      <a:pt x="5297" y="488"/>
                      <a:pt x="5297" y="488"/>
                    </a:cubicBezTo>
                    <a:cubicBezTo>
                      <a:pt x="5175" y="490"/>
                      <a:pt x="5175" y="490"/>
                      <a:pt x="5175" y="490"/>
                    </a:cubicBezTo>
                    <a:cubicBezTo>
                      <a:pt x="5166" y="478"/>
                      <a:pt x="5166" y="478"/>
                      <a:pt x="5166" y="478"/>
                    </a:cubicBezTo>
                    <a:cubicBezTo>
                      <a:pt x="5135" y="480"/>
                      <a:pt x="5135" y="480"/>
                      <a:pt x="5135" y="480"/>
                    </a:cubicBezTo>
                    <a:cubicBezTo>
                      <a:pt x="5124" y="472"/>
                      <a:pt x="5124" y="472"/>
                      <a:pt x="5124" y="472"/>
                    </a:cubicBezTo>
                    <a:cubicBezTo>
                      <a:pt x="5088" y="471"/>
                      <a:pt x="5088" y="471"/>
                      <a:pt x="5088" y="471"/>
                    </a:cubicBezTo>
                    <a:cubicBezTo>
                      <a:pt x="5105" y="483"/>
                      <a:pt x="5105" y="483"/>
                      <a:pt x="5105" y="483"/>
                    </a:cubicBezTo>
                    <a:cubicBezTo>
                      <a:pt x="5100" y="497"/>
                      <a:pt x="5100" y="497"/>
                      <a:pt x="5100" y="497"/>
                    </a:cubicBezTo>
                    <a:cubicBezTo>
                      <a:pt x="5100" y="497"/>
                      <a:pt x="5199" y="520"/>
                      <a:pt x="5170" y="533"/>
                    </a:cubicBezTo>
                    <a:cubicBezTo>
                      <a:pt x="5141" y="546"/>
                      <a:pt x="5123" y="529"/>
                      <a:pt x="5123" y="529"/>
                    </a:cubicBezTo>
                    <a:cubicBezTo>
                      <a:pt x="5106" y="515"/>
                      <a:pt x="5106" y="515"/>
                      <a:pt x="5106" y="515"/>
                    </a:cubicBezTo>
                    <a:cubicBezTo>
                      <a:pt x="5061" y="515"/>
                      <a:pt x="5061" y="515"/>
                      <a:pt x="5061" y="515"/>
                    </a:cubicBezTo>
                    <a:cubicBezTo>
                      <a:pt x="5024" y="492"/>
                      <a:pt x="5024" y="492"/>
                      <a:pt x="5024" y="492"/>
                    </a:cubicBezTo>
                    <a:cubicBezTo>
                      <a:pt x="5024" y="492"/>
                      <a:pt x="5006" y="496"/>
                      <a:pt x="5002" y="499"/>
                    </a:cubicBezTo>
                    <a:cubicBezTo>
                      <a:pt x="4998" y="502"/>
                      <a:pt x="4966" y="501"/>
                      <a:pt x="4966" y="501"/>
                    </a:cubicBezTo>
                    <a:cubicBezTo>
                      <a:pt x="4962" y="493"/>
                      <a:pt x="4962" y="493"/>
                      <a:pt x="4962" y="493"/>
                    </a:cubicBezTo>
                    <a:cubicBezTo>
                      <a:pt x="4900" y="496"/>
                      <a:pt x="4900" y="496"/>
                      <a:pt x="4900" y="496"/>
                    </a:cubicBezTo>
                    <a:cubicBezTo>
                      <a:pt x="4884" y="484"/>
                      <a:pt x="4884" y="484"/>
                      <a:pt x="4884" y="484"/>
                    </a:cubicBezTo>
                    <a:cubicBezTo>
                      <a:pt x="4879" y="490"/>
                      <a:pt x="4879" y="490"/>
                      <a:pt x="4879" y="490"/>
                    </a:cubicBezTo>
                    <a:cubicBezTo>
                      <a:pt x="4879" y="490"/>
                      <a:pt x="4801" y="483"/>
                      <a:pt x="4806" y="493"/>
                    </a:cubicBezTo>
                    <a:cubicBezTo>
                      <a:pt x="4811" y="503"/>
                      <a:pt x="4840" y="527"/>
                      <a:pt x="4840" y="527"/>
                    </a:cubicBezTo>
                    <a:cubicBezTo>
                      <a:pt x="4840" y="527"/>
                      <a:pt x="4804" y="506"/>
                      <a:pt x="4799" y="501"/>
                    </a:cubicBezTo>
                    <a:cubicBezTo>
                      <a:pt x="4794" y="496"/>
                      <a:pt x="4728" y="488"/>
                      <a:pt x="4728" y="488"/>
                    </a:cubicBezTo>
                    <a:cubicBezTo>
                      <a:pt x="4728" y="488"/>
                      <a:pt x="4718" y="470"/>
                      <a:pt x="4693" y="457"/>
                    </a:cubicBezTo>
                    <a:cubicBezTo>
                      <a:pt x="4668" y="444"/>
                      <a:pt x="4630" y="438"/>
                      <a:pt x="4613" y="437"/>
                    </a:cubicBezTo>
                    <a:cubicBezTo>
                      <a:pt x="4596" y="436"/>
                      <a:pt x="4561" y="432"/>
                      <a:pt x="4561" y="432"/>
                    </a:cubicBezTo>
                    <a:cubicBezTo>
                      <a:pt x="4527" y="425"/>
                      <a:pt x="4527" y="425"/>
                      <a:pt x="4527" y="425"/>
                    </a:cubicBezTo>
                    <a:cubicBezTo>
                      <a:pt x="4518" y="429"/>
                      <a:pt x="4518" y="429"/>
                      <a:pt x="4518" y="429"/>
                    </a:cubicBezTo>
                    <a:cubicBezTo>
                      <a:pt x="4478" y="427"/>
                      <a:pt x="4478" y="427"/>
                      <a:pt x="4478" y="427"/>
                    </a:cubicBezTo>
                    <a:cubicBezTo>
                      <a:pt x="4478" y="427"/>
                      <a:pt x="4473" y="447"/>
                      <a:pt x="4451" y="444"/>
                    </a:cubicBezTo>
                    <a:cubicBezTo>
                      <a:pt x="4429" y="441"/>
                      <a:pt x="4400" y="439"/>
                      <a:pt x="4400" y="439"/>
                    </a:cubicBezTo>
                    <a:cubicBezTo>
                      <a:pt x="4400" y="439"/>
                      <a:pt x="4370" y="419"/>
                      <a:pt x="4353" y="418"/>
                    </a:cubicBezTo>
                    <a:cubicBezTo>
                      <a:pt x="4336" y="417"/>
                      <a:pt x="4327" y="420"/>
                      <a:pt x="4327" y="420"/>
                    </a:cubicBezTo>
                    <a:cubicBezTo>
                      <a:pt x="4321" y="409"/>
                      <a:pt x="4321" y="409"/>
                      <a:pt x="4321" y="409"/>
                    </a:cubicBezTo>
                    <a:cubicBezTo>
                      <a:pt x="4296" y="407"/>
                      <a:pt x="4296" y="407"/>
                      <a:pt x="4296" y="407"/>
                    </a:cubicBezTo>
                    <a:cubicBezTo>
                      <a:pt x="4253" y="403"/>
                      <a:pt x="4253" y="403"/>
                      <a:pt x="4253" y="403"/>
                    </a:cubicBezTo>
                    <a:cubicBezTo>
                      <a:pt x="4277" y="395"/>
                      <a:pt x="4277" y="395"/>
                      <a:pt x="4277" y="395"/>
                    </a:cubicBezTo>
                    <a:cubicBezTo>
                      <a:pt x="4251" y="382"/>
                      <a:pt x="4251" y="382"/>
                      <a:pt x="4251" y="382"/>
                    </a:cubicBezTo>
                    <a:cubicBezTo>
                      <a:pt x="4251" y="382"/>
                      <a:pt x="4158" y="369"/>
                      <a:pt x="4155" y="375"/>
                    </a:cubicBezTo>
                    <a:cubicBezTo>
                      <a:pt x="4152" y="381"/>
                      <a:pt x="4164" y="400"/>
                      <a:pt x="4149" y="401"/>
                    </a:cubicBezTo>
                    <a:cubicBezTo>
                      <a:pt x="4134" y="402"/>
                      <a:pt x="4114" y="398"/>
                      <a:pt x="4114" y="398"/>
                    </a:cubicBezTo>
                    <a:cubicBezTo>
                      <a:pt x="4126" y="390"/>
                      <a:pt x="4126" y="390"/>
                      <a:pt x="4126" y="390"/>
                    </a:cubicBezTo>
                    <a:cubicBezTo>
                      <a:pt x="4116" y="380"/>
                      <a:pt x="4116" y="380"/>
                      <a:pt x="4116" y="380"/>
                    </a:cubicBezTo>
                    <a:cubicBezTo>
                      <a:pt x="4116" y="380"/>
                      <a:pt x="4110" y="380"/>
                      <a:pt x="4096" y="382"/>
                    </a:cubicBezTo>
                    <a:cubicBezTo>
                      <a:pt x="4082" y="384"/>
                      <a:pt x="4068" y="379"/>
                      <a:pt x="4068" y="379"/>
                    </a:cubicBezTo>
                    <a:cubicBezTo>
                      <a:pt x="4079" y="374"/>
                      <a:pt x="4079" y="374"/>
                      <a:pt x="4079" y="374"/>
                    </a:cubicBezTo>
                    <a:cubicBezTo>
                      <a:pt x="4109" y="371"/>
                      <a:pt x="4109" y="371"/>
                      <a:pt x="4109" y="371"/>
                    </a:cubicBezTo>
                    <a:cubicBezTo>
                      <a:pt x="4147" y="394"/>
                      <a:pt x="4147" y="394"/>
                      <a:pt x="4147" y="394"/>
                    </a:cubicBezTo>
                    <a:cubicBezTo>
                      <a:pt x="4149" y="375"/>
                      <a:pt x="4149" y="375"/>
                      <a:pt x="4149" y="375"/>
                    </a:cubicBezTo>
                    <a:cubicBezTo>
                      <a:pt x="4110" y="362"/>
                      <a:pt x="4110" y="362"/>
                      <a:pt x="4110" y="362"/>
                    </a:cubicBezTo>
                    <a:cubicBezTo>
                      <a:pt x="4037" y="366"/>
                      <a:pt x="4037" y="366"/>
                      <a:pt x="4037" y="366"/>
                    </a:cubicBezTo>
                    <a:cubicBezTo>
                      <a:pt x="4036" y="357"/>
                      <a:pt x="4036" y="357"/>
                      <a:pt x="4036" y="357"/>
                    </a:cubicBezTo>
                    <a:cubicBezTo>
                      <a:pt x="3955" y="362"/>
                      <a:pt x="3955" y="362"/>
                      <a:pt x="3955" y="362"/>
                    </a:cubicBezTo>
                    <a:cubicBezTo>
                      <a:pt x="3924" y="349"/>
                      <a:pt x="3924" y="349"/>
                      <a:pt x="3924" y="349"/>
                    </a:cubicBezTo>
                    <a:cubicBezTo>
                      <a:pt x="3911" y="349"/>
                      <a:pt x="3911" y="349"/>
                      <a:pt x="3911" y="349"/>
                    </a:cubicBezTo>
                    <a:cubicBezTo>
                      <a:pt x="3936" y="365"/>
                      <a:pt x="3936" y="365"/>
                      <a:pt x="3936" y="365"/>
                    </a:cubicBezTo>
                    <a:cubicBezTo>
                      <a:pt x="3936" y="365"/>
                      <a:pt x="3884" y="364"/>
                      <a:pt x="3892" y="372"/>
                    </a:cubicBezTo>
                    <a:cubicBezTo>
                      <a:pt x="3900" y="380"/>
                      <a:pt x="3910" y="385"/>
                      <a:pt x="3910" y="385"/>
                    </a:cubicBezTo>
                    <a:cubicBezTo>
                      <a:pt x="3931" y="383"/>
                      <a:pt x="3931" y="383"/>
                      <a:pt x="3931" y="383"/>
                    </a:cubicBezTo>
                    <a:cubicBezTo>
                      <a:pt x="3931" y="388"/>
                      <a:pt x="3931" y="388"/>
                      <a:pt x="3931" y="388"/>
                    </a:cubicBezTo>
                    <a:cubicBezTo>
                      <a:pt x="3970" y="414"/>
                      <a:pt x="3970" y="414"/>
                      <a:pt x="3970" y="414"/>
                    </a:cubicBezTo>
                    <a:cubicBezTo>
                      <a:pt x="3970" y="414"/>
                      <a:pt x="3964" y="415"/>
                      <a:pt x="3949" y="414"/>
                    </a:cubicBezTo>
                    <a:cubicBezTo>
                      <a:pt x="3934" y="413"/>
                      <a:pt x="3914" y="398"/>
                      <a:pt x="3909" y="403"/>
                    </a:cubicBezTo>
                    <a:cubicBezTo>
                      <a:pt x="3904" y="408"/>
                      <a:pt x="3900" y="411"/>
                      <a:pt x="3900" y="411"/>
                    </a:cubicBezTo>
                    <a:cubicBezTo>
                      <a:pt x="3917" y="425"/>
                      <a:pt x="3917" y="425"/>
                      <a:pt x="3917" y="425"/>
                    </a:cubicBezTo>
                    <a:cubicBezTo>
                      <a:pt x="3881" y="420"/>
                      <a:pt x="3881" y="420"/>
                      <a:pt x="3881" y="420"/>
                    </a:cubicBezTo>
                    <a:cubicBezTo>
                      <a:pt x="3881" y="420"/>
                      <a:pt x="3832" y="404"/>
                      <a:pt x="3824" y="405"/>
                    </a:cubicBezTo>
                    <a:cubicBezTo>
                      <a:pt x="3816" y="406"/>
                      <a:pt x="3788" y="418"/>
                      <a:pt x="3788" y="418"/>
                    </a:cubicBezTo>
                    <a:cubicBezTo>
                      <a:pt x="3743" y="414"/>
                      <a:pt x="3743" y="414"/>
                      <a:pt x="3743" y="414"/>
                    </a:cubicBezTo>
                    <a:cubicBezTo>
                      <a:pt x="3743" y="414"/>
                      <a:pt x="3705" y="396"/>
                      <a:pt x="3702" y="392"/>
                    </a:cubicBezTo>
                    <a:cubicBezTo>
                      <a:pt x="3699" y="388"/>
                      <a:pt x="3692" y="398"/>
                      <a:pt x="3695" y="406"/>
                    </a:cubicBezTo>
                    <a:cubicBezTo>
                      <a:pt x="3698" y="414"/>
                      <a:pt x="3725" y="442"/>
                      <a:pt x="3709" y="443"/>
                    </a:cubicBezTo>
                    <a:cubicBezTo>
                      <a:pt x="3693" y="444"/>
                      <a:pt x="3614" y="415"/>
                      <a:pt x="3611" y="413"/>
                    </a:cubicBezTo>
                    <a:cubicBezTo>
                      <a:pt x="3608" y="411"/>
                      <a:pt x="3589" y="394"/>
                      <a:pt x="3589" y="394"/>
                    </a:cubicBezTo>
                    <a:cubicBezTo>
                      <a:pt x="3587" y="404"/>
                      <a:pt x="3587" y="404"/>
                      <a:pt x="3587" y="404"/>
                    </a:cubicBezTo>
                    <a:cubicBezTo>
                      <a:pt x="3550" y="393"/>
                      <a:pt x="3550" y="393"/>
                      <a:pt x="3550" y="393"/>
                    </a:cubicBezTo>
                    <a:cubicBezTo>
                      <a:pt x="3533" y="381"/>
                      <a:pt x="3533" y="381"/>
                      <a:pt x="3533" y="381"/>
                    </a:cubicBezTo>
                    <a:cubicBezTo>
                      <a:pt x="3533" y="381"/>
                      <a:pt x="3571" y="391"/>
                      <a:pt x="3577" y="386"/>
                    </a:cubicBezTo>
                    <a:cubicBezTo>
                      <a:pt x="3583" y="381"/>
                      <a:pt x="3554" y="367"/>
                      <a:pt x="3554" y="367"/>
                    </a:cubicBezTo>
                    <a:cubicBezTo>
                      <a:pt x="3531" y="367"/>
                      <a:pt x="3531" y="367"/>
                      <a:pt x="3531" y="367"/>
                    </a:cubicBezTo>
                    <a:cubicBezTo>
                      <a:pt x="3531" y="367"/>
                      <a:pt x="3542" y="361"/>
                      <a:pt x="3535" y="356"/>
                    </a:cubicBezTo>
                    <a:cubicBezTo>
                      <a:pt x="3528" y="351"/>
                      <a:pt x="3508" y="351"/>
                      <a:pt x="3508" y="351"/>
                    </a:cubicBezTo>
                    <a:cubicBezTo>
                      <a:pt x="3516" y="342"/>
                      <a:pt x="3516" y="342"/>
                      <a:pt x="3516" y="342"/>
                    </a:cubicBezTo>
                    <a:cubicBezTo>
                      <a:pt x="3516" y="342"/>
                      <a:pt x="3484" y="333"/>
                      <a:pt x="3480" y="333"/>
                    </a:cubicBezTo>
                    <a:cubicBezTo>
                      <a:pt x="3476" y="333"/>
                      <a:pt x="3461" y="323"/>
                      <a:pt x="3461" y="323"/>
                    </a:cubicBezTo>
                    <a:cubicBezTo>
                      <a:pt x="3430" y="323"/>
                      <a:pt x="3430" y="323"/>
                      <a:pt x="3430" y="323"/>
                    </a:cubicBezTo>
                    <a:cubicBezTo>
                      <a:pt x="3430" y="323"/>
                      <a:pt x="3439" y="326"/>
                      <a:pt x="3416" y="327"/>
                    </a:cubicBezTo>
                    <a:cubicBezTo>
                      <a:pt x="3393" y="328"/>
                      <a:pt x="3378" y="320"/>
                      <a:pt x="3378" y="320"/>
                    </a:cubicBezTo>
                    <a:cubicBezTo>
                      <a:pt x="3364" y="326"/>
                      <a:pt x="3364" y="326"/>
                      <a:pt x="3364" y="326"/>
                    </a:cubicBezTo>
                    <a:cubicBezTo>
                      <a:pt x="3362" y="317"/>
                      <a:pt x="3362" y="317"/>
                      <a:pt x="3362" y="317"/>
                    </a:cubicBezTo>
                    <a:cubicBezTo>
                      <a:pt x="3330" y="311"/>
                      <a:pt x="3330" y="311"/>
                      <a:pt x="3330" y="311"/>
                    </a:cubicBezTo>
                    <a:cubicBezTo>
                      <a:pt x="3323" y="305"/>
                      <a:pt x="3323" y="305"/>
                      <a:pt x="3323" y="305"/>
                    </a:cubicBezTo>
                    <a:cubicBezTo>
                      <a:pt x="3318" y="318"/>
                      <a:pt x="3318" y="318"/>
                      <a:pt x="3318" y="318"/>
                    </a:cubicBezTo>
                    <a:cubicBezTo>
                      <a:pt x="3309" y="319"/>
                      <a:pt x="3309" y="319"/>
                      <a:pt x="3309" y="319"/>
                    </a:cubicBezTo>
                    <a:cubicBezTo>
                      <a:pt x="3327" y="334"/>
                      <a:pt x="3327" y="334"/>
                      <a:pt x="3327" y="334"/>
                    </a:cubicBezTo>
                    <a:cubicBezTo>
                      <a:pt x="3344" y="354"/>
                      <a:pt x="3344" y="354"/>
                      <a:pt x="3344" y="354"/>
                    </a:cubicBezTo>
                    <a:cubicBezTo>
                      <a:pt x="3310" y="350"/>
                      <a:pt x="3310" y="350"/>
                      <a:pt x="3310" y="350"/>
                    </a:cubicBezTo>
                    <a:cubicBezTo>
                      <a:pt x="3306" y="344"/>
                      <a:pt x="3306" y="344"/>
                      <a:pt x="3306" y="344"/>
                    </a:cubicBezTo>
                    <a:cubicBezTo>
                      <a:pt x="3262" y="347"/>
                      <a:pt x="3262" y="347"/>
                      <a:pt x="3262" y="347"/>
                    </a:cubicBezTo>
                    <a:cubicBezTo>
                      <a:pt x="3251" y="351"/>
                      <a:pt x="3251" y="351"/>
                      <a:pt x="3251" y="351"/>
                    </a:cubicBezTo>
                    <a:cubicBezTo>
                      <a:pt x="3250" y="343"/>
                      <a:pt x="3250" y="343"/>
                      <a:pt x="3250" y="343"/>
                    </a:cubicBezTo>
                    <a:cubicBezTo>
                      <a:pt x="3221" y="349"/>
                      <a:pt x="3221" y="349"/>
                      <a:pt x="3221" y="349"/>
                    </a:cubicBezTo>
                    <a:cubicBezTo>
                      <a:pt x="3216" y="341"/>
                      <a:pt x="3216" y="341"/>
                      <a:pt x="3216" y="341"/>
                    </a:cubicBezTo>
                    <a:cubicBezTo>
                      <a:pt x="3178" y="342"/>
                      <a:pt x="3178" y="342"/>
                      <a:pt x="3178" y="342"/>
                    </a:cubicBezTo>
                    <a:cubicBezTo>
                      <a:pt x="3156" y="335"/>
                      <a:pt x="3156" y="335"/>
                      <a:pt x="3156" y="335"/>
                    </a:cubicBezTo>
                    <a:cubicBezTo>
                      <a:pt x="3167" y="321"/>
                      <a:pt x="3167" y="321"/>
                      <a:pt x="3167" y="321"/>
                    </a:cubicBezTo>
                    <a:cubicBezTo>
                      <a:pt x="3082" y="320"/>
                      <a:pt x="3082" y="320"/>
                      <a:pt x="3082" y="320"/>
                    </a:cubicBezTo>
                    <a:cubicBezTo>
                      <a:pt x="3077" y="314"/>
                      <a:pt x="3077" y="314"/>
                      <a:pt x="3077" y="314"/>
                    </a:cubicBezTo>
                    <a:cubicBezTo>
                      <a:pt x="3071" y="317"/>
                      <a:pt x="3071" y="317"/>
                      <a:pt x="3071" y="317"/>
                    </a:cubicBezTo>
                    <a:cubicBezTo>
                      <a:pt x="3065" y="313"/>
                      <a:pt x="3065" y="313"/>
                      <a:pt x="3065" y="313"/>
                    </a:cubicBezTo>
                    <a:cubicBezTo>
                      <a:pt x="3030" y="315"/>
                      <a:pt x="3030" y="315"/>
                      <a:pt x="3030" y="315"/>
                    </a:cubicBezTo>
                    <a:cubicBezTo>
                      <a:pt x="3034" y="323"/>
                      <a:pt x="3034" y="323"/>
                      <a:pt x="3034" y="323"/>
                    </a:cubicBezTo>
                    <a:cubicBezTo>
                      <a:pt x="2997" y="319"/>
                      <a:pt x="2997" y="319"/>
                      <a:pt x="2997" y="319"/>
                    </a:cubicBezTo>
                    <a:cubicBezTo>
                      <a:pt x="2987" y="324"/>
                      <a:pt x="2987" y="324"/>
                      <a:pt x="2987" y="324"/>
                    </a:cubicBezTo>
                    <a:cubicBezTo>
                      <a:pt x="3008" y="331"/>
                      <a:pt x="3008" y="331"/>
                      <a:pt x="3008" y="331"/>
                    </a:cubicBezTo>
                    <a:cubicBezTo>
                      <a:pt x="2981" y="330"/>
                      <a:pt x="2981" y="330"/>
                      <a:pt x="2981" y="330"/>
                    </a:cubicBezTo>
                    <a:cubicBezTo>
                      <a:pt x="2978" y="318"/>
                      <a:pt x="2978" y="318"/>
                      <a:pt x="2978" y="318"/>
                    </a:cubicBezTo>
                    <a:cubicBezTo>
                      <a:pt x="2961" y="303"/>
                      <a:pt x="2961" y="303"/>
                      <a:pt x="2961" y="303"/>
                    </a:cubicBezTo>
                    <a:cubicBezTo>
                      <a:pt x="2947" y="303"/>
                      <a:pt x="2947" y="303"/>
                      <a:pt x="2947" y="303"/>
                    </a:cubicBezTo>
                    <a:cubicBezTo>
                      <a:pt x="2954" y="318"/>
                      <a:pt x="2954" y="318"/>
                      <a:pt x="2954" y="318"/>
                    </a:cubicBezTo>
                    <a:cubicBezTo>
                      <a:pt x="2919" y="318"/>
                      <a:pt x="2919" y="318"/>
                      <a:pt x="2919" y="318"/>
                    </a:cubicBezTo>
                    <a:cubicBezTo>
                      <a:pt x="2915" y="313"/>
                      <a:pt x="2915" y="313"/>
                      <a:pt x="2915" y="313"/>
                    </a:cubicBezTo>
                    <a:cubicBezTo>
                      <a:pt x="2906" y="313"/>
                      <a:pt x="2906" y="313"/>
                      <a:pt x="2906" y="313"/>
                    </a:cubicBezTo>
                    <a:cubicBezTo>
                      <a:pt x="2902" y="303"/>
                      <a:pt x="2902" y="303"/>
                      <a:pt x="2902" y="303"/>
                    </a:cubicBezTo>
                    <a:cubicBezTo>
                      <a:pt x="2893" y="303"/>
                      <a:pt x="2893" y="303"/>
                      <a:pt x="2893" y="303"/>
                    </a:cubicBezTo>
                    <a:cubicBezTo>
                      <a:pt x="2882" y="306"/>
                      <a:pt x="2882" y="306"/>
                      <a:pt x="2882" y="306"/>
                    </a:cubicBezTo>
                    <a:cubicBezTo>
                      <a:pt x="2866" y="298"/>
                      <a:pt x="2866" y="298"/>
                      <a:pt x="2866" y="298"/>
                    </a:cubicBezTo>
                    <a:cubicBezTo>
                      <a:pt x="2846" y="312"/>
                      <a:pt x="2846" y="312"/>
                      <a:pt x="2846" y="312"/>
                    </a:cubicBezTo>
                    <a:cubicBezTo>
                      <a:pt x="2882" y="316"/>
                      <a:pt x="2882" y="316"/>
                      <a:pt x="2882" y="316"/>
                    </a:cubicBezTo>
                    <a:cubicBezTo>
                      <a:pt x="2890" y="317"/>
                      <a:pt x="2890" y="317"/>
                      <a:pt x="2890" y="317"/>
                    </a:cubicBezTo>
                    <a:cubicBezTo>
                      <a:pt x="2890" y="317"/>
                      <a:pt x="2877" y="328"/>
                      <a:pt x="2870" y="328"/>
                    </a:cubicBezTo>
                    <a:cubicBezTo>
                      <a:pt x="2863" y="328"/>
                      <a:pt x="2858" y="327"/>
                      <a:pt x="2852" y="329"/>
                    </a:cubicBezTo>
                    <a:cubicBezTo>
                      <a:pt x="2846" y="331"/>
                      <a:pt x="2844" y="337"/>
                      <a:pt x="2839" y="337"/>
                    </a:cubicBezTo>
                    <a:cubicBezTo>
                      <a:pt x="2834" y="337"/>
                      <a:pt x="2790" y="338"/>
                      <a:pt x="2790" y="338"/>
                    </a:cubicBezTo>
                    <a:cubicBezTo>
                      <a:pt x="2768" y="341"/>
                      <a:pt x="2768" y="341"/>
                      <a:pt x="2768" y="341"/>
                    </a:cubicBezTo>
                    <a:cubicBezTo>
                      <a:pt x="2758" y="358"/>
                      <a:pt x="2758" y="358"/>
                      <a:pt x="2758" y="358"/>
                    </a:cubicBezTo>
                    <a:cubicBezTo>
                      <a:pt x="2742" y="354"/>
                      <a:pt x="2742" y="354"/>
                      <a:pt x="2742" y="354"/>
                    </a:cubicBezTo>
                    <a:cubicBezTo>
                      <a:pt x="2742" y="354"/>
                      <a:pt x="2745" y="338"/>
                      <a:pt x="2753" y="334"/>
                    </a:cubicBezTo>
                    <a:cubicBezTo>
                      <a:pt x="2761" y="330"/>
                      <a:pt x="2773" y="330"/>
                      <a:pt x="2773" y="330"/>
                    </a:cubicBezTo>
                    <a:cubicBezTo>
                      <a:pt x="2778" y="319"/>
                      <a:pt x="2778" y="319"/>
                      <a:pt x="2778" y="319"/>
                    </a:cubicBezTo>
                    <a:cubicBezTo>
                      <a:pt x="2806" y="316"/>
                      <a:pt x="2806" y="316"/>
                      <a:pt x="2806" y="316"/>
                    </a:cubicBezTo>
                    <a:cubicBezTo>
                      <a:pt x="2836" y="294"/>
                      <a:pt x="2836" y="294"/>
                      <a:pt x="2836" y="294"/>
                    </a:cubicBezTo>
                    <a:cubicBezTo>
                      <a:pt x="2836" y="294"/>
                      <a:pt x="2835" y="281"/>
                      <a:pt x="2847" y="276"/>
                    </a:cubicBezTo>
                    <a:cubicBezTo>
                      <a:pt x="2859" y="271"/>
                      <a:pt x="2908" y="272"/>
                      <a:pt x="2906" y="254"/>
                    </a:cubicBezTo>
                    <a:cubicBezTo>
                      <a:pt x="2904" y="236"/>
                      <a:pt x="2889" y="232"/>
                      <a:pt x="2889" y="232"/>
                    </a:cubicBezTo>
                    <a:cubicBezTo>
                      <a:pt x="2862" y="234"/>
                      <a:pt x="2862" y="234"/>
                      <a:pt x="2862" y="234"/>
                    </a:cubicBezTo>
                    <a:cubicBezTo>
                      <a:pt x="2885" y="224"/>
                      <a:pt x="2885" y="224"/>
                      <a:pt x="2885" y="224"/>
                    </a:cubicBezTo>
                    <a:cubicBezTo>
                      <a:pt x="2885" y="224"/>
                      <a:pt x="2865" y="209"/>
                      <a:pt x="2860" y="210"/>
                    </a:cubicBezTo>
                    <a:cubicBezTo>
                      <a:pt x="2855" y="211"/>
                      <a:pt x="2838" y="212"/>
                      <a:pt x="2838" y="212"/>
                    </a:cubicBezTo>
                    <a:cubicBezTo>
                      <a:pt x="2838" y="212"/>
                      <a:pt x="2832" y="196"/>
                      <a:pt x="2819" y="196"/>
                    </a:cubicBezTo>
                    <a:cubicBezTo>
                      <a:pt x="2806" y="196"/>
                      <a:pt x="2792" y="201"/>
                      <a:pt x="2792" y="201"/>
                    </a:cubicBezTo>
                    <a:cubicBezTo>
                      <a:pt x="2756" y="192"/>
                      <a:pt x="2756" y="192"/>
                      <a:pt x="2756" y="192"/>
                    </a:cubicBezTo>
                    <a:cubicBezTo>
                      <a:pt x="2662" y="189"/>
                      <a:pt x="2662" y="189"/>
                      <a:pt x="2662" y="189"/>
                    </a:cubicBezTo>
                    <a:cubicBezTo>
                      <a:pt x="2665" y="201"/>
                      <a:pt x="2665" y="201"/>
                      <a:pt x="2665" y="201"/>
                    </a:cubicBezTo>
                    <a:cubicBezTo>
                      <a:pt x="2620" y="201"/>
                      <a:pt x="2620" y="201"/>
                      <a:pt x="2620" y="201"/>
                    </a:cubicBezTo>
                    <a:cubicBezTo>
                      <a:pt x="2620" y="201"/>
                      <a:pt x="2639" y="184"/>
                      <a:pt x="2627" y="179"/>
                    </a:cubicBezTo>
                    <a:cubicBezTo>
                      <a:pt x="2615" y="174"/>
                      <a:pt x="2564" y="180"/>
                      <a:pt x="2564" y="180"/>
                    </a:cubicBezTo>
                    <a:cubicBezTo>
                      <a:pt x="2523" y="176"/>
                      <a:pt x="2523" y="176"/>
                      <a:pt x="2523" y="176"/>
                    </a:cubicBezTo>
                    <a:cubicBezTo>
                      <a:pt x="2523" y="176"/>
                      <a:pt x="2570" y="174"/>
                      <a:pt x="2564" y="165"/>
                    </a:cubicBezTo>
                    <a:cubicBezTo>
                      <a:pt x="2558" y="156"/>
                      <a:pt x="2511" y="155"/>
                      <a:pt x="2511" y="155"/>
                    </a:cubicBezTo>
                    <a:cubicBezTo>
                      <a:pt x="2483" y="151"/>
                      <a:pt x="2483" y="151"/>
                      <a:pt x="2483" y="151"/>
                    </a:cubicBezTo>
                    <a:cubicBezTo>
                      <a:pt x="2480" y="161"/>
                      <a:pt x="2480" y="161"/>
                      <a:pt x="2480" y="161"/>
                    </a:cubicBezTo>
                    <a:cubicBezTo>
                      <a:pt x="2480" y="161"/>
                      <a:pt x="2431" y="159"/>
                      <a:pt x="2435" y="173"/>
                    </a:cubicBezTo>
                    <a:cubicBezTo>
                      <a:pt x="2439" y="187"/>
                      <a:pt x="2485" y="202"/>
                      <a:pt x="2485" y="202"/>
                    </a:cubicBezTo>
                    <a:cubicBezTo>
                      <a:pt x="2389" y="196"/>
                      <a:pt x="2389" y="196"/>
                      <a:pt x="2389" y="196"/>
                    </a:cubicBezTo>
                    <a:cubicBezTo>
                      <a:pt x="2423" y="210"/>
                      <a:pt x="2423" y="210"/>
                      <a:pt x="2423" y="210"/>
                    </a:cubicBezTo>
                    <a:cubicBezTo>
                      <a:pt x="2388" y="215"/>
                      <a:pt x="2388" y="215"/>
                      <a:pt x="2388" y="215"/>
                    </a:cubicBezTo>
                    <a:cubicBezTo>
                      <a:pt x="2388" y="215"/>
                      <a:pt x="2331" y="233"/>
                      <a:pt x="2321" y="227"/>
                    </a:cubicBezTo>
                    <a:cubicBezTo>
                      <a:pt x="2311" y="221"/>
                      <a:pt x="2326" y="209"/>
                      <a:pt x="2326" y="209"/>
                    </a:cubicBezTo>
                    <a:cubicBezTo>
                      <a:pt x="2326" y="209"/>
                      <a:pt x="2278" y="209"/>
                      <a:pt x="2269" y="211"/>
                    </a:cubicBezTo>
                    <a:cubicBezTo>
                      <a:pt x="2260" y="213"/>
                      <a:pt x="2246" y="225"/>
                      <a:pt x="2246" y="225"/>
                    </a:cubicBezTo>
                    <a:cubicBezTo>
                      <a:pt x="2246" y="225"/>
                      <a:pt x="2183" y="230"/>
                      <a:pt x="2168" y="233"/>
                    </a:cubicBezTo>
                    <a:cubicBezTo>
                      <a:pt x="2153" y="236"/>
                      <a:pt x="2120" y="243"/>
                      <a:pt x="2120" y="243"/>
                    </a:cubicBezTo>
                    <a:cubicBezTo>
                      <a:pt x="2091" y="266"/>
                      <a:pt x="2091" y="266"/>
                      <a:pt x="2091" y="266"/>
                    </a:cubicBezTo>
                    <a:cubicBezTo>
                      <a:pt x="2091" y="266"/>
                      <a:pt x="2059" y="264"/>
                      <a:pt x="2073" y="278"/>
                    </a:cubicBezTo>
                    <a:cubicBezTo>
                      <a:pt x="2087" y="292"/>
                      <a:pt x="2112" y="302"/>
                      <a:pt x="2112" y="302"/>
                    </a:cubicBezTo>
                    <a:cubicBezTo>
                      <a:pt x="2082" y="308"/>
                      <a:pt x="2082" y="308"/>
                      <a:pt x="2082" y="308"/>
                    </a:cubicBezTo>
                    <a:cubicBezTo>
                      <a:pt x="2068" y="317"/>
                      <a:pt x="2068" y="317"/>
                      <a:pt x="2068" y="317"/>
                    </a:cubicBezTo>
                    <a:cubicBezTo>
                      <a:pt x="2001" y="315"/>
                      <a:pt x="2001" y="315"/>
                      <a:pt x="2001" y="315"/>
                    </a:cubicBezTo>
                    <a:cubicBezTo>
                      <a:pt x="1996" y="320"/>
                      <a:pt x="1996" y="320"/>
                      <a:pt x="1996" y="320"/>
                    </a:cubicBezTo>
                    <a:cubicBezTo>
                      <a:pt x="1971" y="311"/>
                      <a:pt x="1971" y="311"/>
                      <a:pt x="1971" y="311"/>
                    </a:cubicBezTo>
                    <a:cubicBezTo>
                      <a:pt x="1960" y="318"/>
                      <a:pt x="1960" y="318"/>
                      <a:pt x="1960" y="318"/>
                    </a:cubicBezTo>
                    <a:cubicBezTo>
                      <a:pt x="1960" y="318"/>
                      <a:pt x="1922" y="314"/>
                      <a:pt x="1920" y="322"/>
                    </a:cubicBezTo>
                    <a:cubicBezTo>
                      <a:pt x="1918" y="330"/>
                      <a:pt x="1919" y="345"/>
                      <a:pt x="1930" y="347"/>
                    </a:cubicBezTo>
                    <a:cubicBezTo>
                      <a:pt x="1941" y="349"/>
                      <a:pt x="1947" y="365"/>
                      <a:pt x="1947" y="365"/>
                    </a:cubicBezTo>
                    <a:cubicBezTo>
                      <a:pt x="1947" y="365"/>
                      <a:pt x="1982" y="375"/>
                      <a:pt x="1991" y="375"/>
                    </a:cubicBezTo>
                    <a:cubicBezTo>
                      <a:pt x="2000" y="375"/>
                      <a:pt x="2019" y="380"/>
                      <a:pt x="2026" y="383"/>
                    </a:cubicBezTo>
                    <a:cubicBezTo>
                      <a:pt x="2033" y="386"/>
                      <a:pt x="2049" y="402"/>
                      <a:pt x="2038" y="402"/>
                    </a:cubicBezTo>
                    <a:cubicBezTo>
                      <a:pt x="2027" y="402"/>
                      <a:pt x="2003" y="404"/>
                      <a:pt x="2003" y="404"/>
                    </a:cubicBezTo>
                    <a:cubicBezTo>
                      <a:pt x="2003" y="404"/>
                      <a:pt x="1957" y="384"/>
                      <a:pt x="1941" y="380"/>
                    </a:cubicBezTo>
                    <a:cubicBezTo>
                      <a:pt x="1925" y="376"/>
                      <a:pt x="1901" y="373"/>
                      <a:pt x="1893" y="373"/>
                    </a:cubicBezTo>
                    <a:cubicBezTo>
                      <a:pt x="1885" y="373"/>
                      <a:pt x="1864" y="371"/>
                      <a:pt x="1866" y="379"/>
                    </a:cubicBezTo>
                    <a:cubicBezTo>
                      <a:pt x="1868" y="387"/>
                      <a:pt x="1894" y="397"/>
                      <a:pt x="1877" y="398"/>
                    </a:cubicBezTo>
                    <a:cubicBezTo>
                      <a:pt x="1860" y="399"/>
                      <a:pt x="1854" y="387"/>
                      <a:pt x="1844" y="387"/>
                    </a:cubicBezTo>
                    <a:cubicBezTo>
                      <a:pt x="1834" y="387"/>
                      <a:pt x="1820" y="377"/>
                      <a:pt x="1819" y="390"/>
                    </a:cubicBezTo>
                    <a:cubicBezTo>
                      <a:pt x="1818" y="403"/>
                      <a:pt x="1832" y="416"/>
                      <a:pt x="1847" y="415"/>
                    </a:cubicBezTo>
                    <a:cubicBezTo>
                      <a:pt x="1862" y="414"/>
                      <a:pt x="1885" y="421"/>
                      <a:pt x="1895" y="421"/>
                    </a:cubicBezTo>
                    <a:cubicBezTo>
                      <a:pt x="1905" y="421"/>
                      <a:pt x="1921" y="437"/>
                      <a:pt x="1921" y="437"/>
                    </a:cubicBezTo>
                    <a:cubicBezTo>
                      <a:pt x="1900" y="437"/>
                      <a:pt x="1900" y="437"/>
                      <a:pt x="1900" y="437"/>
                    </a:cubicBezTo>
                    <a:cubicBezTo>
                      <a:pt x="1900" y="437"/>
                      <a:pt x="1894" y="427"/>
                      <a:pt x="1880" y="427"/>
                    </a:cubicBezTo>
                    <a:cubicBezTo>
                      <a:pt x="1866" y="427"/>
                      <a:pt x="1823" y="425"/>
                      <a:pt x="1823" y="425"/>
                    </a:cubicBezTo>
                    <a:cubicBezTo>
                      <a:pt x="1820" y="417"/>
                      <a:pt x="1820" y="417"/>
                      <a:pt x="1820" y="417"/>
                    </a:cubicBezTo>
                    <a:cubicBezTo>
                      <a:pt x="1803" y="417"/>
                      <a:pt x="1803" y="417"/>
                      <a:pt x="1803" y="417"/>
                    </a:cubicBezTo>
                    <a:cubicBezTo>
                      <a:pt x="1800" y="406"/>
                      <a:pt x="1800" y="406"/>
                      <a:pt x="1800" y="406"/>
                    </a:cubicBezTo>
                    <a:cubicBezTo>
                      <a:pt x="1778" y="395"/>
                      <a:pt x="1778" y="395"/>
                      <a:pt x="1778" y="395"/>
                    </a:cubicBezTo>
                    <a:cubicBezTo>
                      <a:pt x="1778" y="395"/>
                      <a:pt x="1803" y="383"/>
                      <a:pt x="1793" y="374"/>
                    </a:cubicBezTo>
                    <a:cubicBezTo>
                      <a:pt x="1783" y="365"/>
                      <a:pt x="1769" y="354"/>
                      <a:pt x="1769" y="354"/>
                    </a:cubicBezTo>
                    <a:cubicBezTo>
                      <a:pt x="1748" y="353"/>
                      <a:pt x="1748" y="353"/>
                      <a:pt x="1748" y="353"/>
                    </a:cubicBezTo>
                    <a:cubicBezTo>
                      <a:pt x="1748" y="353"/>
                      <a:pt x="1778" y="370"/>
                      <a:pt x="1769" y="378"/>
                    </a:cubicBezTo>
                    <a:cubicBezTo>
                      <a:pt x="1760" y="386"/>
                      <a:pt x="1740" y="389"/>
                      <a:pt x="1740" y="389"/>
                    </a:cubicBezTo>
                    <a:cubicBezTo>
                      <a:pt x="1727" y="416"/>
                      <a:pt x="1727" y="416"/>
                      <a:pt x="1727" y="416"/>
                    </a:cubicBezTo>
                    <a:cubicBezTo>
                      <a:pt x="1776" y="441"/>
                      <a:pt x="1776" y="441"/>
                      <a:pt x="1776" y="441"/>
                    </a:cubicBezTo>
                    <a:cubicBezTo>
                      <a:pt x="1776" y="441"/>
                      <a:pt x="1789" y="436"/>
                      <a:pt x="1789" y="442"/>
                    </a:cubicBezTo>
                    <a:cubicBezTo>
                      <a:pt x="1789" y="448"/>
                      <a:pt x="1782" y="479"/>
                      <a:pt x="1782" y="479"/>
                    </a:cubicBezTo>
                    <a:cubicBezTo>
                      <a:pt x="1789" y="492"/>
                      <a:pt x="1789" y="492"/>
                      <a:pt x="1789" y="492"/>
                    </a:cubicBezTo>
                    <a:cubicBezTo>
                      <a:pt x="1813" y="496"/>
                      <a:pt x="1813" y="496"/>
                      <a:pt x="1813" y="496"/>
                    </a:cubicBezTo>
                    <a:cubicBezTo>
                      <a:pt x="1812" y="514"/>
                      <a:pt x="1812" y="514"/>
                      <a:pt x="1812" y="514"/>
                    </a:cubicBezTo>
                    <a:cubicBezTo>
                      <a:pt x="1852" y="522"/>
                      <a:pt x="1852" y="522"/>
                      <a:pt x="1852" y="522"/>
                    </a:cubicBezTo>
                    <a:cubicBezTo>
                      <a:pt x="1852" y="522"/>
                      <a:pt x="1882" y="510"/>
                      <a:pt x="1896" y="511"/>
                    </a:cubicBezTo>
                    <a:cubicBezTo>
                      <a:pt x="1910" y="512"/>
                      <a:pt x="1928" y="524"/>
                      <a:pt x="1928" y="524"/>
                    </a:cubicBezTo>
                    <a:cubicBezTo>
                      <a:pt x="1928" y="524"/>
                      <a:pt x="1957" y="528"/>
                      <a:pt x="1970" y="537"/>
                    </a:cubicBezTo>
                    <a:cubicBezTo>
                      <a:pt x="1983" y="546"/>
                      <a:pt x="1986" y="557"/>
                      <a:pt x="1986" y="557"/>
                    </a:cubicBezTo>
                    <a:cubicBezTo>
                      <a:pt x="1986" y="557"/>
                      <a:pt x="1953" y="561"/>
                      <a:pt x="1966" y="569"/>
                    </a:cubicBezTo>
                    <a:cubicBezTo>
                      <a:pt x="1979" y="577"/>
                      <a:pt x="1993" y="584"/>
                      <a:pt x="1993" y="584"/>
                    </a:cubicBezTo>
                    <a:cubicBezTo>
                      <a:pt x="2021" y="583"/>
                      <a:pt x="2021" y="583"/>
                      <a:pt x="2021" y="583"/>
                    </a:cubicBezTo>
                    <a:cubicBezTo>
                      <a:pt x="2021" y="583"/>
                      <a:pt x="2005" y="591"/>
                      <a:pt x="1992" y="591"/>
                    </a:cubicBezTo>
                    <a:cubicBezTo>
                      <a:pt x="1979" y="591"/>
                      <a:pt x="1963" y="582"/>
                      <a:pt x="1963" y="582"/>
                    </a:cubicBezTo>
                    <a:cubicBezTo>
                      <a:pt x="1963" y="582"/>
                      <a:pt x="1964" y="559"/>
                      <a:pt x="1949" y="550"/>
                    </a:cubicBezTo>
                    <a:cubicBezTo>
                      <a:pt x="1934" y="541"/>
                      <a:pt x="1922" y="536"/>
                      <a:pt x="1922" y="536"/>
                    </a:cubicBezTo>
                    <a:cubicBezTo>
                      <a:pt x="1922" y="536"/>
                      <a:pt x="1918" y="521"/>
                      <a:pt x="1906" y="522"/>
                    </a:cubicBezTo>
                    <a:cubicBezTo>
                      <a:pt x="1894" y="523"/>
                      <a:pt x="1862" y="529"/>
                      <a:pt x="1862" y="529"/>
                    </a:cubicBezTo>
                    <a:cubicBezTo>
                      <a:pt x="1862" y="529"/>
                      <a:pt x="1844" y="531"/>
                      <a:pt x="1845" y="542"/>
                    </a:cubicBezTo>
                    <a:cubicBezTo>
                      <a:pt x="1846" y="553"/>
                      <a:pt x="1878" y="571"/>
                      <a:pt x="1878" y="575"/>
                    </a:cubicBezTo>
                    <a:cubicBezTo>
                      <a:pt x="1878" y="579"/>
                      <a:pt x="1859" y="591"/>
                      <a:pt x="1859" y="591"/>
                    </a:cubicBezTo>
                    <a:cubicBezTo>
                      <a:pt x="1857" y="620"/>
                      <a:pt x="1857" y="620"/>
                      <a:pt x="1857" y="620"/>
                    </a:cubicBezTo>
                    <a:cubicBezTo>
                      <a:pt x="1829" y="634"/>
                      <a:pt x="1829" y="634"/>
                      <a:pt x="1829" y="634"/>
                    </a:cubicBezTo>
                    <a:cubicBezTo>
                      <a:pt x="1829" y="634"/>
                      <a:pt x="1823" y="655"/>
                      <a:pt x="1810" y="649"/>
                    </a:cubicBezTo>
                    <a:cubicBezTo>
                      <a:pt x="1797" y="643"/>
                      <a:pt x="1771" y="645"/>
                      <a:pt x="1771" y="645"/>
                    </a:cubicBezTo>
                    <a:cubicBezTo>
                      <a:pt x="1733" y="641"/>
                      <a:pt x="1733" y="641"/>
                      <a:pt x="1733" y="641"/>
                    </a:cubicBezTo>
                    <a:cubicBezTo>
                      <a:pt x="1733" y="641"/>
                      <a:pt x="1690" y="626"/>
                      <a:pt x="1701" y="625"/>
                    </a:cubicBezTo>
                    <a:cubicBezTo>
                      <a:pt x="1712" y="624"/>
                      <a:pt x="1735" y="623"/>
                      <a:pt x="1735" y="623"/>
                    </a:cubicBezTo>
                    <a:cubicBezTo>
                      <a:pt x="1748" y="627"/>
                      <a:pt x="1748" y="627"/>
                      <a:pt x="1748" y="627"/>
                    </a:cubicBezTo>
                    <a:cubicBezTo>
                      <a:pt x="1763" y="616"/>
                      <a:pt x="1763" y="616"/>
                      <a:pt x="1763" y="616"/>
                    </a:cubicBezTo>
                    <a:cubicBezTo>
                      <a:pt x="1763" y="616"/>
                      <a:pt x="1801" y="625"/>
                      <a:pt x="1801" y="614"/>
                    </a:cubicBezTo>
                    <a:cubicBezTo>
                      <a:pt x="1801" y="603"/>
                      <a:pt x="1803" y="588"/>
                      <a:pt x="1803" y="588"/>
                    </a:cubicBezTo>
                    <a:cubicBezTo>
                      <a:pt x="1819" y="583"/>
                      <a:pt x="1819" y="583"/>
                      <a:pt x="1819" y="583"/>
                    </a:cubicBezTo>
                    <a:cubicBezTo>
                      <a:pt x="1821" y="569"/>
                      <a:pt x="1821" y="569"/>
                      <a:pt x="1821" y="569"/>
                    </a:cubicBezTo>
                    <a:cubicBezTo>
                      <a:pt x="1810" y="567"/>
                      <a:pt x="1810" y="567"/>
                      <a:pt x="1810" y="567"/>
                    </a:cubicBezTo>
                    <a:cubicBezTo>
                      <a:pt x="1810" y="567"/>
                      <a:pt x="1826" y="547"/>
                      <a:pt x="1816" y="543"/>
                    </a:cubicBezTo>
                    <a:cubicBezTo>
                      <a:pt x="1806" y="539"/>
                      <a:pt x="1763" y="541"/>
                      <a:pt x="1761" y="525"/>
                    </a:cubicBezTo>
                    <a:cubicBezTo>
                      <a:pt x="1759" y="509"/>
                      <a:pt x="1761" y="490"/>
                      <a:pt x="1752" y="485"/>
                    </a:cubicBezTo>
                    <a:cubicBezTo>
                      <a:pt x="1743" y="480"/>
                      <a:pt x="1730" y="464"/>
                      <a:pt x="1730" y="464"/>
                    </a:cubicBezTo>
                    <a:cubicBezTo>
                      <a:pt x="1726" y="440"/>
                      <a:pt x="1726" y="440"/>
                      <a:pt x="1726" y="440"/>
                    </a:cubicBezTo>
                    <a:cubicBezTo>
                      <a:pt x="1684" y="417"/>
                      <a:pt x="1684" y="417"/>
                      <a:pt x="1684" y="417"/>
                    </a:cubicBezTo>
                    <a:cubicBezTo>
                      <a:pt x="1684" y="417"/>
                      <a:pt x="1711" y="396"/>
                      <a:pt x="1697" y="376"/>
                    </a:cubicBezTo>
                    <a:cubicBezTo>
                      <a:pt x="1683" y="356"/>
                      <a:pt x="1651" y="356"/>
                      <a:pt x="1651" y="356"/>
                    </a:cubicBezTo>
                    <a:cubicBezTo>
                      <a:pt x="1562" y="348"/>
                      <a:pt x="1562" y="348"/>
                      <a:pt x="1562" y="348"/>
                    </a:cubicBezTo>
                    <a:cubicBezTo>
                      <a:pt x="1555" y="368"/>
                      <a:pt x="1555" y="368"/>
                      <a:pt x="1555" y="368"/>
                    </a:cubicBezTo>
                    <a:cubicBezTo>
                      <a:pt x="1566" y="379"/>
                      <a:pt x="1566" y="379"/>
                      <a:pt x="1566" y="379"/>
                    </a:cubicBezTo>
                    <a:cubicBezTo>
                      <a:pt x="1561" y="402"/>
                      <a:pt x="1561" y="402"/>
                      <a:pt x="1561" y="402"/>
                    </a:cubicBezTo>
                    <a:cubicBezTo>
                      <a:pt x="1523" y="418"/>
                      <a:pt x="1523" y="418"/>
                      <a:pt x="1523" y="418"/>
                    </a:cubicBezTo>
                    <a:cubicBezTo>
                      <a:pt x="1517" y="437"/>
                      <a:pt x="1517" y="437"/>
                      <a:pt x="1517" y="437"/>
                    </a:cubicBezTo>
                    <a:cubicBezTo>
                      <a:pt x="1538" y="439"/>
                      <a:pt x="1538" y="439"/>
                      <a:pt x="1538" y="439"/>
                    </a:cubicBezTo>
                    <a:cubicBezTo>
                      <a:pt x="1561" y="474"/>
                      <a:pt x="1561" y="474"/>
                      <a:pt x="1561" y="474"/>
                    </a:cubicBezTo>
                    <a:cubicBezTo>
                      <a:pt x="1552" y="486"/>
                      <a:pt x="1552" y="486"/>
                      <a:pt x="1552" y="486"/>
                    </a:cubicBezTo>
                    <a:cubicBezTo>
                      <a:pt x="1571" y="501"/>
                      <a:pt x="1571" y="501"/>
                      <a:pt x="1571" y="501"/>
                    </a:cubicBezTo>
                    <a:cubicBezTo>
                      <a:pt x="1594" y="495"/>
                      <a:pt x="1594" y="495"/>
                      <a:pt x="1594" y="495"/>
                    </a:cubicBezTo>
                    <a:cubicBezTo>
                      <a:pt x="1594" y="495"/>
                      <a:pt x="1612" y="516"/>
                      <a:pt x="1625" y="519"/>
                    </a:cubicBezTo>
                    <a:cubicBezTo>
                      <a:pt x="1638" y="522"/>
                      <a:pt x="1651" y="522"/>
                      <a:pt x="1651" y="522"/>
                    </a:cubicBezTo>
                    <a:cubicBezTo>
                      <a:pt x="1648" y="559"/>
                      <a:pt x="1648" y="559"/>
                      <a:pt x="1648" y="559"/>
                    </a:cubicBezTo>
                    <a:cubicBezTo>
                      <a:pt x="1635" y="545"/>
                      <a:pt x="1635" y="545"/>
                      <a:pt x="1635" y="545"/>
                    </a:cubicBezTo>
                    <a:cubicBezTo>
                      <a:pt x="1625" y="551"/>
                      <a:pt x="1625" y="551"/>
                      <a:pt x="1625" y="551"/>
                    </a:cubicBezTo>
                    <a:cubicBezTo>
                      <a:pt x="1625" y="551"/>
                      <a:pt x="1572" y="524"/>
                      <a:pt x="1556" y="521"/>
                    </a:cubicBezTo>
                    <a:cubicBezTo>
                      <a:pt x="1540" y="518"/>
                      <a:pt x="1516" y="520"/>
                      <a:pt x="1516" y="520"/>
                    </a:cubicBezTo>
                    <a:cubicBezTo>
                      <a:pt x="1505" y="508"/>
                      <a:pt x="1505" y="508"/>
                      <a:pt x="1505" y="508"/>
                    </a:cubicBezTo>
                    <a:cubicBezTo>
                      <a:pt x="1499" y="522"/>
                      <a:pt x="1499" y="522"/>
                      <a:pt x="1499" y="522"/>
                    </a:cubicBezTo>
                    <a:cubicBezTo>
                      <a:pt x="1483" y="504"/>
                      <a:pt x="1483" y="504"/>
                      <a:pt x="1483" y="504"/>
                    </a:cubicBezTo>
                    <a:cubicBezTo>
                      <a:pt x="1483" y="504"/>
                      <a:pt x="1441" y="490"/>
                      <a:pt x="1434" y="490"/>
                    </a:cubicBezTo>
                    <a:cubicBezTo>
                      <a:pt x="1427" y="490"/>
                      <a:pt x="1406" y="491"/>
                      <a:pt x="1406" y="491"/>
                    </a:cubicBezTo>
                    <a:cubicBezTo>
                      <a:pt x="1406" y="491"/>
                      <a:pt x="1357" y="485"/>
                      <a:pt x="1353" y="488"/>
                    </a:cubicBezTo>
                    <a:cubicBezTo>
                      <a:pt x="1349" y="491"/>
                      <a:pt x="1340" y="491"/>
                      <a:pt x="1340" y="499"/>
                    </a:cubicBezTo>
                    <a:cubicBezTo>
                      <a:pt x="1340" y="507"/>
                      <a:pt x="1366" y="521"/>
                      <a:pt x="1366" y="521"/>
                    </a:cubicBezTo>
                    <a:cubicBezTo>
                      <a:pt x="1353" y="541"/>
                      <a:pt x="1353" y="541"/>
                      <a:pt x="1353" y="541"/>
                    </a:cubicBezTo>
                    <a:cubicBezTo>
                      <a:pt x="1344" y="534"/>
                      <a:pt x="1344" y="534"/>
                      <a:pt x="1344" y="534"/>
                    </a:cubicBezTo>
                    <a:cubicBezTo>
                      <a:pt x="1344" y="551"/>
                      <a:pt x="1344" y="551"/>
                      <a:pt x="1344" y="551"/>
                    </a:cubicBezTo>
                    <a:cubicBezTo>
                      <a:pt x="1344" y="551"/>
                      <a:pt x="1320" y="550"/>
                      <a:pt x="1320" y="545"/>
                    </a:cubicBezTo>
                    <a:cubicBezTo>
                      <a:pt x="1320" y="540"/>
                      <a:pt x="1325" y="518"/>
                      <a:pt x="1311" y="519"/>
                    </a:cubicBezTo>
                    <a:cubicBezTo>
                      <a:pt x="1297" y="520"/>
                      <a:pt x="1261" y="543"/>
                      <a:pt x="1256" y="546"/>
                    </a:cubicBezTo>
                    <a:cubicBezTo>
                      <a:pt x="1251" y="549"/>
                      <a:pt x="1240" y="535"/>
                      <a:pt x="1219" y="537"/>
                    </a:cubicBezTo>
                    <a:cubicBezTo>
                      <a:pt x="1198" y="539"/>
                      <a:pt x="1174" y="550"/>
                      <a:pt x="1172" y="558"/>
                    </a:cubicBezTo>
                    <a:cubicBezTo>
                      <a:pt x="1170" y="566"/>
                      <a:pt x="1123" y="562"/>
                      <a:pt x="1123" y="562"/>
                    </a:cubicBezTo>
                    <a:cubicBezTo>
                      <a:pt x="1131" y="545"/>
                      <a:pt x="1131" y="545"/>
                      <a:pt x="1131" y="545"/>
                    </a:cubicBezTo>
                    <a:cubicBezTo>
                      <a:pt x="1130" y="521"/>
                      <a:pt x="1130" y="521"/>
                      <a:pt x="1130" y="521"/>
                    </a:cubicBezTo>
                    <a:cubicBezTo>
                      <a:pt x="1130" y="521"/>
                      <a:pt x="1086" y="529"/>
                      <a:pt x="1086" y="538"/>
                    </a:cubicBezTo>
                    <a:cubicBezTo>
                      <a:pt x="1086" y="547"/>
                      <a:pt x="1092" y="554"/>
                      <a:pt x="1092" y="554"/>
                    </a:cubicBezTo>
                    <a:cubicBezTo>
                      <a:pt x="1074" y="555"/>
                      <a:pt x="1074" y="555"/>
                      <a:pt x="1074" y="555"/>
                    </a:cubicBezTo>
                    <a:cubicBezTo>
                      <a:pt x="1074" y="540"/>
                      <a:pt x="1074" y="540"/>
                      <a:pt x="1074" y="540"/>
                    </a:cubicBezTo>
                    <a:cubicBezTo>
                      <a:pt x="1060" y="545"/>
                      <a:pt x="1060" y="545"/>
                      <a:pt x="1060" y="545"/>
                    </a:cubicBezTo>
                    <a:cubicBezTo>
                      <a:pt x="1025" y="548"/>
                      <a:pt x="1025" y="548"/>
                      <a:pt x="1025" y="548"/>
                    </a:cubicBezTo>
                    <a:cubicBezTo>
                      <a:pt x="996" y="568"/>
                      <a:pt x="996" y="568"/>
                      <a:pt x="996" y="568"/>
                    </a:cubicBezTo>
                    <a:cubicBezTo>
                      <a:pt x="963" y="571"/>
                      <a:pt x="963" y="571"/>
                      <a:pt x="963" y="571"/>
                    </a:cubicBezTo>
                    <a:cubicBezTo>
                      <a:pt x="970" y="584"/>
                      <a:pt x="970" y="584"/>
                      <a:pt x="970" y="584"/>
                    </a:cubicBezTo>
                    <a:cubicBezTo>
                      <a:pt x="970" y="584"/>
                      <a:pt x="944" y="578"/>
                      <a:pt x="941" y="589"/>
                    </a:cubicBezTo>
                    <a:cubicBezTo>
                      <a:pt x="938" y="600"/>
                      <a:pt x="941" y="615"/>
                      <a:pt x="941" y="615"/>
                    </a:cubicBezTo>
                    <a:cubicBezTo>
                      <a:pt x="890" y="621"/>
                      <a:pt x="890" y="621"/>
                      <a:pt x="890" y="621"/>
                    </a:cubicBezTo>
                    <a:cubicBezTo>
                      <a:pt x="890" y="621"/>
                      <a:pt x="875" y="610"/>
                      <a:pt x="870" y="609"/>
                    </a:cubicBezTo>
                    <a:cubicBezTo>
                      <a:pt x="865" y="608"/>
                      <a:pt x="843" y="614"/>
                      <a:pt x="843" y="600"/>
                    </a:cubicBezTo>
                    <a:cubicBezTo>
                      <a:pt x="843" y="586"/>
                      <a:pt x="843" y="569"/>
                      <a:pt x="860" y="575"/>
                    </a:cubicBezTo>
                    <a:cubicBezTo>
                      <a:pt x="877" y="581"/>
                      <a:pt x="898" y="575"/>
                      <a:pt x="898" y="575"/>
                    </a:cubicBezTo>
                    <a:cubicBezTo>
                      <a:pt x="898" y="575"/>
                      <a:pt x="860" y="544"/>
                      <a:pt x="854" y="541"/>
                    </a:cubicBezTo>
                    <a:cubicBezTo>
                      <a:pt x="848" y="538"/>
                      <a:pt x="773" y="539"/>
                      <a:pt x="773" y="539"/>
                    </a:cubicBezTo>
                    <a:cubicBezTo>
                      <a:pt x="779" y="548"/>
                      <a:pt x="779" y="548"/>
                      <a:pt x="779" y="548"/>
                    </a:cubicBezTo>
                    <a:cubicBezTo>
                      <a:pt x="779" y="548"/>
                      <a:pt x="810" y="543"/>
                      <a:pt x="805" y="563"/>
                    </a:cubicBezTo>
                    <a:cubicBezTo>
                      <a:pt x="800" y="583"/>
                      <a:pt x="790" y="612"/>
                      <a:pt x="797" y="612"/>
                    </a:cubicBezTo>
                    <a:cubicBezTo>
                      <a:pt x="804" y="612"/>
                      <a:pt x="830" y="620"/>
                      <a:pt x="830" y="620"/>
                    </a:cubicBezTo>
                    <a:cubicBezTo>
                      <a:pt x="828" y="645"/>
                      <a:pt x="828" y="645"/>
                      <a:pt x="828" y="645"/>
                    </a:cubicBezTo>
                    <a:cubicBezTo>
                      <a:pt x="834" y="664"/>
                      <a:pt x="834" y="664"/>
                      <a:pt x="834" y="664"/>
                    </a:cubicBezTo>
                    <a:cubicBezTo>
                      <a:pt x="813" y="650"/>
                      <a:pt x="813" y="650"/>
                      <a:pt x="813" y="650"/>
                    </a:cubicBezTo>
                    <a:cubicBezTo>
                      <a:pt x="798" y="666"/>
                      <a:pt x="798" y="666"/>
                      <a:pt x="798" y="666"/>
                    </a:cubicBezTo>
                    <a:cubicBezTo>
                      <a:pt x="795" y="644"/>
                      <a:pt x="795" y="644"/>
                      <a:pt x="795" y="644"/>
                    </a:cubicBezTo>
                    <a:cubicBezTo>
                      <a:pt x="749" y="632"/>
                      <a:pt x="749" y="632"/>
                      <a:pt x="749" y="632"/>
                    </a:cubicBezTo>
                    <a:cubicBezTo>
                      <a:pt x="729" y="657"/>
                      <a:pt x="729" y="657"/>
                      <a:pt x="729" y="657"/>
                    </a:cubicBezTo>
                    <a:cubicBezTo>
                      <a:pt x="711" y="658"/>
                      <a:pt x="711" y="658"/>
                      <a:pt x="711" y="658"/>
                    </a:cubicBezTo>
                    <a:cubicBezTo>
                      <a:pt x="711" y="658"/>
                      <a:pt x="705" y="669"/>
                      <a:pt x="695" y="673"/>
                    </a:cubicBezTo>
                    <a:cubicBezTo>
                      <a:pt x="685" y="677"/>
                      <a:pt x="665" y="681"/>
                      <a:pt x="673" y="688"/>
                    </a:cubicBezTo>
                    <a:cubicBezTo>
                      <a:pt x="681" y="695"/>
                      <a:pt x="713" y="718"/>
                      <a:pt x="713" y="718"/>
                    </a:cubicBezTo>
                    <a:cubicBezTo>
                      <a:pt x="725" y="735"/>
                      <a:pt x="725" y="735"/>
                      <a:pt x="725" y="735"/>
                    </a:cubicBezTo>
                    <a:cubicBezTo>
                      <a:pt x="705" y="726"/>
                      <a:pt x="705" y="726"/>
                      <a:pt x="705" y="726"/>
                    </a:cubicBezTo>
                    <a:cubicBezTo>
                      <a:pt x="705" y="726"/>
                      <a:pt x="687" y="736"/>
                      <a:pt x="674" y="730"/>
                    </a:cubicBezTo>
                    <a:cubicBezTo>
                      <a:pt x="661" y="724"/>
                      <a:pt x="618" y="717"/>
                      <a:pt x="618" y="717"/>
                    </a:cubicBezTo>
                    <a:cubicBezTo>
                      <a:pt x="618" y="717"/>
                      <a:pt x="612" y="693"/>
                      <a:pt x="597" y="699"/>
                    </a:cubicBezTo>
                    <a:cubicBezTo>
                      <a:pt x="582" y="705"/>
                      <a:pt x="574" y="711"/>
                      <a:pt x="574" y="711"/>
                    </a:cubicBezTo>
                    <a:cubicBezTo>
                      <a:pt x="562" y="712"/>
                      <a:pt x="562" y="712"/>
                      <a:pt x="562" y="712"/>
                    </a:cubicBezTo>
                    <a:cubicBezTo>
                      <a:pt x="592" y="738"/>
                      <a:pt x="592" y="738"/>
                      <a:pt x="592" y="738"/>
                    </a:cubicBezTo>
                    <a:cubicBezTo>
                      <a:pt x="592" y="738"/>
                      <a:pt x="632" y="739"/>
                      <a:pt x="632" y="746"/>
                    </a:cubicBezTo>
                    <a:cubicBezTo>
                      <a:pt x="632" y="753"/>
                      <a:pt x="614" y="764"/>
                      <a:pt x="614" y="764"/>
                    </a:cubicBezTo>
                    <a:cubicBezTo>
                      <a:pt x="572" y="754"/>
                      <a:pt x="572" y="754"/>
                      <a:pt x="572" y="754"/>
                    </a:cubicBezTo>
                    <a:cubicBezTo>
                      <a:pt x="572" y="754"/>
                      <a:pt x="557" y="740"/>
                      <a:pt x="547" y="739"/>
                    </a:cubicBezTo>
                    <a:cubicBezTo>
                      <a:pt x="537" y="738"/>
                      <a:pt x="511" y="749"/>
                      <a:pt x="509" y="735"/>
                    </a:cubicBezTo>
                    <a:cubicBezTo>
                      <a:pt x="507" y="721"/>
                      <a:pt x="508" y="705"/>
                      <a:pt x="508" y="705"/>
                    </a:cubicBezTo>
                    <a:cubicBezTo>
                      <a:pt x="495" y="697"/>
                      <a:pt x="495" y="697"/>
                      <a:pt x="495" y="697"/>
                    </a:cubicBezTo>
                    <a:cubicBezTo>
                      <a:pt x="495" y="697"/>
                      <a:pt x="516" y="679"/>
                      <a:pt x="508" y="670"/>
                    </a:cubicBezTo>
                    <a:cubicBezTo>
                      <a:pt x="500" y="661"/>
                      <a:pt x="444" y="646"/>
                      <a:pt x="444" y="646"/>
                    </a:cubicBezTo>
                    <a:cubicBezTo>
                      <a:pt x="424" y="631"/>
                      <a:pt x="424" y="631"/>
                      <a:pt x="424" y="631"/>
                    </a:cubicBezTo>
                    <a:cubicBezTo>
                      <a:pt x="408" y="620"/>
                      <a:pt x="408" y="620"/>
                      <a:pt x="408" y="620"/>
                    </a:cubicBezTo>
                    <a:cubicBezTo>
                      <a:pt x="398" y="610"/>
                      <a:pt x="398" y="610"/>
                      <a:pt x="398" y="610"/>
                    </a:cubicBezTo>
                    <a:cubicBezTo>
                      <a:pt x="424" y="609"/>
                      <a:pt x="424" y="609"/>
                      <a:pt x="424" y="609"/>
                    </a:cubicBezTo>
                    <a:cubicBezTo>
                      <a:pt x="424" y="609"/>
                      <a:pt x="419" y="618"/>
                      <a:pt x="438" y="622"/>
                    </a:cubicBezTo>
                    <a:cubicBezTo>
                      <a:pt x="457" y="626"/>
                      <a:pt x="482" y="623"/>
                      <a:pt x="482" y="623"/>
                    </a:cubicBezTo>
                    <a:cubicBezTo>
                      <a:pt x="482" y="623"/>
                      <a:pt x="498" y="641"/>
                      <a:pt x="510" y="643"/>
                    </a:cubicBezTo>
                    <a:cubicBezTo>
                      <a:pt x="522" y="645"/>
                      <a:pt x="576" y="650"/>
                      <a:pt x="576" y="650"/>
                    </a:cubicBezTo>
                    <a:cubicBezTo>
                      <a:pt x="576" y="650"/>
                      <a:pt x="613" y="666"/>
                      <a:pt x="656" y="655"/>
                    </a:cubicBezTo>
                    <a:cubicBezTo>
                      <a:pt x="699" y="644"/>
                      <a:pt x="741" y="629"/>
                      <a:pt x="719" y="609"/>
                    </a:cubicBezTo>
                    <a:cubicBezTo>
                      <a:pt x="697" y="589"/>
                      <a:pt x="696" y="576"/>
                      <a:pt x="667" y="570"/>
                    </a:cubicBezTo>
                    <a:cubicBezTo>
                      <a:pt x="638" y="564"/>
                      <a:pt x="598" y="549"/>
                      <a:pt x="579" y="542"/>
                    </a:cubicBezTo>
                    <a:cubicBezTo>
                      <a:pt x="560" y="535"/>
                      <a:pt x="526" y="518"/>
                      <a:pt x="506" y="517"/>
                    </a:cubicBezTo>
                    <a:cubicBezTo>
                      <a:pt x="486" y="516"/>
                      <a:pt x="467" y="516"/>
                      <a:pt x="455" y="516"/>
                    </a:cubicBezTo>
                    <a:cubicBezTo>
                      <a:pt x="443" y="516"/>
                      <a:pt x="421" y="516"/>
                      <a:pt x="421" y="516"/>
                    </a:cubicBezTo>
                    <a:cubicBezTo>
                      <a:pt x="413" y="506"/>
                      <a:pt x="413" y="506"/>
                      <a:pt x="413" y="506"/>
                    </a:cubicBezTo>
                    <a:cubicBezTo>
                      <a:pt x="394" y="507"/>
                      <a:pt x="394" y="507"/>
                      <a:pt x="394" y="507"/>
                    </a:cubicBezTo>
                    <a:cubicBezTo>
                      <a:pt x="373" y="498"/>
                      <a:pt x="373" y="498"/>
                      <a:pt x="373" y="498"/>
                    </a:cubicBezTo>
                    <a:cubicBezTo>
                      <a:pt x="394" y="493"/>
                      <a:pt x="394" y="493"/>
                      <a:pt x="394" y="493"/>
                    </a:cubicBezTo>
                    <a:cubicBezTo>
                      <a:pt x="406" y="485"/>
                      <a:pt x="406" y="485"/>
                      <a:pt x="406" y="485"/>
                    </a:cubicBezTo>
                    <a:cubicBezTo>
                      <a:pt x="406" y="485"/>
                      <a:pt x="363" y="469"/>
                      <a:pt x="357" y="475"/>
                    </a:cubicBezTo>
                    <a:cubicBezTo>
                      <a:pt x="351" y="481"/>
                      <a:pt x="348" y="490"/>
                      <a:pt x="348" y="490"/>
                    </a:cubicBezTo>
                    <a:cubicBezTo>
                      <a:pt x="335" y="490"/>
                      <a:pt x="335" y="490"/>
                      <a:pt x="335" y="490"/>
                    </a:cubicBezTo>
                    <a:cubicBezTo>
                      <a:pt x="333" y="493"/>
                      <a:pt x="329" y="497"/>
                      <a:pt x="321" y="498"/>
                    </a:cubicBezTo>
                    <a:cubicBezTo>
                      <a:pt x="303" y="501"/>
                      <a:pt x="304" y="498"/>
                      <a:pt x="304" y="498"/>
                    </a:cubicBezTo>
                    <a:cubicBezTo>
                      <a:pt x="300" y="506"/>
                      <a:pt x="300" y="506"/>
                      <a:pt x="300" y="506"/>
                    </a:cubicBezTo>
                    <a:cubicBezTo>
                      <a:pt x="285" y="507"/>
                      <a:pt x="285" y="507"/>
                      <a:pt x="285" y="507"/>
                    </a:cubicBezTo>
                    <a:cubicBezTo>
                      <a:pt x="285" y="507"/>
                      <a:pt x="284" y="521"/>
                      <a:pt x="275" y="522"/>
                    </a:cubicBezTo>
                    <a:cubicBezTo>
                      <a:pt x="270" y="522"/>
                      <a:pt x="266" y="521"/>
                      <a:pt x="262" y="519"/>
                    </a:cubicBezTo>
                    <a:cubicBezTo>
                      <a:pt x="261" y="528"/>
                      <a:pt x="261" y="528"/>
                      <a:pt x="261" y="528"/>
                    </a:cubicBezTo>
                    <a:cubicBezTo>
                      <a:pt x="261" y="528"/>
                      <a:pt x="265" y="534"/>
                      <a:pt x="266" y="537"/>
                    </a:cubicBezTo>
                    <a:cubicBezTo>
                      <a:pt x="267" y="540"/>
                      <a:pt x="254" y="542"/>
                      <a:pt x="254" y="542"/>
                    </a:cubicBezTo>
                    <a:cubicBezTo>
                      <a:pt x="254" y="542"/>
                      <a:pt x="257" y="545"/>
                      <a:pt x="259" y="557"/>
                    </a:cubicBezTo>
                    <a:cubicBezTo>
                      <a:pt x="261" y="569"/>
                      <a:pt x="275" y="561"/>
                      <a:pt x="281" y="561"/>
                    </a:cubicBezTo>
                    <a:cubicBezTo>
                      <a:pt x="287" y="561"/>
                      <a:pt x="292" y="568"/>
                      <a:pt x="296" y="573"/>
                    </a:cubicBezTo>
                    <a:cubicBezTo>
                      <a:pt x="300" y="578"/>
                      <a:pt x="306" y="581"/>
                      <a:pt x="315" y="591"/>
                    </a:cubicBezTo>
                    <a:cubicBezTo>
                      <a:pt x="324" y="601"/>
                      <a:pt x="300" y="603"/>
                      <a:pt x="300" y="608"/>
                    </a:cubicBezTo>
                    <a:cubicBezTo>
                      <a:pt x="300" y="613"/>
                      <a:pt x="283" y="620"/>
                      <a:pt x="283" y="620"/>
                    </a:cubicBezTo>
                    <a:cubicBezTo>
                      <a:pt x="296" y="631"/>
                      <a:pt x="296" y="631"/>
                      <a:pt x="296" y="631"/>
                    </a:cubicBezTo>
                    <a:cubicBezTo>
                      <a:pt x="296" y="631"/>
                      <a:pt x="337" y="663"/>
                      <a:pt x="343" y="673"/>
                    </a:cubicBezTo>
                    <a:cubicBezTo>
                      <a:pt x="349" y="683"/>
                      <a:pt x="321" y="677"/>
                      <a:pt x="321" y="677"/>
                    </a:cubicBezTo>
                    <a:cubicBezTo>
                      <a:pt x="316" y="697"/>
                      <a:pt x="316" y="697"/>
                      <a:pt x="316" y="697"/>
                    </a:cubicBezTo>
                    <a:cubicBezTo>
                      <a:pt x="323" y="703"/>
                      <a:pt x="323" y="703"/>
                      <a:pt x="323" y="703"/>
                    </a:cubicBezTo>
                    <a:cubicBezTo>
                      <a:pt x="323" y="713"/>
                      <a:pt x="323" y="713"/>
                      <a:pt x="323" y="713"/>
                    </a:cubicBezTo>
                    <a:cubicBezTo>
                      <a:pt x="323" y="713"/>
                      <a:pt x="342" y="718"/>
                      <a:pt x="343" y="722"/>
                    </a:cubicBezTo>
                    <a:cubicBezTo>
                      <a:pt x="344" y="726"/>
                      <a:pt x="337" y="737"/>
                      <a:pt x="337" y="737"/>
                    </a:cubicBezTo>
                    <a:cubicBezTo>
                      <a:pt x="352" y="740"/>
                      <a:pt x="352" y="740"/>
                      <a:pt x="352" y="740"/>
                    </a:cubicBezTo>
                    <a:cubicBezTo>
                      <a:pt x="352" y="740"/>
                      <a:pt x="363" y="748"/>
                      <a:pt x="364" y="752"/>
                    </a:cubicBezTo>
                    <a:cubicBezTo>
                      <a:pt x="365" y="756"/>
                      <a:pt x="344" y="770"/>
                      <a:pt x="344" y="770"/>
                    </a:cubicBezTo>
                    <a:cubicBezTo>
                      <a:pt x="383" y="788"/>
                      <a:pt x="383" y="788"/>
                      <a:pt x="383" y="788"/>
                    </a:cubicBezTo>
                    <a:cubicBezTo>
                      <a:pt x="383" y="788"/>
                      <a:pt x="406" y="807"/>
                      <a:pt x="405" y="815"/>
                    </a:cubicBezTo>
                    <a:cubicBezTo>
                      <a:pt x="404" y="823"/>
                      <a:pt x="395" y="830"/>
                      <a:pt x="391" y="837"/>
                    </a:cubicBezTo>
                    <a:cubicBezTo>
                      <a:pt x="387" y="844"/>
                      <a:pt x="366" y="856"/>
                      <a:pt x="366" y="856"/>
                    </a:cubicBezTo>
                    <a:cubicBezTo>
                      <a:pt x="366" y="856"/>
                      <a:pt x="338" y="882"/>
                      <a:pt x="334" y="887"/>
                    </a:cubicBezTo>
                    <a:cubicBezTo>
                      <a:pt x="330" y="892"/>
                      <a:pt x="289" y="916"/>
                      <a:pt x="289" y="916"/>
                    </a:cubicBezTo>
                    <a:cubicBezTo>
                      <a:pt x="293" y="923"/>
                      <a:pt x="293" y="923"/>
                      <a:pt x="293" y="923"/>
                    </a:cubicBezTo>
                    <a:cubicBezTo>
                      <a:pt x="313" y="912"/>
                      <a:pt x="313" y="912"/>
                      <a:pt x="313" y="912"/>
                    </a:cubicBezTo>
                    <a:cubicBezTo>
                      <a:pt x="315" y="923"/>
                      <a:pt x="315" y="923"/>
                      <a:pt x="315" y="923"/>
                    </a:cubicBezTo>
                    <a:cubicBezTo>
                      <a:pt x="315" y="923"/>
                      <a:pt x="328" y="936"/>
                      <a:pt x="334" y="939"/>
                    </a:cubicBezTo>
                    <a:cubicBezTo>
                      <a:pt x="340" y="942"/>
                      <a:pt x="367" y="942"/>
                      <a:pt x="367" y="942"/>
                    </a:cubicBezTo>
                    <a:cubicBezTo>
                      <a:pt x="376" y="954"/>
                      <a:pt x="376" y="954"/>
                      <a:pt x="376" y="954"/>
                    </a:cubicBezTo>
                    <a:cubicBezTo>
                      <a:pt x="376" y="954"/>
                      <a:pt x="337" y="945"/>
                      <a:pt x="335" y="951"/>
                    </a:cubicBezTo>
                    <a:cubicBezTo>
                      <a:pt x="333" y="957"/>
                      <a:pt x="333" y="961"/>
                      <a:pt x="333" y="961"/>
                    </a:cubicBezTo>
                    <a:cubicBezTo>
                      <a:pt x="307" y="962"/>
                      <a:pt x="307" y="962"/>
                      <a:pt x="307" y="962"/>
                    </a:cubicBezTo>
                    <a:cubicBezTo>
                      <a:pt x="303" y="980"/>
                      <a:pt x="303" y="980"/>
                      <a:pt x="303" y="980"/>
                    </a:cubicBezTo>
                    <a:cubicBezTo>
                      <a:pt x="303" y="980"/>
                      <a:pt x="300" y="979"/>
                      <a:pt x="295" y="978"/>
                    </a:cubicBezTo>
                    <a:cubicBezTo>
                      <a:pt x="292" y="988"/>
                      <a:pt x="292" y="988"/>
                      <a:pt x="292" y="988"/>
                    </a:cubicBezTo>
                    <a:cubicBezTo>
                      <a:pt x="295" y="997"/>
                      <a:pt x="295" y="997"/>
                      <a:pt x="295" y="997"/>
                    </a:cubicBezTo>
                    <a:cubicBezTo>
                      <a:pt x="295" y="997"/>
                      <a:pt x="288" y="1001"/>
                      <a:pt x="284" y="1003"/>
                    </a:cubicBezTo>
                    <a:cubicBezTo>
                      <a:pt x="280" y="1005"/>
                      <a:pt x="281" y="1019"/>
                      <a:pt x="281" y="1019"/>
                    </a:cubicBezTo>
                    <a:cubicBezTo>
                      <a:pt x="290" y="1023"/>
                      <a:pt x="290" y="1023"/>
                      <a:pt x="290" y="1023"/>
                    </a:cubicBezTo>
                    <a:cubicBezTo>
                      <a:pt x="285" y="1041"/>
                      <a:pt x="285" y="1041"/>
                      <a:pt x="285" y="1041"/>
                    </a:cubicBezTo>
                    <a:cubicBezTo>
                      <a:pt x="292" y="1043"/>
                      <a:pt x="292" y="1043"/>
                      <a:pt x="292" y="1043"/>
                    </a:cubicBezTo>
                    <a:cubicBezTo>
                      <a:pt x="301" y="1055"/>
                      <a:pt x="301" y="1055"/>
                      <a:pt x="301" y="1055"/>
                    </a:cubicBezTo>
                    <a:cubicBezTo>
                      <a:pt x="288" y="1064"/>
                      <a:pt x="288" y="1064"/>
                      <a:pt x="288" y="1064"/>
                    </a:cubicBezTo>
                    <a:cubicBezTo>
                      <a:pt x="288" y="1072"/>
                      <a:pt x="288" y="1072"/>
                      <a:pt x="288" y="1072"/>
                    </a:cubicBezTo>
                    <a:cubicBezTo>
                      <a:pt x="288" y="1072"/>
                      <a:pt x="309" y="1082"/>
                      <a:pt x="310" y="1087"/>
                    </a:cubicBezTo>
                    <a:cubicBezTo>
                      <a:pt x="311" y="1092"/>
                      <a:pt x="298" y="1094"/>
                      <a:pt x="298" y="1094"/>
                    </a:cubicBezTo>
                    <a:cubicBezTo>
                      <a:pt x="297" y="1103"/>
                      <a:pt x="297" y="1103"/>
                      <a:pt x="297" y="1103"/>
                    </a:cubicBezTo>
                    <a:cubicBezTo>
                      <a:pt x="310" y="1107"/>
                      <a:pt x="310" y="1107"/>
                      <a:pt x="310" y="1107"/>
                    </a:cubicBezTo>
                    <a:cubicBezTo>
                      <a:pt x="310" y="1107"/>
                      <a:pt x="315" y="1118"/>
                      <a:pt x="322" y="1124"/>
                    </a:cubicBezTo>
                    <a:cubicBezTo>
                      <a:pt x="328" y="1129"/>
                      <a:pt x="328" y="1139"/>
                      <a:pt x="328" y="1143"/>
                    </a:cubicBezTo>
                    <a:cubicBezTo>
                      <a:pt x="332" y="1144"/>
                      <a:pt x="336" y="1144"/>
                      <a:pt x="339" y="1145"/>
                    </a:cubicBezTo>
                    <a:cubicBezTo>
                      <a:pt x="347" y="1146"/>
                      <a:pt x="348" y="1153"/>
                      <a:pt x="348" y="1153"/>
                    </a:cubicBezTo>
                    <a:cubicBezTo>
                      <a:pt x="354" y="1147"/>
                      <a:pt x="354" y="1147"/>
                      <a:pt x="354" y="1147"/>
                    </a:cubicBezTo>
                    <a:cubicBezTo>
                      <a:pt x="380" y="1153"/>
                      <a:pt x="380" y="1153"/>
                      <a:pt x="380" y="1153"/>
                    </a:cubicBezTo>
                    <a:cubicBezTo>
                      <a:pt x="382" y="1163"/>
                      <a:pt x="382" y="1163"/>
                      <a:pt x="382" y="1163"/>
                    </a:cubicBezTo>
                    <a:cubicBezTo>
                      <a:pt x="404" y="1151"/>
                      <a:pt x="404" y="1151"/>
                      <a:pt x="404" y="1151"/>
                    </a:cubicBezTo>
                    <a:cubicBezTo>
                      <a:pt x="404" y="1151"/>
                      <a:pt x="426" y="1162"/>
                      <a:pt x="437" y="1167"/>
                    </a:cubicBezTo>
                    <a:cubicBezTo>
                      <a:pt x="448" y="1172"/>
                      <a:pt x="434" y="1186"/>
                      <a:pt x="434" y="1186"/>
                    </a:cubicBezTo>
                    <a:cubicBezTo>
                      <a:pt x="442" y="1196"/>
                      <a:pt x="442" y="1196"/>
                      <a:pt x="442" y="1196"/>
                    </a:cubicBezTo>
                    <a:cubicBezTo>
                      <a:pt x="438" y="1208"/>
                      <a:pt x="438" y="1208"/>
                      <a:pt x="438" y="1208"/>
                    </a:cubicBezTo>
                    <a:cubicBezTo>
                      <a:pt x="438" y="1208"/>
                      <a:pt x="443" y="1213"/>
                      <a:pt x="451" y="1215"/>
                    </a:cubicBezTo>
                    <a:cubicBezTo>
                      <a:pt x="459" y="1217"/>
                      <a:pt x="462" y="1238"/>
                      <a:pt x="462" y="1238"/>
                    </a:cubicBezTo>
                    <a:cubicBezTo>
                      <a:pt x="482" y="1245"/>
                      <a:pt x="482" y="1245"/>
                      <a:pt x="482" y="1245"/>
                    </a:cubicBezTo>
                    <a:cubicBezTo>
                      <a:pt x="484" y="1260"/>
                      <a:pt x="484" y="1260"/>
                      <a:pt x="484" y="1260"/>
                    </a:cubicBezTo>
                    <a:cubicBezTo>
                      <a:pt x="484" y="1260"/>
                      <a:pt x="494" y="1258"/>
                      <a:pt x="507" y="1261"/>
                    </a:cubicBezTo>
                    <a:cubicBezTo>
                      <a:pt x="520" y="1264"/>
                      <a:pt x="512" y="1273"/>
                      <a:pt x="512" y="1273"/>
                    </a:cubicBezTo>
                    <a:cubicBezTo>
                      <a:pt x="526" y="1281"/>
                      <a:pt x="526" y="1281"/>
                      <a:pt x="526" y="1281"/>
                    </a:cubicBezTo>
                    <a:cubicBezTo>
                      <a:pt x="526" y="1281"/>
                      <a:pt x="517" y="1290"/>
                      <a:pt x="509" y="1297"/>
                    </a:cubicBezTo>
                    <a:cubicBezTo>
                      <a:pt x="501" y="1304"/>
                      <a:pt x="488" y="1296"/>
                      <a:pt x="488" y="1296"/>
                    </a:cubicBezTo>
                    <a:cubicBezTo>
                      <a:pt x="488" y="1296"/>
                      <a:pt x="486" y="1290"/>
                      <a:pt x="472" y="1293"/>
                    </a:cubicBezTo>
                    <a:cubicBezTo>
                      <a:pt x="458" y="1296"/>
                      <a:pt x="485" y="1318"/>
                      <a:pt x="485" y="1318"/>
                    </a:cubicBezTo>
                    <a:cubicBezTo>
                      <a:pt x="485" y="1318"/>
                      <a:pt x="485" y="1332"/>
                      <a:pt x="488" y="1333"/>
                    </a:cubicBezTo>
                    <a:cubicBezTo>
                      <a:pt x="490" y="1333"/>
                      <a:pt x="490" y="1343"/>
                      <a:pt x="491" y="1351"/>
                    </a:cubicBezTo>
                    <a:cubicBezTo>
                      <a:pt x="486" y="1351"/>
                      <a:pt x="481" y="1350"/>
                      <a:pt x="477" y="1349"/>
                    </a:cubicBezTo>
                    <a:cubicBezTo>
                      <a:pt x="490" y="1351"/>
                      <a:pt x="510" y="1355"/>
                      <a:pt x="516" y="1352"/>
                    </a:cubicBezTo>
                    <a:cubicBezTo>
                      <a:pt x="524" y="1348"/>
                      <a:pt x="520" y="1339"/>
                      <a:pt x="520" y="1339"/>
                    </a:cubicBezTo>
                    <a:cubicBezTo>
                      <a:pt x="538" y="1342"/>
                      <a:pt x="538" y="1342"/>
                      <a:pt x="538" y="1342"/>
                    </a:cubicBezTo>
                    <a:cubicBezTo>
                      <a:pt x="549" y="1337"/>
                      <a:pt x="549" y="1337"/>
                      <a:pt x="549" y="1337"/>
                    </a:cubicBezTo>
                    <a:cubicBezTo>
                      <a:pt x="579" y="1336"/>
                      <a:pt x="579" y="1336"/>
                      <a:pt x="579" y="1336"/>
                    </a:cubicBezTo>
                    <a:cubicBezTo>
                      <a:pt x="585" y="1350"/>
                      <a:pt x="585" y="1350"/>
                      <a:pt x="585" y="1350"/>
                    </a:cubicBezTo>
                    <a:cubicBezTo>
                      <a:pt x="585" y="1350"/>
                      <a:pt x="606" y="1356"/>
                      <a:pt x="604" y="1362"/>
                    </a:cubicBezTo>
                    <a:cubicBezTo>
                      <a:pt x="602" y="1368"/>
                      <a:pt x="594" y="1369"/>
                      <a:pt x="594" y="1369"/>
                    </a:cubicBezTo>
                    <a:cubicBezTo>
                      <a:pt x="599" y="1381"/>
                      <a:pt x="599" y="1381"/>
                      <a:pt x="599" y="1381"/>
                    </a:cubicBezTo>
                    <a:cubicBezTo>
                      <a:pt x="600" y="1392"/>
                      <a:pt x="600" y="1392"/>
                      <a:pt x="600" y="1392"/>
                    </a:cubicBezTo>
                    <a:cubicBezTo>
                      <a:pt x="623" y="1394"/>
                      <a:pt x="623" y="1394"/>
                      <a:pt x="623" y="1394"/>
                    </a:cubicBezTo>
                    <a:cubicBezTo>
                      <a:pt x="651" y="1406"/>
                      <a:pt x="651" y="1406"/>
                      <a:pt x="651" y="1406"/>
                    </a:cubicBezTo>
                    <a:cubicBezTo>
                      <a:pt x="658" y="1435"/>
                      <a:pt x="658" y="1435"/>
                      <a:pt x="658" y="1435"/>
                    </a:cubicBezTo>
                    <a:cubicBezTo>
                      <a:pt x="662" y="1438"/>
                      <a:pt x="662" y="1438"/>
                      <a:pt x="662" y="1438"/>
                    </a:cubicBezTo>
                    <a:cubicBezTo>
                      <a:pt x="680" y="1434"/>
                      <a:pt x="680" y="1434"/>
                      <a:pt x="680" y="1434"/>
                    </a:cubicBezTo>
                    <a:cubicBezTo>
                      <a:pt x="680" y="1434"/>
                      <a:pt x="688" y="1438"/>
                      <a:pt x="696" y="1442"/>
                    </a:cubicBezTo>
                    <a:cubicBezTo>
                      <a:pt x="704" y="1446"/>
                      <a:pt x="702" y="1441"/>
                      <a:pt x="713" y="1440"/>
                    </a:cubicBezTo>
                    <a:cubicBezTo>
                      <a:pt x="724" y="1439"/>
                      <a:pt x="733" y="1445"/>
                      <a:pt x="733" y="1445"/>
                    </a:cubicBezTo>
                    <a:cubicBezTo>
                      <a:pt x="733" y="1445"/>
                      <a:pt x="729" y="1435"/>
                      <a:pt x="738" y="1436"/>
                    </a:cubicBezTo>
                    <a:cubicBezTo>
                      <a:pt x="747" y="1437"/>
                      <a:pt x="749" y="1448"/>
                      <a:pt x="755" y="1452"/>
                    </a:cubicBezTo>
                    <a:cubicBezTo>
                      <a:pt x="761" y="1456"/>
                      <a:pt x="764" y="1461"/>
                      <a:pt x="764" y="1461"/>
                    </a:cubicBezTo>
                    <a:cubicBezTo>
                      <a:pt x="764" y="1461"/>
                      <a:pt x="776" y="1455"/>
                      <a:pt x="780" y="1455"/>
                    </a:cubicBezTo>
                    <a:cubicBezTo>
                      <a:pt x="784" y="1455"/>
                      <a:pt x="797" y="1464"/>
                      <a:pt x="797" y="1464"/>
                    </a:cubicBezTo>
                    <a:cubicBezTo>
                      <a:pt x="797" y="1464"/>
                      <a:pt x="811" y="1462"/>
                      <a:pt x="818" y="1464"/>
                    </a:cubicBezTo>
                    <a:cubicBezTo>
                      <a:pt x="825" y="1466"/>
                      <a:pt x="827" y="1472"/>
                      <a:pt x="827" y="1472"/>
                    </a:cubicBezTo>
                    <a:cubicBezTo>
                      <a:pt x="840" y="1481"/>
                      <a:pt x="840" y="1481"/>
                      <a:pt x="840" y="1481"/>
                    </a:cubicBezTo>
                    <a:cubicBezTo>
                      <a:pt x="840" y="1481"/>
                      <a:pt x="857" y="1475"/>
                      <a:pt x="858" y="1485"/>
                    </a:cubicBezTo>
                    <a:cubicBezTo>
                      <a:pt x="859" y="1495"/>
                      <a:pt x="860" y="1502"/>
                      <a:pt x="860" y="1502"/>
                    </a:cubicBezTo>
                    <a:cubicBezTo>
                      <a:pt x="846" y="1509"/>
                      <a:pt x="846" y="1509"/>
                      <a:pt x="846" y="1509"/>
                    </a:cubicBezTo>
                    <a:cubicBezTo>
                      <a:pt x="846" y="1509"/>
                      <a:pt x="863" y="1512"/>
                      <a:pt x="862" y="1518"/>
                    </a:cubicBezTo>
                    <a:cubicBezTo>
                      <a:pt x="861" y="1524"/>
                      <a:pt x="844" y="1522"/>
                      <a:pt x="845" y="1525"/>
                    </a:cubicBezTo>
                    <a:cubicBezTo>
                      <a:pt x="846" y="1528"/>
                      <a:pt x="858" y="1536"/>
                      <a:pt x="859" y="1542"/>
                    </a:cubicBezTo>
                    <a:cubicBezTo>
                      <a:pt x="860" y="1548"/>
                      <a:pt x="868" y="1561"/>
                      <a:pt x="856" y="1565"/>
                    </a:cubicBezTo>
                    <a:cubicBezTo>
                      <a:pt x="844" y="1569"/>
                      <a:pt x="821" y="1567"/>
                      <a:pt x="821" y="1567"/>
                    </a:cubicBezTo>
                    <a:cubicBezTo>
                      <a:pt x="821" y="1567"/>
                      <a:pt x="813" y="1576"/>
                      <a:pt x="810" y="1580"/>
                    </a:cubicBezTo>
                    <a:cubicBezTo>
                      <a:pt x="807" y="1584"/>
                      <a:pt x="794" y="1584"/>
                      <a:pt x="794" y="1584"/>
                    </a:cubicBezTo>
                    <a:cubicBezTo>
                      <a:pt x="797" y="1609"/>
                      <a:pt x="797" y="1609"/>
                      <a:pt x="797" y="1609"/>
                    </a:cubicBezTo>
                    <a:cubicBezTo>
                      <a:pt x="796" y="1610"/>
                      <a:pt x="795" y="1610"/>
                      <a:pt x="795" y="1610"/>
                    </a:cubicBezTo>
                    <a:cubicBezTo>
                      <a:pt x="796" y="1610"/>
                      <a:pt x="797" y="1609"/>
                      <a:pt x="799" y="1609"/>
                    </a:cubicBezTo>
                    <a:cubicBezTo>
                      <a:pt x="810" y="1603"/>
                      <a:pt x="839" y="1594"/>
                      <a:pt x="840" y="1603"/>
                    </a:cubicBezTo>
                    <a:cubicBezTo>
                      <a:pt x="841" y="1611"/>
                      <a:pt x="819" y="1627"/>
                      <a:pt x="819" y="1627"/>
                    </a:cubicBezTo>
                    <a:cubicBezTo>
                      <a:pt x="786" y="1637"/>
                      <a:pt x="786" y="1637"/>
                      <a:pt x="786" y="1637"/>
                    </a:cubicBezTo>
                    <a:cubicBezTo>
                      <a:pt x="816" y="1660"/>
                      <a:pt x="816" y="1660"/>
                      <a:pt x="816" y="1660"/>
                    </a:cubicBezTo>
                    <a:cubicBezTo>
                      <a:pt x="816" y="1660"/>
                      <a:pt x="792" y="1665"/>
                      <a:pt x="791" y="1675"/>
                    </a:cubicBezTo>
                    <a:cubicBezTo>
                      <a:pt x="790" y="1685"/>
                      <a:pt x="790" y="1696"/>
                      <a:pt x="790" y="1696"/>
                    </a:cubicBezTo>
                    <a:cubicBezTo>
                      <a:pt x="790" y="1696"/>
                      <a:pt x="777" y="1705"/>
                      <a:pt x="772" y="1705"/>
                    </a:cubicBezTo>
                    <a:cubicBezTo>
                      <a:pt x="767" y="1705"/>
                      <a:pt x="752" y="1694"/>
                      <a:pt x="752" y="1694"/>
                    </a:cubicBezTo>
                    <a:cubicBezTo>
                      <a:pt x="748" y="1705"/>
                      <a:pt x="748" y="1705"/>
                      <a:pt x="748" y="1705"/>
                    </a:cubicBezTo>
                    <a:cubicBezTo>
                      <a:pt x="748" y="1705"/>
                      <a:pt x="760" y="1718"/>
                      <a:pt x="763" y="1718"/>
                    </a:cubicBezTo>
                    <a:cubicBezTo>
                      <a:pt x="766" y="1718"/>
                      <a:pt x="775" y="1737"/>
                      <a:pt x="775" y="1737"/>
                    </a:cubicBezTo>
                    <a:cubicBezTo>
                      <a:pt x="800" y="1735"/>
                      <a:pt x="800" y="1735"/>
                      <a:pt x="800" y="1735"/>
                    </a:cubicBezTo>
                    <a:cubicBezTo>
                      <a:pt x="800" y="1735"/>
                      <a:pt x="818" y="1754"/>
                      <a:pt x="824" y="1754"/>
                    </a:cubicBezTo>
                    <a:cubicBezTo>
                      <a:pt x="830" y="1754"/>
                      <a:pt x="842" y="1755"/>
                      <a:pt x="842" y="1755"/>
                    </a:cubicBezTo>
                    <a:cubicBezTo>
                      <a:pt x="842" y="1755"/>
                      <a:pt x="873" y="1792"/>
                      <a:pt x="881" y="1795"/>
                    </a:cubicBezTo>
                    <a:cubicBezTo>
                      <a:pt x="889" y="1798"/>
                      <a:pt x="905" y="1805"/>
                      <a:pt x="905" y="1805"/>
                    </a:cubicBezTo>
                    <a:cubicBezTo>
                      <a:pt x="905" y="1805"/>
                      <a:pt x="904" y="1805"/>
                      <a:pt x="901" y="1804"/>
                    </a:cubicBezTo>
                    <a:cubicBezTo>
                      <a:pt x="914" y="1793"/>
                      <a:pt x="914" y="1793"/>
                      <a:pt x="914" y="1793"/>
                    </a:cubicBezTo>
                    <a:cubicBezTo>
                      <a:pt x="914" y="1793"/>
                      <a:pt x="939" y="1796"/>
                      <a:pt x="955" y="1803"/>
                    </a:cubicBezTo>
                    <a:cubicBezTo>
                      <a:pt x="971" y="1810"/>
                      <a:pt x="983" y="1812"/>
                      <a:pt x="996" y="1811"/>
                    </a:cubicBezTo>
                    <a:cubicBezTo>
                      <a:pt x="1009" y="1810"/>
                      <a:pt x="1029" y="1815"/>
                      <a:pt x="1029" y="1815"/>
                    </a:cubicBezTo>
                    <a:cubicBezTo>
                      <a:pt x="1061" y="1835"/>
                      <a:pt x="1061" y="1835"/>
                      <a:pt x="1061" y="1835"/>
                    </a:cubicBezTo>
                    <a:cubicBezTo>
                      <a:pt x="1061" y="1835"/>
                      <a:pt x="1061" y="1846"/>
                      <a:pt x="1080" y="1846"/>
                    </a:cubicBezTo>
                    <a:cubicBezTo>
                      <a:pt x="1099" y="1846"/>
                      <a:pt x="1091" y="1837"/>
                      <a:pt x="1109" y="1835"/>
                    </a:cubicBezTo>
                    <a:cubicBezTo>
                      <a:pt x="1127" y="1833"/>
                      <a:pt x="1137" y="1848"/>
                      <a:pt x="1137" y="1848"/>
                    </a:cubicBezTo>
                    <a:cubicBezTo>
                      <a:pt x="1157" y="1851"/>
                      <a:pt x="1157" y="1851"/>
                      <a:pt x="1157" y="1851"/>
                    </a:cubicBezTo>
                    <a:cubicBezTo>
                      <a:pt x="1157" y="1851"/>
                      <a:pt x="1152" y="1869"/>
                      <a:pt x="1152" y="1868"/>
                    </a:cubicBezTo>
                    <a:cubicBezTo>
                      <a:pt x="1169" y="1869"/>
                      <a:pt x="1180" y="1879"/>
                      <a:pt x="1187" y="1886"/>
                    </a:cubicBezTo>
                    <a:cubicBezTo>
                      <a:pt x="1187" y="1886"/>
                      <a:pt x="1187" y="1886"/>
                      <a:pt x="1187" y="1886"/>
                    </a:cubicBezTo>
                    <a:cubicBezTo>
                      <a:pt x="1194" y="1885"/>
                      <a:pt x="1205" y="1886"/>
                      <a:pt x="1214" y="1892"/>
                    </a:cubicBezTo>
                    <a:cubicBezTo>
                      <a:pt x="1227" y="1901"/>
                      <a:pt x="1236" y="1923"/>
                      <a:pt x="1252" y="1921"/>
                    </a:cubicBezTo>
                    <a:cubicBezTo>
                      <a:pt x="1268" y="1919"/>
                      <a:pt x="1262" y="1907"/>
                      <a:pt x="1262" y="1907"/>
                    </a:cubicBezTo>
                    <a:cubicBezTo>
                      <a:pt x="1262" y="1907"/>
                      <a:pt x="1278" y="1910"/>
                      <a:pt x="1279" y="1903"/>
                    </a:cubicBezTo>
                    <a:cubicBezTo>
                      <a:pt x="1280" y="1896"/>
                      <a:pt x="1281" y="1885"/>
                      <a:pt x="1281" y="1885"/>
                    </a:cubicBezTo>
                    <a:cubicBezTo>
                      <a:pt x="1274" y="1882"/>
                      <a:pt x="1274" y="1882"/>
                      <a:pt x="1274" y="1882"/>
                    </a:cubicBezTo>
                    <a:cubicBezTo>
                      <a:pt x="1274" y="1882"/>
                      <a:pt x="1269" y="1868"/>
                      <a:pt x="1264" y="1860"/>
                    </a:cubicBezTo>
                    <a:cubicBezTo>
                      <a:pt x="1259" y="1852"/>
                      <a:pt x="1240" y="1848"/>
                      <a:pt x="1240" y="1848"/>
                    </a:cubicBezTo>
                    <a:cubicBezTo>
                      <a:pt x="1240" y="1833"/>
                      <a:pt x="1240" y="1833"/>
                      <a:pt x="1240" y="1833"/>
                    </a:cubicBezTo>
                    <a:cubicBezTo>
                      <a:pt x="1240" y="1833"/>
                      <a:pt x="1232" y="1829"/>
                      <a:pt x="1223" y="1818"/>
                    </a:cubicBezTo>
                    <a:cubicBezTo>
                      <a:pt x="1214" y="1807"/>
                      <a:pt x="1226" y="1793"/>
                      <a:pt x="1221" y="1780"/>
                    </a:cubicBezTo>
                    <a:cubicBezTo>
                      <a:pt x="1216" y="1767"/>
                      <a:pt x="1195" y="1753"/>
                      <a:pt x="1195" y="1753"/>
                    </a:cubicBezTo>
                    <a:cubicBezTo>
                      <a:pt x="1195" y="1753"/>
                      <a:pt x="1186" y="1752"/>
                      <a:pt x="1177" y="1747"/>
                    </a:cubicBezTo>
                    <a:cubicBezTo>
                      <a:pt x="1168" y="1742"/>
                      <a:pt x="1190" y="1721"/>
                      <a:pt x="1190" y="1721"/>
                    </a:cubicBezTo>
                    <a:cubicBezTo>
                      <a:pt x="1190" y="1721"/>
                      <a:pt x="1205" y="1708"/>
                      <a:pt x="1208" y="1701"/>
                    </a:cubicBezTo>
                    <a:cubicBezTo>
                      <a:pt x="1211" y="1694"/>
                      <a:pt x="1197" y="1679"/>
                      <a:pt x="1197" y="1679"/>
                    </a:cubicBezTo>
                    <a:cubicBezTo>
                      <a:pt x="1197" y="1679"/>
                      <a:pt x="1211" y="1685"/>
                      <a:pt x="1214" y="1685"/>
                    </a:cubicBezTo>
                    <a:cubicBezTo>
                      <a:pt x="1217" y="1685"/>
                      <a:pt x="1229" y="1684"/>
                      <a:pt x="1232" y="1678"/>
                    </a:cubicBezTo>
                    <a:cubicBezTo>
                      <a:pt x="1235" y="1672"/>
                      <a:pt x="1238" y="1678"/>
                      <a:pt x="1250" y="1676"/>
                    </a:cubicBezTo>
                    <a:cubicBezTo>
                      <a:pt x="1262" y="1674"/>
                      <a:pt x="1245" y="1661"/>
                      <a:pt x="1245" y="1661"/>
                    </a:cubicBezTo>
                    <a:cubicBezTo>
                      <a:pt x="1245" y="1661"/>
                      <a:pt x="1261" y="1662"/>
                      <a:pt x="1264" y="1662"/>
                    </a:cubicBezTo>
                    <a:cubicBezTo>
                      <a:pt x="1266" y="1662"/>
                      <a:pt x="1265" y="1652"/>
                      <a:pt x="1264" y="1649"/>
                    </a:cubicBezTo>
                    <a:cubicBezTo>
                      <a:pt x="1257" y="1647"/>
                      <a:pt x="1231" y="1638"/>
                      <a:pt x="1231" y="1631"/>
                    </a:cubicBezTo>
                    <a:cubicBezTo>
                      <a:pt x="1231" y="1623"/>
                      <a:pt x="1254" y="1632"/>
                      <a:pt x="1254" y="1624"/>
                    </a:cubicBezTo>
                    <a:cubicBezTo>
                      <a:pt x="1254" y="1616"/>
                      <a:pt x="1215" y="1576"/>
                      <a:pt x="1210" y="1574"/>
                    </a:cubicBezTo>
                    <a:cubicBezTo>
                      <a:pt x="1205" y="1571"/>
                      <a:pt x="1181" y="1580"/>
                      <a:pt x="1169" y="1575"/>
                    </a:cubicBezTo>
                    <a:cubicBezTo>
                      <a:pt x="1157" y="1570"/>
                      <a:pt x="1171" y="1555"/>
                      <a:pt x="1159" y="1550"/>
                    </a:cubicBezTo>
                    <a:cubicBezTo>
                      <a:pt x="1147" y="1544"/>
                      <a:pt x="1137" y="1554"/>
                      <a:pt x="1137" y="1538"/>
                    </a:cubicBezTo>
                    <a:cubicBezTo>
                      <a:pt x="1137" y="1522"/>
                      <a:pt x="1145" y="1510"/>
                      <a:pt x="1145" y="1502"/>
                    </a:cubicBezTo>
                    <a:cubicBezTo>
                      <a:pt x="1145" y="1494"/>
                      <a:pt x="1139" y="1488"/>
                      <a:pt x="1139" y="1488"/>
                    </a:cubicBezTo>
                    <a:cubicBezTo>
                      <a:pt x="1137" y="1464"/>
                      <a:pt x="1137" y="1464"/>
                      <a:pt x="1137" y="1464"/>
                    </a:cubicBezTo>
                    <a:cubicBezTo>
                      <a:pt x="1137" y="1464"/>
                      <a:pt x="1150" y="1467"/>
                      <a:pt x="1150" y="1459"/>
                    </a:cubicBezTo>
                    <a:cubicBezTo>
                      <a:pt x="1150" y="1451"/>
                      <a:pt x="1142" y="1432"/>
                      <a:pt x="1154" y="1431"/>
                    </a:cubicBezTo>
                    <a:cubicBezTo>
                      <a:pt x="1166" y="1430"/>
                      <a:pt x="1194" y="1472"/>
                      <a:pt x="1209" y="1458"/>
                    </a:cubicBezTo>
                    <a:cubicBezTo>
                      <a:pt x="1223" y="1443"/>
                      <a:pt x="1205" y="1428"/>
                      <a:pt x="1205" y="1428"/>
                    </a:cubicBezTo>
                    <a:cubicBezTo>
                      <a:pt x="1223" y="1419"/>
                      <a:pt x="1223" y="1419"/>
                      <a:pt x="1223" y="1419"/>
                    </a:cubicBezTo>
                    <a:cubicBezTo>
                      <a:pt x="1223" y="1404"/>
                      <a:pt x="1223" y="1404"/>
                      <a:pt x="1223" y="1404"/>
                    </a:cubicBezTo>
                    <a:cubicBezTo>
                      <a:pt x="1223" y="1404"/>
                      <a:pt x="1251" y="1399"/>
                      <a:pt x="1259" y="1388"/>
                    </a:cubicBezTo>
                    <a:cubicBezTo>
                      <a:pt x="1267" y="1378"/>
                      <a:pt x="1245" y="1370"/>
                      <a:pt x="1267" y="1368"/>
                    </a:cubicBezTo>
                    <a:cubicBezTo>
                      <a:pt x="1290" y="1367"/>
                      <a:pt x="1282" y="1380"/>
                      <a:pt x="1298" y="1380"/>
                    </a:cubicBezTo>
                    <a:cubicBezTo>
                      <a:pt x="1314" y="1380"/>
                      <a:pt x="1327" y="1367"/>
                      <a:pt x="1334" y="1367"/>
                    </a:cubicBezTo>
                    <a:cubicBezTo>
                      <a:pt x="1341" y="1367"/>
                      <a:pt x="1342" y="1380"/>
                      <a:pt x="1351" y="1382"/>
                    </a:cubicBezTo>
                    <a:cubicBezTo>
                      <a:pt x="1361" y="1383"/>
                      <a:pt x="1385" y="1378"/>
                      <a:pt x="1389" y="1382"/>
                    </a:cubicBezTo>
                    <a:cubicBezTo>
                      <a:pt x="1393" y="1386"/>
                      <a:pt x="1395" y="1398"/>
                      <a:pt x="1395" y="1398"/>
                    </a:cubicBezTo>
                    <a:cubicBezTo>
                      <a:pt x="1419" y="1396"/>
                      <a:pt x="1419" y="1396"/>
                      <a:pt x="1419" y="1396"/>
                    </a:cubicBezTo>
                    <a:cubicBezTo>
                      <a:pt x="1426" y="1416"/>
                      <a:pt x="1426" y="1416"/>
                      <a:pt x="1426" y="1416"/>
                    </a:cubicBezTo>
                    <a:cubicBezTo>
                      <a:pt x="1426" y="1416"/>
                      <a:pt x="1434" y="1436"/>
                      <a:pt x="1442" y="1430"/>
                    </a:cubicBezTo>
                    <a:cubicBezTo>
                      <a:pt x="1450" y="1423"/>
                      <a:pt x="1427" y="1406"/>
                      <a:pt x="1438" y="1403"/>
                    </a:cubicBezTo>
                    <a:cubicBezTo>
                      <a:pt x="1449" y="1400"/>
                      <a:pt x="1490" y="1431"/>
                      <a:pt x="1493" y="1427"/>
                    </a:cubicBezTo>
                    <a:cubicBezTo>
                      <a:pt x="1495" y="1423"/>
                      <a:pt x="1513" y="1403"/>
                      <a:pt x="1522" y="1402"/>
                    </a:cubicBezTo>
                    <a:cubicBezTo>
                      <a:pt x="1531" y="1400"/>
                      <a:pt x="1542" y="1416"/>
                      <a:pt x="1558" y="1412"/>
                    </a:cubicBezTo>
                    <a:cubicBezTo>
                      <a:pt x="1574" y="1408"/>
                      <a:pt x="1585" y="1399"/>
                      <a:pt x="1593" y="1400"/>
                    </a:cubicBezTo>
                    <a:cubicBezTo>
                      <a:pt x="1601" y="1402"/>
                      <a:pt x="1613" y="1423"/>
                      <a:pt x="1623" y="1424"/>
                    </a:cubicBezTo>
                    <a:cubicBezTo>
                      <a:pt x="1634" y="1426"/>
                      <a:pt x="1657" y="1430"/>
                      <a:pt x="1657" y="1430"/>
                    </a:cubicBezTo>
                    <a:cubicBezTo>
                      <a:pt x="1663" y="1414"/>
                      <a:pt x="1663" y="1414"/>
                      <a:pt x="1663" y="1414"/>
                    </a:cubicBezTo>
                    <a:cubicBezTo>
                      <a:pt x="1663" y="1414"/>
                      <a:pt x="1723" y="1444"/>
                      <a:pt x="1719" y="1406"/>
                    </a:cubicBezTo>
                    <a:cubicBezTo>
                      <a:pt x="1715" y="1367"/>
                      <a:pt x="1665" y="1370"/>
                      <a:pt x="1665" y="1370"/>
                    </a:cubicBezTo>
                    <a:cubicBezTo>
                      <a:pt x="1642" y="1350"/>
                      <a:pt x="1642" y="1350"/>
                      <a:pt x="1642" y="1350"/>
                    </a:cubicBezTo>
                    <a:cubicBezTo>
                      <a:pt x="1642" y="1350"/>
                      <a:pt x="1675" y="1344"/>
                      <a:pt x="1677" y="1338"/>
                    </a:cubicBezTo>
                    <a:cubicBezTo>
                      <a:pt x="1678" y="1331"/>
                      <a:pt x="1665" y="1314"/>
                      <a:pt x="1665" y="1314"/>
                    </a:cubicBezTo>
                    <a:cubicBezTo>
                      <a:pt x="1671" y="1303"/>
                      <a:pt x="1671" y="1303"/>
                      <a:pt x="1671" y="1303"/>
                    </a:cubicBezTo>
                    <a:cubicBezTo>
                      <a:pt x="1671" y="1303"/>
                      <a:pt x="1709" y="1310"/>
                      <a:pt x="1709" y="1303"/>
                    </a:cubicBezTo>
                    <a:cubicBezTo>
                      <a:pt x="1709" y="1296"/>
                      <a:pt x="1666" y="1288"/>
                      <a:pt x="1666" y="1288"/>
                    </a:cubicBezTo>
                    <a:cubicBezTo>
                      <a:pt x="1677" y="1276"/>
                      <a:pt x="1677" y="1276"/>
                      <a:pt x="1677" y="1276"/>
                    </a:cubicBezTo>
                    <a:cubicBezTo>
                      <a:pt x="1658" y="1275"/>
                      <a:pt x="1658" y="1275"/>
                      <a:pt x="1658" y="1275"/>
                    </a:cubicBezTo>
                    <a:cubicBezTo>
                      <a:pt x="1658" y="1275"/>
                      <a:pt x="1642" y="1256"/>
                      <a:pt x="1687" y="1250"/>
                    </a:cubicBezTo>
                    <a:cubicBezTo>
                      <a:pt x="1733" y="1243"/>
                      <a:pt x="1765" y="1244"/>
                      <a:pt x="1765" y="1244"/>
                    </a:cubicBezTo>
                    <a:cubicBezTo>
                      <a:pt x="1769" y="1232"/>
                      <a:pt x="1769" y="1232"/>
                      <a:pt x="1769" y="1232"/>
                    </a:cubicBezTo>
                    <a:cubicBezTo>
                      <a:pt x="1811" y="1232"/>
                      <a:pt x="1811" y="1232"/>
                      <a:pt x="1811" y="1232"/>
                    </a:cubicBezTo>
                    <a:cubicBezTo>
                      <a:pt x="1811" y="1232"/>
                      <a:pt x="1811" y="1216"/>
                      <a:pt x="1819" y="1216"/>
                    </a:cubicBezTo>
                    <a:cubicBezTo>
                      <a:pt x="1827" y="1216"/>
                      <a:pt x="1855" y="1220"/>
                      <a:pt x="1877" y="1215"/>
                    </a:cubicBezTo>
                    <a:cubicBezTo>
                      <a:pt x="1898" y="1210"/>
                      <a:pt x="1918" y="1203"/>
                      <a:pt x="1918" y="1203"/>
                    </a:cubicBezTo>
                    <a:cubicBezTo>
                      <a:pt x="1918" y="1203"/>
                      <a:pt x="1915" y="1183"/>
                      <a:pt x="1949" y="1182"/>
                    </a:cubicBezTo>
                    <a:cubicBezTo>
                      <a:pt x="1982" y="1180"/>
                      <a:pt x="1995" y="1191"/>
                      <a:pt x="2001" y="1191"/>
                    </a:cubicBezTo>
                    <a:cubicBezTo>
                      <a:pt x="2006" y="1191"/>
                      <a:pt x="2013" y="1182"/>
                      <a:pt x="2021" y="1187"/>
                    </a:cubicBezTo>
                    <a:cubicBezTo>
                      <a:pt x="2029" y="1192"/>
                      <a:pt x="2034" y="1210"/>
                      <a:pt x="2034" y="1210"/>
                    </a:cubicBezTo>
                    <a:cubicBezTo>
                      <a:pt x="2034" y="1210"/>
                      <a:pt x="2046" y="1210"/>
                      <a:pt x="2046" y="1216"/>
                    </a:cubicBezTo>
                    <a:cubicBezTo>
                      <a:pt x="2046" y="1223"/>
                      <a:pt x="2045" y="1244"/>
                      <a:pt x="2050" y="1244"/>
                    </a:cubicBezTo>
                    <a:cubicBezTo>
                      <a:pt x="2055" y="1244"/>
                      <a:pt x="2083" y="1240"/>
                      <a:pt x="2083" y="1240"/>
                    </a:cubicBezTo>
                    <a:cubicBezTo>
                      <a:pt x="2090" y="1230"/>
                      <a:pt x="2090" y="1230"/>
                      <a:pt x="2090" y="1230"/>
                    </a:cubicBezTo>
                    <a:cubicBezTo>
                      <a:pt x="2109" y="1251"/>
                      <a:pt x="2109" y="1251"/>
                      <a:pt x="2109" y="1251"/>
                    </a:cubicBezTo>
                    <a:cubicBezTo>
                      <a:pt x="2122" y="1243"/>
                      <a:pt x="2122" y="1243"/>
                      <a:pt x="2122" y="1243"/>
                    </a:cubicBezTo>
                    <a:cubicBezTo>
                      <a:pt x="2139" y="1254"/>
                      <a:pt x="2139" y="1254"/>
                      <a:pt x="2139" y="1254"/>
                    </a:cubicBezTo>
                    <a:cubicBezTo>
                      <a:pt x="2139" y="1254"/>
                      <a:pt x="2145" y="1242"/>
                      <a:pt x="2154" y="1251"/>
                    </a:cubicBezTo>
                    <a:cubicBezTo>
                      <a:pt x="2163" y="1260"/>
                      <a:pt x="2142" y="1276"/>
                      <a:pt x="2153" y="1278"/>
                    </a:cubicBezTo>
                    <a:cubicBezTo>
                      <a:pt x="2163" y="1279"/>
                      <a:pt x="2165" y="1266"/>
                      <a:pt x="2171" y="1268"/>
                    </a:cubicBezTo>
                    <a:cubicBezTo>
                      <a:pt x="2178" y="1271"/>
                      <a:pt x="2193" y="1287"/>
                      <a:pt x="2201" y="1280"/>
                    </a:cubicBezTo>
                    <a:cubicBezTo>
                      <a:pt x="2209" y="1274"/>
                      <a:pt x="2201" y="1266"/>
                      <a:pt x="2207" y="1262"/>
                    </a:cubicBezTo>
                    <a:cubicBezTo>
                      <a:pt x="2214" y="1258"/>
                      <a:pt x="2222" y="1256"/>
                      <a:pt x="2222" y="1256"/>
                    </a:cubicBezTo>
                    <a:cubicBezTo>
                      <a:pt x="2231" y="1246"/>
                      <a:pt x="2231" y="1246"/>
                      <a:pt x="2231" y="1246"/>
                    </a:cubicBezTo>
                    <a:cubicBezTo>
                      <a:pt x="2255" y="1238"/>
                      <a:pt x="2255" y="1238"/>
                      <a:pt x="2255" y="1238"/>
                    </a:cubicBezTo>
                    <a:cubicBezTo>
                      <a:pt x="2255" y="1238"/>
                      <a:pt x="2267" y="1216"/>
                      <a:pt x="2275" y="1227"/>
                    </a:cubicBezTo>
                    <a:cubicBezTo>
                      <a:pt x="2283" y="1238"/>
                      <a:pt x="2263" y="1250"/>
                      <a:pt x="2263" y="1250"/>
                    </a:cubicBezTo>
                    <a:cubicBezTo>
                      <a:pt x="2263" y="1250"/>
                      <a:pt x="2331" y="1282"/>
                      <a:pt x="2337" y="1284"/>
                    </a:cubicBezTo>
                    <a:cubicBezTo>
                      <a:pt x="2342" y="1287"/>
                      <a:pt x="2414" y="1354"/>
                      <a:pt x="2429" y="1367"/>
                    </a:cubicBezTo>
                    <a:cubicBezTo>
                      <a:pt x="2443" y="1380"/>
                      <a:pt x="2467" y="1419"/>
                      <a:pt x="2485" y="1416"/>
                    </a:cubicBezTo>
                    <a:cubicBezTo>
                      <a:pt x="2502" y="1414"/>
                      <a:pt x="2498" y="1384"/>
                      <a:pt x="2509" y="1387"/>
                    </a:cubicBezTo>
                    <a:cubicBezTo>
                      <a:pt x="2519" y="1390"/>
                      <a:pt x="2515" y="1406"/>
                      <a:pt x="2519" y="1407"/>
                    </a:cubicBezTo>
                    <a:cubicBezTo>
                      <a:pt x="2523" y="1408"/>
                      <a:pt x="2541" y="1410"/>
                      <a:pt x="2541" y="1410"/>
                    </a:cubicBezTo>
                    <a:cubicBezTo>
                      <a:pt x="2541" y="1410"/>
                      <a:pt x="2555" y="1426"/>
                      <a:pt x="2567" y="1424"/>
                    </a:cubicBezTo>
                    <a:cubicBezTo>
                      <a:pt x="2579" y="1423"/>
                      <a:pt x="2595" y="1402"/>
                      <a:pt x="2618" y="1406"/>
                    </a:cubicBezTo>
                    <a:cubicBezTo>
                      <a:pt x="2641" y="1410"/>
                      <a:pt x="2662" y="1439"/>
                      <a:pt x="2662" y="1439"/>
                    </a:cubicBezTo>
                    <a:cubicBezTo>
                      <a:pt x="2662" y="1439"/>
                      <a:pt x="2697" y="1444"/>
                      <a:pt x="2698" y="1448"/>
                    </a:cubicBezTo>
                    <a:cubicBezTo>
                      <a:pt x="2699" y="1452"/>
                      <a:pt x="2715" y="1480"/>
                      <a:pt x="2715" y="1480"/>
                    </a:cubicBezTo>
                    <a:cubicBezTo>
                      <a:pt x="2762" y="1484"/>
                      <a:pt x="2762" y="1484"/>
                      <a:pt x="2762" y="1484"/>
                    </a:cubicBezTo>
                    <a:cubicBezTo>
                      <a:pt x="2773" y="1462"/>
                      <a:pt x="2773" y="1462"/>
                      <a:pt x="2773" y="1462"/>
                    </a:cubicBezTo>
                    <a:cubicBezTo>
                      <a:pt x="2786" y="1478"/>
                      <a:pt x="2786" y="1478"/>
                      <a:pt x="2786" y="1478"/>
                    </a:cubicBezTo>
                    <a:cubicBezTo>
                      <a:pt x="2810" y="1504"/>
                      <a:pt x="2810" y="1504"/>
                      <a:pt x="2810" y="1504"/>
                    </a:cubicBezTo>
                    <a:cubicBezTo>
                      <a:pt x="2815" y="1505"/>
                      <a:pt x="2819" y="1506"/>
                      <a:pt x="2819" y="1506"/>
                    </a:cubicBezTo>
                    <a:cubicBezTo>
                      <a:pt x="2819" y="1506"/>
                      <a:pt x="2832" y="1499"/>
                      <a:pt x="2840" y="1503"/>
                    </a:cubicBezTo>
                    <a:cubicBezTo>
                      <a:pt x="2847" y="1496"/>
                      <a:pt x="2847" y="1496"/>
                      <a:pt x="2847" y="1496"/>
                    </a:cubicBezTo>
                    <a:cubicBezTo>
                      <a:pt x="2846" y="1484"/>
                      <a:pt x="2846" y="1484"/>
                      <a:pt x="2846" y="1484"/>
                    </a:cubicBezTo>
                    <a:cubicBezTo>
                      <a:pt x="2887" y="1484"/>
                      <a:pt x="2887" y="1484"/>
                      <a:pt x="2887" y="1484"/>
                    </a:cubicBezTo>
                    <a:cubicBezTo>
                      <a:pt x="2885" y="1475"/>
                      <a:pt x="2885" y="1475"/>
                      <a:pt x="2885" y="1475"/>
                    </a:cubicBezTo>
                    <a:cubicBezTo>
                      <a:pt x="2901" y="1475"/>
                      <a:pt x="2901" y="1475"/>
                      <a:pt x="2901" y="1475"/>
                    </a:cubicBezTo>
                    <a:cubicBezTo>
                      <a:pt x="2901" y="1475"/>
                      <a:pt x="2892" y="1473"/>
                      <a:pt x="2901" y="1463"/>
                    </a:cubicBezTo>
                    <a:cubicBezTo>
                      <a:pt x="2910" y="1453"/>
                      <a:pt x="2921" y="1445"/>
                      <a:pt x="2921" y="1445"/>
                    </a:cubicBezTo>
                    <a:cubicBezTo>
                      <a:pt x="2930" y="1446"/>
                      <a:pt x="2930" y="1446"/>
                      <a:pt x="2930" y="1446"/>
                    </a:cubicBezTo>
                    <a:cubicBezTo>
                      <a:pt x="2941" y="1433"/>
                      <a:pt x="2941" y="1433"/>
                      <a:pt x="2941" y="1433"/>
                    </a:cubicBezTo>
                    <a:cubicBezTo>
                      <a:pt x="2957" y="1433"/>
                      <a:pt x="2957" y="1433"/>
                      <a:pt x="2957" y="1433"/>
                    </a:cubicBezTo>
                    <a:cubicBezTo>
                      <a:pt x="2957" y="1433"/>
                      <a:pt x="2958" y="1416"/>
                      <a:pt x="2965" y="1416"/>
                    </a:cubicBezTo>
                    <a:cubicBezTo>
                      <a:pt x="2972" y="1416"/>
                      <a:pt x="2981" y="1422"/>
                      <a:pt x="2981" y="1422"/>
                    </a:cubicBezTo>
                    <a:cubicBezTo>
                      <a:pt x="2993" y="1415"/>
                      <a:pt x="2993" y="1415"/>
                      <a:pt x="2993" y="1415"/>
                    </a:cubicBezTo>
                    <a:cubicBezTo>
                      <a:pt x="2993" y="1415"/>
                      <a:pt x="2993" y="1420"/>
                      <a:pt x="2996" y="1420"/>
                    </a:cubicBezTo>
                    <a:cubicBezTo>
                      <a:pt x="2999" y="1420"/>
                      <a:pt x="3015" y="1420"/>
                      <a:pt x="3015" y="1420"/>
                    </a:cubicBezTo>
                    <a:cubicBezTo>
                      <a:pt x="3020" y="1431"/>
                      <a:pt x="3020" y="1431"/>
                      <a:pt x="3020" y="1431"/>
                    </a:cubicBezTo>
                    <a:cubicBezTo>
                      <a:pt x="3020" y="1431"/>
                      <a:pt x="3064" y="1427"/>
                      <a:pt x="3071" y="1427"/>
                    </a:cubicBezTo>
                    <a:cubicBezTo>
                      <a:pt x="3078" y="1427"/>
                      <a:pt x="3076" y="1440"/>
                      <a:pt x="3085" y="1447"/>
                    </a:cubicBezTo>
                    <a:cubicBezTo>
                      <a:pt x="3094" y="1454"/>
                      <a:pt x="3116" y="1452"/>
                      <a:pt x="3116" y="1452"/>
                    </a:cubicBezTo>
                    <a:cubicBezTo>
                      <a:pt x="3118" y="1461"/>
                      <a:pt x="3118" y="1461"/>
                      <a:pt x="3118" y="1461"/>
                    </a:cubicBezTo>
                    <a:cubicBezTo>
                      <a:pt x="3137" y="1458"/>
                      <a:pt x="3137" y="1458"/>
                      <a:pt x="3137" y="1458"/>
                    </a:cubicBezTo>
                    <a:cubicBezTo>
                      <a:pt x="3139" y="1463"/>
                      <a:pt x="3139" y="1463"/>
                      <a:pt x="3139" y="1463"/>
                    </a:cubicBezTo>
                    <a:cubicBezTo>
                      <a:pt x="3139" y="1463"/>
                      <a:pt x="3141" y="1457"/>
                      <a:pt x="3152" y="1456"/>
                    </a:cubicBezTo>
                    <a:cubicBezTo>
                      <a:pt x="3163" y="1455"/>
                      <a:pt x="3172" y="1456"/>
                      <a:pt x="3172" y="1456"/>
                    </a:cubicBezTo>
                    <a:cubicBezTo>
                      <a:pt x="3173" y="1464"/>
                      <a:pt x="3173" y="1464"/>
                      <a:pt x="3173" y="1464"/>
                    </a:cubicBezTo>
                    <a:cubicBezTo>
                      <a:pt x="3203" y="1462"/>
                      <a:pt x="3203" y="1462"/>
                      <a:pt x="3203" y="1462"/>
                    </a:cubicBezTo>
                    <a:cubicBezTo>
                      <a:pt x="3203" y="1462"/>
                      <a:pt x="3197" y="1478"/>
                      <a:pt x="3214" y="1470"/>
                    </a:cubicBezTo>
                    <a:cubicBezTo>
                      <a:pt x="3231" y="1462"/>
                      <a:pt x="3229" y="1455"/>
                      <a:pt x="3229" y="1455"/>
                    </a:cubicBezTo>
                    <a:cubicBezTo>
                      <a:pt x="3229" y="1455"/>
                      <a:pt x="3241" y="1465"/>
                      <a:pt x="3241" y="1447"/>
                    </a:cubicBezTo>
                    <a:cubicBezTo>
                      <a:pt x="3241" y="1429"/>
                      <a:pt x="3226" y="1429"/>
                      <a:pt x="3226" y="1429"/>
                    </a:cubicBezTo>
                    <a:cubicBezTo>
                      <a:pt x="3210" y="1405"/>
                      <a:pt x="3210" y="1405"/>
                      <a:pt x="3210" y="1405"/>
                    </a:cubicBezTo>
                    <a:cubicBezTo>
                      <a:pt x="3206" y="1391"/>
                      <a:pt x="3206" y="1391"/>
                      <a:pt x="3206" y="1391"/>
                    </a:cubicBezTo>
                    <a:cubicBezTo>
                      <a:pt x="3206" y="1391"/>
                      <a:pt x="3200" y="1388"/>
                      <a:pt x="3200" y="1382"/>
                    </a:cubicBezTo>
                    <a:cubicBezTo>
                      <a:pt x="3200" y="1376"/>
                      <a:pt x="3211" y="1378"/>
                      <a:pt x="3211" y="1378"/>
                    </a:cubicBezTo>
                    <a:cubicBezTo>
                      <a:pt x="3209" y="1367"/>
                      <a:pt x="3209" y="1367"/>
                      <a:pt x="3209" y="1367"/>
                    </a:cubicBezTo>
                    <a:cubicBezTo>
                      <a:pt x="3209" y="1367"/>
                      <a:pt x="3213" y="1369"/>
                      <a:pt x="3218" y="1363"/>
                    </a:cubicBezTo>
                    <a:cubicBezTo>
                      <a:pt x="3223" y="1357"/>
                      <a:pt x="3222" y="1345"/>
                      <a:pt x="3222" y="1345"/>
                    </a:cubicBezTo>
                    <a:cubicBezTo>
                      <a:pt x="3231" y="1347"/>
                      <a:pt x="3231" y="1347"/>
                      <a:pt x="3231" y="1347"/>
                    </a:cubicBezTo>
                    <a:cubicBezTo>
                      <a:pt x="3231" y="1347"/>
                      <a:pt x="3254" y="1364"/>
                      <a:pt x="3272" y="1366"/>
                    </a:cubicBezTo>
                    <a:cubicBezTo>
                      <a:pt x="3290" y="1368"/>
                      <a:pt x="3310" y="1367"/>
                      <a:pt x="3310" y="1367"/>
                    </a:cubicBezTo>
                    <a:cubicBezTo>
                      <a:pt x="3310" y="1367"/>
                      <a:pt x="3329" y="1381"/>
                      <a:pt x="3339" y="1383"/>
                    </a:cubicBezTo>
                    <a:cubicBezTo>
                      <a:pt x="3349" y="1385"/>
                      <a:pt x="3361" y="1372"/>
                      <a:pt x="3370" y="1383"/>
                    </a:cubicBezTo>
                    <a:cubicBezTo>
                      <a:pt x="3379" y="1394"/>
                      <a:pt x="3401" y="1428"/>
                      <a:pt x="3401" y="1428"/>
                    </a:cubicBezTo>
                    <a:cubicBezTo>
                      <a:pt x="3416" y="1425"/>
                      <a:pt x="3416" y="1425"/>
                      <a:pt x="3416" y="1425"/>
                    </a:cubicBezTo>
                    <a:cubicBezTo>
                      <a:pt x="3416" y="1425"/>
                      <a:pt x="3418" y="1441"/>
                      <a:pt x="3428" y="1441"/>
                    </a:cubicBezTo>
                    <a:cubicBezTo>
                      <a:pt x="3438" y="1441"/>
                      <a:pt x="3445" y="1440"/>
                      <a:pt x="3445" y="1440"/>
                    </a:cubicBezTo>
                    <a:cubicBezTo>
                      <a:pt x="3445" y="1440"/>
                      <a:pt x="3462" y="1450"/>
                      <a:pt x="3475" y="1449"/>
                    </a:cubicBezTo>
                    <a:cubicBezTo>
                      <a:pt x="3488" y="1448"/>
                      <a:pt x="3506" y="1430"/>
                      <a:pt x="3535" y="1432"/>
                    </a:cubicBezTo>
                    <a:cubicBezTo>
                      <a:pt x="3564" y="1434"/>
                      <a:pt x="3566" y="1442"/>
                      <a:pt x="3566" y="1442"/>
                    </a:cubicBezTo>
                    <a:cubicBezTo>
                      <a:pt x="3593" y="1439"/>
                      <a:pt x="3593" y="1439"/>
                      <a:pt x="3593" y="1439"/>
                    </a:cubicBezTo>
                    <a:cubicBezTo>
                      <a:pt x="3593" y="1439"/>
                      <a:pt x="3604" y="1458"/>
                      <a:pt x="3616" y="1458"/>
                    </a:cubicBezTo>
                    <a:cubicBezTo>
                      <a:pt x="3628" y="1458"/>
                      <a:pt x="3647" y="1458"/>
                      <a:pt x="3650" y="1459"/>
                    </a:cubicBezTo>
                    <a:cubicBezTo>
                      <a:pt x="3653" y="1460"/>
                      <a:pt x="3661" y="1479"/>
                      <a:pt x="3664" y="1478"/>
                    </a:cubicBezTo>
                    <a:cubicBezTo>
                      <a:pt x="3667" y="1477"/>
                      <a:pt x="3678" y="1480"/>
                      <a:pt x="3678" y="1480"/>
                    </a:cubicBezTo>
                    <a:cubicBezTo>
                      <a:pt x="3678" y="1480"/>
                      <a:pt x="3673" y="1491"/>
                      <a:pt x="3693" y="1493"/>
                    </a:cubicBezTo>
                    <a:cubicBezTo>
                      <a:pt x="3713" y="1495"/>
                      <a:pt x="3723" y="1492"/>
                      <a:pt x="3723" y="1492"/>
                    </a:cubicBezTo>
                    <a:cubicBezTo>
                      <a:pt x="3723" y="1492"/>
                      <a:pt x="3730" y="1495"/>
                      <a:pt x="3733" y="1498"/>
                    </a:cubicBezTo>
                    <a:cubicBezTo>
                      <a:pt x="3736" y="1501"/>
                      <a:pt x="3760" y="1501"/>
                      <a:pt x="3760" y="1501"/>
                    </a:cubicBezTo>
                    <a:cubicBezTo>
                      <a:pt x="3760" y="1501"/>
                      <a:pt x="3772" y="1494"/>
                      <a:pt x="3776" y="1496"/>
                    </a:cubicBezTo>
                    <a:cubicBezTo>
                      <a:pt x="3780" y="1498"/>
                      <a:pt x="3788" y="1507"/>
                      <a:pt x="3793" y="1501"/>
                    </a:cubicBezTo>
                    <a:cubicBezTo>
                      <a:pt x="3798" y="1495"/>
                      <a:pt x="3796" y="1490"/>
                      <a:pt x="3805" y="1488"/>
                    </a:cubicBezTo>
                    <a:cubicBezTo>
                      <a:pt x="3814" y="1486"/>
                      <a:pt x="3831" y="1487"/>
                      <a:pt x="3831" y="1487"/>
                    </a:cubicBezTo>
                    <a:cubicBezTo>
                      <a:pt x="3841" y="1482"/>
                      <a:pt x="3841" y="1482"/>
                      <a:pt x="3841" y="1482"/>
                    </a:cubicBezTo>
                    <a:cubicBezTo>
                      <a:pt x="3841" y="1482"/>
                      <a:pt x="3853" y="1485"/>
                      <a:pt x="3863" y="1481"/>
                    </a:cubicBezTo>
                    <a:cubicBezTo>
                      <a:pt x="3873" y="1477"/>
                      <a:pt x="3870" y="1466"/>
                      <a:pt x="3870" y="1466"/>
                    </a:cubicBezTo>
                    <a:cubicBezTo>
                      <a:pt x="3893" y="1443"/>
                      <a:pt x="3893" y="1443"/>
                      <a:pt x="3893" y="1443"/>
                    </a:cubicBezTo>
                    <a:cubicBezTo>
                      <a:pt x="3893" y="1443"/>
                      <a:pt x="3920" y="1447"/>
                      <a:pt x="3929" y="1447"/>
                    </a:cubicBezTo>
                    <a:cubicBezTo>
                      <a:pt x="3938" y="1447"/>
                      <a:pt x="3948" y="1463"/>
                      <a:pt x="3962" y="1463"/>
                    </a:cubicBezTo>
                    <a:cubicBezTo>
                      <a:pt x="3976" y="1463"/>
                      <a:pt x="3982" y="1456"/>
                      <a:pt x="3982" y="1456"/>
                    </a:cubicBezTo>
                    <a:cubicBezTo>
                      <a:pt x="4000" y="1459"/>
                      <a:pt x="4000" y="1459"/>
                      <a:pt x="4000" y="1459"/>
                    </a:cubicBezTo>
                    <a:cubicBezTo>
                      <a:pt x="4011" y="1462"/>
                      <a:pt x="4011" y="1462"/>
                      <a:pt x="4011" y="1462"/>
                    </a:cubicBezTo>
                    <a:cubicBezTo>
                      <a:pt x="4034" y="1476"/>
                      <a:pt x="4034" y="1476"/>
                      <a:pt x="4034" y="1476"/>
                    </a:cubicBezTo>
                    <a:cubicBezTo>
                      <a:pt x="4058" y="1477"/>
                      <a:pt x="4058" y="1477"/>
                      <a:pt x="4058" y="1477"/>
                    </a:cubicBezTo>
                    <a:cubicBezTo>
                      <a:pt x="4058" y="1477"/>
                      <a:pt x="4061" y="1482"/>
                      <a:pt x="4071" y="1482"/>
                    </a:cubicBezTo>
                    <a:cubicBezTo>
                      <a:pt x="4081" y="1482"/>
                      <a:pt x="4085" y="1460"/>
                      <a:pt x="4085" y="1460"/>
                    </a:cubicBezTo>
                    <a:cubicBezTo>
                      <a:pt x="4085" y="1460"/>
                      <a:pt x="4096" y="1465"/>
                      <a:pt x="4109" y="1457"/>
                    </a:cubicBezTo>
                    <a:cubicBezTo>
                      <a:pt x="4122" y="1449"/>
                      <a:pt x="4098" y="1439"/>
                      <a:pt x="4098" y="1439"/>
                    </a:cubicBezTo>
                    <a:cubicBezTo>
                      <a:pt x="4097" y="1414"/>
                      <a:pt x="4097" y="1414"/>
                      <a:pt x="4097" y="1414"/>
                    </a:cubicBezTo>
                    <a:cubicBezTo>
                      <a:pt x="4097" y="1395"/>
                      <a:pt x="4097" y="1395"/>
                      <a:pt x="4097" y="1395"/>
                    </a:cubicBezTo>
                    <a:cubicBezTo>
                      <a:pt x="4097" y="1395"/>
                      <a:pt x="4092" y="1377"/>
                      <a:pt x="4094" y="1368"/>
                    </a:cubicBezTo>
                    <a:cubicBezTo>
                      <a:pt x="4096" y="1359"/>
                      <a:pt x="4108" y="1354"/>
                      <a:pt x="4109" y="1348"/>
                    </a:cubicBezTo>
                    <a:cubicBezTo>
                      <a:pt x="4110" y="1342"/>
                      <a:pt x="4083" y="1327"/>
                      <a:pt x="4083" y="1327"/>
                    </a:cubicBezTo>
                    <a:cubicBezTo>
                      <a:pt x="4083" y="1327"/>
                      <a:pt x="4071" y="1325"/>
                      <a:pt x="4056" y="1322"/>
                    </a:cubicBezTo>
                    <a:cubicBezTo>
                      <a:pt x="4041" y="1319"/>
                      <a:pt x="4063" y="1304"/>
                      <a:pt x="4063" y="1304"/>
                    </a:cubicBezTo>
                    <a:cubicBezTo>
                      <a:pt x="4083" y="1284"/>
                      <a:pt x="4083" y="1284"/>
                      <a:pt x="4083" y="1284"/>
                    </a:cubicBezTo>
                    <a:cubicBezTo>
                      <a:pt x="4107" y="1281"/>
                      <a:pt x="4107" y="1281"/>
                      <a:pt x="4107" y="1281"/>
                    </a:cubicBezTo>
                    <a:cubicBezTo>
                      <a:pt x="4111" y="1273"/>
                      <a:pt x="4111" y="1273"/>
                      <a:pt x="4111" y="1273"/>
                    </a:cubicBezTo>
                    <a:cubicBezTo>
                      <a:pt x="4139" y="1275"/>
                      <a:pt x="4139" y="1275"/>
                      <a:pt x="4139" y="1275"/>
                    </a:cubicBezTo>
                    <a:cubicBezTo>
                      <a:pt x="4174" y="1268"/>
                      <a:pt x="4174" y="1268"/>
                      <a:pt x="4174" y="1268"/>
                    </a:cubicBezTo>
                    <a:cubicBezTo>
                      <a:pt x="4199" y="1281"/>
                      <a:pt x="4199" y="1281"/>
                      <a:pt x="4199" y="1281"/>
                    </a:cubicBezTo>
                    <a:cubicBezTo>
                      <a:pt x="4225" y="1298"/>
                      <a:pt x="4225" y="1298"/>
                      <a:pt x="4225" y="1298"/>
                    </a:cubicBezTo>
                    <a:cubicBezTo>
                      <a:pt x="4240" y="1295"/>
                      <a:pt x="4240" y="1295"/>
                      <a:pt x="4240" y="1295"/>
                    </a:cubicBezTo>
                    <a:cubicBezTo>
                      <a:pt x="4240" y="1295"/>
                      <a:pt x="4259" y="1296"/>
                      <a:pt x="4266" y="1297"/>
                    </a:cubicBezTo>
                    <a:cubicBezTo>
                      <a:pt x="4273" y="1298"/>
                      <a:pt x="4294" y="1312"/>
                      <a:pt x="4294" y="1312"/>
                    </a:cubicBezTo>
                    <a:cubicBezTo>
                      <a:pt x="4296" y="1321"/>
                      <a:pt x="4296" y="1321"/>
                      <a:pt x="4296" y="1321"/>
                    </a:cubicBezTo>
                    <a:cubicBezTo>
                      <a:pt x="4296" y="1321"/>
                      <a:pt x="4314" y="1331"/>
                      <a:pt x="4319" y="1335"/>
                    </a:cubicBezTo>
                    <a:cubicBezTo>
                      <a:pt x="4324" y="1339"/>
                      <a:pt x="4339" y="1344"/>
                      <a:pt x="4339" y="1344"/>
                    </a:cubicBezTo>
                    <a:cubicBezTo>
                      <a:pt x="4342" y="1363"/>
                      <a:pt x="4342" y="1363"/>
                      <a:pt x="4342" y="1363"/>
                    </a:cubicBezTo>
                    <a:cubicBezTo>
                      <a:pt x="4374" y="1380"/>
                      <a:pt x="4374" y="1380"/>
                      <a:pt x="4374" y="1380"/>
                    </a:cubicBezTo>
                    <a:cubicBezTo>
                      <a:pt x="4385" y="1402"/>
                      <a:pt x="4385" y="1402"/>
                      <a:pt x="4385" y="1402"/>
                    </a:cubicBezTo>
                    <a:cubicBezTo>
                      <a:pt x="4385" y="1402"/>
                      <a:pt x="4406" y="1404"/>
                      <a:pt x="4416" y="1413"/>
                    </a:cubicBezTo>
                    <a:cubicBezTo>
                      <a:pt x="4426" y="1422"/>
                      <a:pt x="4444" y="1446"/>
                      <a:pt x="4444" y="1446"/>
                    </a:cubicBezTo>
                    <a:cubicBezTo>
                      <a:pt x="4451" y="1446"/>
                      <a:pt x="4451" y="1446"/>
                      <a:pt x="4451" y="1446"/>
                    </a:cubicBezTo>
                    <a:cubicBezTo>
                      <a:pt x="4455" y="1462"/>
                      <a:pt x="4455" y="1462"/>
                      <a:pt x="4455" y="1462"/>
                    </a:cubicBezTo>
                    <a:cubicBezTo>
                      <a:pt x="4455" y="1462"/>
                      <a:pt x="4474" y="1472"/>
                      <a:pt x="4482" y="1477"/>
                    </a:cubicBezTo>
                    <a:cubicBezTo>
                      <a:pt x="4490" y="1482"/>
                      <a:pt x="4507" y="1481"/>
                      <a:pt x="4517" y="1479"/>
                    </a:cubicBezTo>
                    <a:cubicBezTo>
                      <a:pt x="4527" y="1477"/>
                      <a:pt x="4543" y="1493"/>
                      <a:pt x="4543" y="1493"/>
                    </a:cubicBezTo>
                    <a:cubicBezTo>
                      <a:pt x="4543" y="1493"/>
                      <a:pt x="4551" y="1486"/>
                      <a:pt x="4555" y="1486"/>
                    </a:cubicBezTo>
                    <a:cubicBezTo>
                      <a:pt x="4559" y="1486"/>
                      <a:pt x="4597" y="1514"/>
                      <a:pt x="4597" y="1514"/>
                    </a:cubicBezTo>
                    <a:cubicBezTo>
                      <a:pt x="4621" y="1514"/>
                      <a:pt x="4621" y="1514"/>
                      <a:pt x="4621" y="1514"/>
                    </a:cubicBezTo>
                    <a:cubicBezTo>
                      <a:pt x="4630" y="1533"/>
                      <a:pt x="4630" y="1533"/>
                      <a:pt x="4630" y="1533"/>
                    </a:cubicBezTo>
                    <a:cubicBezTo>
                      <a:pt x="4630" y="1533"/>
                      <a:pt x="4646" y="1534"/>
                      <a:pt x="4649" y="1541"/>
                    </a:cubicBezTo>
                    <a:cubicBezTo>
                      <a:pt x="4652" y="1548"/>
                      <a:pt x="4653" y="1556"/>
                      <a:pt x="4653" y="1556"/>
                    </a:cubicBezTo>
                    <a:cubicBezTo>
                      <a:pt x="4678" y="1576"/>
                      <a:pt x="4678" y="1576"/>
                      <a:pt x="4678" y="1576"/>
                    </a:cubicBezTo>
                    <a:cubicBezTo>
                      <a:pt x="4695" y="1572"/>
                      <a:pt x="4695" y="1572"/>
                      <a:pt x="4695" y="1572"/>
                    </a:cubicBezTo>
                    <a:cubicBezTo>
                      <a:pt x="4703" y="1582"/>
                      <a:pt x="4703" y="1582"/>
                      <a:pt x="4703" y="1582"/>
                    </a:cubicBezTo>
                    <a:cubicBezTo>
                      <a:pt x="4716" y="1581"/>
                      <a:pt x="4716" y="1581"/>
                      <a:pt x="4716" y="1581"/>
                    </a:cubicBezTo>
                    <a:cubicBezTo>
                      <a:pt x="4716" y="1574"/>
                      <a:pt x="4716" y="1574"/>
                      <a:pt x="4716" y="1574"/>
                    </a:cubicBezTo>
                    <a:cubicBezTo>
                      <a:pt x="4735" y="1576"/>
                      <a:pt x="4735" y="1576"/>
                      <a:pt x="4735" y="1576"/>
                    </a:cubicBezTo>
                    <a:cubicBezTo>
                      <a:pt x="4735" y="1576"/>
                      <a:pt x="4736" y="1565"/>
                      <a:pt x="4739" y="1560"/>
                    </a:cubicBezTo>
                    <a:cubicBezTo>
                      <a:pt x="4742" y="1555"/>
                      <a:pt x="4770" y="1556"/>
                      <a:pt x="4770" y="1556"/>
                    </a:cubicBezTo>
                    <a:cubicBezTo>
                      <a:pt x="4775" y="1542"/>
                      <a:pt x="4775" y="1542"/>
                      <a:pt x="4775" y="1542"/>
                    </a:cubicBezTo>
                    <a:cubicBezTo>
                      <a:pt x="4775" y="1542"/>
                      <a:pt x="4800" y="1536"/>
                      <a:pt x="4810" y="1544"/>
                    </a:cubicBezTo>
                    <a:cubicBezTo>
                      <a:pt x="4820" y="1552"/>
                      <a:pt x="4814" y="1565"/>
                      <a:pt x="4814" y="1565"/>
                    </a:cubicBezTo>
                    <a:cubicBezTo>
                      <a:pt x="4832" y="1573"/>
                      <a:pt x="4832" y="1573"/>
                      <a:pt x="4832" y="1573"/>
                    </a:cubicBezTo>
                    <a:cubicBezTo>
                      <a:pt x="4832" y="1593"/>
                      <a:pt x="4832" y="1593"/>
                      <a:pt x="4832" y="1593"/>
                    </a:cubicBezTo>
                    <a:cubicBezTo>
                      <a:pt x="4820" y="1598"/>
                      <a:pt x="4820" y="1598"/>
                      <a:pt x="4820" y="1598"/>
                    </a:cubicBezTo>
                    <a:cubicBezTo>
                      <a:pt x="4828" y="1608"/>
                      <a:pt x="4828" y="1608"/>
                      <a:pt x="4828" y="1608"/>
                    </a:cubicBezTo>
                    <a:cubicBezTo>
                      <a:pt x="4828" y="1620"/>
                      <a:pt x="4828" y="1620"/>
                      <a:pt x="4828" y="1620"/>
                    </a:cubicBezTo>
                    <a:cubicBezTo>
                      <a:pt x="4835" y="1630"/>
                      <a:pt x="4835" y="1630"/>
                      <a:pt x="4835" y="1630"/>
                    </a:cubicBezTo>
                    <a:cubicBezTo>
                      <a:pt x="4835" y="1643"/>
                      <a:pt x="4835" y="1643"/>
                      <a:pt x="4835" y="1643"/>
                    </a:cubicBezTo>
                    <a:cubicBezTo>
                      <a:pt x="4846" y="1650"/>
                      <a:pt x="4846" y="1650"/>
                      <a:pt x="4846" y="1650"/>
                    </a:cubicBezTo>
                    <a:cubicBezTo>
                      <a:pt x="4843" y="1667"/>
                      <a:pt x="4843" y="1667"/>
                      <a:pt x="4843" y="1667"/>
                    </a:cubicBezTo>
                    <a:cubicBezTo>
                      <a:pt x="4846" y="1684"/>
                      <a:pt x="4846" y="1684"/>
                      <a:pt x="4846" y="1684"/>
                    </a:cubicBezTo>
                    <a:cubicBezTo>
                      <a:pt x="4846" y="1684"/>
                      <a:pt x="4834" y="1688"/>
                      <a:pt x="4839" y="1700"/>
                    </a:cubicBezTo>
                    <a:cubicBezTo>
                      <a:pt x="4844" y="1712"/>
                      <a:pt x="4846" y="1713"/>
                      <a:pt x="4839" y="1719"/>
                    </a:cubicBezTo>
                    <a:cubicBezTo>
                      <a:pt x="4832" y="1725"/>
                      <a:pt x="4796" y="1702"/>
                      <a:pt x="4785" y="1707"/>
                    </a:cubicBezTo>
                    <a:cubicBezTo>
                      <a:pt x="4774" y="1712"/>
                      <a:pt x="4786" y="1718"/>
                      <a:pt x="4784" y="1723"/>
                    </a:cubicBezTo>
                    <a:cubicBezTo>
                      <a:pt x="4782" y="1728"/>
                      <a:pt x="4769" y="1719"/>
                      <a:pt x="4766" y="1729"/>
                    </a:cubicBezTo>
                    <a:cubicBezTo>
                      <a:pt x="4763" y="1739"/>
                      <a:pt x="4778" y="1740"/>
                      <a:pt x="4792" y="1753"/>
                    </a:cubicBezTo>
                    <a:cubicBezTo>
                      <a:pt x="4806" y="1766"/>
                      <a:pt x="4810" y="1785"/>
                      <a:pt x="4812" y="1791"/>
                    </a:cubicBezTo>
                    <a:cubicBezTo>
                      <a:pt x="4814" y="1797"/>
                      <a:pt x="4825" y="1808"/>
                      <a:pt x="4825" y="1808"/>
                    </a:cubicBezTo>
                    <a:cubicBezTo>
                      <a:pt x="4826" y="1831"/>
                      <a:pt x="4826" y="1831"/>
                      <a:pt x="4826" y="1831"/>
                    </a:cubicBezTo>
                    <a:cubicBezTo>
                      <a:pt x="4809" y="1827"/>
                      <a:pt x="4809" y="1827"/>
                      <a:pt x="4809" y="1827"/>
                    </a:cubicBezTo>
                    <a:cubicBezTo>
                      <a:pt x="4802" y="1845"/>
                      <a:pt x="4802" y="1845"/>
                      <a:pt x="4802" y="1845"/>
                    </a:cubicBezTo>
                    <a:cubicBezTo>
                      <a:pt x="4821" y="1851"/>
                      <a:pt x="4821" y="1851"/>
                      <a:pt x="4821" y="1851"/>
                    </a:cubicBezTo>
                    <a:cubicBezTo>
                      <a:pt x="4844" y="1852"/>
                      <a:pt x="4844" y="1852"/>
                      <a:pt x="4844" y="1852"/>
                    </a:cubicBezTo>
                    <a:cubicBezTo>
                      <a:pt x="4844" y="1852"/>
                      <a:pt x="4838" y="1811"/>
                      <a:pt x="4847" y="1807"/>
                    </a:cubicBezTo>
                    <a:cubicBezTo>
                      <a:pt x="4856" y="1803"/>
                      <a:pt x="4863" y="1816"/>
                      <a:pt x="4863" y="1816"/>
                    </a:cubicBezTo>
                    <a:cubicBezTo>
                      <a:pt x="4872" y="1808"/>
                      <a:pt x="4872" y="1808"/>
                      <a:pt x="4872" y="1808"/>
                    </a:cubicBezTo>
                    <a:cubicBezTo>
                      <a:pt x="4872" y="1808"/>
                      <a:pt x="4888" y="1840"/>
                      <a:pt x="4896" y="1838"/>
                    </a:cubicBezTo>
                    <a:cubicBezTo>
                      <a:pt x="4904" y="1836"/>
                      <a:pt x="4923" y="1830"/>
                      <a:pt x="4923" y="1830"/>
                    </a:cubicBezTo>
                    <a:cubicBezTo>
                      <a:pt x="4923" y="1842"/>
                      <a:pt x="4923" y="1842"/>
                      <a:pt x="4923" y="1842"/>
                    </a:cubicBezTo>
                    <a:cubicBezTo>
                      <a:pt x="4923" y="1842"/>
                      <a:pt x="4978" y="1822"/>
                      <a:pt x="4980" y="1802"/>
                    </a:cubicBezTo>
                    <a:cubicBezTo>
                      <a:pt x="4982" y="1782"/>
                      <a:pt x="4985" y="1754"/>
                      <a:pt x="4985" y="1754"/>
                    </a:cubicBezTo>
                    <a:cubicBezTo>
                      <a:pt x="4999" y="1747"/>
                      <a:pt x="4999" y="1747"/>
                      <a:pt x="4999" y="1747"/>
                    </a:cubicBezTo>
                    <a:cubicBezTo>
                      <a:pt x="4999" y="1747"/>
                      <a:pt x="4997" y="1704"/>
                      <a:pt x="5006" y="1697"/>
                    </a:cubicBezTo>
                    <a:cubicBezTo>
                      <a:pt x="5015" y="1690"/>
                      <a:pt x="5017" y="1666"/>
                      <a:pt x="5019" y="1650"/>
                    </a:cubicBezTo>
                    <a:cubicBezTo>
                      <a:pt x="5021" y="1634"/>
                      <a:pt x="5010" y="1607"/>
                      <a:pt x="5010" y="1607"/>
                    </a:cubicBezTo>
                    <a:cubicBezTo>
                      <a:pt x="5010" y="1607"/>
                      <a:pt x="5024" y="1585"/>
                      <a:pt x="5024" y="1580"/>
                    </a:cubicBezTo>
                    <a:cubicBezTo>
                      <a:pt x="5024" y="1575"/>
                      <a:pt x="5016" y="1565"/>
                      <a:pt x="5016" y="1565"/>
                    </a:cubicBezTo>
                    <a:cubicBezTo>
                      <a:pt x="5016" y="1565"/>
                      <a:pt x="5033" y="1541"/>
                      <a:pt x="5029" y="1532"/>
                    </a:cubicBezTo>
                    <a:cubicBezTo>
                      <a:pt x="5025" y="1523"/>
                      <a:pt x="5013" y="1496"/>
                      <a:pt x="5013" y="1496"/>
                    </a:cubicBezTo>
                    <a:cubicBezTo>
                      <a:pt x="5013" y="1496"/>
                      <a:pt x="5005" y="1468"/>
                      <a:pt x="4998" y="1465"/>
                    </a:cubicBezTo>
                    <a:cubicBezTo>
                      <a:pt x="4991" y="1462"/>
                      <a:pt x="4986" y="1458"/>
                      <a:pt x="4986" y="1458"/>
                    </a:cubicBezTo>
                    <a:cubicBezTo>
                      <a:pt x="4990" y="1451"/>
                      <a:pt x="4990" y="1451"/>
                      <a:pt x="4990" y="1451"/>
                    </a:cubicBezTo>
                    <a:cubicBezTo>
                      <a:pt x="4990" y="1451"/>
                      <a:pt x="4971" y="1443"/>
                      <a:pt x="4965" y="1428"/>
                    </a:cubicBezTo>
                    <a:cubicBezTo>
                      <a:pt x="4959" y="1413"/>
                      <a:pt x="4957" y="1401"/>
                      <a:pt x="4957" y="1401"/>
                    </a:cubicBezTo>
                    <a:cubicBezTo>
                      <a:pt x="4948" y="1395"/>
                      <a:pt x="4948" y="1395"/>
                      <a:pt x="4948" y="1395"/>
                    </a:cubicBezTo>
                    <a:cubicBezTo>
                      <a:pt x="4948" y="1395"/>
                      <a:pt x="4955" y="1365"/>
                      <a:pt x="4948" y="1356"/>
                    </a:cubicBezTo>
                    <a:cubicBezTo>
                      <a:pt x="4941" y="1347"/>
                      <a:pt x="4936" y="1340"/>
                      <a:pt x="4936" y="1340"/>
                    </a:cubicBezTo>
                    <a:cubicBezTo>
                      <a:pt x="4924" y="1336"/>
                      <a:pt x="4924" y="1336"/>
                      <a:pt x="4924" y="1336"/>
                    </a:cubicBezTo>
                    <a:cubicBezTo>
                      <a:pt x="4924" y="1336"/>
                      <a:pt x="4920" y="1322"/>
                      <a:pt x="4913" y="1317"/>
                    </a:cubicBezTo>
                    <a:cubicBezTo>
                      <a:pt x="4906" y="1312"/>
                      <a:pt x="4889" y="1304"/>
                      <a:pt x="4889" y="1304"/>
                    </a:cubicBezTo>
                    <a:cubicBezTo>
                      <a:pt x="4875" y="1300"/>
                      <a:pt x="4875" y="1300"/>
                      <a:pt x="4875" y="1300"/>
                    </a:cubicBezTo>
                    <a:cubicBezTo>
                      <a:pt x="4872" y="1291"/>
                      <a:pt x="4872" y="1291"/>
                      <a:pt x="4872" y="1291"/>
                    </a:cubicBezTo>
                    <a:cubicBezTo>
                      <a:pt x="4872" y="1291"/>
                      <a:pt x="4900" y="1304"/>
                      <a:pt x="4903" y="1298"/>
                    </a:cubicBezTo>
                    <a:cubicBezTo>
                      <a:pt x="4906" y="1292"/>
                      <a:pt x="4885" y="1286"/>
                      <a:pt x="4885" y="1286"/>
                    </a:cubicBezTo>
                    <a:cubicBezTo>
                      <a:pt x="4830" y="1260"/>
                      <a:pt x="4830" y="1260"/>
                      <a:pt x="4830" y="1260"/>
                    </a:cubicBezTo>
                    <a:cubicBezTo>
                      <a:pt x="4830" y="1260"/>
                      <a:pt x="4802" y="1243"/>
                      <a:pt x="4794" y="1238"/>
                    </a:cubicBezTo>
                    <a:cubicBezTo>
                      <a:pt x="4786" y="1233"/>
                      <a:pt x="4772" y="1243"/>
                      <a:pt x="4772" y="1243"/>
                    </a:cubicBezTo>
                    <a:cubicBezTo>
                      <a:pt x="4746" y="1236"/>
                      <a:pt x="4746" y="1236"/>
                      <a:pt x="4746" y="1236"/>
                    </a:cubicBezTo>
                    <a:cubicBezTo>
                      <a:pt x="4771" y="1264"/>
                      <a:pt x="4771" y="1264"/>
                      <a:pt x="4771" y="1264"/>
                    </a:cubicBezTo>
                    <a:cubicBezTo>
                      <a:pt x="4767" y="1281"/>
                      <a:pt x="4767" y="1281"/>
                      <a:pt x="4767" y="1281"/>
                    </a:cubicBezTo>
                    <a:cubicBezTo>
                      <a:pt x="4759" y="1279"/>
                      <a:pt x="4759" y="1279"/>
                      <a:pt x="4759" y="1279"/>
                    </a:cubicBezTo>
                    <a:cubicBezTo>
                      <a:pt x="4758" y="1259"/>
                      <a:pt x="4758" y="1259"/>
                      <a:pt x="4758" y="1259"/>
                    </a:cubicBezTo>
                    <a:cubicBezTo>
                      <a:pt x="4748" y="1252"/>
                      <a:pt x="4748" y="1252"/>
                      <a:pt x="4748" y="1252"/>
                    </a:cubicBezTo>
                    <a:cubicBezTo>
                      <a:pt x="4746" y="1271"/>
                      <a:pt x="4746" y="1271"/>
                      <a:pt x="4746" y="1271"/>
                    </a:cubicBezTo>
                    <a:cubicBezTo>
                      <a:pt x="4717" y="1273"/>
                      <a:pt x="4717" y="1273"/>
                      <a:pt x="4717" y="1273"/>
                    </a:cubicBezTo>
                    <a:cubicBezTo>
                      <a:pt x="4717" y="1273"/>
                      <a:pt x="4724" y="1263"/>
                      <a:pt x="4719" y="1257"/>
                    </a:cubicBezTo>
                    <a:cubicBezTo>
                      <a:pt x="4714" y="1251"/>
                      <a:pt x="4701" y="1253"/>
                      <a:pt x="4701" y="1253"/>
                    </a:cubicBezTo>
                    <a:cubicBezTo>
                      <a:pt x="4696" y="1260"/>
                      <a:pt x="4696" y="1260"/>
                      <a:pt x="4696" y="1260"/>
                    </a:cubicBezTo>
                    <a:cubicBezTo>
                      <a:pt x="4681" y="1261"/>
                      <a:pt x="4681" y="1261"/>
                      <a:pt x="4681" y="1261"/>
                    </a:cubicBezTo>
                    <a:cubicBezTo>
                      <a:pt x="4672" y="1236"/>
                      <a:pt x="4672" y="1236"/>
                      <a:pt x="4672" y="1236"/>
                    </a:cubicBezTo>
                    <a:cubicBezTo>
                      <a:pt x="4668" y="1235"/>
                      <a:pt x="4668" y="1235"/>
                      <a:pt x="4668" y="1235"/>
                    </a:cubicBezTo>
                    <a:cubicBezTo>
                      <a:pt x="4660" y="1222"/>
                      <a:pt x="4660" y="1222"/>
                      <a:pt x="4660" y="1222"/>
                    </a:cubicBezTo>
                    <a:cubicBezTo>
                      <a:pt x="4612" y="1224"/>
                      <a:pt x="4612" y="1224"/>
                      <a:pt x="4612" y="1224"/>
                    </a:cubicBezTo>
                    <a:cubicBezTo>
                      <a:pt x="4606" y="1218"/>
                      <a:pt x="4606" y="1218"/>
                      <a:pt x="4606" y="1218"/>
                    </a:cubicBezTo>
                    <a:cubicBezTo>
                      <a:pt x="4606" y="1218"/>
                      <a:pt x="4580" y="1222"/>
                      <a:pt x="4580" y="1205"/>
                    </a:cubicBezTo>
                    <a:cubicBezTo>
                      <a:pt x="4580" y="1188"/>
                      <a:pt x="4602" y="1186"/>
                      <a:pt x="4602" y="1186"/>
                    </a:cubicBezTo>
                    <a:cubicBezTo>
                      <a:pt x="4602" y="1170"/>
                      <a:pt x="4602" y="1170"/>
                      <a:pt x="4602" y="1170"/>
                    </a:cubicBezTo>
                    <a:cubicBezTo>
                      <a:pt x="4602" y="1170"/>
                      <a:pt x="4621" y="1169"/>
                      <a:pt x="4622" y="1158"/>
                    </a:cubicBezTo>
                    <a:cubicBezTo>
                      <a:pt x="4623" y="1147"/>
                      <a:pt x="4633" y="1132"/>
                      <a:pt x="4633" y="1132"/>
                    </a:cubicBezTo>
                    <a:cubicBezTo>
                      <a:pt x="4623" y="1123"/>
                      <a:pt x="4623" y="1123"/>
                      <a:pt x="4623" y="1123"/>
                    </a:cubicBezTo>
                    <a:cubicBezTo>
                      <a:pt x="4630" y="1110"/>
                      <a:pt x="4630" y="1110"/>
                      <a:pt x="4630" y="1110"/>
                    </a:cubicBezTo>
                    <a:cubicBezTo>
                      <a:pt x="4623" y="1100"/>
                      <a:pt x="4623" y="1100"/>
                      <a:pt x="4623" y="1100"/>
                    </a:cubicBezTo>
                    <a:cubicBezTo>
                      <a:pt x="4637" y="1089"/>
                      <a:pt x="4637" y="1089"/>
                      <a:pt x="4637" y="1089"/>
                    </a:cubicBezTo>
                    <a:cubicBezTo>
                      <a:pt x="4651" y="1086"/>
                      <a:pt x="4651" y="1086"/>
                      <a:pt x="4651" y="1086"/>
                    </a:cubicBezTo>
                    <a:cubicBezTo>
                      <a:pt x="4645" y="1064"/>
                      <a:pt x="4645" y="1064"/>
                      <a:pt x="4645" y="1064"/>
                    </a:cubicBezTo>
                    <a:cubicBezTo>
                      <a:pt x="4660" y="1059"/>
                      <a:pt x="4660" y="1059"/>
                      <a:pt x="4660" y="1059"/>
                    </a:cubicBezTo>
                    <a:cubicBezTo>
                      <a:pt x="4642" y="1036"/>
                      <a:pt x="4642" y="1036"/>
                      <a:pt x="4642" y="1036"/>
                    </a:cubicBezTo>
                    <a:cubicBezTo>
                      <a:pt x="4664" y="1027"/>
                      <a:pt x="4664" y="1027"/>
                      <a:pt x="4664" y="1027"/>
                    </a:cubicBezTo>
                    <a:cubicBezTo>
                      <a:pt x="4664" y="1027"/>
                      <a:pt x="4657" y="997"/>
                      <a:pt x="4673" y="987"/>
                    </a:cubicBezTo>
                    <a:cubicBezTo>
                      <a:pt x="4689" y="977"/>
                      <a:pt x="4695" y="976"/>
                      <a:pt x="4695" y="976"/>
                    </a:cubicBezTo>
                    <a:cubicBezTo>
                      <a:pt x="4695" y="976"/>
                      <a:pt x="4720" y="980"/>
                      <a:pt x="4732" y="979"/>
                    </a:cubicBezTo>
                    <a:cubicBezTo>
                      <a:pt x="4744" y="978"/>
                      <a:pt x="4796" y="982"/>
                      <a:pt x="4796" y="982"/>
                    </a:cubicBezTo>
                    <a:cubicBezTo>
                      <a:pt x="4807" y="993"/>
                      <a:pt x="4807" y="993"/>
                      <a:pt x="4807" y="993"/>
                    </a:cubicBezTo>
                    <a:cubicBezTo>
                      <a:pt x="4820" y="988"/>
                      <a:pt x="4820" y="988"/>
                      <a:pt x="4820" y="988"/>
                    </a:cubicBezTo>
                    <a:cubicBezTo>
                      <a:pt x="4815" y="976"/>
                      <a:pt x="4815" y="976"/>
                      <a:pt x="4815" y="976"/>
                    </a:cubicBezTo>
                    <a:cubicBezTo>
                      <a:pt x="4865" y="989"/>
                      <a:pt x="4865" y="989"/>
                      <a:pt x="4865" y="989"/>
                    </a:cubicBezTo>
                    <a:cubicBezTo>
                      <a:pt x="4885" y="977"/>
                      <a:pt x="4885" y="977"/>
                      <a:pt x="4885" y="977"/>
                    </a:cubicBezTo>
                    <a:cubicBezTo>
                      <a:pt x="4904" y="992"/>
                      <a:pt x="4904" y="992"/>
                      <a:pt x="4904" y="992"/>
                    </a:cubicBezTo>
                    <a:cubicBezTo>
                      <a:pt x="4909" y="968"/>
                      <a:pt x="4909" y="968"/>
                      <a:pt x="4909" y="968"/>
                    </a:cubicBezTo>
                    <a:cubicBezTo>
                      <a:pt x="4909" y="968"/>
                      <a:pt x="4932" y="966"/>
                      <a:pt x="4948" y="967"/>
                    </a:cubicBezTo>
                    <a:cubicBezTo>
                      <a:pt x="4964" y="968"/>
                      <a:pt x="4970" y="982"/>
                      <a:pt x="4976" y="980"/>
                    </a:cubicBezTo>
                    <a:cubicBezTo>
                      <a:pt x="4982" y="978"/>
                      <a:pt x="5000" y="967"/>
                      <a:pt x="5000" y="967"/>
                    </a:cubicBezTo>
                    <a:cubicBezTo>
                      <a:pt x="5016" y="981"/>
                      <a:pt x="5016" y="981"/>
                      <a:pt x="5016" y="981"/>
                    </a:cubicBezTo>
                    <a:cubicBezTo>
                      <a:pt x="5044" y="986"/>
                      <a:pt x="5044" y="986"/>
                      <a:pt x="5044" y="986"/>
                    </a:cubicBezTo>
                    <a:cubicBezTo>
                      <a:pt x="5008" y="993"/>
                      <a:pt x="5008" y="993"/>
                      <a:pt x="5008" y="993"/>
                    </a:cubicBezTo>
                    <a:cubicBezTo>
                      <a:pt x="5008" y="993"/>
                      <a:pt x="5019" y="1014"/>
                      <a:pt x="5030" y="1009"/>
                    </a:cubicBezTo>
                    <a:cubicBezTo>
                      <a:pt x="5041" y="1004"/>
                      <a:pt x="5061" y="996"/>
                      <a:pt x="5061" y="996"/>
                    </a:cubicBezTo>
                    <a:cubicBezTo>
                      <a:pt x="5079" y="1005"/>
                      <a:pt x="5079" y="1005"/>
                      <a:pt x="5079" y="1005"/>
                    </a:cubicBezTo>
                    <a:cubicBezTo>
                      <a:pt x="5094" y="993"/>
                      <a:pt x="5094" y="993"/>
                      <a:pt x="5094" y="993"/>
                    </a:cubicBezTo>
                    <a:cubicBezTo>
                      <a:pt x="5094" y="993"/>
                      <a:pt x="5121" y="1002"/>
                      <a:pt x="5129" y="998"/>
                    </a:cubicBezTo>
                    <a:cubicBezTo>
                      <a:pt x="5137" y="994"/>
                      <a:pt x="5131" y="986"/>
                      <a:pt x="5131" y="986"/>
                    </a:cubicBezTo>
                    <a:cubicBezTo>
                      <a:pt x="5155" y="988"/>
                      <a:pt x="5155" y="988"/>
                      <a:pt x="5155" y="988"/>
                    </a:cubicBezTo>
                    <a:cubicBezTo>
                      <a:pt x="5122" y="970"/>
                      <a:pt x="5122" y="970"/>
                      <a:pt x="5122" y="970"/>
                    </a:cubicBezTo>
                    <a:cubicBezTo>
                      <a:pt x="5104" y="977"/>
                      <a:pt x="5104" y="977"/>
                      <a:pt x="5104" y="977"/>
                    </a:cubicBezTo>
                    <a:cubicBezTo>
                      <a:pt x="5099" y="965"/>
                      <a:pt x="5099" y="965"/>
                      <a:pt x="5099" y="965"/>
                    </a:cubicBezTo>
                    <a:cubicBezTo>
                      <a:pt x="5099" y="965"/>
                      <a:pt x="5084" y="942"/>
                      <a:pt x="5086" y="937"/>
                    </a:cubicBezTo>
                    <a:cubicBezTo>
                      <a:pt x="5088" y="932"/>
                      <a:pt x="5105" y="918"/>
                      <a:pt x="5105" y="918"/>
                    </a:cubicBezTo>
                    <a:cubicBezTo>
                      <a:pt x="5101" y="898"/>
                      <a:pt x="5101" y="898"/>
                      <a:pt x="5101" y="898"/>
                    </a:cubicBezTo>
                    <a:cubicBezTo>
                      <a:pt x="5110" y="890"/>
                      <a:pt x="5110" y="890"/>
                      <a:pt x="5110" y="890"/>
                    </a:cubicBezTo>
                    <a:cubicBezTo>
                      <a:pt x="5110" y="890"/>
                      <a:pt x="5084" y="877"/>
                      <a:pt x="5101" y="866"/>
                    </a:cubicBezTo>
                    <a:cubicBezTo>
                      <a:pt x="5118" y="855"/>
                      <a:pt x="5154" y="866"/>
                      <a:pt x="5154" y="866"/>
                    </a:cubicBezTo>
                    <a:cubicBezTo>
                      <a:pt x="5168" y="852"/>
                      <a:pt x="5168" y="852"/>
                      <a:pt x="5168" y="852"/>
                    </a:cubicBezTo>
                    <a:cubicBezTo>
                      <a:pt x="5190" y="871"/>
                      <a:pt x="5190" y="871"/>
                      <a:pt x="5190" y="871"/>
                    </a:cubicBezTo>
                    <a:cubicBezTo>
                      <a:pt x="5209" y="860"/>
                      <a:pt x="5209" y="860"/>
                      <a:pt x="5209" y="860"/>
                    </a:cubicBezTo>
                    <a:cubicBezTo>
                      <a:pt x="5209" y="860"/>
                      <a:pt x="5222" y="893"/>
                      <a:pt x="5229" y="896"/>
                    </a:cubicBezTo>
                    <a:cubicBezTo>
                      <a:pt x="5236" y="899"/>
                      <a:pt x="5257" y="895"/>
                      <a:pt x="5257" y="895"/>
                    </a:cubicBezTo>
                    <a:cubicBezTo>
                      <a:pt x="5257" y="895"/>
                      <a:pt x="5257" y="926"/>
                      <a:pt x="5268" y="922"/>
                    </a:cubicBezTo>
                    <a:cubicBezTo>
                      <a:pt x="5279" y="918"/>
                      <a:pt x="5294" y="878"/>
                      <a:pt x="5294" y="878"/>
                    </a:cubicBezTo>
                    <a:cubicBezTo>
                      <a:pt x="5310" y="869"/>
                      <a:pt x="5310" y="869"/>
                      <a:pt x="5310" y="869"/>
                    </a:cubicBezTo>
                    <a:cubicBezTo>
                      <a:pt x="5330" y="876"/>
                      <a:pt x="5330" y="876"/>
                      <a:pt x="5330" y="876"/>
                    </a:cubicBezTo>
                    <a:cubicBezTo>
                      <a:pt x="5329" y="867"/>
                      <a:pt x="5329" y="867"/>
                      <a:pt x="5329" y="867"/>
                    </a:cubicBezTo>
                    <a:cubicBezTo>
                      <a:pt x="5310" y="857"/>
                      <a:pt x="5310" y="857"/>
                      <a:pt x="5310" y="857"/>
                    </a:cubicBezTo>
                    <a:cubicBezTo>
                      <a:pt x="5310" y="857"/>
                      <a:pt x="5263" y="823"/>
                      <a:pt x="5274" y="822"/>
                    </a:cubicBezTo>
                    <a:cubicBezTo>
                      <a:pt x="5285" y="821"/>
                      <a:pt x="5339" y="823"/>
                      <a:pt x="5339" y="823"/>
                    </a:cubicBezTo>
                    <a:cubicBezTo>
                      <a:pt x="5373" y="823"/>
                      <a:pt x="5373" y="823"/>
                      <a:pt x="5373" y="823"/>
                    </a:cubicBezTo>
                    <a:cubicBezTo>
                      <a:pt x="5373" y="823"/>
                      <a:pt x="5376" y="837"/>
                      <a:pt x="5372" y="836"/>
                    </a:cubicBezTo>
                    <a:cubicBezTo>
                      <a:pt x="5368" y="835"/>
                      <a:pt x="5329" y="823"/>
                      <a:pt x="5331" y="837"/>
                    </a:cubicBezTo>
                    <a:cubicBezTo>
                      <a:pt x="5333" y="851"/>
                      <a:pt x="5356" y="864"/>
                      <a:pt x="5356" y="864"/>
                    </a:cubicBezTo>
                    <a:cubicBezTo>
                      <a:pt x="5358" y="881"/>
                      <a:pt x="5358" y="881"/>
                      <a:pt x="5358" y="881"/>
                    </a:cubicBezTo>
                    <a:cubicBezTo>
                      <a:pt x="5378" y="884"/>
                      <a:pt x="5378" y="884"/>
                      <a:pt x="5378" y="884"/>
                    </a:cubicBezTo>
                    <a:cubicBezTo>
                      <a:pt x="5374" y="897"/>
                      <a:pt x="5374" y="897"/>
                      <a:pt x="5374" y="897"/>
                    </a:cubicBezTo>
                    <a:cubicBezTo>
                      <a:pt x="5387" y="908"/>
                      <a:pt x="5387" y="908"/>
                      <a:pt x="5387" y="908"/>
                    </a:cubicBezTo>
                    <a:cubicBezTo>
                      <a:pt x="5369" y="911"/>
                      <a:pt x="5369" y="911"/>
                      <a:pt x="5369" y="911"/>
                    </a:cubicBezTo>
                    <a:cubicBezTo>
                      <a:pt x="5364" y="922"/>
                      <a:pt x="5364" y="922"/>
                      <a:pt x="5364" y="922"/>
                    </a:cubicBezTo>
                    <a:cubicBezTo>
                      <a:pt x="5352" y="926"/>
                      <a:pt x="5352" y="926"/>
                      <a:pt x="5352" y="926"/>
                    </a:cubicBezTo>
                    <a:cubicBezTo>
                      <a:pt x="5352" y="926"/>
                      <a:pt x="5365" y="948"/>
                      <a:pt x="5358" y="960"/>
                    </a:cubicBezTo>
                    <a:cubicBezTo>
                      <a:pt x="5351" y="972"/>
                      <a:pt x="5340" y="992"/>
                      <a:pt x="5340" y="999"/>
                    </a:cubicBezTo>
                    <a:cubicBezTo>
                      <a:pt x="5340" y="1006"/>
                      <a:pt x="5358" y="1012"/>
                      <a:pt x="5345" y="1029"/>
                    </a:cubicBezTo>
                    <a:cubicBezTo>
                      <a:pt x="5332" y="1046"/>
                      <a:pt x="5310" y="1051"/>
                      <a:pt x="5310" y="1051"/>
                    </a:cubicBezTo>
                    <a:cubicBezTo>
                      <a:pt x="5313" y="1063"/>
                      <a:pt x="5313" y="1063"/>
                      <a:pt x="5313" y="1063"/>
                    </a:cubicBezTo>
                    <a:cubicBezTo>
                      <a:pt x="5300" y="1063"/>
                      <a:pt x="5300" y="1063"/>
                      <a:pt x="5300" y="1063"/>
                    </a:cubicBezTo>
                    <a:cubicBezTo>
                      <a:pt x="5300" y="1063"/>
                      <a:pt x="5324" y="1073"/>
                      <a:pt x="5322" y="1090"/>
                    </a:cubicBezTo>
                    <a:cubicBezTo>
                      <a:pt x="5320" y="1107"/>
                      <a:pt x="5313" y="1118"/>
                      <a:pt x="5320" y="1135"/>
                    </a:cubicBezTo>
                    <a:cubicBezTo>
                      <a:pt x="5327" y="1152"/>
                      <a:pt x="5392" y="1206"/>
                      <a:pt x="5392" y="1206"/>
                    </a:cubicBezTo>
                    <a:cubicBezTo>
                      <a:pt x="5432" y="1247"/>
                      <a:pt x="5432" y="1247"/>
                      <a:pt x="5432" y="1247"/>
                    </a:cubicBezTo>
                    <a:cubicBezTo>
                      <a:pt x="5441" y="1244"/>
                      <a:pt x="5441" y="1244"/>
                      <a:pt x="5441" y="1244"/>
                    </a:cubicBezTo>
                    <a:cubicBezTo>
                      <a:pt x="5494" y="1308"/>
                      <a:pt x="5494" y="1308"/>
                      <a:pt x="5494" y="1308"/>
                    </a:cubicBezTo>
                    <a:cubicBezTo>
                      <a:pt x="5529" y="1319"/>
                      <a:pt x="5529" y="1319"/>
                      <a:pt x="5529" y="1319"/>
                    </a:cubicBezTo>
                    <a:cubicBezTo>
                      <a:pt x="5544" y="1337"/>
                      <a:pt x="5544" y="1337"/>
                      <a:pt x="5544" y="1337"/>
                    </a:cubicBezTo>
                    <a:cubicBezTo>
                      <a:pt x="5544" y="1337"/>
                      <a:pt x="5583" y="1385"/>
                      <a:pt x="5590" y="1389"/>
                    </a:cubicBezTo>
                    <a:cubicBezTo>
                      <a:pt x="5597" y="1393"/>
                      <a:pt x="5608" y="1393"/>
                      <a:pt x="5608" y="1393"/>
                    </a:cubicBezTo>
                    <a:cubicBezTo>
                      <a:pt x="5608" y="1393"/>
                      <a:pt x="5602" y="1411"/>
                      <a:pt x="5617" y="1405"/>
                    </a:cubicBezTo>
                    <a:cubicBezTo>
                      <a:pt x="5632" y="1399"/>
                      <a:pt x="5630" y="1386"/>
                      <a:pt x="5630" y="1386"/>
                    </a:cubicBezTo>
                    <a:cubicBezTo>
                      <a:pt x="5623" y="1378"/>
                      <a:pt x="5623" y="1378"/>
                      <a:pt x="5623" y="1378"/>
                    </a:cubicBezTo>
                    <a:cubicBezTo>
                      <a:pt x="5623" y="1378"/>
                      <a:pt x="5638" y="1358"/>
                      <a:pt x="5635" y="1349"/>
                    </a:cubicBezTo>
                    <a:cubicBezTo>
                      <a:pt x="5632" y="1340"/>
                      <a:pt x="5601" y="1323"/>
                      <a:pt x="5608" y="1310"/>
                    </a:cubicBezTo>
                    <a:cubicBezTo>
                      <a:pt x="5615" y="1297"/>
                      <a:pt x="5624" y="1289"/>
                      <a:pt x="5627" y="1288"/>
                    </a:cubicBezTo>
                    <a:cubicBezTo>
                      <a:pt x="5630" y="1287"/>
                      <a:pt x="5650" y="1295"/>
                      <a:pt x="5650" y="1295"/>
                    </a:cubicBezTo>
                    <a:cubicBezTo>
                      <a:pt x="5650" y="1295"/>
                      <a:pt x="5628" y="1269"/>
                      <a:pt x="5622" y="1265"/>
                    </a:cubicBezTo>
                    <a:cubicBezTo>
                      <a:pt x="5616" y="1261"/>
                      <a:pt x="5601" y="1255"/>
                      <a:pt x="5604" y="1240"/>
                    </a:cubicBezTo>
                    <a:cubicBezTo>
                      <a:pt x="5607" y="1225"/>
                      <a:pt x="5625" y="1220"/>
                      <a:pt x="5625" y="1220"/>
                    </a:cubicBezTo>
                    <a:cubicBezTo>
                      <a:pt x="5625" y="1220"/>
                      <a:pt x="5654" y="1232"/>
                      <a:pt x="5652" y="1217"/>
                    </a:cubicBezTo>
                    <a:cubicBezTo>
                      <a:pt x="5650" y="1202"/>
                      <a:pt x="5637" y="1198"/>
                      <a:pt x="5621" y="1190"/>
                    </a:cubicBezTo>
                    <a:cubicBezTo>
                      <a:pt x="5605" y="1182"/>
                      <a:pt x="5591" y="1163"/>
                      <a:pt x="5590" y="1152"/>
                    </a:cubicBezTo>
                    <a:cubicBezTo>
                      <a:pt x="5589" y="1141"/>
                      <a:pt x="5583" y="1129"/>
                      <a:pt x="5583" y="1129"/>
                    </a:cubicBezTo>
                    <a:cubicBezTo>
                      <a:pt x="5590" y="1126"/>
                      <a:pt x="5590" y="1126"/>
                      <a:pt x="5590" y="1126"/>
                    </a:cubicBezTo>
                    <a:cubicBezTo>
                      <a:pt x="5590" y="1126"/>
                      <a:pt x="5616" y="1151"/>
                      <a:pt x="5622" y="1146"/>
                    </a:cubicBezTo>
                    <a:cubicBezTo>
                      <a:pt x="5628" y="1141"/>
                      <a:pt x="5604" y="1114"/>
                      <a:pt x="5604" y="1114"/>
                    </a:cubicBezTo>
                    <a:cubicBezTo>
                      <a:pt x="5581" y="1111"/>
                      <a:pt x="5581" y="1111"/>
                      <a:pt x="5581" y="1111"/>
                    </a:cubicBezTo>
                    <a:cubicBezTo>
                      <a:pt x="5548" y="1083"/>
                      <a:pt x="5548" y="1083"/>
                      <a:pt x="5548" y="1083"/>
                    </a:cubicBezTo>
                    <a:cubicBezTo>
                      <a:pt x="5548" y="1083"/>
                      <a:pt x="5552" y="1062"/>
                      <a:pt x="5536" y="1055"/>
                    </a:cubicBezTo>
                    <a:cubicBezTo>
                      <a:pt x="5520" y="1048"/>
                      <a:pt x="5508" y="1048"/>
                      <a:pt x="5508" y="1048"/>
                    </a:cubicBezTo>
                    <a:cubicBezTo>
                      <a:pt x="5509" y="1060"/>
                      <a:pt x="5509" y="1060"/>
                      <a:pt x="5509" y="1060"/>
                    </a:cubicBezTo>
                    <a:cubicBezTo>
                      <a:pt x="5509" y="1060"/>
                      <a:pt x="5465" y="1050"/>
                      <a:pt x="5464" y="1034"/>
                    </a:cubicBezTo>
                    <a:cubicBezTo>
                      <a:pt x="5463" y="1018"/>
                      <a:pt x="5471" y="1007"/>
                      <a:pt x="5463" y="992"/>
                    </a:cubicBezTo>
                    <a:cubicBezTo>
                      <a:pt x="5455" y="977"/>
                      <a:pt x="5439" y="969"/>
                      <a:pt x="5439" y="969"/>
                    </a:cubicBezTo>
                    <a:cubicBezTo>
                      <a:pt x="5439" y="969"/>
                      <a:pt x="5441" y="953"/>
                      <a:pt x="5445" y="951"/>
                    </a:cubicBezTo>
                    <a:cubicBezTo>
                      <a:pt x="5449" y="949"/>
                      <a:pt x="5458" y="956"/>
                      <a:pt x="5458" y="956"/>
                    </a:cubicBezTo>
                    <a:cubicBezTo>
                      <a:pt x="5467" y="945"/>
                      <a:pt x="5467" y="945"/>
                      <a:pt x="5467" y="945"/>
                    </a:cubicBezTo>
                    <a:cubicBezTo>
                      <a:pt x="5492" y="964"/>
                      <a:pt x="5492" y="964"/>
                      <a:pt x="5492" y="964"/>
                    </a:cubicBezTo>
                    <a:cubicBezTo>
                      <a:pt x="5497" y="959"/>
                      <a:pt x="5497" y="959"/>
                      <a:pt x="5497" y="959"/>
                    </a:cubicBezTo>
                    <a:cubicBezTo>
                      <a:pt x="5489" y="951"/>
                      <a:pt x="5489" y="951"/>
                      <a:pt x="5489" y="951"/>
                    </a:cubicBezTo>
                    <a:cubicBezTo>
                      <a:pt x="5489" y="951"/>
                      <a:pt x="5495" y="919"/>
                      <a:pt x="5506" y="925"/>
                    </a:cubicBezTo>
                    <a:cubicBezTo>
                      <a:pt x="5517" y="931"/>
                      <a:pt x="5544" y="964"/>
                      <a:pt x="5544" y="964"/>
                    </a:cubicBezTo>
                    <a:cubicBezTo>
                      <a:pt x="5551" y="931"/>
                      <a:pt x="5551" y="931"/>
                      <a:pt x="5551" y="931"/>
                    </a:cubicBezTo>
                    <a:cubicBezTo>
                      <a:pt x="5551" y="931"/>
                      <a:pt x="5608" y="924"/>
                      <a:pt x="5617" y="924"/>
                    </a:cubicBezTo>
                    <a:cubicBezTo>
                      <a:pt x="5626" y="924"/>
                      <a:pt x="5663" y="944"/>
                      <a:pt x="5663" y="944"/>
                    </a:cubicBezTo>
                    <a:cubicBezTo>
                      <a:pt x="5691" y="955"/>
                      <a:pt x="5691" y="955"/>
                      <a:pt x="5691" y="955"/>
                    </a:cubicBezTo>
                    <a:cubicBezTo>
                      <a:pt x="5671" y="915"/>
                      <a:pt x="5671" y="915"/>
                      <a:pt x="5671" y="915"/>
                    </a:cubicBezTo>
                    <a:cubicBezTo>
                      <a:pt x="5671" y="915"/>
                      <a:pt x="5703" y="916"/>
                      <a:pt x="5705" y="905"/>
                    </a:cubicBezTo>
                    <a:cubicBezTo>
                      <a:pt x="5707" y="894"/>
                      <a:pt x="5697" y="876"/>
                      <a:pt x="5697" y="876"/>
                    </a:cubicBezTo>
                    <a:cubicBezTo>
                      <a:pt x="5710" y="877"/>
                      <a:pt x="5710" y="877"/>
                      <a:pt x="5710" y="877"/>
                    </a:cubicBezTo>
                    <a:cubicBezTo>
                      <a:pt x="5713" y="861"/>
                      <a:pt x="5713" y="861"/>
                      <a:pt x="5713" y="861"/>
                    </a:cubicBezTo>
                    <a:cubicBezTo>
                      <a:pt x="5713" y="861"/>
                      <a:pt x="5752" y="870"/>
                      <a:pt x="5758" y="855"/>
                    </a:cubicBezTo>
                    <a:cubicBezTo>
                      <a:pt x="5764" y="840"/>
                      <a:pt x="5784" y="828"/>
                      <a:pt x="5784" y="828"/>
                    </a:cubicBezTo>
                    <a:cubicBezTo>
                      <a:pt x="5770" y="811"/>
                      <a:pt x="5770" y="811"/>
                      <a:pt x="5770" y="811"/>
                    </a:cubicBezTo>
                    <a:cubicBezTo>
                      <a:pt x="5791" y="813"/>
                      <a:pt x="5791" y="813"/>
                      <a:pt x="5791" y="813"/>
                    </a:cubicBezTo>
                    <a:cubicBezTo>
                      <a:pt x="5794" y="825"/>
                      <a:pt x="5794" y="825"/>
                      <a:pt x="5794" y="825"/>
                    </a:cubicBezTo>
                    <a:cubicBezTo>
                      <a:pt x="5835" y="828"/>
                      <a:pt x="5835" y="828"/>
                      <a:pt x="5835" y="828"/>
                    </a:cubicBezTo>
                    <a:cubicBezTo>
                      <a:pt x="5835" y="828"/>
                      <a:pt x="5877" y="838"/>
                      <a:pt x="5877" y="832"/>
                    </a:cubicBezTo>
                    <a:cubicBezTo>
                      <a:pt x="5877" y="826"/>
                      <a:pt x="5873" y="814"/>
                      <a:pt x="5873" y="814"/>
                    </a:cubicBezTo>
                    <a:cubicBezTo>
                      <a:pt x="5848" y="811"/>
                      <a:pt x="5848" y="811"/>
                      <a:pt x="5848" y="811"/>
                    </a:cubicBezTo>
                    <a:cubicBezTo>
                      <a:pt x="5844" y="797"/>
                      <a:pt x="5844" y="797"/>
                      <a:pt x="5844" y="797"/>
                    </a:cubicBezTo>
                    <a:cubicBezTo>
                      <a:pt x="5844" y="797"/>
                      <a:pt x="5807" y="784"/>
                      <a:pt x="5795" y="780"/>
                    </a:cubicBezTo>
                    <a:cubicBezTo>
                      <a:pt x="5783" y="776"/>
                      <a:pt x="5774" y="782"/>
                      <a:pt x="5774" y="782"/>
                    </a:cubicBezTo>
                    <a:cubicBezTo>
                      <a:pt x="5778" y="770"/>
                      <a:pt x="5778" y="770"/>
                      <a:pt x="5778" y="770"/>
                    </a:cubicBezTo>
                    <a:cubicBezTo>
                      <a:pt x="5730" y="736"/>
                      <a:pt x="5730" y="736"/>
                      <a:pt x="5730" y="736"/>
                    </a:cubicBezTo>
                    <a:cubicBezTo>
                      <a:pt x="5719" y="747"/>
                      <a:pt x="5719" y="747"/>
                      <a:pt x="5719" y="747"/>
                    </a:cubicBezTo>
                    <a:cubicBezTo>
                      <a:pt x="5719" y="747"/>
                      <a:pt x="5699" y="742"/>
                      <a:pt x="5691" y="739"/>
                    </a:cubicBezTo>
                    <a:cubicBezTo>
                      <a:pt x="5683" y="736"/>
                      <a:pt x="5672" y="727"/>
                      <a:pt x="5672" y="727"/>
                    </a:cubicBezTo>
                    <a:cubicBezTo>
                      <a:pt x="5649" y="732"/>
                      <a:pt x="5649" y="732"/>
                      <a:pt x="5649" y="732"/>
                    </a:cubicBezTo>
                    <a:cubicBezTo>
                      <a:pt x="5630" y="730"/>
                      <a:pt x="5630" y="730"/>
                      <a:pt x="5630" y="730"/>
                    </a:cubicBezTo>
                    <a:cubicBezTo>
                      <a:pt x="5630" y="730"/>
                      <a:pt x="5599" y="712"/>
                      <a:pt x="5611" y="709"/>
                    </a:cubicBezTo>
                    <a:cubicBezTo>
                      <a:pt x="5623" y="706"/>
                      <a:pt x="5635" y="713"/>
                      <a:pt x="5644" y="715"/>
                    </a:cubicBezTo>
                    <a:cubicBezTo>
                      <a:pt x="5653" y="717"/>
                      <a:pt x="5697" y="724"/>
                      <a:pt x="5697" y="724"/>
                    </a:cubicBezTo>
                    <a:cubicBezTo>
                      <a:pt x="5697" y="724"/>
                      <a:pt x="5749" y="709"/>
                      <a:pt x="5749" y="702"/>
                    </a:cubicBezTo>
                    <a:cubicBezTo>
                      <a:pt x="5749" y="695"/>
                      <a:pt x="5719" y="679"/>
                      <a:pt x="5716" y="677"/>
                    </a:cubicBezTo>
                    <a:cubicBezTo>
                      <a:pt x="5713" y="675"/>
                      <a:pt x="5664" y="658"/>
                      <a:pt x="5679" y="649"/>
                    </a:cubicBezTo>
                    <a:cubicBezTo>
                      <a:pt x="5694" y="640"/>
                      <a:pt x="5719" y="660"/>
                      <a:pt x="5719" y="660"/>
                    </a:cubicBezTo>
                    <a:cubicBezTo>
                      <a:pt x="5719" y="660"/>
                      <a:pt x="5766" y="689"/>
                      <a:pt x="5780" y="687"/>
                    </a:cubicBezTo>
                    <a:cubicBezTo>
                      <a:pt x="5794" y="685"/>
                      <a:pt x="5799" y="671"/>
                      <a:pt x="5838" y="684"/>
                    </a:cubicBezTo>
                    <a:cubicBezTo>
                      <a:pt x="5877" y="697"/>
                      <a:pt x="5911" y="711"/>
                      <a:pt x="5922" y="713"/>
                    </a:cubicBezTo>
                    <a:cubicBezTo>
                      <a:pt x="5933" y="715"/>
                      <a:pt x="5976" y="727"/>
                      <a:pt x="5976" y="727"/>
                    </a:cubicBezTo>
                    <a:cubicBezTo>
                      <a:pt x="5976" y="727"/>
                      <a:pt x="6035" y="762"/>
                      <a:pt x="6031" y="744"/>
                    </a:cubicBezTo>
                    <a:cubicBezTo>
                      <a:pt x="6027" y="726"/>
                      <a:pt x="6007" y="715"/>
                      <a:pt x="6007" y="715"/>
                    </a:cubicBezTo>
                    <a:cubicBezTo>
                      <a:pt x="6019" y="706"/>
                      <a:pt x="6019" y="706"/>
                      <a:pt x="6019" y="706"/>
                    </a:cubicBezTo>
                    <a:cubicBezTo>
                      <a:pt x="5989" y="693"/>
                      <a:pt x="5989" y="693"/>
                      <a:pt x="5989" y="693"/>
                    </a:cubicBezTo>
                    <a:cubicBezTo>
                      <a:pt x="5995" y="689"/>
                      <a:pt x="5995" y="689"/>
                      <a:pt x="5995" y="689"/>
                    </a:cubicBezTo>
                    <a:cubicBezTo>
                      <a:pt x="5962" y="672"/>
                      <a:pt x="5962" y="672"/>
                      <a:pt x="5962" y="672"/>
                    </a:cubicBezTo>
                    <a:cubicBezTo>
                      <a:pt x="5998" y="679"/>
                      <a:pt x="5998" y="679"/>
                      <a:pt x="5998" y="679"/>
                    </a:cubicBezTo>
                    <a:cubicBezTo>
                      <a:pt x="5994" y="666"/>
                      <a:pt x="5994" y="666"/>
                      <a:pt x="5994" y="666"/>
                    </a:cubicBezTo>
                    <a:cubicBezTo>
                      <a:pt x="5994" y="666"/>
                      <a:pt x="6045" y="678"/>
                      <a:pt x="6034" y="664"/>
                    </a:cubicBezTo>
                    <a:close/>
                    <a:moveTo>
                      <a:pt x="3574" y="1289"/>
                    </a:moveTo>
                    <a:cubicBezTo>
                      <a:pt x="3574" y="1289"/>
                      <a:pt x="3571" y="1303"/>
                      <a:pt x="3570" y="1306"/>
                    </a:cubicBezTo>
                    <a:cubicBezTo>
                      <a:pt x="3569" y="1309"/>
                      <a:pt x="3556" y="1316"/>
                      <a:pt x="3556" y="1316"/>
                    </a:cubicBezTo>
                    <a:cubicBezTo>
                      <a:pt x="3556" y="1316"/>
                      <a:pt x="3544" y="1322"/>
                      <a:pt x="3540" y="1322"/>
                    </a:cubicBezTo>
                    <a:cubicBezTo>
                      <a:pt x="3535" y="1322"/>
                      <a:pt x="3536" y="1334"/>
                      <a:pt x="3536" y="1334"/>
                    </a:cubicBezTo>
                    <a:cubicBezTo>
                      <a:pt x="3536" y="1334"/>
                      <a:pt x="3534" y="1327"/>
                      <a:pt x="3514" y="1334"/>
                    </a:cubicBezTo>
                    <a:cubicBezTo>
                      <a:pt x="3493" y="1340"/>
                      <a:pt x="3522" y="1350"/>
                      <a:pt x="3522" y="1350"/>
                    </a:cubicBezTo>
                    <a:cubicBezTo>
                      <a:pt x="3522" y="1350"/>
                      <a:pt x="3512" y="1358"/>
                      <a:pt x="3510" y="1367"/>
                    </a:cubicBezTo>
                    <a:cubicBezTo>
                      <a:pt x="3509" y="1377"/>
                      <a:pt x="3494" y="1368"/>
                      <a:pt x="3494" y="1368"/>
                    </a:cubicBezTo>
                    <a:cubicBezTo>
                      <a:pt x="3494" y="1368"/>
                      <a:pt x="3491" y="1382"/>
                      <a:pt x="3471" y="1382"/>
                    </a:cubicBezTo>
                    <a:cubicBezTo>
                      <a:pt x="3450" y="1382"/>
                      <a:pt x="3451" y="1377"/>
                      <a:pt x="3451" y="1377"/>
                    </a:cubicBezTo>
                    <a:cubicBezTo>
                      <a:pt x="3428" y="1371"/>
                      <a:pt x="3428" y="1371"/>
                      <a:pt x="3428" y="1371"/>
                    </a:cubicBezTo>
                    <a:cubicBezTo>
                      <a:pt x="3439" y="1365"/>
                      <a:pt x="3439" y="1365"/>
                      <a:pt x="3439" y="1365"/>
                    </a:cubicBezTo>
                    <a:cubicBezTo>
                      <a:pt x="3461" y="1365"/>
                      <a:pt x="3461" y="1365"/>
                      <a:pt x="3461" y="1365"/>
                    </a:cubicBezTo>
                    <a:cubicBezTo>
                      <a:pt x="3462" y="1360"/>
                      <a:pt x="3462" y="1360"/>
                      <a:pt x="3462" y="1360"/>
                    </a:cubicBezTo>
                    <a:cubicBezTo>
                      <a:pt x="3462" y="1360"/>
                      <a:pt x="3478" y="1360"/>
                      <a:pt x="3485" y="1353"/>
                    </a:cubicBezTo>
                    <a:cubicBezTo>
                      <a:pt x="3491" y="1347"/>
                      <a:pt x="3492" y="1328"/>
                      <a:pt x="3492" y="1328"/>
                    </a:cubicBezTo>
                    <a:cubicBezTo>
                      <a:pt x="3492" y="1328"/>
                      <a:pt x="3496" y="1327"/>
                      <a:pt x="3505" y="1325"/>
                    </a:cubicBezTo>
                    <a:cubicBezTo>
                      <a:pt x="3514" y="1323"/>
                      <a:pt x="3514" y="1307"/>
                      <a:pt x="3514" y="1307"/>
                    </a:cubicBezTo>
                    <a:cubicBezTo>
                      <a:pt x="3514" y="1307"/>
                      <a:pt x="3507" y="1303"/>
                      <a:pt x="3508" y="1297"/>
                    </a:cubicBezTo>
                    <a:cubicBezTo>
                      <a:pt x="3509" y="1292"/>
                      <a:pt x="3528" y="1275"/>
                      <a:pt x="3528" y="1275"/>
                    </a:cubicBezTo>
                    <a:cubicBezTo>
                      <a:pt x="3528" y="1264"/>
                      <a:pt x="3528" y="1264"/>
                      <a:pt x="3528" y="1264"/>
                    </a:cubicBezTo>
                    <a:cubicBezTo>
                      <a:pt x="3542" y="1251"/>
                      <a:pt x="3542" y="1251"/>
                      <a:pt x="3542" y="1251"/>
                    </a:cubicBezTo>
                    <a:cubicBezTo>
                      <a:pt x="3534" y="1240"/>
                      <a:pt x="3534" y="1240"/>
                      <a:pt x="3534" y="1240"/>
                    </a:cubicBezTo>
                    <a:cubicBezTo>
                      <a:pt x="3533" y="1187"/>
                      <a:pt x="3533" y="1187"/>
                      <a:pt x="3533" y="1187"/>
                    </a:cubicBezTo>
                    <a:cubicBezTo>
                      <a:pt x="3533" y="1187"/>
                      <a:pt x="3518" y="1165"/>
                      <a:pt x="3536" y="1160"/>
                    </a:cubicBezTo>
                    <a:cubicBezTo>
                      <a:pt x="3555" y="1156"/>
                      <a:pt x="3551" y="1181"/>
                      <a:pt x="3551" y="1181"/>
                    </a:cubicBezTo>
                    <a:cubicBezTo>
                      <a:pt x="3551" y="1181"/>
                      <a:pt x="3560" y="1188"/>
                      <a:pt x="3564" y="1203"/>
                    </a:cubicBezTo>
                    <a:cubicBezTo>
                      <a:pt x="3569" y="1219"/>
                      <a:pt x="3571" y="1229"/>
                      <a:pt x="3571" y="1229"/>
                    </a:cubicBezTo>
                    <a:cubicBezTo>
                      <a:pt x="3585" y="1248"/>
                      <a:pt x="3585" y="1248"/>
                      <a:pt x="3585" y="1248"/>
                    </a:cubicBezTo>
                    <a:cubicBezTo>
                      <a:pt x="3579" y="1259"/>
                      <a:pt x="3579" y="1259"/>
                      <a:pt x="3579" y="1259"/>
                    </a:cubicBezTo>
                    <a:cubicBezTo>
                      <a:pt x="3579" y="1259"/>
                      <a:pt x="3566" y="1265"/>
                      <a:pt x="3568" y="1272"/>
                    </a:cubicBezTo>
                    <a:cubicBezTo>
                      <a:pt x="3569" y="1280"/>
                      <a:pt x="3585" y="1271"/>
                      <a:pt x="3585" y="1271"/>
                    </a:cubicBezTo>
                    <a:cubicBezTo>
                      <a:pt x="3587" y="1282"/>
                      <a:pt x="3587" y="1282"/>
                      <a:pt x="3587" y="1282"/>
                    </a:cubicBezTo>
                    <a:lnTo>
                      <a:pt x="3574" y="1289"/>
                    </a:lnTo>
                    <a:close/>
                    <a:moveTo>
                      <a:pt x="4656" y="1185"/>
                    </a:moveTo>
                    <a:cubicBezTo>
                      <a:pt x="4650" y="1193"/>
                      <a:pt x="4662" y="1221"/>
                      <a:pt x="4684" y="1223"/>
                    </a:cubicBezTo>
                    <a:cubicBezTo>
                      <a:pt x="4702" y="1225"/>
                      <a:pt x="4662" y="1177"/>
                      <a:pt x="4656" y="1185"/>
                    </a:cubicBezTo>
                    <a:close/>
                    <a:moveTo>
                      <a:pt x="1020" y="0"/>
                    </a:moveTo>
                    <a:cubicBezTo>
                      <a:pt x="986" y="0"/>
                      <a:pt x="986" y="0"/>
                      <a:pt x="986" y="0"/>
                    </a:cubicBezTo>
                    <a:cubicBezTo>
                      <a:pt x="986" y="10"/>
                      <a:pt x="986" y="10"/>
                      <a:pt x="986" y="10"/>
                    </a:cubicBezTo>
                    <a:cubicBezTo>
                      <a:pt x="1007" y="11"/>
                      <a:pt x="1007" y="11"/>
                      <a:pt x="1007" y="11"/>
                    </a:cubicBezTo>
                    <a:cubicBezTo>
                      <a:pt x="1021" y="10"/>
                      <a:pt x="1020" y="0"/>
                      <a:pt x="1020" y="0"/>
                    </a:cubicBezTo>
                    <a:close/>
                    <a:moveTo>
                      <a:pt x="1012" y="37"/>
                    </a:moveTo>
                    <a:cubicBezTo>
                      <a:pt x="1026" y="35"/>
                      <a:pt x="1035" y="23"/>
                      <a:pt x="1017" y="23"/>
                    </a:cubicBezTo>
                    <a:cubicBezTo>
                      <a:pt x="999" y="23"/>
                      <a:pt x="1002" y="38"/>
                      <a:pt x="1012" y="37"/>
                    </a:cubicBezTo>
                    <a:close/>
                    <a:moveTo>
                      <a:pt x="943" y="537"/>
                    </a:moveTo>
                    <a:cubicBezTo>
                      <a:pt x="965" y="542"/>
                      <a:pt x="973" y="535"/>
                      <a:pt x="980" y="531"/>
                    </a:cubicBezTo>
                    <a:cubicBezTo>
                      <a:pt x="987" y="527"/>
                      <a:pt x="993" y="519"/>
                      <a:pt x="993" y="519"/>
                    </a:cubicBezTo>
                    <a:cubicBezTo>
                      <a:pt x="1002" y="518"/>
                      <a:pt x="1002" y="518"/>
                      <a:pt x="1002" y="518"/>
                    </a:cubicBezTo>
                    <a:cubicBezTo>
                      <a:pt x="1002" y="518"/>
                      <a:pt x="994" y="507"/>
                      <a:pt x="968" y="501"/>
                    </a:cubicBezTo>
                    <a:cubicBezTo>
                      <a:pt x="942" y="495"/>
                      <a:pt x="927" y="518"/>
                      <a:pt x="927" y="518"/>
                    </a:cubicBezTo>
                    <a:cubicBezTo>
                      <a:pt x="927" y="521"/>
                      <a:pt x="921" y="533"/>
                      <a:pt x="943" y="537"/>
                    </a:cubicBezTo>
                    <a:close/>
                    <a:moveTo>
                      <a:pt x="996" y="48"/>
                    </a:moveTo>
                    <a:cubicBezTo>
                      <a:pt x="1007" y="61"/>
                      <a:pt x="1000" y="62"/>
                      <a:pt x="1023" y="55"/>
                    </a:cubicBezTo>
                    <a:cubicBezTo>
                      <a:pt x="1045" y="48"/>
                      <a:pt x="1020" y="45"/>
                      <a:pt x="1016" y="45"/>
                    </a:cubicBezTo>
                    <a:cubicBezTo>
                      <a:pt x="1012" y="45"/>
                      <a:pt x="996" y="48"/>
                      <a:pt x="996" y="48"/>
                    </a:cubicBezTo>
                    <a:close/>
                    <a:moveTo>
                      <a:pt x="966" y="65"/>
                    </a:moveTo>
                    <a:cubicBezTo>
                      <a:pt x="976" y="65"/>
                      <a:pt x="1009" y="63"/>
                      <a:pt x="1003" y="62"/>
                    </a:cubicBezTo>
                    <a:cubicBezTo>
                      <a:pt x="997" y="61"/>
                      <a:pt x="985" y="52"/>
                      <a:pt x="985" y="52"/>
                    </a:cubicBezTo>
                    <a:cubicBezTo>
                      <a:pt x="954" y="52"/>
                      <a:pt x="954" y="52"/>
                      <a:pt x="954" y="52"/>
                    </a:cubicBezTo>
                    <a:cubicBezTo>
                      <a:pt x="954" y="52"/>
                      <a:pt x="957" y="65"/>
                      <a:pt x="966" y="65"/>
                    </a:cubicBezTo>
                    <a:close/>
                    <a:moveTo>
                      <a:pt x="893" y="23"/>
                    </a:moveTo>
                    <a:cubicBezTo>
                      <a:pt x="876" y="24"/>
                      <a:pt x="885" y="35"/>
                      <a:pt x="885" y="35"/>
                    </a:cubicBezTo>
                    <a:cubicBezTo>
                      <a:pt x="910" y="30"/>
                      <a:pt x="910" y="21"/>
                      <a:pt x="893" y="23"/>
                    </a:cubicBezTo>
                    <a:close/>
                    <a:moveTo>
                      <a:pt x="940" y="48"/>
                    </a:moveTo>
                    <a:cubicBezTo>
                      <a:pt x="924" y="45"/>
                      <a:pt x="924" y="45"/>
                      <a:pt x="924" y="45"/>
                    </a:cubicBezTo>
                    <a:cubicBezTo>
                      <a:pt x="930" y="61"/>
                      <a:pt x="930" y="61"/>
                      <a:pt x="930" y="61"/>
                    </a:cubicBezTo>
                    <a:lnTo>
                      <a:pt x="940" y="48"/>
                    </a:lnTo>
                    <a:close/>
                    <a:moveTo>
                      <a:pt x="972" y="10"/>
                    </a:moveTo>
                    <a:cubicBezTo>
                      <a:pt x="972" y="27"/>
                      <a:pt x="972" y="27"/>
                      <a:pt x="972" y="27"/>
                    </a:cubicBezTo>
                    <a:cubicBezTo>
                      <a:pt x="995" y="20"/>
                      <a:pt x="995" y="20"/>
                      <a:pt x="995" y="20"/>
                    </a:cubicBezTo>
                    <a:lnTo>
                      <a:pt x="972" y="10"/>
                    </a:lnTo>
                    <a:close/>
                    <a:moveTo>
                      <a:pt x="936" y="31"/>
                    </a:moveTo>
                    <a:cubicBezTo>
                      <a:pt x="936" y="31"/>
                      <a:pt x="931" y="25"/>
                      <a:pt x="924" y="25"/>
                    </a:cubicBezTo>
                    <a:cubicBezTo>
                      <a:pt x="917" y="25"/>
                      <a:pt x="919" y="38"/>
                      <a:pt x="919" y="38"/>
                    </a:cubicBezTo>
                    <a:lnTo>
                      <a:pt x="936" y="31"/>
                    </a:lnTo>
                    <a:close/>
                    <a:moveTo>
                      <a:pt x="957" y="31"/>
                    </a:moveTo>
                    <a:cubicBezTo>
                      <a:pt x="938" y="39"/>
                      <a:pt x="938" y="39"/>
                      <a:pt x="938" y="39"/>
                    </a:cubicBezTo>
                    <a:cubicBezTo>
                      <a:pt x="957" y="39"/>
                      <a:pt x="957" y="39"/>
                      <a:pt x="957" y="39"/>
                    </a:cubicBezTo>
                    <a:lnTo>
                      <a:pt x="957" y="31"/>
                    </a:lnTo>
                    <a:close/>
                    <a:moveTo>
                      <a:pt x="979" y="42"/>
                    </a:moveTo>
                    <a:cubicBezTo>
                      <a:pt x="995" y="47"/>
                      <a:pt x="1009" y="30"/>
                      <a:pt x="990" y="28"/>
                    </a:cubicBezTo>
                    <a:cubicBezTo>
                      <a:pt x="972" y="27"/>
                      <a:pt x="964" y="38"/>
                      <a:pt x="979" y="42"/>
                    </a:cubicBezTo>
                    <a:close/>
                    <a:moveTo>
                      <a:pt x="966" y="23"/>
                    </a:moveTo>
                    <a:cubicBezTo>
                      <a:pt x="965" y="7"/>
                      <a:pt x="965" y="7"/>
                      <a:pt x="965" y="7"/>
                    </a:cubicBezTo>
                    <a:cubicBezTo>
                      <a:pt x="938" y="14"/>
                      <a:pt x="938" y="14"/>
                      <a:pt x="938" y="14"/>
                    </a:cubicBezTo>
                    <a:cubicBezTo>
                      <a:pt x="944" y="24"/>
                      <a:pt x="944" y="24"/>
                      <a:pt x="944" y="24"/>
                    </a:cubicBezTo>
                    <a:lnTo>
                      <a:pt x="966" y="2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" name="Freeform 318">
                <a:extLst>
                  <a:ext uri="{FF2B5EF4-FFF2-40B4-BE49-F238E27FC236}">
                    <a16:creationId xmlns:a16="http://schemas.microsoft.com/office/drawing/2014/main" id="{161FD957-0DD1-D645-6214-3029575CD5F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5221" y="-18515"/>
                <a:ext cx="1084" cy="1569"/>
              </a:xfrm>
              <a:custGeom>
                <a:avLst/>
                <a:gdLst>
                  <a:gd name="T0" fmla="*/ 445 w 459"/>
                  <a:gd name="T1" fmla="*/ 95 h 664"/>
                  <a:gd name="T2" fmla="*/ 424 w 459"/>
                  <a:gd name="T3" fmla="*/ 67 h 664"/>
                  <a:gd name="T4" fmla="*/ 391 w 459"/>
                  <a:gd name="T5" fmla="*/ 26 h 664"/>
                  <a:gd name="T6" fmla="*/ 338 w 459"/>
                  <a:gd name="T7" fmla="*/ 9 h 664"/>
                  <a:gd name="T8" fmla="*/ 305 w 459"/>
                  <a:gd name="T9" fmla="*/ 14 h 664"/>
                  <a:gd name="T10" fmla="*/ 284 w 459"/>
                  <a:gd name="T11" fmla="*/ 25 h 664"/>
                  <a:gd name="T12" fmla="*/ 243 w 459"/>
                  <a:gd name="T13" fmla="*/ 25 h 664"/>
                  <a:gd name="T14" fmla="*/ 216 w 459"/>
                  <a:gd name="T15" fmla="*/ 45 h 664"/>
                  <a:gd name="T16" fmla="*/ 165 w 459"/>
                  <a:gd name="T17" fmla="*/ 71 h 664"/>
                  <a:gd name="T18" fmla="*/ 161 w 459"/>
                  <a:gd name="T19" fmla="*/ 99 h 664"/>
                  <a:gd name="T20" fmla="*/ 146 w 459"/>
                  <a:gd name="T21" fmla="*/ 128 h 664"/>
                  <a:gd name="T22" fmla="*/ 118 w 459"/>
                  <a:gd name="T23" fmla="*/ 144 h 664"/>
                  <a:gd name="T24" fmla="*/ 96 w 459"/>
                  <a:gd name="T25" fmla="*/ 194 h 664"/>
                  <a:gd name="T26" fmla="*/ 68 w 459"/>
                  <a:gd name="T27" fmla="*/ 227 h 664"/>
                  <a:gd name="T28" fmla="*/ 28 w 459"/>
                  <a:gd name="T29" fmla="*/ 260 h 664"/>
                  <a:gd name="T30" fmla="*/ 21 w 459"/>
                  <a:gd name="T31" fmla="*/ 290 h 664"/>
                  <a:gd name="T32" fmla="*/ 33 w 459"/>
                  <a:gd name="T33" fmla="*/ 334 h 664"/>
                  <a:gd name="T34" fmla="*/ 50 w 459"/>
                  <a:gd name="T35" fmla="*/ 374 h 664"/>
                  <a:gd name="T36" fmla="*/ 51 w 459"/>
                  <a:gd name="T37" fmla="*/ 409 h 664"/>
                  <a:gd name="T38" fmla="*/ 36 w 459"/>
                  <a:gd name="T39" fmla="*/ 431 h 664"/>
                  <a:gd name="T40" fmla="*/ 15 w 459"/>
                  <a:gd name="T41" fmla="*/ 452 h 664"/>
                  <a:gd name="T42" fmla="*/ 0 w 459"/>
                  <a:gd name="T43" fmla="*/ 469 h 664"/>
                  <a:gd name="T44" fmla="*/ 19 w 459"/>
                  <a:gd name="T45" fmla="*/ 515 h 664"/>
                  <a:gd name="T46" fmla="*/ 49 w 459"/>
                  <a:gd name="T47" fmla="*/ 586 h 664"/>
                  <a:gd name="T48" fmla="*/ 53 w 459"/>
                  <a:gd name="T49" fmla="*/ 607 h 664"/>
                  <a:gd name="T50" fmla="*/ 69 w 459"/>
                  <a:gd name="T51" fmla="*/ 656 h 664"/>
                  <a:gd name="T52" fmla="*/ 120 w 459"/>
                  <a:gd name="T53" fmla="*/ 631 h 664"/>
                  <a:gd name="T54" fmla="*/ 176 w 459"/>
                  <a:gd name="T55" fmla="*/ 618 h 664"/>
                  <a:gd name="T56" fmla="*/ 206 w 459"/>
                  <a:gd name="T57" fmla="*/ 549 h 664"/>
                  <a:gd name="T58" fmla="*/ 196 w 459"/>
                  <a:gd name="T59" fmla="*/ 507 h 664"/>
                  <a:gd name="T60" fmla="*/ 237 w 459"/>
                  <a:gd name="T61" fmla="*/ 489 h 664"/>
                  <a:gd name="T62" fmla="*/ 270 w 459"/>
                  <a:gd name="T63" fmla="*/ 456 h 664"/>
                  <a:gd name="T64" fmla="*/ 271 w 459"/>
                  <a:gd name="T65" fmla="*/ 409 h 664"/>
                  <a:gd name="T66" fmla="*/ 217 w 459"/>
                  <a:gd name="T67" fmla="*/ 350 h 664"/>
                  <a:gd name="T68" fmla="*/ 237 w 459"/>
                  <a:gd name="T69" fmla="*/ 303 h 664"/>
                  <a:gd name="T70" fmla="*/ 271 w 459"/>
                  <a:gd name="T71" fmla="*/ 270 h 664"/>
                  <a:gd name="T72" fmla="*/ 340 w 459"/>
                  <a:gd name="T73" fmla="*/ 249 h 664"/>
                  <a:gd name="T74" fmla="*/ 372 w 459"/>
                  <a:gd name="T75" fmla="*/ 175 h 664"/>
                  <a:gd name="T76" fmla="*/ 396 w 459"/>
                  <a:gd name="T77" fmla="*/ 144 h 664"/>
                  <a:gd name="T78" fmla="*/ 459 w 459"/>
                  <a:gd name="T79" fmla="*/ 157 h 664"/>
                  <a:gd name="T80" fmla="*/ 271 w 459"/>
                  <a:gd name="T81" fmla="*/ 583 h 664"/>
                  <a:gd name="T82" fmla="*/ 290 w 459"/>
                  <a:gd name="T83" fmla="*/ 543 h 664"/>
                  <a:gd name="T84" fmla="*/ 200 w 459"/>
                  <a:gd name="T85" fmla="*/ 597 h 664"/>
                  <a:gd name="T86" fmla="*/ 230 w 459"/>
                  <a:gd name="T87" fmla="*/ 57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59" h="664">
                    <a:moveTo>
                      <a:pt x="451" y="136"/>
                    </a:moveTo>
                    <a:cubicBezTo>
                      <a:pt x="451" y="136"/>
                      <a:pt x="436" y="126"/>
                      <a:pt x="434" y="118"/>
                    </a:cubicBezTo>
                    <a:cubicBezTo>
                      <a:pt x="432" y="110"/>
                      <a:pt x="445" y="95"/>
                      <a:pt x="445" y="95"/>
                    </a:cubicBezTo>
                    <a:cubicBezTo>
                      <a:pt x="428" y="85"/>
                      <a:pt x="428" y="85"/>
                      <a:pt x="428" y="85"/>
                    </a:cubicBezTo>
                    <a:cubicBezTo>
                      <a:pt x="432" y="72"/>
                      <a:pt x="432" y="72"/>
                      <a:pt x="432" y="72"/>
                    </a:cubicBezTo>
                    <a:cubicBezTo>
                      <a:pt x="424" y="67"/>
                      <a:pt x="424" y="67"/>
                      <a:pt x="424" y="67"/>
                    </a:cubicBezTo>
                    <a:cubicBezTo>
                      <a:pt x="424" y="67"/>
                      <a:pt x="429" y="53"/>
                      <a:pt x="430" y="48"/>
                    </a:cubicBezTo>
                    <a:cubicBezTo>
                      <a:pt x="431" y="43"/>
                      <a:pt x="413" y="38"/>
                      <a:pt x="413" y="38"/>
                    </a:cubicBezTo>
                    <a:cubicBezTo>
                      <a:pt x="391" y="26"/>
                      <a:pt x="391" y="26"/>
                      <a:pt x="391" y="26"/>
                    </a:cubicBezTo>
                    <a:cubicBezTo>
                      <a:pt x="369" y="25"/>
                      <a:pt x="369" y="25"/>
                      <a:pt x="369" y="25"/>
                    </a:cubicBezTo>
                    <a:cubicBezTo>
                      <a:pt x="361" y="17"/>
                      <a:pt x="361" y="17"/>
                      <a:pt x="361" y="17"/>
                    </a:cubicBezTo>
                    <a:cubicBezTo>
                      <a:pt x="361" y="17"/>
                      <a:pt x="348" y="13"/>
                      <a:pt x="338" y="9"/>
                    </a:cubicBezTo>
                    <a:cubicBezTo>
                      <a:pt x="332" y="7"/>
                      <a:pt x="327" y="3"/>
                      <a:pt x="324" y="1"/>
                    </a:cubicBezTo>
                    <a:cubicBezTo>
                      <a:pt x="304" y="0"/>
                      <a:pt x="304" y="0"/>
                      <a:pt x="304" y="0"/>
                    </a:cubicBezTo>
                    <a:cubicBezTo>
                      <a:pt x="305" y="14"/>
                      <a:pt x="305" y="14"/>
                      <a:pt x="305" y="14"/>
                    </a:cubicBezTo>
                    <a:cubicBezTo>
                      <a:pt x="305" y="14"/>
                      <a:pt x="298" y="11"/>
                      <a:pt x="298" y="16"/>
                    </a:cubicBezTo>
                    <a:cubicBezTo>
                      <a:pt x="298" y="21"/>
                      <a:pt x="311" y="27"/>
                      <a:pt x="303" y="29"/>
                    </a:cubicBezTo>
                    <a:cubicBezTo>
                      <a:pt x="295" y="31"/>
                      <a:pt x="284" y="25"/>
                      <a:pt x="284" y="25"/>
                    </a:cubicBezTo>
                    <a:cubicBezTo>
                      <a:pt x="275" y="25"/>
                      <a:pt x="275" y="25"/>
                      <a:pt x="275" y="25"/>
                    </a:cubicBezTo>
                    <a:cubicBezTo>
                      <a:pt x="262" y="21"/>
                      <a:pt x="262" y="21"/>
                      <a:pt x="262" y="21"/>
                    </a:cubicBezTo>
                    <a:cubicBezTo>
                      <a:pt x="243" y="25"/>
                      <a:pt x="243" y="25"/>
                      <a:pt x="243" y="25"/>
                    </a:cubicBezTo>
                    <a:cubicBezTo>
                      <a:pt x="243" y="25"/>
                      <a:pt x="243" y="12"/>
                      <a:pt x="235" y="18"/>
                    </a:cubicBezTo>
                    <a:cubicBezTo>
                      <a:pt x="227" y="24"/>
                      <a:pt x="237" y="35"/>
                      <a:pt x="234" y="40"/>
                    </a:cubicBezTo>
                    <a:cubicBezTo>
                      <a:pt x="231" y="45"/>
                      <a:pt x="216" y="45"/>
                      <a:pt x="216" y="45"/>
                    </a:cubicBezTo>
                    <a:cubicBezTo>
                      <a:pt x="190" y="49"/>
                      <a:pt x="190" y="49"/>
                      <a:pt x="190" y="49"/>
                    </a:cubicBezTo>
                    <a:cubicBezTo>
                      <a:pt x="181" y="59"/>
                      <a:pt x="181" y="59"/>
                      <a:pt x="181" y="59"/>
                    </a:cubicBezTo>
                    <a:cubicBezTo>
                      <a:pt x="181" y="59"/>
                      <a:pt x="164" y="67"/>
                      <a:pt x="165" y="71"/>
                    </a:cubicBezTo>
                    <a:cubicBezTo>
                      <a:pt x="166" y="75"/>
                      <a:pt x="177" y="83"/>
                      <a:pt x="177" y="83"/>
                    </a:cubicBezTo>
                    <a:cubicBezTo>
                      <a:pt x="172" y="93"/>
                      <a:pt x="172" y="93"/>
                      <a:pt x="172" y="93"/>
                    </a:cubicBezTo>
                    <a:cubicBezTo>
                      <a:pt x="172" y="93"/>
                      <a:pt x="167" y="94"/>
                      <a:pt x="161" y="99"/>
                    </a:cubicBezTo>
                    <a:cubicBezTo>
                      <a:pt x="155" y="104"/>
                      <a:pt x="153" y="111"/>
                      <a:pt x="153" y="111"/>
                    </a:cubicBezTo>
                    <a:cubicBezTo>
                      <a:pt x="139" y="112"/>
                      <a:pt x="139" y="112"/>
                      <a:pt x="139" y="112"/>
                    </a:cubicBezTo>
                    <a:cubicBezTo>
                      <a:pt x="139" y="112"/>
                      <a:pt x="153" y="126"/>
                      <a:pt x="146" y="128"/>
                    </a:cubicBezTo>
                    <a:cubicBezTo>
                      <a:pt x="139" y="130"/>
                      <a:pt x="130" y="135"/>
                      <a:pt x="130" y="135"/>
                    </a:cubicBezTo>
                    <a:cubicBezTo>
                      <a:pt x="116" y="128"/>
                      <a:pt x="116" y="128"/>
                      <a:pt x="116" y="128"/>
                    </a:cubicBezTo>
                    <a:cubicBezTo>
                      <a:pt x="118" y="144"/>
                      <a:pt x="118" y="144"/>
                      <a:pt x="118" y="144"/>
                    </a:cubicBezTo>
                    <a:cubicBezTo>
                      <a:pt x="115" y="149"/>
                      <a:pt x="115" y="149"/>
                      <a:pt x="115" y="149"/>
                    </a:cubicBezTo>
                    <a:cubicBezTo>
                      <a:pt x="111" y="178"/>
                      <a:pt x="111" y="178"/>
                      <a:pt x="111" y="178"/>
                    </a:cubicBezTo>
                    <a:cubicBezTo>
                      <a:pt x="111" y="178"/>
                      <a:pt x="101" y="190"/>
                      <a:pt x="96" y="194"/>
                    </a:cubicBezTo>
                    <a:cubicBezTo>
                      <a:pt x="91" y="198"/>
                      <a:pt x="82" y="204"/>
                      <a:pt x="82" y="204"/>
                    </a:cubicBezTo>
                    <a:cubicBezTo>
                      <a:pt x="82" y="204"/>
                      <a:pt x="103" y="214"/>
                      <a:pt x="99" y="223"/>
                    </a:cubicBezTo>
                    <a:cubicBezTo>
                      <a:pt x="95" y="232"/>
                      <a:pt x="68" y="227"/>
                      <a:pt x="68" y="227"/>
                    </a:cubicBezTo>
                    <a:cubicBezTo>
                      <a:pt x="68" y="227"/>
                      <a:pt x="53" y="239"/>
                      <a:pt x="46" y="244"/>
                    </a:cubicBezTo>
                    <a:cubicBezTo>
                      <a:pt x="39" y="249"/>
                      <a:pt x="33" y="254"/>
                      <a:pt x="33" y="254"/>
                    </a:cubicBezTo>
                    <a:cubicBezTo>
                      <a:pt x="28" y="260"/>
                      <a:pt x="28" y="260"/>
                      <a:pt x="28" y="260"/>
                    </a:cubicBezTo>
                    <a:cubicBezTo>
                      <a:pt x="28" y="260"/>
                      <a:pt x="22" y="265"/>
                      <a:pt x="22" y="268"/>
                    </a:cubicBezTo>
                    <a:cubicBezTo>
                      <a:pt x="22" y="271"/>
                      <a:pt x="40" y="271"/>
                      <a:pt x="34" y="277"/>
                    </a:cubicBezTo>
                    <a:cubicBezTo>
                      <a:pt x="28" y="283"/>
                      <a:pt x="19" y="285"/>
                      <a:pt x="21" y="290"/>
                    </a:cubicBezTo>
                    <a:cubicBezTo>
                      <a:pt x="23" y="295"/>
                      <a:pt x="29" y="303"/>
                      <a:pt x="29" y="303"/>
                    </a:cubicBezTo>
                    <a:cubicBezTo>
                      <a:pt x="29" y="303"/>
                      <a:pt x="40" y="310"/>
                      <a:pt x="39" y="315"/>
                    </a:cubicBezTo>
                    <a:cubicBezTo>
                      <a:pt x="38" y="320"/>
                      <a:pt x="32" y="327"/>
                      <a:pt x="33" y="334"/>
                    </a:cubicBezTo>
                    <a:cubicBezTo>
                      <a:pt x="34" y="341"/>
                      <a:pt x="42" y="348"/>
                      <a:pt x="42" y="348"/>
                    </a:cubicBezTo>
                    <a:cubicBezTo>
                      <a:pt x="42" y="348"/>
                      <a:pt x="61" y="354"/>
                      <a:pt x="59" y="361"/>
                    </a:cubicBezTo>
                    <a:cubicBezTo>
                      <a:pt x="57" y="368"/>
                      <a:pt x="50" y="374"/>
                      <a:pt x="50" y="374"/>
                    </a:cubicBezTo>
                    <a:cubicBezTo>
                      <a:pt x="35" y="377"/>
                      <a:pt x="35" y="377"/>
                      <a:pt x="35" y="377"/>
                    </a:cubicBezTo>
                    <a:cubicBezTo>
                      <a:pt x="35" y="377"/>
                      <a:pt x="41" y="394"/>
                      <a:pt x="44" y="397"/>
                    </a:cubicBezTo>
                    <a:cubicBezTo>
                      <a:pt x="47" y="400"/>
                      <a:pt x="51" y="409"/>
                      <a:pt x="51" y="409"/>
                    </a:cubicBezTo>
                    <a:cubicBezTo>
                      <a:pt x="44" y="409"/>
                      <a:pt x="44" y="409"/>
                      <a:pt x="44" y="409"/>
                    </a:cubicBezTo>
                    <a:cubicBezTo>
                      <a:pt x="44" y="426"/>
                      <a:pt x="44" y="426"/>
                      <a:pt x="44" y="426"/>
                    </a:cubicBezTo>
                    <a:cubicBezTo>
                      <a:pt x="44" y="426"/>
                      <a:pt x="41" y="431"/>
                      <a:pt x="36" y="431"/>
                    </a:cubicBezTo>
                    <a:cubicBezTo>
                      <a:pt x="31" y="431"/>
                      <a:pt x="17" y="425"/>
                      <a:pt x="19" y="431"/>
                    </a:cubicBezTo>
                    <a:cubicBezTo>
                      <a:pt x="21" y="437"/>
                      <a:pt x="21" y="441"/>
                      <a:pt x="21" y="441"/>
                    </a:cubicBezTo>
                    <a:cubicBezTo>
                      <a:pt x="21" y="441"/>
                      <a:pt x="12" y="444"/>
                      <a:pt x="15" y="452"/>
                    </a:cubicBezTo>
                    <a:cubicBezTo>
                      <a:pt x="18" y="460"/>
                      <a:pt x="24" y="461"/>
                      <a:pt x="22" y="466"/>
                    </a:cubicBezTo>
                    <a:cubicBezTo>
                      <a:pt x="20" y="471"/>
                      <a:pt x="14" y="482"/>
                      <a:pt x="14" y="482"/>
                    </a:cubicBezTo>
                    <a:cubicBezTo>
                      <a:pt x="0" y="469"/>
                      <a:pt x="0" y="469"/>
                      <a:pt x="0" y="469"/>
                    </a:cubicBezTo>
                    <a:cubicBezTo>
                      <a:pt x="2" y="510"/>
                      <a:pt x="2" y="510"/>
                      <a:pt x="2" y="510"/>
                    </a:cubicBezTo>
                    <a:cubicBezTo>
                      <a:pt x="2" y="510"/>
                      <a:pt x="16" y="499"/>
                      <a:pt x="23" y="511"/>
                    </a:cubicBezTo>
                    <a:cubicBezTo>
                      <a:pt x="30" y="523"/>
                      <a:pt x="19" y="515"/>
                      <a:pt x="19" y="515"/>
                    </a:cubicBezTo>
                    <a:cubicBezTo>
                      <a:pt x="19" y="515"/>
                      <a:pt x="14" y="549"/>
                      <a:pt x="18" y="553"/>
                    </a:cubicBezTo>
                    <a:cubicBezTo>
                      <a:pt x="22" y="557"/>
                      <a:pt x="34" y="562"/>
                      <a:pt x="34" y="562"/>
                    </a:cubicBezTo>
                    <a:cubicBezTo>
                      <a:pt x="34" y="562"/>
                      <a:pt x="43" y="579"/>
                      <a:pt x="49" y="586"/>
                    </a:cubicBezTo>
                    <a:cubicBezTo>
                      <a:pt x="55" y="593"/>
                      <a:pt x="66" y="597"/>
                      <a:pt x="66" y="597"/>
                    </a:cubicBezTo>
                    <a:cubicBezTo>
                      <a:pt x="65" y="605"/>
                      <a:pt x="65" y="605"/>
                      <a:pt x="65" y="605"/>
                    </a:cubicBezTo>
                    <a:cubicBezTo>
                      <a:pt x="53" y="607"/>
                      <a:pt x="53" y="607"/>
                      <a:pt x="53" y="607"/>
                    </a:cubicBezTo>
                    <a:cubicBezTo>
                      <a:pt x="53" y="607"/>
                      <a:pt x="51" y="615"/>
                      <a:pt x="52" y="621"/>
                    </a:cubicBezTo>
                    <a:cubicBezTo>
                      <a:pt x="53" y="627"/>
                      <a:pt x="68" y="640"/>
                      <a:pt x="68" y="640"/>
                    </a:cubicBezTo>
                    <a:cubicBezTo>
                      <a:pt x="68" y="640"/>
                      <a:pt x="64" y="653"/>
                      <a:pt x="69" y="656"/>
                    </a:cubicBezTo>
                    <a:cubicBezTo>
                      <a:pt x="74" y="659"/>
                      <a:pt x="94" y="657"/>
                      <a:pt x="94" y="657"/>
                    </a:cubicBezTo>
                    <a:cubicBezTo>
                      <a:pt x="94" y="657"/>
                      <a:pt x="122" y="664"/>
                      <a:pt x="121" y="655"/>
                    </a:cubicBezTo>
                    <a:cubicBezTo>
                      <a:pt x="120" y="646"/>
                      <a:pt x="120" y="631"/>
                      <a:pt x="120" y="631"/>
                    </a:cubicBezTo>
                    <a:cubicBezTo>
                      <a:pt x="132" y="625"/>
                      <a:pt x="132" y="625"/>
                      <a:pt x="132" y="625"/>
                    </a:cubicBezTo>
                    <a:cubicBezTo>
                      <a:pt x="133" y="615"/>
                      <a:pt x="133" y="615"/>
                      <a:pt x="133" y="615"/>
                    </a:cubicBezTo>
                    <a:cubicBezTo>
                      <a:pt x="176" y="618"/>
                      <a:pt x="176" y="618"/>
                      <a:pt x="176" y="618"/>
                    </a:cubicBezTo>
                    <a:cubicBezTo>
                      <a:pt x="185" y="623"/>
                      <a:pt x="185" y="623"/>
                      <a:pt x="185" y="623"/>
                    </a:cubicBezTo>
                    <a:cubicBezTo>
                      <a:pt x="199" y="581"/>
                      <a:pt x="199" y="581"/>
                      <a:pt x="199" y="581"/>
                    </a:cubicBezTo>
                    <a:cubicBezTo>
                      <a:pt x="199" y="581"/>
                      <a:pt x="208" y="555"/>
                      <a:pt x="206" y="549"/>
                    </a:cubicBezTo>
                    <a:cubicBezTo>
                      <a:pt x="204" y="543"/>
                      <a:pt x="198" y="532"/>
                      <a:pt x="198" y="532"/>
                    </a:cubicBezTo>
                    <a:cubicBezTo>
                      <a:pt x="198" y="532"/>
                      <a:pt x="219" y="529"/>
                      <a:pt x="217" y="518"/>
                    </a:cubicBezTo>
                    <a:cubicBezTo>
                      <a:pt x="215" y="507"/>
                      <a:pt x="196" y="507"/>
                      <a:pt x="196" y="507"/>
                    </a:cubicBezTo>
                    <a:cubicBezTo>
                      <a:pt x="209" y="502"/>
                      <a:pt x="209" y="502"/>
                      <a:pt x="209" y="502"/>
                    </a:cubicBezTo>
                    <a:cubicBezTo>
                      <a:pt x="200" y="498"/>
                      <a:pt x="200" y="498"/>
                      <a:pt x="200" y="498"/>
                    </a:cubicBezTo>
                    <a:cubicBezTo>
                      <a:pt x="200" y="498"/>
                      <a:pt x="234" y="500"/>
                      <a:pt x="237" y="489"/>
                    </a:cubicBezTo>
                    <a:cubicBezTo>
                      <a:pt x="240" y="478"/>
                      <a:pt x="245" y="472"/>
                      <a:pt x="245" y="472"/>
                    </a:cubicBezTo>
                    <a:cubicBezTo>
                      <a:pt x="245" y="472"/>
                      <a:pt x="256" y="490"/>
                      <a:pt x="266" y="478"/>
                    </a:cubicBezTo>
                    <a:cubicBezTo>
                      <a:pt x="276" y="466"/>
                      <a:pt x="270" y="456"/>
                      <a:pt x="270" y="456"/>
                    </a:cubicBezTo>
                    <a:cubicBezTo>
                      <a:pt x="270" y="456"/>
                      <a:pt x="297" y="451"/>
                      <a:pt x="290" y="437"/>
                    </a:cubicBezTo>
                    <a:cubicBezTo>
                      <a:pt x="283" y="423"/>
                      <a:pt x="271" y="420"/>
                      <a:pt x="271" y="420"/>
                    </a:cubicBezTo>
                    <a:cubicBezTo>
                      <a:pt x="271" y="409"/>
                      <a:pt x="271" y="409"/>
                      <a:pt x="271" y="409"/>
                    </a:cubicBezTo>
                    <a:cubicBezTo>
                      <a:pt x="247" y="399"/>
                      <a:pt x="247" y="399"/>
                      <a:pt x="247" y="399"/>
                    </a:cubicBezTo>
                    <a:cubicBezTo>
                      <a:pt x="247" y="399"/>
                      <a:pt x="236" y="406"/>
                      <a:pt x="228" y="399"/>
                    </a:cubicBezTo>
                    <a:cubicBezTo>
                      <a:pt x="220" y="392"/>
                      <a:pt x="217" y="350"/>
                      <a:pt x="217" y="350"/>
                    </a:cubicBezTo>
                    <a:cubicBezTo>
                      <a:pt x="217" y="350"/>
                      <a:pt x="228" y="340"/>
                      <a:pt x="229" y="329"/>
                    </a:cubicBezTo>
                    <a:cubicBezTo>
                      <a:pt x="230" y="318"/>
                      <a:pt x="219" y="308"/>
                      <a:pt x="219" y="308"/>
                    </a:cubicBezTo>
                    <a:cubicBezTo>
                      <a:pt x="219" y="308"/>
                      <a:pt x="233" y="311"/>
                      <a:pt x="237" y="303"/>
                    </a:cubicBezTo>
                    <a:cubicBezTo>
                      <a:pt x="241" y="295"/>
                      <a:pt x="232" y="283"/>
                      <a:pt x="232" y="283"/>
                    </a:cubicBezTo>
                    <a:cubicBezTo>
                      <a:pt x="232" y="283"/>
                      <a:pt x="249" y="292"/>
                      <a:pt x="254" y="287"/>
                    </a:cubicBezTo>
                    <a:cubicBezTo>
                      <a:pt x="259" y="282"/>
                      <a:pt x="271" y="270"/>
                      <a:pt x="271" y="270"/>
                    </a:cubicBezTo>
                    <a:cubicBezTo>
                      <a:pt x="291" y="273"/>
                      <a:pt x="291" y="273"/>
                      <a:pt x="291" y="273"/>
                    </a:cubicBezTo>
                    <a:cubicBezTo>
                      <a:pt x="299" y="258"/>
                      <a:pt x="299" y="258"/>
                      <a:pt x="299" y="258"/>
                    </a:cubicBezTo>
                    <a:cubicBezTo>
                      <a:pt x="299" y="258"/>
                      <a:pt x="330" y="259"/>
                      <a:pt x="340" y="249"/>
                    </a:cubicBezTo>
                    <a:cubicBezTo>
                      <a:pt x="350" y="239"/>
                      <a:pt x="364" y="213"/>
                      <a:pt x="364" y="213"/>
                    </a:cubicBezTo>
                    <a:cubicBezTo>
                      <a:pt x="352" y="198"/>
                      <a:pt x="352" y="198"/>
                      <a:pt x="352" y="198"/>
                    </a:cubicBezTo>
                    <a:cubicBezTo>
                      <a:pt x="372" y="175"/>
                      <a:pt x="372" y="175"/>
                      <a:pt x="372" y="175"/>
                    </a:cubicBezTo>
                    <a:cubicBezTo>
                      <a:pt x="361" y="162"/>
                      <a:pt x="361" y="162"/>
                      <a:pt x="361" y="162"/>
                    </a:cubicBezTo>
                    <a:cubicBezTo>
                      <a:pt x="386" y="156"/>
                      <a:pt x="386" y="156"/>
                      <a:pt x="386" y="156"/>
                    </a:cubicBezTo>
                    <a:cubicBezTo>
                      <a:pt x="396" y="144"/>
                      <a:pt x="396" y="144"/>
                      <a:pt x="396" y="144"/>
                    </a:cubicBezTo>
                    <a:cubicBezTo>
                      <a:pt x="449" y="146"/>
                      <a:pt x="449" y="146"/>
                      <a:pt x="449" y="146"/>
                    </a:cubicBezTo>
                    <a:cubicBezTo>
                      <a:pt x="457" y="159"/>
                      <a:pt x="457" y="159"/>
                      <a:pt x="457" y="159"/>
                    </a:cubicBezTo>
                    <a:cubicBezTo>
                      <a:pt x="459" y="157"/>
                      <a:pt x="459" y="157"/>
                      <a:pt x="459" y="157"/>
                    </a:cubicBezTo>
                    <a:lnTo>
                      <a:pt x="451" y="136"/>
                    </a:lnTo>
                    <a:close/>
                    <a:moveTo>
                      <a:pt x="262" y="549"/>
                    </a:moveTo>
                    <a:cubicBezTo>
                      <a:pt x="259" y="560"/>
                      <a:pt x="271" y="583"/>
                      <a:pt x="271" y="583"/>
                    </a:cubicBezTo>
                    <a:cubicBezTo>
                      <a:pt x="279" y="566"/>
                      <a:pt x="279" y="566"/>
                      <a:pt x="279" y="566"/>
                    </a:cubicBezTo>
                    <a:cubicBezTo>
                      <a:pt x="279" y="566"/>
                      <a:pt x="285" y="569"/>
                      <a:pt x="290" y="560"/>
                    </a:cubicBezTo>
                    <a:cubicBezTo>
                      <a:pt x="296" y="552"/>
                      <a:pt x="290" y="543"/>
                      <a:pt x="290" y="543"/>
                    </a:cubicBezTo>
                    <a:cubicBezTo>
                      <a:pt x="302" y="531"/>
                      <a:pt x="302" y="531"/>
                      <a:pt x="302" y="531"/>
                    </a:cubicBezTo>
                    <a:cubicBezTo>
                      <a:pt x="302" y="531"/>
                      <a:pt x="265" y="538"/>
                      <a:pt x="262" y="549"/>
                    </a:cubicBezTo>
                    <a:close/>
                    <a:moveTo>
                      <a:pt x="200" y="597"/>
                    </a:moveTo>
                    <a:cubicBezTo>
                      <a:pt x="200" y="602"/>
                      <a:pt x="199" y="615"/>
                      <a:pt x="199" y="615"/>
                    </a:cubicBezTo>
                    <a:cubicBezTo>
                      <a:pt x="207" y="615"/>
                      <a:pt x="216" y="584"/>
                      <a:pt x="216" y="584"/>
                    </a:cubicBezTo>
                    <a:cubicBezTo>
                      <a:pt x="230" y="570"/>
                      <a:pt x="230" y="570"/>
                      <a:pt x="230" y="570"/>
                    </a:cubicBezTo>
                    <a:cubicBezTo>
                      <a:pt x="226" y="557"/>
                      <a:pt x="226" y="557"/>
                      <a:pt x="226" y="557"/>
                    </a:cubicBezTo>
                    <a:cubicBezTo>
                      <a:pt x="226" y="557"/>
                      <a:pt x="200" y="591"/>
                      <a:pt x="200" y="597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" name="Freeform 319">
                <a:extLst>
                  <a:ext uri="{FF2B5EF4-FFF2-40B4-BE49-F238E27FC236}">
                    <a16:creationId xmlns:a16="http://schemas.microsoft.com/office/drawing/2014/main" id="{83F4DAE1-D0B6-4F75-EB30-356E206A552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5771" y="-19648"/>
                <a:ext cx="2137" cy="2385"/>
              </a:xfrm>
              <a:custGeom>
                <a:avLst/>
                <a:gdLst>
                  <a:gd name="T0" fmla="*/ 453 w 905"/>
                  <a:gd name="T1" fmla="*/ 40 h 1010"/>
                  <a:gd name="T2" fmla="*/ 653 w 905"/>
                  <a:gd name="T3" fmla="*/ 48 h 1010"/>
                  <a:gd name="T4" fmla="*/ 558 w 905"/>
                  <a:gd name="T5" fmla="*/ 4 h 1010"/>
                  <a:gd name="T6" fmla="*/ 429 w 905"/>
                  <a:gd name="T7" fmla="*/ 28 h 1010"/>
                  <a:gd name="T8" fmla="*/ 281 w 905"/>
                  <a:gd name="T9" fmla="*/ 93 h 1010"/>
                  <a:gd name="T10" fmla="*/ 345 w 905"/>
                  <a:gd name="T11" fmla="*/ 111 h 1010"/>
                  <a:gd name="T12" fmla="*/ 432 w 905"/>
                  <a:gd name="T13" fmla="*/ 100 h 1010"/>
                  <a:gd name="T14" fmla="*/ 515 w 905"/>
                  <a:gd name="T15" fmla="*/ 123 h 1010"/>
                  <a:gd name="T16" fmla="*/ 551 w 905"/>
                  <a:gd name="T17" fmla="*/ 82 h 1010"/>
                  <a:gd name="T18" fmla="*/ 453 w 905"/>
                  <a:gd name="T19" fmla="*/ 54 h 1010"/>
                  <a:gd name="T20" fmla="*/ 328 w 905"/>
                  <a:gd name="T21" fmla="*/ 27 h 1010"/>
                  <a:gd name="T22" fmla="*/ 240 w 905"/>
                  <a:gd name="T23" fmla="*/ 24 h 1010"/>
                  <a:gd name="T24" fmla="*/ 417 w 905"/>
                  <a:gd name="T25" fmla="*/ 467 h 1010"/>
                  <a:gd name="T26" fmla="*/ 363 w 905"/>
                  <a:gd name="T27" fmla="*/ 482 h 1010"/>
                  <a:gd name="T28" fmla="*/ 611 w 905"/>
                  <a:gd name="T29" fmla="*/ 404 h 1010"/>
                  <a:gd name="T30" fmla="*/ 320 w 905"/>
                  <a:gd name="T31" fmla="*/ 509 h 1010"/>
                  <a:gd name="T32" fmla="*/ 902 w 905"/>
                  <a:gd name="T33" fmla="*/ 421 h 1010"/>
                  <a:gd name="T34" fmla="*/ 749 w 905"/>
                  <a:gd name="T35" fmla="*/ 425 h 1010"/>
                  <a:gd name="T36" fmla="*/ 683 w 905"/>
                  <a:gd name="T37" fmla="*/ 393 h 1010"/>
                  <a:gd name="T38" fmla="*/ 593 w 905"/>
                  <a:gd name="T39" fmla="*/ 446 h 1010"/>
                  <a:gd name="T40" fmla="*/ 507 w 905"/>
                  <a:gd name="T41" fmla="*/ 444 h 1010"/>
                  <a:gd name="T42" fmla="*/ 494 w 905"/>
                  <a:gd name="T43" fmla="*/ 437 h 1010"/>
                  <a:gd name="T44" fmla="*/ 446 w 905"/>
                  <a:gd name="T45" fmla="*/ 491 h 1010"/>
                  <a:gd name="T46" fmla="*/ 399 w 905"/>
                  <a:gd name="T47" fmla="*/ 505 h 1010"/>
                  <a:gd name="T48" fmla="*/ 360 w 905"/>
                  <a:gd name="T49" fmla="*/ 526 h 1010"/>
                  <a:gd name="T50" fmla="*/ 365 w 905"/>
                  <a:gd name="T51" fmla="*/ 561 h 1010"/>
                  <a:gd name="T52" fmla="*/ 293 w 905"/>
                  <a:gd name="T53" fmla="*/ 606 h 1010"/>
                  <a:gd name="T54" fmla="*/ 266 w 905"/>
                  <a:gd name="T55" fmla="*/ 642 h 1010"/>
                  <a:gd name="T56" fmla="*/ 237 w 905"/>
                  <a:gd name="T57" fmla="*/ 689 h 1010"/>
                  <a:gd name="T58" fmla="*/ 180 w 905"/>
                  <a:gd name="T59" fmla="*/ 715 h 1010"/>
                  <a:gd name="T60" fmla="*/ 118 w 905"/>
                  <a:gd name="T61" fmla="*/ 741 h 1010"/>
                  <a:gd name="T62" fmla="*/ 111 w 905"/>
                  <a:gd name="T63" fmla="*/ 775 h 1010"/>
                  <a:gd name="T64" fmla="*/ 72 w 905"/>
                  <a:gd name="T65" fmla="*/ 808 h 1010"/>
                  <a:gd name="T66" fmla="*/ 20 w 905"/>
                  <a:gd name="T67" fmla="*/ 804 h 1010"/>
                  <a:gd name="T68" fmla="*/ 21 w 905"/>
                  <a:gd name="T69" fmla="*/ 834 h 1010"/>
                  <a:gd name="T70" fmla="*/ 71 w 905"/>
                  <a:gd name="T71" fmla="*/ 854 h 1010"/>
                  <a:gd name="T72" fmla="*/ 0 w 905"/>
                  <a:gd name="T73" fmla="*/ 858 h 1010"/>
                  <a:gd name="T74" fmla="*/ 65 w 905"/>
                  <a:gd name="T75" fmla="*/ 884 h 1010"/>
                  <a:gd name="T76" fmla="*/ 14 w 905"/>
                  <a:gd name="T77" fmla="*/ 926 h 1010"/>
                  <a:gd name="T78" fmla="*/ 36 w 905"/>
                  <a:gd name="T79" fmla="*/ 967 h 1010"/>
                  <a:gd name="T80" fmla="*/ 103 w 905"/>
                  <a:gd name="T81" fmla="*/ 1004 h 1010"/>
                  <a:gd name="T82" fmla="*/ 207 w 905"/>
                  <a:gd name="T83" fmla="*/ 942 h 1010"/>
                  <a:gd name="T84" fmla="*/ 252 w 905"/>
                  <a:gd name="T85" fmla="*/ 911 h 1010"/>
                  <a:gd name="T86" fmla="*/ 268 w 905"/>
                  <a:gd name="T87" fmla="*/ 857 h 1010"/>
                  <a:gd name="T88" fmla="*/ 262 w 905"/>
                  <a:gd name="T89" fmla="*/ 783 h 1010"/>
                  <a:gd name="T90" fmla="*/ 279 w 905"/>
                  <a:gd name="T91" fmla="*/ 724 h 1010"/>
                  <a:gd name="T92" fmla="*/ 348 w 905"/>
                  <a:gd name="T93" fmla="*/ 629 h 1010"/>
                  <a:gd name="T94" fmla="*/ 386 w 905"/>
                  <a:gd name="T95" fmla="*/ 591 h 1010"/>
                  <a:gd name="T96" fmla="*/ 423 w 905"/>
                  <a:gd name="T97" fmla="*/ 529 h 1010"/>
                  <a:gd name="T98" fmla="*/ 508 w 905"/>
                  <a:gd name="T99" fmla="*/ 505 h 1010"/>
                  <a:gd name="T100" fmla="*/ 557 w 905"/>
                  <a:gd name="T101" fmla="*/ 481 h 1010"/>
                  <a:gd name="T102" fmla="*/ 594 w 905"/>
                  <a:gd name="T103" fmla="*/ 480 h 1010"/>
                  <a:gd name="T104" fmla="*/ 677 w 905"/>
                  <a:gd name="T105" fmla="*/ 489 h 1010"/>
                  <a:gd name="T106" fmla="*/ 752 w 905"/>
                  <a:gd name="T107" fmla="*/ 438 h 1010"/>
                  <a:gd name="T108" fmla="*/ 834 w 905"/>
                  <a:gd name="T109" fmla="*/ 469 h 1010"/>
                  <a:gd name="T110" fmla="*/ 891 w 905"/>
                  <a:gd name="T111" fmla="*/ 456 h 1010"/>
                  <a:gd name="T112" fmla="*/ 380 w 905"/>
                  <a:gd name="T113" fmla="*/ 512 h 1010"/>
                  <a:gd name="T114" fmla="*/ 346 w 905"/>
                  <a:gd name="T115" fmla="*/ 483 h 10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905" h="1010">
                    <a:moveTo>
                      <a:pt x="215" y="87"/>
                    </a:moveTo>
                    <a:cubicBezTo>
                      <a:pt x="229" y="97"/>
                      <a:pt x="250" y="93"/>
                      <a:pt x="250" y="93"/>
                    </a:cubicBezTo>
                    <a:cubicBezTo>
                      <a:pt x="228" y="82"/>
                      <a:pt x="228" y="82"/>
                      <a:pt x="228" y="82"/>
                    </a:cubicBezTo>
                    <a:cubicBezTo>
                      <a:pt x="195" y="65"/>
                      <a:pt x="195" y="65"/>
                      <a:pt x="195" y="65"/>
                    </a:cubicBezTo>
                    <a:cubicBezTo>
                      <a:pt x="191" y="78"/>
                      <a:pt x="201" y="78"/>
                      <a:pt x="215" y="87"/>
                    </a:cubicBezTo>
                    <a:close/>
                    <a:moveTo>
                      <a:pt x="453" y="40"/>
                    </a:moveTo>
                    <a:cubicBezTo>
                      <a:pt x="481" y="40"/>
                      <a:pt x="481" y="40"/>
                      <a:pt x="481" y="40"/>
                    </a:cubicBezTo>
                    <a:cubicBezTo>
                      <a:pt x="481" y="40"/>
                      <a:pt x="512" y="51"/>
                      <a:pt x="516" y="49"/>
                    </a:cubicBezTo>
                    <a:cubicBezTo>
                      <a:pt x="520" y="48"/>
                      <a:pt x="542" y="44"/>
                      <a:pt x="547" y="44"/>
                    </a:cubicBezTo>
                    <a:cubicBezTo>
                      <a:pt x="553" y="44"/>
                      <a:pt x="599" y="62"/>
                      <a:pt x="599" y="62"/>
                    </a:cubicBezTo>
                    <a:cubicBezTo>
                      <a:pt x="613" y="47"/>
                      <a:pt x="613" y="47"/>
                      <a:pt x="613" y="47"/>
                    </a:cubicBezTo>
                    <a:cubicBezTo>
                      <a:pt x="653" y="48"/>
                      <a:pt x="653" y="48"/>
                      <a:pt x="653" y="48"/>
                    </a:cubicBezTo>
                    <a:cubicBezTo>
                      <a:pt x="656" y="35"/>
                      <a:pt x="656" y="35"/>
                      <a:pt x="656" y="35"/>
                    </a:cubicBezTo>
                    <a:cubicBezTo>
                      <a:pt x="656" y="35"/>
                      <a:pt x="677" y="42"/>
                      <a:pt x="688" y="21"/>
                    </a:cubicBezTo>
                    <a:cubicBezTo>
                      <a:pt x="699" y="0"/>
                      <a:pt x="653" y="17"/>
                      <a:pt x="653" y="17"/>
                    </a:cubicBezTo>
                    <a:cubicBezTo>
                      <a:pt x="653" y="17"/>
                      <a:pt x="650" y="7"/>
                      <a:pt x="626" y="7"/>
                    </a:cubicBezTo>
                    <a:cubicBezTo>
                      <a:pt x="602" y="7"/>
                      <a:pt x="585" y="19"/>
                      <a:pt x="578" y="17"/>
                    </a:cubicBezTo>
                    <a:cubicBezTo>
                      <a:pt x="571" y="16"/>
                      <a:pt x="577" y="4"/>
                      <a:pt x="558" y="4"/>
                    </a:cubicBezTo>
                    <a:cubicBezTo>
                      <a:pt x="540" y="4"/>
                      <a:pt x="535" y="20"/>
                      <a:pt x="535" y="20"/>
                    </a:cubicBezTo>
                    <a:cubicBezTo>
                      <a:pt x="491" y="4"/>
                      <a:pt x="491" y="4"/>
                      <a:pt x="491" y="4"/>
                    </a:cubicBezTo>
                    <a:cubicBezTo>
                      <a:pt x="491" y="4"/>
                      <a:pt x="470" y="11"/>
                      <a:pt x="447" y="16"/>
                    </a:cubicBezTo>
                    <a:cubicBezTo>
                      <a:pt x="425" y="20"/>
                      <a:pt x="440" y="4"/>
                      <a:pt x="440" y="4"/>
                    </a:cubicBezTo>
                    <a:cubicBezTo>
                      <a:pt x="419" y="14"/>
                      <a:pt x="419" y="14"/>
                      <a:pt x="419" y="14"/>
                    </a:cubicBezTo>
                    <a:cubicBezTo>
                      <a:pt x="429" y="28"/>
                      <a:pt x="429" y="28"/>
                      <a:pt x="429" y="28"/>
                    </a:cubicBezTo>
                    <a:lnTo>
                      <a:pt x="453" y="40"/>
                    </a:lnTo>
                    <a:close/>
                    <a:moveTo>
                      <a:pt x="214" y="49"/>
                    </a:moveTo>
                    <a:cubicBezTo>
                      <a:pt x="221" y="54"/>
                      <a:pt x="236" y="51"/>
                      <a:pt x="239" y="55"/>
                    </a:cubicBezTo>
                    <a:cubicBezTo>
                      <a:pt x="242" y="59"/>
                      <a:pt x="223" y="69"/>
                      <a:pt x="223" y="69"/>
                    </a:cubicBezTo>
                    <a:cubicBezTo>
                      <a:pt x="252" y="80"/>
                      <a:pt x="252" y="80"/>
                      <a:pt x="252" y="80"/>
                    </a:cubicBezTo>
                    <a:cubicBezTo>
                      <a:pt x="252" y="80"/>
                      <a:pt x="267" y="90"/>
                      <a:pt x="281" y="93"/>
                    </a:cubicBezTo>
                    <a:cubicBezTo>
                      <a:pt x="295" y="96"/>
                      <a:pt x="305" y="76"/>
                      <a:pt x="305" y="76"/>
                    </a:cubicBezTo>
                    <a:cubicBezTo>
                      <a:pt x="333" y="71"/>
                      <a:pt x="333" y="71"/>
                      <a:pt x="333" y="71"/>
                    </a:cubicBezTo>
                    <a:cubicBezTo>
                      <a:pt x="356" y="85"/>
                      <a:pt x="356" y="85"/>
                      <a:pt x="356" y="85"/>
                    </a:cubicBezTo>
                    <a:cubicBezTo>
                      <a:pt x="356" y="85"/>
                      <a:pt x="337" y="90"/>
                      <a:pt x="319" y="94"/>
                    </a:cubicBezTo>
                    <a:cubicBezTo>
                      <a:pt x="301" y="99"/>
                      <a:pt x="302" y="106"/>
                      <a:pt x="302" y="106"/>
                    </a:cubicBezTo>
                    <a:cubicBezTo>
                      <a:pt x="302" y="106"/>
                      <a:pt x="352" y="110"/>
                      <a:pt x="345" y="111"/>
                    </a:cubicBezTo>
                    <a:cubicBezTo>
                      <a:pt x="337" y="113"/>
                      <a:pt x="307" y="125"/>
                      <a:pt x="307" y="125"/>
                    </a:cubicBezTo>
                    <a:cubicBezTo>
                      <a:pt x="340" y="137"/>
                      <a:pt x="340" y="137"/>
                      <a:pt x="340" y="137"/>
                    </a:cubicBezTo>
                    <a:cubicBezTo>
                      <a:pt x="340" y="137"/>
                      <a:pt x="370" y="152"/>
                      <a:pt x="395" y="148"/>
                    </a:cubicBezTo>
                    <a:cubicBezTo>
                      <a:pt x="421" y="144"/>
                      <a:pt x="402" y="128"/>
                      <a:pt x="402" y="121"/>
                    </a:cubicBezTo>
                    <a:cubicBezTo>
                      <a:pt x="402" y="114"/>
                      <a:pt x="432" y="114"/>
                      <a:pt x="432" y="114"/>
                    </a:cubicBezTo>
                    <a:cubicBezTo>
                      <a:pt x="432" y="100"/>
                      <a:pt x="432" y="100"/>
                      <a:pt x="432" y="100"/>
                    </a:cubicBezTo>
                    <a:cubicBezTo>
                      <a:pt x="451" y="96"/>
                      <a:pt x="451" y="96"/>
                      <a:pt x="451" y="96"/>
                    </a:cubicBezTo>
                    <a:cubicBezTo>
                      <a:pt x="460" y="75"/>
                      <a:pt x="460" y="75"/>
                      <a:pt x="460" y="75"/>
                    </a:cubicBezTo>
                    <a:cubicBezTo>
                      <a:pt x="473" y="82"/>
                      <a:pt x="473" y="82"/>
                      <a:pt x="473" y="82"/>
                    </a:cubicBezTo>
                    <a:cubicBezTo>
                      <a:pt x="489" y="73"/>
                      <a:pt x="489" y="73"/>
                      <a:pt x="489" y="73"/>
                    </a:cubicBezTo>
                    <a:cubicBezTo>
                      <a:pt x="489" y="73"/>
                      <a:pt x="498" y="87"/>
                      <a:pt x="518" y="92"/>
                    </a:cubicBezTo>
                    <a:cubicBezTo>
                      <a:pt x="537" y="96"/>
                      <a:pt x="515" y="123"/>
                      <a:pt x="515" y="123"/>
                    </a:cubicBezTo>
                    <a:cubicBezTo>
                      <a:pt x="551" y="121"/>
                      <a:pt x="551" y="121"/>
                      <a:pt x="551" y="121"/>
                    </a:cubicBezTo>
                    <a:cubicBezTo>
                      <a:pt x="551" y="121"/>
                      <a:pt x="570" y="137"/>
                      <a:pt x="571" y="132"/>
                    </a:cubicBezTo>
                    <a:cubicBezTo>
                      <a:pt x="572" y="128"/>
                      <a:pt x="623" y="114"/>
                      <a:pt x="627" y="106"/>
                    </a:cubicBezTo>
                    <a:cubicBezTo>
                      <a:pt x="632" y="97"/>
                      <a:pt x="589" y="99"/>
                      <a:pt x="589" y="99"/>
                    </a:cubicBezTo>
                    <a:cubicBezTo>
                      <a:pt x="587" y="87"/>
                      <a:pt x="587" y="87"/>
                      <a:pt x="587" y="87"/>
                    </a:cubicBezTo>
                    <a:cubicBezTo>
                      <a:pt x="551" y="82"/>
                      <a:pt x="551" y="82"/>
                      <a:pt x="551" y="82"/>
                    </a:cubicBezTo>
                    <a:cubicBezTo>
                      <a:pt x="550" y="71"/>
                      <a:pt x="550" y="71"/>
                      <a:pt x="550" y="71"/>
                    </a:cubicBezTo>
                    <a:cubicBezTo>
                      <a:pt x="529" y="73"/>
                      <a:pt x="529" y="73"/>
                      <a:pt x="529" y="73"/>
                    </a:cubicBezTo>
                    <a:cubicBezTo>
                      <a:pt x="532" y="61"/>
                      <a:pt x="532" y="61"/>
                      <a:pt x="532" y="61"/>
                    </a:cubicBezTo>
                    <a:cubicBezTo>
                      <a:pt x="481" y="62"/>
                      <a:pt x="481" y="62"/>
                      <a:pt x="481" y="62"/>
                    </a:cubicBezTo>
                    <a:cubicBezTo>
                      <a:pt x="477" y="54"/>
                      <a:pt x="477" y="54"/>
                      <a:pt x="477" y="54"/>
                    </a:cubicBezTo>
                    <a:cubicBezTo>
                      <a:pt x="453" y="54"/>
                      <a:pt x="453" y="54"/>
                      <a:pt x="453" y="54"/>
                    </a:cubicBezTo>
                    <a:cubicBezTo>
                      <a:pt x="453" y="54"/>
                      <a:pt x="450" y="41"/>
                      <a:pt x="435" y="37"/>
                    </a:cubicBezTo>
                    <a:cubicBezTo>
                      <a:pt x="419" y="33"/>
                      <a:pt x="412" y="38"/>
                      <a:pt x="412" y="38"/>
                    </a:cubicBezTo>
                    <a:cubicBezTo>
                      <a:pt x="415" y="26"/>
                      <a:pt x="415" y="26"/>
                      <a:pt x="415" y="26"/>
                    </a:cubicBezTo>
                    <a:cubicBezTo>
                      <a:pt x="415" y="26"/>
                      <a:pt x="394" y="20"/>
                      <a:pt x="366" y="21"/>
                    </a:cubicBezTo>
                    <a:cubicBezTo>
                      <a:pt x="337" y="23"/>
                      <a:pt x="374" y="55"/>
                      <a:pt x="374" y="55"/>
                    </a:cubicBezTo>
                    <a:cubicBezTo>
                      <a:pt x="374" y="55"/>
                      <a:pt x="343" y="30"/>
                      <a:pt x="328" y="27"/>
                    </a:cubicBezTo>
                    <a:cubicBezTo>
                      <a:pt x="312" y="24"/>
                      <a:pt x="307" y="44"/>
                      <a:pt x="307" y="44"/>
                    </a:cubicBezTo>
                    <a:cubicBezTo>
                      <a:pt x="307" y="44"/>
                      <a:pt x="284" y="40"/>
                      <a:pt x="278" y="37"/>
                    </a:cubicBezTo>
                    <a:cubicBezTo>
                      <a:pt x="273" y="34"/>
                      <a:pt x="291" y="24"/>
                      <a:pt x="291" y="24"/>
                    </a:cubicBezTo>
                    <a:cubicBezTo>
                      <a:pt x="254" y="27"/>
                      <a:pt x="254" y="27"/>
                      <a:pt x="254" y="27"/>
                    </a:cubicBezTo>
                    <a:cubicBezTo>
                      <a:pt x="245" y="35"/>
                      <a:pt x="245" y="35"/>
                      <a:pt x="245" y="35"/>
                    </a:cubicBezTo>
                    <a:cubicBezTo>
                      <a:pt x="240" y="24"/>
                      <a:pt x="240" y="24"/>
                      <a:pt x="240" y="24"/>
                    </a:cubicBezTo>
                    <a:cubicBezTo>
                      <a:pt x="240" y="24"/>
                      <a:pt x="216" y="31"/>
                      <a:pt x="208" y="38"/>
                    </a:cubicBezTo>
                    <a:cubicBezTo>
                      <a:pt x="208" y="38"/>
                      <a:pt x="207" y="45"/>
                      <a:pt x="214" y="49"/>
                    </a:cubicBezTo>
                    <a:close/>
                    <a:moveTo>
                      <a:pt x="425" y="477"/>
                    </a:moveTo>
                    <a:cubicBezTo>
                      <a:pt x="441" y="474"/>
                      <a:pt x="440" y="464"/>
                      <a:pt x="447" y="464"/>
                    </a:cubicBezTo>
                    <a:cubicBezTo>
                      <a:pt x="453" y="464"/>
                      <a:pt x="447" y="453"/>
                      <a:pt x="447" y="453"/>
                    </a:cubicBezTo>
                    <a:cubicBezTo>
                      <a:pt x="417" y="467"/>
                      <a:pt x="417" y="467"/>
                      <a:pt x="417" y="467"/>
                    </a:cubicBezTo>
                    <a:lnTo>
                      <a:pt x="425" y="477"/>
                    </a:lnTo>
                    <a:close/>
                    <a:moveTo>
                      <a:pt x="513" y="437"/>
                    </a:moveTo>
                    <a:cubicBezTo>
                      <a:pt x="522" y="434"/>
                      <a:pt x="535" y="424"/>
                      <a:pt x="517" y="423"/>
                    </a:cubicBezTo>
                    <a:cubicBezTo>
                      <a:pt x="500" y="422"/>
                      <a:pt x="513" y="437"/>
                      <a:pt x="513" y="437"/>
                    </a:cubicBezTo>
                    <a:close/>
                    <a:moveTo>
                      <a:pt x="392" y="470"/>
                    </a:moveTo>
                    <a:cubicBezTo>
                      <a:pt x="373" y="465"/>
                      <a:pt x="363" y="482"/>
                      <a:pt x="363" y="482"/>
                    </a:cubicBezTo>
                    <a:cubicBezTo>
                      <a:pt x="379" y="486"/>
                      <a:pt x="379" y="486"/>
                      <a:pt x="379" y="486"/>
                    </a:cubicBezTo>
                    <a:cubicBezTo>
                      <a:pt x="385" y="482"/>
                      <a:pt x="411" y="474"/>
                      <a:pt x="392" y="470"/>
                    </a:cubicBezTo>
                    <a:close/>
                    <a:moveTo>
                      <a:pt x="610" y="414"/>
                    </a:moveTo>
                    <a:cubicBezTo>
                      <a:pt x="623" y="417"/>
                      <a:pt x="623" y="417"/>
                      <a:pt x="623" y="417"/>
                    </a:cubicBezTo>
                    <a:cubicBezTo>
                      <a:pt x="631" y="408"/>
                      <a:pt x="631" y="402"/>
                      <a:pt x="631" y="402"/>
                    </a:cubicBezTo>
                    <a:cubicBezTo>
                      <a:pt x="611" y="404"/>
                      <a:pt x="611" y="404"/>
                      <a:pt x="611" y="404"/>
                    </a:cubicBezTo>
                    <a:lnTo>
                      <a:pt x="610" y="414"/>
                    </a:lnTo>
                    <a:close/>
                    <a:moveTo>
                      <a:pt x="320" y="509"/>
                    </a:moveTo>
                    <a:cubicBezTo>
                      <a:pt x="304" y="509"/>
                      <a:pt x="279" y="528"/>
                      <a:pt x="285" y="532"/>
                    </a:cubicBezTo>
                    <a:cubicBezTo>
                      <a:pt x="290" y="535"/>
                      <a:pt x="315" y="520"/>
                      <a:pt x="315" y="520"/>
                    </a:cubicBezTo>
                    <a:cubicBezTo>
                      <a:pt x="338" y="516"/>
                      <a:pt x="338" y="516"/>
                      <a:pt x="338" y="516"/>
                    </a:cubicBezTo>
                    <a:cubicBezTo>
                      <a:pt x="335" y="516"/>
                      <a:pt x="336" y="509"/>
                      <a:pt x="320" y="509"/>
                    </a:cubicBezTo>
                    <a:close/>
                    <a:moveTo>
                      <a:pt x="901" y="448"/>
                    </a:moveTo>
                    <a:cubicBezTo>
                      <a:pt x="884" y="451"/>
                      <a:pt x="884" y="451"/>
                      <a:pt x="884" y="451"/>
                    </a:cubicBezTo>
                    <a:cubicBezTo>
                      <a:pt x="856" y="444"/>
                      <a:pt x="856" y="444"/>
                      <a:pt x="856" y="444"/>
                    </a:cubicBezTo>
                    <a:cubicBezTo>
                      <a:pt x="836" y="433"/>
                      <a:pt x="836" y="433"/>
                      <a:pt x="836" y="433"/>
                    </a:cubicBezTo>
                    <a:cubicBezTo>
                      <a:pt x="836" y="433"/>
                      <a:pt x="862" y="437"/>
                      <a:pt x="873" y="432"/>
                    </a:cubicBezTo>
                    <a:cubicBezTo>
                      <a:pt x="884" y="427"/>
                      <a:pt x="902" y="421"/>
                      <a:pt x="902" y="421"/>
                    </a:cubicBezTo>
                    <a:cubicBezTo>
                      <a:pt x="902" y="421"/>
                      <a:pt x="876" y="406"/>
                      <a:pt x="862" y="406"/>
                    </a:cubicBezTo>
                    <a:cubicBezTo>
                      <a:pt x="848" y="406"/>
                      <a:pt x="827" y="395"/>
                      <a:pt x="827" y="395"/>
                    </a:cubicBezTo>
                    <a:cubicBezTo>
                      <a:pt x="827" y="395"/>
                      <a:pt x="819" y="421"/>
                      <a:pt x="803" y="418"/>
                    </a:cubicBezTo>
                    <a:cubicBezTo>
                      <a:pt x="787" y="415"/>
                      <a:pt x="815" y="397"/>
                      <a:pt x="815" y="397"/>
                    </a:cubicBezTo>
                    <a:cubicBezTo>
                      <a:pt x="771" y="382"/>
                      <a:pt x="771" y="382"/>
                      <a:pt x="771" y="382"/>
                    </a:cubicBezTo>
                    <a:cubicBezTo>
                      <a:pt x="771" y="382"/>
                      <a:pt x="763" y="431"/>
                      <a:pt x="749" y="425"/>
                    </a:cubicBezTo>
                    <a:cubicBezTo>
                      <a:pt x="735" y="419"/>
                      <a:pt x="746" y="393"/>
                      <a:pt x="746" y="393"/>
                    </a:cubicBezTo>
                    <a:cubicBezTo>
                      <a:pt x="746" y="393"/>
                      <a:pt x="708" y="437"/>
                      <a:pt x="698" y="430"/>
                    </a:cubicBezTo>
                    <a:cubicBezTo>
                      <a:pt x="688" y="423"/>
                      <a:pt x="734" y="387"/>
                      <a:pt x="734" y="387"/>
                    </a:cubicBezTo>
                    <a:cubicBezTo>
                      <a:pt x="711" y="385"/>
                      <a:pt x="711" y="385"/>
                      <a:pt x="711" y="385"/>
                    </a:cubicBezTo>
                    <a:cubicBezTo>
                      <a:pt x="699" y="395"/>
                      <a:pt x="699" y="395"/>
                      <a:pt x="699" y="395"/>
                    </a:cubicBezTo>
                    <a:cubicBezTo>
                      <a:pt x="683" y="393"/>
                      <a:pt x="683" y="393"/>
                      <a:pt x="683" y="393"/>
                    </a:cubicBezTo>
                    <a:cubicBezTo>
                      <a:pt x="653" y="411"/>
                      <a:pt x="653" y="411"/>
                      <a:pt x="653" y="411"/>
                    </a:cubicBezTo>
                    <a:cubicBezTo>
                      <a:pt x="637" y="412"/>
                      <a:pt x="637" y="412"/>
                      <a:pt x="637" y="412"/>
                    </a:cubicBezTo>
                    <a:cubicBezTo>
                      <a:pt x="635" y="432"/>
                      <a:pt x="635" y="432"/>
                      <a:pt x="635" y="432"/>
                    </a:cubicBezTo>
                    <a:cubicBezTo>
                      <a:pt x="611" y="423"/>
                      <a:pt x="611" y="423"/>
                      <a:pt x="611" y="423"/>
                    </a:cubicBezTo>
                    <a:cubicBezTo>
                      <a:pt x="585" y="428"/>
                      <a:pt x="585" y="428"/>
                      <a:pt x="585" y="428"/>
                    </a:cubicBezTo>
                    <a:cubicBezTo>
                      <a:pt x="593" y="446"/>
                      <a:pt x="593" y="446"/>
                      <a:pt x="593" y="446"/>
                    </a:cubicBezTo>
                    <a:cubicBezTo>
                      <a:pt x="562" y="437"/>
                      <a:pt x="562" y="437"/>
                      <a:pt x="562" y="437"/>
                    </a:cubicBezTo>
                    <a:cubicBezTo>
                      <a:pt x="551" y="443"/>
                      <a:pt x="551" y="443"/>
                      <a:pt x="551" y="443"/>
                    </a:cubicBezTo>
                    <a:cubicBezTo>
                      <a:pt x="554" y="459"/>
                      <a:pt x="554" y="459"/>
                      <a:pt x="554" y="459"/>
                    </a:cubicBezTo>
                    <a:cubicBezTo>
                      <a:pt x="524" y="465"/>
                      <a:pt x="524" y="465"/>
                      <a:pt x="524" y="465"/>
                    </a:cubicBezTo>
                    <a:cubicBezTo>
                      <a:pt x="527" y="444"/>
                      <a:pt x="527" y="444"/>
                      <a:pt x="527" y="444"/>
                    </a:cubicBezTo>
                    <a:cubicBezTo>
                      <a:pt x="507" y="444"/>
                      <a:pt x="507" y="444"/>
                      <a:pt x="507" y="444"/>
                    </a:cubicBezTo>
                    <a:cubicBezTo>
                      <a:pt x="513" y="457"/>
                      <a:pt x="513" y="457"/>
                      <a:pt x="513" y="457"/>
                    </a:cubicBezTo>
                    <a:cubicBezTo>
                      <a:pt x="497" y="447"/>
                      <a:pt x="497" y="447"/>
                      <a:pt x="497" y="447"/>
                    </a:cubicBezTo>
                    <a:cubicBezTo>
                      <a:pt x="499" y="467"/>
                      <a:pt x="499" y="467"/>
                      <a:pt x="499" y="467"/>
                    </a:cubicBezTo>
                    <a:cubicBezTo>
                      <a:pt x="482" y="466"/>
                      <a:pt x="482" y="466"/>
                      <a:pt x="482" y="466"/>
                    </a:cubicBezTo>
                    <a:cubicBezTo>
                      <a:pt x="482" y="466"/>
                      <a:pt x="479" y="453"/>
                      <a:pt x="481" y="450"/>
                    </a:cubicBezTo>
                    <a:cubicBezTo>
                      <a:pt x="483" y="447"/>
                      <a:pt x="494" y="437"/>
                      <a:pt x="494" y="437"/>
                    </a:cubicBezTo>
                    <a:cubicBezTo>
                      <a:pt x="471" y="434"/>
                      <a:pt x="471" y="434"/>
                      <a:pt x="471" y="434"/>
                    </a:cubicBezTo>
                    <a:cubicBezTo>
                      <a:pt x="468" y="463"/>
                      <a:pt x="468" y="463"/>
                      <a:pt x="468" y="463"/>
                    </a:cubicBezTo>
                    <a:cubicBezTo>
                      <a:pt x="450" y="472"/>
                      <a:pt x="450" y="472"/>
                      <a:pt x="450" y="472"/>
                    </a:cubicBezTo>
                    <a:cubicBezTo>
                      <a:pt x="460" y="480"/>
                      <a:pt x="460" y="480"/>
                      <a:pt x="460" y="480"/>
                    </a:cubicBezTo>
                    <a:cubicBezTo>
                      <a:pt x="438" y="483"/>
                      <a:pt x="438" y="483"/>
                      <a:pt x="438" y="483"/>
                    </a:cubicBezTo>
                    <a:cubicBezTo>
                      <a:pt x="446" y="491"/>
                      <a:pt x="446" y="491"/>
                      <a:pt x="446" y="491"/>
                    </a:cubicBezTo>
                    <a:cubicBezTo>
                      <a:pt x="418" y="492"/>
                      <a:pt x="418" y="492"/>
                      <a:pt x="418" y="492"/>
                    </a:cubicBezTo>
                    <a:cubicBezTo>
                      <a:pt x="418" y="500"/>
                      <a:pt x="418" y="500"/>
                      <a:pt x="418" y="500"/>
                    </a:cubicBezTo>
                    <a:cubicBezTo>
                      <a:pt x="439" y="505"/>
                      <a:pt x="439" y="505"/>
                      <a:pt x="439" y="505"/>
                    </a:cubicBezTo>
                    <a:cubicBezTo>
                      <a:pt x="432" y="514"/>
                      <a:pt x="432" y="514"/>
                      <a:pt x="432" y="514"/>
                    </a:cubicBezTo>
                    <a:cubicBezTo>
                      <a:pt x="408" y="504"/>
                      <a:pt x="408" y="504"/>
                      <a:pt x="408" y="504"/>
                    </a:cubicBezTo>
                    <a:cubicBezTo>
                      <a:pt x="399" y="505"/>
                      <a:pt x="399" y="505"/>
                      <a:pt x="399" y="505"/>
                    </a:cubicBezTo>
                    <a:cubicBezTo>
                      <a:pt x="415" y="516"/>
                      <a:pt x="415" y="516"/>
                      <a:pt x="415" y="516"/>
                    </a:cubicBezTo>
                    <a:cubicBezTo>
                      <a:pt x="400" y="527"/>
                      <a:pt x="400" y="527"/>
                      <a:pt x="400" y="527"/>
                    </a:cubicBezTo>
                    <a:cubicBezTo>
                      <a:pt x="392" y="514"/>
                      <a:pt x="392" y="514"/>
                      <a:pt x="392" y="514"/>
                    </a:cubicBezTo>
                    <a:cubicBezTo>
                      <a:pt x="382" y="520"/>
                      <a:pt x="382" y="520"/>
                      <a:pt x="382" y="520"/>
                    </a:cubicBezTo>
                    <a:cubicBezTo>
                      <a:pt x="383" y="525"/>
                      <a:pt x="383" y="525"/>
                      <a:pt x="383" y="525"/>
                    </a:cubicBezTo>
                    <a:cubicBezTo>
                      <a:pt x="360" y="526"/>
                      <a:pt x="360" y="526"/>
                      <a:pt x="360" y="526"/>
                    </a:cubicBezTo>
                    <a:cubicBezTo>
                      <a:pt x="357" y="535"/>
                      <a:pt x="357" y="535"/>
                      <a:pt x="357" y="535"/>
                    </a:cubicBezTo>
                    <a:cubicBezTo>
                      <a:pt x="374" y="544"/>
                      <a:pt x="374" y="544"/>
                      <a:pt x="374" y="544"/>
                    </a:cubicBezTo>
                    <a:cubicBezTo>
                      <a:pt x="372" y="554"/>
                      <a:pt x="372" y="554"/>
                      <a:pt x="372" y="554"/>
                    </a:cubicBezTo>
                    <a:cubicBezTo>
                      <a:pt x="350" y="546"/>
                      <a:pt x="350" y="546"/>
                      <a:pt x="350" y="546"/>
                    </a:cubicBezTo>
                    <a:cubicBezTo>
                      <a:pt x="347" y="556"/>
                      <a:pt x="347" y="556"/>
                      <a:pt x="347" y="556"/>
                    </a:cubicBezTo>
                    <a:cubicBezTo>
                      <a:pt x="365" y="561"/>
                      <a:pt x="365" y="561"/>
                      <a:pt x="365" y="561"/>
                    </a:cubicBezTo>
                    <a:cubicBezTo>
                      <a:pt x="365" y="561"/>
                      <a:pt x="344" y="562"/>
                      <a:pt x="337" y="563"/>
                    </a:cubicBezTo>
                    <a:cubicBezTo>
                      <a:pt x="330" y="564"/>
                      <a:pt x="334" y="574"/>
                      <a:pt x="334" y="574"/>
                    </a:cubicBezTo>
                    <a:cubicBezTo>
                      <a:pt x="334" y="574"/>
                      <a:pt x="321" y="567"/>
                      <a:pt x="313" y="573"/>
                    </a:cubicBezTo>
                    <a:cubicBezTo>
                      <a:pt x="305" y="579"/>
                      <a:pt x="298" y="584"/>
                      <a:pt x="303" y="587"/>
                    </a:cubicBezTo>
                    <a:cubicBezTo>
                      <a:pt x="308" y="590"/>
                      <a:pt x="297" y="596"/>
                      <a:pt x="297" y="596"/>
                    </a:cubicBezTo>
                    <a:cubicBezTo>
                      <a:pt x="297" y="596"/>
                      <a:pt x="290" y="605"/>
                      <a:pt x="293" y="606"/>
                    </a:cubicBezTo>
                    <a:cubicBezTo>
                      <a:pt x="296" y="607"/>
                      <a:pt x="316" y="608"/>
                      <a:pt x="316" y="608"/>
                    </a:cubicBezTo>
                    <a:cubicBezTo>
                      <a:pt x="309" y="616"/>
                      <a:pt x="309" y="616"/>
                      <a:pt x="309" y="616"/>
                    </a:cubicBezTo>
                    <a:cubicBezTo>
                      <a:pt x="286" y="612"/>
                      <a:pt x="286" y="612"/>
                      <a:pt x="286" y="612"/>
                    </a:cubicBezTo>
                    <a:cubicBezTo>
                      <a:pt x="286" y="612"/>
                      <a:pt x="273" y="614"/>
                      <a:pt x="273" y="622"/>
                    </a:cubicBezTo>
                    <a:cubicBezTo>
                      <a:pt x="273" y="630"/>
                      <a:pt x="283" y="636"/>
                      <a:pt x="279" y="639"/>
                    </a:cubicBezTo>
                    <a:cubicBezTo>
                      <a:pt x="275" y="642"/>
                      <a:pt x="271" y="642"/>
                      <a:pt x="266" y="642"/>
                    </a:cubicBezTo>
                    <a:cubicBezTo>
                      <a:pt x="261" y="642"/>
                      <a:pt x="255" y="643"/>
                      <a:pt x="257" y="650"/>
                    </a:cubicBezTo>
                    <a:cubicBezTo>
                      <a:pt x="259" y="657"/>
                      <a:pt x="267" y="661"/>
                      <a:pt x="267" y="661"/>
                    </a:cubicBezTo>
                    <a:cubicBezTo>
                      <a:pt x="267" y="661"/>
                      <a:pt x="273" y="672"/>
                      <a:pt x="266" y="673"/>
                    </a:cubicBezTo>
                    <a:cubicBezTo>
                      <a:pt x="259" y="674"/>
                      <a:pt x="252" y="673"/>
                      <a:pt x="249" y="673"/>
                    </a:cubicBezTo>
                    <a:cubicBezTo>
                      <a:pt x="246" y="673"/>
                      <a:pt x="243" y="674"/>
                      <a:pt x="240" y="678"/>
                    </a:cubicBezTo>
                    <a:cubicBezTo>
                      <a:pt x="237" y="682"/>
                      <a:pt x="237" y="689"/>
                      <a:pt x="237" y="689"/>
                    </a:cubicBezTo>
                    <a:cubicBezTo>
                      <a:pt x="237" y="689"/>
                      <a:pt x="239" y="696"/>
                      <a:pt x="232" y="696"/>
                    </a:cubicBezTo>
                    <a:cubicBezTo>
                      <a:pt x="225" y="696"/>
                      <a:pt x="222" y="689"/>
                      <a:pt x="216" y="690"/>
                    </a:cubicBezTo>
                    <a:cubicBezTo>
                      <a:pt x="210" y="691"/>
                      <a:pt x="212" y="691"/>
                      <a:pt x="207" y="695"/>
                    </a:cubicBezTo>
                    <a:cubicBezTo>
                      <a:pt x="202" y="699"/>
                      <a:pt x="202" y="700"/>
                      <a:pt x="199" y="704"/>
                    </a:cubicBezTo>
                    <a:cubicBezTo>
                      <a:pt x="196" y="708"/>
                      <a:pt x="187" y="708"/>
                      <a:pt x="187" y="708"/>
                    </a:cubicBezTo>
                    <a:cubicBezTo>
                      <a:pt x="187" y="708"/>
                      <a:pt x="183" y="709"/>
                      <a:pt x="180" y="715"/>
                    </a:cubicBezTo>
                    <a:cubicBezTo>
                      <a:pt x="177" y="721"/>
                      <a:pt x="186" y="725"/>
                      <a:pt x="181" y="728"/>
                    </a:cubicBezTo>
                    <a:cubicBezTo>
                      <a:pt x="176" y="731"/>
                      <a:pt x="175" y="733"/>
                      <a:pt x="170" y="733"/>
                    </a:cubicBezTo>
                    <a:cubicBezTo>
                      <a:pt x="165" y="733"/>
                      <a:pt x="156" y="728"/>
                      <a:pt x="153" y="728"/>
                    </a:cubicBezTo>
                    <a:cubicBezTo>
                      <a:pt x="150" y="728"/>
                      <a:pt x="157" y="720"/>
                      <a:pt x="144" y="727"/>
                    </a:cubicBezTo>
                    <a:cubicBezTo>
                      <a:pt x="131" y="734"/>
                      <a:pt x="130" y="735"/>
                      <a:pt x="126" y="734"/>
                    </a:cubicBezTo>
                    <a:cubicBezTo>
                      <a:pt x="122" y="733"/>
                      <a:pt x="117" y="731"/>
                      <a:pt x="118" y="741"/>
                    </a:cubicBezTo>
                    <a:cubicBezTo>
                      <a:pt x="119" y="751"/>
                      <a:pt x="125" y="750"/>
                      <a:pt x="126" y="753"/>
                    </a:cubicBezTo>
                    <a:cubicBezTo>
                      <a:pt x="127" y="756"/>
                      <a:pt x="130" y="764"/>
                      <a:pt x="122" y="760"/>
                    </a:cubicBezTo>
                    <a:cubicBezTo>
                      <a:pt x="114" y="756"/>
                      <a:pt x="113" y="747"/>
                      <a:pt x="108" y="750"/>
                    </a:cubicBezTo>
                    <a:cubicBezTo>
                      <a:pt x="103" y="753"/>
                      <a:pt x="97" y="760"/>
                      <a:pt x="102" y="763"/>
                    </a:cubicBezTo>
                    <a:cubicBezTo>
                      <a:pt x="107" y="766"/>
                      <a:pt x="122" y="762"/>
                      <a:pt x="119" y="768"/>
                    </a:cubicBezTo>
                    <a:cubicBezTo>
                      <a:pt x="116" y="774"/>
                      <a:pt x="126" y="777"/>
                      <a:pt x="111" y="775"/>
                    </a:cubicBezTo>
                    <a:cubicBezTo>
                      <a:pt x="96" y="773"/>
                      <a:pt x="92" y="773"/>
                      <a:pt x="92" y="773"/>
                    </a:cubicBezTo>
                    <a:cubicBezTo>
                      <a:pt x="92" y="773"/>
                      <a:pt x="94" y="767"/>
                      <a:pt x="88" y="772"/>
                    </a:cubicBezTo>
                    <a:cubicBezTo>
                      <a:pt x="82" y="777"/>
                      <a:pt x="84" y="786"/>
                      <a:pt x="84" y="786"/>
                    </a:cubicBezTo>
                    <a:cubicBezTo>
                      <a:pt x="84" y="786"/>
                      <a:pt x="55" y="773"/>
                      <a:pt x="59" y="781"/>
                    </a:cubicBezTo>
                    <a:cubicBezTo>
                      <a:pt x="63" y="789"/>
                      <a:pt x="85" y="794"/>
                      <a:pt x="85" y="794"/>
                    </a:cubicBezTo>
                    <a:cubicBezTo>
                      <a:pt x="72" y="808"/>
                      <a:pt x="72" y="808"/>
                      <a:pt x="72" y="808"/>
                    </a:cubicBezTo>
                    <a:cubicBezTo>
                      <a:pt x="72" y="808"/>
                      <a:pt x="73" y="798"/>
                      <a:pt x="66" y="797"/>
                    </a:cubicBezTo>
                    <a:cubicBezTo>
                      <a:pt x="59" y="796"/>
                      <a:pt x="53" y="804"/>
                      <a:pt x="53" y="804"/>
                    </a:cubicBezTo>
                    <a:cubicBezTo>
                      <a:pt x="40" y="793"/>
                      <a:pt x="40" y="793"/>
                      <a:pt x="40" y="793"/>
                    </a:cubicBezTo>
                    <a:cubicBezTo>
                      <a:pt x="34" y="802"/>
                      <a:pt x="34" y="802"/>
                      <a:pt x="34" y="802"/>
                    </a:cubicBezTo>
                    <a:cubicBezTo>
                      <a:pt x="43" y="805"/>
                      <a:pt x="43" y="805"/>
                      <a:pt x="43" y="805"/>
                    </a:cubicBezTo>
                    <a:cubicBezTo>
                      <a:pt x="20" y="804"/>
                      <a:pt x="20" y="804"/>
                      <a:pt x="20" y="804"/>
                    </a:cubicBezTo>
                    <a:cubicBezTo>
                      <a:pt x="19" y="813"/>
                      <a:pt x="19" y="813"/>
                      <a:pt x="19" y="813"/>
                    </a:cubicBezTo>
                    <a:cubicBezTo>
                      <a:pt x="52" y="815"/>
                      <a:pt x="52" y="815"/>
                      <a:pt x="52" y="815"/>
                    </a:cubicBezTo>
                    <a:cubicBezTo>
                      <a:pt x="35" y="820"/>
                      <a:pt x="35" y="820"/>
                      <a:pt x="35" y="820"/>
                    </a:cubicBezTo>
                    <a:cubicBezTo>
                      <a:pt x="11" y="814"/>
                      <a:pt x="11" y="814"/>
                      <a:pt x="11" y="814"/>
                    </a:cubicBezTo>
                    <a:cubicBezTo>
                      <a:pt x="11" y="814"/>
                      <a:pt x="3" y="821"/>
                      <a:pt x="3" y="827"/>
                    </a:cubicBezTo>
                    <a:cubicBezTo>
                      <a:pt x="3" y="833"/>
                      <a:pt x="21" y="834"/>
                      <a:pt x="21" y="834"/>
                    </a:cubicBezTo>
                    <a:cubicBezTo>
                      <a:pt x="10" y="839"/>
                      <a:pt x="10" y="839"/>
                      <a:pt x="10" y="839"/>
                    </a:cubicBezTo>
                    <a:cubicBezTo>
                      <a:pt x="10" y="839"/>
                      <a:pt x="1" y="846"/>
                      <a:pt x="10" y="847"/>
                    </a:cubicBezTo>
                    <a:cubicBezTo>
                      <a:pt x="19" y="848"/>
                      <a:pt x="42" y="848"/>
                      <a:pt x="42" y="848"/>
                    </a:cubicBezTo>
                    <a:cubicBezTo>
                      <a:pt x="52" y="854"/>
                      <a:pt x="52" y="854"/>
                      <a:pt x="52" y="854"/>
                    </a:cubicBezTo>
                    <a:cubicBezTo>
                      <a:pt x="63" y="846"/>
                      <a:pt x="63" y="846"/>
                      <a:pt x="63" y="846"/>
                    </a:cubicBezTo>
                    <a:cubicBezTo>
                      <a:pt x="71" y="854"/>
                      <a:pt x="71" y="854"/>
                      <a:pt x="71" y="854"/>
                    </a:cubicBezTo>
                    <a:cubicBezTo>
                      <a:pt x="89" y="845"/>
                      <a:pt x="89" y="845"/>
                      <a:pt x="89" y="845"/>
                    </a:cubicBezTo>
                    <a:cubicBezTo>
                      <a:pt x="89" y="845"/>
                      <a:pt x="86" y="858"/>
                      <a:pt x="80" y="858"/>
                    </a:cubicBezTo>
                    <a:cubicBezTo>
                      <a:pt x="74" y="858"/>
                      <a:pt x="62" y="857"/>
                      <a:pt x="62" y="857"/>
                    </a:cubicBezTo>
                    <a:cubicBezTo>
                      <a:pt x="44" y="858"/>
                      <a:pt x="44" y="858"/>
                      <a:pt x="44" y="858"/>
                    </a:cubicBezTo>
                    <a:cubicBezTo>
                      <a:pt x="44" y="858"/>
                      <a:pt x="28" y="856"/>
                      <a:pt x="25" y="856"/>
                    </a:cubicBezTo>
                    <a:cubicBezTo>
                      <a:pt x="22" y="856"/>
                      <a:pt x="0" y="858"/>
                      <a:pt x="0" y="858"/>
                    </a:cubicBezTo>
                    <a:cubicBezTo>
                      <a:pt x="0" y="858"/>
                      <a:pt x="2" y="870"/>
                      <a:pt x="7" y="872"/>
                    </a:cubicBezTo>
                    <a:cubicBezTo>
                      <a:pt x="12" y="874"/>
                      <a:pt x="20" y="874"/>
                      <a:pt x="20" y="874"/>
                    </a:cubicBezTo>
                    <a:cubicBezTo>
                      <a:pt x="20" y="874"/>
                      <a:pt x="7" y="884"/>
                      <a:pt x="13" y="891"/>
                    </a:cubicBezTo>
                    <a:cubicBezTo>
                      <a:pt x="19" y="898"/>
                      <a:pt x="29" y="899"/>
                      <a:pt x="29" y="899"/>
                    </a:cubicBezTo>
                    <a:cubicBezTo>
                      <a:pt x="47" y="888"/>
                      <a:pt x="47" y="888"/>
                      <a:pt x="47" y="888"/>
                    </a:cubicBezTo>
                    <a:cubicBezTo>
                      <a:pt x="65" y="884"/>
                      <a:pt x="65" y="884"/>
                      <a:pt x="65" y="884"/>
                    </a:cubicBezTo>
                    <a:cubicBezTo>
                      <a:pt x="59" y="898"/>
                      <a:pt x="59" y="898"/>
                      <a:pt x="59" y="898"/>
                    </a:cubicBezTo>
                    <a:cubicBezTo>
                      <a:pt x="49" y="895"/>
                      <a:pt x="49" y="895"/>
                      <a:pt x="49" y="895"/>
                    </a:cubicBezTo>
                    <a:cubicBezTo>
                      <a:pt x="43" y="907"/>
                      <a:pt x="43" y="907"/>
                      <a:pt x="43" y="907"/>
                    </a:cubicBezTo>
                    <a:cubicBezTo>
                      <a:pt x="43" y="907"/>
                      <a:pt x="13" y="901"/>
                      <a:pt x="17" y="908"/>
                    </a:cubicBezTo>
                    <a:cubicBezTo>
                      <a:pt x="21" y="915"/>
                      <a:pt x="30" y="918"/>
                      <a:pt x="30" y="918"/>
                    </a:cubicBezTo>
                    <a:cubicBezTo>
                      <a:pt x="14" y="926"/>
                      <a:pt x="14" y="926"/>
                      <a:pt x="14" y="926"/>
                    </a:cubicBezTo>
                    <a:cubicBezTo>
                      <a:pt x="2" y="926"/>
                      <a:pt x="2" y="926"/>
                      <a:pt x="2" y="926"/>
                    </a:cubicBezTo>
                    <a:cubicBezTo>
                      <a:pt x="2" y="926"/>
                      <a:pt x="4" y="938"/>
                      <a:pt x="7" y="938"/>
                    </a:cubicBezTo>
                    <a:cubicBezTo>
                      <a:pt x="10" y="938"/>
                      <a:pt x="42" y="939"/>
                      <a:pt x="42" y="939"/>
                    </a:cubicBezTo>
                    <a:cubicBezTo>
                      <a:pt x="33" y="953"/>
                      <a:pt x="33" y="953"/>
                      <a:pt x="33" y="953"/>
                    </a:cubicBezTo>
                    <a:cubicBezTo>
                      <a:pt x="41" y="955"/>
                      <a:pt x="41" y="955"/>
                      <a:pt x="41" y="955"/>
                    </a:cubicBezTo>
                    <a:cubicBezTo>
                      <a:pt x="36" y="967"/>
                      <a:pt x="36" y="967"/>
                      <a:pt x="36" y="967"/>
                    </a:cubicBezTo>
                    <a:cubicBezTo>
                      <a:pt x="36" y="967"/>
                      <a:pt x="10" y="954"/>
                      <a:pt x="11" y="962"/>
                    </a:cubicBezTo>
                    <a:cubicBezTo>
                      <a:pt x="12" y="970"/>
                      <a:pt x="23" y="981"/>
                      <a:pt x="23" y="981"/>
                    </a:cubicBezTo>
                    <a:cubicBezTo>
                      <a:pt x="55" y="995"/>
                      <a:pt x="55" y="995"/>
                      <a:pt x="55" y="995"/>
                    </a:cubicBezTo>
                    <a:cubicBezTo>
                      <a:pt x="55" y="995"/>
                      <a:pt x="48" y="1000"/>
                      <a:pt x="55" y="1003"/>
                    </a:cubicBezTo>
                    <a:cubicBezTo>
                      <a:pt x="62" y="1006"/>
                      <a:pt x="83" y="1001"/>
                      <a:pt x="83" y="1001"/>
                    </a:cubicBezTo>
                    <a:cubicBezTo>
                      <a:pt x="83" y="1001"/>
                      <a:pt x="86" y="1010"/>
                      <a:pt x="103" y="1004"/>
                    </a:cubicBezTo>
                    <a:cubicBezTo>
                      <a:pt x="120" y="998"/>
                      <a:pt x="148" y="973"/>
                      <a:pt x="148" y="973"/>
                    </a:cubicBezTo>
                    <a:cubicBezTo>
                      <a:pt x="172" y="954"/>
                      <a:pt x="172" y="954"/>
                      <a:pt x="172" y="954"/>
                    </a:cubicBezTo>
                    <a:cubicBezTo>
                      <a:pt x="172" y="954"/>
                      <a:pt x="183" y="959"/>
                      <a:pt x="193" y="950"/>
                    </a:cubicBezTo>
                    <a:cubicBezTo>
                      <a:pt x="203" y="941"/>
                      <a:pt x="193" y="922"/>
                      <a:pt x="193" y="922"/>
                    </a:cubicBezTo>
                    <a:cubicBezTo>
                      <a:pt x="205" y="920"/>
                      <a:pt x="205" y="920"/>
                      <a:pt x="205" y="920"/>
                    </a:cubicBezTo>
                    <a:cubicBezTo>
                      <a:pt x="205" y="920"/>
                      <a:pt x="192" y="937"/>
                      <a:pt x="207" y="942"/>
                    </a:cubicBezTo>
                    <a:cubicBezTo>
                      <a:pt x="222" y="947"/>
                      <a:pt x="233" y="949"/>
                      <a:pt x="233" y="949"/>
                    </a:cubicBezTo>
                    <a:cubicBezTo>
                      <a:pt x="247" y="962"/>
                      <a:pt x="247" y="962"/>
                      <a:pt x="247" y="962"/>
                    </a:cubicBezTo>
                    <a:cubicBezTo>
                      <a:pt x="247" y="962"/>
                      <a:pt x="253" y="951"/>
                      <a:pt x="255" y="946"/>
                    </a:cubicBezTo>
                    <a:cubicBezTo>
                      <a:pt x="257" y="941"/>
                      <a:pt x="251" y="940"/>
                      <a:pt x="248" y="932"/>
                    </a:cubicBezTo>
                    <a:cubicBezTo>
                      <a:pt x="245" y="924"/>
                      <a:pt x="254" y="921"/>
                      <a:pt x="254" y="921"/>
                    </a:cubicBezTo>
                    <a:cubicBezTo>
                      <a:pt x="254" y="921"/>
                      <a:pt x="254" y="917"/>
                      <a:pt x="252" y="911"/>
                    </a:cubicBezTo>
                    <a:cubicBezTo>
                      <a:pt x="250" y="905"/>
                      <a:pt x="264" y="911"/>
                      <a:pt x="269" y="911"/>
                    </a:cubicBezTo>
                    <a:cubicBezTo>
                      <a:pt x="274" y="911"/>
                      <a:pt x="277" y="906"/>
                      <a:pt x="277" y="906"/>
                    </a:cubicBezTo>
                    <a:cubicBezTo>
                      <a:pt x="277" y="889"/>
                      <a:pt x="277" y="889"/>
                      <a:pt x="277" y="889"/>
                    </a:cubicBezTo>
                    <a:cubicBezTo>
                      <a:pt x="284" y="889"/>
                      <a:pt x="284" y="889"/>
                      <a:pt x="284" y="889"/>
                    </a:cubicBezTo>
                    <a:cubicBezTo>
                      <a:pt x="284" y="889"/>
                      <a:pt x="280" y="880"/>
                      <a:pt x="277" y="877"/>
                    </a:cubicBezTo>
                    <a:cubicBezTo>
                      <a:pt x="274" y="874"/>
                      <a:pt x="268" y="857"/>
                      <a:pt x="268" y="857"/>
                    </a:cubicBezTo>
                    <a:cubicBezTo>
                      <a:pt x="283" y="854"/>
                      <a:pt x="283" y="854"/>
                      <a:pt x="283" y="854"/>
                    </a:cubicBezTo>
                    <a:cubicBezTo>
                      <a:pt x="283" y="854"/>
                      <a:pt x="290" y="848"/>
                      <a:pt x="292" y="841"/>
                    </a:cubicBezTo>
                    <a:cubicBezTo>
                      <a:pt x="294" y="834"/>
                      <a:pt x="275" y="828"/>
                      <a:pt x="275" y="828"/>
                    </a:cubicBezTo>
                    <a:cubicBezTo>
                      <a:pt x="275" y="828"/>
                      <a:pt x="267" y="821"/>
                      <a:pt x="266" y="814"/>
                    </a:cubicBezTo>
                    <a:cubicBezTo>
                      <a:pt x="265" y="807"/>
                      <a:pt x="271" y="800"/>
                      <a:pt x="272" y="795"/>
                    </a:cubicBezTo>
                    <a:cubicBezTo>
                      <a:pt x="273" y="790"/>
                      <a:pt x="262" y="783"/>
                      <a:pt x="262" y="783"/>
                    </a:cubicBezTo>
                    <a:cubicBezTo>
                      <a:pt x="262" y="783"/>
                      <a:pt x="256" y="775"/>
                      <a:pt x="254" y="770"/>
                    </a:cubicBezTo>
                    <a:cubicBezTo>
                      <a:pt x="252" y="765"/>
                      <a:pt x="261" y="763"/>
                      <a:pt x="267" y="757"/>
                    </a:cubicBezTo>
                    <a:cubicBezTo>
                      <a:pt x="273" y="751"/>
                      <a:pt x="255" y="751"/>
                      <a:pt x="255" y="748"/>
                    </a:cubicBezTo>
                    <a:cubicBezTo>
                      <a:pt x="255" y="745"/>
                      <a:pt x="261" y="740"/>
                      <a:pt x="261" y="740"/>
                    </a:cubicBezTo>
                    <a:cubicBezTo>
                      <a:pt x="266" y="734"/>
                      <a:pt x="266" y="734"/>
                      <a:pt x="266" y="734"/>
                    </a:cubicBezTo>
                    <a:cubicBezTo>
                      <a:pt x="266" y="734"/>
                      <a:pt x="272" y="729"/>
                      <a:pt x="279" y="724"/>
                    </a:cubicBezTo>
                    <a:cubicBezTo>
                      <a:pt x="286" y="719"/>
                      <a:pt x="301" y="707"/>
                      <a:pt x="301" y="707"/>
                    </a:cubicBezTo>
                    <a:cubicBezTo>
                      <a:pt x="301" y="707"/>
                      <a:pt x="328" y="712"/>
                      <a:pt x="332" y="703"/>
                    </a:cubicBezTo>
                    <a:cubicBezTo>
                      <a:pt x="336" y="694"/>
                      <a:pt x="315" y="684"/>
                      <a:pt x="315" y="684"/>
                    </a:cubicBezTo>
                    <a:cubicBezTo>
                      <a:pt x="315" y="684"/>
                      <a:pt x="324" y="678"/>
                      <a:pt x="329" y="674"/>
                    </a:cubicBezTo>
                    <a:cubicBezTo>
                      <a:pt x="334" y="670"/>
                      <a:pt x="344" y="658"/>
                      <a:pt x="344" y="658"/>
                    </a:cubicBezTo>
                    <a:cubicBezTo>
                      <a:pt x="348" y="629"/>
                      <a:pt x="348" y="629"/>
                      <a:pt x="348" y="629"/>
                    </a:cubicBezTo>
                    <a:cubicBezTo>
                      <a:pt x="351" y="624"/>
                      <a:pt x="351" y="624"/>
                      <a:pt x="351" y="624"/>
                    </a:cubicBezTo>
                    <a:cubicBezTo>
                      <a:pt x="349" y="608"/>
                      <a:pt x="349" y="608"/>
                      <a:pt x="349" y="608"/>
                    </a:cubicBezTo>
                    <a:cubicBezTo>
                      <a:pt x="363" y="615"/>
                      <a:pt x="363" y="615"/>
                      <a:pt x="363" y="615"/>
                    </a:cubicBezTo>
                    <a:cubicBezTo>
                      <a:pt x="363" y="615"/>
                      <a:pt x="372" y="610"/>
                      <a:pt x="379" y="608"/>
                    </a:cubicBezTo>
                    <a:cubicBezTo>
                      <a:pt x="386" y="606"/>
                      <a:pt x="372" y="592"/>
                      <a:pt x="372" y="592"/>
                    </a:cubicBezTo>
                    <a:cubicBezTo>
                      <a:pt x="386" y="591"/>
                      <a:pt x="386" y="591"/>
                      <a:pt x="386" y="591"/>
                    </a:cubicBezTo>
                    <a:cubicBezTo>
                      <a:pt x="386" y="591"/>
                      <a:pt x="388" y="584"/>
                      <a:pt x="394" y="579"/>
                    </a:cubicBezTo>
                    <a:cubicBezTo>
                      <a:pt x="400" y="574"/>
                      <a:pt x="405" y="573"/>
                      <a:pt x="405" y="573"/>
                    </a:cubicBezTo>
                    <a:cubicBezTo>
                      <a:pt x="410" y="563"/>
                      <a:pt x="410" y="563"/>
                      <a:pt x="410" y="563"/>
                    </a:cubicBezTo>
                    <a:cubicBezTo>
                      <a:pt x="410" y="563"/>
                      <a:pt x="399" y="555"/>
                      <a:pt x="398" y="551"/>
                    </a:cubicBezTo>
                    <a:cubicBezTo>
                      <a:pt x="397" y="547"/>
                      <a:pt x="414" y="539"/>
                      <a:pt x="414" y="539"/>
                    </a:cubicBezTo>
                    <a:cubicBezTo>
                      <a:pt x="423" y="529"/>
                      <a:pt x="423" y="529"/>
                      <a:pt x="423" y="529"/>
                    </a:cubicBezTo>
                    <a:cubicBezTo>
                      <a:pt x="449" y="525"/>
                      <a:pt x="449" y="525"/>
                      <a:pt x="449" y="525"/>
                    </a:cubicBezTo>
                    <a:cubicBezTo>
                      <a:pt x="449" y="525"/>
                      <a:pt x="464" y="525"/>
                      <a:pt x="467" y="520"/>
                    </a:cubicBezTo>
                    <a:cubicBezTo>
                      <a:pt x="470" y="515"/>
                      <a:pt x="460" y="504"/>
                      <a:pt x="468" y="498"/>
                    </a:cubicBezTo>
                    <a:cubicBezTo>
                      <a:pt x="476" y="492"/>
                      <a:pt x="476" y="505"/>
                      <a:pt x="476" y="505"/>
                    </a:cubicBezTo>
                    <a:cubicBezTo>
                      <a:pt x="495" y="501"/>
                      <a:pt x="495" y="501"/>
                      <a:pt x="495" y="501"/>
                    </a:cubicBezTo>
                    <a:cubicBezTo>
                      <a:pt x="508" y="505"/>
                      <a:pt x="508" y="505"/>
                      <a:pt x="508" y="505"/>
                    </a:cubicBezTo>
                    <a:cubicBezTo>
                      <a:pt x="517" y="505"/>
                      <a:pt x="517" y="505"/>
                      <a:pt x="517" y="505"/>
                    </a:cubicBezTo>
                    <a:cubicBezTo>
                      <a:pt x="517" y="505"/>
                      <a:pt x="528" y="511"/>
                      <a:pt x="536" y="509"/>
                    </a:cubicBezTo>
                    <a:cubicBezTo>
                      <a:pt x="544" y="507"/>
                      <a:pt x="531" y="501"/>
                      <a:pt x="531" y="496"/>
                    </a:cubicBezTo>
                    <a:cubicBezTo>
                      <a:pt x="531" y="491"/>
                      <a:pt x="538" y="494"/>
                      <a:pt x="538" y="494"/>
                    </a:cubicBezTo>
                    <a:cubicBezTo>
                      <a:pt x="537" y="480"/>
                      <a:pt x="537" y="480"/>
                      <a:pt x="537" y="480"/>
                    </a:cubicBezTo>
                    <a:cubicBezTo>
                      <a:pt x="557" y="481"/>
                      <a:pt x="557" y="481"/>
                      <a:pt x="557" y="481"/>
                    </a:cubicBezTo>
                    <a:cubicBezTo>
                      <a:pt x="555" y="479"/>
                      <a:pt x="554" y="478"/>
                      <a:pt x="554" y="478"/>
                    </a:cubicBezTo>
                    <a:cubicBezTo>
                      <a:pt x="556" y="473"/>
                      <a:pt x="556" y="473"/>
                      <a:pt x="556" y="473"/>
                    </a:cubicBezTo>
                    <a:cubicBezTo>
                      <a:pt x="568" y="478"/>
                      <a:pt x="568" y="478"/>
                      <a:pt x="568" y="478"/>
                    </a:cubicBezTo>
                    <a:cubicBezTo>
                      <a:pt x="570" y="469"/>
                      <a:pt x="570" y="469"/>
                      <a:pt x="570" y="469"/>
                    </a:cubicBezTo>
                    <a:cubicBezTo>
                      <a:pt x="570" y="469"/>
                      <a:pt x="577" y="466"/>
                      <a:pt x="581" y="466"/>
                    </a:cubicBezTo>
                    <a:cubicBezTo>
                      <a:pt x="585" y="466"/>
                      <a:pt x="594" y="480"/>
                      <a:pt x="594" y="480"/>
                    </a:cubicBezTo>
                    <a:cubicBezTo>
                      <a:pt x="603" y="481"/>
                      <a:pt x="603" y="481"/>
                      <a:pt x="603" y="481"/>
                    </a:cubicBezTo>
                    <a:cubicBezTo>
                      <a:pt x="603" y="481"/>
                      <a:pt x="604" y="491"/>
                      <a:pt x="618" y="492"/>
                    </a:cubicBezTo>
                    <a:cubicBezTo>
                      <a:pt x="632" y="493"/>
                      <a:pt x="632" y="494"/>
                      <a:pt x="632" y="494"/>
                    </a:cubicBezTo>
                    <a:cubicBezTo>
                      <a:pt x="632" y="494"/>
                      <a:pt x="632" y="494"/>
                      <a:pt x="642" y="497"/>
                    </a:cubicBezTo>
                    <a:cubicBezTo>
                      <a:pt x="652" y="500"/>
                      <a:pt x="661" y="492"/>
                      <a:pt x="661" y="492"/>
                    </a:cubicBezTo>
                    <a:cubicBezTo>
                      <a:pt x="661" y="492"/>
                      <a:pt x="672" y="488"/>
                      <a:pt x="677" y="489"/>
                    </a:cubicBezTo>
                    <a:cubicBezTo>
                      <a:pt x="682" y="490"/>
                      <a:pt x="694" y="498"/>
                      <a:pt x="702" y="498"/>
                    </a:cubicBezTo>
                    <a:cubicBezTo>
                      <a:pt x="710" y="498"/>
                      <a:pt x="704" y="488"/>
                      <a:pt x="711" y="483"/>
                    </a:cubicBezTo>
                    <a:cubicBezTo>
                      <a:pt x="718" y="478"/>
                      <a:pt x="727" y="483"/>
                      <a:pt x="727" y="483"/>
                    </a:cubicBezTo>
                    <a:cubicBezTo>
                      <a:pt x="727" y="483"/>
                      <a:pt x="728" y="467"/>
                      <a:pt x="727" y="463"/>
                    </a:cubicBezTo>
                    <a:cubicBezTo>
                      <a:pt x="726" y="459"/>
                      <a:pt x="730" y="446"/>
                      <a:pt x="730" y="446"/>
                    </a:cubicBezTo>
                    <a:cubicBezTo>
                      <a:pt x="730" y="446"/>
                      <a:pt x="747" y="437"/>
                      <a:pt x="752" y="438"/>
                    </a:cubicBezTo>
                    <a:cubicBezTo>
                      <a:pt x="757" y="439"/>
                      <a:pt x="768" y="440"/>
                      <a:pt x="768" y="440"/>
                    </a:cubicBezTo>
                    <a:cubicBezTo>
                      <a:pt x="768" y="440"/>
                      <a:pt x="779" y="433"/>
                      <a:pt x="794" y="434"/>
                    </a:cubicBezTo>
                    <a:cubicBezTo>
                      <a:pt x="809" y="435"/>
                      <a:pt x="802" y="441"/>
                      <a:pt x="802" y="441"/>
                    </a:cubicBezTo>
                    <a:cubicBezTo>
                      <a:pt x="825" y="446"/>
                      <a:pt x="825" y="446"/>
                      <a:pt x="825" y="446"/>
                    </a:cubicBezTo>
                    <a:cubicBezTo>
                      <a:pt x="825" y="446"/>
                      <a:pt x="839" y="447"/>
                      <a:pt x="843" y="464"/>
                    </a:cubicBezTo>
                    <a:cubicBezTo>
                      <a:pt x="847" y="481"/>
                      <a:pt x="834" y="469"/>
                      <a:pt x="834" y="469"/>
                    </a:cubicBezTo>
                    <a:cubicBezTo>
                      <a:pt x="832" y="477"/>
                      <a:pt x="832" y="477"/>
                      <a:pt x="832" y="477"/>
                    </a:cubicBezTo>
                    <a:cubicBezTo>
                      <a:pt x="836" y="479"/>
                      <a:pt x="840" y="480"/>
                      <a:pt x="845" y="480"/>
                    </a:cubicBezTo>
                    <a:cubicBezTo>
                      <a:pt x="854" y="479"/>
                      <a:pt x="855" y="465"/>
                      <a:pt x="855" y="465"/>
                    </a:cubicBezTo>
                    <a:cubicBezTo>
                      <a:pt x="870" y="464"/>
                      <a:pt x="870" y="464"/>
                      <a:pt x="870" y="464"/>
                    </a:cubicBezTo>
                    <a:cubicBezTo>
                      <a:pt x="874" y="456"/>
                      <a:pt x="874" y="456"/>
                      <a:pt x="874" y="456"/>
                    </a:cubicBezTo>
                    <a:cubicBezTo>
                      <a:pt x="874" y="456"/>
                      <a:pt x="873" y="459"/>
                      <a:pt x="891" y="456"/>
                    </a:cubicBezTo>
                    <a:cubicBezTo>
                      <a:pt x="899" y="455"/>
                      <a:pt x="903" y="451"/>
                      <a:pt x="905" y="448"/>
                    </a:cubicBezTo>
                    <a:lnTo>
                      <a:pt x="901" y="448"/>
                    </a:lnTo>
                    <a:close/>
                    <a:moveTo>
                      <a:pt x="372" y="489"/>
                    </a:moveTo>
                    <a:cubicBezTo>
                      <a:pt x="357" y="498"/>
                      <a:pt x="357" y="498"/>
                      <a:pt x="357" y="498"/>
                    </a:cubicBezTo>
                    <a:cubicBezTo>
                      <a:pt x="362" y="511"/>
                      <a:pt x="362" y="511"/>
                      <a:pt x="362" y="511"/>
                    </a:cubicBezTo>
                    <a:cubicBezTo>
                      <a:pt x="380" y="512"/>
                      <a:pt x="380" y="512"/>
                      <a:pt x="380" y="512"/>
                    </a:cubicBezTo>
                    <a:cubicBezTo>
                      <a:pt x="376" y="499"/>
                      <a:pt x="376" y="499"/>
                      <a:pt x="376" y="499"/>
                    </a:cubicBezTo>
                    <a:lnTo>
                      <a:pt x="372" y="489"/>
                    </a:lnTo>
                    <a:close/>
                    <a:moveTo>
                      <a:pt x="346" y="483"/>
                    </a:moveTo>
                    <a:cubicBezTo>
                      <a:pt x="335" y="487"/>
                      <a:pt x="339" y="504"/>
                      <a:pt x="339" y="504"/>
                    </a:cubicBezTo>
                    <a:cubicBezTo>
                      <a:pt x="351" y="516"/>
                      <a:pt x="351" y="516"/>
                      <a:pt x="351" y="516"/>
                    </a:cubicBezTo>
                    <a:cubicBezTo>
                      <a:pt x="351" y="516"/>
                      <a:pt x="357" y="479"/>
                      <a:pt x="346" y="483"/>
                    </a:cubicBezTo>
                    <a:close/>
                    <a:moveTo>
                      <a:pt x="403" y="498"/>
                    </a:moveTo>
                    <a:cubicBezTo>
                      <a:pt x="412" y="493"/>
                      <a:pt x="427" y="490"/>
                      <a:pt x="408" y="486"/>
                    </a:cubicBezTo>
                    <a:cubicBezTo>
                      <a:pt x="389" y="483"/>
                      <a:pt x="380" y="494"/>
                      <a:pt x="380" y="494"/>
                    </a:cubicBezTo>
                    <a:cubicBezTo>
                      <a:pt x="386" y="501"/>
                      <a:pt x="386" y="501"/>
                      <a:pt x="386" y="501"/>
                    </a:cubicBezTo>
                    <a:lnTo>
                      <a:pt x="403" y="49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" name="Freeform 320">
                <a:extLst>
                  <a:ext uri="{FF2B5EF4-FFF2-40B4-BE49-F238E27FC236}">
                    <a16:creationId xmlns:a16="http://schemas.microsoft.com/office/drawing/2014/main" id="{0EA49969-73B7-FE4D-83A0-E0E750DA22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723" y="-12392"/>
                <a:ext cx="1151" cy="780"/>
              </a:xfrm>
              <a:custGeom>
                <a:avLst/>
                <a:gdLst>
                  <a:gd name="T0" fmla="*/ 311 w 487"/>
                  <a:gd name="T1" fmla="*/ 13 h 330"/>
                  <a:gd name="T2" fmla="*/ 247 w 487"/>
                  <a:gd name="T3" fmla="*/ 45 h 330"/>
                  <a:gd name="T4" fmla="*/ 222 w 487"/>
                  <a:gd name="T5" fmla="*/ 82 h 330"/>
                  <a:gd name="T6" fmla="*/ 222 w 487"/>
                  <a:gd name="T7" fmla="*/ 94 h 330"/>
                  <a:gd name="T8" fmla="*/ 210 w 487"/>
                  <a:gd name="T9" fmla="*/ 106 h 330"/>
                  <a:gd name="T10" fmla="*/ 187 w 487"/>
                  <a:gd name="T11" fmla="*/ 89 h 330"/>
                  <a:gd name="T12" fmla="*/ 143 w 487"/>
                  <a:gd name="T13" fmla="*/ 89 h 330"/>
                  <a:gd name="T14" fmla="*/ 116 w 487"/>
                  <a:gd name="T15" fmla="*/ 81 h 330"/>
                  <a:gd name="T16" fmla="*/ 76 w 487"/>
                  <a:gd name="T17" fmla="*/ 82 h 330"/>
                  <a:gd name="T18" fmla="*/ 64 w 487"/>
                  <a:gd name="T19" fmla="*/ 88 h 330"/>
                  <a:gd name="T20" fmla="*/ 46 w 487"/>
                  <a:gd name="T21" fmla="*/ 89 h 330"/>
                  <a:gd name="T22" fmla="*/ 31 w 487"/>
                  <a:gd name="T23" fmla="*/ 80 h 330"/>
                  <a:gd name="T24" fmla="*/ 22 w 487"/>
                  <a:gd name="T25" fmla="*/ 114 h 330"/>
                  <a:gd name="T26" fmla="*/ 21 w 487"/>
                  <a:gd name="T27" fmla="*/ 127 h 330"/>
                  <a:gd name="T28" fmla="*/ 8 w 487"/>
                  <a:gd name="T29" fmla="*/ 141 h 330"/>
                  <a:gd name="T30" fmla="*/ 2 w 487"/>
                  <a:gd name="T31" fmla="*/ 164 h 330"/>
                  <a:gd name="T32" fmla="*/ 24 w 487"/>
                  <a:gd name="T33" fmla="*/ 193 h 330"/>
                  <a:gd name="T34" fmla="*/ 15 w 487"/>
                  <a:gd name="T35" fmla="*/ 270 h 330"/>
                  <a:gd name="T36" fmla="*/ 36 w 487"/>
                  <a:gd name="T37" fmla="*/ 292 h 330"/>
                  <a:gd name="T38" fmla="*/ 60 w 487"/>
                  <a:gd name="T39" fmla="*/ 325 h 330"/>
                  <a:gd name="T40" fmla="*/ 106 w 487"/>
                  <a:gd name="T41" fmla="*/ 321 h 330"/>
                  <a:gd name="T42" fmla="*/ 133 w 487"/>
                  <a:gd name="T43" fmla="*/ 287 h 330"/>
                  <a:gd name="T44" fmla="*/ 182 w 487"/>
                  <a:gd name="T45" fmla="*/ 290 h 330"/>
                  <a:gd name="T46" fmla="*/ 243 w 487"/>
                  <a:gd name="T47" fmla="*/ 282 h 330"/>
                  <a:gd name="T48" fmla="*/ 292 w 487"/>
                  <a:gd name="T49" fmla="*/ 243 h 330"/>
                  <a:gd name="T50" fmla="*/ 334 w 487"/>
                  <a:gd name="T51" fmla="*/ 213 h 330"/>
                  <a:gd name="T52" fmla="*/ 397 w 487"/>
                  <a:gd name="T53" fmla="*/ 181 h 330"/>
                  <a:gd name="T54" fmla="*/ 446 w 487"/>
                  <a:gd name="T55" fmla="*/ 180 h 330"/>
                  <a:gd name="T56" fmla="*/ 479 w 487"/>
                  <a:gd name="T57" fmla="*/ 125 h 330"/>
                  <a:gd name="T58" fmla="*/ 487 w 487"/>
                  <a:gd name="T59" fmla="*/ 120 h 330"/>
                  <a:gd name="T60" fmla="*/ 433 w 487"/>
                  <a:gd name="T61" fmla="*/ 0 h 330"/>
                  <a:gd name="T62" fmla="*/ 311 w 487"/>
                  <a:gd name="T63" fmla="*/ 13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87" h="330">
                    <a:moveTo>
                      <a:pt x="311" y="13"/>
                    </a:moveTo>
                    <a:cubicBezTo>
                      <a:pt x="299" y="13"/>
                      <a:pt x="257" y="32"/>
                      <a:pt x="247" y="45"/>
                    </a:cubicBezTo>
                    <a:cubicBezTo>
                      <a:pt x="237" y="58"/>
                      <a:pt x="222" y="82"/>
                      <a:pt x="222" y="82"/>
                    </a:cubicBezTo>
                    <a:cubicBezTo>
                      <a:pt x="222" y="94"/>
                      <a:pt x="222" y="94"/>
                      <a:pt x="222" y="94"/>
                    </a:cubicBezTo>
                    <a:cubicBezTo>
                      <a:pt x="222" y="94"/>
                      <a:pt x="215" y="106"/>
                      <a:pt x="210" y="106"/>
                    </a:cubicBezTo>
                    <a:cubicBezTo>
                      <a:pt x="205" y="106"/>
                      <a:pt x="191" y="91"/>
                      <a:pt x="187" y="89"/>
                    </a:cubicBezTo>
                    <a:cubicBezTo>
                      <a:pt x="183" y="87"/>
                      <a:pt x="143" y="89"/>
                      <a:pt x="143" y="89"/>
                    </a:cubicBezTo>
                    <a:cubicBezTo>
                      <a:pt x="143" y="89"/>
                      <a:pt x="132" y="81"/>
                      <a:pt x="116" y="81"/>
                    </a:cubicBezTo>
                    <a:cubicBezTo>
                      <a:pt x="100" y="81"/>
                      <a:pt x="81" y="82"/>
                      <a:pt x="76" y="82"/>
                    </a:cubicBezTo>
                    <a:cubicBezTo>
                      <a:pt x="71" y="82"/>
                      <a:pt x="64" y="88"/>
                      <a:pt x="64" y="88"/>
                    </a:cubicBezTo>
                    <a:cubicBezTo>
                      <a:pt x="46" y="89"/>
                      <a:pt x="46" y="89"/>
                      <a:pt x="46" y="89"/>
                    </a:cubicBezTo>
                    <a:cubicBezTo>
                      <a:pt x="46" y="89"/>
                      <a:pt x="41" y="75"/>
                      <a:pt x="31" y="80"/>
                    </a:cubicBezTo>
                    <a:cubicBezTo>
                      <a:pt x="21" y="85"/>
                      <a:pt x="22" y="114"/>
                      <a:pt x="22" y="114"/>
                    </a:cubicBezTo>
                    <a:cubicBezTo>
                      <a:pt x="22" y="114"/>
                      <a:pt x="28" y="116"/>
                      <a:pt x="21" y="127"/>
                    </a:cubicBezTo>
                    <a:cubicBezTo>
                      <a:pt x="17" y="134"/>
                      <a:pt x="12" y="138"/>
                      <a:pt x="8" y="141"/>
                    </a:cubicBezTo>
                    <a:cubicBezTo>
                      <a:pt x="6" y="150"/>
                      <a:pt x="3" y="159"/>
                      <a:pt x="2" y="164"/>
                    </a:cubicBezTo>
                    <a:cubicBezTo>
                      <a:pt x="0" y="174"/>
                      <a:pt x="24" y="193"/>
                      <a:pt x="24" y="193"/>
                    </a:cubicBezTo>
                    <a:cubicBezTo>
                      <a:pt x="15" y="270"/>
                      <a:pt x="15" y="270"/>
                      <a:pt x="15" y="270"/>
                    </a:cubicBezTo>
                    <a:cubicBezTo>
                      <a:pt x="36" y="292"/>
                      <a:pt x="36" y="292"/>
                      <a:pt x="36" y="292"/>
                    </a:cubicBezTo>
                    <a:cubicBezTo>
                      <a:pt x="36" y="292"/>
                      <a:pt x="41" y="321"/>
                      <a:pt x="60" y="325"/>
                    </a:cubicBezTo>
                    <a:cubicBezTo>
                      <a:pt x="79" y="330"/>
                      <a:pt x="94" y="329"/>
                      <a:pt x="106" y="321"/>
                    </a:cubicBezTo>
                    <a:cubicBezTo>
                      <a:pt x="118" y="313"/>
                      <a:pt x="122" y="287"/>
                      <a:pt x="133" y="287"/>
                    </a:cubicBezTo>
                    <a:cubicBezTo>
                      <a:pt x="145" y="286"/>
                      <a:pt x="160" y="293"/>
                      <a:pt x="182" y="290"/>
                    </a:cubicBezTo>
                    <a:cubicBezTo>
                      <a:pt x="204" y="287"/>
                      <a:pt x="230" y="282"/>
                      <a:pt x="243" y="282"/>
                    </a:cubicBezTo>
                    <a:cubicBezTo>
                      <a:pt x="256" y="283"/>
                      <a:pt x="277" y="249"/>
                      <a:pt x="292" y="243"/>
                    </a:cubicBezTo>
                    <a:cubicBezTo>
                      <a:pt x="308" y="238"/>
                      <a:pt x="316" y="218"/>
                      <a:pt x="334" y="213"/>
                    </a:cubicBezTo>
                    <a:cubicBezTo>
                      <a:pt x="352" y="207"/>
                      <a:pt x="397" y="181"/>
                      <a:pt x="397" y="181"/>
                    </a:cubicBezTo>
                    <a:cubicBezTo>
                      <a:pt x="446" y="180"/>
                      <a:pt x="446" y="180"/>
                      <a:pt x="446" y="180"/>
                    </a:cubicBezTo>
                    <a:cubicBezTo>
                      <a:pt x="446" y="180"/>
                      <a:pt x="466" y="135"/>
                      <a:pt x="479" y="125"/>
                    </a:cubicBezTo>
                    <a:cubicBezTo>
                      <a:pt x="480" y="123"/>
                      <a:pt x="483" y="122"/>
                      <a:pt x="487" y="120"/>
                    </a:cubicBezTo>
                    <a:cubicBezTo>
                      <a:pt x="433" y="0"/>
                      <a:pt x="433" y="0"/>
                      <a:pt x="433" y="0"/>
                    </a:cubicBezTo>
                    <a:cubicBezTo>
                      <a:pt x="433" y="0"/>
                      <a:pt x="323" y="13"/>
                      <a:pt x="311" y="13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" name="Freeform 321">
                <a:extLst>
                  <a:ext uri="{FF2B5EF4-FFF2-40B4-BE49-F238E27FC236}">
                    <a16:creationId xmlns:a16="http://schemas.microsoft.com/office/drawing/2014/main" id="{CEBFC533-0B6D-5784-401B-0B83CE361F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429" y="-10275"/>
                <a:ext cx="243" cy="168"/>
              </a:xfrm>
              <a:custGeom>
                <a:avLst/>
                <a:gdLst>
                  <a:gd name="T0" fmla="*/ 97 w 103"/>
                  <a:gd name="T1" fmla="*/ 29 h 71"/>
                  <a:gd name="T2" fmla="*/ 100 w 103"/>
                  <a:gd name="T3" fmla="*/ 6 h 71"/>
                  <a:gd name="T4" fmla="*/ 36 w 103"/>
                  <a:gd name="T5" fmla="*/ 6 h 71"/>
                  <a:gd name="T6" fmla="*/ 30 w 103"/>
                  <a:gd name="T7" fmla="*/ 0 h 71"/>
                  <a:gd name="T8" fmla="*/ 24 w 103"/>
                  <a:gd name="T9" fmla="*/ 3 h 71"/>
                  <a:gd name="T10" fmla="*/ 23 w 103"/>
                  <a:gd name="T11" fmla="*/ 29 h 71"/>
                  <a:gd name="T12" fmla="*/ 4 w 103"/>
                  <a:gd name="T13" fmla="*/ 57 h 71"/>
                  <a:gd name="T14" fmla="*/ 21 w 103"/>
                  <a:gd name="T15" fmla="*/ 67 h 71"/>
                  <a:gd name="T16" fmla="*/ 29 w 103"/>
                  <a:gd name="T17" fmla="*/ 65 h 71"/>
                  <a:gd name="T18" fmla="*/ 31 w 103"/>
                  <a:gd name="T19" fmla="*/ 71 h 71"/>
                  <a:gd name="T20" fmla="*/ 98 w 103"/>
                  <a:gd name="T21" fmla="*/ 69 h 71"/>
                  <a:gd name="T22" fmla="*/ 103 w 103"/>
                  <a:gd name="T23" fmla="*/ 33 h 71"/>
                  <a:gd name="T24" fmla="*/ 97 w 103"/>
                  <a:gd name="T25" fmla="*/ 2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3" h="71">
                    <a:moveTo>
                      <a:pt x="97" y="29"/>
                    </a:moveTo>
                    <a:cubicBezTo>
                      <a:pt x="100" y="6"/>
                      <a:pt x="100" y="6"/>
                      <a:pt x="100" y="6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4" y="3"/>
                      <a:pt x="28" y="21"/>
                      <a:pt x="23" y="29"/>
                    </a:cubicBezTo>
                    <a:cubicBezTo>
                      <a:pt x="18" y="37"/>
                      <a:pt x="0" y="50"/>
                      <a:pt x="4" y="57"/>
                    </a:cubicBezTo>
                    <a:cubicBezTo>
                      <a:pt x="7" y="63"/>
                      <a:pt x="17" y="66"/>
                      <a:pt x="21" y="67"/>
                    </a:cubicBezTo>
                    <a:cubicBezTo>
                      <a:pt x="29" y="65"/>
                      <a:pt x="29" y="65"/>
                      <a:pt x="29" y="65"/>
                    </a:cubicBezTo>
                    <a:cubicBezTo>
                      <a:pt x="31" y="71"/>
                      <a:pt x="31" y="71"/>
                      <a:pt x="31" y="71"/>
                    </a:cubicBezTo>
                    <a:cubicBezTo>
                      <a:pt x="31" y="71"/>
                      <a:pt x="93" y="70"/>
                      <a:pt x="98" y="69"/>
                    </a:cubicBezTo>
                    <a:cubicBezTo>
                      <a:pt x="103" y="68"/>
                      <a:pt x="103" y="33"/>
                      <a:pt x="103" y="33"/>
                    </a:cubicBezTo>
                    <a:lnTo>
                      <a:pt x="97" y="2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" name="Freeform 322">
                <a:extLst>
                  <a:ext uri="{FF2B5EF4-FFF2-40B4-BE49-F238E27FC236}">
                    <a16:creationId xmlns:a16="http://schemas.microsoft.com/office/drawing/2014/main" id="{53A5941C-C82E-4E3A-4136-8B1DE0F6848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7307" y="-15531"/>
                <a:ext cx="1396" cy="976"/>
              </a:xfrm>
              <a:custGeom>
                <a:avLst/>
                <a:gdLst>
                  <a:gd name="T0" fmla="*/ 527 w 591"/>
                  <a:gd name="T1" fmla="*/ 205 h 413"/>
                  <a:gd name="T2" fmla="*/ 511 w 591"/>
                  <a:gd name="T3" fmla="*/ 226 h 413"/>
                  <a:gd name="T4" fmla="*/ 531 w 591"/>
                  <a:gd name="T5" fmla="*/ 237 h 413"/>
                  <a:gd name="T6" fmla="*/ 536 w 591"/>
                  <a:gd name="T7" fmla="*/ 212 h 413"/>
                  <a:gd name="T8" fmla="*/ 461 w 591"/>
                  <a:gd name="T9" fmla="*/ 249 h 413"/>
                  <a:gd name="T10" fmla="*/ 560 w 591"/>
                  <a:gd name="T11" fmla="*/ 198 h 413"/>
                  <a:gd name="T12" fmla="*/ 560 w 591"/>
                  <a:gd name="T13" fmla="*/ 198 h 413"/>
                  <a:gd name="T14" fmla="*/ 534 w 591"/>
                  <a:gd name="T15" fmla="*/ 86 h 413"/>
                  <a:gd name="T16" fmla="*/ 527 w 591"/>
                  <a:gd name="T17" fmla="*/ 67 h 413"/>
                  <a:gd name="T18" fmla="*/ 514 w 591"/>
                  <a:gd name="T19" fmla="*/ 77 h 413"/>
                  <a:gd name="T20" fmla="*/ 496 w 591"/>
                  <a:gd name="T21" fmla="*/ 70 h 413"/>
                  <a:gd name="T22" fmla="*/ 479 w 591"/>
                  <a:gd name="T23" fmla="*/ 68 h 413"/>
                  <a:gd name="T24" fmla="*/ 459 w 591"/>
                  <a:gd name="T25" fmla="*/ 56 h 413"/>
                  <a:gd name="T26" fmla="*/ 437 w 591"/>
                  <a:gd name="T27" fmla="*/ 48 h 413"/>
                  <a:gd name="T28" fmla="*/ 417 w 591"/>
                  <a:gd name="T29" fmla="*/ 63 h 413"/>
                  <a:gd name="T30" fmla="*/ 395 w 591"/>
                  <a:gd name="T31" fmla="*/ 54 h 413"/>
                  <a:gd name="T32" fmla="*/ 376 w 591"/>
                  <a:gd name="T33" fmla="*/ 51 h 413"/>
                  <a:gd name="T34" fmla="*/ 342 w 591"/>
                  <a:gd name="T35" fmla="*/ 38 h 413"/>
                  <a:gd name="T36" fmla="*/ 327 w 591"/>
                  <a:gd name="T37" fmla="*/ 29 h 413"/>
                  <a:gd name="T38" fmla="*/ 320 w 591"/>
                  <a:gd name="T39" fmla="*/ 23 h 413"/>
                  <a:gd name="T40" fmla="*/ 234 w 591"/>
                  <a:gd name="T41" fmla="*/ 22 h 413"/>
                  <a:gd name="T42" fmla="*/ 156 w 591"/>
                  <a:gd name="T43" fmla="*/ 7 h 413"/>
                  <a:gd name="T44" fmla="*/ 91 w 591"/>
                  <a:gd name="T45" fmla="*/ 8 h 413"/>
                  <a:gd name="T46" fmla="*/ 49 w 591"/>
                  <a:gd name="T47" fmla="*/ 18 h 413"/>
                  <a:gd name="T48" fmla="*/ 21 w 591"/>
                  <a:gd name="T49" fmla="*/ 67 h 413"/>
                  <a:gd name="T50" fmla="*/ 15 w 591"/>
                  <a:gd name="T51" fmla="*/ 101 h 413"/>
                  <a:gd name="T52" fmla="*/ 50 w 591"/>
                  <a:gd name="T53" fmla="*/ 94 h 413"/>
                  <a:gd name="T54" fmla="*/ 61 w 591"/>
                  <a:gd name="T55" fmla="*/ 99 h 413"/>
                  <a:gd name="T56" fmla="*/ 85 w 591"/>
                  <a:gd name="T57" fmla="*/ 96 h 413"/>
                  <a:gd name="T58" fmla="*/ 115 w 591"/>
                  <a:gd name="T59" fmla="*/ 108 h 413"/>
                  <a:gd name="T60" fmla="*/ 94 w 591"/>
                  <a:gd name="T61" fmla="*/ 144 h 413"/>
                  <a:gd name="T62" fmla="*/ 96 w 591"/>
                  <a:gd name="T63" fmla="*/ 181 h 413"/>
                  <a:gd name="T64" fmla="*/ 94 w 591"/>
                  <a:gd name="T65" fmla="*/ 205 h 413"/>
                  <a:gd name="T66" fmla="*/ 61 w 591"/>
                  <a:gd name="T67" fmla="*/ 217 h 413"/>
                  <a:gd name="T68" fmla="*/ 77 w 591"/>
                  <a:gd name="T69" fmla="*/ 240 h 413"/>
                  <a:gd name="T70" fmla="*/ 66 w 591"/>
                  <a:gd name="T71" fmla="*/ 276 h 413"/>
                  <a:gd name="T72" fmla="*/ 84 w 591"/>
                  <a:gd name="T73" fmla="*/ 301 h 413"/>
                  <a:gd name="T74" fmla="*/ 60 w 591"/>
                  <a:gd name="T75" fmla="*/ 325 h 413"/>
                  <a:gd name="T76" fmla="*/ 61 w 591"/>
                  <a:gd name="T77" fmla="*/ 351 h 413"/>
                  <a:gd name="T78" fmla="*/ 81 w 591"/>
                  <a:gd name="T79" fmla="*/ 350 h 413"/>
                  <a:gd name="T80" fmla="*/ 109 w 591"/>
                  <a:gd name="T81" fmla="*/ 365 h 413"/>
                  <a:gd name="T82" fmla="*/ 110 w 591"/>
                  <a:gd name="T83" fmla="*/ 383 h 413"/>
                  <a:gd name="T84" fmla="*/ 136 w 591"/>
                  <a:gd name="T85" fmla="*/ 413 h 413"/>
                  <a:gd name="T86" fmla="*/ 177 w 591"/>
                  <a:gd name="T87" fmla="*/ 389 h 413"/>
                  <a:gd name="T88" fmla="*/ 235 w 591"/>
                  <a:gd name="T89" fmla="*/ 377 h 413"/>
                  <a:gd name="T90" fmla="*/ 265 w 591"/>
                  <a:gd name="T91" fmla="*/ 378 h 413"/>
                  <a:gd name="T92" fmla="*/ 297 w 591"/>
                  <a:gd name="T93" fmla="*/ 374 h 413"/>
                  <a:gd name="T94" fmla="*/ 331 w 591"/>
                  <a:gd name="T95" fmla="*/ 329 h 413"/>
                  <a:gd name="T96" fmla="*/ 356 w 591"/>
                  <a:gd name="T97" fmla="*/ 315 h 413"/>
                  <a:gd name="T98" fmla="*/ 401 w 591"/>
                  <a:gd name="T99" fmla="*/ 270 h 413"/>
                  <a:gd name="T100" fmla="*/ 385 w 591"/>
                  <a:gd name="T101" fmla="*/ 215 h 413"/>
                  <a:gd name="T102" fmla="*/ 424 w 591"/>
                  <a:gd name="T103" fmla="*/ 172 h 413"/>
                  <a:gd name="T104" fmla="*/ 438 w 591"/>
                  <a:gd name="T105" fmla="*/ 146 h 413"/>
                  <a:gd name="T106" fmla="*/ 514 w 591"/>
                  <a:gd name="T107" fmla="*/ 113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91" h="413">
                    <a:moveTo>
                      <a:pt x="536" y="212"/>
                    </a:moveTo>
                    <a:cubicBezTo>
                      <a:pt x="536" y="212"/>
                      <a:pt x="533" y="205"/>
                      <a:pt x="527" y="205"/>
                    </a:cubicBezTo>
                    <a:cubicBezTo>
                      <a:pt x="521" y="205"/>
                      <a:pt x="498" y="218"/>
                      <a:pt x="501" y="223"/>
                    </a:cubicBezTo>
                    <a:cubicBezTo>
                      <a:pt x="504" y="228"/>
                      <a:pt x="511" y="226"/>
                      <a:pt x="511" y="226"/>
                    </a:cubicBezTo>
                    <a:cubicBezTo>
                      <a:pt x="511" y="226"/>
                      <a:pt x="515" y="235"/>
                      <a:pt x="519" y="236"/>
                    </a:cubicBezTo>
                    <a:cubicBezTo>
                      <a:pt x="523" y="237"/>
                      <a:pt x="531" y="237"/>
                      <a:pt x="531" y="237"/>
                    </a:cubicBezTo>
                    <a:cubicBezTo>
                      <a:pt x="537" y="235"/>
                      <a:pt x="547" y="225"/>
                      <a:pt x="546" y="218"/>
                    </a:cubicBezTo>
                    <a:cubicBezTo>
                      <a:pt x="545" y="211"/>
                      <a:pt x="536" y="212"/>
                      <a:pt x="536" y="212"/>
                    </a:cubicBezTo>
                    <a:close/>
                    <a:moveTo>
                      <a:pt x="447" y="261"/>
                    </a:moveTo>
                    <a:cubicBezTo>
                      <a:pt x="456" y="270"/>
                      <a:pt x="466" y="259"/>
                      <a:pt x="461" y="249"/>
                    </a:cubicBezTo>
                    <a:cubicBezTo>
                      <a:pt x="456" y="239"/>
                      <a:pt x="447" y="261"/>
                      <a:pt x="447" y="261"/>
                    </a:cubicBezTo>
                    <a:close/>
                    <a:moveTo>
                      <a:pt x="560" y="198"/>
                    </a:moveTo>
                    <a:cubicBezTo>
                      <a:pt x="560" y="198"/>
                      <a:pt x="573" y="218"/>
                      <a:pt x="582" y="213"/>
                    </a:cubicBezTo>
                    <a:cubicBezTo>
                      <a:pt x="591" y="208"/>
                      <a:pt x="570" y="191"/>
                      <a:pt x="560" y="198"/>
                    </a:cubicBezTo>
                    <a:close/>
                    <a:moveTo>
                      <a:pt x="535" y="101"/>
                    </a:moveTo>
                    <a:cubicBezTo>
                      <a:pt x="536" y="98"/>
                      <a:pt x="534" y="86"/>
                      <a:pt x="534" y="86"/>
                    </a:cubicBezTo>
                    <a:cubicBezTo>
                      <a:pt x="542" y="81"/>
                      <a:pt x="542" y="81"/>
                      <a:pt x="542" y="81"/>
                    </a:cubicBezTo>
                    <a:cubicBezTo>
                      <a:pt x="542" y="81"/>
                      <a:pt x="530" y="75"/>
                      <a:pt x="527" y="67"/>
                    </a:cubicBezTo>
                    <a:cubicBezTo>
                      <a:pt x="521" y="67"/>
                      <a:pt x="521" y="67"/>
                      <a:pt x="521" y="67"/>
                    </a:cubicBezTo>
                    <a:cubicBezTo>
                      <a:pt x="521" y="67"/>
                      <a:pt x="521" y="77"/>
                      <a:pt x="514" y="77"/>
                    </a:cubicBezTo>
                    <a:cubicBezTo>
                      <a:pt x="507" y="77"/>
                      <a:pt x="506" y="77"/>
                      <a:pt x="506" y="77"/>
                    </a:cubicBezTo>
                    <a:cubicBezTo>
                      <a:pt x="506" y="77"/>
                      <a:pt x="499" y="69"/>
                      <a:pt x="496" y="70"/>
                    </a:cubicBezTo>
                    <a:cubicBezTo>
                      <a:pt x="493" y="71"/>
                      <a:pt x="486" y="73"/>
                      <a:pt x="486" y="73"/>
                    </a:cubicBezTo>
                    <a:cubicBezTo>
                      <a:pt x="486" y="73"/>
                      <a:pt x="483" y="67"/>
                      <a:pt x="479" y="68"/>
                    </a:cubicBezTo>
                    <a:cubicBezTo>
                      <a:pt x="475" y="69"/>
                      <a:pt x="466" y="71"/>
                      <a:pt x="466" y="71"/>
                    </a:cubicBezTo>
                    <a:cubicBezTo>
                      <a:pt x="459" y="56"/>
                      <a:pt x="459" y="56"/>
                      <a:pt x="459" y="56"/>
                    </a:cubicBezTo>
                    <a:cubicBezTo>
                      <a:pt x="450" y="55"/>
                      <a:pt x="450" y="55"/>
                      <a:pt x="450" y="55"/>
                    </a:cubicBezTo>
                    <a:cubicBezTo>
                      <a:pt x="450" y="55"/>
                      <a:pt x="450" y="48"/>
                      <a:pt x="437" y="48"/>
                    </a:cubicBezTo>
                    <a:cubicBezTo>
                      <a:pt x="424" y="48"/>
                      <a:pt x="430" y="60"/>
                      <a:pt x="430" y="60"/>
                    </a:cubicBezTo>
                    <a:cubicBezTo>
                      <a:pt x="417" y="63"/>
                      <a:pt x="417" y="63"/>
                      <a:pt x="417" y="63"/>
                    </a:cubicBezTo>
                    <a:cubicBezTo>
                      <a:pt x="415" y="55"/>
                      <a:pt x="415" y="55"/>
                      <a:pt x="415" y="55"/>
                    </a:cubicBezTo>
                    <a:cubicBezTo>
                      <a:pt x="395" y="54"/>
                      <a:pt x="395" y="54"/>
                      <a:pt x="395" y="54"/>
                    </a:cubicBezTo>
                    <a:cubicBezTo>
                      <a:pt x="395" y="54"/>
                      <a:pt x="394" y="51"/>
                      <a:pt x="390" y="49"/>
                    </a:cubicBezTo>
                    <a:cubicBezTo>
                      <a:pt x="386" y="47"/>
                      <a:pt x="376" y="51"/>
                      <a:pt x="376" y="51"/>
                    </a:cubicBezTo>
                    <a:cubicBezTo>
                      <a:pt x="376" y="51"/>
                      <a:pt x="370" y="42"/>
                      <a:pt x="363" y="41"/>
                    </a:cubicBezTo>
                    <a:cubicBezTo>
                      <a:pt x="356" y="40"/>
                      <a:pt x="342" y="38"/>
                      <a:pt x="342" y="38"/>
                    </a:cubicBezTo>
                    <a:cubicBezTo>
                      <a:pt x="342" y="38"/>
                      <a:pt x="348" y="35"/>
                      <a:pt x="342" y="28"/>
                    </a:cubicBezTo>
                    <a:cubicBezTo>
                      <a:pt x="336" y="21"/>
                      <a:pt x="327" y="29"/>
                      <a:pt x="327" y="29"/>
                    </a:cubicBezTo>
                    <a:cubicBezTo>
                      <a:pt x="326" y="23"/>
                      <a:pt x="326" y="23"/>
                      <a:pt x="326" y="23"/>
                    </a:cubicBezTo>
                    <a:cubicBezTo>
                      <a:pt x="324" y="23"/>
                      <a:pt x="322" y="23"/>
                      <a:pt x="320" y="23"/>
                    </a:cubicBezTo>
                    <a:cubicBezTo>
                      <a:pt x="301" y="23"/>
                      <a:pt x="254" y="14"/>
                      <a:pt x="254" y="14"/>
                    </a:cubicBezTo>
                    <a:cubicBezTo>
                      <a:pt x="234" y="22"/>
                      <a:pt x="234" y="22"/>
                      <a:pt x="234" y="22"/>
                    </a:cubicBezTo>
                    <a:cubicBezTo>
                      <a:pt x="196" y="18"/>
                      <a:pt x="196" y="18"/>
                      <a:pt x="196" y="18"/>
                    </a:cubicBezTo>
                    <a:cubicBezTo>
                      <a:pt x="196" y="18"/>
                      <a:pt x="171" y="4"/>
                      <a:pt x="156" y="7"/>
                    </a:cubicBezTo>
                    <a:cubicBezTo>
                      <a:pt x="141" y="10"/>
                      <a:pt x="120" y="11"/>
                      <a:pt x="115" y="11"/>
                    </a:cubicBezTo>
                    <a:cubicBezTo>
                      <a:pt x="110" y="11"/>
                      <a:pt x="91" y="8"/>
                      <a:pt x="91" y="8"/>
                    </a:cubicBezTo>
                    <a:cubicBezTo>
                      <a:pt x="91" y="8"/>
                      <a:pt x="81" y="0"/>
                      <a:pt x="75" y="0"/>
                    </a:cubicBezTo>
                    <a:cubicBezTo>
                      <a:pt x="69" y="0"/>
                      <a:pt x="49" y="18"/>
                      <a:pt x="49" y="18"/>
                    </a:cubicBezTo>
                    <a:cubicBezTo>
                      <a:pt x="49" y="18"/>
                      <a:pt x="4" y="25"/>
                      <a:pt x="2" y="38"/>
                    </a:cubicBezTo>
                    <a:cubicBezTo>
                      <a:pt x="0" y="51"/>
                      <a:pt x="21" y="67"/>
                      <a:pt x="21" y="67"/>
                    </a:cubicBezTo>
                    <a:cubicBezTo>
                      <a:pt x="13" y="90"/>
                      <a:pt x="13" y="90"/>
                      <a:pt x="13" y="90"/>
                    </a:cubicBezTo>
                    <a:cubicBezTo>
                      <a:pt x="13" y="90"/>
                      <a:pt x="14" y="94"/>
                      <a:pt x="15" y="101"/>
                    </a:cubicBezTo>
                    <a:cubicBezTo>
                      <a:pt x="20" y="95"/>
                      <a:pt x="27" y="88"/>
                      <a:pt x="36" y="88"/>
                    </a:cubicBezTo>
                    <a:cubicBezTo>
                      <a:pt x="50" y="88"/>
                      <a:pt x="55" y="89"/>
                      <a:pt x="50" y="94"/>
                    </a:cubicBezTo>
                    <a:cubicBezTo>
                      <a:pt x="45" y="99"/>
                      <a:pt x="38" y="103"/>
                      <a:pt x="44" y="103"/>
                    </a:cubicBezTo>
                    <a:cubicBezTo>
                      <a:pt x="50" y="103"/>
                      <a:pt x="54" y="99"/>
                      <a:pt x="61" y="99"/>
                    </a:cubicBezTo>
                    <a:cubicBezTo>
                      <a:pt x="68" y="99"/>
                      <a:pt x="70" y="108"/>
                      <a:pt x="78" y="104"/>
                    </a:cubicBezTo>
                    <a:cubicBezTo>
                      <a:pt x="86" y="100"/>
                      <a:pt x="76" y="96"/>
                      <a:pt x="85" y="96"/>
                    </a:cubicBezTo>
                    <a:cubicBezTo>
                      <a:pt x="94" y="96"/>
                      <a:pt x="110" y="93"/>
                      <a:pt x="114" y="95"/>
                    </a:cubicBezTo>
                    <a:cubicBezTo>
                      <a:pt x="118" y="97"/>
                      <a:pt x="115" y="108"/>
                      <a:pt x="115" y="108"/>
                    </a:cubicBezTo>
                    <a:cubicBezTo>
                      <a:pt x="115" y="108"/>
                      <a:pt x="129" y="109"/>
                      <a:pt x="128" y="117"/>
                    </a:cubicBezTo>
                    <a:cubicBezTo>
                      <a:pt x="127" y="125"/>
                      <a:pt x="95" y="140"/>
                      <a:pt x="94" y="144"/>
                    </a:cubicBezTo>
                    <a:cubicBezTo>
                      <a:pt x="93" y="148"/>
                      <a:pt x="102" y="153"/>
                      <a:pt x="102" y="153"/>
                    </a:cubicBezTo>
                    <a:cubicBezTo>
                      <a:pt x="102" y="153"/>
                      <a:pt x="97" y="178"/>
                      <a:pt x="96" y="181"/>
                    </a:cubicBezTo>
                    <a:cubicBezTo>
                      <a:pt x="95" y="184"/>
                      <a:pt x="90" y="188"/>
                      <a:pt x="90" y="188"/>
                    </a:cubicBezTo>
                    <a:cubicBezTo>
                      <a:pt x="90" y="188"/>
                      <a:pt x="94" y="202"/>
                      <a:pt x="94" y="205"/>
                    </a:cubicBezTo>
                    <a:cubicBezTo>
                      <a:pt x="94" y="208"/>
                      <a:pt x="86" y="215"/>
                      <a:pt x="82" y="216"/>
                    </a:cubicBezTo>
                    <a:cubicBezTo>
                      <a:pt x="78" y="217"/>
                      <a:pt x="61" y="217"/>
                      <a:pt x="61" y="217"/>
                    </a:cubicBezTo>
                    <a:cubicBezTo>
                      <a:pt x="77" y="231"/>
                      <a:pt x="77" y="231"/>
                      <a:pt x="77" y="231"/>
                    </a:cubicBezTo>
                    <a:cubicBezTo>
                      <a:pt x="77" y="240"/>
                      <a:pt x="77" y="240"/>
                      <a:pt x="77" y="240"/>
                    </a:cubicBezTo>
                    <a:cubicBezTo>
                      <a:pt x="77" y="240"/>
                      <a:pt x="90" y="242"/>
                      <a:pt x="88" y="250"/>
                    </a:cubicBezTo>
                    <a:cubicBezTo>
                      <a:pt x="86" y="258"/>
                      <a:pt x="62" y="272"/>
                      <a:pt x="66" y="276"/>
                    </a:cubicBezTo>
                    <a:cubicBezTo>
                      <a:pt x="70" y="280"/>
                      <a:pt x="75" y="294"/>
                      <a:pt x="75" y="294"/>
                    </a:cubicBezTo>
                    <a:cubicBezTo>
                      <a:pt x="75" y="294"/>
                      <a:pt x="88" y="295"/>
                      <a:pt x="84" y="301"/>
                    </a:cubicBezTo>
                    <a:cubicBezTo>
                      <a:pt x="80" y="307"/>
                      <a:pt x="70" y="308"/>
                      <a:pt x="70" y="308"/>
                    </a:cubicBezTo>
                    <a:cubicBezTo>
                      <a:pt x="70" y="308"/>
                      <a:pt x="62" y="318"/>
                      <a:pt x="60" y="325"/>
                    </a:cubicBezTo>
                    <a:cubicBezTo>
                      <a:pt x="58" y="332"/>
                      <a:pt x="59" y="340"/>
                      <a:pt x="59" y="340"/>
                    </a:cubicBezTo>
                    <a:cubicBezTo>
                      <a:pt x="61" y="351"/>
                      <a:pt x="61" y="351"/>
                      <a:pt x="61" y="351"/>
                    </a:cubicBezTo>
                    <a:cubicBezTo>
                      <a:pt x="62" y="351"/>
                      <a:pt x="62" y="351"/>
                      <a:pt x="62" y="351"/>
                    </a:cubicBezTo>
                    <a:cubicBezTo>
                      <a:pt x="81" y="350"/>
                      <a:pt x="81" y="350"/>
                      <a:pt x="81" y="350"/>
                    </a:cubicBezTo>
                    <a:cubicBezTo>
                      <a:pt x="97" y="365"/>
                      <a:pt x="97" y="365"/>
                      <a:pt x="97" y="365"/>
                    </a:cubicBezTo>
                    <a:cubicBezTo>
                      <a:pt x="109" y="365"/>
                      <a:pt x="109" y="365"/>
                      <a:pt x="109" y="365"/>
                    </a:cubicBezTo>
                    <a:cubicBezTo>
                      <a:pt x="103" y="382"/>
                      <a:pt x="103" y="382"/>
                      <a:pt x="103" y="382"/>
                    </a:cubicBezTo>
                    <a:cubicBezTo>
                      <a:pt x="110" y="383"/>
                      <a:pt x="110" y="383"/>
                      <a:pt x="110" y="383"/>
                    </a:cubicBezTo>
                    <a:cubicBezTo>
                      <a:pt x="110" y="383"/>
                      <a:pt x="110" y="403"/>
                      <a:pt x="117" y="406"/>
                    </a:cubicBezTo>
                    <a:cubicBezTo>
                      <a:pt x="124" y="409"/>
                      <a:pt x="136" y="413"/>
                      <a:pt x="136" y="413"/>
                    </a:cubicBezTo>
                    <a:cubicBezTo>
                      <a:pt x="136" y="413"/>
                      <a:pt x="153" y="401"/>
                      <a:pt x="156" y="395"/>
                    </a:cubicBezTo>
                    <a:cubicBezTo>
                      <a:pt x="159" y="389"/>
                      <a:pt x="177" y="389"/>
                      <a:pt x="177" y="389"/>
                    </a:cubicBezTo>
                    <a:cubicBezTo>
                      <a:pt x="196" y="377"/>
                      <a:pt x="196" y="377"/>
                      <a:pt x="196" y="377"/>
                    </a:cubicBezTo>
                    <a:cubicBezTo>
                      <a:pt x="196" y="377"/>
                      <a:pt x="229" y="379"/>
                      <a:pt x="235" y="377"/>
                    </a:cubicBezTo>
                    <a:cubicBezTo>
                      <a:pt x="241" y="375"/>
                      <a:pt x="251" y="371"/>
                      <a:pt x="251" y="371"/>
                    </a:cubicBezTo>
                    <a:cubicBezTo>
                      <a:pt x="251" y="371"/>
                      <a:pt x="259" y="379"/>
                      <a:pt x="265" y="378"/>
                    </a:cubicBezTo>
                    <a:cubicBezTo>
                      <a:pt x="271" y="377"/>
                      <a:pt x="287" y="370"/>
                      <a:pt x="287" y="370"/>
                    </a:cubicBezTo>
                    <a:cubicBezTo>
                      <a:pt x="287" y="370"/>
                      <a:pt x="286" y="382"/>
                      <a:pt x="297" y="374"/>
                    </a:cubicBezTo>
                    <a:cubicBezTo>
                      <a:pt x="308" y="366"/>
                      <a:pt x="310" y="347"/>
                      <a:pt x="310" y="347"/>
                    </a:cubicBezTo>
                    <a:cubicBezTo>
                      <a:pt x="331" y="329"/>
                      <a:pt x="331" y="329"/>
                      <a:pt x="331" y="329"/>
                    </a:cubicBezTo>
                    <a:cubicBezTo>
                      <a:pt x="354" y="328"/>
                      <a:pt x="354" y="328"/>
                      <a:pt x="354" y="328"/>
                    </a:cubicBezTo>
                    <a:cubicBezTo>
                      <a:pt x="356" y="315"/>
                      <a:pt x="356" y="315"/>
                      <a:pt x="356" y="315"/>
                    </a:cubicBezTo>
                    <a:cubicBezTo>
                      <a:pt x="356" y="315"/>
                      <a:pt x="367" y="286"/>
                      <a:pt x="370" y="284"/>
                    </a:cubicBezTo>
                    <a:cubicBezTo>
                      <a:pt x="373" y="282"/>
                      <a:pt x="400" y="279"/>
                      <a:pt x="401" y="270"/>
                    </a:cubicBezTo>
                    <a:cubicBezTo>
                      <a:pt x="402" y="261"/>
                      <a:pt x="379" y="249"/>
                      <a:pt x="379" y="249"/>
                    </a:cubicBezTo>
                    <a:cubicBezTo>
                      <a:pt x="379" y="249"/>
                      <a:pt x="377" y="226"/>
                      <a:pt x="385" y="215"/>
                    </a:cubicBezTo>
                    <a:cubicBezTo>
                      <a:pt x="393" y="204"/>
                      <a:pt x="404" y="191"/>
                      <a:pt x="404" y="191"/>
                    </a:cubicBezTo>
                    <a:cubicBezTo>
                      <a:pt x="404" y="191"/>
                      <a:pt x="421" y="173"/>
                      <a:pt x="424" y="172"/>
                    </a:cubicBezTo>
                    <a:cubicBezTo>
                      <a:pt x="427" y="171"/>
                      <a:pt x="439" y="163"/>
                      <a:pt x="436" y="161"/>
                    </a:cubicBezTo>
                    <a:cubicBezTo>
                      <a:pt x="433" y="159"/>
                      <a:pt x="428" y="151"/>
                      <a:pt x="438" y="146"/>
                    </a:cubicBezTo>
                    <a:cubicBezTo>
                      <a:pt x="448" y="141"/>
                      <a:pt x="472" y="136"/>
                      <a:pt x="485" y="131"/>
                    </a:cubicBezTo>
                    <a:cubicBezTo>
                      <a:pt x="498" y="126"/>
                      <a:pt x="514" y="113"/>
                      <a:pt x="514" y="113"/>
                    </a:cubicBezTo>
                    <a:cubicBezTo>
                      <a:pt x="514" y="113"/>
                      <a:pt x="534" y="104"/>
                      <a:pt x="535" y="10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Freeform 323">
                <a:extLst>
                  <a:ext uri="{FF2B5EF4-FFF2-40B4-BE49-F238E27FC236}">
                    <a16:creationId xmlns:a16="http://schemas.microsoft.com/office/drawing/2014/main" id="{7E38B7C0-B744-38B2-9D94-5E4B3B8DC0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368" y="-15323"/>
                <a:ext cx="366" cy="654"/>
              </a:xfrm>
              <a:custGeom>
                <a:avLst/>
                <a:gdLst>
                  <a:gd name="T0" fmla="*/ 141 w 155"/>
                  <a:gd name="T1" fmla="*/ 20 h 277"/>
                  <a:gd name="T2" fmla="*/ 140 w 155"/>
                  <a:gd name="T3" fmla="*/ 7 h 277"/>
                  <a:gd name="T4" fmla="*/ 111 w 155"/>
                  <a:gd name="T5" fmla="*/ 8 h 277"/>
                  <a:gd name="T6" fmla="*/ 104 w 155"/>
                  <a:gd name="T7" fmla="*/ 16 h 277"/>
                  <a:gd name="T8" fmla="*/ 87 w 155"/>
                  <a:gd name="T9" fmla="*/ 11 h 277"/>
                  <a:gd name="T10" fmla="*/ 70 w 155"/>
                  <a:gd name="T11" fmla="*/ 15 h 277"/>
                  <a:gd name="T12" fmla="*/ 76 w 155"/>
                  <a:gd name="T13" fmla="*/ 6 h 277"/>
                  <a:gd name="T14" fmla="*/ 62 w 155"/>
                  <a:gd name="T15" fmla="*/ 0 h 277"/>
                  <a:gd name="T16" fmla="*/ 41 w 155"/>
                  <a:gd name="T17" fmla="*/ 13 h 277"/>
                  <a:gd name="T18" fmla="*/ 46 w 155"/>
                  <a:gd name="T19" fmla="*/ 53 h 277"/>
                  <a:gd name="T20" fmla="*/ 23 w 155"/>
                  <a:gd name="T21" fmla="*/ 114 h 277"/>
                  <a:gd name="T22" fmla="*/ 9 w 155"/>
                  <a:gd name="T23" fmla="*/ 146 h 277"/>
                  <a:gd name="T24" fmla="*/ 6 w 155"/>
                  <a:gd name="T25" fmla="*/ 180 h 277"/>
                  <a:gd name="T26" fmla="*/ 23 w 155"/>
                  <a:gd name="T27" fmla="*/ 191 h 277"/>
                  <a:gd name="T28" fmla="*/ 30 w 155"/>
                  <a:gd name="T29" fmla="*/ 228 h 277"/>
                  <a:gd name="T30" fmla="*/ 20 w 155"/>
                  <a:gd name="T31" fmla="*/ 271 h 277"/>
                  <a:gd name="T32" fmla="*/ 52 w 155"/>
                  <a:gd name="T33" fmla="*/ 268 h 277"/>
                  <a:gd name="T34" fmla="*/ 62 w 155"/>
                  <a:gd name="T35" fmla="*/ 276 h 277"/>
                  <a:gd name="T36" fmla="*/ 87 w 155"/>
                  <a:gd name="T37" fmla="*/ 263 h 277"/>
                  <a:gd name="T38" fmla="*/ 85 w 155"/>
                  <a:gd name="T39" fmla="*/ 252 h 277"/>
                  <a:gd name="T40" fmla="*/ 86 w 155"/>
                  <a:gd name="T41" fmla="*/ 237 h 277"/>
                  <a:gd name="T42" fmla="*/ 96 w 155"/>
                  <a:gd name="T43" fmla="*/ 220 h 277"/>
                  <a:gd name="T44" fmla="*/ 110 w 155"/>
                  <a:gd name="T45" fmla="*/ 213 h 277"/>
                  <a:gd name="T46" fmla="*/ 101 w 155"/>
                  <a:gd name="T47" fmla="*/ 206 h 277"/>
                  <a:gd name="T48" fmla="*/ 92 w 155"/>
                  <a:gd name="T49" fmla="*/ 188 h 277"/>
                  <a:gd name="T50" fmla="*/ 114 w 155"/>
                  <a:gd name="T51" fmla="*/ 162 h 277"/>
                  <a:gd name="T52" fmla="*/ 103 w 155"/>
                  <a:gd name="T53" fmla="*/ 152 h 277"/>
                  <a:gd name="T54" fmla="*/ 103 w 155"/>
                  <a:gd name="T55" fmla="*/ 143 h 277"/>
                  <a:gd name="T56" fmla="*/ 87 w 155"/>
                  <a:gd name="T57" fmla="*/ 129 h 277"/>
                  <a:gd name="T58" fmla="*/ 108 w 155"/>
                  <a:gd name="T59" fmla="*/ 128 h 277"/>
                  <a:gd name="T60" fmla="*/ 120 w 155"/>
                  <a:gd name="T61" fmla="*/ 117 h 277"/>
                  <a:gd name="T62" fmla="*/ 116 w 155"/>
                  <a:gd name="T63" fmla="*/ 100 h 277"/>
                  <a:gd name="T64" fmla="*/ 122 w 155"/>
                  <a:gd name="T65" fmla="*/ 93 h 277"/>
                  <a:gd name="T66" fmla="*/ 128 w 155"/>
                  <a:gd name="T67" fmla="*/ 65 h 277"/>
                  <a:gd name="T68" fmla="*/ 120 w 155"/>
                  <a:gd name="T69" fmla="*/ 56 h 277"/>
                  <a:gd name="T70" fmla="*/ 154 w 155"/>
                  <a:gd name="T71" fmla="*/ 29 h 277"/>
                  <a:gd name="T72" fmla="*/ 141 w 155"/>
                  <a:gd name="T73" fmla="*/ 20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5" h="277">
                    <a:moveTo>
                      <a:pt x="141" y="20"/>
                    </a:moveTo>
                    <a:cubicBezTo>
                      <a:pt x="141" y="20"/>
                      <a:pt x="144" y="9"/>
                      <a:pt x="140" y="7"/>
                    </a:cubicBezTo>
                    <a:cubicBezTo>
                      <a:pt x="136" y="5"/>
                      <a:pt x="120" y="8"/>
                      <a:pt x="111" y="8"/>
                    </a:cubicBezTo>
                    <a:cubicBezTo>
                      <a:pt x="102" y="8"/>
                      <a:pt x="112" y="12"/>
                      <a:pt x="104" y="16"/>
                    </a:cubicBezTo>
                    <a:cubicBezTo>
                      <a:pt x="96" y="20"/>
                      <a:pt x="94" y="11"/>
                      <a:pt x="87" y="11"/>
                    </a:cubicBezTo>
                    <a:cubicBezTo>
                      <a:pt x="80" y="11"/>
                      <a:pt x="76" y="15"/>
                      <a:pt x="70" y="15"/>
                    </a:cubicBezTo>
                    <a:cubicBezTo>
                      <a:pt x="64" y="15"/>
                      <a:pt x="71" y="11"/>
                      <a:pt x="76" y="6"/>
                    </a:cubicBezTo>
                    <a:cubicBezTo>
                      <a:pt x="81" y="1"/>
                      <a:pt x="76" y="0"/>
                      <a:pt x="62" y="0"/>
                    </a:cubicBezTo>
                    <a:cubicBezTo>
                      <a:pt x="53" y="0"/>
                      <a:pt x="46" y="7"/>
                      <a:pt x="41" y="13"/>
                    </a:cubicBezTo>
                    <a:cubicBezTo>
                      <a:pt x="44" y="23"/>
                      <a:pt x="47" y="40"/>
                      <a:pt x="46" y="53"/>
                    </a:cubicBezTo>
                    <a:cubicBezTo>
                      <a:pt x="45" y="74"/>
                      <a:pt x="23" y="114"/>
                      <a:pt x="23" y="114"/>
                    </a:cubicBez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6"/>
                      <a:pt x="0" y="173"/>
                      <a:pt x="6" y="180"/>
                    </a:cubicBezTo>
                    <a:cubicBezTo>
                      <a:pt x="12" y="187"/>
                      <a:pt x="23" y="191"/>
                      <a:pt x="23" y="191"/>
                    </a:cubicBezTo>
                    <a:cubicBezTo>
                      <a:pt x="30" y="228"/>
                      <a:pt x="30" y="228"/>
                      <a:pt x="30" y="228"/>
                    </a:cubicBezTo>
                    <a:cubicBezTo>
                      <a:pt x="30" y="228"/>
                      <a:pt x="14" y="270"/>
                      <a:pt x="20" y="271"/>
                    </a:cubicBezTo>
                    <a:cubicBezTo>
                      <a:pt x="26" y="272"/>
                      <a:pt x="52" y="268"/>
                      <a:pt x="52" y="268"/>
                    </a:cubicBezTo>
                    <a:cubicBezTo>
                      <a:pt x="52" y="268"/>
                      <a:pt x="56" y="277"/>
                      <a:pt x="62" y="276"/>
                    </a:cubicBezTo>
                    <a:cubicBezTo>
                      <a:pt x="67" y="275"/>
                      <a:pt x="84" y="265"/>
                      <a:pt x="87" y="263"/>
                    </a:cubicBezTo>
                    <a:cubicBezTo>
                      <a:pt x="85" y="252"/>
                      <a:pt x="85" y="252"/>
                      <a:pt x="85" y="252"/>
                    </a:cubicBezTo>
                    <a:cubicBezTo>
                      <a:pt x="85" y="252"/>
                      <a:pt x="84" y="244"/>
                      <a:pt x="86" y="237"/>
                    </a:cubicBezTo>
                    <a:cubicBezTo>
                      <a:pt x="88" y="230"/>
                      <a:pt x="96" y="220"/>
                      <a:pt x="96" y="220"/>
                    </a:cubicBezTo>
                    <a:cubicBezTo>
                      <a:pt x="96" y="220"/>
                      <a:pt x="106" y="219"/>
                      <a:pt x="110" y="213"/>
                    </a:cubicBezTo>
                    <a:cubicBezTo>
                      <a:pt x="114" y="207"/>
                      <a:pt x="101" y="206"/>
                      <a:pt x="101" y="206"/>
                    </a:cubicBezTo>
                    <a:cubicBezTo>
                      <a:pt x="101" y="206"/>
                      <a:pt x="96" y="192"/>
                      <a:pt x="92" y="188"/>
                    </a:cubicBezTo>
                    <a:cubicBezTo>
                      <a:pt x="88" y="184"/>
                      <a:pt x="112" y="170"/>
                      <a:pt x="114" y="162"/>
                    </a:cubicBezTo>
                    <a:cubicBezTo>
                      <a:pt x="116" y="154"/>
                      <a:pt x="103" y="152"/>
                      <a:pt x="103" y="152"/>
                    </a:cubicBezTo>
                    <a:cubicBezTo>
                      <a:pt x="103" y="143"/>
                      <a:pt x="103" y="143"/>
                      <a:pt x="103" y="143"/>
                    </a:cubicBezTo>
                    <a:cubicBezTo>
                      <a:pt x="87" y="129"/>
                      <a:pt x="87" y="129"/>
                      <a:pt x="87" y="129"/>
                    </a:cubicBezTo>
                    <a:cubicBezTo>
                      <a:pt x="87" y="129"/>
                      <a:pt x="104" y="129"/>
                      <a:pt x="108" y="128"/>
                    </a:cubicBezTo>
                    <a:cubicBezTo>
                      <a:pt x="112" y="127"/>
                      <a:pt x="120" y="120"/>
                      <a:pt x="120" y="117"/>
                    </a:cubicBezTo>
                    <a:cubicBezTo>
                      <a:pt x="120" y="114"/>
                      <a:pt x="116" y="100"/>
                      <a:pt x="116" y="100"/>
                    </a:cubicBezTo>
                    <a:cubicBezTo>
                      <a:pt x="116" y="100"/>
                      <a:pt x="121" y="96"/>
                      <a:pt x="122" y="93"/>
                    </a:cubicBezTo>
                    <a:cubicBezTo>
                      <a:pt x="123" y="90"/>
                      <a:pt x="128" y="65"/>
                      <a:pt x="128" y="65"/>
                    </a:cubicBezTo>
                    <a:cubicBezTo>
                      <a:pt x="128" y="65"/>
                      <a:pt x="119" y="60"/>
                      <a:pt x="120" y="56"/>
                    </a:cubicBezTo>
                    <a:cubicBezTo>
                      <a:pt x="121" y="52"/>
                      <a:pt x="153" y="37"/>
                      <a:pt x="154" y="29"/>
                    </a:cubicBezTo>
                    <a:cubicBezTo>
                      <a:pt x="155" y="21"/>
                      <a:pt x="141" y="20"/>
                      <a:pt x="141" y="2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7" name="Freeform 324">
                <a:extLst>
                  <a:ext uri="{FF2B5EF4-FFF2-40B4-BE49-F238E27FC236}">
                    <a16:creationId xmlns:a16="http://schemas.microsoft.com/office/drawing/2014/main" id="{A238BE00-B2A1-0850-A1A8-68ABE145127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4736" y="-10655"/>
                <a:ext cx="4389" cy="4958"/>
              </a:xfrm>
              <a:custGeom>
                <a:avLst/>
                <a:gdLst>
                  <a:gd name="T0" fmla="*/ 1096 w 1858"/>
                  <a:gd name="T1" fmla="*/ 350 h 2099"/>
                  <a:gd name="T2" fmla="*/ 1201 w 1858"/>
                  <a:gd name="T3" fmla="*/ 299 h 2099"/>
                  <a:gd name="T4" fmla="*/ 1144 w 1858"/>
                  <a:gd name="T5" fmla="*/ 291 h 2099"/>
                  <a:gd name="T6" fmla="*/ 1124 w 1858"/>
                  <a:gd name="T7" fmla="*/ 270 h 2099"/>
                  <a:gd name="T8" fmla="*/ 1087 w 1858"/>
                  <a:gd name="T9" fmla="*/ 283 h 2099"/>
                  <a:gd name="T10" fmla="*/ 1837 w 1858"/>
                  <a:gd name="T11" fmla="*/ 583 h 2099"/>
                  <a:gd name="T12" fmla="*/ 1713 w 1858"/>
                  <a:gd name="T13" fmla="*/ 532 h 2099"/>
                  <a:gd name="T14" fmla="*/ 1445 w 1858"/>
                  <a:gd name="T15" fmla="*/ 412 h 2099"/>
                  <a:gd name="T16" fmla="*/ 1377 w 1858"/>
                  <a:gd name="T17" fmla="*/ 411 h 2099"/>
                  <a:gd name="T18" fmla="*/ 1258 w 1858"/>
                  <a:gd name="T19" fmla="*/ 316 h 2099"/>
                  <a:gd name="T20" fmla="*/ 1154 w 1858"/>
                  <a:gd name="T21" fmla="*/ 423 h 2099"/>
                  <a:gd name="T22" fmla="*/ 1062 w 1858"/>
                  <a:gd name="T23" fmla="*/ 356 h 2099"/>
                  <a:gd name="T24" fmla="*/ 1095 w 1858"/>
                  <a:gd name="T25" fmla="*/ 270 h 2099"/>
                  <a:gd name="T26" fmla="*/ 1063 w 1858"/>
                  <a:gd name="T27" fmla="*/ 52 h 2099"/>
                  <a:gd name="T28" fmla="*/ 971 w 1858"/>
                  <a:gd name="T29" fmla="*/ 160 h 2099"/>
                  <a:gd name="T30" fmla="*/ 888 w 1858"/>
                  <a:gd name="T31" fmla="*/ 145 h 2099"/>
                  <a:gd name="T32" fmla="*/ 807 w 1858"/>
                  <a:gd name="T33" fmla="*/ 183 h 2099"/>
                  <a:gd name="T34" fmla="*/ 702 w 1858"/>
                  <a:gd name="T35" fmla="*/ 221 h 2099"/>
                  <a:gd name="T36" fmla="*/ 664 w 1858"/>
                  <a:gd name="T37" fmla="*/ 91 h 2099"/>
                  <a:gd name="T38" fmla="*/ 641 w 1858"/>
                  <a:gd name="T39" fmla="*/ 7 h 2099"/>
                  <a:gd name="T40" fmla="*/ 559 w 1858"/>
                  <a:gd name="T41" fmla="*/ 64 h 2099"/>
                  <a:gd name="T42" fmla="*/ 460 w 1858"/>
                  <a:gd name="T43" fmla="*/ 60 h 2099"/>
                  <a:gd name="T44" fmla="*/ 493 w 1858"/>
                  <a:gd name="T45" fmla="*/ 154 h 2099"/>
                  <a:gd name="T46" fmla="*/ 393 w 1858"/>
                  <a:gd name="T47" fmla="*/ 251 h 2099"/>
                  <a:gd name="T48" fmla="*/ 306 w 1858"/>
                  <a:gd name="T49" fmla="*/ 180 h 2099"/>
                  <a:gd name="T50" fmla="*/ 191 w 1858"/>
                  <a:gd name="T51" fmla="*/ 223 h 2099"/>
                  <a:gd name="T52" fmla="*/ 197 w 1858"/>
                  <a:gd name="T53" fmla="*/ 313 h 2099"/>
                  <a:gd name="T54" fmla="*/ 183 w 1858"/>
                  <a:gd name="T55" fmla="*/ 518 h 2099"/>
                  <a:gd name="T56" fmla="*/ 66 w 1858"/>
                  <a:gd name="T57" fmla="*/ 547 h 2099"/>
                  <a:gd name="T58" fmla="*/ 9 w 1858"/>
                  <a:gd name="T59" fmla="*/ 674 h 2099"/>
                  <a:gd name="T60" fmla="*/ 43 w 1858"/>
                  <a:gd name="T61" fmla="*/ 791 h 2099"/>
                  <a:gd name="T62" fmla="*/ 170 w 1858"/>
                  <a:gd name="T63" fmla="*/ 874 h 2099"/>
                  <a:gd name="T64" fmla="*/ 288 w 1858"/>
                  <a:gd name="T65" fmla="*/ 859 h 2099"/>
                  <a:gd name="T66" fmla="*/ 405 w 1858"/>
                  <a:gd name="T67" fmla="*/ 814 h 2099"/>
                  <a:gd name="T68" fmla="*/ 442 w 1858"/>
                  <a:gd name="T69" fmla="*/ 932 h 2099"/>
                  <a:gd name="T70" fmla="*/ 552 w 1858"/>
                  <a:gd name="T71" fmla="*/ 986 h 2099"/>
                  <a:gd name="T72" fmla="*/ 675 w 1858"/>
                  <a:gd name="T73" fmla="*/ 1092 h 2099"/>
                  <a:gd name="T74" fmla="*/ 816 w 1858"/>
                  <a:gd name="T75" fmla="*/ 1262 h 2099"/>
                  <a:gd name="T76" fmla="*/ 810 w 1858"/>
                  <a:gd name="T77" fmla="*/ 1406 h 2099"/>
                  <a:gd name="T78" fmla="*/ 987 w 1858"/>
                  <a:gd name="T79" fmla="*/ 1564 h 2099"/>
                  <a:gd name="T80" fmla="*/ 1043 w 1858"/>
                  <a:gd name="T81" fmla="*/ 1690 h 2099"/>
                  <a:gd name="T82" fmla="*/ 969 w 1858"/>
                  <a:gd name="T83" fmla="*/ 1810 h 2099"/>
                  <a:gd name="T84" fmla="*/ 915 w 1858"/>
                  <a:gd name="T85" fmla="*/ 1912 h 2099"/>
                  <a:gd name="T86" fmla="*/ 1049 w 1858"/>
                  <a:gd name="T87" fmla="*/ 1978 h 2099"/>
                  <a:gd name="T88" fmla="*/ 1118 w 1858"/>
                  <a:gd name="T89" fmla="*/ 2099 h 2099"/>
                  <a:gd name="T90" fmla="*/ 1165 w 1858"/>
                  <a:gd name="T91" fmla="*/ 1984 h 2099"/>
                  <a:gd name="T92" fmla="*/ 1208 w 1858"/>
                  <a:gd name="T93" fmla="*/ 1956 h 2099"/>
                  <a:gd name="T94" fmla="*/ 1200 w 1858"/>
                  <a:gd name="T95" fmla="*/ 1987 h 2099"/>
                  <a:gd name="T96" fmla="*/ 1294 w 1858"/>
                  <a:gd name="T97" fmla="*/ 1764 h 2099"/>
                  <a:gd name="T98" fmla="*/ 1279 w 1858"/>
                  <a:gd name="T99" fmla="*/ 1678 h 2099"/>
                  <a:gd name="T100" fmla="*/ 1311 w 1858"/>
                  <a:gd name="T101" fmla="*/ 1617 h 2099"/>
                  <a:gd name="T102" fmla="*/ 1412 w 1858"/>
                  <a:gd name="T103" fmla="*/ 1561 h 2099"/>
                  <a:gd name="T104" fmla="*/ 1459 w 1858"/>
                  <a:gd name="T105" fmla="*/ 1519 h 2099"/>
                  <a:gd name="T106" fmla="*/ 1571 w 1858"/>
                  <a:gd name="T107" fmla="*/ 1506 h 2099"/>
                  <a:gd name="T108" fmla="*/ 1629 w 1858"/>
                  <a:gd name="T109" fmla="*/ 1372 h 2099"/>
                  <a:gd name="T110" fmla="*/ 1671 w 1858"/>
                  <a:gd name="T111" fmla="*/ 1213 h 2099"/>
                  <a:gd name="T112" fmla="*/ 1674 w 1858"/>
                  <a:gd name="T113" fmla="*/ 972 h 2099"/>
                  <a:gd name="T114" fmla="*/ 1782 w 1858"/>
                  <a:gd name="T115" fmla="*/ 855 h 20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858" h="2099">
                    <a:moveTo>
                      <a:pt x="1146" y="299"/>
                    </a:moveTo>
                    <a:cubicBezTo>
                      <a:pt x="1140" y="298"/>
                      <a:pt x="1112" y="291"/>
                      <a:pt x="1102" y="293"/>
                    </a:cubicBezTo>
                    <a:cubicBezTo>
                      <a:pt x="1092" y="295"/>
                      <a:pt x="1103" y="318"/>
                      <a:pt x="1103" y="318"/>
                    </a:cubicBezTo>
                    <a:cubicBezTo>
                      <a:pt x="1092" y="320"/>
                      <a:pt x="1092" y="320"/>
                      <a:pt x="1092" y="320"/>
                    </a:cubicBezTo>
                    <a:cubicBezTo>
                      <a:pt x="1092" y="336"/>
                      <a:pt x="1092" y="336"/>
                      <a:pt x="1092" y="336"/>
                    </a:cubicBezTo>
                    <a:cubicBezTo>
                      <a:pt x="1106" y="342"/>
                      <a:pt x="1106" y="342"/>
                      <a:pt x="1106" y="342"/>
                    </a:cubicBezTo>
                    <a:cubicBezTo>
                      <a:pt x="1096" y="350"/>
                      <a:pt x="1096" y="350"/>
                      <a:pt x="1096" y="350"/>
                    </a:cubicBezTo>
                    <a:cubicBezTo>
                      <a:pt x="1096" y="350"/>
                      <a:pt x="1099" y="366"/>
                      <a:pt x="1105" y="376"/>
                    </a:cubicBezTo>
                    <a:cubicBezTo>
                      <a:pt x="1112" y="386"/>
                      <a:pt x="1132" y="380"/>
                      <a:pt x="1139" y="380"/>
                    </a:cubicBezTo>
                    <a:cubicBezTo>
                      <a:pt x="1145" y="380"/>
                      <a:pt x="1144" y="372"/>
                      <a:pt x="1144" y="372"/>
                    </a:cubicBezTo>
                    <a:cubicBezTo>
                      <a:pt x="1144" y="372"/>
                      <a:pt x="1157" y="368"/>
                      <a:pt x="1168" y="368"/>
                    </a:cubicBezTo>
                    <a:cubicBezTo>
                      <a:pt x="1179" y="368"/>
                      <a:pt x="1186" y="355"/>
                      <a:pt x="1186" y="355"/>
                    </a:cubicBezTo>
                    <a:cubicBezTo>
                      <a:pt x="1195" y="326"/>
                      <a:pt x="1195" y="326"/>
                      <a:pt x="1195" y="326"/>
                    </a:cubicBezTo>
                    <a:cubicBezTo>
                      <a:pt x="1195" y="326"/>
                      <a:pt x="1202" y="312"/>
                      <a:pt x="1201" y="299"/>
                    </a:cubicBezTo>
                    <a:cubicBezTo>
                      <a:pt x="1200" y="286"/>
                      <a:pt x="1180" y="291"/>
                      <a:pt x="1169" y="291"/>
                    </a:cubicBezTo>
                    <a:cubicBezTo>
                      <a:pt x="1169" y="291"/>
                      <a:pt x="1153" y="300"/>
                      <a:pt x="1146" y="299"/>
                    </a:cubicBezTo>
                    <a:close/>
                    <a:moveTo>
                      <a:pt x="1144" y="291"/>
                    </a:moveTo>
                    <a:cubicBezTo>
                      <a:pt x="1159" y="286"/>
                      <a:pt x="1159" y="286"/>
                      <a:pt x="1159" y="286"/>
                    </a:cubicBezTo>
                    <a:cubicBezTo>
                      <a:pt x="1147" y="275"/>
                      <a:pt x="1147" y="275"/>
                      <a:pt x="1147" y="275"/>
                    </a:cubicBezTo>
                    <a:cubicBezTo>
                      <a:pt x="1132" y="292"/>
                      <a:pt x="1132" y="292"/>
                      <a:pt x="1132" y="292"/>
                    </a:cubicBezTo>
                    <a:lnTo>
                      <a:pt x="1144" y="291"/>
                    </a:lnTo>
                    <a:close/>
                    <a:moveTo>
                      <a:pt x="1124" y="270"/>
                    </a:moveTo>
                    <a:cubicBezTo>
                      <a:pt x="1110" y="271"/>
                      <a:pt x="1110" y="271"/>
                      <a:pt x="1110" y="271"/>
                    </a:cubicBezTo>
                    <a:cubicBezTo>
                      <a:pt x="1109" y="282"/>
                      <a:pt x="1109" y="282"/>
                      <a:pt x="1109" y="282"/>
                    </a:cubicBezTo>
                    <a:cubicBezTo>
                      <a:pt x="1131" y="283"/>
                      <a:pt x="1131" y="283"/>
                      <a:pt x="1131" y="283"/>
                    </a:cubicBezTo>
                    <a:cubicBezTo>
                      <a:pt x="1143" y="266"/>
                      <a:pt x="1143" y="266"/>
                      <a:pt x="1143" y="266"/>
                    </a:cubicBezTo>
                    <a:cubicBezTo>
                      <a:pt x="1134" y="255"/>
                      <a:pt x="1134" y="255"/>
                      <a:pt x="1134" y="255"/>
                    </a:cubicBezTo>
                    <a:lnTo>
                      <a:pt x="1124" y="270"/>
                    </a:lnTo>
                    <a:close/>
                    <a:moveTo>
                      <a:pt x="1050" y="326"/>
                    </a:moveTo>
                    <a:cubicBezTo>
                      <a:pt x="1047" y="340"/>
                      <a:pt x="1047" y="340"/>
                      <a:pt x="1047" y="340"/>
                    </a:cubicBezTo>
                    <a:cubicBezTo>
                      <a:pt x="1037" y="363"/>
                      <a:pt x="1037" y="363"/>
                      <a:pt x="1037" y="363"/>
                    </a:cubicBezTo>
                    <a:cubicBezTo>
                      <a:pt x="1057" y="351"/>
                      <a:pt x="1057" y="351"/>
                      <a:pt x="1057" y="351"/>
                    </a:cubicBezTo>
                    <a:cubicBezTo>
                      <a:pt x="1057" y="351"/>
                      <a:pt x="1079" y="321"/>
                      <a:pt x="1071" y="316"/>
                    </a:cubicBezTo>
                    <a:cubicBezTo>
                      <a:pt x="1062" y="310"/>
                      <a:pt x="1050" y="326"/>
                      <a:pt x="1050" y="326"/>
                    </a:cubicBezTo>
                    <a:close/>
                    <a:moveTo>
                      <a:pt x="1087" y="283"/>
                    </a:moveTo>
                    <a:cubicBezTo>
                      <a:pt x="1074" y="299"/>
                      <a:pt x="1074" y="299"/>
                      <a:pt x="1074" y="299"/>
                    </a:cubicBezTo>
                    <a:cubicBezTo>
                      <a:pt x="1085" y="304"/>
                      <a:pt x="1085" y="304"/>
                      <a:pt x="1085" y="304"/>
                    </a:cubicBezTo>
                    <a:cubicBezTo>
                      <a:pt x="1096" y="287"/>
                      <a:pt x="1096" y="287"/>
                      <a:pt x="1096" y="287"/>
                    </a:cubicBezTo>
                    <a:lnTo>
                      <a:pt x="1087" y="283"/>
                    </a:lnTo>
                    <a:close/>
                    <a:moveTo>
                      <a:pt x="1855" y="667"/>
                    </a:moveTo>
                    <a:cubicBezTo>
                      <a:pt x="1855" y="650"/>
                      <a:pt x="1839" y="626"/>
                      <a:pt x="1838" y="615"/>
                    </a:cubicBezTo>
                    <a:cubicBezTo>
                      <a:pt x="1837" y="604"/>
                      <a:pt x="1837" y="592"/>
                      <a:pt x="1837" y="583"/>
                    </a:cubicBezTo>
                    <a:cubicBezTo>
                      <a:pt x="1837" y="574"/>
                      <a:pt x="1819" y="558"/>
                      <a:pt x="1819" y="558"/>
                    </a:cubicBezTo>
                    <a:cubicBezTo>
                      <a:pt x="1798" y="554"/>
                      <a:pt x="1798" y="554"/>
                      <a:pt x="1798" y="554"/>
                    </a:cubicBezTo>
                    <a:cubicBezTo>
                      <a:pt x="1764" y="559"/>
                      <a:pt x="1764" y="559"/>
                      <a:pt x="1764" y="559"/>
                    </a:cubicBezTo>
                    <a:cubicBezTo>
                      <a:pt x="1753" y="549"/>
                      <a:pt x="1753" y="549"/>
                      <a:pt x="1753" y="549"/>
                    </a:cubicBezTo>
                    <a:cubicBezTo>
                      <a:pt x="1740" y="548"/>
                      <a:pt x="1740" y="548"/>
                      <a:pt x="1740" y="548"/>
                    </a:cubicBezTo>
                    <a:cubicBezTo>
                      <a:pt x="1728" y="533"/>
                      <a:pt x="1728" y="533"/>
                      <a:pt x="1728" y="533"/>
                    </a:cubicBezTo>
                    <a:cubicBezTo>
                      <a:pt x="1713" y="532"/>
                      <a:pt x="1713" y="532"/>
                      <a:pt x="1713" y="532"/>
                    </a:cubicBezTo>
                    <a:cubicBezTo>
                      <a:pt x="1713" y="532"/>
                      <a:pt x="1695" y="512"/>
                      <a:pt x="1678" y="491"/>
                    </a:cubicBezTo>
                    <a:cubicBezTo>
                      <a:pt x="1661" y="470"/>
                      <a:pt x="1612" y="439"/>
                      <a:pt x="1596" y="438"/>
                    </a:cubicBezTo>
                    <a:cubicBezTo>
                      <a:pt x="1580" y="437"/>
                      <a:pt x="1547" y="439"/>
                      <a:pt x="1547" y="439"/>
                    </a:cubicBezTo>
                    <a:cubicBezTo>
                      <a:pt x="1547" y="449"/>
                      <a:pt x="1547" y="449"/>
                      <a:pt x="1547" y="449"/>
                    </a:cubicBezTo>
                    <a:cubicBezTo>
                      <a:pt x="1547" y="449"/>
                      <a:pt x="1532" y="439"/>
                      <a:pt x="1525" y="436"/>
                    </a:cubicBezTo>
                    <a:cubicBezTo>
                      <a:pt x="1518" y="433"/>
                      <a:pt x="1492" y="432"/>
                      <a:pt x="1492" y="432"/>
                    </a:cubicBezTo>
                    <a:cubicBezTo>
                      <a:pt x="1492" y="432"/>
                      <a:pt x="1464" y="415"/>
                      <a:pt x="1445" y="412"/>
                    </a:cubicBezTo>
                    <a:cubicBezTo>
                      <a:pt x="1426" y="409"/>
                      <a:pt x="1406" y="442"/>
                      <a:pt x="1406" y="442"/>
                    </a:cubicBezTo>
                    <a:cubicBezTo>
                      <a:pt x="1395" y="429"/>
                      <a:pt x="1395" y="429"/>
                      <a:pt x="1395" y="429"/>
                    </a:cubicBezTo>
                    <a:cubicBezTo>
                      <a:pt x="1395" y="451"/>
                      <a:pt x="1395" y="451"/>
                      <a:pt x="1395" y="451"/>
                    </a:cubicBezTo>
                    <a:cubicBezTo>
                      <a:pt x="1375" y="466"/>
                      <a:pt x="1375" y="466"/>
                      <a:pt x="1375" y="466"/>
                    </a:cubicBezTo>
                    <a:cubicBezTo>
                      <a:pt x="1386" y="422"/>
                      <a:pt x="1386" y="422"/>
                      <a:pt x="1386" y="422"/>
                    </a:cubicBezTo>
                    <a:cubicBezTo>
                      <a:pt x="1386" y="422"/>
                      <a:pt x="1404" y="412"/>
                      <a:pt x="1397" y="402"/>
                    </a:cubicBezTo>
                    <a:cubicBezTo>
                      <a:pt x="1390" y="392"/>
                      <a:pt x="1377" y="411"/>
                      <a:pt x="1377" y="411"/>
                    </a:cubicBezTo>
                    <a:cubicBezTo>
                      <a:pt x="1386" y="389"/>
                      <a:pt x="1386" y="389"/>
                      <a:pt x="1386" y="389"/>
                    </a:cubicBezTo>
                    <a:cubicBezTo>
                      <a:pt x="1386" y="389"/>
                      <a:pt x="1377" y="388"/>
                      <a:pt x="1378" y="381"/>
                    </a:cubicBezTo>
                    <a:cubicBezTo>
                      <a:pt x="1379" y="374"/>
                      <a:pt x="1358" y="365"/>
                      <a:pt x="1358" y="365"/>
                    </a:cubicBezTo>
                    <a:cubicBezTo>
                      <a:pt x="1350" y="377"/>
                      <a:pt x="1350" y="377"/>
                      <a:pt x="1350" y="377"/>
                    </a:cubicBezTo>
                    <a:cubicBezTo>
                      <a:pt x="1350" y="377"/>
                      <a:pt x="1337" y="360"/>
                      <a:pt x="1327" y="350"/>
                    </a:cubicBezTo>
                    <a:cubicBezTo>
                      <a:pt x="1317" y="340"/>
                      <a:pt x="1290" y="342"/>
                      <a:pt x="1286" y="338"/>
                    </a:cubicBezTo>
                    <a:cubicBezTo>
                      <a:pt x="1282" y="334"/>
                      <a:pt x="1258" y="316"/>
                      <a:pt x="1258" y="316"/>
                    </a:cubicBezTo>
                    <a:cubicBezTo>
                      <a:pt x="1252" y="324"/>
                      <a:pt x="1252" y="324"/>
                      <a:pt x="1252" y="324"/>
                    </a:cubicBezTo>
                    <a:cubicBezTo>
                      <a:pt x="1252" y="324"/>
                      <a:pt x="1231" y="323"/>
                      <a:pt x="1221" y="322"/>
                    </a:cubicBezTo>
                    <a:cubicBezTo>
                      <a:pt x="1211" y="321"/>
                      <a:pt x="1203" y="356"/>
                      <a:pt x="1203" y="356"/>
                    </a:cubicBezTo>
                    <a:cubicBezTo>
                      <a:pt x="1210" y="368"/>
                      <a:pt x="1210" y="368"/>
                      <a:pt x="1210" y="368"/>
                    </a:cubicBezTo>
                    <a:cubicBezTo>
                      <a:pt x="1210" y="368"/>
                      <a:pt x="1196" y="369"/>
                      <a:pt x="1188" y="369"/>
                    </a:cubicBezTo>
                    <a:cubicBezTo>
                      <a:pt x="1180" y="369"/>
                      <a:pt x="1168" y="391"/>
                      <a:pt x="1168" y="391"/>
                    </a:cubicBezTo>
                    <a:cubicBezTo>
                      <a:pt x="1168" y="391"/>
                      <a:pt x="1161" y="424"/>
                      <a:pt x="1154" y="423"/>
                    </a:cubicBezTo>
                    <a:cubicBezTo>
                      <a:pt x="1147" y="422"/>
                      <a:pt x="1163" y="397"/>
                      <a:pt x="1160" y="386"/>
                    </a:cubicBezTo>
                    <a:cubicBezTo>
                      <a:pt x="1157" y="375"/>
                      <a:pt x="1137" y="396"/>
                      <a:pt x="1137" y="396"/>
                    </a:cubicBezTo>
                    <a:cubicBezTo>
                      <a:pt x="1130" y="390"/>
                      <a:pt x="1130" y="390"/>
                      <a:pt x="1130" y="390"/>
                    </a:cubicBezTo>
                    <a:cubicBezTo>
                      <a:pt x="1130" y="390"/>
                      <a:pt x="1109" y="395"/>
                      <a:pt x="1098" y="388"/>
                    </a:cubicBezTo>
                    <a:cubicBezTo>
                      <a:pt x="1087" y="381"/>
                      <a:pt x="1089" y="371"/>
                      <a:pt x="1089" y="358"/>
                    </a:cubicBezTo>
                    <a:cubicBezTo>
                      <a:pt x="1089" y="345"/>
                      <a:pt x="1084" y="337"/>
                      <a:pt x="1084" y="337"/>
                    </a:cubicBezTo>
                    <a:cubicBezTo>
                      <a:pt x="1077" y="330"/>
                      <a:pt x="1062" y="356"/>
                      <a:pt x="1062" y="356"/>
                    </a:cubicBezTo>
                    <a:cubicBezTo>
                      <a:pt x="1062" y="356"/>
                      <a:pt x="1041" y="371"/>
                      <a:pt x="1029" y="373"/>
                    </a:cubicBezTo>
                    <a:cubicBezTo>
                      <a:pt x="1017" y="375"/>
                      <a:pt x="1003" y="368"/>
                      <a:pt x="1003" y="368"/>
                    </a:cubicBezTo>
                    <a:cubicBezTo>
                      <a:pt x="1029" y="360"/>
                      <a:pt x="1029" y="360"/>
                      <a:pt x="1029" y="360"/>
                    </a:cubicBezTo>
                    <a:cubicBezTo>
                      <a:pt x="1029" y="360"/>
                      <a:pt x="1039" y="348"/>
                      <a:pt x="1042" y="343"/>
                    </a:cubicBezTo>
                    <a:cubicBezTo>
                      <a:pt x="1045" y="338"/>
                      <a:pt x="1044" y="326"/>
                      <a:pt x="1044" y="326"/>
                    </a:cubicBezTo>
                    <a:cubicBezTo>
                      <a:pt x="1044" y="326"/>
                      <a:pt x="1053" y="320"/>
                      <a:pt x="1057" y="308"/>
                    </a:cubicBezTo>
                    <a:cubicBezTo>
                      <a:pt x="1061" y="296"/>
                      <a:pt x="1085" y="277"/>
                      <a:pt x="1095" y="270"/>
                    </a:cubicBezTo>
                    <a:cubicBezTo>
                      <a:pt x="1105" y="263"/>
                      <a:pt x="1107" y="254"/>
                      <a:pt x="1111" y="245"/>
                    </a:cubicBezTo>
                    <a:cubicBezTo>
                      <a:pt x="1115" y="236"/>
                      <a:pt x="1136" y="223"/>
                      <a:pt x="1136" y="223"/>
                    </a:cubicBezTo>
                    <a:cubicBezTo>
                      <a:pt x="1123" y="221"/>
                      <a:pt x="1123" y="221"/>
                      <a:pt x="1123" y="221"/>
                    </a:cubicBezTo>
                    <a:cubicBezTo>
                      <a:pt x="1123" y="221"/>
                      <a:pt x="1135" y="215"/>
                      <a:pt x="1135" y="199"/>
                    </a:cubicBezTo>
                    <a:cubicBezTo>
                      <a:pt x="1135" y="183"/>
                      <a:pt x="1108" y="192"/>
                      <a:pt x="1098" y="181"/>
                    </a:cubicBezTo>
                    <a:cubicBezTo>
                      <a:pt x="1088" y="170"/>
                      <a:pt x="1088" y="147"/>
                      <a:pt x="1084" y="110"/>
                    </a:cubicBezTo>
                    <a:cubicBezTo>
                      <a:pt x="1080" y="73"/>
                      <a:pt x="1072" y="55"/>
                      <a:pt x="1063" y="52"/>
                    </a:cubicBezTo>
                    <a:cubicBezTo>
                      <a:pt x="1054" y="49"/>
                      <a:pt x="1060" y="68"/>
                      <a:pt x="1060" y="72"/>
                    </a:cubicBezTo>
                    <a:cubicBezTo>
                      <a:pt x="1060" y="76"/>
                      <a:pt x="1050" y="71"/>
                      <a:pt x="1048" y="66"/>
                    </a:cubicBezTo>
                    <a:cubicBezTo>
                      <a:pt x="1048" y="66"/>
                      <a:pt x="1043" y="83"/>
                      <a:pt x="1036" y="89"/>
                    </a:cubicBezTo>
                    <a:cubicBezTo>
                      <a:pt x="1029" y="95"/>
                      <a:pt x="1020" y="110"/>
                      <a:pt x="1017" y="120"/>
                    </a:cubicBezTo>
                    <a:cubicBezTo>
                      <a:pt x="1014" y="130"/>
                      <a:pt x="1013" y="149"/>
                      <a:pt x="996" y="163"/>
                    </a:cubicBezTo>
                    <a:cubicBezTo>
                      <a:pt x="996" y="163"/>
                      <a:pt x="981" y="169"/>
                      <a:pt x="975" y="169"/>
                    </a:cubicBezTo>
                    <a:cubicBezTo>
                      <a:pt x="975" y="168"/>
                      <a:pt x="971" y="160"/>
                      <a:pt x="971" y="160"/>
                    </a:cubicBezTo>
                    <a:cubicBezTo>
                      <a:pt x="967" y="165"/>
                      <a:pt x="967" y="165"/>
                      <a:pt x="967" y="165"/>
                    </a:cubicBezTo>
                    <a:cubicBezTo>
                      <a:pt x="957" y="163"/>
                      <a:pt x="957" y="163"/>
                      <a:pt x="957" y="163"/>
                    </a:cubicBezTo>
                    <a:cubicBezTo>
                      <a:pt x="957" y="163"/>
                      <a:pt x="953" y="155"/>
                      <a:pt x="947" y="161"/>
                    </a:cubicBezTo>
                    <a:cubicBezTo>
                      <a:pt x="941" y="167"/>
                      <a:pt x="943" y="173"/>
                      <a:pt x="929" y="172"/>
                    </a:cubicBezTo>
                    <a:cubicBezTo>
                      <a:pt x="915" y="171"/>
                      <a:pt x="913" y="161"/>
                      <a:pt x="913" y="161"/>
                    </a:cubicBezTo>
                    <a:cubicBezTo>
                      <a:pt x="900" y="155"/>
                      <a:pt x="900" y="155"/>
                      <a:pt x="900" y="155"/>
                    </a:cubicBezTo>
                    <a:cubicBezTo>
                      <a:pt x="900" y="155"/>
                      <a:pt x="896" y="144"/>
                      <a:pt x="888" y="145"/>
                    </a:cubicBezTo>
                    <a:cubicBezTo>
                      <a:pt x="880" y="146"/>
                      <a:pt x="871" y="157"/>
                      <a:pt x="871" y="157"/>
                    </a:cubicBezTo>
                    <a:cubicBezTo>
                      <a:pt x="853" y="157"/>
                      <a:pt x="853" y="157"/>
                      <a:pt x="853" y="157"/>
                    </a:cubicBezTo>
                    <a:cubicBezTo>
                      <a:pt x="853" y="157"/>
                      <a:pt x="854" y="148"/>
                      <a:pt x="848" y="149"/>
                    </a:cubicBezTo>
                    <a:cubicBezTo>
                      <a:pt x="842" y="150"/>
                      <a:pt x="838" y="160"/>
                      <a:pt x="841" y="166"/>
                    </a:cubicBezTo>
                    <a:cubicBezTo>
                      <a:pt x="844" y="172"/>
                      <a:pt x="858" y="182"/>
                      <a:pt x="849" y="186"/>
                    </a:cubicBezTo>
                    <a:cubicBezTo>
                      <a:pt x="840" y="190"/>
                      <a:pt x="811" y="174"/>
                      <a:pt x="811" y="174"/>
                    </a:cubicBezTo>
                    <a:cubicBezTo>
                      <a:pt x="811" y="174"/>
                      <a:pt x="815" y="181"/>
                      <a:pt x="807" y="183"/>
                    </a:cubicBezTo>
                    <a:cubicBezTo>
                      <a:pt x="799" y="185"/>
                      <a:pt x="797" y="174"/>
                      <a:pt x="787" y="175"/>
                    </a:cubicBezTo>
                    <a:cubicBezTo>
                      <a:pt x="777" y="176"/>
                      <a:pt x="773" y="192"/>
                      <a:pt x="773" y="192"/>
                    </a:cubicBezTo>
                    <a:cubicBezTo>
                      <a:pt x="752" y="193"/>
                      <a:pt x="752" y="193"/>
                      <a:pt x="752" y="193"/>
                    </a:cubicBezTo>
                    <a:cubicBezTo>
                      <a:pt x="751" y="201"/>
                      <a:pt x="751" y="201"/>
                      <a:pt x="751" y="201"/>
                    </a:cubicBezTo>
                    <a:cubicBezTo>
                      <a:pt x="751" y="201"/>
                      <a:pt x="739" y="198"/>
                      <a:pt x="733" y="202"/>
                    </a:cubicBezTo>
                    <a:cubicBezTo>
                      <a:pt x="727" y="206"/>
                      <a:pt x="732" y="219"/>
                      <a:pt x="722" y="220"/>
                    </a:cubicBezTo>
                    <a:cubicBezTo>
                      <a:pt x="712" y="221"/>
                      <a:pt x="702" y="221"/>
                      <a:pt x="702" y="221"/>
                    </a:cubicBezTo>
                    <a:cubicBezTo>
                      <a:pt x="698" y="210"/>
                      <a:pt x="698" y="210"/>
                      <a:pt x="698" y="210"/>
                    </a:cubicBezTo>
                    <a:cubicBezTo>
                      <a:pt x="689" y="210"/>
                      <a:pt x="689" y="210"/>
                      <a:pt x="689" y="210"/>
                    </a:cubicBezTo>
                    <a:cubicBezTo>
                      <a:pt x="668" y="186"/>
                      <a:pt x="668" y="186"/>
                      <a:pt x="668" y="186"/>
                    </a:cubicBezTo>
                    <a:cubicBezTo>
                      <a:pt x="668" y="186"/>
                      <a:pt x="668" y="174"/>
                      <a:pt x="668" y="166"/>
                    </a:cubicBezTo>
                    <a:cubicBezTo>
                      <a:pt x="668" y="158"/>
                      <a:pt x="651" y="155"/>
                      <a:pt x="651" y="145"/>
                    </a:cubicBezTo>
                    <a:cubicBezTo>
                      <a:pt x="651" y="135"/>
                      <a:pt x="659" y="119"/>
                      <a:pt x="659" y="119"/>
                    </a:cubicBezTo>
                    <a:cubicBezTo>
                      <a:pt x="664" y="91"/>
                      <a:pt x="664" y="91"/>
                      <a:pt x="664" y="91"/>
                    </a:cubicBezTo>
                    <a:cubicBezTo>
                      <a:pt x="664" y="91"/>
                      <a:pt x="677" y="79"/>
                      <a:pt x="678" y="73"/>
                    </a:cubicBezTo>
                    <a:cubicBezTo>
                      <a:pt x="679" y="67"/>
                      <a:pt x="670" y="63"/>
                      <a:pt x="670" y="63"/>
                    </a:cubicBezTo>
                    <a:cubicBezTo>
                      <a:pt x="671" y="44"/>
                      <a:pt x="671" y="44"/>
                      <a:pt x="671" y="44"/>
                    </a:cubicBezTo>
                    <a:cubicBezTo>
                      <a:pt x="671" y="44"/>
                      <a:pt x="649" y="50"/>
                      <a:pt x="649" y="41"/>
                    </a:cubicBezTo>
                    <a:cubicBezTo>
                      <a:pt x="649" y="41"/>
                      <a:pt x="661" y="29"/>
                      <a:pt x="658" y="15"/>
                    </a:cubicBezTo>
                    <a:cubicBezTo>
                      <a:pt x="655" y="1"/>
                      <a:pt x="646" y="0"/>
                      <a:pt x="646" y="0"/>
                    </a:cubicBezTo>
                    <a:cubicBezTo>
                      <a:pt x="641" y="7"/>
                      <a:pt x="641" y="7"/>
                      <a:pt x="641" y="7"/>
                    </a:cubicBezTo>
                    <a:cubicBezTo>
                      <a:pt x="625" y="5"/>
                      <a:pt x="625" y="5"/>
                      <a:pt x="625" y="5"/>
                    </a:cubicBezTo>
                    <a:cubicBezTo>
                      <a:pt x="625" y="5"/>
                      <a:pt x="631" y="19"/>
                      <a:pt x="627" y="26"/>
                    </a:cubicBezTo>
                    <a:cubicBezTo>
                      <a:pt x="623" y="33"/>
                      <a:pt x="612" y="31"/>
                      <a:pt x="612" y="31"/>
                    </a:cubicBezTo>
                    <a:cubicBezTo>
                      <a:pt x="614" y="41"/>
                      <a:pt x="614" y="41"/>
                      <a:pt x="614" y="41"/>
                    </a:cubicBezTo>
                    <a:cubicBezTo>
                      <a:pt x="596" y="40"/>
                      <a:pt x="596" y="40"/>
                      <a:pt x="596" y="40"/>
                    </a:cubicBezTo>
                    <a:cubicBezTo>
                      <a:pt x="596" y="40"/>
                      <a:pt x="584" y="45"/>
                      <a:pt x="582" y="51"/>
                    </a:cubicBezTo>
                    <a:cubicBezTo>
                      <a:pt x="580" y="57"/>
                      <a:pt x="566" y="64"/>
                      <a:pt x="559" y="64"/>
                    </a:cubicBezTo>
                    <a:cubicBezTo>
                      <a:pt x="552" y="64"/>
                      <a:pt x="546" y="56"/>
                      <a:pt x="538" y="59"/>
                    </a:cubicBezTo>
                    <a:cubicBezTo>
                      <a:pt x="530" y="62"/>
                      <a:pt x="533" y="96"/>
                      <a:pt x="524" y="96"/>
                    </a:cubicBezTo>
                    <a:cubicBezTo>
                      <a:pt x="515" y="96"/>
                      <a:pt x="504" y="77"/>
                      <a:pt x="500" y="73"/>
                    </a:cubicBezTo>
                    <a:cubicBezTo>
                      <a:pt x="496" y="69"/>
                      <a:pt x="491" y="77"/>
                      <a:pt x="491" y="77"/>
                    </a:cubicBezTo>
                    <a:cubicBezTo>
                      <a:pt x="481" y="71"/>
                      <a:pt x="481" y="71"/>
                      <a:pt x="481" y="71"/>
                    </a:cubicBezTo>
                    <a:cubicBezTo>
                      <a:pt x="481" y="71"/>
                      <a:pt x="469" y="79"/>
                      <a:pt x="467" y="76"/>
                    </a:cubicBezTo>
                    <a:cubicBezTo>
                      <a:pt x="465" y="73"/>
                      <a:pt x="471" y="64"/>
                      <a:pt x="460" y="60"/>
                    </a:cubicBezTo>
                    <a:cubicBezTo>
                      <a:pt x="449" y="56"/>
                      <a:pt x="440" y="64"/>
                      <a:pt x="437" y="61"/>
                    </a:cubicBezTo>
                    <a:cubicBezTo>
                      <a:pt x="434" y="58"/>
                      <a:pt x="431" y="52"/>
                      <a:pt x="431" y="52"/>
                    </a:cubicBezTo>
                    <a:cubicBezTo>
                      <a:pt x="431" y="52"/>
                      <a:pt x="421" y="71"/>
                      <a:pt x="443" y="82"/>
                    </a:cubicBezTo>
                    <a:cubicBezTo>
                      <a:pt x="465" y="93"/>
                      <a:pt x="450" y="117"/>
                      <a:pt x="450" y="117"/>
                    </a:cubicBezTo>
                    <a:cubicBezTo>
                      <a:pt x="450" y="117"/>
                      <a:pt x="463" y="128"/>
                      <a:pt x="463" y="135"/>
                    </a:cubicBezTo>
                    <a:cubicBezTo>
                      <a:pt x="463" y="142"/>
                      <a:pt x="463" y="151"/>
                      <a:pt x="463" y="151"/>
                    </a:cubicBezTo>
                    <a:cubicBezTo>
                      <a:pt x="493" y="154"/>
                      <a:pt x="493" y="154"/>
                      <a:pt x="493" y="154"/>
                    </a:cubicBezTo>
                    <a:cubicBezTo>
                      <a:pt x="493" y="154"/>
                      <a:pt x="500" y="168"/>
                      <a:pt x="488" y="174"/>
                    </a:cubicBezTo>
                    <a:cubicBezTo>
                      <a:pt x="476" y="180"/>
                      <a:pt x="463" y="177"/>
                      <a:pt x="463" y="177"/>
                    </a:cubicBezTo>
                    <a:cubicBezTo>
                      <a:pt x="463" y="177"/>
                      <a:pt x="464" y="202"/>
                      <a:pt x="451" y="206"/>
                    </a:cubicBezTo>
                    <a:cubicBezTo>
                      <a:pt x="438" y="210"/>
                      <a:pt x="433" y="214"/>
                      <a:pt x="433" y="214"/>
                    </a:cubicBezTo>
                    <a:cubicBezTo>
                      <a:pt x="431" y="220"/>
                      <a:pt x="431" y="220"/>
                      <a:pt x="431" y="220"/>
                    </a:cubicBezTo>
                    <a:cubicBezTo>
                      <a:pt x="431" y="220"/>
                      <a:pt x="419" y="218"/>
                      <a:pt x="413" y="222"/>
                    </a:cubicBezTo>
                    <a:cubicBezTo>
                      <a:pt x="407" y="226"/>
                      <a:pt x="401" y="251"/>
                      <a:pt x="393" y="251"/>
                    </a:cubicBezTo>
                    <a:cubicBezTo>
                      <a:pt x="385" y="251"/>
                      <a:pt x="396" y="234"/>
                      <a:pt x="387" y="232"/>
                    </a:cubicBezTo>
                    <a:cubicBezTo>
                      <a:pt x="378" y="230"/>
                      <a:pt x="367" y="252"/>
                      <a:pt x="357" y="246"/>
                    </a:cubicBezTo>
                    <a:cubicBezTo>
                      <a:pt x="357" y="246"/>
                      <a:pt x="345" y="244"/>
                      <a:pt x="341" y="239"/>
                    </a:cubicBezTo>
                    <a:cubicBezTo>
                      <a:pt x="337" y="234"/>
                      <a:pt x="330" y="221"/>
                      <a:pt x="330" y="221"/>
                    </a:cubicBezTo>
                    <a:cubicBezTo>
                      <a:pt x="313" y="221"/>
                      <a:pt x="313" y="221"/>
                      <a:pt x="313" y="221"/>
                    </a:cubicBezTo>
                    <a:cubicBezTo>
                      <a:pt x="313" y="221"/>
                      <a:pt x="313" y="193"/>
                      <a:pt x="311" y="187"/>
                    </a:cubicBezTo>
                    <a:cubicBezTo>
                      <a:pt x="309" y="181"/>
                      <a:pt x="306" y="180"/>
                      <a:pt x="306" y="180"/>
                    </a:cubicBezTo>
                    <a:cubicBezTo>
                      <a:pt x="306" y="180"/>
                      <a:pt x="311" y="173"/>
                      <a:pt x="304" y="170"/>
                    </a:cubicBezTo>
                    <a:cubicBezTo>
                      <a:pt x="297" y="167"/>
                      <a:pt x="288" y="190"/>
                      <a:pt x="282" y="191"/>
                    </a:cubicBezTo>
                    <a:cubicBezTo>
                      <a:pt x="276" y="192"/>
                      <a:pt x="271" y="176"/>
                      <a:pt x="265" y="176"/>
                    </a:cubicBezTo>
                    <a:cubicBezTo>
                      <a:pt x="259" y="176"/>
                      <a:pt x="259" y="193"/>
                      <a:pt x="259" y="193"/>
                    </a:cubicBezTo>
                    <a:cubicBezTo>
                      <a:pt x="215" y="197"/>
                      <a:pt x="215" y="197"/>
                      <a:pt x="215" y="197"/>
                    </a:cubicBezTo>
                    <a:cubicBezTo>
                      <a:pt x="215" y="197"/>
                      <a:pt x="201" y="184"/>
                      <a:pt x="192" y="189"/>
                    </a:cubicBezTo>
                    <a:cubicBezTo>
                      <a:pt x="183" y="194"/>
                      <a:pt x="191" y="223"/>
                      <a:pt x="191" y="223"/>
                    </a:cubicBezTo>
                    <a:cubicBezTo>
                      <a:pt x="207" y="230"/>
                      <a:pt x="207" y="230"/>
                      <a:pt x="207" y="230"/>
                    </a:cubicBezTo>
                    <a:cubicBezTo>
                      <a:pt x="214" y="228"/>
                      <a:pt x="214" y="228"/>
                      <a:pt x="214" y="228"/>
                    </a:cubicBezTo>
                    <a:cubicBezTo>
                      <a:pt x="214" y="228"/>
                      <a:pt x="233" y="248"/>
                      <a:pt x="220" y="250"/>
                    </a:cubicBezTo>
                    <a:cubicBezTo>
                      <a:pt x="207" y="252"/>
                      <a:pt x="198" y="248"/>
                      <a:pt x="198" y="248"/>
                    </a:cubicBezTo>
                    <a:cubicBezTo>
                      <a:pt x="176" y="253"/>
                      <a:pt x="176" y="253"/>
                      <a:pt x="176" y="253"/>
                    </a:cubicBezTo>
                    <a:cubicBezTo>
                      <a:pt x="174" y="295"/>
                      <a:pt x="174" y="295"/>
                      <a:pt x="174" y="295"/>
                    </a:cubicBezTo>
                    <a:cubicBezTo>
                      <a:pt x="174" y="295"/>
                      <a:pt x="195" y="304"/>
                      <a:pt x="197" y="313"/>
                    </a:cubicBezTo>
                    <a:cubicBezTo>
                      <a:pt x="199" y="322"/>
                      <a:pt x="200" y="334"/>
                      <a:pt x="200" y="334"/>
                    </a:cubicBezTo>
                    <a:cubicBezTo>
                      <a:pt x="200" y="334"/>
                      <a:pt x="214" y="349"/>
                      <a:pt x="213" y="356"/>
                    </a:cubicBezTo>
                    <a:cubicBezTo>
                      <a:pt x="212" y="363"/>
                      <a:pt x="202" y="374"/>
                      <a:pt x="202" y="374"/>
                    </a:cubicBezTo>
                    <a:cubicBezTo>
                      <a:pt x="204" y="408"/>
                      <a:pt x="204" y="408"/>
                      <a:pt x="204" y="408"/>
                    </a:cubicBezTo>
                    <a:cubicBezTo>
                      <a:pt x="193" y="438"/>
                      <a:pt x="193" y="438"/>
                      <a:pt x="193" y="438"/>
                    </a:cubicBezTo>
                    <a:cubicBezTo>
                      <a:pt x="191" y="488"/>
                      <a:pt x="191" y="488"/>
                      <a:pt x="191" y="488"/>
                    </a:cubicBezTo>
                    <a:cubicBezTo>
                      <a:pt x="191" y="488"/>
                      <a:pt x="188" y="515"/>
                      <a:pt x="183" y="518"/>
                    </a:cubicBezTo>
                    <a:cubicBezTo>
                      <a:pt x="178" y="521"/>
                      <a:pt x="171" y="518"/>
                      <a:pt x="171" y="518"/>
                    </a:cubicBezTo>
                    <a:cubicBezTo>
                      <a:pt x="171" y="518"/>
                      <a:pt x="167" y="505"/>
                      <a:pt x="157" y="506"/>
                    </a:cubicBezTo>
                    <a:cubicBezTo>
                      <a:pt x="147" y="507"/>
                      <a:pt x="136" y="522"/>
                      <a:pt x="136" y="522"/>
                    </a:cubicBezTo>
                    <a:cubicBezTo>
                      <a:pt x="117" y="519"/>
                      <a:pt x="117" y="519"/>
                      <a:pt x="117" y="519"/>
                    </a:cubicBezTo>
                    <a:cubicBezTo>
                      <a:pt x="115" y="526"/>
                      <a:pt x="115" y="526"/>
                      <a:pt x="115" y="526"/>
                    </a:cubicBezTo>
                    <a:cubicBezTo>
                      <a:pt x="94" y="526"/>
                      <a:pt x="94" y="526"/>
                      <a:pt x="94" y="526"/>
                    </a:cubicBezTo>
                    <a:cubicBezTo>
                      <a:pt x="94" y="526"/>
                      <a:pt x="68" y="543"/>
                      <a:pt x="66" y="547"/>
                    </a:cubicBezTo>
                    <a:cubicBezTo>
                      <a:pt x="64" y="551"/>
                      <a:pt x="63" y="559"/>
                      <a:pt x="63" y="559"/>
                    </a:cubicBezTo>
                    <a:cubicBezTo>
                      <a:pt x="47" y="559"/>
                      <a:pt x="47" y="559"/>
                      <a:pt x="47" y="559"/>
                    </a:cubicBezTo>
                    <a:cubicBezTo>
                      <a:pt x="46" y="597"/>
                      <a:pt x="46" y="597"/>
                      <a:pt x="46" y="597"/>
                    </a:cubicBezTo>
                    <a:cubicBezTo>
                      <a:pt x="46" y="597"/>
                      <a:pt x="31" y="606"/>
                      <a:pt x="33" y="613"/>
                    </a:cubicBezTo>
                    <a:cubicBezTo>
                      <a:pt x="35" y="620"/>
                      <a:pt x="45" y="645"/>
                      <a:pt x="39" y="636"/>
                    </a:cubicBezTo>
                    <a:cubicBezTo>
                      <a:pt x="33" y="627"/>
                      <a:pt x="20" y="644"/>
                      <a:pt x="12" y="652"/>
                    </a:cubicBezTo>
                    <a:cubicBezTo>
                      <a:pt x="4" y="660"/>
                      <a:pt x="9" y="674"/>
                      <a:pt x="9" y="674"/>
                    </a:cubicBezTo>
                    <a:cubicBezTo>
                      <a:pt x="15" y="678"/>
                      <a:pt x="15" y="678"/>
                      <a:pt x="15" y="678"/>
                    </a:cubicBezTo>
                    <a:cubicBezTo>
                      <a:pt x="15" y="678"/>
                      <a:pt x="0" y="686"/>
                      <a:pt x="0" y="691"/>
                    </a:cubicBezTo>
                    <a:cubicBezTo>
                      <a:pt x="0" y="696"/>
                      <a:pt x="15" y="702"/>
                      <a:pt x="15" y="702"/>
                    </a:cubicBezTo>
                    <a:cubicBezTo>
                      <a:pt x="17" y="720"/>
                      <a:pt x="17" y="720"/>
                      <a:pt x="17" y="720"/>
                    </a:cubicBezTo>
                    <a:cubicBezTo>
                      <a:pt x="17" y="720"/>
                      <a:pt x="30" y="741"/>
                      <a:pt x="35" y="747"/>
                    </a:cubicBezTo>
                    <a:cubicBezTo>
                      <a:pt x="40" y="753"/>
                      <a:pt x="62" y="768"/>
                      <a:pt x="60" y="773"/>
                    </a:cubicBezTo>
                    <a:cubicBezTo>
                      <a:pt x="58" y="778"/>
                      <a:pt x="43" y="791"/>
                      <a:pt x="43" y="791"/>
                    </a:cubicBezTo>
                    <a:cubicBezTo>
                      <a:pt x="43" y="791"/>
                      <a:pt x="79" y="790"/>
                      <a:pt x="82" y="797"/>
                    </a:cubicBezTo>
                    <a:cubicBezTo>
                      <a:pt x="85" y="804"/>
                      <a:pt x="93" y="823"/>
                      <a:pt x="93" y="823"/>
                    </a:cubicBezTo>
                    <a:cubicBezTo>
                      <a:pt x="135" y="819"/>
                      <a:pt x="135" y="819"/>
                      <a:pt x="135" y="819"/>
                    </a:cubicBezTo>
                    <a:cubicBezTo>
                      <a:pt x="169" y="789"/>
                      <a:pt x="169" y="789"/>
                      <a:pt x="169" y="789"/>
                    </a:cubicBezTo>
                    <a:cubicBezTo>
                      <a:pt x="169" y="789"/>
                      <a:pt x="174" y="812"/>
                      <a:pt x="172" y="816"/>
                    </a:cubicBezTo>
                    <a:cubicBezTo>
                      <a:pt x="170" y="820"/>
                      <a:pt x="165" y="834"/>
                      <a:pt x="167" y="844"/>
                    </a:cubicBezTo>
                    <a:cubicBezTo>
                      <a:pt x="169" y="854"/>
                      <a:pt x="170" y="874"/>
                      <a:pt x="170" y="874"/>
                    </a:cubicBezTo>
                    <a:cubicBezTo>
                      <a:pt x="177" y="873"/>
                      <a:pt x="177" y="873"/>
                      <a:pt x="177" y="873"/>
                    </a:cubicBezTo>
                    <a:cubicBezTo>
                      <a:pt x="177" y="873"/>
                      <a:pt x="177" y="881"/>
                      <a:pt x="185" y="881"/>
                    </a:cubicBezTo>
                    <a:cubicBezTo>
                      <a:pt x="193" y="881"/>
                      <a:pt x="189" y="872"/>
                      <a:pt x="200" y="872"/>
                    </a:cubicBezTo>
                    <a:cubicBezTo>
                      <a:pt x="211" y="872"/>
                      <a:pt x="246" y="875"/>
                      <a:pt x="246" y="875"/>
                    </a:cubicBezTo>
                    <a:cubicBezTo>
                      <a:pt x="246" y="875"/>
                      <a:pt x="249" y="886"/>
                      <a:pt x="262" y="883"/>
                    </a:cubicBezTo>
                    <a:cubicBezTo>
                      <a:pt x="275" y="880"/>
                      <a:pt x="283" y="871"/>
                      <a:pt x="283" y="871"/>
                    </a:cubicBezTo>
                    <a:cubicBezTo>
                      <a:pt x="288" y="859"/>
                      <a:pt x="288" y="859"/>
                      <a:pt x="288" y="859"/>
                    </a:cubicBezTo>
                    <a:cubicBezTo>
                      <a:pt x="312" y="858"/>
                      <a:pt x="312" y="858"/>
                      <a:pt x="312" y="858"/>
                    </a:cubicBezTo>
                    <a:cubicBezTo>
                      <a:pt x="316" y="840"/>
                      <a:pt x="316" y="840"/>
                      <a:pt x="316" y="840"/>
                    </a:cubicBezTo>
                    <a:cubicBezTo>
                      <a:pt x="340" y="841"/>
                      <a:pt x="340" y="841"/>
                      <a:pt x="340" y="841"/>
                    </a:cubicBezTo>
                    <a:cubicBezTo>
                      <a:pt x="340" y="841"/>
                      <a:pt x="350" y="815"/>
                      <a:pt x="363" y="815"/>
                    </a:cubicBezTo>
                    <a:cubicBezTo>
                      <a:pt x="376" y="815"/>
                      <a:pt x="386" y="816"/>
                      <a:pt x="386" y="816"/>
                    </a:cubicBezTo>
                    <a:cubicBezTo>
                      <a:pt x="395" y="808"/>
                      <a:pt x="395" y="808"/>
                      <a:pt x="395" y="808"/>
                    </a:cubicBezTo>
                    <a:cubicBezTo>
                      <a:pt x="395" y="808"/>
                      <a:pt x="404" y="818"/>
                      <a:pt x="405" y="814"/>
                    </a:cubicBezTo>
                    <a:cubicBezTo>
                      <a:pt x="406" y="810"/>
                      <a:pt x="419" y="802"/>
                      <a:pt x="423" y="806"/>
                    </a:cubicBezTo>
                    <a:cubicBezTo>
                      <a:pt x="427" y="810"/>
                      <a:pt x="419" y="837"/>
                      <a:pt x="419" y="837"/>
                    </a:cubicBezTo>
                    <a:cubicBezTo>
                      <a:pt x="419" y="837"/>
                      <a:pt x="411" y="850"/>
                      <a:pt x="412" y="854"/>
                    </a:cubicBezTo>
                    <a:cubicBezTo>
                      <a:pt x="413" y="858"/>
                      <a:pt x="422" y="866"/>
                      <a:pt x="422" y="875"/>
                    </a:cubicBezTo>
                    <a:cubicBezTo>
                      <a:pt x="422" y="884"/>
                      <a:pt x="415" y="890"/>
                      <a:pt x="422" y="899"/>
                    </a:cubicBezTo>
                    <a:cubicBezTo>
                      <a:pt x="429" y="908"/>
                      <a:pt x="436" y="912"/>
                      <a:pt x="436" y="912"/>
                    </a:cubicBezTo>
                    <a:cubicBezTo>
                      <a:pt x="442" y="932"/>
                      <a:pt x="442" y="932"/>
                      <a:pt x="442" y="932"/>
                    </a:cubicBezTo>
                    <a:cubicBezTo>
                      <a:pt x="442" y="932"/>
                      <a:pt x="458" y="930"/>
                      <a:pt x="461" y="935"/>
                    </a:cubicBezTo>
                    <a:cubicBezTo>
                      <a:pt x="464" y="940"/>
                      <a:pt x="460" y="951"/>
                      <a:pt x="470" y="955"/>
                    </a:cubicBezTo>
                    <a:cubicBezTo>
                      <a:pt x="480" y="959"/>
                      <a:pt x="484" y="959"/>
                      <a:pt x="488" y="960"/>
                    </a:cubicBezTo>
                    <a:cubicBezTo>
                      <a:pt x="492" y="961"/>
                      <a:pt x="502" y="954"/>
                      <a:pt x="502" y="954"/>
                    </a:cubicBezTo>
                    <a:cubicBezTo>
                      <a:pt x="502" y="954"/>
                      <a:pt x="508" y="968"/>
                      <a:pt x="516" y="968"/>
                    </a:cubicBezTo>
                    <a:cubicBezTo>
                      <a:pt x="524" y="968"/>
                      <a:pt x="531" y="961"/>
                      <a:pt x="532" y="965"/>
                    </a:cubicBezTo>
                    <a:cubicBezTo>
                      <a:pt x="533" y="969"/>
                      <a:pt x="541" y="981"/>
                      <a:pt x="552" y="986"/>
                    </a:cubicBezTo>
                    <a:cubicBezTo>
                      <a:pt x="563" y="991"/>
                      <a:pt x="579" y="992"/>
                      <a:pt x="579" y="992"/>
                    </a:cubicBezTo>
                    <a:cubicBezTo>
                      <a:pt x="579" y="992"/>
                      <a:pt x="588" y="1012"/>
                      <a:pt x="598" y="1013"/>
                    </a:cubicBezTo>
                    <a:cubicBezTo>
                      <a:pt x="608" y="1014"/>
                      <a:pt x="619" y="1009"/>
                      <a:pt x="630" y="1011"/>
                    </a:cubicBezTo>
                    <a:cubicBezTo>
                      <a:pt x="641" y="1013"/>
                      <a:pt x="661" y="1022"/>
                      <a:pt x="662" y="1032"/>
                    </a:cubicBezTo>
                    <a:cubicBezTo>
                      <a:pt x="663" y="1042"/>
                      <a:pt x="658" y="1045"/>
                      <a:pt x="662" y="1052"/>
                    </a:cubicBezTo>
                    <a:cubicBezTo>
                      <a:pt x="666" y="1059"/>
                      <a:pt x="673" y="1071"/>
                      <a:pt x="673" y="1071"/>
                    </a:cubicBezTo>
                    <a:cubicBezTo>
                      <a:pt x="675" y="1092"/>
                      <a:pt x="675" y="1092"/>
                      <a:pt x="675" y="1092"/>
                    </a:cubicBezTo>
                    <a:cubicBezTo>
                      <a:pt x="675" y="1092"/>
                      <a:pt x="660" y="1090"/>
                      <a:pt x="662" y="1096"/>
                    </a:cubicBezTo>
                    <a:cubicBezTo>
                      <a:pt x="664" y="1102"/>
                      <a:pt x="680" y="1116"/>
                      <a:pt x="680" y="1116"/>
                    </a:cubicBezTo>
                    <a:cubicBezTo>
                      <a:pt x="680" y="1116"/>
                      <a:pt x="670" y="1147"/>
                      <a:pt x="683" y="1156"/>
                    </a:cubicBezTo>
                    <a:cubicBezTo>
                      <a:pt x="696" y="1165"/>
                      <a:pt x="773" y="1163"/>
                      <a:pt x="773" y="1163"/>
                    </a:cubicBezTo>
                    <a:cubicBezTo>
                      <a:pt x="773" y="1163"/>
                      <a:pt x="762" y="1197"/>
                      <a:pt x="769" y="1206"/>
                    </a:cubicBezTo>
                    <a:cubicBezTo>
                      <a:pt x="776" y="1215"/>
                      <a:pt x="785" y="1216"/>
                      <a:pt x="796" y="1223"/>
                    </a:cubicBezTo>
                    <a:cubicBezTo>
                      <a:pt x="807" y="1230"/>
                      <a:pt x="816" y="1248"/>
                      <a:pt x="816" y="1262"/>
                    </a:cubicBezTo>
                    <a:cubicBezTo>
                      <a:pt x="816" y="1276"/>
                      <a:pt x="811" y="1302"/>
                      <a:pt x="811" y="1302"/>
                    </a:cubicBezTo>
                    <a:cubicBezTo>
                      <a:pt x="815" y="1310"/>
                      <a:pt x="815" y="1310"/>
                      <a:pt x="815" y="1310"/>
                    </a:cubicBezTo>
                    <a:cubicBezTo>
                      <a:pt x="815" y="1310"/>
                      <a:pt x="798" y="1337"/>
                      <a:pt x="800" y="1342"/>
                    </a:cubicBezTo>
                    <a:cubicBezTo>
                      <a:pt x="802" y="1347"/>
                      <a:pt x="814" y="1357"/>
                      <a:pt x="814" y="1357"/>
                    </a:cubicBezTo>
                    <a:cubicBezTo>
                      <a:pt x="814" y="1357"/>
                      <a:pt x="799" y="1365"/>
                      <a:pt x="799" y="1371"/>
                    </a:cubicBezTo>
                    <a:cubicBezTo>
                      <a:pt x="799" y="1377"/>
                      <a:pt x="808" y="1379"/>
                      <a:pt x="810" y="1386"/>
                    </a:cubicBezTo>
                    <a:cubicBezTo>
                      <a:pt x="812" y="1393"/>
                      <a:pt x="806" y="1402"/>
                      <a:pt x="810" y="1406"/>
                    </a:cubicBezTo>
                    <a:cubicBezTo>
                      <a:pt x="814" y="1410"/>
                      <a:pt x="819" y="1405"/>
                      <a:pt x="819" y="1414"/>
                    </a:cubicBezTo>
                    <a:cubicBezTo>
                      <a:pt x="819" y="1423"/>
                      <a:pt x="804" y="1459"/>
                      <a:pt x="820" y="1468"/>
                    </a:cubicBezTo>
                    <a:cubicBezTo>
                      <a:pt x="836" y="1477"/>
                      <a:pt x="880" y="1484"/>
                      <a:pt x="895" y="1481"/>
                    </a:cubicBezTo>
                    <a:cubicBezTo>
                      <a:pt x="910" y="1478"/>
                      <a:pt x="928" y="1478"/>
                      <a:pt x="932" y="1486"/>
                    </a:cubicBezTo>
                    <a:cubicBezTo>
                      <a:pt x="936" y="1494"/>
                      <a:pt x="932" y="1511"/>
                      <a:pt x="937" y="1531"/>
                    </a:cubicBezTo>
                    <a:cubicBezTo>
                      <a:pt x="942" y="1551"/>
                      <a:pt x="946" y="1572"/>
                      <a:pt x="957" y="1574"/>
                    </a:cubicBezTo>
                    <a:cubicBezTo>
                      <a:pt x="968" y="1576"/>
                      <a:pt x="972" y="1560"/>
                      <a:pt x="987" y="1564"/>
                    </a:cubicBezTo>
                    <a:cubicBezTo>
                      <a:pt x="1002" y="1568"/>
                      <a:pt x="1006" y="1576"/>
                      <a:pt x="1004" y="1596"/>
                    </a:cubicBezTo>
                    <a:cubicBezTo>
                      <a:pt x="1002" y="1616"/>
                      <a:pt x="1000" y="1626"/>
                      <a:pt x="998" y="1631"/>
                    </a:cubicBezTo>
                    <a:cubicBezTo>
                      <a:pt x="996" y="1636"/>
                      <a:pt x="995" y="1651"/>
                      <a:pt x="995" y="1651"/>
                    </a:cubicBezTo>
                    <a:cubicBezTo>
                      <a:pt x="998" y="1664"/>
                      <a:pt x="998" y="1664"/>
                      <a:pt x="998" y="1664"/>
                    </a:cubicBezTo>
                    <a:cubicBezTo>
                      <a:pt x="998" y="1664"/>
                      <a:pt x="1014" y="1653"/>
                      <a:pt x="1021" y="1657"/>
                    </a:cubicBezTo>
                    <a:cubicBezTo>
                      <a:pt x="1028" y="1661"/>
                      <a:pt x="1032" y="1682"/>
                      <a:pt x="1032" y="1682"/>
                    </a:cubicBezTo>
                    <a:cubicBezTo>
                      <a:pt x="1032" y="1682"/>
                      <a:pt x="1043" y="1681"/>
                      <a:pt x="1043" y="1690"/>
                    </a:cubicBezTo>
                    <a:cubicBezTo>
                      <a:pt x="1043" y="1699"/>
                      <a:pt x="1051" y="1737"/>
                      <a:pt x="1045" y="1743"/>
                    </a:cubicBezTo>
                    <a:cubicBezTo>
                      <a:pt x="1039" y="1749"/>
                      <a:pt x="1022" y="1751"/>
                      <a:pt x="1011" y="1756"/>
                    </a:cubicBezTo>
                    <a:cubicBezTo>
                      <a:pt x="1000" y="1761"/>
                      <a:pt x="1000" y="1779"/>
                      <a:pt x="1000" y="1779"/>
                    </a:cubicBezTo>
                    <a:cubicBezTo>
                      <a:pt x="979" y="1781"/>
                      <a:pt x="979" y="1781"/>
                      <a:pt x="979" y="1781"/>
                    </a:cubicBezTo>
                    <a:cubicBezTo>
                      <a:pt x="978" y="1792"/>
                      <a:pt x="978" y="1792"/>
                      <a:pt x="978" y="1792"/>
                    </a:cubicBezTo>
                    <a:cubicBezTo>
                      <a:pt x="972" y="1794"/>
                      <a:pt x="972" y="1794"/>
                      <a:pt x="972" y="1794"/>
                    </a:cubicBezTo>
                    <a:cubicBezTo>
                      <a:pt x="969" y="1810"/>
                      <a:pt x="969" y="1810"/>
                      <a:pt x="969" y="1810"/>
                    </a:cubicBezTo>
                    <a:cubicBezTo>
                      <a:pt x="953" y="1814"/>
                      <a:pt x="953" y="1814"/>
                      <a:pt x="953" y="1814"/>
                    </a:cubicBezTo>
                    <a:cubicBezTo>
                      <a:pt x="953" y="1814"/>
                      <a:pt x="950" y="1837"/>
                      <a:pt x="945" y="1842"/>
                    </a:cubicBezTo>
                    <a:cubicBezTo>
                      <a:pt x="940" y="1847"/>
                      <a:pt x="931" y="1852"/>
                      <a:pt x="931" y="1855"/>
                    </a:cubicBezTo>
                    <a:cubicBezTo>
                      <a:pt x="931" y="1858"/>
                      <a:pt x="928" y="1873"/>
                      <a:pt x="923" y="1878"/>
                    </a:cubicBezTo>
                    <a:cubicBezTo>
                      <a:pt x="918" y="1883"/>
                      <a:pt x="903" y="1882"/>
                      <a:pt x="903" y="1888"/>
                    </a:cubicBezTo>
                    <a:cubicBezTo>
                      <a:pt x="903" y="1894"/>
                      <a:pt x="899" y="1911"/>
                      <a:pt x="899" y="1911"/>
                    </a:cubicBezTo>
                    <a:cubicBezTo>
                      <a:pt x="915" y="1912"/>
                      <a:pt x="915" y="1912"/>
                      <a:pt x="915" y="1912"/>
                    </a:cubicBezTo>
                    <a:cubicBezTo>
                      <a:pt x="915" y="1912"/>
                      <a:pt x="921" y="1902"/>
                      <a:pt x="933" y="1904"/>
                    </a:cubicBezTo>
                    <a:cubicBezTo>
                      <a:pt x="945" y="1906"/>
                      <a:pt x="970" y="1933"/>
                      <a:pt x="970" y="1933"/>
                    </a:cubicBezTo>
                    <a:cubicBezTo>
                      <a:pt x="970" y="1933"/>
                      <a:pt x="980" y="1956"/>
                      <a:pt x="986" y="1956"/>
                    </a:cubicBezTo>
                    <a:cubicBezTo>
                      <a:pt x="992" y="1956"/>
                      <a:pt x="991" y="1942"/>
                      <a:pt x="1001" y="1945"/>
                    </a:cubicBezTo>
                    <a:cubicBezTo>
                      <a:pt x="1011" y="1948"/>
                      <a:pt x="1020" y="1964"/>
                      <a:pt x="1025" y="1967"/>
                    </a:cubicBezTo>
                    <a:cubicBezTo>
                      <a:pt x="1030" y="1970"/>
                      <a:pt x="1037" y="1969"/>
                      <a:pt x="1037" y="1969"/>
                    </a:cubicBezTo>
                    <a:cubicBezTo>
                      <a:pt x="1037" y="1969"/>
                      <a:pt x="1045" y="1976"/>
                      <a:pt x="1049" y="1978"/>
                    </a:cubicBezTo>
                    <a:cubicBezTo>
                      <a:pt x="1053" y="1980"/>
                      <a:pt x="1055" y="1993"/>
                      <a:pt x="1067" y="1997"/>
                    </a:cubicBezTo>
                    <a:cubicBezTo>
                      <a:pt x="1079" y="2001"/>
                      <a:pt x="1086" y="2000"/>
                      <a:pt x="1086" y="2000"/>
                    </a:cubicBezTo>
                    <a:cubicBezTo>
                      <a:pt x="1086" y="2000"/>
                      <a:pt x="1096" y="2024"/>
                      <a:pt x="1104" y="2029"/>
                    </a:cubicBezTo>
                    <a:cubicBezTo>
                      <a:pt x="1112" y="2034"/>
                      <a:pt x="1131" y="2033"/>
                      <a:pt x="1126" y="2042"/>
                    </a:cubicBezTo>
                    <a:cubicBezTo>
                      <a:pt x="1121" y="2051"/>
                      <a:pt x="1111" y="2064"/>
                      <a:pt x="1112" y="2071"/>
                    </a:cubicBezTo>
                    <a:cubicBezTo>
                      <a:pt x="1113" y="2078"/>
                      <a:pt x="1119" y="2078"/>
                      <a:pt x="1119" y="2078"/>
                    </a:cubicBezTo>
                    <a:cubicBezTo>
                      <a:pt x="1118" y="2099"/>
                      <a:pt x="1118" y="2099"/>
                      <a:pt x="1118" y="2099"/>
                    </a:cubicBezTo>
                    <a:cubicBezTo>
                      <a:pt x="1128" y="2098"/>
                      <a:pt x="1128" y="2098"/>
                      <a:pt x="1128" y="2098"/>
                    </a:cubicBezTo>
                    <a:cubicBezTo>
                      <a:pt x="1128" y="2096"/>
                      <a:pt x="1128" y="2096"/>
                      <a:pt x="1128" y="2096"/>
                    </a:cubicBezTo>
                    <a:cubicBezTo>
                      <a:pt x="1128" y="2096"/>
                      <a:pt x="1151" y="2070"/>
                      <a:pt x="1156" y="2061"/>
                    </a:cubicBezTo>
                    <a:cubicBezTo>
                      <a:pt x="1161" y="2052"/>
                      <a:pt x="1153" y="2031"/>
                      <a:pt x="1153" y="2031"/>
                    </a:cubicBezTo>
                    <a:cubicBezTo>
                      <a:pt x="1165" y="2013"/>
                      <a:pt x="1165" y="2013"/>
                      <a:pt x="1165" y="2013"/>
                    </a:cubicBezTo>
                    <a:cubicBezTo>
                      <a:pt x="1165" y="2013"/>
                      <a:pt x="1155" y="2005"/>
                      <a:pt x="1155" y="1995"/>
                    </a:cubicBezTo>
                    <a:cubicBezTo>
                      <a:pt x="1155" y="1985"/>
                      <a:pt x="1165" y="1984"/>
                      <a:pt x="1165" y="1984"/>
                    </a:cubicBezTo>
                    <a:cubicBezTo>
                      <a:pt x="1167" y="1968"/>
                      <a:pt x="1167" y="1968"/>
                      <a:pt x="1167" y="1968"/>
                    </a:cubicBezTo>
                    <a:cubicBezTo>
                      <a:pt x="1167" y="1968"/>
                      <a:pt x="1179" y="1966"/>
                      <a:pt x="1183" y="1962"/>
                    </a:cubicBezTo>
                    <a:cubicBezTo>
                      <a:pt x="1187" y="1958"/>
                      <a:pt x="1186" y="1944"/>
                      <a:pt x="1186" y="1936"/>
                    </a:cubicBezTo>
                    <a:cubicBezTo>
                      <a:pt x="1186" y="1928"/>
                      <a:pt x="1204" y="1911"/>
                      <a:pt x="1213" y="1909"/>
                    </a:cubicBezTo>
                    <a:cubicBezTo>
                      <a:pt x="1222" y="1907"/>
                      <a:pt x="1219" y="1931"/>
                      <a:pt x="1219" y="1931"/>
                    </a:cubicBezTo>
                    <a:cubicBezTo>
                      <a:pt x="1219" y="1931"/>
                      <a:pt x="1213" y="1941"/>
                      <a:pt x="1210" y="1943"/>
                    </a:cubicBezTo>
                    <a:cubicBezTo>
                      <a:pt x="1207" y="1945"/>
                      <a:pt x="1208" y="1956"/>
                      <a:pt x="1208" y="1956"/>
                    </a:cubicBezTo>
                    <a:cubicBezTo>
                      <a:pt x="1201" y="1960"/>
                      <a:pt x="1201" y="1960"/>
                      <a:pt x="1201" y="1960"/>
                    </a:cubicBezTo>
                    <a:cubicBezTo>
                      <a:pt x="1201" y="1969"/>
                      <a:pt x="1201" y="1969"/>
                      <a:pt x="1201" y="1969"/>
                    </a:cubicBezTo>
                    <a:cubicBezTo>
                      <a:pt x="1184" y="1987"/>
                      <a:pt x="1184" y="1987"/>
                      <a:pt x="1184" y="1987"/>
                    </a:cubicBezTo>
                    <a:cubicBezTo>
                      <a:pt x="1163" y="2002"/>
                      <a:pt x="1163" y="2002"/>
                      <a:pt x="1163" y="2002"/>
                    </a:cubicBezTo>
                    <a:cubicBezTo>
                      <a:pt x="1163" y="2002"/>
                      <a:pt x="1170" y="2008"/>
                      <a:pt x="1177" y="2006"/>
                    </a:cubicBezTo>
                    <a:cubicBezTo>
                      <a:pt x="1182" y="2005"/>
                      <a:pt x="1182" y="1993"/>
                      <a:pt x="1187" y="1990"/>
                    </a:cubicBezTo>
                    <a:cubicBezTo>
                      <a:pt x="1191" y="1986"/>
                      <a:pt x="1198" y="1989"/>
                      <a:pt x="1200" y="1987"/>
                    </a:cubicBezTo>
                    <a:cubicBezTo>
                      <a:pt x="1206" y="1978"/>
                      <a:pt x="1228" y="1944"/>
                      <a:pt x="1233" y="1920"/>
                    </a:cubicBezTo>
                    <a:cubicBezTo>
                      <a:pt x="1238" y="1896"/>
                      <a:pt x="1248" y="1874"/>
                      <a:pt x="1252" y="1860"/>
                    </a:cubicBezTo>
                    <a:cubicBezTo>
                      <a:pt x="1256" y="1846"/>
                      <a:pt x="1284" y="1829"/>
                      <a:pt x="1286" y="1825"/>
                    </a:cubicBezTo>
                    <a:cubicBezTo>
                      <a:pt x="1288" y="1821"/>
                      <a:pt x="1281" y="1811"/>
                      <a:pt x="1281" y="1811"/>
                    </a:cubicBezTo>
                    <a:cubicBezTo>
                      <a:pt x="1294" y="1802"/>
                      <a:pt x="1294" y="1802"/>
                      <a:pt x="1294" y="1802"/>
                    </a:cubicBezTo>
                    <a:cubicBezTo>
                      <a:pt x="1290" y="1778"/>
                      <a:pt x="1290" y="1778"/>
                      <a:pt x="1290" y="1778"/>
                    </a:cubicBezTo>
                    <a:cubicBezTo>
                      <a:pt x="1294" y="1764"/>
                      <a:pt x="1294" y="1764"/>
                      <a:pt x="1294" y="1764"/>
                    </a:cubicBezTo>
                    <a:cubicBezTo>
                      <a:pt x="1285" y="1759"/>
                      <a:pt x="1285" y="1759"/>
                      <a:pt x="1285" y="1759"/>
                    </a:cubicBezTo>
                    <a:cubicBezTo>
                      <a:pt x="1285" y="1759"/>
                      <a:pt x="1292" y="1750"/>
                      <a:pt x="1292" y="1742"/>
                    </a:cubicBezTo>
                    <a:cubicBezTo>
                      <a:pt x="1292" y="1734"/>
                      <a:pt x="1277" y="1728"/>
                      <a:pt x="1277" y="1728"/>
                    </a:cubicBezTo>
                    <a:cubicBezTo>
                      <a:pt x="1276" y="1705"/>
                      <a:pt x="1276" y="1705"/>
                      <a:pt x="1276" y="1705"/>
                    </a:cubicBezTo>
                    <a:cubicBezTo>
                      <a:pt x="1266" y="1694"/>
                      <a:pt x="1266" y="1694"/>
                      <a:pt x="1266" y="1694"/>
                    </a:cubicBezTo>
                    <a:cubicBezTo>
                      <a:pt x="1280" y="1695"/>
                      <a:pt x="1280" y="1695"/>
                      <a:pt x="1280" y="1695"/>
                    </a:cubicBezTo>
                    <a:cubicBezTo>
                      <a:pt x="1279" y="1678"/>
                      <a:pt x="1279" y="1678"/>
                      <a:pt x="1279" y="1678"/>
                    </a:cubicBezTo>
                    <a:cubicBezTo>
                      <a:pt x="1270" y="1673"/>
                      <a:pt x="1270" y="1673"/>
                      <a:pt x="1270" y="1673"/>
                    </a:cubicBezTo>
                    <a:cubicBezTo>
                      <a:pt x="1270" y="1673"/>
                      <a:pt x="1282" y="1670"/>
                      <a:pt x="1282" y="1665"/>
                    </a:cubicBezTo>
                    <a:cubicBezTo>
                      <a:pt x="1282" y="1660"/>
                      <a:pt x="1266" y="1650"/>
                      <a:pt x="1266" y="1650"/>
                    </a:cubicBezTo>
                    <a:cubicBezTo>
                      <a:pt x="1282" y="1639"/>
                      <a:pt x="1282" y="1639"/>
                      <a:pt x="1282" y="1639"/>
                    </a:cubicBezTo>
                    <a:cubicBezTo>
                      <a:pt x="1282" y="1639"/>
                      <a:pt x="1295" y="1653"/>
                      <a:pt x="1301" y="1652"/>
                    </a:cubicBezTo>
                    <a:cubicBezTo>
                      <a:pt x="1307" y="1651"/>
                      <a:pt x="1303" y="1639"/>
                      <a:pt x="1303" y="1639"/>
                    </a:cubicBezTo>
                    <a:cubicBezTo>
                      <a:pt x="1303" y="1639"/>
                      <a:pt x="1303" y="1627"/>
                      <a:pt x="1311" y="1617"/>
                    </a:cubicBezTo>
                    <a:cubicBezTo>
                      <a:pt x="1319" y="1607"/>
                      <a:pt x="1331" y="1610"/>
                      <a:pt x="1337" y="1605"/>
                    </a:cubicBezTo>
                    <a:cubicBezTo>
                      <a:pt x="1343" y="1600"/>
                      <a:pt x="1340" y="1596"/>
                      <a:pt x="1343" y="1589"/>
                    </a:cubicBezTo>
                    <a:cubicBezTo>
                      <a:pt x="1346" y="1582"/>
                      <a:pt x="1364" y="1579"/>
                      <a:pt x="1364" y="1579"/>
                    </a:cubicBezTo>
                    <a:cubicBezTo>
                      <a:pt x="1366" y="1571"/>
                      <a:pt x="1366" y="1571"/>
                      <a:pt x="1366" y="1571"/>
                    </a:cubicBezTo>
                    <a:cubicBezTo>
                      <a:pt x="1366" y="1571"/>
                      <a:pt x="1372" y="1574"/>
                      <a:pt x="1377" y="1573"/>
                    </a:cubicBezTo>
                    <a:cubicBezTo>
                      <a:pt x="1382" y="1572"/>
                      <a:pt x="1381" y="1560"/>
                      <a:pt x="1387" y="1559"/>
                    </a:cubicBezTo>
                    <a:cubicBezTo>
                      <a:pt x="1393" y="1558"/>
                      <a:pt x="1412" y="1561"/>
                      <a:pt x="1412" y="1561"/>
                    </a:cubicBezTo>
                    <a:cubicBezTo>
                      <a:pt x="1416" y="1571"/>
                      <a:pt x="1416" y="1571"/>
                      <a:pt x="1416" y="1571"/>
                    </a:cubicBezTo>
                    <a:cubicBezTo>
                      <a:pt x="1427" y="1569"/>
                      <a:pt x="1427" y="1569"/>
                      <a:pt x="1427" y="1569"/>
                    </a:cubicBezTo>
                    <a:cubicBezTo>
                      <a:pt x="1414" y="1554"/>
                      <a:pt x="1414" y="1554"/>
                      <a:pt x="1414" y="1554"/>
                    </a:cubicBezTo>
                    <a:cubicBezTo>
                      <a:pt x="1414" y="1554"/>
                      <a:pt x="1423" y="1550"/>
                      <a:pt x="1427" y="1545"/>
                    </a:cubicBezTo>
                    <a:cubicBezTo>
                      <a:pt x="1431" y="1540"/>
                      <a:pt x="1453" y="1539"/>
                      <a:pt x="1453" y="1539"/>
                    </a:cubicBezTo>
                    <a:cubicBezTo>
                      <a:pt x="1442" y="1529"/>
                      <a:pt x="1442" y="1529"/>
                      <a:pt x="1442" y="1529"/>
                    </a:cubicBezTo>
                    <a:cubicBezTo>
                      <a:pt x="1442" y="1529"/>
                      <a:pt x="1454" y="1519"/>
                      <a:pt x="1459" y="1519"/>
                    </a:cubicBezTo>
                    <a:cubicBezTo>
                      <a:pt x="1464" y="1519"/>
                      <a:pt x="1460" y="1535"/>
                      <a:pt x="1463" y="1535"/>
                    </a:cubicBezTo>
                    <a:cubicBezTo>
                      <a:pt x="1466" y="1535"/>
                      <a:pt x="1472" y="1518"/>
                      <a:pt x="1472" y="1518"/>
                    </a:cubicBezTo>
                    <a:cubicBezTo>
                      <a:pt x="1497" y="1523"/>
                      <a:pt x="1497" y="1523"/>
                      <a:pt x="1497" y="1523"/>
                    </a:cubicBezTo>
                    <a:cubicBezTo>
                      <a:pt x="1497" y="1523"/>
                      <a:pt x="1502" y="1503"/>
                      <a:pt x="1513" y="1502"/>
                    </a:cubicBezTo>
                    <a:cubicBezTo>
                      <a:pt x="1524" y="1501"/>
                      <a:pt x="1521" y="1523"/>
                      <a:pt x="1521" y="1523"/>
                    </a:cubicBezTo>
                    <a:cubicBezTo>
                      <a:pt x="1566" y="1518"/>
                      <a:pt x="1566" y="1518"/>
                      <a:pt x="1566" y="1518"/>
                    </a:cubicBezTo>
                    <a:cubicBezTo>
                      <a:pt x="1571" y="1506"/>
                      <a:pt x="1571" y="1506"/>
                      <a:pt x="1571" y="1506"/>
                    </a:cubicBezTo>
                    <a:cubicBezTo>
                      <a:pt x="1565" y="1499"/>
                      <a:pt x="1565" y="1499"/>
                      <a:pt x="1565" y="1499"/>
                    </a:cubicBezTo>
                    <a:cubicBezTo>
                      <a:pt x="1565" y="1499"/>
                      <a:pt x="1571" y="1491"/>
                      <a:pt x="1577" y="1482"/>
                    </a:cubicBezTo>
                    <a:cubicBezTo>
                      <a:pt x="1583" y="1473"/>
                      <a:pt x="1613" y="1468"/>
                      <a:pt x="1613" y="1468"/>
                    </a:cubicBezTo>
                    <a:cubicBezTo>
                      <a:pt x="1613" y="1468"/>
                      <a:pt x="1610" y="1455"/>
                      <a:pt x="1610" y="1452"/>
                    </a:cubicBezTo>
                    <a:cubicBezTo>
                      <a:pt x="1610" y="1449"/>
                      <a:pt x="1611" y="1408"/>
                      <a:pt x="1611" y="1408"/>
                    </a:cubicBezTo>
                    <a:cubicBezTo>
                      <a:pt x="1629" y="1388"/>
                      <a:pt x="1629" y="1388"/>
                      <a:pt x="1629" y="1388"/>
                    </a:cubicBezTo>
                    <a:cubicBezTo>
                      <a:pt x="1629" y="1372"/>
                      <a:pt x="1629" y="1372"/>
                      <a:pt x="1629" y="1372"/>
                    </a:cubicBezTo>
                    <a:cubicBezTo>
                      <a:pt x="1642" y="1369"/>
                      <a:pt x="1642" y="1369"/>
                      <a:pt x="1642" y="1369"/>
                    </a:cubicBezTo>
                    <a:cubicBezTo>
                      <a:pt x="1642" y="1347"/>
                      <a:pt x="1642" y="1347"/>
                      <a:pt x="1642" y="1347"/>
                    </a:cubicBezTo>
                    <a:cubicBezTo>
                      <a:pt x="1642" y="1347"/>
                      <a:pt x="1651" y="1342"/>
                      <a:pt x="1655" y="1342"/>
                    </a:cubicBezTo>
                    <a:cubicBezTo>
                      <a:pt x="1659" y="1342"/>
                      <a:pt x="1659" y="1317"/>
                      <a:pt x="1659" y="1317"/>
                    </a:cubicBezTo>
                    <a:cubicBezTo>
                      <a:pt x="1659" y="1317"/>
                      <a:pt x="1653" y="1288"/>
                      <a:pt x="1651" y="1273"/>
                    </a:cubicBezTo>
                    <a:cubicBezTo>
                      <a:pt x="1649" y="1258"/>
                      <a:pt x="1667" y="1246"/>
                      <a:pt x="1674" y="1240"/>
                    </a:cubicBezTo>
                    <a:cubicBezTo>
                      <a:pt x="1681" y="1234"/>
                      <a:pt x="1671" y="1213"/>
                      <a:pt x="1671" y="1213"/>
                    </a:cubicBezTo>
                    <a:cubicBezTo>
                      <a:pt x="1675" y="1175"/>
                      <a:pt x="1675" y="1175"/>
                      <a:pt x="1675" y="1175"/>
                    </a:cubicBezTo>
                    <a:cubicBezTo>
                      <a:pt x="1675" y="1175"/>
                      <a:pt x="1683" y="1145"/>
                      <a:pt x="1682" y="1134"/>
                    </a:cubicBezTo>
                    <a:cubicBezTo>
                      <a:pt x="1681" y="1123"/>
                      <a:pt x="1669" y="1065"/>
                      <a:pt x="1669" y="1065"/>
                    </a:cubicBezTo>
                    <a:cubicBezTo>
                      <a:pt x="1674" y="1041"/>
                      <a:pt x="1674" y="1041"/>
                      <a:pt x="1674" y="1041"/>
                    </a:cubicBezTo>
                    <a:cubicBezTo>
                      <a:pt x="1674" y="1041"/>
                      <a:pt x="1665" y="1010"/>
                      <a:pt x="1668" y="1002"/>
                    </a:cubicBezTo>
                    <a:cubicBezTo>
                      <a:pt x="1671" y="994"/>
                      <a:pt x="1682" y="984"/>
                      <a:pt x="1682" y="984"/>
                    </a:cubicBezTo>
                    <a:cubicBezTo>
                      <a:pt x="1674" y="972"/>
                      <a:pt x="1674" y="972"/>
                      <a:pt x="1674" y="972"/>
                    </a:cubicBezTo>
                    <a:cubicBezTo>
                      <a:pt x="1674" y="972"/>
                      <a:pt x="1681" y="962"/>
                      <a:pt x="1685" y="962"/>
                    </a:cubicBezTo>
                    <a:cubicBezTo>
                      <a:pt x="1689" y="962"/>
                      <a:pt x="1698" y="981"/>
                      <a:pt x="1698" y="981"/>
                    </a:cubicBezTo>
                    <a:cubicBezTo>
                      <a:pt x="1698" y="981"/>
                      <a:pt x="1720" y="961"/>
                      <a:pt x="1727" y="951"/>
                    </a:cubicBezTo>
                    <a:cubicBezTo>
                      <a:pt x="1734" y="941"/>
                      <a:pt x="1739" y="897"/>
                      <a:pt x="1739" y="897"/>
                    </a:cubicBezTo>
                    <a:cubicBezTo>
                      <a:pt x="1739" y="897"/>
                      <a:pt x="1745" y="893"/>
                      <a:pt x="1751" y="889"/>
                    </a:cubicBezTo>
                    <a:cubicBezTo>
                      <a:pt x="1757" y="885"/>
                      <a:pt x="1762" y="863"/>
                      <a:pt x="1762" y="863"/>
                    </a:cubicBezTo>
                    <a:cubicBezTo>
                      <a:pt x="1762" y="863"/>
                      <a:pt x="1775" y="856"/>
                      <a:pt x="1782" y="855"/>
                    </a:cubicBezTo>
                    <a:cubicBezTo>
                      <a:pt x="1789" y="854"/>
                      <a:pt x="1789" y="834"/>
                      <a:pt x="1789" y="834"/>
                    </a:cubicBezTo>
                    <a:cubicBezTo>
                      <a:pt x="1789" y="834"/>
                      <a:pt x="1803" y="829"/>
                      <a:pt x="1816" y="811"/>
                    </a:cubicBezTo>
                    <a:cubicBezTo>
                      <a:pt x="1829" y="793"/>
                      <a:pt x="1844" y="746"/>
                      <a:pt x="1844" y="746"/>
                    </a:cubicBezTo>
                    <a:cubicBezTo>
                      <a:pt x="1844" y="746"/>
                      <a:pt x="1856" y="733"/>
                      <a:pt x="1857" y="727"/>
                    </a:cubicBezTo>
                    <a:cubicBezTo>
                      <a:pt x="1858" y="721"/>
                      <a:pt x="1852" y="705"/>
                      <a:pt x="1852" y="705"/>
                    </a:cubicBezTo>
                    <a:cubicBezTo>
                      <a:pt x="1852" y="705"/>
                      <a:pt x="1855" y="684"/>
                      <a:pt x="1855" y="667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8" name="Freeform 325">
                <a:extLst>
                  <a:ext uri="{FF2B5EF4-FFF2-40B4-BE49-F238E27FC236}">
                    <a16:creationId xmlns:a16="http://schemas.microsoft.com/office/drawing/2014/main" id="{39A294A9-B9FD-EBDD-EE9F-23D2A2EEF85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4223" y="-7752"/>
                <a:ext cx="1821" cy="4776"/>
              </a:xfrm>
              <a:custGeom>
                <a:avLst/>
                <a:gdLst>
                  <a:gd name="T0" fmla="*/ 550 w 771"/>
                  <a:gd name="T1" fmla="*/ 1864 h 2022"/>
                  <a:gd name="T2" fmla="*/ 572 w 771"/>
                  <a:gd name="T3" fmla="*/ 1906 h 2022"/>
                  <a:gd name="T4" fmla="*/ 567 w 771"/>
                  <a:gd name="T5" fmla="*/ 1954 h 2022"/>
                  <a:gd name="T6" fmla="*/ 690 w 771"/>
                  <a:gd name="T7" fmla="*/ 1981 h 2022"/>
                  <a:gd name="T8" fmla="*/ 658 w 771"/>
                  <a:gd name="T9" fmla="*/ 1993 h 2022"/>
                  <a:gd name="T10" fmla="*/ 617 w 771"/>
                  <a:gd name="T11" fmla="*/ 1988 h 2022"/>
                  <a:gd name="T12" fmla="*/ 663 w 771"/>
                  <a:gd name="T13" fmla="*/ 2010 h 2022"/>
                  <a:gd name="T14" fmla="*/ 500 w 771"/>
                  <a:gd name="T15" fmla="*/ 1974 h 2022"/>
                  <a:gd name="T16" fmla="*/ 526 w 771"/>
                  <a:gd name="T17" fmla="*/ 1935 h 2022"/>
                  <a:gd name="T18" fmla="*/ 471 w 771"/>
                  <a:gd name="T19" fmla="*/ 1945 h 2022"/>
                  <a:gd name="T20" fmla="*/ 397 w 771"/>
                  <a:gd name="T21" fmla="*/ 1867 h 2022"/>
                  <a:gd name="T22" fmla="*/ 345 w 771"/>
                  <a:gd name="T23" fmla="*/ 1873 h 2022"/>
                  <a:gd name="T24" fmla="*/ 355 w 771"/>
                  <a:gd name="T25" fmla="*/ 1822 h 2022"/>
                  <a:gd name="T26" fmla="*/ 326 w 771"/>
                  <a:gd name="T27" fmla="*/ 1841 h 2022"/>
                  <a:gd name="T28" fmla="*/ 342 w 771"/>
                  <a:gd name="T29" fmla="*/ 1820 h 2022"/>
                  <a:gd name="T30" fmla="*/ 287 w 771"/>
                  <a:gd name="T31" fmla="*/ 1789 h 2022"/>
                  <a:gd name="T32" fmla="*/ 267 w 771"/>
                  <a:gd name="T33" fmla="*/ 1739 h 2022"/>
                  <a:gd name="T34" fmla="*/ 257 w 771"/>
                  <a:gd name="T35" fmla="*/ 1697 h 2022"/>
                  <a:gd name="T36" fmla="*/ 208 w 771"/>
                  <a:gd name="T37" fmla="*/ 1688 h 2022"/>
                  <a:gd name="T38" fmla="*/ 144 w 771"/>
                  <a:gd name="T39" fmla="*/ 1339 h 2022"/>
                  <a:gd name="T40" fmla="*/ 163 w 771"/>
                  <a:gd name="T41" fmla="*/ 1391 h 2022"/>
                  <a:gd name="T42" fmla="*/ 186 w 771"/>
                  <a:gd name="T43" fmla="*/ 1483 h 2022"/>
                  <a:gd name="T44" fmla="*/ 212 w 771"/>
                  <a:gd name="T45" fmla="*/ 1463 h 2022"/>
                  <a:gd name="T46" fmla="*/ 143 w 771"/>
                  <a:gd name="T47" fmla="*/ 1440 h 2022"/>
                  <a:gd name="T48" fmla="*/ 498 w 771"/>
                  <a:gd name="T49" fmla="*/ 1874 h 2022"/>
                  <a:gd name="T50" fmla="*/ 449 w 771"/>
                  <a:gd name="T51" fmla="*/ 1842 h 2022"/>
                  <a:gd name="T52" fmla="*/ 338 w 771"/>
                  <a:gd name="T53" fmla="*/ 1747 h 2022"/>
                  <a:gd name="T54" fmla="*/ 317 w 771"/>
                  <a:gd name="T55" fmla="*/ 1650 h 2022"/>
                  <a:gd name="T56" fmla="*/ 304 w 771"/>
                  <a:gd name="T57" fmla="*/ 1533 h 2022"/>
                  <a:gd name="T58" fmla="*/ 272 w 771"/>
                  <a:gd name="T59" fmla="*/ 1443 h 2022"/>
                  <a:gd name="T60" fmla="*/ 215 w 771"/>
                  <a:gd name="T61" fmla="*/ 1320 h 2022"/>
                  <a:gd name="T62" fmla="*/ 187 w 771"/>
                  <a:gd name="T63" fmla="*/ 1196 h 2022"/>
                  <a:gd name="T64" fmla="*/ 165 w 771"/>
                  <a:gd name="T65" fmla="*/ 1085 h 2022"/>
                  <a:gd name="T66" fmla="*/ 166 w 771"/>
                  <a:gd name="T67" fmla="*/ 954 h 2022"/>
                  <a:gd name="T68" fmla="*/ 142 w 771"/>
                  <a:gd name="T69" fmla="*/ 815 h 2022"/>
                  <a:gd name="T70" fmla="*/ 109 w 771"/>
                  <a:gd name="T71" fmla="*/ 685 h 2022"/>
                  <a:gd name="T72" fmla="*/ 162 w 771"/>
                  <a:gd name="T73" fmla="*/ 498 h 2022"/>
                  <a:gd name="T74" fmla="*/ 184 w 771"/>
                  <a:gd name="T75" fmla="*/ 293 h 2022"/>
                  <a:gd name="T76" fmla="*/ 97 w 771"/>
                  <a:gd name="T77" fmla="*/ 161 h 2022"/>
                  <a:gd name="T78" fmla="*/ 45 w 771"/>
                  <a:gd name="T79" fmla="*/ 22 h 2022"/>
                  <a:gd name="T80" fmla="*/ 24 w 771"/>
                  <a:gd name="T81" fmla="*/ 182 h 2022"/>
                  <a:gd name="T82" fmla="*/ 47 w 771"/>
                  <a:gd name="T83" fmla="*/ 417 h 2022"/>
                  <a:gd name="T84" fmla="*/ 34 w 771"/>
                  <a:gd name="T85" fmla="*/ 559 h 2022"/>
                  <a:gd name="T86" fmla="*/ 47 w 771"/>
                  <a:gd name="T87" fmla="*/ 720 h 2022"/>
                  <a:gd name="T88" fmla="*/ 82 w 771"/>
                  <a:gd name="T89" fmla="*/ 947 h 2022"/>
                  <a:gd name="T90" fmla="*/ 72 w 771"/>
                  <a:gd name="T91" fmla="*/ 1102 h 2022"/>
                  <a:gd name="T92" fmla="*/ 129 w 771"/>
                  <a:gd name="T93" fmla="*/ 1299 h 2022"/>
                  <a:gd name="T94" fmla="*/ 193 w 771"/>
                  <a:gd name="T95" fmla="*/ 1313 h 2022"/>
                  <a:gd name="T96" fmla="*/ 212 w 771"/>
                  <a:gd name="T97" fmla="*/ 1403 h 2022"/>
                  <a:gd name="T98" fmla="*/ 252 w 771"/>
                  <a:gd name="T99" fmla="*/ 1497 h 2022"/>
                  <a:gd name="T100" fmla="*/ 214 w 771"/>
                  <a:gd name="T101" fmla="*/ 1535 h 2022"/>
                  <a:gd name="T102" fmla="*/ 176 w 771"/>
                  <a:gd name="T103" fmla="*/ 1528 h 2022"/>
                  <a:gd name="T104" fmla="*/ 214 w 771"/>
                  <a:gd name="T105" fmla="*/ 1567 h 2022"/>
                  <a:gd name="T106" fmla="*/ 257 w 771"/>
                  <a:gd name="T107" fmla="*/ 1604 h 2022"/>
                  <a:gd name="T108" fmla="*/ 265 w 771"/>
                  <a:gd name="T109" fmla="*/ 1686 h 2022"/>
                  <a:gd name="T110" fmla="*/ 298 w 771"/>
                  <a:gd name="T111" fmla="*/ 1731 h 2022"/>
                  <a:gd name="T112" fmla="*/ 331 w 771"/>
                  <a:gd name="T113" fmla="*/ 1762 h 2022"/>
                  <a:gd name="T114" fmla="*/ 407 w 771"/>
                  <a:gd name="T115" fmla="*/ 1821 h 2022"/>
                  <a:gd name="T116" fmla="*/ 434 w 771"/>
                  <a:gd name="T117" fmla="*/ 1876 h 2022"/>
                  <a:gd name="T118" fmla="*/ 459 w 771"/>
                  <a:gd name="T119" fmla="*/ 1893 h 2022"/>
                  <a:gd name="T120" fmla="*/ 428 w 771"/>
                  <a:gd name="T121" fmla="*/ 1927 h 20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71" h="2022">
                    <a:moveTo>
                      <a:pt x="677" y="1942"/>
                    </a:moveTo>
                    <a:cubicBezTo>
                      <a:pt x="625" y="1916"/>
                      <a:pt x="625" y="1903"/>
                      <a:pt x="625" y="1903"/>
                    </a:cubicBezTo>
                    <a:cubicBezTo>
                      <a:pt x="602" y="1903"/>
                      <a:pt x="602" y="1903"/>
                      <a:pt x="602" y="1903"/>
                    </a:cubicBezTo>
                    <a:cubicBezTo>
                      <a:pt x="606" y="1892"/>
                      <a:pt x="606" y="1892"/>
                      <a:pt x="606" y="1892"/>
                    </a:cubicBezTo>
                    <a:cubicBezTo>
                      <a:pt x="580" y="1866"/>
                      <a:pt x="580" y="1866"/>
                      <a:pt x="580" y="1866"/>
                    </a:cubicBezTo>
                    <a:cubicBezTo>
                      <a:pt x="559" y="1872"/>
                      <a:pt x="559" y="1872"/>
                      <a:pt x="559" y="1872"/>
                    </a:cubicBezTo>
                    <a:cubicBezTo>
                      <a:pt x="550" y="1864"/>
                      <a:pt x="550" y="1864"/>
                      <a:pt x="550" y="1864"/>
                    </a:cubicBezTo>
                    <a:cubicBezTo>
                      <a:pt x="543" y="1876"/>
                      <a:pt x="543" y="1876"/>
                      <a:pt x="543" y="1876"/>
                    </a:cubicBezTo>
                    <a:cubicBezTo>
                      <a:pt x="530" y="1879"/>
                      <a:pt x="530" y="1879"/>
                      <a:pt x="530" y="1879"/>
                    </a:cubicBezTo>
                    <a:cubicBezTo>
                      <a:pt x="531" y="1890"/>
                      <a:pt x="531" y="1890"/>
                      <a:pt x="531" y="1890"/>
                    </a:cubicBezTo>
                    <a:cubicBezTo>
                      <a:pt x="520" y="1892"/>
                      <a:pt x="520" y="1892"/>
                      <a:pt x="520" y="1892"/>
                    </a:cubicBezTo>
                    <a:cubicBezTo>
                      <a:pt x="521" y="1910"/>
                      <a:pt x="521" y="1910"/>
                      <a:pt x="521" y="1910"/>
                    </a:cubicBezTo>
                    <a:cubicBezTo>
                      <a:pt x="534" y="1923"/>
                      <a:pt x="557" y="1900"/>
                      <a:pt x="557" y="1900"/>
                    </a:cubicBezTo>
                    <a:cubicBezTo>
                      <a:pt x="572" y="1906"/>
                      <a:pt x="572" y="1906"/>
                      <a:pt x="572" y="1906"/>
                    </a:cubicBezTo>
                    <a:cubicBezTo>
                      <a:pt x="572" y="1919"/>
                      <a:pt x="572" y="1919"/>
                      <a:pt x="572" y="1919"/>
                    </a:cubicBezTo>
                    <a:cubicBezTo>
                      <a:pt x="572" y="1919"/>
                      <a:pt x="541" y="1934"/>
                      <a:pt x="552" y="1938"/>
                    </a:cubicBezTo>
                    <a:cubicBezTo>
                      <a:pt x="562" y="1942"/>
                      <a:pt x="615" y="1960"/>
                      <a:pt x="615" y="1960"/>
                    </a:cubicBezTo>
                    <a:cubicBezTo>
                      <a:pt x="605" y="1974"/>
                      <a:pt x="605" y="1974"/>
                      <a:pt x="605" y="1974"/>
                    </a:cubicBezTo>
                    <a:cubicBezTo>
                      <a:pt x="605" y="1974"/>
                      <a:pt x="602" y="1961"/>
                      <a:pt x="592" y="1961"/>
                    </a:cubicBezTo>
                    <a:cubicBezTo>
                      <a:pt x="582" y="1961"/>
                      <a:pt x="579" y="1968"/>
                      <a:pt x="579" y="1968"/>
                    </a:cubicBezTo>
                    <a:cubicBezTo>
                      <a:pt x="567" y="1954"/>
                      <a:pt x="567" y="1954"/>
                      <a:pt x="567" y="1954"/>
                    </a:cubicBezTo>
                    <a:cubicBezTo>
                      <a:pt x="556" y="1958"/>
                      <a:pt x="556" y="1958"/>
                      <a:pt x="556" y="1958"/>
                    </a:cubicBezTo>
                    <a:cubicBezTo>
                      <a:pt x="565" y="1965"/>
                      <a:pt x="565" y="1965"/>
                      <a:pt x="565" y="1965"/>
                    </a:cubicBezTo>
                    <a:cubicBezTo>
                      <a:pt x="544" y="1962"/>
                      <a:pt x="544" y="1962"/>
                      <a:pt x="544" y="1962"/>
                    </a:cubicBezTo>
                    <a:cubicBezTo>
                      <a:pt x="544" y="1962"/>
                      <a:pt x="550" y="1978"/>
                      <a:pt x="566" y="1978"/>
                    </a:cubicBezTo>
                    <a:cubicBezTo>
                      <a:pt x="582" y="1978"/>
                      <a:pt x="595" y="1978"/>
                      <a:pt x="595" y="1978"/>
                    </a:cubicBezTo>
                    <a:cubicBezTo>
                      <a:pt x="595" y="1978"/>
                      <a:pt x="611" y="1984"/>
                      <a:pt x="621" y="1983"/>
                    </a:cubicBezTo>
                    <a:cubicBezTo>
                      <a:pt x="631" y="1981"/>
                      <a:pt x="676" y="1981"/>
                      <a:pt x="690" y="1981"/>
                    </a:cubicBezTo>
                    <a:cubicBezTo>
                      <a:pt x="705" y="1981"/>
                      <a:pt x="725" y="1994"/>
                      <a:pt x="725" y="1994"/>
                    </a:cubicBezTo>
                    <a:cubicBezTo>
                      <a:pt x="746" y="1983"/>
                      <a:pt x="746" y="1983"/>
                      <a:pt x="746" y="1983"/>
                    </a:cubicBezTo>
                    <a:cubicBezTo>
                      <a:pt x="758" y="1987"/>
                      <a:pt x="758" y="1987"/>
                      <a:pt x="758" y="1987"/>
                    </a:cubicBezTo>
                    <a:cubicBezTo>
                      <a:pt x="770" y="1986"/>
                      <a:pt x="770" y="1986"/>
                      <a:pt x="770" y="1986"/>
                    </a:cubicBezTo>
                    <a:cubicBezTo>
                      <a:pt x="771" y="1970"/>
                      <a:pt x="771" y="1970"/>
                      <a:pt x="771" y="1970"/>
                    </a:cubicBezTo>
                    <a:cubicBezTo>
                      <a:pt x="771" y="1970"/>
                      <a:pt x="729" y="1968"/>
                      <a:pt x="677" y="1942"/>
                    </a:cubicBezTo>
                    <a:close/>
                    <a:moveTo>
                      <a:pt x="658" y="1993"/>
                    </a:moveTo>
                    <a:cubicBezTo>
                      <a:pt x="676" y="2003"/>
                      <a:pt x="676" y="2003"/>
                      <a:pt x="676" y="2003"/>
                    </a:cubicBezTo>
                    <a:cubicBezTo>
                      <a:pt x="712" y="2006"/>
                      <a:pt x="712" y="2006"/>
                      <a:pt x="712" y="2006"/>
                    </a:cubicBezTo>
                    <a:cubicBezTo>
                      <a:pt x="693" y="1988"/>
                      <a:pt x="693" y="1988"/>
                      <a:pt x="693" y="1988"/>
                    </a:cubicBezTo>
                    <a:lnTo>
                      <a:pt x="658" y="1993"/>
                    </a:lnTo>
                    <a:close/>
                    <a:moveTo>
                      <a:pt x="638" y="1997"/>
                    </a:moveTo>
                    <a:cubicBezTo>
                      <a:pt x="644" y="1991"/>
                      <a:pt x="644" y="1991"/>
                      <a:pt x="644" y="1991"/>
                    </a:cubicBezTo>
                    <a:cubicBezTo>
                      <a:pt x="617" y="1988"/>
                      <a:pt x="617" y="1988"/>
                      <a:pt x="617" y="1988"/>
                    </a:cubicBezTo>
                    <a:cubicBezTo>
                      <a:pt x="593" y="1988"/>
                      <a:pt x="593" y="1988"/>
                      <a:pt x="593" y="1988"/>
                    </a:cubicBezTo>
                    <a:cubicBezTo>
                      <a:pt x="602" y="2012"/>
                      <a:pt x="602" y="2012"/>
                      <a:pt x="602" y="2012"/>
                    </a:cubicBezTo>
                    <a:cubicBezTo>
                      <a:pt x="625" y="2014"/>
                      <a:pt x="625" y="2014"/>
                      <a:pt x="625" y="2014"/>
                    </a:cubicBezTo>
                    <a:cubicBezTo>
                      <a:pt x="619" y="2004"/>
                      <a:pt x="619" y="2004"/>
                      <a:pt x="619" y="2004"/>
                    </a:cubicBezTo>
                    <a:cubicBezTo>
                      <a:pt x="625" y="2000"/>
                      <a:pt x="625" y="2000"/>
                      <a:pt x="625" y="2000"/>
                    </a:cubicBezTo>
                    <a:cubicBezTo>
                      <a:pt x="632" y="2010"/>
                      <a:pt x="632" y="2010"/>
                      <a:pt x="632" y="2010"/>
                    </a:cubicBezTo>
                    <a:cubicBezTo>
                      <a:pt x="663" y="2010"/>
                      <a:pt x="663" y="2010"/>
                      <a:pt x="663" y="2010"/>
                    </a:cubicBezTo>
                    <a:cubicBezTo>
                      <a:pt x="673" y="2022"/>
                      <a:pt x="673" y="2022"/>
                      <a:pt x="673" y="2022"/>
                    </a:cubicBezTo>
                    <a:cubicBezTo>
                      <a:pt x="686" y="2022"/>
                      <a:pt x="686" y="2022"/>
                      <a:pt x="686" y="2022"/>
                    </a:cubicBezTo>
                    <a:cubicBezTo>
                      <a:pt x="666" y="2001"/>
                      <a:pt x="666" y="2001"/>
                      <a:pt x="666" y="2001"/>
                    </a:cubicBezTo>
                    <a:lnTo>
                      <a:pt x="638" y="1997"/>
                    </a:lnTo>
                    <a:close/>
                    <a:moveTo>
                      <a:pt x="537" y="1967"/>
                    </a:moveTo>
                    <a:cubicBezTo>
                      <a:pt x="495" y="1962"/>
                      <a:pt x="495" y="1962"/>
                      <a:pt x="495" y="1962"/>
                    </a:cubicBezTo>
                    <a:cubicBezTo>
                      <a:pt x="500" y="1974"/>
                      <a:pt x="500" y="1974"/>
                      <a:pt x="500" y="1974"/>
                    </a:cubicBezTo>
                    <a:cubicBezTo>
                      <a:pt x="527" y="1973"/>
                      <a:pt x="527" y="1973"/>
                      <a:pt x="527" y="1973"/>
                    </a:cubicBezTo>
                    <a:cubicBezTo>
                      <a:pt x="537" y="1987"/>
                      <a:pt x="537" y="1987"/>
                      <a:pt x="537" y="1987"/>
                    </a:cubicBezTo>
                    <a:cubicBezTo>
                      <a:pt x="575" y="2003"/>
                      <a:pt x="575" y="2003"/>
                      <a:pt x="575" y="2003"/>
                    </a:cubicBezTo>
                    <a:cubicBezTo>
                      <a:pt x="552" y="1983"/>
                      <a:pt x="552" y="1983"/>
                      <a:pt x="552" y="1983"/>
                    </a:cubicBezTo>
                    <a:lnTo>
                      <a:pt x="537" y="1967"/>
                    </a:lnTo>
                    <a:close/>
                    <a:moveTo>
                      <a:pt x="534" y="1924"/>
                    </a:moveTo>
                    <a:cubicBezTo>
                      <a:pt x="526" y="1935"/>
                      <a:pt x="526" y="1935"/>
                      <a:pt x="526" y="1935"/>
                    </a:cubicBezTo>
                    <a:cubicBezTo>
                      <a:pt x="530" y="1955"/>
                      <a:pt x="530" y="1955"/>
                      <a:pt x="530" y="1955"/>
                    </a:cubicBezTo>
                    <a:cubicBezTo>
                      <a:pt x="546" y="1949"/>
                      <a:pt x="546" y="1949"/>
                      <a:pt x="546" y="1949"/>
                    </a:cubicBezTo>
                    <a:lnTo>
                      <a:pt x="534" y="1924"/>
                    </a:lnTo>
                    <a:close/>
                    <a:moveTo>
                      <a:pt x="515" y="1954"/>
                    </a:moveTo>
                    <a:cubicBezTo>
                      <a:pt x="513" y="1942"/>
                      <a:pt x="513" y="1942"/>
                      <a:pt x="513" y="1942"/>
                    </a:cubicBezTo>
                    <a:cubicBezTo>
                      <a:pt x="479" y="1934"/>
                      <a:pt x="479" y="1934"/>
                      <a:pt x="479" y="1934"/>
                    </a:cubicBezTo>
                    <a:cubicBezTo>
                      <a:pt x="471" y="1945"/>
                      <a:pt x="471" y="1945"/>
                      <a:pt x="471" y="1945"/>
                    </a:cubicBezTo>
                    <a:cubicBezTo>
                      <a:pt x="472" y="1958"/>
                      <a:pt x="472" y="1958"/>
                      <a:pt x="472" y="1958"/>
                    </a:cubicBezTo>
                    <a:cubicBezTo>
                      <a:pt x="495" y="1949"/>
                      <a:pt x="495" y="1949"/>
                      <a:pt x="495" y="1949"/>
                    </a:cubicBezTo>
                    <a:lnTo>
                      <a:pt x="515" y="1954"/>
                    </a:lnTo>
                    <a:close/>
                    <a:moveTo>
                      <a:pt x="407" y="1848"/>
                    </a:moveTo>
                    <a:cubicBezTo>
                      <a:pt x="407" y="1848"/>
                      <a:pt x="381" y="1835"/>
                      <a:pt x="378" y="1847"/>
                    </a:cubicBezTo>
                    <a:cubicBezTo>
                      <a:pt x="375" y="1859"/>
                      <a:pt x="371" y="1874"/>
                      <a:pt x="375" y="1874"/>
                    </a:cubicBezTo>
                    <a:cubicBezTo>
                      <a:pt x="380" y="1874"/>
                      <a:pt x="397" y="1867"/>
                      <a:pt x="397" y="1867"/>
                    </a:cubicBezTo>
                    <a:cubicBezTo>
                      <a:pt x="399" y="1883"/>
                      <a:pt x="399" y="1883"/>
                      <a:pt x="399" y="1883"/>
                    </a:cubicBezTo>
                    <a:cubicBezTo>
                      <a:pt x="420" y="1873"/>
                      <a:pt x="420" y="1873"/>
                      <a:pt x="420" y="1873"/>
                    </a:cubicBezTo>
                    <a:cubicBezTo>
                      <a:pt x="409" y="1863"/>
                      <a:pt x="409" y="1863"/>
                      <a:pt x="409" y="1863"/>
                    </a:cubicBezTo>
                    <a:cubicBezTo>
                      <a:pt x="413" y="1851"/>
                      <a:pt x="413" y="1851"/>
                      <a:pt x="413" y="1851"/>
                    </a:cubicBezTo>
                    <a:lnTo>
                      <a:pt x="407" y="1848"/>
                    </a:lnTo>
                    <a:close/>
                    <a:moveTo>
                      <a:pt x="368" y="1886"/>
                    </a:moveTo>
                    <a:cubicBezTo>
                      <a:pt x="345" y="1873"/>
                      <a:pt x="345" y="1873"/>
                      <a:pt x="345" y="1873"/>
                    </a:cubicBezTo>
                    <a:cubicBezTo>
                      <a:pt x="362" y="1892"/>
                      <a:pt x="362" y="1892"/>
                      <a:pt x="362" y="1892"/>
                    </a:cubicBezTo>
                    <a:cubicBezTo>
                      <a:pt x="393" y="1896"/>
                      <a:pt x="393" y="1896"/>
                      <a:pt x="393" y="1896"/>
                    </a:cubicBezTo>
                    <a:cubicBezTo>
                      <a:pt x="404" y="1903"/>
                      <a:pt x="404" y="1903"/>
                      <a:pt x="404" y="1903"/>
                    </a:cubicBezTo>
                    <a:cubicBezTo>
                      <a:pt x="393" y="1889"/>
                      <a:pt x="393" y="1889"/>
                      <a:pt x="393" y="1889"/>
                    </a:cubicBezTo>
                    <a:lnTo>
                      <a:pt x="368" y="1886"/>
                    </a:lnTo>
                    <a:close/>
                    <a:moveTo>
                      <a:pt x="368" y="1835"/>
                    </a:moveTo>
                    <a:cubicBezTo>
                      <a:pt x="355" y="1822"/>
                      <a:pt x="355" y="1822"/>
                      <a:pt x="355" y="1822"/>
                    </a:cubicBezTo>
                    <a:cubicBezTo>
                      <a:pt x="351" y="1844"/>
                      <a:pt x="351" y="1844"/>
                      <a:pt x="351" y="1844"/>
                    </a:cubicBezTo>
                    <a:cubicBezTo>
                      <a:pt x="336" y="1848"/>
                      <a:pt x="336" y="1848"/>
                      <a:pt x="336" y="1848"/>
                    </a:cubicBezTo>
                    <a:cubicBezTo>
                      <a:pt x="365" y="1860"/>
                      <a:pt x="365" y="1860"/>
                      <a:pt x="365" y="1860"/>
                    </a:cubicBezTo>
                    <a:lnTo>
                      <a:pt x="368" y="1835"/>
                    </a:lnTo>
                    <a:close/>
                    <a:moveTo>
                      <a:pt x="296" y="1827"/>
                    </a:moveTo>
                    <a:cubicBezTo>
                      <a:pt x="319" y="1848"/>
                      <a:pt x="319" y="1848"/>
                      <a:pt x="319" y="1848"/>
                    </a:cubicBezTo>
                    <a:cubicBezTo>
                      <a:pt x="326" y="1841"/>
                      <a:pt x="326" y="1841"/>
                      <a:pt x="326" y="1841"/>
                    </a:cubicBezTo>
                    <a:cubicBezTo>
                      <a:pt x="306" y="1818"/>
                      <a:pt x="306" y="1818"/>
                      <a:pt x="306" y="1818"/>
                    </a:cubicBezTo>
                    <a:lnTo>
                      <a:pt x="296" y="1827"/>
                    </a:lnTo>
                    <a:close/>
                    <a:moveTo>
                      <a:pt x="342" y="1820"/>
                    </a:moveTo>
                    <a:cubicBezTo>
                      <a:pt x="335" y="1814"/>
                      <a:pt x="335" y="1814"/>
                      <a:pt x="335" y="1814"/>
                    </a:cubicBezTo>
                    <a:cubicBezTo>
                      <a:pt x="329" y="1824"/>
                      <a:pt x="329" y="1824"/>
                      <a:pt x="329" y="1824"/>
                    </a:cubicBezTo>
                    <a:cubicBezTo>
                      <a:pt x="336" y="1833"/>
                      <a:pt x="336" y="1833"/>
                      <a:pt x="336" y="1833"/>
                    </a:cubicBezTo>
                    <a:lnTo>
                      <a:pt x="342" y="1820"/>
                    </a:lnTo>
                    <a:close/>
                    <a:moveTo>
                      <a:pt x="303" y="1805"/>
                    </a:moveTo>
                    <a:cubicBezTo>
                      <a:pt x="306" y="1788"/>
                      <a:pt x="306" y="1788"/>
                      <a:pt x="306" y="1788"/>
                    </a:cubicBezTo>
                    <a:cubicBezTo>
                      <a:pt x="303" y="1763"/>
                      <a:pt x="303" y="1763"/>
                      <a:pt x="303" y="1763"/>
                    </a:cubicBezTo>
                    <a:cubicBezTo>
                      <a:pt x="292" y="1759"/>
                      <a:pt x="292" y="1759"/>
                      <a:pt x="292" y="1759"/>
                    </a:cubicBezTo>
                    <a:cubicBezTo>
                      <a:pt x="292" y="1770"/>
                      <a:pt x="292" y="1770"/>
                      <a:pt x="292" y="1770"/>
                    </a:cubicBezTo>
                    <a:cubicBezTo>
                      <a:pt x="270" y="1766"/>
                      <a:pt x="270" y="1766"/>
                      <a:pt x="270" y="1766"/>
                    </a:cubicBezTo>
                    <a:cubicBezTo>
                      <a:pt x="287" y="1789"/>
                      <a:pt x="287" y="1789"/>
                      <a:pt x="287" y="1789"/>
                    </a:cubicBezTo>
                    <a:cubicBezTo>
                      <a:pt x="283" y="1818"/>
                      <a:pt x="283" y="1818"/>
                      <a:pt x="283" y="1818"/>
                    </a:cubicBezTo>
                    <a:lnTo>
                      <a:pt x="303" y="1805"/>
                    </a:lnTo>
                    <a:close/>
                    <a:moveTo>
                      <a:pt x="243" y="1752"/>
                    </a:moveTo>
                    <a:cubicBezTo>
                      <a:pt x="254" y="1753"/>
                      <a:pt x="254" y="1753"/>
                      <a:pt x="254" y="1753"/>
                    </a:cubicBezTo>
                    <a:cubicBezTo>
                      <a:pt x="261" y="1775"/>
                      <a:pt x="261" y="1775"/>
                      <a:pt x="261" y="1775"/>
                    </a:cubicBezTo>
                    <a:cubicBezTo>
                      <a:pt x="266" y="1755"/>
                      <a:pt x="266" y="1755"/>
                      <a:pt x="266" y="1755"/>
                    </a:cubicBezTo>
                    <a:cubicBezTo>
                      <a:pt x="267" y="1739"/>
                      <a:pt x="267" y="1739"/>
                      <a:pt x="267" y="1739"/>
                    </a:cubicBezTo>
                    <a:cubicBezTo>
                      <a:pt x="250" y="1734"/>
                      <a:pt x="250" y="1734"/>
                      <a:pt x="250" y="1734"/>
                    </a:cubicBezTo>
                    <a:lnTo>
                      <a:pt x="243" y="1752"/>
                    </a:lnTo>
                    <a:close/>
                    <a:moveTo>
                      <a:pt x="248" y="1727"/>
                    </a:moveTo>
                    <a:cubicBezTo>
                      <a:pt x="253" y="1726"/>
                      <a:pt x="256" y="1717"/>
                      <a:pt x="256" y="1717"/>
                    </a:cubicBezTo>
                    <a:cubicBezTo>
                      <a:pt x="276" y="1734"/>
                      <a:pt x="276" y="1734"/>
                      <a:pt x="276" y="1734"/>
                    </a:cubicBezTo>
                    <a:cubicBezTo>
                      <a:pt x="277" y="1718"/>
                      <a:pt x="277" y="1718"/>
                      <a:pt x="277" y="1718"/>
                    </a:cubicBezTo>
                    <a:cubicBezTo>
                      <a:pt x="257" y="1697"/>
                      <a:pt x="257" y="1697"/>
                      <a:pt x="257" y="1697"/>
                    </a:cubicBezTo>
                    <a:cubicBezTo>
                      <a:pt x="257" y="1697"/>
                      <a:pt x="241" y="1674"/>
                      <a:pt x="241" y="1662"/>
                    </a:cubicBezTo>
                    <a:cubicBezTo>
                      <a:pt x="241" y="1651"/>
                      <a:pt x="230" y="1639"/>
                      <a:pt x="219" y="1633"/>
                    </a:cubicBezTo>
                    <a:cubicBezTo>
                      <a:pt x="209" y="1628"/>
                      <a:pt x="209" y="1639"/>
                      <a:pt x="209" y="1639"/>
                    </a:cubicBezTo>
                    <a:cubicBezTo>
                      <a:pt x="195" y="1635"/>
                      <a:pt x="195" y="1635"/>
                      <a:pt x="195" y="1635"/>
                    </a:cubicBezTo>
                    <a:cubicBezTo>
                      <a:pt x="195" y="1635"/>
                      <a:pt x="180" y="1662"/>
                      <a:pt x="191" y="1662"/>
                    </a:cubicBezTo>
                    <a:cubicBezTo>
                      <a:pt x="201" y="1662"/>
                      <a:pt x="221" y="1662"/>
                      <a:pt x="221" y="1662"/>
                    </a:cubicBezTo>
                    <a:cubicBezTo>
                      <a:pt x="208" y="1688"/>
                      <a:pt x="208" y="1688"/>
                      <a:pt x="208" y="1688"/>
                    </a:cubicBezTo>
                    <a:cubicBezTo>
                      <a:pt x="217" y="1688"/>
                      <a:pt x="217" y="1688"/>
                      <a:pt x="217" y="1688"/>
                    </a:cubicBezTo>
                    <a:cubicBezTo>
                      <a:pt x="231" y="1675"/>
                      <a:pt x="231" y="1675"/>
                      <a:pt x="231" y="1675"/>
                    </a:cubicBezTo>
                    <a:cubicBezTo>
                      <a:pt x="230" y="1691"/>
                      <a:pt x="230" y="1691"/>
                      <a:pt x="230" y="1691"/>
                    </a:cubicBezTo>
                    <a:cubicBezTo>
                      <a:pt x="230" y="1691"/>
                      <a:pt x="244" y="1729"/>
                      <a:pt x="248" y="1727"/>
                    </a:cubicBezTo>
                    <a:close/>
                    <a:moveTo>
                      <a:pt x="163" y="1391"/>
                    </a:moveTo>
                    <a:cubicBezTo>
                      <a:pt x="165" y="1359"/>
                      <a:pt x="165" y="1359"/>
                      <a:pt x="165" y="1359"/>
                    </a:cubicBezTo>
                    <a:cubicBezTo>
                      <a:pt x="144" y="1339"/>
                      <a:pt x="144" y="1339"/>
                      <a:pt x="144" y="1339"/>
                    </a:cubicBezTo>
                    <a:cubicBezTo>
                      <a:pt x="154" y="1329"/>
                      <a:pt x="154" y="1329"/>
                      <a:pt x="154" y="1329"/>
                    </a:cubicBezTo>
                    <a:cubicBezTo>
                      <a:pt x="140" y="1313"/>
                      <a:pt x="140" y="1313"/>
                      <a:pt x="140" y="1313"/>
                    </a:cubicBezTo>
                    <a:cubicBezTo>
                      <a:pt x="117" y="1304"/>
                      <a:pt x="117" y="1304"/>
                      <a:pt x="117" y="1304"/>
                    </a:cubicBezTo>
                    <a:cubicBezTo>
                      <a:pt x="117" y="1304"/>
                      <a:pt x="114" y="1340"/>
                      <a:pt x="123" y="1343"/>
                    </a:cubicBezTo>
                    <a:cubicBezTo>
                      <a:pt x="131" y="1346"/>
                      <a:pt x="137" y="1366"/>
                      <a:pt x="137" y="1366"/>
                    </a:cubicBezTo>
                    <a:cubicBezTo>
                      <a:pt x="133" y="1379"/>
                      <a:pt x="133" y="1379"/>
                      <a:pt x="133" y="1379"/>
                    </a:cubicBezTo>
                    <a:lnTo>
                      <a:pt x="163" y="1391"/>
                    </a:lnTo>
                    <a:close/>
                    <a:moveTo>
                      <a:pt x="163" y="1453"/>
                    </a:moveTo>
                    <a:cubicBezTo>
                      <a:pt x="170" y="1461"/>
                      <a:pt x="170" y="1461"/>
                      <a:pt x="170" y="1461"/>
                    </a:cubicBezTo>
                    <a:cubicBezTo>
                      <a:pt x="188" y="1461"/>
                      <a:pt x="188" y="1461"/>
                      <a:pt x="188" y="1461"/>
                    </a:cubicBezTo>
                    <a:cubicBezTo>
                      <a:pt x="195" y="1448"/>
                      <a:pt x="195" y="1448"/>
                      <a:pt x="195" y="1448"/>
                    </a:cubicBezTo>
                    <a:cubicBezTo>
                      <a:pt x="176" y="1453"/>
                      <a:pt x="176" y="1453"/>
                      <a:pt x="176" y="1453"/>
                    </a:cubicBezTo>
                    <a:lnTo>
                      <a:pt x="163" y="1453"/>
                    </a:lnTo>
                    <a:close/>
                    <a:moveTo>
                      <a:pt x="186" y="1483"/>
                    </a:moveTo>
                    <a:cubicBezTo>
                      <a:pt x="188" y="1495"/>
                      <a:pt x="188" y="1495"/>
                      <a:pt x="188" y="1495"/>
                    </a:cubicBezTo>
                    <a:cubicBezTo>
                      <a:pt x="204" y="1505"/>
                      <a:pt x="204" y="1505"/>
                      <a:pt x="204" y="1505"/>
                    </a:cubicBezTo>
                    <a:cubicBezTo>
                      <a:pt x="204" y="1489"/>
                      <a:pt x="204" y="1489"/>
                      <a:pt x="204" y="1489"/>
                    </a:cubicBezTo>
                    <a:cubicBezTo>
                      <a:pt x="195" y="1473"/>
                      <a:pt x="195" y="1473"/>
                      <a:pt x="195" y="1473"/>
                    </a:cubicBezTo>
                    <a:cubicBezTo>
                      <a:pt x="173" y="1474"/>
                      <a:pt x="173" y="1474"/>
                      <a:pt x="173" y="1474"/>
                    </a:cubicBezTo>
                    <a:lnTo>
                      <a:pt x="186" y="1483"/>
                    </a:lnTo>
                    <a:close/>
                    <a:moveTo>
                      <a:pt x="212" y="1463"/>
                    </a:moveTo>
                    <a:cubicBezTo>
                      <a:pt x="212" y="1463"/>
                      <a:pt x="244" y="1444"/>
                      <a:pt x="222" y="1440"/>
                    </a:cubicBezTo>
                    <a:cubicBezTo>
                      <a:pt x="201" y="1435"/>
                      <a:pt x="199" y="1463"/>
                      <a:pt x="212" y="1463"/>
                    </a:cubicBezTo>
                    <a:close/>
                    <a:moveTo>
                      <a:pt x="166" y="1409"/>
                    </a:moveTo>
                    <a:cubicBezTo>
                      <a:pt x="152" y="1420"/>
                      <a:pt x="159" y="1430"/>
                      <a:pt x="169" y="1427"/>
                    </a:cubicBezTo>
                    <a:cubicBezTo>
                      <a:pt x="181" y="1423"/>
                      <a:pt x="180" y="1399"/>
                      <a:pt x="166" y="1409"/>
                    </a:cubicBezTo>
                    <a:close/>
                    <a:moveTo>
                      <a:pt x="156" y="1437"/>
                    </a:moveTo>
                    <a:cubicBezTo>
                      <a:pt x="143" y="1440"/>
                      <a:pt x="143" y="1440"/>
                      <a:pt x="143" y="1440"/>
                    </a:cubicBezTo>
                    <a:cubicBezTo>
                      <a:pt x="150" y="1453"/>
                      <a:pt x="150" y="1453"/>
                      <a:pt x="150" y="1453"/>
                    </a:cubicBezTo>
                    <a:lnTo>
                      <a:pt x="156" y="1437"/>
                    </a:lnTo>
                    <a:close/>
                    <a:moveTo>
                      <a:pt x="476" y="1919"/>
                    </a:moveTo>
                    <a:cubicBezTo>
                      <a:pt x="485" y="1915"/>
                      <a:pt x="484" y="1925"/>
                      <a:pt x="484" y="1925"/>
                    </a:cubicBezTo>
                    <a:cubicBezTo>
                      <a:pt x="484" y="1925"/>
                      <a:pt x="499" y="1928"/>
                      <a:pt x="514" y="1925"/>
                    </a:cubicBezTo>
                    <a:cubicBezTo>
                      <a:pt x="528" y="1921"/>
                      <a:pt x="498" y="1899"/>
                      <a:pt x="498" y="1899"/>
                    </a:cubicBezTo>
                    <a:cubicBezTo>
                      <a:pt x="498" y="1874"/>
                      <a:pt x="498" y="1874"/>
                      <a:pt x="498" y="1874"/>
                    </a:cubicBezTo>
                    <a:cubicBezTo>
                      <a:pt x="523" y="1872"/>
                      <a:pt x="523" y="1872"/>
                      <a:pt x="523" y="1872"/>
                    </a:cubicBezTo>
                    <a:cubicBezTo>
                      <a:pt x="521" y="1860"/>
                      <a:pt x="521" y="1860"/>
                      <a:pt x="521" y="1860"/>
                    </a:cubicBezTo>
                    <a:cubicBezTo>
                      <a:pt x="537" y="1862"/>
                      <a:pt x="537" y="1862"/>
                      <a:pt x="537" y="1862"/>
                    </a:cubicBezTo>
                    <a:cubicBezTo>
                      <a:pt x="542" y="1850"/>
                      <a:pt x="542" y="1850"/>
                      <a:pt x="542" y="1850"/>
                    </a:cubicBezTo>
                    <a:cubicBezTo>
                      <a:pt x="527" y="1838"/>
                      <a:pt x="527" y="1838"/>
                      <a:pt x="527" y="1838"/>
                    </a:cubicBezTo>
                    <a:cubicBezTo>
                      <a:pt x="527" y="1838"/>
                      <a:pt x="507" y="1839"/>
                      <a:pt x="491" y="1837"/>
                    </a:cubicBezTo>
                    <a:cubicBezTo>
                      <a:pt x="475" y="1835"/>
                      <a:pt x="449" y="1842"/>
                      <a:pt x="449" y="1842"/>
                    </a:cubicBezTo>
                    <a:cubicBezTo>
                      <a:pt x="437" y="1830"/>
                      <a:pt x="437" y="1830"/>
                      <a:pt x="437" y="1830"/>
                    </a:cubicBezTo>
                    <a:cubicBezTo>
                      <a:pt x="413" y="1819"/>
                      <a:pt x="413" y="1819"/>
                      <a:pt x="413" y="1819"/>
                    </a:cubicBezTo>
                    <a:cubicBezTo>
                      <a:pt x="406" y="1808"/>
                      <a:pt x="406" y="1808"/>
                      <a:pt x="406" y="1808"/>
                    </a:cubicBezTo>
                    <a:cubicBezTo>
                      <a:pt x="392" y="1792"/>
                      <a:pt x="392" y="1792"/>
                      <a:pt x="392" y="1792"/>
                    </a:cubicBezTo>
                    <a:cubicBezTo>
                      <a:pt x="392" y="1792"/>
                      <a:pt x="398" y="1780"/>
                      <a:pt x="383" y="1767"/>
                    </a:cubicBezTo>
                    <a:cubicBezTo>
                      <a:pt x="368" y="1754"/>
                      <a:pt x="362" y="1772"/>
                      <a:pt x="352" y="1772"/>
                    </a:cubicBezTo>
                    <a:cubicBezTo>
                      <a:pt x="342" y="1772"/>
                      <a:pt x="338" y="1747"/>
                      <a:pt x="338" y="1747"/>
                    </a:cubicBezTo>
                    <a:cubicBezTo>
                      <a:pt x="318" y="1743"/>
                      <a:pt x="318" y="1743"/>
                      <a:pt x="318" y="1743"/>
                    </a:cubicBezTo>
                    <a:cubicBezTo>
                      <a:pt x="318" y="1743"/>
                      <a:pt x="320" y="1723"/>
                      <a:pt x="315" y="1718"/>
                    </a:cubicBezTo>
                    <a:cubicBezTo>
                      <a:pt x="310" y="1713"/>
                      <a:pt x="308" y="1697"/>
                      <a:pt x="308" y="1697"/>
                    </a:cubicBezTo>
                    <a:cubicBezTo>
                      <a:pt x="315" y="1693"/>
                      <a:pt x="315" y="1693"/>
                      <a:pt x="315" y="1693"/>
                    </a:cubicBezTo>
                    <a:cubicBezTo>
                      <a:pt x="316" y="1680"/>
                      <a:pt x="316" y="1680"/>
                      <a:pt x="316" y="1680"/>
                    </a:cubicBezTo>
                    <a:cubicBezTo>
                      <a:pt x="316" y="1680"/>
                      <a:pt x="331" y="1675"/>
                      <a:pt x="334" y="1670"/>
                    </a:cubicBezTo>
                    <a:cubicBezTo>
                      <a:pt x="337" y="1665"/>
                      <a:pt x="317" y="1650"/>
                      <a:pt x="317" y="1650"/>
                    </a:cubicBezTo>
                    <a:cubicBezTo>
                      <a:pt x="317" y="1650"/>
                      <a:pt x="333" y="1641"/>
                      <a:pt x="332" y="1638"/>
                    </a:cubicBezTo>
                    <a:cubicBezTo>
                      <a:pt x="331" y="1635"/>
                      <a:pt x="312" y="1624"/>
                      <a:pt x="312" y="1624"/>
                    </a:cubicBezTo>
                    <a:cubicBezTo>
                      <a:pt x="315" y="1594"/>
                      <a:pt x="315" y="1594"/>
                      <a:pt x="315" y="1594"/>
                    </a:cubicBezTo>
                    <a:cubicBezTo>
                      <a:pt x="326" y="1590"/>
                      <a:pt x="326" y="1590"/>
                      <a:pt x="326" y="1590"/>
                    </a:cubicBezTo>
                    <a:cubicBezTo>
                      <a:pt x="316" y="1573"/>
                      <a:pt x="316" y="1573"/>
                      <a:pt x="316" y="1573"/>
                    </a:cubicBezTo>
                    <a:cubicBezTo>
                      <a:pt x="319" y="1551"/>
                      <a:pt x="319" y="1551"/>
                      <a:pt x="319" y="1551"/>
                    </a:cubicBezTo>
                    <a:cubicBezTo>
                      <a:pt x="304" y="1533"/>
                      <a:pt x="304" y="1533"/>
                      <a:pt x="304" y="1533"/>
                    </a:cubicBezTo>
                    <a:cubicBezTo>
                      <a:pt x="307" y="1518"/>
                      <a:pt x="307" y="1518"/>
                      <a:pt x="307" y="1518"/>
                    </a:cubicBezTo>
                    <a:cubicBezTo>
                      <a:pt x="291" y="1506"/>
                      <a:pt x="291" y="1506"/>
                      <a:pt x="291" y="1506"/>
                    </a:cubicBezTo>
                    <a:cubicBezTo>
                      <a:pt x="291" y="1506"/>
                      <a:pt x="304" y="1495"/>
                      <a:pt x="307" y="1487"/>
                    </a:cubicBezTo>
                    <a:cubicBezTo>
                      <a:pt x="310" y="1479"/>
                      <a:pt x="287" y="1470"/>
                      <a:pt x="287" y="1470"/>
                    </a:cubicBezTo>
                    <a:cubicBezTo>
                      <a:pt x="287" y="1470"/>
                      <a:pt x="264" y="1463"/>
                      <a:pt x="263" y="1460"/>
                    </a:cubicBezTo>
                    <a:cubicBezTo>
                      <a:pt x="262" y="1457"/>
                      <a:pt x="294" y="1460"/>
                      <a:pt x="296" y="1449"/>
                    </a:cubicBezTo>
                    <a:cubicBezTo>
                      <a:pt x="298" y="1438"/>
                      <a:pt x="279" y="1443"/>
                      <a:pt x="272" y="1443"/>
                    </a:cubicBezTo>
                    <a:cubicBezTo>
                      <a:pt x="265" y="1443"/>
                      <a:pt x="260" y="1433"/>
                      <a:pt x="260" y="1433"/>
                    </a:cubicBezTo>
                    <a:cubicBezTo>
                      <a:pt x="260" y="1433"/>
                      <a:pt x="259" y="1416"/>
                      <a:pt x="258" y="1405"/>
                    </a:cubicBezTo>
                    <a:cubicBezTo>
                      <a:pt x="257" y="1394"/>
                      <a:pt x="241" y="1393"/>
                      <a:pt x="241" y="1393"/>
                    </a:cubicBezTo>
                    <a:cubicBezTo>
                      <a:pt x="245" y="1375"/>
                      <a:pt x="245" y="1375"/>
                      <a:pt x="245" y="1375"/>
                    </a:cubicBezTo>
                    <a:cubicBezTo>
                      <a:pt x="235" y="1370"/>
                      <a:pt x="235" y="1370"/>
                      <a:pt x="235" y="1370"/>
                    </a:cubicBezTo>
                    <a:cubicBezTo>
                      <a:pt x="235" y="1370"/>
                      <a:pt x="226" y="1366"/>
                      <a:pt x="223" y="1358"/>
                    </a:cubicBezTo>
                    <a:cubicBezTo>
                      <a:pt x="220" y="1350"/>
                      <a:pt x="215" y="1320"/>
                      <a:pt x="215" y="1320"/>
                    </a:cubicBezTo>
                    <a:cubicBezTo>
                      <a:pt x="215" y="1320"/>
                      <a:pt x="226" y="1311"/>
                      <a:pt x="231" y="1312"/>
                    </a:cubicBezTo>
                    <a:cubicBezTo>
                      <a:pt x="236" y="1313"/>
                      <a:pt x="207" y="1292"/>
                      <a:pt x="204" y="1286"/>
                    </a:cubicBezTo>
                    <a:cubicBezTo>
                      <a:pt x="201" y="1280"/>
                      <a:pt x="201" y="1261"/>
                      <a:pt x="201" y="1261"/>
                    </a:cubicBezTo>
                    <a:cubicBezTo>
                      <a:pt x="201" y="1261"/>
                      <a:pt x="194" y="1250"/>
                      <a:pt x="193" y="1244"/>
                    </a:cubicBezTo>
                    <a:cubicBezTo>
                      <a:pt x="192" y="1238"/>
                      <a:pt x="197" y="1220"/>
                      <a:pt x="197" y="1220"/>
                    </a:cubicBezTo>
                    <a:cubicBezTo>
                      <a:pt x="183" y="1212"/>
                      <a:pt x="183" y="1212"/>
                      <a:pt x="183" y="1212"/>
                    </a:cubicBezTo>
                    <a:cubicBezTo>
                      <a:pt x="183" y="1212"/>
                      <a:pt x="188" y="1204"/>
                      <a:pt x="187" y="1196"/>
                    </a:cubicBezTo>
                    <a:cubicBezTo>
                      <a:pt x="186" y="1188"/>
                      <a:pt x="176" y="1183"/>
                      <a:pt x="176" y="1183"/>
                    </a:cubicBezTo>
                    <a:cubicBezTo>
                      <a:pt x="189" y="1174"/>
                      <a:pt x="189" y="1174"/>
                      <a:pt x="189" y="1174"/>
                    </a:cubicBezTo>
                    <a:cubicBezTo>
                      <a:pt x="181" y="1146"/>
                      <a:pt x="181" y="1146"/>
                      <a:pt x="181" y="1146"/>
                    </a:cubicBezTo>
                    <a:cubicBezTo>
                      <a:pt x="181" y="1146"/>
                      <a:pt x="195" y="1141"/>
                      <a:pt x="200" y="1132"/>
                    </a:cubicBezTo>
                    <a:cubicBezTo>
                      <a:pt x="205" y="1123"/>
                      <a:pt x="186" y="1114"/>
                      <a:pt x="186" y="1114"/>
                    </a:cubicBezTo>
                    <a:cubicBezTo>
                      <a:pt x="185" y="1102"/>
                      <a:pt x="185" y="1102"/>
                      <a:pt x="185" y="1102"/>
                    </a:cubicBezTo>
                    <a:cubicBezTo>
                      <a:pt x="165" y="1085"/>
                      <a:pt x="165" y="1085"/>
                      <a:pt x="165" y="1085"/>
                    </a:cubicBezTo>
                    <a:cubicBezTo>
                      <a:pt x="165" y="1085"/>
                      <a:pt x="165" y="1064"/>
                      <a:pt x="165" y="1057"/>
                    </a:cubicBezTo>
                    <a:cubicBezTo>
                      <a:pt x="165" y="1050"/>
                      <a:pt x="153" y="1017"/>
                      <a:pt x="153" y="1017"/>
                    </a:cubicBezTo>
                    <a:cubicBezTo>
                      <a:pt x="170" y="1016"/>
                      <a:pt x="170" y="1016"/>
                      <a:pt x="170" y="1016"/>
                    </a:cubicBezTo>
                    <a:cubicBezTo>
                      <a:pt x="172" y="1004"/>
                      <a:pt x="172" y="1004"/>
                      <a:pt x="172" y="1004"/>
                    </a:cubicBezTo>
                    <a:cubicBezTo>
                      <a:pt x="172" y="1004"/>
                      <a:pt x="176" y="993"/>
                      <a:pt x="175" y="983"/>
                    </a:cubicBezTo>
                    <a:cubicBezTo>
                      <a:pt x="174" y="973"/>
                      <a:pt x="157" y="955"/>
                      <a:pt x="157" y="955"/>
                    </a:cubicBezTo>
                    <a:cubicBezTo>
                      <a:pt x="166" y="954"/>
                      <a:pt x="166" y="954"/>
                      <a:pt x="166" y="954"/>
                    </a:cubicBezTo>
                    <a:cubicBezTo>
                      <a:pt x="166" y="954"/>
                      <a:pt x="167" y="915"/>
                      <a:pt x="167" y="911"/>
                    </a:cubicBezTo>
                    <a:cubicBezTo>
                      <a:pt x="167" y="907"/>
                      <a:pt x="176" y="900"/>
                      <a:pt x="179" y="894"/>
                    </a:cubicBezTo>
                    <a:cubicBezTo>
                      <a:pt x="182" y="888"/>
                      <a:pt x="167" y="869"/>
                      <a:pt x="167" y="869"/>
                    </a:cubicBezTo>
                    <a:cubicBezTo>
                      <a:pt x="165" y="844"/>
                      <a:pt x="165" y="844"/>
                      <a:pt x="165" y="844"/>
                    </a:cubicBezTo>
                    <a:cubicBezTo>
                      <a:pt x="165" y="844"/>
                      <a:pt x="161" y="846"/>
                      <a:pt x="149" y="843"/>
                    </a:cubicBezTo>
                    <a:cubicBezTo>
                      <a:pt x="137" y="840"/>
                      <a:pt x="145" y="821"/>
                      <a:pt x="145" y="821"/>
                    </a:cubicBezTo>
                    <a:cubicBezTo>
                      <a:pt x="142" y="815"/>
                      <a:pt x="142" y="815"/>
                      <a:pt x="142" y="815"/>
                    </a:cubicBezTo>
                    <a:cubicBezTo>
                      <a:pt x="134" y="794"/>
                      <a:pt x="134" y="794"/>
                      <a:pt x="134" y="794"/>
                    </a:cubicBezTo>
                    <a:cubicBezTo>
                      <a:pt x="121" y="784"/>
                      <a:pt x="121" y="784"/>
                      <a:pt x="121" y="784"/>
                    </a:cubicBezTo>
                    <a:cubicBezTo>
                      <a:pt x="121" y="784"/>
                      <a:pt x="123" y="775"/>
                      <a:pt x="125" y="771"/>
                    </a:cubicBezTo>
                    <a:cubicBezTo>
                      <a:pt x="127" y="767"/>
                      <a:pt x="104" y="752"/>
                      <a:pt x="104" y="752"/>
                    </a:cubicBezTo>
                    <a:cubicBezTo>
                      <a:pt x="104" y="752"/>
                      <a:pt x="102" y="735"/>
                      <a:pt x="102" y="730"/>
                    </a:cubicBezTo>
                    <a:cubicBezTo>
                      <a:pt x="102" y="725"/>
                      <a:pt x="112" y="724"/>
                      <a:pt x="112" y="724"/>
                    </a:cubicBezTo>
                    <a:cubicBezTo>
                      <a:pt x="109" y="685"/>
                      <a:pt x="109" y="685"/>
                      <a:pt x="109" y="685"/>
                    </a:cubicBezTo>
                    <a:cubicBezTo>
                      <a:pt x="109" y="685"/>
                      <a:pt x="118" y="690"/>
                      <a:pt x="123" y="685"/>
                    </a:cubicBezTo>
                    <a:cubicBezTo>
                      <a:pt x="128" y="680"/>
                      <a:pt x="105" y="635"/>
                      <a:pt x="104" y="631"/>
                    </a:cubicBezTo>
                    <a:cubicBezTo>
                      <a:pt x="103" y="627"/>
                      <a:pt x="112" y="619"/>
                      <a:pt x="114" y="615"/>
                    </a:cubicBezTo>
                    <a:cubicBezTo>
                      <a:pt x="116" y="611"/>
                      <a:pt x="111" y="586"/>
                      <a:pt x="111" y="576"/>
                    </a:cubicBezTo>
                    <a:cubicBezTo>
                      <a:pt x="111" y="566"/>
                      <a:pt x="129" y="558"/>
                      <a:pt x="130" y="553"/>
                    </a:cubicBezTo>
                    <a:cubicBezTo>
                      <a:pt x="131" y="548"/>
                      <a:pt x="137" y="510"/>
                      <a:pt x="137" y="510"/>
                    </a:cubicBezTo>
                    <a:cubicBezTo>
                      <a:pt x="137" y="510"/>
                      <a:pt x="159" y="509"/>
                      <a:pt x="162" y="498"/>
                    </a:cubicBezTo>
                    <a:cubicBezTo>
                      <a:pt x="165" y="487"/>
                      <a:pt x="134" y="476"/>
                      <a:pt x="134" y="476"/>
                    </a:cubicBezTo>
                    <a:cubicBezTo>
                      <a:pt x="134" y="476"/>
                      <a:pt x="151" y="464"/>
                      <a:pt x="152" y="454"/>
                    </a:cubicBezTo>
                    <a:cubicBezTo>
                      <a:pt x="153" y="444"/>
                      <a:pt x="134" y="436"/>
                      <a:pt x="129" y="429"/>
                    </a:cubicBezTo>
                    <a:cubicBezTo>
                      <a:pt x="124" y="422"/>
                      <a:pt x="134" y="413"/>
                      <a:pt x="143" y="404"/>
                    </a:cubicBezTo>
                    <a:cubicBezTo>
                      <a:pt x="152" y="395"/>
                      <a:pt x="125" y="401"/>
                      <a:pt x="124" y="387"/>
                    </a:cubicBezTo>
                    <a:cubicBezTo>
                      <a:pt x="123" y="373"/>
                      <a:pt x="178" y="349"/>
                      <a:pt x="178" y="349"/>
                    </a:cubicBezTo>
                    <a:cubicBezTo>
                      <a:pt x="184" y="293"/>
                      <a:pt x="184" y="293"/>
                      <a:pt x="184" y="293"/>
                    </a:cubicBezTo>
                    <a:cubicBezTo>
                      <a:pt x="177" y="282"/>
                      <a:pt x="177" y="282"/>
                      <a:pt x="177" y="282"/>
                    </a:cubicBezTo>
                    <a:cubicBezTo>
                      <a:pt x="170" y="284"/>
                      <a:pt x="161" y="285"/>
                      <a:pt x="153" y="284"/>
                    </a:cubicBezTo>
                    <a:cubicBezTo>
                      <a:pt x="141" y="283"/>
                      <a:pt x="142" y="257"/>
                      <a:pt x="142" y="257"/>
                    </a:cubicBezTo>
                    <a:cubicBezTo>
                      <a:pt x="129" y="241"/>
                      <a:pt x="129" y="241"/>
                      <a:pt x="129" y="241"/>
                    </a:cubicBezTo>
                    <a:cubicBezTo>
                      <a:pt x="129" y="241"/>
                      <a:pt x="131" y="211"/>
                      <a:pt x="129" y="200"/>
                    </a:cubicBezTo>
                    <a:cubicBezTo>
                      <a:pt x="126" y="189"/>
                      <a:pt x="97" y="178"/>
                      <a:pt x="97" y="178"/>
                    </a:cubicBezTo>
                    <a:cubicBezTo>
                      <a:pt x="97" y="161"/>
                      <a:pt x="97" y="161"/>
                      <a:pt x="97" y="161"/>
                    </a:cubicBezTo>
                    <a:cubicBezTo>
                      <a:pt x="97" y="161"/>
                      <a:pt x="92" y="158"/>
                      <a:pt x="88" y="148"/>
                    </a:cubicBezTo>
                    <a:cubicBezTo>
                      <a:pt x="84" y="139"/>
                      <a:pt x="99" y="127"/>
                      <a:pt x="99" y="127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6"/>
                      <a:pt x="96" y="110"/>
                      <a:pt x="100" y="98"/>
                    </a:cubicBezTo>
                    <a:cubicBezTo>
                      <a:pt x="104" y="86"/>
                      <a:pt x="68" y="74"/>
                      <a:pt x="68" y="74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45" y="22"/>
                      <a:pt x="45" y="22"/>
                      <a:pt x="45" y="22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23" y="7"/>
                      <a:pt x="35" y="21"/>
                      <a:pt x="23" y="30"/>
                    </a:cubicBezTo>
                    <a:cubicBezTo>
                      <a:pt x="16" y="36"/>
                      <a:pt x="7" y="42"/>
                      <a:pt x="1" y="46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2"/>
                      <a:pt x="13" y="99"/>
                      <a:pt x="19" y="119"/>
                    </a:cubicBezTo>
                    <a:cubicBezTo>
                      <a:pt x="25" y="139"/>
                      <a:pt x="24" y="169"/>
                      <a:pt x="24" y="182"/>
                    </a:cubicBezTo>
                    <a:cubicBezTo>
                      <a:pt x="24" y="195"/>
                      <a:pt x="32" y="206"/>
                      <a:pt x="33" y="229"/>
                    </a:cubicBezTo>
                    <a:cubicBezTo>
                      <a:pt x="34" y="253"/>
                      <a:pt x="34" y="290"/>
                      <a:pt x="34" y="290"/>
                    </a:cubicBezTo>
                    <a:cubicBezTo>
                      <a:pt x="20" y="298"/>
                      <a:pt x="20" y="298"/>
                      <a:pt x="20" y="29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38" y="327"/>
                      <a:pt x="38" y="327"/>
                      <a:pt x="38" y="327"/>
                    </a:cubicBezTo>
                    <a:cubicBezTo>
                      <a:pt x="32" y="389"/>
                      <a:pt x="32" y="389"/>
                      <a:pt x="32" y="389"/>
                    </a:cubicBezTo>
                    <a:cubicBezTo>
                      <a:pt x="47" y="417"/>
                      <a:pt x="47" y="417"/>
                      <a:pt x="47" y="417"/>
                    </a:cubicBezTo>
                    <a:cubicBezTo>
                      <a:pt x="36" y="430"/>
                      <a:pt x="36" y="430"/>
                      <a:pt x="36" y="430"/>
                    </a:cubicBezTo>
                    <a:cubicBezTo>
                      <a:pt x="42" y="472"/>
                      <a:pt x="42" y="472"/>
                      <a:pt x="42" y="472"/>
                    </a:cubicBezTo>
                    <a:cubicBezTo>
                      <a:pt x="42" y="472"/>
                      <a:pt x="49" y="475"/>
                      <a:pt x="51" y="492"/>
                    </a:cubicBezTo>
                    <a:cubicBezTo>
                      <a:pt x="53" y="508"/>
                      <a:pt x="42" y="509"/>
                      <a:pt x="42" y="509"/>
                    </a:cubicBezTo>
                    <a:cubicBezTo>
                      <a:pt x="40" y="531"/>
                      <a:pt x="40" y="531"/>
                      <a:pt x="40" y="531"/>
                    </a:cubicBezTo>
                    <a:cubicBezTo>
                      <a:pt x="47" y="540"/>
                      <a:pt x="47" y="540"/>
                      <a:pt x="47" y="540"/>
                    </a:cubicBezTo>
                    <a:cubicBezTo>
                      <a:pt x="47" y="540"/>
                      <a:pt x="40" y="545"/>
                      <a:pt x="34" y="559"/>
                    </a:cubicBezTo>
                    <a:cubicBezTo>
                      <a:pt x="28" y="573"/>
                      <a:pt x="40" y="571"/>
                      <a:pt x="40" y="571"/>
                    </a:cubicBezTo>
                    <a:cubicBezTo>
                      <a:pt x="40" y="571"/>
                      <a:pt x="44" y="580"/>
                      <a:pt x="44" y="591"/>
                    </a:cubicBezTo>
                    <a:cubicBezTo>
                      <a:pt x="44" y="602"/>
                      <a:pt x="33" y="599"/>
                      <a:pt x="33" y="619"/>
                    </a:cubicBezTo>
                    <a:cubicBezTo>
                      <a:pt x="33" y="640"/>
                      <a:pt x="49" y="638"/>
                      <a:pt x="52" y="648"/>
                    </a:cubicBezTo>
                    <a:cubicBezTo>
                      <a:pt x="56" y="657"/>
                      <a:pt x="52" y="681"/>
                      <a:pt x="52" y="681"/>
                    </a:cubicBezTo>
                    <a:cubicBezTo>
                      <a:pt x="52" y="681"/>
                      <a:pt x="45" y="679"/>
                      <a:pt x="40" y="681"/>
                    </a:cubicBezTo>
                    <a:cubicBezTo>
                      <a:pt x="36" y="683"/>
                      <a:pt x="40" y="700"/>
                      <a:pt x="47" y="720"/>
                    </a:cubicBezTo>
                    <a:cubicBezTo>
                      <a:pt x="55" y="740"/>
                      <a:pt x="66" y="770"/>
                      <a:pt x="66" y="770"/>
                    </a:cubicBezTo>
                    <a:cubicBezTo>
                      <a:pt x="66" y="770"/>
                      <a:pt x="69" y="784"/>
                      <a:pt x="76" y="790"/>
                    </a:cubicBezTo>
                    <a:cubicBezTo>
                      <a:pt x="83" y="796"/>
                      <a:pt x="79" y="826"/>
                      <a:pt x="79" y="826"/>
                    </a:cubicBezTo>
                    <a:cubicBezTo>
                      <a:pt x="76" y="845"/>
                      <a:pt x="76" y="845"/>
                      <a:pt x="76" y="845"/>
                    </a:cubicBezTo>
                    <a:cubicBezTo>
                      <a:pt x="92" y="862"/>
                      <a:pt x="92" y="862"/>
                      <a:pt x="92" y="862"/>
                    </a:cubicBezTo>
                    <a:cubicBezTo>
                      <a:pt x="92" y="862"/>
                      <a:pt x="82" y="889"/>
                      <a:pt x="82" y="903"/>
                    </a:cubicBezTo>
                    <a:cubicBezTo>
                      <a:pt x="82" y="917"/>
                      <a:pt x="82" y="947"/>
                      <a:pt x="82" y="947"/>
                    </a:cubicBezTo>
                    <a:cubicBezTo>
                      <a:pt x="66" y="972"/>
                      <a:pt x="66" y="972"/>
                      <a:pt x="66" y="972"/>
                    </a:cubicBezTo>
                    <a:cubicBezTo>
                      <a:pt x="76" y="979"/>
                      <a:pt x="76" y="979"/>
                      <a:pt x="76" y="979"/>
                    </a:cubicBezTo>
                    <a:cubicBezTo>
                      <a:pt x="76" y="979"/>
                      <a:pt x="72" y="995"/>
                      <a:pt x="72" y="1004"/>
                    </a:cubicBezTo>
                    <a:cubicBezTo>
                      <a:pt x="72" y="1012"/>
                      <a:pt x="66" y="1056"/>
                      <a:pt x="66" y="1056"/>
                    </a:cubicBezTo>
                    <a:cubicBezTo>
                      <a:pt x="56" y="1058"/>
                      <a:pt x="56" y="1058"/>
                      <a:pt x="56" y="1058"/>
                    </a:cubicBezTo>
                    <a:cubicBezTo>
                      <a:pt x="56" y="1072"/>
                      <a:pt x="56" y="1072"/>
                      <a:pt x="56" y="1072"/>
                    </a:cubicBezTo>
                    <a:cubicBezTo>
                      <a:pt x="72" y="1102"/>
                      <a:pt x="72" y="1102"/>
                      <a:pt x="72" y="1102"/>
                    </a:cubicBezTo>
                    <a:cubicBezTo>
                      <a:pt x="72" y="1102"/>
                      <a:pt x="72" y="1121"/>
                      <a:pt x="72" y="1131"/>
                    </a:cubicBezTo>
                    <a:cubicBezTo>
                      <a:pt x="72" y="1142"/>
                      <a:pt x="95" y="1149"/>
                      <a:pt x="101" y="1165"/>
                    </a:cubicBezTo>
                    <a:cubicBezTo>
                      <a:pt x="107" y="1180"/>
                      <a:pt x="98" y="1218"/>
                      <a:pt x="98" y="1218"/>
                    </a:cubicBezTo>
                    <a:cubicBezTo>
                      <a:pt x="107" y="1225"/>
                      <a:pt x="107" y="1225"/>
                      <a:pt x="107" y="1225"/>
                    </a:cubicBezTo>
                    <a:cubicBezTo>
                      <a:pt x="107" y="1225"/>
                      <a:pt x="107" y="1254"/>
                      <a:pt x="107" y="1266"/>
                    </a:cubicBezTo>
                    <a:cubicBezTo>
                      <a:pt x="107" y="1278"/>
                      <a:pt x="134" y="1286"/>
                      <a:pt x="134" y="1286"/>
                    </a:cubicBezTo>
                    <a:cubicBezTo>
                      <a:pt x="129" y="1299"/>
                      <a:pt x="129" y="1299"/>
                      <a:pt x="129" y="1299"/>
                    </a:cubicBezTo>
                    <a:cubicBezTo>
                      <a:pt x="156" y="1299"/>
                      <a:pt x="156" y="1299"/>
                      <a:pt x="156" y="1299"/>
                    </a:cubicBezTo>
                    <a:cubicBezTo>
                      <a:pt x="156" y="1279"/>
                      <a:pt x="156" y="1279"/>
                      <a:pt x="156" y="1279"/>
                    </a:cubicBezTo>
                    <a:cubicBezTo>
                      <a:pt x="156" y="1279"/>
                      <a:pt x="169" y="1289"/>
                      <a:pt x="177" y="1290"/>
                    </a:cubicBezTo>
                    <a:cubicBezTo>
                      <a:pt x="186" y="1291"/>
                      <a:pt x="186" y="1277"/>
                      <a:pt x="186" y="1277"/>
                    </a:cubicBezTo>
                    <a:cubicBezTo>
                      <a:pt x="192" y="1290"/>
                      <a:pt x="192" y="1290"/>
                      <a:pt x="192" y="1290"/>
                    </a:cubicBezTo>
                    <a:cubicBezTo>
                      <a:pt x="192" y="1290"/>
                      <a:pt x="175" y="1300"/>
                      <a:pt x="173" y="1311"/>
                    </a:cubicBezTo>
                    <a:cubicBezTo>
                      <a:pt x="170" y="1322"/>
                      <a:pt x="186" y="1310"/>
                      <a:pt x="193" y="1313"/>
                    </a:cubicBezTo>
                    <a:cubicBezTo>
                      <a:pt x="200" y="1317"/>
                      <a:pt x="198" y="1330"/>
                      <a:pt x="198" y="1330"/>
                    </a:cubicBezTo>
                    <a:cubicBezTo>
                      <a:pt x="179" y="1328"/>
                      <a:pt x="179" y="1328"/>
                      <a:pt x="179" y="1328"/>
                    </a:cubicBezTo>
                    <a:cubicBezTo>
                      <a:pt x="190" y="1341"/>
                      <a:pt x="190" y="1341"/>
                      <a:pt x="190" y="1341"/>
                    </a:cubicBezTo>
                    <a:cubicBezTo>
                      <a:pt x="183" y="1349"/>
                      <a:pt x="183" y="1349"/>
                      <a:pt x="183" y="1349"/>
                    </a:cubicBezTo>
                    <a:cubicBezTo>
                      <a:pt x="195" y="1367"/>
                      <a:pt x="195" y="1367"/>
                      <a:pt x="195" y="1367"/>
                    </a:cubicBezTo>
                    <a:cubicBezTo>
                      <a:pt x="195" y="1367"/>
                      <a:pt x="188" y="1375"/>
                      <a:pt x="181" y="1384"/>
                    </a:cubicBezTo>
                    <a:cubicBezTo>
                      <a:pt x="174" y="1394"/>
                      <a:pt x="212" y="1403"/>
                      <a:pt x="212" y="1403"/>
                    </a:cubicBezTo>
                    <a:cubicBezTo>
                      <a:pt x="212" y="1403"/>
                      <a:pt x="205" y="1409"/>
                      <a:pt x="200" y="1413"/>
                    </a:cubicBezTo>
                    <a:cubicBezTo>
                      <a:pt x="195" y="1416"/>
                      <a:pt x="202" y="1427"/>
                      <a:pt x="212" y="1432"/>
                    </a:cubicBezTo>
                    <a:cubicBezTo>
                      <a:pt x="221" y="1436"/>
                      <a:pt x="234" y="1433"/>
                      <a:pt x="234" y="1433"/>
                    </a:cubicBezTo>
                    <a:cubicBezTo>
                      <a:pt x="239" y="1457"/>
                      <a:pt x="239" y="1457"/>
                      <a:pt x="239" y="1457"/>
                    </a:cubicBezTo>
                    <a:cubicBezTo>
                      <a:pt x="239" y="1457"/>
                      <a:pt x="219" y="1470"/>
                      <a:pt x="214" y="1477"/>
                    </a:cubicBezTo>
                    <a:cubicBezTo>
                      <a:pt x="209" y="1484"/>
                      <a:pt x="228" y="1485"/>
                      <a:pt x="228" y="1485"/>
                    </a:cubicBezTo>
                    <a:cubicBezTo>
                      <a:pt x="228" y="1485"/>
                      <a:pt x="252" y="1490"/>
                      <a:pt x="252" y="1497"/>
                    </a:cubicBezTo>
                    <a:cubicBezTo>
                      <a:pt x="252" y="1504"/>
                      <a:pt x="237" y="1498"/>
                      <a:pt x="227" y="1493"/>
                    </a:cubicBezTo>
                    <a:cubicBezTo>
                      <a:pt x="218" y="1488"/>
                      <a:pt x="216" y="1503"/>
                      <a:pt x="216" y="1503"/>
                    </a:cubicBezTo>
                    <a:cubicBezTo>
                      <a:pt x="235" y="1507"/>
                      <a:pt x="235" y="1507"/>
                      <a:pt x="235" y="1507"/>
                    </a:cubicBezTo>
                    <a:cubicBezTo>
                      <a:pt x="221" y="1514"/>
                      <a:pt x="221" y="1514"/>
                      <a:pt x="221" y="1514"/>
                    </a:cubicBezTo>
                    <a:cubicBezTo>
                      <a:pt x="222" y="1531"/>
                      <a:pt x="222" y="1531"/>
                      <a:pt x="222" y="1531"/>
                    </a:cubicBezTo>
                    <a:cubicBezTo>
                      <a:pt x="222" y="1531"/>
                      <a:pt x="238" y="1523"/>
                      <a:pt x="231" y="1544"/>
                    </a:cubicBezTo>
                    <a:cubicBezTo>
                      <a:pt x="224" y="1565"/>
                      <a:pt x="214" y="1535"/>
                      <a:pt x="214" y="1535"/>
                    </a:cubicBezTo>
                    <a:cubicBezTo>
                      <a:pt x="190" y="1536"/>
                      <a:pt x="190" y="1536"/>
                      <a:pt x="190" y="1536"/>
                    </a:cubicBezTo>
                    <a:cubicBezTo>
                      <a:pt x="206" y="1529"/>
                      <a:pt x="206" y="1529"/>
                      <a:pt x="206" y="1529"/>
                    </a:cubicBezTo>
                    <a:cubicBezTo>
                      <a:pt x="206" y="1529"/>
                      <a:pt x="189" y="1511"/>
                      <a:pt x="186" y="1512"/>
                    </a:cubicBezTo>
                    <a:cubicBezTo>
                      <a:pt x="182" y="1513"/>
                      <a:pt x="185" y="1522"/>
                      <a:pt x="185" y="1522"/>
                    </a:cubicBezTo>
                    <a:cubicBezTo>
                      <a:pt x="179" y="1516"/>
                      <a:pt x="179" y="1516"/>
                      <a:pt x="179" y="1516"/>
                    </a:cubicBezTo>
                    <a:cubicBezTo>
                      <a:pt x="154" y="1523"/>
                      <a:pt x="154" y="1523"/>
                      <a:pt x="154" y="1523"/>
                    </a:cubicBezTo>
                    <a:cubicBezTo>
                      <a:pt x="176" y="1528"/>
                      <a:pt x="176" y="1528"/>
                      <a:pt x="176" y="1528"/>
                    </a:cubicBezTo>
                    <a:cubicBezTo>
                      <a:pt x="176" y="1528"/>
                      <a:pt x="172" y="1531"/>
                      <a:pt x="168" y="1537"/>
                    </a:cubicBezTo>
                    <a:cubicBezTo>
                      <a:pt x="164" y="1543"/>
                      <a:pt x="148" y="1549"/>
                      <a:pt x="147" y="1558"/>
                    </a:cubicBezTo>
                    <a:cubicBezTo>
                      <a:pt x="146" y="1568"/>
                      <a:pt x="166" y="1572"/>
                      <a:pt x="169" y="1570"/>
                    </a:cubicBezTo>
                    <a:cubicBezTo>
                      <a:pt x="173" y="1568"/>
                      <a:pt x="161" y="1559"/>
                      <a:pt x="161" y="1559"/>
                    </a:cubicBezTo>
                    <a:cubicBezTo>
                      <a:pt x="176" y="1556"/>
                      <a:pt x="176" y="1556"/>
                      <a:pt x="176" y="1556"/>
                    </a:cubicBezTo>
                    <a:cubicBezTo>
                      <a:pt x="176" y="1556"/>
                      <a:pt x="183" y="1561"/>
                      <a:pt x="187" y="1565"/>
                    </a:cubicBezTo>
                    <a:cubicBezTo>
                      <a:pt x="190" y="1570"/>
                      <a:pt x="214" y="1567"/>
                      <a:pt x="214" y="1567"/>
                    </a:cubicBezTo>
                    <a:cubicBezTo>
                      <a:pt x="214" y="1567"/>
                      <a:pt x="229" y="1574"/>
                      <a:pt x="235" y="1582"/>
                    </a:cubicBezTo>
                    <a:cubicBezTo>
                      <a:pt x="241" y="1590"/>
                      <a:pt x="222" y="1598"/>
                      <a:pt x="222" y="1598"/>
                    </a:cubicBezTo>
                    <a:cubicBezTo>
                      <a:pt x="228" y="1608"/>
                      <a:pt x="228" y="1608"/>
                      <a:pt x="228" y="1608"/>
                    </a:cubicBezTo>
                    <a:cubicBezTo>
                      <a:pt x="240" y="1604"/>
                      <a:pt x="240" y="1604"/>
                      <a:pt x="240" y="1604"/>
                    </a:cubicBezTo>
                    <a:cubicBezTo>
                      <a:pt x="240" y="1615"/>
                      <a:pt x="240" y="1615"/>
                      <a:pt x="240" y="1615"/>
                    </a:cubicBezTo>
                    <a:cubicBezTo>
                      <a:pt x="252" y="1620"/>
                      <a:pt x="252" y="1620"/>
                      <a:pt x="252" y="1620"/>
                    </a:cubicBezTo>
                    <a:cubicBezTo>
                      <a:pt x="257" y="1604"/>
                      <a:pt x="257" y="1604"/>
                      <a:pt x="257" y="1604"/>
                    </a:cubicBezTo>
                    <a:cubicBezTo>
                      <a:pt x="266" y="1620"/>
                      <a:pt x="266" y="1620"/>
                      <a:pt x="266" y="1620"/>
                    </a:cubicBezTo>
                    <a:cubicBezTo>
                      <a:pt x="266" y="1620"/>
                      <a:pt x="285" y="1620"/>
                      <a:pt x="283" y="1634"/>
                    </a:cubicBezTo>
                    <a:cubicBezTo>
                      <a:pt x="280" y="1648"/>
                      <a:pt x="258" y="1632"/>
                      <a:pt x="250" y="1630"/>
                    </a:cubicBezTo>
                    <a:cubicBezTo>
                      <a:pt x="241" y="1629"/>
                      <a:pt x="248" y="1643"/>
                      <a:pt x="248" y="1643"/>
                    </a:cubicBezTo>
                    <a:cubicBezTo>
                      <a:pt x="248" y="1643"/>
                      <a:pt x="269" y="1650"/>
                      <a:pt x="270" y="1665"/>
                    </a:cubicBezTo>
                    <a:cubicBezTo>
                      <a:pt x="271" y="1679"/>
                      <a:pt x="256" y="1674"/>
                      <a:pt x="256" y="1674"/>
                    </a:cubicBezTo>
                    <a:cubicBezTo>
                      <a:pt x="265" y="1686"/>
                      <a:pt x="265" y="1686"/>
                      <a:pt x="265" y="1686"/>
                    </a:cubicBezTo>
                    <a:cubicBezTo>
                      <a:pt x="274" y="1710"/>
                      <a:pt x="274" y="1710"/>
                      <a:pt x="274" y="1710"/>
                    </a:cubicBezTo>
                    <a:cubicBezTo>
                      <a:pt x="283" y="1681"/>
                      <a:pt x="283" y="1681"/>
                      <a:pt x="283" y="1681"/>
                    </a:cubicBezTo>
                    <a:cubicBezTo>
                      <a:pt x="283" y="1701"/>
                      <a:pt x="283" y="1701"/>
                      <a:pt x="283" y="1701"/>
                    </a:cubicBezTo>
                    <a:cubicBezTo>
                      <a:pt x="296" y="1717"/>
                      <a:pt x="296" y="1717"/>
                      <a:pt x="296" y="1717"/>
                    </a:cubicBezTo>
                    <a:cubicBezTo>
                      <a:pt x="280" y="1717"/>
                      <a:pt x="280" y="1717"/>
                      <a:pt x="280" y="1717"/>
                    </a:cubicBezTo>
                    <a:cubicBezTo>
                      <a:pt x="283" y="1730"/>
                      <a:pt x="283" y="1730"/>
                      <a:pt x="283" y="1730"/>
                    </a:cubicBezTo>
                    <a:cubicBezTo>
                      <a:pt x="298" y="1731"/>
                      <a:pt x="298" y="1731"/>
                      <a:pt x="298" y="1731"/>
                    </a:cubicBezTo>
                    <a:cubicBezTo>
                      <a:pt x="289" y="1739"/>
                      <a:pt x="289" y="1739"/>
                      <a:pt x="289" y="1739"/>
                    </a:cubicBezTo>
                    <a:cubicBezTo>
                      <a:pt x="309" y="1745"/>
                      <a:pt x="309" y="1745"/>
                      <a:pt x="309" y="1745"/>
                    </a:cubicBezTo>
                    <a:cubicBezTo>
                      <a:pt x="296" y="1753"/>
                      <a:pt x="296" y="1753"/>
                      <a:pt x="296" y="1753"/>
                    </a:cubicBezTo>
                    <a:cubicBezTo>
                      <a:pt x="315" y="1760"/>
                      <a:pt x="315" y="1760"/>
                      <a:pt x="315" y="1760"/>
                    </a:cubicBezTo>
                    <a:cubicBezTo>
                      <a:pt x="310" y="1770"/>
                      <a:pt x="310" y="1770"/>
                      <a:pt x="310" y="1770"/>
                    </a:cubicBezTo>
                    <a:cubicBezTo>
                      <a:pt x="322" y="1773"/>
                      <a:pt x="322" y="1773"/>
                      <a:pt x="322" y="1773"/>
                    </a:cubicBezTo>
                    <a:cubicBezTo>
                      <a:pt x="322" y="1773"/>
                      <a:pt x="324" y="1750"/>
                      <a:pt x="331" y="1762"/>
                    </a:cubicBezTo>
                    <a:cubicBezTo>
                      <a:pt x="338" y="1773"/>
                      <a:pt x="329" y="1779"/>
                      <a:pt x="323" y="1783"/>
                    </a:cubicBezTo>
                    <a:cubicBezTo>
                      <a:pt x="317" y="1786"/>
                      <a:pt x="323" y="1794"/>
                      <a:pt x="323" y="1794"/>
                    </a:cubicBezTo>
                    <a:cubicBezTo>
                      <a:pt x="343" y="1795"/>
                      <a:pt x="343" y="1795"/>
                      <a:pt x="343" y="1795"/>
                    </a:cubicBezTo>
                    <a:cubicBezTo>
                      <a:pt x="343" y="1795"/>
                      <a:pt x="344" y="1805"/>
                      <a:pt x="350" y="1810"/>
                    </a:cubicBezTo>
                    <a:cubicBezTo>
                      <a:pt x="356" y="1815"/>
                      <a:pt x="373" y="1824"/>
                      <a:pt x="373" y="1824"/>
                    </a:cubicBezTo>
                    <a:cubicBezTo>
                      <a:pt x="370" y="1802"/>
                      <a:pt x="370" y="1802"/>
                      <a:pt x="370" y="1802"/>
                    </a:cubicBezTo>
                    <a:cubicBezTo>
                      <a:pt x="370" y="1802"/>
                      <a:pt x="391" y="1810"/>
                      <a:pt x="407" y="1821"/>
                    </a:cubicBezTo>
                    <a:cubicBezTo>
                      <a:pt x="422" y="1831"/>
                      <a:pt x="409" y="1841"/>
                      <a:pt x="409" y="1841"/>
                    </a:cubicBezTo>
                    <a:cubicBezTo>
                      <a:pt x="420" y="1848"/>
                      <a:pt x="420" y="1848"/>
                      <a:pt x="420" y="1848"/>
                    </a:cubicBezTo>
                    <a:cubicBezTo>
                      <a:pt x="419" y="1861"/>
                      <a:pt x="419" y="1861"/>
                      <a:pt x="419" y="1861"/>
                    </a:cubicBezTo>
                    <a:cubicBezTo>
                      <a:pt x="458" y="1861"/>
                      <a:pt x="458" y="1861"/>
                      <a:pt x="458" y="1861"/>
                    </a:cubicBezTo>
                    <a:cubicBezTo>
                      <a:pt x="462" y="1868"/>
                      <a:pt x="462" y="1868"/>
                      <a:pt x="462" y="1868"/>
                    </a:cubicBezTo>
                    <a:cubicBezTo>
                      <a:pt x="442" y="1868"/>
                      <a:pt x="442" y="1868"/>
                      <a:pt x="442" y="1868"/>
                    </a:cubicBezTo>
                    <a:cubicBezTo>
                      <a:pt x="434" y="1876"/>
                      <a:pt x="434" y="1876"/>
                      <a:pt x="434" y="1876"/>
                    </a:cubicBezTo>
                    <a:cubicBezTo>
                      <a:pt x="421" y="1877"/>
                      <a:pt x="421" y="1877"/>
                      <a:pt x="421" y="1877"/>
                    </a:cubicBezTo>
                    <a:cubicBezTo>
                      <a:pt x="410" y="1889"/>
                      <a:pt x="410" y="1889"/>
                      <a:pt x="410" y="1889"/>
                    </a:cubicBezTo>
                    <a:cubicBezTo>
                      <a:pt x="430" y="1892"/>
                      <a:pt x="430" y="1892"/>
                      <a:pt x="430" y="1892"/>
                    </a:cubicBezTo>
                    <a:cubicBezTo>
                      <a:pt x="426" y="1902"/>
                      <a:pt x="426" y="1902"/>
                      <a:pt x="426" y="1902"/>
                    </a:cubicBezTo>
                    <a:cubicBezTo>
                      <a:pt x="442" y="1900"/>
                      <a:pt x="442" y="1900"/>
                      <a:pt x="442" y="1900"/>
                    </a:cubicBezTo>
                    <a:cubicBezTo>
                      <a:pt x="444" y="1887"/>
                      <a:pt x="444" y="1887"/>
                      <a:pt x="444" y="1887"/>
                    </a:cubicBezTo>
                    <a:cubicBezTo>
                      <a:pt x="459" y="1893"/>
                      <a:pt x="459" y="1893"/>
                      <a:pt x="459" y="1893"/>
                    </a:cubicBezTo>
                    <a:cubicBezTo>
                      <a:pt x="459" y="1893"/>
                      <a:pt x="477" y="1868"/>
                      <a:pt x="486" y="1875"/>
                    </a:cubicBezTo>
                    <a:cubicBezTo>
                      <a:pt x="496" y="1882"/>
                      <a:pt x="467" y="1907"/>
                      <a:pt x="467" y="1907"/>
                    </a:cubicBezTo>
                    <a:cubicBezTo>
                      <a:pt x="467" y="1907"/>
                      <a:pt x="464" y="1900"/>
                      <a:pt x="455" y="1901"/>
                    </a:cubicBezTo>
                    <a:cubicBezTo>
                      <a:pt x="447" y="1902"/>
                      <a:pt x="452" y="1913"/>
                      <a:pt x="452" y="1913"/>
                    </a:cubicBezTo>
                    <a:cubicBezTo>
                      <a:pt x="440" y="1913"/>
                      <a:pt x="440" y="1913"/>
                      <a:pt x="440" y="1913"/>
                    </a:cubicBezTo>
                    <a:cubicBezTo>
                      <a:pt x="431" y="1910"/>
                      <a:pt x="419" y="1921"/>
                      <a:pt x="419" y="1921"/>
                    </a:cubicBezTo>
                    <a:cubicBezTo>
                      <a:pt x="428" y="1927"/>
                      <a:pt x="428" y="1927"/>
                      <a:pt x="428" y="1927"/>
                    </a:cubicBezTo>
                    <a:cubicBezTo>
                      <a:pt x="430" y="1945"/>
                      <a:pt x="430" y="1945"/>
                      <a:pt x="430" y="1945"/>
                    </a:cubicBezTo>
                    <a:cubicBezTo>
                      <a:pt x="450" y="1935"/>
                      <a:pt x="450" y="1935"/>
                      <a:pt x="450" y="1935"/>
                    </a:cubicBezTo>
                    <a:cubicBezTo>
                      <a:pt x="450" y="1935"/>
                      <a:pt x="455" y="1946"/>
                      <a:pt x="461" y="1945"/>
                    </a:cubicBezTo>
                    <a:cubicBezTo>
                      <a:pt x="466" y="1944"/>
                      <a:pt x="467" y="1924"/>
                      <a:pt x="476" y="1919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9" name="Freeform 326">
                <a:extLst>
                  <a:ext uri="{FF2B5EF4-FFF2-40B4-BE49-F238E27FC236}">
                    <a16:creationId xmlns:a16="http://schemas.microsoft.com/office/drawing/2014/main" id="{5B014922-592A-77B4-DF27-4044702978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4398" y="-12507"/>
                <a:ext cx="406" cy="262"/>
              </a:xfrm>
              <a:custGeom>
                <a:avLst/>
                <a:gdLst>
                  <a:gd name="T0" fmla="*/ 165 w 172"/>
                  <a:gd name="T1" fmla="*/ 68 h 111"/>
                  <a:gd name="T2" fmla="*/ 128 w 172"/>
                  <a:gd name="T3" fmla="*/ 43 h 111"/>
                  <a:gd name="T4" fmla="*/ 97 w 172"/>
                  <a:gd name="T5" fmla="*/ 32 h 111"/>
                  <a:gd name="T6" fmla="*/ 75 w 172"/>
                  <a:gd name="T7" fmla="*/ 5 h 111"/>
                  <a:gd name="T8" fmla="*/ 29 w 172"/>
                  <a:gd name="T9" fmla="*/ 0 h 111"/>
                  <a:gd name="T10" fmla="*/ 15 w 172"/>
                  <a:gd name="T11" fmla="*/ 4 h 111"/>
                  <a:gd name="T12" fmla="*/ 21 w 172"/>
                  <a:gd name="T13" fmla="*/ 26 h 111"/>
                  <a:gd name="T14" fmla="*/ 14 w 172"/>
                  <a:gd name="T15" fmla="*/ 48 h 111"/>
                  <a:gd name="T16" fmla="*/ 3 w 172"/>
                  <a:gd name="T17" fmla="*/ 73 h 111"/>
                  <a:gd name="T18" fmla="*/ 10 w 172"/>
                  <a:gd name="T19" fmla="*/ 97 h 111"/>
                  <a:gd name="T20" fmla="*/ 0 w 172"/>
                  <a:gd name="T21" fmla="*/ 84 h 111"/>
                  <a:gd name="T22" fmla="*/ 23 w 172"/>
                  <a:gd name="T23" fmla="*/ 111 h 111"/>
                  <a:gd name="T24" fmla="*/ 56 w 172"/>
                  <a:gd name="T25" fmla="*/ 87 h 111"/>
                  <a:gd name="T26" fmla="*/ 118 w 172"/>
                  <a:gd name="T27" fmla="*/ 89 h 111"/>
                  <a:gd name="T28" fmla="*/ 161 w 172"/>
                  <a:gd name="T29" fmla="*/ 89 h 111"/>
                  <a:gd name="T30" fmla="*/ 165 w 172"/>
                  <a:gd name="T31" fmla="*/ 68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2" h="111">
                    <a:moveTo>
                      <a:pt x="165" y="68"/>
                    </a:moveTo>
                    <a:cubicBezTo>
                      <a:pt x="165" y="68"/>
                      <a:pt x="143" y="49"/>
                      <a:pt x="128" y="43"/>
                    </a:cubicBezTo>
                    <a:cubicBezTo>
                      <a:pt x="114" y="38"/>
                      <a:pt x="108" y="36"/>
                      <a:pt x="97" y="32"/>
                    </a:cubicBezTo>
                    <a:cubicBezTo>
                      <a:pt x="87" y="28"/>
                      <a:pt x="81" y="9"/>
                      <a:pt x="75" y="5"/>
                    </a:cubicBezTo>
                    <a:cubicBezTo>
                      <a:pt x="69" y="2"/>
                      <a:pt x="46" y="0"/>
                      <a:pt x="29" y="0"/>
                    </a:cubicBezTo>
                    <a:cubicBezTo>
                      <a:pt x="22" y="0"/>
                      <a:pt x="18" y="2"/>
                      <a:pt x="15" y="4"/>
                    </a:cubicBezTo>
                    <a:cubicBezTo>
                      <a:pt x="17" y="10"/>
                      <a:pt x="21" y="20"/>
                      <a:pt x="21" y="26"/>
                    </a:cubicBezTo>
                    <a:cubicBezTo>
                      <a:pt x="20" y="36"/>
                      <a:pt x="16" y="39"/>
                      <a:pt x="14" y="48"/>
                    </a:cubicBezTo>
                    <a:cubicBezTo>
                      <a:pt x="11" y="57"/>
                      <a:pt x="3" y="73"/>
                      <a:pt x="3" y="73"/>
                    </a:cubicBezTo>
                    <a:cubicBezTo>
                      <a:pt x="10" y="97"/>
                      <a:pt x="10" y="97"/>
                      <a:pt x="10" y="97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23" y="111"/>
                      <a:pt x="23" y="111"/>
                      <a:pt x="23" y="111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56" y="87"/>
                      <a:pt x="85" y="87"/>
                      <a:pt x="118" y="89"/>
                    </a:cubicBezTo>
                    <a:cubicBezTo>
                      <a:pt x="131" y="90"/>
                      <a:pt x="153" y="93"/>
                      <a:pt x="161" y="89"/>
                    </a:cubicBezTo>
                    <a:cubicBezTo>
                      <a:pt x="172" y="83"/>
                      <a:pt x="165" y="68"/>
                      <a:pt x="165" y="68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0" name="Freeform 327">
                <a:extLst>
                  <a:ext uri="{FF2B5EF4-FFF2-40B4-BE49-F238E27FC236}">
                    <a16:creationId xmlns:a16="http://schemas.microsoft.com/office/drawing/2014/main" id="{4F81E416-5407-443A-D989-D22E8519BA8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4660" y="-12510"/>
                <a:ext cx="311" cy="251"/>
              </a:xfrm>
              <a:custGeom>
                <a:avLst/>
                <a:gdLst>
                  <a:gd name="T0" fmla="*/ 114 w 132"/>
                  <a:gd name="T1" fmla="*/ 74 h 106"/>
                  <a:gd name="T2" fmla="*/ 125 w 132"/>
                  <a:gd name="T3" fmla="*/ 49 h 106"/>
                  <a:gd name="T4" fmla="*/ 132 w 132"/>
                  <a:gd name="T5" fmla="*/ 27 h 106"/>
                  <a:gd name="T6" fmla="*/ 126 w 132"/>
                  <a:gd name="T7" fmla="*/ 5 h 106"/>
                  <a:gd name="T8" fmla="*/ 120 w 132"/>
                  <a:gd name="T9" fmla="*/ 12 h 106"/>
                  <a:gd name="T10" fmla="*/ 70 w 132"/>
                  <a:gd name="T11" fmla="*/ 0 h 106"/>
                  <a:gd name="T12" fmla="*/ 43 w 132"/>
                  <a:gd name="T13" fmla="*/ 10 h 106"/>
                  <a:gd name="T14" fmla="*/ 68 w 132"/>
                  <a:gd name="T15" fmla="*/ 17 h 106"/>
                  <a:gd name="T16" fmla="*/ 87 w 132"/>
                  <a:gd name="T17" fmla="*/ 31 h 106"/>
                  <a:gd name="T18" fmla="*/ 74 w 132"/>
                  <a:gd name="T19" fmla="*/ 49 h 106"/>
                  <a:gd name="T20" fmla="*/ 72 w 132"/>
                  <a:gd name="T21" fmla="*/ 70 h 106"/>
                  <a:gd name="T22" fmla="*/ 31 w 132"/>
                  <a:gd name="T23" fmla="*/ 64 h 106"/>
                  <a:gd name="T24" fmla="*/ 0 w 132"/>
                  <a:gd name="T25" fmla="*/ 72 h 106"/>
                  <a:gd name="T26" fmla="*/ 26 w 132"/>
                  <a:gd name="T27" fmla="*/ 102 h 106"/>
                  <a:gd name="T28" fmla="*/ 43 w 132"/>
                  <a:gd name="T29" fmla="*/ 87 h 106"/>
                  <a:gd name="T30" fmla="*/ 74 w 132"/>
                  <a:gd name="T31" fmla="*/ 89 h 106"/>
                  <a:gd name="T32" fmla="*/ 111 w 132"/>
                  <a:gd name="T33" fmla="*/ 85 h 106"/>
                  <a:gd name="T34" fmla="*/ 121 w 132"/>
                  <a:gd name="T35" fmla="*/ 98 h 106"/>
                  <a:gd name="T36" fmla="*/ 114 w 132"/>
                  <a:gd name="T37" fmla="*/ 7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2" h="106">
                    <a:moveTo>
                      <a:pt x="114" y="74"/>
                    </a:moveTo>
                    <a:cubicBezTo>
                      <a:pt x="114" y="74"/>
                      <a:pt x="122" y="58"/>
                      <a:pt x="125" y="49"/>
                    </a:cubicBezTo>
                    <a:cubicBezTo>
                      <a:pt x="127" y="40"/>
                      <a:pt x="131" y="37"/>
                      <a:pt x="132" y="27"/>
                    </a:cubicBezTo>
                    <a:cubicBezTo>
                      <a:pt x="132" y="21"/>
                      <a:pt x="128" y="11"/>
                      <a:pt x="126" y="5"/>
                    </a:cubicBezTo>
                    <a:cubicBezTo>
                      <a:pt x="121" y="8"/>
                      <a:pt x="120" y="12"/>
                      <a:pt x="120" y="12"/>
                    </a:cubicBezTo>
                    <a:cubicBezTo>
                      <a:pt x="120" y="12"/>
                      <a:pt x="85" y="0"/>
                      <a:pt x="70" y="0"/>
                    </a:cubicBezTo>
                    <a:cubicBezTo>
                      <a:pt x="56" y="0"/>
                      <a:pt x="49" y="2"/>
                      <a:pt x="43" y="10"/>
                    </a:cubicBezTo>
                    <a:cubicBezTo>
                      <a:pt x="37" y="17"/>
                      <a:pt x="62" y="17"/>
                      <a:pt x="68" y="17"/>
                    </a:cubicBezTo>
                    <a:cubicBezTo>
                      <a:pt x="74" y="17"/>
                      <a:pt x="87" y="31"/>
                      <a:pt x="87" y="31"/>
                    </a:cubicBezTo>
                    <a:cubicBezTo>
                      <a:pt x="87" y="31"/>
                      <a:pt x="72" y="34"/>
                      <a:pt x="74" y="49"/>
                    </a:cubicBezTo>
                    <a:cubicBezTo>
                      <a:pt x="76" y="65"/>
                      <a:pt x="84" y="70"/>
                      <a:pt x="72" y="70"/>
                    </a:cubicBezTo>
                    <a:cubicBezTo>
                      <a:pt x="59" y="70"/>
                      <a:pt x="39" y="63"/>
                      <a:pt x="31" y="64"/>
                    </a:cubicBezTo>
                    <a:cubicBezTo>
                      <a:pt x="22" y="66"/>
                      <a:pt x="6" y="62"/>
                      <a:pt x="0" y="72"/>
                    </a:cubicBezTo>
                    <a:cubicBezTo>
                      <a:pt x="0" y="72"/>
                      <a:pt x="18" y="98"/>
                      <a:pt x="26" y="102"/>
                    </a:cubicBezTo>
                    <a:cubicBezTo>
                      <a:pt x="35" y="106"/>
                      <a:pt x="43" y="87"/>
                      <a:pt x="43" y="87"/>
                    </a:cubicBezTo>
                    <a:cubicBezTo>
                      <a:pt x="43" y="87"/>
                      <a:pt x="57" y="89"/>
                      <a:pt x="74" y="89"/>
                    </a:cubicBezTo>
                    <a:cubicBezTo>
                      <a:pt x="90" y="89"/>
                      <a:pt x="111" y="85"/>
                      <a:pt x="111" y="85"/>
                    </a:cubicBezTo>
                    <a:cubicBezTo>
                      <a:pt x="121" y="98"/>
                      <a:pt x="121" y="98"/>
                      <a:pt x="121" y="98"/>
                    </a:cubicBezTo>
                    <a:lnTo>
                      <a:pt x="114" y="7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1" name="Freeform 328">
                <a:extLst>
                  <a:ext uri="{FF2B5EF4-FFF2-40B4-BE49-F238E27FC236}">
                    <a16:creationId xmlns:a16="http://schemas.microsoft.com/office/drawing/2014/main" id="{A05CCF7A-7655-2525-7DB2-A2F8C1586C6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2589" y="-16443"/>
                <a:ext cx="7205" cy="6196"/>
              </a:xfrm>
              <a:custGeom>
                <a:avLst/>
                <a:gdLst>
                  <a:gd name="T0" fmla="*/ 3045 w 3050"/>
                  <a:gd name="T1" fmla="*/ 429 h 2623"/>
                  <a:gd name="T2" fmla="*/ 3017 w 3050"/>
                  <a:gd name="T3" fmla="*/ 487 h 2623"/>
                  <a:gd name="T4" fmla="*/ 3043 w 3050"/>
                  <a:gd name="T5" fmla="*/ 495 h 2623"/>
                  <a:gd name="T6" fmla="*/ 3048 w 3050"/>
                  <a:gd name="T7" fmla="*/ 446 h 2623"/>
                  <a:gd name="T8" fmla="*/ 2944 w 3050"/>
                  <a:gd name="T9" fmla="*/ 106 h 2623"/>
                  <a:gd name="T10" fmla="*/ 2924 w 3050"/>
                  <a:gd name="T11" fmla="*/ 87 h 2623"/>
                  <a:gd name="T12" fmla="*/ 2899 w 3050"/>
                  <a:gd name="T13" fmla="*/ 85 h 2623"/>
                  <a:gd name="T14" fmla="*/ 2877 w 3050"/>
                  <a:gd name="T15" fmla="*/ 77 h 2623"/>
                  <a:gd name="T16" fmla="*/ 2843 w 3050"/>
                  <a:gd name="T17" fmla="*/ 61 h 2623"/>
                  <a:gd name="T18" fmla="*/ 2800 w 3050"/>
                  <a:gd name="T19" fmla="*/ 37 h 2623"/>
                  <a:gd name="T20" fmla="*/ 2771 w 3050"/>
                  <a:gd name="T21" fmla="*/ 12 h 2623"/>
                  <a:gd name="T22" fmla="*/ 2715 w 3050"/>
                  <a:gd name="T23" fmla="*/ 12 h 2623"/>
                  <a:gd name="T24" fmla="*/ 2686 w 3050"/>
                  <a:gd name="T25" fmla="*/ 60 h 2623"/>
                  <a:gd name="T26" fmla="*/ 2635 w 3050"/>
                  <a:gd name="T27" fmla="*/ 97 h 2623"/>
                  <a:gd name="T28" fmla="*/ 2580 w 3050"/>
                  <a:gd name="T29" fmla="*/ 75 h 2623"/>
                  <a:gd name="T30" fmla="*/ 2550 w 3050"/>
                  <a:gd name="T31" fmla="*/ 125 h 2623"/>
                  <a:gd name="T32" fmla="*/ 2495 w 3050"/>
                  <a:gd name="T33" fmla="*/ 124 h 2623"/>
                  <a:gd name="T34" fmla="*/ 2450 w 3050"/>
                  <a:gd name="T35" fmla="*/ 161 h 2623"/>
                  <a:gd name="T36" fmla="*/ 2514 w 3050"/>
                  <a:gd name="T37" fmla="*/ 184 h 2623"/>
                  <a:gd name="T38" fmla="*/ 2572 w 3050"/>
                  <a:gd name="T39" fmla="*/ 199 h 2623"/>
                  <a:gd name="T40" fmla="*/ 2597 w 3050"/>
                  <a:gd name="T41" fmla="*/ 248 h 2623"/>
                  <a:gd name="T42" fmla="*/ 2617 w 3050"/>
                  <a:gd name="T43" fmla="*/ 320 h 2623"/>
                  <a:gd name="T44" fmla="*/ 2576 w 3050"/>
                  <a:gd name="T45" fmla="*/ 391 h 2623"/>
                  <a:gd name="T46" fmla="*/ 2578 w 3050"/>
                  <a:gd name="T47" fmla="*/ 414 h 2623"/>
                  <a:gd name="T48" fmla="*/ 2612 w 3050"/>
                  <a:gd name="T49" fmla="*/ 437 h 2623"/>
                  <a:gd name="T50" fmla="*/ 2651 w 3050"/>
                  <a:gd name="T51" fmla="*/ 441 h 2623"/>
                  <a:gd name="T52" fmla="*/ 2673 w 3050"/>
                  <a:gd name="T53" fmla="*/ 434 h 2623"/>
                  <a:gd name="T54" fmla="*/ 2697 w 3050"/>
                  <a:gd name="T55" fmla="*/ 446 h 2623"/>
                  <a:gd name="T56" fmla="*/ 2717 w 3050"/>
                  <a:gd name="T57" fmla="*/ 454 h 2623"/>
                  <a:gd name="T58" fmla="*/ 2742 w 3050"/>
                  <a:gd name="T59" fmla="*/ 463 h 2623"/>
                  <a:gd name="T60" fmla="*/ 2763 w 3050"/>
                  <a:gd name="T61" fmla="*/ 453 h 2623"/>
                  <a:gd name="T62" fmla="*/ 2822 w 3050"/>
                  <a:gd name="T63" fmla="*/ 397 h 2623"/>
                  <a:gd name="T64" fmla="*/ 2882 w 3050"/>
                  <a:gd name="T65" fmla="*/ 421 h 2623"/>
                  <a:gd name="T66" fmla="*/ 2957 w 3050"/>
                  <a:gd name="T67" fmla="*/ 388 h 2623"/>
                  <a:gd name="T68" fmla="*/ 2950 w 3050"/>
                  <a:gd name="T69" fmla="*/ 367 h 2623"/>
                  <a:gd name="T70" fmla="*/ 2940 w 3050"/>
                  <a:gd name="T71" fmla="*/ 335 h 2623"/>
                  <a:gd name="T72" fmla="*/ 2922 w 3050"/>
                  <a:gd name="T73" fmla="*/ 314 h 2623"/>
                  <a:gd name="T74" fmla="*/ 2939 w 3050"/>
                  <a:gd name="T75" fmla="*/ 289 h 2623"/>
                  <a:gd name="T76" fmla="*/ 2934 w 3050"/>
                  <a:gd name="T77" fmla="*/ 263 h 2623"/>
                  <a:gd name="T78" fmla="*/ 2902 w 3050"/>
                  <a:gd name="T79" fmla="*/ 259 h 2623"/>
                  <a:gd name="T80" fmla="*/ 2918 w 3050"/>
                  <a:gd name="T81" fmla="*/ 226 h 2623"/>
                  <a:gd name="T82" fmla="*/ 2943 w 3050"/>
                  <a:gd name="T83" fmla="*/ 198 h 2623"/>
                  <a:gd name="T84" fmla="*/ 2966 w 3050"/>
                  <a:gd name="T85" fmla="*/ 186 h 2623"/>
                  <a:gd name="T86" fmla="*/ 2976 w 3050"/>
                  <a:gd name="T87" fmla="*/ 128 h 2623"/>
                  <a:gd name="T88" fmla="*/ 2982 w 3050"/>
                  <a:gd name="T89" fmla="*/ 106 h 2623"/>
                  <a:gd name="T90" fmla="*/ 90 w 3050"/>
                  <a:gd name="T91" fmla="*/ 2439 h 2623"/>
                  <a:gd name="T92" fmla="*/ 32 w 3050"/>
                  <a:gd name="T93" fmla="*/ 2444 h 2623"/>
                  <a:gd name="T94" fmla="*/ 32 w 3050"/>
                  <a:gd name="T95" fmla="*/ 2544 h 2623"/>
                  <a:gd name="T96" fmla="*/ 11 w 3050"/>
                  <a:gd name="T97" fmla="*/ 2594 h 2623"/>
                  <a:gd name="T98" fmla="*/ 38 w 3050"/>
                  <a:gd name="T99" fmla="*/ 2611 h 2623"/>
                  <a:gd name="T100" fmla="*/ 62 w 3050"/>
                  <a:gd name="T101" fmla="*/ 2610 h 2623"/>
                  <a:gd name="T102" fmla="*/ 108 w 3050"/>
                  <a:gd name="T103" fmla="*/ 2570 h 2623"/>
                  <a:gd name="T104" fmla="*/ 125 w 3050"/>
                  <a:gd name="T105" fmla="*/ 2479 h 2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050" h="2623">
                    <a:moveTo>
                      <a:pt x="3048" y="446"/>
                    </a:moveTo>
                    <a:cubicBezTo>
                      <a:pt x="3043" y="444"/>
                      <a:pt x="3043" y="444"/>
                      <a:pt x="3043" y="444"/>
                    </a:cubicBezTo>
                    <a:cubicBezTo>
                      <a:pt x="3043" y="444"/>
                      <a:pt x="3049" y="436"/>
                      <a:pt x="3045" y="429"/>
                    </a:cubicBezTo>
                    <a:cubicBezTo>
                      <a:pt x="3041" y="422"/>
                      <a:pt x="3033" y="440"/>
                      <a:pt x="3033" y="440"/>
                    </a:cubicBezTo>
                    <a:cubicBezTo>
                      <a:pt x="3033" y="440"/>
                      <a:pt x="3004" y="453"/>
                      <a:pt x="3007" y="467"/>
                    </a:cubicBezTo>
                    <a:cubicBezTo>
                      <a:pt x="3010" y="481"/>
                      <a:pt x="3017" y="487"/>
                      <a:pt x="3017" y="487"/>
                    </a:cubicBezTo>
                    <a:cubicBezTo>
                      <a:pt x="3017" y="487"/>
                      <a:pt x="3008" y="498"/>
                      <a:pt x="3016" y="505"/>
                    </a:cubicBezTo>
                    <a:cubicBezTo>
                      <a:pt x="3024" y="512"/>
                      <a:pt x="3033" y="513"/>
                      <a:pt x="3033" y="513"/>
                    </a:cubicBezTo>
                    <a:cubicBezTo>
                      <a:pt x="3033" y="513"/>
                      <a:pt x="3043" y="506"/>
                      <a:pt x="3043" y="495"/>
                    </a:cubicBezTo>
                    <a:cubicBezTo>
                      <a:pt x="3043" y="484"/>
                      <a:pt x="3042" y="481"/>
                      <a:pt x="3042" y="481"/>
                    </a:cubicBezTo>
                    <a:cubicBezTo>
                      <a:pt x="3050" y="477"/>
                      <a:pt x="3050" y="477"/>
                      <a:pt x="3050" y="477"/>
                    </a:cubicBezTo>
                    <a:lnTo>
                      <a:pt x="3048" y="446"/>
                    </a:lnTo>
                    <a:close/>
                    <a:moveTo>
                      <a:pt x="2964" y="107"/>
                    </a:moveTo>
                    <a:cubicBezTo>
                      <a:pt x="2964" y="103"/>
                      <a:pt x="2964" y="103"/>
                      <a:pt x="2964" y="103"/>
                    </a:cubicBezTo>
                    <a:cubicBezTo>
                      <a:pt x="2964" y="103"/>
                      <a:pt x="2950" y="107"/>
                      <a:pt x="2944" y="106"/>
                    </a:cubicBezTo>
                    <a:cubicBezTo>
                      <a:pt x="2938" y="105"/>
                      <a:pt x="2940" y="100"/>
                      <a:pt x="2940" y="100"/>
                    </a:cubicBezTo>
                    <a:cubicBezTo>
                      <a:pt x="2923" y="100"/>
                      <a:pt x="2923" y="100"/>
                      <a:pt x="2923" y="100"/>
                    </a:cubicBezTo>
                    <a:cubicBezTo>
                      <a:pt x="2923" y="100"/>
                      <a:pt x="2927" y="90"/>
                      <a:pt x="2924" y="87"/>
                    </a:cubicBezTo>
                    <a:cubicBezTo>
                      <a:pt x="2921" y="84"/>
                      <a:pt x="2919" y="80"/>
                      <a:pt x="2919" y="80"/>
                    </a:cubicBezTo>
                    <a:cubicBezTo>
                      <a:pt x="2908" y="78"/>
                      <a:pt x="2908" y="78"/>
                      <a:pt x="2908" y="78"/>
                    </a:cubicBezTo>
                    <a:cubicBezTo>
                      <a:pt x="2899" y="85"/>
                      <a:pt x="2899" y="85"/>
                      <a:pt x="2899" y="85"/>
                    </a:cubicBezTo>
                    <a:cubicBezTo>
                      <a:pt x="2894" y="81"/>
                      <a:pt x="2894" y="81"/>
                      <a:pt x="2894" y="81"/>
                    </a:cubicBezTo>
                    <a:cubicBezTo>
                      <a:pt x="2880" y="81"/>
                      <a:pt x="2880" y="81"/>
                      <a:pt x="2880" y="81"/>
                    </a:cubicBezTo>
                    <a:cubicBezTo>
                      <a:pt x="2880" y="81"/>
                      <a:pt x="2879" y="80"/>
                      <a:pt x="2877" y="77"/>
                    </a:cubicBezTo>
                    <a:cubicBezTo>
                      <a:pt x="2875" y="74"/>
                      <a:pt x="2853" y="70"/>
                      <a:pt x="2853" y="70"/>
                    </a:cubicBezTo>
                    <a:cubicBezTo>
                      <a:pt x="2853" y="54"/>
                      <a:pt x="2853" y="54"/>
                      <a:pt x="2853" y="54"/>
                    </a:cubicBezTo>
                    <a:cubicBezTo>
                      <a:pt x="2843" y="61"/>
                      <a:pt x="2843" y="61"/>
                      <a:pt x="2843" y="61"/>
                    </a:cubicBezTo>
                    <a:cubicBezTo>
                      <a:pt x="2828" y="61"/>
                      <a:pt x="2828" y="61"/>
                      <a:pt x="2828" y="61"/>
                    </a:cubicBezTo>
                    <a:cubicBezTo>
                      <a:pt x="2828" y="61"/>
                      <a:pt x="2828" y="45"/>
                      <a:pt x="2823" y="42"/>
                    </a:cubicBezTo>
                    <a:cubicBezTo>
                      <a:pt x="2818" y="39"/>
                      <a:pt x="2800" y="37"/>
                      <a:pt x="2800" y="37"/>
                    </a:cubicBezTo>
                    <a:cubicBezTo>
                      <a:pt x="2793" y="30"/>
                      <a:pt x="2793" y="30"/>
                      <a:pt x="2793" y="30"/>
                    </a:cubicBezTo>
                    <a:cubicBezTo>
                      <a:pt x="2777" y="26"/>
                      <a:pt x="2777" y="26"/>
                      <a:pt x="2777" y="26"/>
                    </a:cubicBezTo>
                    <a:cubicBezTo>
                      <a:pt x="2771" y="12"/>
                      <a:pt x="2771" y="12"/>
                      <a:pt x="2771" y="12"/>
                    </a:cubicBezTo>
                    <a:cubicBezTo>
                      <a:pt x="2772" y="3"/>
                      <a:pt x="2772" y="3"/>
                      <a:pt x="2772" y="3"/>
                    </a:cubicBezTo>
                    <a:cubicBezTo>
                      <a:pt x="2772" y="3"/>
                      <a:pt x="2756" y="0"/>
                      <a:pt x="2746" y="4"/>
                    </a:cubicBezTo>
                    <a:cubicBezTo>
                      <a:pt x="2736" y="8"/>
                      <a:pt x="2711" y="4"/>
                      <a:pt x="2715" y="12"/>
                    </a:cubicBezTo>
                    <a:cubicBezTo>
                      <a:pt x="2719" y="20"/>
                      <a:pt x="2722" y="27"/>
                      <a:pt x="2722" y="27"/>
                    </a:cubicBezTo>
                    <a:cubicBezTo>
                      <a:pt x="2722" y="27"/>
                      <a:pt x="2730" y="44"/>
                      <a:pt x="2719" y="52"/>
                    </a:cubicBezTo>
                    <a:cubicBezTo>
                      <a:pt x="2708" y="60"/>
                      <a:pt x="2686" y="60"/>
                      <a:pt x="2686" y="60"/>
                    </a:cubicBezTo>
                    <a:cubicBezTo>
                      <a:pt x="2661" y="80"/>
                      <a:pt x="2661" y="80"/>
                      <a:pt x="2661" y="80"/>
                    </a:cubicBezTo>
                    <a:cubicBezTo>
                      <a:pt x="2670" y="86"/>
                      <a:pt x="2670" y="86"/>
                      <a:pt x="2670" y="86"/>
                    </a:cubicBezTo>
                    <a:cubicBezTo>
                      <a:pt x="2670" y="86"/>
                      <a:pt x="2650" y="98"/>
                      <a:pt x="2635" y="97"/>
                    </a:cubicBezTo>
                    <a:cubicBezTo>
                      <a:pt x="2620" y="96"/>
                      <a:pt x="2611" y="91"/>
                      <a:pt x="2611" y="91"/>
                    </a:cubicBezTo>
                    <a:cubicBezTo>
                      <a:pt x="2600" y="76"/>
                      <a:pt x="2600" y="76"/>
                      <a:pt x="2600" y="76"/>
                    </a:cubicBezTo>
                    <a:cubicBezTo>
                      <a:pt x="2600" y="76"/>
                      <a:pt x="2579" y="68"/>
                      <a:pt x="2580" y="75"/>
                    </a:cubicBezTo>
                    <a:cubicBezTo>
                      <a:pt x="2581" y="82"/>
                      <a:pt x="2592" y="96"/>
                      <a:pt x="2592" y="96"/>
                    </a:cubicBezTo>
                    <a:cubicBezTo>
                      <a:pt x="2592" y="96"/>
                      <a:pt x="2605" y="120"/>
                      <a:pt x="2587" y="123"/>
                    </a:cubicBezTo>
                    <a:cubicBezTo>
                      <a:pt x="2569" y="126"/>
                      <a:pt x="2550" y="125"/>
                      <a:pt x="2550" y="125"/>
                    </a:cubicBezTo>
                    <a:cubicBezTo>
                      <a:pt x="2543" y="136"/>
                      <a:pt x="2543" y="136"/>
                      <a:pt x="2543" y="136"/>
                    </a:cubicBezTo>
                    <a:cubicBezTo>
                      <a:pt x="2543" y="136"/>
                      <a:pt x="2527" y="116"/>
                      <a:pt x="2521" y="117"/>
                    </a:cubicBezTo>
                    <a:cubicBezTo>
                      <a:pt x="2515" y="118"/>
                      <a:pt x="2495" y="124"/>
                      <a:pt x="2495" y="124"/>
                    </a:cubicBezTo>
                    <a:cubicBezTo>
                      <a:pt x="2495" y="124"/>
                      <a:pt x="2459" y="129"/>
                      <a:pt x="2456" y="136"/>
                    </a:cubicBezTo>
                    <a:cubicBezTo>
                      <a:pt x="2453" y="143"/>
                      <a:pt x="2475" y="149"/>
                      <a:pt x="2474" y="152"/>
                    </a:cubicBezTo>
                    <a:cubicBezTo>
                      <a:pt x="2473" y="155"/>
                      <a:pt x="2444" y="153"/>
                      <a:pt x="2450" y="161"/>
                    </a:cubicBezTo>
                    <a:cubicBezTo>
                      <a:pt x="2456" y="169"/>
                      <a:pt x="2475" y="170"/>
                      <a:pt x="2475" y="170"/>
                    </a:cubicBezTo>
                    <a:cubicBezTo>
                      <a:pt x="2482" y="166"/>
                      <a:pt x="2482" y="166"/>
                      <a:pt x="2482" y="166"/>
                    </a:cubicBezTo>
                    <a:cubicBezTo>
                      <a:pt x="2514" y="184"/>
                      <a:pt x="2514" y="184"/>
                      <a:pt x="2514" y="184"/>
                    </a:cubicBezTo>
                    <a:cubicBezTo>
                      <a:pt x="2534" y="184"/>
                      <a:pt x="2534" y="184"/>
                      <a:pt x="2534" y="184"/>
                    </a:cubicBezTo>
                    <a:cubicBezTo>
                      <a:pt x="2546" y="196"/>
                      <a:pt x="2546" y="196"/>
                      <a:pt x="2546" y="196"/>
                    </a:cubicBezTo>
                    <a:cubicBezTo>
                      <a:pt x="2572" y="199"/>
                      <a:pt x="2572" y="199"/>
                      <a:pt x="2572" y="199"/>
                    </a:cubicBezTo>
                    <a:cubicBezTo>
                      <a:pt x="2553" y="209"/>
                      <a:pt x="2553" y="209"/>
                      <a:pt x="2553" y="209"/>
                    </a:cubicBezTo>
                    <a:cubicBezTo>
                      <a:pt x="2553" y="209"/>
                      <a:pt x="2572" y="240"/>
                      <a:pt x="2576" y="244"/>
                    </a:cubicBezTo>
                    <a:cubicBezTo>
                      <a:pt x="2580" y="248"/>
                      <a:pt x="2597" y="248"/>
                      <a:pt x="2597" y="248"/>
                    </a:cubicBezTo>
                    <a:cubicBezTo>
                      <a:pt x="2595" y="277"/>
                      <a:pt x="2595" y="277"/>
                      <a:pt x="2595" y="277"/>
                    </a:cubicBezTo>
                    <a:cubicBezTo>
                      <a:pt x="2608" y="297"/>
                      <a:pt x="2608" y="297"/>
                      <a:pt x="2608" y="297"/>
                    </a:cubicBezTo>
                    <a:cubicBezTo>
                      <a:pt x="2617" y="320"/>
                      <a:pt x="2617" y="320"/>
                      <a:pt x="2617" y="320"/>
                    </a:cubicBezTo>
                    <a:cubicBezTo>
                      <a:pt x="2596" y="294"/>
                      <a:pt x="2596" y="294"/>
                      <a:pt x="2596" y="294"/>
                    </a:cubicBezTo>
                    <a:cubicBezTo>
                      <a:pt x="2596" y="294"/>
                      <a:pt x="2594" y="323"/>
                      <a:pt x="2593" y="333"/>
                    </a:cubicBezTo>
                    <a:cubicBezTo>
                      <a:pt x="2592" y="343"/>
                      <a:pt x="2581" y="383"/>
                      <a:pt x="2576" y="391"/>
                    </a:cubicBezTo>
                    <a:cubicBezTo>
                      <a:pt x="2572" y="398"/>
                      <a:pt x="2574" y="407"/>
                      <a:pt x="2562" y="409"/>
                    </a:cubicBezTo>
                    <a:cubicBezTo>
                      <a:pt x="2563" y="415"/>
                      <a:pt x="2563" y="415"/>
                      <a:pt x="2563" y="415"/>
                    </a:cubicBezTo>
                    <a:cubicBezTo>
                      <a:pt x="2563" y="415"/>
                      <a:pt x="2572" y="407"/>
                      <a:pt x="2578" y="414"/>
                    </a:cubicBezTo>
                    <a:cubicBezTo>
                      <a:pt x="2584" y="421"/>
                      <a:pt x="2578" y="424"/>
                      <a:pt x="2578" y="424"/>
                    </a:cubicBezTo>
                    <a:cubicBezTo>
                      <a:pt x="2578" y="424"/>
                      <a:pt x="2592" y="426"/>
                      <a:pt x="2599" y="427"/>
                    </a:cubicBezTo>
                    <a:cubicBezTo>
                      <a:pt x="2606" y="428"/>
                      <a:pt x="2612" y="437"/>
                      <a:pt x="2612" y="437"/>
                    </a:cubicBezTo>
                    <a:cubicBezTo>
                      <a:pt x="2612" y="437"/>
                      <a:pt x="2622" y="433"/>
                      <a:pt x="2626" y="435"/>
                    </a:cubicBezTo>
                    <a:cubicBezTo>
                      <a:pt x="2630" y="437"/>
                      <a:pt x="2631" y="440"/>
                      <a:pt x="2631" y="440"/>
                    </a:cubicBezTo>
                    <a:cubicBezTo>
                      <a:pt x="2651" y="441"/>
                      <a:pt x="2651" y="441"/>
                      <a:pt x="2651" y="441"/>
                    </a:cubicBezTo>
                    <a:cubicBezTo>
                      <a:pt x="2653" y="449"/>
                      <a:pt x="2653" y="449"/>
                      <a:pt x="2653" y="449"/>
                    </a:cubicBezTo>
                    <a:cubicBezTo>
                      <a:pt x="2666" y="446"/>
                      <a:pt x="2666" y="446"/>
                      <a:pt x="2666" y="446"/>
                    </a:cubicBezTo>
                    <a:cubicBezTo>
                      <a:pt x="2666" y="446"/>
                      <a:pt x="2660" y="434"/>
                      <a:pt x="2673" y="434"/>
                    </a:cubicBezTo>
                    <a:cubicBezTo>
                      <a:pt x="2686" y="434"/>
                      <a:pt x="2686" y="441"/>
                      <a:pt x="2686" y="441"/>
                    </a:cubicBezTo>
                    <a:cubicBezTo>
                      <a:pt x="2695" y="442"/>
                      <a:pt x="2695" y="442"/>
                      <a:pt x="2695" y="442"/>
                    </a:cubicBezTo>
                    <a:cubicBezTo>
                      <a:pt x="2697" y="446"/>
                      <a:pt x="2697" y="446"/>
                      <a:pt x="2697" y="446"/>
                    </a:cubicBezTo>
                    <a:cubicBezTo>
                      <a:pt x="2698" y="445"/>
                      <a:pt x="2700" y="445"/>
                      <a:pt x="2702" y="445"/>
                    </a:cubicBezTo>
                    <a:cubicBezTo>
                      <a:pt x="2712" y="444"/>
                      <a:pt x="2716" y="445"/>
                      <a:pt x="2716" y="445"/>
                    </a:cubicBezTo>
                    <a:cubicBezTo>
                      <a:pt x="2717" y="454"/>
                      <a:pt x="2717" y="454"/>
                      <a:pt x="2717" y="454"/>
                    </a:cubicBezTo>
                    <a:cubicBezTo>
                      <a:pt x="2720" y="455"/>
                      <a:pt x="2722" y="459"/>
                      <a:pt x="2722" y="459"/>
                    </a:cubicBezTo>
                    <a:cubicBezTo>
                      <a:pt x="2722" y="459"/>
                      <a:pt x="2729" y="457"/>
                      <a:pt x="2732" y="456"/>
                    </a:cubicBezTo>
                    <a:cubicBezTo>
                      <a:pt x="2735" y="455"/>
                      <a:pt x="2742" y="463"/>
                      <a:pt x="2742" y="463"/>
                    </a:cubicBezTo>
                    <a:cubicBezTo>
                      <a:pt x="2742" y="463"/>
                      <a:pt x="2743" y="463"/>
                      <a:pt x="2750" y="463"/>
                    </a:cubicBezTo>
                    <a:cubicBezTo>
                      <a:pt x="2757" y="463"/>
                      <a:pt x="2757" y="453"/>
                      <a:pt x="2757" y="453"/>
                    </a:cubicBezTo>
                    <a:cubicBezTo>
                      <a:pt x="2763" y="453"/>
                      <a:pt x="2763" y="453"/>
                      <a:pt x="2763" y="453"/>
                    </a:cubicBezTo>
                    <a:cubicBezTo>
                      <a:pt x="2763" y="452"/>
                      <a:pt x="2763" y="451"/>
                      <a:pt x="2763" y="450"/>
                    </a:cubicBezTo>
                    <a:cubicBezTo>
                      <a:pt x="2763" y="440"/>
                      <a:pt x="2778" y="417"/>
                      <a:pt x="2785" y="413"/>
                    </a:cubicBezTo>
                    <a:cubicBezTo>
                      <a:pt x="2792" y="409"/>
                      <a:pt x="2813" y="392"/>
                      <a:pt x="2822" y="397"/>
                    </a:cubicBezTo>
                    <a:cubicBezTo>
                      <a:pt x="2831" y="402"/>
                      <a:pt x="2839" y="407"/>
                      <a:pt x="2839" y="407"/>
                    </a:cubicBezTo>
                    <a:cubicBezTo>
                      <a:pt x="2839" y="407"/>
                      <a:pt x="2862" y="401"/>
                      <a:pt x="2867" y="406"/>
                    </a:cubicBezTo>
                    <a:cubicBezTo>
                      <a:pt x="2872" y="411"/>
                      <a:pt x="2879" y="419"/>
                      <a:pt x="2882" y="421"/>
                    </a:cubicBezTo>
                    <a:cubicBezTo>
                      <a:pt x="2882" y="421"/>
                      <a:pt x="2907" y="431"/>
                      <a:pt x="2920" y="421"/>
                    </a:cubicBezTo>
                    <a:cubicBezTo>
                      <a:pt x="2933" y="411"/>
                      <a:pt x="2937" y="392"/>
                      <a:pt x="2943" y="390"/>
                    </a:cubicBezTo>
                    <a:cubicBezTo>
                      <a:pt x="2945" y="389"/>
                      <a:pt x="2951" y="389"/>
                      <a:pt x="2957" y="388"/>
                    </a:cubicBezTo>
                    <a:cubicBezTo>
                      <a:pt x="2957" y="385"/>
                      <a:pt x="2958" y="383"/>
                      <a:pt x="2960" y="383"/>
                    </a:cubicBezTo>
                    <a:cubicBezTo>
                      <a:pt x="2964" y="383"/>
                      <a:pt x="2970" y="373"/>
                      <a:pt x="2967" y="369"/>
                    </a:cubicBezTo>
                    <a:cubicBezTo>
                      <a:pt x="2964" y="365"/>
                      <a:pt x="2950" y="367"/>
                      <a:pt x="2950" y="367"/>
                    </a:cubicBezTo>
                    <a:cubicBezTo>
                      <a:pt x="2947" y="361"/>
                      <a:pt x="2947" y="361"/>
                      <a:pt x="2947" y="361"/>
                    </a:cubicBezTo>
                    <a:cubicBezTo>
                      <a:pt x="2947" y="361"/>
                      <a:pt x="2933" y="360"/>
                      <a:pt x="2934" y="350"/>
                    </a:cubicBezTo>
                    <a:cubicBezTo>
                      <a:pt x="2935" y="340"/>
                      <a:pt x="2941" y="340"/>
                      <a:pt x="2940" y="335"/>
                    </a:cubicBezTo>
                    <a:cubicBezTo>
                      <a:pt x="2939" y="330"/>
                      <a:pt x="2935" y="327"/>
                      <a:pt x="2935" y="327"/>
                    </a:cubicBezTo>
                    <a:cubicBezTo>
                      <a:pt x="2928" y="327"/>
                      <a:pt x="2928" y="327"/>
                      <a:pt x="2928" y="327"/>
                    </a:cubicBezTo>
                    <a:cubicBezTo>
                      <a:pt x="2922" y="314"/>
                      <a:pt x="2922" y="314"/>
                      <a:pt x="2922" y="314"/>
                    </a:cubicBezTo>
                    <a:cubicBezTo>
                      <a:pt x="2931" y="312"/>
                      <a:pt x="2931" y="312"/>
                      <a:pt x="2931" y="312"/>
                    </a:cubicBezTo>
                    <a:cubicBezTo>
                      <a:pt x="2931" y="312"/>
                      <a:pt x="2950" y="311"/>
                      <a:pt x="2950" y="302"/>
                    </a:cubicBezTo>
                    <a:cubicBezTo>
                      <a:pt x="2950" y="293"/>
                      <a:pt x="2939" y="289"/>
                      <a:pt x="2939" y="289"/>
                    </a:cubicBezTo>
                    <a:cubicBezTo>
                      <a:pt x="2931" y="281"/>
                      <a:pt x="2931" y="281"/>
                      <a:pt x="2931" y="281"/>
                    </a:cubicBezTo>
                    <a:cubicBezTo>
                      <a:pt x="2931" y="281"/>
                      <a:pt x="2941" y="277"/>
                      <a:pt x="2941" y="273"/>
                    </a:cubicBezTo>
                    <a:cubicBezTo>
                      <a:pt x="2941" y="269"/>
                      <a:pt x="2934" y="263"/>
                      <a:pt x="2934" y="263"/>
                    </a:cubicBezTo>
                    <a:cubicBezTo>
                      <a:pt x="2935" y="245"/>
                      <a:pt x="2935" y="245"/>
                      <a:pt x="2935" y="245"/>
                    </a:cubicBezTo>
                    <a:cubicBezTo>
                      <a:pt x="2935" y="245"/>
                      <a:pt x="2927" y="239"/>
                      <a:pt x="2920" y="243"/>
                    </a:cubicBezTo>
                    <a:cubicBezTo>
                      <a:pt x="2913" y="247"/>
                      <a:pt x="2908" y="260"/>
                      <a:pt x="2902" y="259"/>
                    </a:cubicBezTo>
                    <a:cubicBezTo>
                      <a:pt x="2896" y="258"/>
                      <a:pt x="2906" y="250"/>
                      <a:pt x="2906" y="250"/>
                    </a:cubicBezTo>
                    <a:cubicBezTo>
                      <a:pt x="2900" y="242"/>
                      <a:pt x="2900" y="242"/>
                      <a:pt x="2900" y="242"/>
                    </a:cubicBezTo>
                    <a:cubicBezTo>
                      <a:pt x="2900" y="242"/>
                      <a:pt x="2912" y="233"/>
                      <a:pt x="2918" y="226"/>
                    </a:cubicBezTo>
                    <a:cubicBezTo>
                      <a:pt x="2924" y="219"/>
                      <a:pt x="2921" y="213"/>
                      <a:pt x="2921" y="213"/>
                    </a:cubicBezTo>
                    <a:cubicBezTo>
                      <a:pt x="2921" y="213"/>
                      <a:pt x="2927" y="219"/>
                      <a:pt x="2932" y="213"/>
                    </a:cubicBezTo>
                    <a:cubicBezTo>
                      <a:pt x="2937" y="207"/>
                      <a:pt x="2943" y="198"/>
                      <a:pt x="2943" y="198"/>
                    </a:cubicBezTo>
                    <a:cubicBezTo>
                      <a:pt x="2948" y="189"/>
                      <a:pt x="2948" y="189"/>
                      <a:pt x="2948" y="189"/>
                    </a:cubicBezTo>
                    <a:cubicBezTo>
                      <a:pt x="2961" y="196"/>
                      <a:pt x="2961" y="196"/>
                      <a:pt x="2961" y="196"/>
                    </a:cubicBezTo>
                    <a:cubicBezTo>
                      <a:pt x="2966" y="186"/>
                      <a:pt x="2966" y="186"/>
                      <a:pt x="2966" y="186"/>
                    </a:cubicBezTo>
                    <a:cubicBezTo>
                      <a:pt x="2966" y="186"/>
                      <a:pt x="2962" y="177"/>
                      <a:pt x="2964" y="166"/>
                    </a:cubicBezTo>
                    <a:cubicBezTo>
                      <a:pt x="2966" y="155"/>
                      <a:pt x="2976" y="136"/>
                      <a:pt x="2976" y="136"/>
                    </a:cubicBezTo>
                    <a:cubicBezTo>
                      <a:pt x="2976" y="128"/>
                      <a:pt x="2976" y="128"/>
                      <a:pt x="2976" y="128"/>
                    </a:cubicBezTo>
                    <a:cubicBezTo>
                      <a:pt x="2990" y="117"/>
                      <a:pt x="2990" y="117"/>
                      <a:pt x="2990" y="117"/>
                    </a:cubicBezTo>
                    <a:cubicBezTo>
                      <a:pt x="2992" y="111"/>
                      <a:pt x="2992" y="111"/>
                      <a:pt x="2992" y="111"/>
                    </a:cubicBezTo>
                    <a:cubicBezTo>
                      <a:pt x="2982" y="106"/>
                      <a:pt x="2982" y="106"/>
                      <a:pt x="2982" y="106"/>
                    </a:cubicBezTo>
                    <a:lnTo>
                      <a:pt x="2964" y="107"/>
                    </a:lnTo>
                    <a:close/>
                    <a:moveTo>
                      <a:pt x="106" y="2472"/>
                    </a:moveTo>
                    <a:cubicBezTo>
                      <a:pt x="90" y="2439"/>
                      <a:pt x="90" y="2439"/>
                      <a:pt x="90" y="2439"/>
                    </a:cubicBezTo>
                    <a:cubicBezTo>
                      <a:pt x="67" y="2439"/>
                      <a:pt x="67" y="2439"/>
                      <a:pt x="67" y="2439"/>
                    </a:cubicBezTo>
                    <a:cubicBezTo>
                      <a:pt x="67" y="2439"/>
                      <a:pt x="44" y="2431"/>
                      <a:pt x="36" y="2423"/>
                    </a:cubicBezTo>
                    <a:cubicBezTo>
                      <a:pt x="32" y="2430"/>
                      <a:pt x="32" y="2439"/>
                      <a:pt x="32" y="2444"/>
                    </a:cubicBezTo>
                    <a:cubicBezTo>
                      <a:pt x="32" y="2451"/>
                      <a:pt x="21" y="2450"/>
                      <a:pt x="10" y="2467"/>
                    </a:cubicBezTo>
                    <a:cubicBezTo>
                      <a:pt x="0" y="2483"/>
                      <a:pt x="10" y="2504"/>
                      <a:pt x="11" y="2517"/>
                    </a:cubicBezTo>
                    <a:cubicBezTo>
                      <a:pt x="12" y="2529"/>
                      <a:pt x="31" y="2534"/>
                      <a:pt x="32" y="2544"/>
                    </a:cubicBezTo>
                    <a:cubicBezTo>
                      <a:pt x="33" y="2554"/>
                      <a:pt x="21" y="2559"/>
                      <a:pt x="21" y="2559"/>
                    </a:cubicBezTo>
                    <a:cubicBezTo>
                      <a:pt x="23" y="2587"/>
                      <a:pt x="23" y="2587"/>
                      <a:pt x="23" y="2587"/>
                    </a:cubicBezTo>
                    <a:cubicBezTo>
                      <a:pt x="23" y="2587"/>
                      <a:pt x="12" y="2591"/>
                      <a:pt x="11" y="2594"/>
                    </a:cubicBezTo>
                    <a:cubicBezTo>
                      <a:pt x="10" y="2597"/>
                      <a:pt x="4" y="2611"/>
                      <a:pt x="4" y="2611"/>
                    </a:cubicBezTo>
                    <a:cubicBezTo>
                      <a:pt x="4" y="2611"/>
                      <a:pt x="6" y="2621"/>
                      <a:pt x="20" y="2622"/>
                    </a:cubicBezTo>
                    <a:cubicBezTo>
                      <a:pt x="34" y="2623"/>
                      <a:pt x="32" y="2617"/>
                      <a:pt x="38" y="2611"/>
                    </a:cubicBezTo>
                    <a:cubicBezTo>
                      <a:pt x="44" y="2605"/>
                      <a:pt x="48" y="2613"/>
                      <a:pt x="48" y="2613"/>
                    </a:cubicBezTo>
                    <a:cubicBezTo>
                      <a:pt x="58" y="2615"/>
                      <a:pt x="58" y="2615"/>
                      <a:pt x="58" y="2615"/>
                    </a:cubicBezTo>
                    <a:cubicBezTo>
                      <a:pt x="62" y="2610"/>
                      <a:pt x="62" y="2610"/>
                      <a:pt x="62" y="2610"/>
                    </a:cubicBezTo>
                    <a:cubicBezTo>
                      <a:pt x="62" y="2610"/>
                      <a:pt x="66" y="2618"/>
                      <a:pt x="66" y="2619"/>
                    </a:cubicBezTo>
                    <a:cubicBezTo>
                      <a:pt x="72" y="2619"/>
                      <a:pt x="87" y="2613"/>
                      <a:pt x="87" y="2613"/>
                    </a:cubicBezTo>
                    <a:cubicBezTo>
                      <a:pt x="104" y="2599"/>
                      <a:pt x="105" y="2580"/>
                      <a:pt x="108" y="2570"/>
                    </a:cubicBezTo>
                    <a:cubicBezTo>
                      <a:pt x="111" y="2560"/>
                      <a:pt x="120" y="2545"/>
                      <a:pt x="127" y="2539"/>
                    </a:cubicBezTo>
                    <a:cubicBezTo>
                      <a:pt x="134" y="2533"/>
                      <a:pt x="139" y="2516"/>
                      <a:pt x="139" y="2516"/>
                    </a:cubicBezTo>
                    <a:cubicBezTo>
                      <a:pt x="137" y="2511"/>
                      <a:pt x="125" y="2479"/>
                      <a:pt x="125" y="2479"/>
                    </a:cubicBezTo>
                    <a:lnTo>
                      <a:pt x="106" y="2472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2" name="Freeform 329">
                <a:extLst>
                  <a:ext uri="{FF2B5EF4-FFF2-40B4-BE49-F238E27FC236}">
                    <a16:creationId xmlns:a16="http://schemas.microsoft.com/office/drawing/2014/main" id="{D5A68A0F-DB71-8CA0-7AE2-789A205324E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4647" y="-7171"/>
                <a:ext cx="1793" cy="1611"/>
              </a:xfrm>
              <a:custGeom>
                <a:avLst/>
                <a:gdLst>
                  <a:gd name="T0" fmla="*/ 725 w 759"/>
                  <a:gd name="T1" fmla="*/ 254 h 682"/>
                  <a:gd name="T2" fmla="*/ 696 w 759"/>
                  <a:gd name="T3" fmla="*/ 278 h 682"/>
                  <a:gd name="T4" fmla="*/ 673 w 759"/>
                  <a:gd name="T5" fmla="*/ 221 h 682"/>
                  <a:gd name="T6" fmla="*/ 708 w 759"/>
                  <a:gd name="T7" fmla="*/ 206 h 682"/>
                  <a:gd name="T8" fmla="*/ 727 w 759"/>
                  <a:gd name="T9" fmla="*/ 125 h 682"/>
                  <a:gd name="T10" fmla="*/ 696 w 759"/>
                  <a:gd name="T11" fmla="*/ 15 h 682"/>
                  <a:gd name="T12" fmla="*/ 649 w 759"/>
                  <a:gd name="T13" fmla="*/ 8 h 682"/>
                  <a:gd name="T14" fmla="*/ 586 w 759"/>
                  <a:gd name="T15" fmla="*/ 2 h 682"/>
                  <a:gd name="T16" fmla="*/ 549 w 759"/>
                  <a:gd name="T17" fmla="*/ 25 h 682"/>
                  <a:gd name="T18" fmla="*/ 495 w 759"/>
                  <a:gd name="T19" fmla="*/ 77 h 682"/>
                  <a:gd name="T20" fmla="*/ 461 w 759"/>
                  <a:gd name="T21" fmla="*/ 137 h 682"/>
                  <a:gd name="T22" fmla="*/ 436 w 759"/>
                  <a:gd name="T23" fmla="*/ 152 h 682"/>
                  <a:gd name="T24" fmla="*/ 402 w 759"/>
                  <a:gd name="T25" fmla="*/ 192 h 682"/>
                  <a:gd name="T26" fmla="*/ 364 w 759"/>
                  <a:gd name="T27" fmla="*/ 190 h 682"/>
                  <a:gd name="T28" fmla="*/ 337 w 759"/>
                  <a:gd name="T29" fmla="*/ 179 h 682"/>
                  <a:gd name="T30" fmla="*/ 290 w 759"/>
                  <a:gd name="T31" fmla="*/ 212 h 682"/>
                  <a:gd name="T32" fmla="*/ 263 w 759"/>
                  <a:gd name="T33" fmla="*/ 240 h 682"/>
                  <a:gd name="T34" fmla="*/ 244 w 759"/>
                  <a:gd name="T35" fmla="*/ 251 h 682"/>
                  <a:gd name="T36" fmla="*/ 193 w 759"/>
                  <a:gd name="T37" fmla="*/ 231 h 682"/>
                  <a:gd name="T38" fmla="*/ 196 w 759"/>
                  <a:gd name="T39" fmla="*/ 189 h 682"/>
                  <a:gd name="T40" fmla="*/ 166 w 759"/>
                  <a:gd name="T41" fmla="*/ 143 h 682"/>
                  <a:gd name="T42" fmla="*/ 142 w 759"/>
                  <a:gd name="T43" fmla="*/ 343 h 682"/>
                  <a:gd name="T44" fmla="*/ 129 w 759"/>
                  <a:gd name="T45" fmla="*/ 353 h 682"/>
                  <a:gd name="T46" fmla="*/ 114 w 759"/>
                  <a:gd name="T47" fmla="*/ 367 h 682"/>
                  <a:gd name="T48" fmla="*/ 88 w 759"/>
                  <a:gd name="T49" fmla="*/ 369 h 682"/>
                  <a:gd name="T50" fmla="*/ 65 w 759"/>
                  <a:gd name="T51" fmla="*/ 357 h 682"/>
                  <a:gd name="T52" fmla="*/ 41 w 759"/>
                  <a:gd name="T53" fmla="*/ 330 h 682"/>
                  <a:gd name="T54" fmla="*/ 12 w 759"/>
                  <a:gd name="T55" fmla="*/ 340 h 682"/>
                  <a:gd name="T56" fmla="*/ 0 w 759"/>
                  <a:gd name="T57" fmla="*/ 345 h 682"/>
                  <a:gd name="T58" fmla="*/ 31 w 759"/>
                  <a:gd name="T59" fmla="*/ 407 h 682"/>
                  <a:gd name="T60" fmla="*/ 83 w 759"/>
                  <a:gd name="T61" fmla="*/ 523 h 682"/>
                  <a:gd name="T62" fmla="*/ 61 w 759"/>
                  <a:gd name="T63" fmla="*/ 572 h 682"/>
                  <a:gd name="T64" fmla="*/ 81 w 759"/>
                  <a:gd name="T65" fmla="*/ 649 h 682"/>
                  <a:gd name="T66" fmla="*/ 103 w 759"/>
                  <a:gd name="T67" fmla="*/ 650 h 682"/>
                  <a:gd name="T68" fmla="*/ 145 w 759"/>
                  <a:gd name="T69" fmla="*/ 679 h 682"/>
                  <a:gd name="T70" fmla="*/ 233 w 759"/>
                  <a:gd name="T71" fmla="*/ 662 h 682"/>
                  <a:gd name="T72" fmla="*/ 292 w 759"/>
                  <a:gd name="T73" fmla="*/ 646 h 682"/>
                  <a:gd name="T74" fmla="*/ 366 w 759"/>
                  <a:gd name="T75" fmla="*/ 646 h 682"/>
                  <a:gd name="T76" fmla="*/ 406 w 759"/>
                  <a:gd name="T77" fmla="*/ 637 h 682"/>
                  <a:gd name="T78" fmla="*/ 473 w 759"/>
                  <a:gd name="T79" fmla="*/ 617 h 682"/>
                  <a:gd name="T80" fmla="*/ 538 w 759"/>
                  <a:gd name="T81" fmla="*/ 565 h 682"/>
                  <a:gd name="T82" fmla="*/ 615 w 759"/>
                  <a:gd name="T83" fmla="*/ 500 h 682"/>
                  <a:gd name="T84" fmla="*/ 686 w 759"/>
                  <a:gd name="T85" fmla="*/ 379 h 682"/>
                  <a:gd name="T86" fmla="*/ 748 w 759"/>
                  <a:gd name="T87" fmla="*/ 297 h 682"/>
                  <a:gd name="T88" fmla="*/ 746 w 759"/>
                  <a:gd name="T89" fmla="*/ 250 h 682"/>
                  <a:gd name="T90" fmla="*/ 563 w 759"/>
                  <a:gd name="T91" fmla="*/ 428 h 682"/>
                  <a:gd name="T92" fmla="*/ 531 w 759"/>
                  <a:gd name="T93" fmla="*/ 456 h 682"/>
                  <a:gd name="T94" fmla="*/ 498 w 759"/>
                  <a:gd name="T95" fmla="*/ 437 h 682"/>
                  <a:gd name="T96" fmla="*/ 481 w 759"/>
                  <a:gd name="T97" fmla="*/ 401 h 682"/>
                  <a:gd name="T98" fmla="*/ 500 w 759"/>
                  <a:gd name="T99" fmla="*/ 389 h 682"/>
                  <a:gd name="T100" fmla="*/ 519 w 759"/>
                  <a:gd name="T101" fmla="*/ 362 h 682"/>
                  <a:gd name="T102" fmla="*/ 535 w 759"/>
                  <a:gd name="T103" fmla="*/ 351 h 682"/>
                  <a:gd name="T104" fmla="*/ 564 w 759"/>
                  <a:gd name="T105" fmla="*/ 349 h 682"/>
                  <a:gd name="T106" fmla="*/ 591 w 759"/>
                  <a:gd name="T107" fmla="*/ 377 h 682"/>
                  <a:gd name="T108" fmla="*/ 577 w 759"/>
                  <a:gd name="T109" fmla="*/ 406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59" h="682">
                    <a:moveTo>
                      <a:pt x="746" y="250"/>
                    </a:moveTo>
                    <a:cubicBezTo>
                      <a:pt x="738" y="246"/>
                      <a:pt x="725" y="254"/>
                      <a:pt x="725" y="254"/>
                    </a:cubicBezTo>
                    <a:cubicBezTo>
                      <a:pt x="718" y="279"/>
                      <a:pt x="718" y="279"/>
                      <a:pt x="718" y="279"/>
                    </a:cubicBezTo>
                    <a:cubicBezTo>
                      <a:pt x="718" y="279"/>
                      <a:pt x="703" y="278"/>
                      <a:pt x="696" y="278"/>
                    </a:cubicBezTo>
                    <a:cubicBezTo>
                      <a:pt x="689" y="278"/>
                      <a:pt x="666" y="262"/>
                      <a:pt x="664" y="250"/>
                    </a:cubicBezTo>
                    <a:cubicBezTo>
                      <a:pt x="662" y="238"/>
                      <a:pt x="670" y="225"/>
                      <a:pt x="673" y="221"/>
                    </a:cubicBezTo>
                    <a:cubicBezTo>
                      <a:pt x="676" y="217"/>
                      <a:pt x="682" y="192"/>
                      <a:pt x="689" y="192"/>
                    </a:cubicBezTo>
                    <a:cubicBezTo>
                      <a:pt x="696" y="192"/>
                      <a:pt x="708" y="206"/>
                      <a:pt x="708" y="206"/>
                    </a:cubicBezTo>
                    <a:cubicBezTo>
                      <a:pt x="726" y="182"/>
                      <a:pt x="726" y="182"/>
                      <a:pt x="726" y="182"/>
                    </a:cubicBezTo>
                    <a:cubicBezTo>
                      <a:pt x="726" y="182"/>
                      <a:pt x="726" y="134"/>
                      <a:pt x="727" y="125"/>
                    </a:cubicBezTo>
                    <a:cubicBezTo>
                      <a:pt x="728" y="116"/>
                      <a:pt x="707" y="84"/>
                      <a:pt x="705" y="75"/>
                    </a:cubicBezTo>
                    <a:cubicBezTo>
                      <a:pt x="703" y="66"/>
                      <a:pt x="696" y="15"/>
                      <a:pt x="696" y="15"/>
                    </a:cubicBezTo>
                    <a:cubicBezTo>
                      <a:pt x="684" y="8"/>
                      <a:pt x="684" y="8"/>
                      <a:pt x="684" y="8"/>
                    </a:cubicBezTo>
                    <a:cubicBezTo>
                      <a:pt x="684" y="8"/>
                      <a:pt x="657" y="9"/>
                      <a:pt x="649" y="8"/>
                    </a:cubicBezTo>
                    <a:cubicBezTo>
                      <a:pt x="641" y="7"/>
                      <a:pt x="625" y="0"/>
                      <a:pt x="625" y="0"/>
                    </a:cubicBezTo>
                    <a:cubicBezTo>
                      <a:pt x="586" y="2"/>
                      <a:pt x="586" y="2"/>
                      <a:pt x="586" y="2"/>
                    </a:cubicBezTo>
                    <a:cubicBezTo>
                      <a:pt x="578" y="18"/>
                      <a:pt x="578" y="18"/>
                      <a:pt x="578" y="18"/>
                    </a:cubicBezTo>
                    <a:cubicBezTo>
                      <a:pt x="578" y="18"/>
                      <a:pt x="554" y="19"/>
                      <a:pt x="549" y="25"/>
                    </a:cubicBezTo>
                    <a:cubicBezTo>
                      <a:pt x="544" y="31"/>
                      <a:pt x="530" y="57"/>
                      <a:pt x="519" y="64"/>
                    </a:cubicBezTo>
                    <a:cubicBezTo>
                      <a:pt x="508" y="71"/>
                      <a:pt x="505" y="70"/>
                      <a:pt x="495" y="77"/>
                    </a:cubicBezTo>
                    <a:cubicBezTo>
                      <a:pt x="485" y="84"/>
                      <a:pt x="484" y="107"/>
                      <a:pt x="484" y="113"/>
                    </a:cubicBezTo>
                    <a:cubicBezTo>
                      <a:pt x="484" y="119"/>
                      <a:pt x="461" y="137"/>
                      <a:pt x="461" y="137"/>
                    </a:cubicBezTo>
                    <a:cubicBezTo>
                      <a:pt x="450" y="140"/>
                      <a:pt x="450" y="140"/>
                      <a:pt x="450" y="140"/>
                    </a:cubicBezTo>
                    <a:cubicBezTo>
                      <a:pt x="436" y="152"/>
                      <a:pt x="436" y="152"/>
                      <a:pt x="436" y="152"/>
                    </a:cubicBezTo>
                    <a:cubicBezTo>
                      <a:pt x="436" y="152"/>
                      <a:pt x="432" y="185"/>
                      <a:pt x="421" y="192"/>
                    </a:cubicBezTo>
                    <a:cubicBezTo>
                      <a:pt x="410" y="199"/>
                      <a:pt x="402" y="192"/>
                      <a:pt x="402" y="192"/>
                    </a:cubicBezTo>
                    <a:cubicBezTo>
                      <a:pt x="402" y="192"/>
                      <a:pt x="399" y="197"/>
                      <a:pt x="389" y="199"/>
                    </a:cubicBezTo>
                    <a:cubicBezTo>
                      <a:pt x="379" y="201"/>
                      <a:pt x="364" y="190"/>
                      <a:pt x="364" y="190"/>
                    </a:cubicBezTo>
                    <a:cubicBezTo>
                      <a:pt x="347" y="189"/>
                      <a:pt x="347" y="189"/>
                      <a:pt x="347" y="189"/>
                    </a:cubicBezTo>
                    <a:cubicBezTo>
                      <a:pt x="337" y="179"/>
                      <a:pt x="337" y="179"/>
                      <a:pt x="337" y="179"/>
                    </a:cubicBezTo>
                    <a:cubicBezTo>
                      <a:pt x="337" y="179"/>
                      <a:pt x="321" y="167"/>
                      <a:pt x="308" y="167"/>
                    </a:cubicBezTo>
                    <a:cubicBezTo>
                      <a:pt x="295" y="167"/>
                      <a:pt x="290" y="205"/>
                      <a:pt x="290" y="212"/>
                    </a:cubicBezTo>
                    <a:cubicBezTo>
                      <a:pt x="290" y="219"/>
                      <a:pt x="279" y="217"/>
                      <a:pt x="272" y="220"/>
                    </a:cubicBezTo>
                    <a:cubicBezTo>
                      <a:pt x="265" y="223"/>
                      <a:pt x="263" y="240"/>
                      <a:pt x="263" y="240"/>
                    </a:cubicBezTo>
                    <a:cubicBezTo>
                      <a:pt x="263" y="240"/>
                      <a:pt x="253" y="238"/>
                      <a:pt x="249" y="239"/>
                    </a:cubicBezTo>
                    <a:cubicBezTo>
                      <a:pt x="245" y="240"/>
                      <a:pt x="244" y="251"/>
                      <a:pt x="244" y="251"/>
                    </a:cubicBezTo>
                    <a:cubicBezTo>
                      <a:pt x="244" y="251"/>
                      <a:pt x="198" y="256"/>
                      <a:pt x="193" y="253"/>
                    </a:cubicBezTo>
                    <a:cubicBezTo>
                      <a:pt x="188" y="250"/>
                      <a:pt x="193" y="231"/>
                      <a:pt x="193" y="231"/>
                    </a:cubicBezTo>
                    <a:cubicBezTo>
                      <a:pt x="193" y="231"/>
                      <a:pt x="201" y="218"/>
                      <a:pt x="203" y="209"/>
                    </a:cubicBezTo>
                    <a:cubicBezTo>
                      <a:pt x="205" y="200"/>
                      <a:pt x="196" y="189"/>
                      <a:pt x="196" y="189"/>
                    </a:cubicBezTo>
                    <a:cubicBezTo>
                      <a:pt x="196" y="189"/>
                      <a:pt x="197" y="179"/>
                      <a:pt x="188" y="160"/>
                    </a:cubicBezTo>
                    <a:cubicBezTo>
                      <a:pt x="184" y="152"/>
                      <a:pt x="175" y="147"/>
                      <a:pt x="166" y="143"/>
                    </a:cubicBezTo>
                    <a:cubicBezTo>
                      <a:pt x="163" y="339"/>
                      <a:pt x="163" y="339"/>
                      <a:pt x="163" y="339"/>
                    </a:cubicBezTo>
                    <a:cubicBezTo>
                      <a:pt x="163" y="339"/>
                      <a:pt x="149" y="340"/>
                      <a:pt x="142" y="343"/>
                    </a:cubicBezTo>
                    <a:cubicBezTo>
                      <a:pt x="135" y="346"/>
                      <a:pt x="137" y="351"/>
                      <a:pt x="137" y="351"/>
                    </a:cubicBezTo>
                    <a:cubicBezTo>
                      <a:pt x="129" y="353"/>
                      <a:pt x="129" y="353"/>
                      <a:pt x="129" y="353"/>
                    </a:cubicBezTo>
                    <a:cubicBezTo>
                      <a:pt x="129" y="353"/>
                      <a:pt x="132" y="367"/>
                      <a:pt x="126" y="367"/>
                    </a:cubicBezTo>
                    <a:cubicBezTo>
                      <a:pt x="121" y="367"/>
                      <a:pt x="114" y="367"/>
                      <a:pt x="114" y="367"/>
                    </a:cubicBezTo>
                    <a:cubicBezTo>
                      <a:pt x="114" y="367"/>
                      <a:pt x="110" y="361"/>
                      <a:pt x="102" y="361"/>
                    </a:cubicBezTo>
                    <a:cubicBezTo>
                      <a:pt x="94" y="361"/>
                      <a:pt x="88" y="369"/>
                      <a:pt x="88" y="369"/>
                    </a:cubicBezTo>
                    <a:cubicBezTo>
                      <a:pt x="76" y="369"/>
                      <a:pt x="76" y="369"/>
                      <a:pt x="76" y="369"/>
                    </a:cubicBezTo>
                    <a:cubicBezTo>
                      <a:pt x="76" y="369"/>
                      <a:pt x="72" y="361"/>
                      <a:pt x="65" y="357"/>
                    </a:cubicBezTo>
                    <a:cubicBezTo>
                      <a:pt x="58" y="353"/>
                      <a:pt x="49" y="359"/>
                      <a:pt x="45" y="352"/>
                    </a:cubicBezTo>
                    <a:cubicBezTo>
                      <a:pt x="40" y="345"/>
                      <a:pt x="41" y="330"/>
                      <a:pt x="41" y="330"/>
                    </a:cubicBezTo>
                    <a:cubicBezTo>
                      <a:pt x="41" y="330"/>
                      <a:pt x="31" y="318"/>
                      <a:pt x="27" y="317"/>
                    </a:cubicBezTo>
                    <a:cubicBezTo>
                      <a:pt x="23" y="316"/>
                      <a:pt x="12" y="340"/>
                      <a:pt x="12" y="340"/>
                    </a:cubicBez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45"/>
                      <a:pt x="0" y="345"/>
                      <a:pt x="0" y="345"/>
                    </a:cubicBezTo>
                    <a:cubicBezTo>
                      <a:pt x="0" y="345"/>
                      <a:pt x="7" y="368"/>
                      <a:pt x="11" y="372"/>
                    </a:cubicBezTo>
                    <a:cubicBezTo>
                      <a:pt x="15" y="376"/>
                      <a:pt x="31" y="394"/>
                      <a:pt x="31" y="407"/>
                    </a:cubicBezTo>
                    <a:cubicBezTo>
                      <a:pt x="31" y="420"/>
                      <a:pt x="28" y="446"/>
                      <a:pt x="38" y="461"/>
                    </a:cubicBezTo>
                    <a:cubicBezTo>
                      <a:pt x="48" y="476"/>
                      <a:pt x="83" y="509"/>
                      <a:pt x="83" y="523"/>
                    </a:cubicBezTo>
                    <a:cubicBezTo>
                      <a:pt x="83" y="537"/>
                      <a:pt x="82" y="564"/>
                      <a:pt x="78" y="568"/>
                    </a:cubicBezTo>
                    <a:cubicBezTo>
                      <a:pt x="74" y="572"/>
                      <a:pt x="62" y="564"/>
                      <a:pt x="61" y="572"/>
                    </a:cubicBezTo>
                    <a:cubicBezTo>
                      <a:pt x="60" y="580"/>
                      <a:pt x="63" y="588"/>
                      <a:pt x="73" y="605"/>
                    </a:cubicBezTo>
                    <a:cubicBezTo>
                      <a:pt x="83" y="622"/>
                      <a:pt x="75" y="641"/>
                      <a:pt x="81" y="649"/>
                    </a:cubicBezTo>
                    <a:cubicBezTo>
                      <a:pt x="87" y="657"/>
                      <a:pt x="84" y="646"/>
                      <a:pt x="90" y="643"/>
                    </a:cubicBezTo>
                    <a:cubicBezTo>
                      <a:pt x="96" y="640"/>
                      <a:pt x="103" y="650"/>
                      <a:pt x="103" y="650"/>
                    </a:cubicBezTo>
                    <a:cubicBezTo>
                      <a:pt x="121" y="656"/>
                      <a:pt x="121" y="656"/>
                      <a:pt x="121" y="656"/>
                    </a:cubicBezTo>
                    <a:cubicBezTo>
                      <a:pt x="121" y="656"/>
                      <a:pt x="126" y="682"/>
                      <a:pt x="145" y="679"/>
                    </a:cubicBezTo>
                    <a:cubicBezTo>
                      <a:pt x="164" y="676"/>
                      <a:pt x="165" y="662"/>
                      <a:pt x="177" y="658"/>
                    </a:cubicBezTo>
                    <a:cubicBezTo>
                      <a:pt x="189" y="654"/>
                      <a:pt x="224" y="665"/>
                      <a:pt x="233" y="662"/>
                    </a:cubicBezTo>
                    <a:cubicBezTo>
                      <a:pt x="242" y="659"/>
                      <a:pt x="238" y="638"/>
                      <a:pt x="261" y="638"/>
                    </a:cubicBezTo>
                    <a:cubicBezTo>
                      <a:pt x="284" y="638"/>
                      <a:pt x="292" y="646"/>
                      <a:pt x="292" y="646"/>
                    </a:cubicBezTo>
                    <a:cubicBezTo>
                      <a:pt x="292" y="646"/>
                      <a:pt x="303" y="635"/>
                      <a:pt x="326" y="636"/>
                    </a:cubicBezTo>
                    <a:cubicBezTo>
                      <a:pt x="349" y="637"/>
                      <a:pt x="361" y="647"/>
                      <a:pt x="366" y="646"/>
                    </a:cubicBezTo>
                    <a:cubicBezTo>
                      <a:pt x="371" y="645"/>
                      <a:pt x="383" y="635"/>
                      <a:pt x="383" y="635"/>
                    </a:cubicBezTo>
                    <a:cubicBezTo>
                      <a:pt x="383" y="635"/>
                      <a:pt x="397" y="642"/>
                      <a:pt x="406" y="637"/>
                    </a:cubicBezTo>
                    <a:cubicBezTo>
                      <a:pt x="415" y="632"/>
                      <a:pt x="427" y="624"/>
                      <a:pt x="427" y="624"/>
                    </a:cubicBezTo>
                    <a:cubicBezTo>
                      <a:pt x="427" y="624"/>
                      <a:pt x="451" y="632"/>
                      <a:pt x="473" y="617"/>
                    </a:cubicBezTo>
                    <a:cubicBezTo>
                      <a:pt x="495" y="602"/>
                      <a:pt x="525" y="573"/>
                      <a:pt x="525" y="573"/>
                    </a:cubicBezTo>
                    <a:cubicBezTo>
                      <a:pt x="538" y="565"/>
                      <a:pt x="538" y="565"/>
                      <a:pt x="538" y="565"/>
                    </a:cubicBezTo>
                    <a:cubicBezTo>
                      <a:pt x="600" y="499"/>
                      <a:pt x="600" y="499"/>
                      <a:pt x="600" y="499"/>
                    </a:cubicBezTo>
                    <a:cubicBezTo>
                      <a:pt x="615" y="500"/>
                      <a:pt x="615" y="500"/>
                      <a:pt x="615" y="500"/>
                    </a:cubicBezTo>
                    <a:cubicBezTo>
                      <a:pt x="615" y="500"/>
                      <a:pt x="652" y="449"/>
                      <a:pt x="656" y="435"/>
                    </a:cubicBezTo>
                    <a:cubicBezTo>
                      <a:pt x="660" y="421"/>
                      <a:pt x="677" y="385"/>
                      <a:pt x="686" y="379"/>
                    </a:cubicBezTo>
                    <a:cubicBezTo>
                      <a:pt x="695" y="373"/>
                      <a:pt x="726" y="360"/>
                      <a:pt x="729" y="349"/>
                    </a:cubicBezTo>
                    <a:cubicBezTo>
                      <a:pt x="732" y="338"/>
                      <a:pt x="748" y="297"/>
                      <a:pt x="748" y="297"/>
                    </a:cubicBezTo>
                    <a:cubicBezTo>
                      <a:pt x="748" y="297"/>
                      <a:pt x="754" y="280"/>
                      <a:pt x="759" y="264"/>
                    </a:cubicBezTo>
                    <a:cubicBezTo>
                      <a:pt x="755" y="258"/>
                      <a:pt x="750" y="252"/>
                      <a:pt x="746" y="250"/>
                    </a:cubicBezTo>
                    <a:close/>
                    <a:moveTo>
                      <a:pt x="580" y="418"/>
                    </a:moveTo>
                    <a:cubicBezTo>
                      <a:pt x="580" y="418"/>
                      <a:pt x="571" y="426"/>
                      <a:pt x="563" y="428"/>
                    </a:cubicBezTo>
                    <a:cubicBezTo>
                      <a:pt x="555" y="430"/>
                      <a:pt x="552" y="428"/>
                      <a:pt x="542" y="432"/>
                    </a:cubicBezTo>
                    <a:cubicBezTo>
                      <a:pt x="532" y="436"/>
                      <a:pt x="531" y="456"/>
                      <a:pt x="531" y="456"/>
                    </a:cubicBezTo>
                    <a:cubicBezTo>
                      <a:pt x="516" y="457"/>
                      <a:pt x="516" y="457"/>
                      <a:pt x="516" y="457"/>
                    </a:cubicBezTo>
                    <a:cubicBezTo>
                      <a:pt x="498" y="437"/>
                      <a:pt x="498" y="437"/>
                      <a:pt x="498" y="437"/>
                    </a:cubicBezTo>
                    <a:cubicBezTo>
                      <a:pt x="498" y="426"/>
                      <a:pt x="498" y="426"/>
                      <a:pt x="498" y="426"/>
                    </a:cubicBezTo>
                    <a:cubicBezTo>
                      <a:pt x="481" y="401"/>
                      <a:pt x="481" y="401"/>
                      <a:pt x="481" y="401"/>
                    </a:cubicBezTo>
                    <a:cubicBezTo>
                      <a:pt x="498" y="399"/>
                      <a:pt x="498" y="399"/>
                      <a:pt x="498" y="399"/>
                    </a:cubicBezTo>
                    <a:cubicBezTo>
                      <a:pt x="500" y="389"/>
                      <a:pt x="500" y="389"/>
                      <a:pt x="500" y="389"/>
                    </a:cubicBezTo>
                    <a:cubicBezTo>
                      <a:pt x="512" y="376"/>
                      <a:pt x="512" y="376"/>
                      <a:pt x="512" y="376"/>
                    </a:cubicBezTo>
                    <a:cubicBezTo>
                      <a:pt x="512" y="376"/>
                      <a:pt x="514" y="366"/>
                      <a:pt x="519" y="362"/>
                    </a:cubicBezTo>
                    <a:cubicBezTo>
                      <a:pt x="524" y="358"/>
                      <a:pt x="534" y="361"/>
                      <a:pt x="534" y="361"/>
                    </a:cubicBezTo>
                    <a:cubicBezTo>
                      <a:pt x="535" y="351"/>
                      <a:pt x="535" y="351"/>
                      <a:pt x="535" y="351"/>
                    </a:cubicBezTo>
                    <a:cubicBezTo>
                      <a:pt x="543" y="348"/>
                      <a:pt x="543" y="348"/>
                      <a:pt x="543" y="348"/>
                    </a:cubicBezTo>
                    <a:cubicBezTo>
                      <a:pt x="543" y="348"/>
                      <a:pt x="559" y="343"/>
                      <a:pt x="564" y="349"/>
                    </a:cubicBezTo>
                    <a:cubicBezTo>
                      <a:pt x="569" y="355"/>
                      <a:pt x="581" y="374"/>
                      <a:pt x="581" y="374"/>
                    </a:cubicBezTo>
                    <a:cubicBezTo>
                      <a:pt x="591" y="377"/>
                      <a:pt x="591" y="377"/>
                      <a:pt x="591" y="377"/>
                    </a:cubicBezTo>
                    <a:cubicBezTo>
                      <a:pt x="592" y="393"/>
                      <a:pt x="592" y="393"/>
                      <a:pt x="592" y="393"/>
                    </a:cubicBezTo>
                    <a:cubicBezTo>
                      <a:pt x="577" y="406"/>
                      <a:pt x="577" y="406"/>
                      <a:pt x="577" y="406"/>
                    </a:cubicBezTo>
                    <a:lnTo>
                      <a:pt x="580" y="41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3" name="Freeform 330">
                <a:extLst>
                  <a:ext uri="{FF2B5EF4-FFF2-40B4-BE49-F238E27FC236}">
                    <a16:creationId xmlns:a16="http://schemas.microsoft.com/office/drawing/2014/main" id="{ED9663FF-391E-4789-20D8-26B2B83AC27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7066" y="-17600"/>
                <a:ext cx="933" cy="1297"/>
              </a:xfrm>
              <a:custGeom>
                <a:avLst/>
                <a:gdLst>
                  <a:gd name="T0" fmla="*/ 118 w 395"/>
                  <a:gd name="T1" fmla="*/ 256 h 549"/>
                  <a:gd name="T2" fmla="*/ 111 w 395"/>
                  <a:gd name="T3" fmla="*/ 221 h 549"/>
                  <a:gd name="T4" fmla="*/ 98 w 395"/>
                  <a:gd name="T5" fmla="*/ 248 h 549"/>
                  <a:gd name="T6" fmla="*/ 222 w 395"/>
                  <a:gd name="T7" fmla="*/ 93 h 549"/>
                  <a:gd name="T8" fmla="*/ 97 w 395"/>
                  <a:gd name="T9" fmla="*/ 159 h 549"/>
                  <a:gd name="T10" fmla="*/ 93 w 395"/>
                  <a:gd name="T11" fmla="*/ 183 h 549"/>
                  <a:gd name="T12" fmla="*/ 325 w 395"/>
                  <a:gd name="T13" fmla="*/ 1 h 549"/>
                  <a:gd name="T14" fmla="*/ 296 w 395"/>
                  <a:gd name="T15" fmla="*/ 36 h 549"/>
                  <a:gd name="T16" fmla="*/ 301 w 395"/>
                  <a:gd name="T17" fmla="*/ 12 h 549"/>
                  <a:gd name="T18" fmla="*/ 296 w 395"/>
                  <a:gd name="T19" fmla="*/ 36 h 549"/>
                  <a:gd name="T20" fmla="*/ 246 w 395"/>
                  <a:gd name="T21" fmla="*/ 96 h 549"/>
                  <a:gd name="T22" fmla="*/ 128 w 395"/>
                  <a:gd name="T23" fmla="*/ 258 h 549"/>
                  <a:gd name="T24" fmla="*/ 331 w 395"/>
                  <a:gd name="T25" fmla="*/ 402 h 549"/>
                  <a:gd name="T26" fmla="*/ 330 w 395"/>
                  <a:gd name="T27" fmla="*/ 357 h 549"/>
                  <a:gd name="T28" fmla="*/ 291 w 395"/>
                  <a:gd name="T29" fmla="*/ 314 h 549"/>
                  <a:gd name="T30" fmla="*/ 265 w 395"/>
                  <a:gd name="T31" fmla="*/ 261 h 549"/>
                  <a:gd name="T32" fmla="*/ 191 w 395"/>
                  <a:gd name="T33" fmla="*/ 235 h 549"/>
                  <a:gd name="T34" fmla="*/ 214 w 395"/>
                  <a:gd name="T35" fmla="*/ 222 h 549"/>
                  <a:gd name="T36" fmla="*/ 261 w 395"/>
                  <a:gd name="T37" fmla="*/ 177 h 549"/>
                  <a:gd name="T38" fmla="*/ 211 w 395"/>
                  <a:gd name="T39" fmla="*/ 154 h 549"/>
                  <a:gd name="T40" fmla="*/ 179 w 395"/>
                  <a:gd name="T41" fmla="*/ 147 h 549"/>
                  <a:gd name="T42" fmla="*/ 224 w 395"/>
                  <a:gd name="T43" fmla="*/ 112 h 549"/>
                  <a:gd name="T44" fmla="*/ 153 w 395"/>
                  <a:gd name="T45" fmla="*/ 110 h 549"/>
                  <a:gd name="T46" fmla="*/ 144 w 395"/>
                  <a:gd name="T47" fmla="*/ 148 h 549"/>
                  <a:gd name="T48" fmla="*/ 121 w 395"/>
                  <a:gd name="T49" fmla="*/ 162 h 549"/>
                  <a:gd name="T50" fmla="*/ 116 w 395"/>
                  <a:gd name="T51" fmla="*/ 198 h 549"/>
                  <a:gd name="T52" fmla="*/ 134 w 395"/>
                  <a:gd name="T53" fmla="*/ 202 h 549"/>
                  <a:gd name="T54" fmla="*/ 116 w 395"/>
                  <a:gd name="T55" fmla="*/ 250 h 549"/>
                  <a:gd name="T56" fmla="*/ 144 w 395"/>
                  <a:gd name="T57" fmla="*/ 251 h 549"/>
                  <a:gd name="T58" fmla="*/ 146 w 395"/>
                  <a:gd name="T59" fmla="*/ 306 h 549"/>
                  <a:gd name="T60" fmla="*/ 211 w 395"/>
                  <a:gd name="T61" fmla="*/ 295 h 549"/>
                  <a:gd name="T62" fmla="*/ 216 w 395"/>
                  <a:gd name="T63" fmla="*/ 349 h 549"/>
                  <a:gd name="T64" fmla="*/ 162 w 395"/>
                  <a:gd name="T65" fmla="*/ 377 h 549"/>
                  <a:gd name="T66" fmla="*/ 135 w 395"/>
                  <a:gd name="T67" fmla="*/ 402 h 549"/>
                  <a:gd name="T68" fmla="*/ 117 w 395"/>
                  <a:gd name="T69" fmla="*/ 448 h 549"/>
                  <a:gd name="T70" fmla="*/ 151 w 395"/>
                  <a:gd name="T71" fmla="*/ 466 h 549"/>
                  <a:gd name="T72" fmla="*/ 202 w 395"/>
                  <a:gd name="T73" fmla="*/ 467 h 549"/>
                  <a:gd name="T74" fmla="*/ 156 w 395"/>
                  <a:gd name="T75" fmla="*/ 485 h 549"/>
                  <a:gd name="T76" fmla="*/ 129 w 395"/>
                  <a:gd name="T77" fmla="*/ 516 h 549"/>
                  <a:gd name="T78" fmla="*/ 83 w 395"/>
                  <a:gd name="T79" fmla="*/ 545 h 549"/>
                  <a:gd name="T80" fmla="*/ 147 w 395"/>
                  <a:gd name="T81" fmla="*/ 530 h 549"/>
                  <a:gd name="T82" fmla="*/ 211 w 395"/>
                  <a:gd name="T83" fmla="*/ 519 h 549"/>
                  <a:gd name="T84" fmla="*/ 273 w 395"/>
                  <a:gd name="T85" fmla="*/ 520 h 549"/>
                  <a:gd name="T86" fmla="*/ 293 w 395"/>
                  <a:gd name="T87" fmla="*/ 508 h 549"/>
                  <a:gd name="T88" fmla="*/ 340 w 395"/>
                  <a:gd name="T89" fmla="*/ 474 h 549"/>
                  <a:gd name="T90" fmla="*/ 375 w 395"/>
                  <a:gd name="T91" fmla="*/ 447 h 549"/>
                  <a:gd name="T92" fmla="*/ 157 w 395"/>
                  <a:gd name="T93" fmla="*/ 325 h 549"/>
                  <a:gd name="T94" fmla="*/ 94 w 395"/>
                  <a:gd name="T95" fmla="*/ 338 h 549"/>
                  <a:gd name="T96" fmla="*/ 110 w 395"/>
                  <a:gd name="T97" fmla="*/ 308 h 549"/>
                  <a:gd name="T98" fmla="*/ 86 w 395"/>
                  <a:gd name="T99" fmla="*/ 281 h 549"/>
                  <a:gd name="T100" fmla="*/ 58 w 395"/>
                  <a:gd name="T101" fmla="*/ 288 h 549"/>
                  <a:gd name="T102" fmla="*/ 13 w 395"/>
                  <a:gd name="T103" fmla="*/ 325 h 549"/>
                  <a:gd name="T104" fmla="*/ 67 w 395"/>
                  <a:gd name="T105" fmla="*/ 335 h 549"/>
                  <a:gd name="T106" fmla="*/ 63 w 395"/>
                  <a:gd name="T107" fmla="*/ 155 h 549"/>
                  <a:gd name="T108" fmla="*/ 63 w 395"/>
                  <a:gd name="T109" fmla="*/ 155 h 549"/>
                  <a:gd name="T110" fmla="*/ 108 w 395"/>
                  <a:gd name="T111" fmla="*/ 115 h 549"/>
                  <a:gd name="T112" fmla="*/ 72 w 395"/>
                  <a:gd name="T113" fmla="*/ 128 h 549"/>
                  <a:gd name="T114" fmla="*/ 57 w 395"/>
                  <a:gd name="T115" fmla="*/ 169 h 549"/>
                  <a:gd name="T116" fmla="*/ 57 w 395"/>
                  <a:gd name="T117" fmla="*/ 169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95" h="549">
                    <a:moveTo>
                      <a:pt x="118" y="256"/>
                    </a:moveTo>
                    <a:cubicBezTo>
                      <a:pt x="110" y="256"/>
                      <a:pt x="109" y="262"/>
                      <a:pt x="106" y="277"/>
                    </a:cubicBezTo>
                    <a:cubicBezTo>
                      <a:pt x="104" y="289"/>
                      <a:pt x="126" y="256"/>
                      <a:pt x="118" y="256"/>
                    </a:cubicBezTo>
                    <a:close/>
                    <a:moveTo>
                      <a:pt x="100" y="210"/>
                    </a:moveTo>
                    <a:cubicBezTo>
                      <a:pt x="96" y="210"/>
                      <a:pt x="90" y="222"/>
                      <a:pt x="94" y="225"/>
                    </a:cubicBezTo>
                    <a:cubicBezTo>
                      <a:pt x="98" y="228"/>
                      <a:pt x="111" y="221"/>
                      <a:pt x="111" y="221"/>
                    </a:cubicBezTo>
                    <a:cubicBezTo>
                      <a:pt x="111" y="221"/>
                      <a:pt x="104" y="210"/>
                      <a:pt x="100" y="210"/>
                    </a:cubicBezTo>
                    <a:close/>
                    <a:moveTo>
                      <a:pt x="87" y="261"/>
                    </a:moveTo>
                    <a:cubicBezTo>
                      <a:pt x="102" y="261"/>
                      <a:pt x="109" y="250"/>
                      <a:pt x="98" y="248"/>
                    </a:cubicBezTo>
                    <a:cubicBezTo>
                      <a:pt x="87" y="246"/>
                      <a:pt x="78" y="261"/>
                      <a:pt x="87" y="261"/>
                    </a:cubicBezTo>
                    <a:close/>
                    <a:moveTo>
                      <a:pt x="231" y="85"/>
                    </a:moveTo>
                    <a:cubicBezTo>
                      <a:pt x="223" y="78"/>
                      <a:pt x="222" y="93"/>
                      <a:pt x="222" y="93"/>
                    </a:cubicBezTo>
                    <a:cubicBezTo>
                      <a:pt x="229" y="99"/>
                      <a:pt x="239" y="92"/>
                      <a:pt x="231" y="85"/>
                    </a:cubicBezTo>
                    <a:close/>
                    <a:moveTo>
                      <a:pt x="103" y="176"/>
                    </a:moveTo>
                    <a:cubicBezTo>
                      <a:pt x="103" y="176"/>
                      <a:pt x="107" y="159"/>
                      <a:pt x="97" y="159"/>
                    </a:cubicBezTo>
                    <a:cubicBezTo>
                      <a:pt x="87" y="159"/>
                      <a:pt x="93" y="169"/>
                      <a:pt x="93" y="169"/>
                    </a:cubicBezTo>
                    <a:cubicBezTo>
                      <a:pt x="93" y="169"/>
                      <a:pt x="85" y="166"/>
                      <a:pt x="82" y="169"/>
                    </a:cubicBezTo>
                    <a:cubicBezTo>
                      <a:pt x="79" y="172"/>
                      <a:pt x="91" y="179"/>
                      <a:pt x="93" y="183"/>
                    </a:cubicBezTo>
                    <a:cubicBezTo>
                      <a:pt x="95" y="187"/>
                      <a:pt x="110" y="184"/>
                      <a:pt x="110" y="184"/>
                    </a:cubicBezTo>
                    <a:lnTo>
                      <a:pt x="103" y="176"/>
                    </a:lnTo>
                    <a:close/>
                    <a:moveTo>
                      <a:pt x="325" y="1"/>
                    </a:moveTo>
                    <a:cubicBezTo>
                      <a:pt x="318" y="2"/>
                      <a:pt x="316" y="11"/>
                      <a:pt x="316" y="11"/>
                    </a:cubicBezTo>
                    <a:cubicBezTo>
                      <a:pt x="327" y="16"/>
                      <a:pt x="332" y="0"/>
                      <a:pt x="325" y="1"/>
                    </a:cubicBezTo>
                    <a:close/>
                    <a:moveTo>
                      <a:pt x="296" y="36"/>
                    </a:moveTo>
                    <a:cubicBezTo>
                      <a:pt x="300" y="45"/>
                      <a:pt x="300" y="45"/>
                      <a:pt x="300" y="45"/>
                    </a:cubicBezTo>
                    <a:cubicBezTo>
                      <a:pt x="305" y="49"/>
                      <a:pt x="312" y="28"/>
                      <a:pt x="311" y="24"/>
                    </a:cubicBezTo>
                    <a:cubicBezTo>
                      <a:pt x="310" y="20"/>
                      <a:pt x="301" y="12"/>
                      <a:pt x="301" y="12"/>
                    </a:cubicBezTo>
                    <a:cubicBezTo>
                      <a:pt x="300" y="21"/>
                      <a:pt x="300" y="21"/>
                      <a:pt x="300" y="21"/>
                    </a:cubicBezTo>
                    <a:cubicBezTo>
                      <a:pt x="300" y="21"/>
                      <a:pt x="287" y="25"/>
                      <a:pt x="288" y="29"/>
                    </a:cubicBezTo>
                    <a:cubicBezTo>
                      <a:pt x="289" y="33"/>
                      <a:pt x="296" y="36"/>
                      <a:pt x="296" y="36"/>
                    </a:cubicBezTo>
                    <a:close/>
                    <a:moveTo>
                      <a:pt x="239" y="94"/>
                    </a:moveTo>
                    <a:cubicBezTo>
                      <a:pt x="237" y="104"/>
                      <a:pt x="237" y="104"/>
                      <a:pt x="237" y="104"/>
                    </a:cubicBezTo>
                    <a:cubicBezTo>
                      <a:pt x="246" y="96"/>
                      <a:pt x="246" y="96"/>
                      <a:pt x="246" y="96"/>
                    </a:cubicBezTo>
                    <a:lnTo>
                      <a:pt x="239" y="94"/>
                    </a:lnTo>
                    <a:close/>
                    <a:moveTo>
                      <a:pt x="137" y="269"/>
                    </a:moveTo>
                    <a:cubicBezTo>
                      <a:pt x="143" y="265"/>
                      <a:pt x="134" y="252"/>
                      <a:pt x="128" y="258"/>
                    </a:cubicBezTo>
                    <a:cubicBezTo>
                      <a:pt x="122" y="264"/>
                      <a:pt x="130" y="273"/>
                      <a:pt x="137" y="269"/>
                    </a:cubicBezTo>
                    <a:close/>
                    <a:moveTo>
                      <a:pt x="346" y="395"/>
                    </a:moveTo>
                    <a:cubicBezTo>
                      <a:pt x="346" y="395"/>
                      <a:pt x="341" y="409"/>
                      <a:pt x="331" y="402"/>
                    </a:cubicBezTo>
                    <a:cubicBezTo>
                      <a:pt x="321" y="394"/>
                      <a:pt x="341" y="387"/>
                      <a:pt x="340" y="378"/>
                    </a:cubicBezTo>
                    <a:cubicBezTo>
                      <a:pt x="339" y="369"/>
                      <a:pt x="308" y="364"/>
                      <a:pt x="308" y="359"/>
                    </a:cubicBezTo>
                    <a:cubicBezTo>
                      <a:pt x="308" y="354"/>
                      <a:pt x="330" y="357"/>
                      <a:pt x="330" y="357"/>
                    </a:cubicBezTo>
                    <a:cubicBezTo>
                      <a:pt x="321" y="349"/>
                      <a:pt x="321" y="349"/>
                      <a:pt x="321" y="349"/>
                    </a:cubicBezTo>
                    <a:cubicBezTo>
                      <a:pt x="321" y="349"/>
                      <a:pt x="312" y="328"/>
                      <a:pt x="308" y="321"/>
                    </a:cubicBezTo>
                    <a:cubicBezTo>
                      <a:pt x="304" y="314"/>
                      <a:pt x="291" y="314"/>
                      <a:pt x="291" y="314"/>
                    </a:cubicBezTo>
                    <a:cubicBezTo>
                      <a:pt x="291" y="314"/>
                      <a:pt x="283" y="305"/>
                      <a:pt x="275" y="299"/>
                    </a:cubicBezTo>
                    <a:cubicBezTo>
                      <a:pt x="267" y="293"/>
                      <a:pt x="273" y="261"/>
                      <a:pt x="273" y="261"/>
                    </a:cubicBezTo>
                    <a:cubicBezTo>
                      <a:pt x="265" y="261"/>
                      <a:pt x="265" y="261"/>
                      <a:pt x="265" y="261"/>
                    </a:cubicBezTo>
                    <a:cubicBezTo>
                      <a:pt x="265" y="261"/>
                      <a:pt x="264" y="255"/>
                      <a:pt x="250" y="245"/>
                    </a:cubicBezTo>
                    <a:cubicBezTo>
                      <a:pt x="235" y="235"/>
                      <a:pt x="216" y="245"/>
                      <a:pt x="208" y="246"/>
                    </a:cubicBezTo>
                    <a:cubicBezTo>
                      <a:pt x="200" y="247"/>
                      <a:pt x="191" y="235"/>
                      <a:pt x="191" y="235"/>
                    </a:cubicBezTo>
                    <a:cubicBezTo>
                      <a:pt x="191" y="235"/>
                      <a:pt x="205" y="240"/>
                      <a:pt x="209" y="239"/>
                    </a:cubicBezTo>
                    <a:cubicBezTo>
                      <a:pt x="213" y="238"/>
                      <a:pt x="231" y="234"/>
                      <a:pt x="232" y="228"/>
                    </a:cubicBezTo>
                    <a:cubicBezTo>
                      <a:pt x="233" y="223"/>
                      <a:pt x="214" y="222"/>
                      <a:pt x="214" y="222"/>
                    </a:cubicBezTo>
                    <a:cubicBezTo>
                      <a:pt x="230" y="218"/>
                      <a:pt x="230" y="218"/>
                      <a:pt x="230" y="218"/>
                    </a:cubicBezTo>
                    <a:cubicBezTo>
                      <a:pt x="230" y="218"/>
                      <a:pt x="239" y="211"/>
                      <a:pt x="245" y="206"/>
                    </a:cubicBezTo>
                    <a:cubicBezTo>
                      <a:pt x="250" y="201"/>
                      <a:pt x="261" y="177"/>
                      <a:pt x="261" y="177"/>
                    </a:cubicBezTo>
                    <a:cubicBezTo>
                      <a:pt x="261" y="177"/>
                      <a:pt x="276" y="168"/>
                      <a:pt x="276" y="161"/>
                    </a:cubicBezTo>
                    <a:cubicBezTo>
                      <a:pt x="276" y="154"/>
                      <a:pt x="222" y="159"/>
                      <a:pt x="222" y="159"/>
                    </a:cubicBezTo>
                    <a:cubicBezTo>
                      <a:pt x="222" y="159"/>
                      <a:pt x="223" y="154"/>
                      <a:pt x="211" y="154"/>
                    </a:cubicBezTo>
                    <a:cubicBezTo>
                      <a:pt x="199" y="154"/>
                      <a:pt x="177" y="162"/>
                      <a:pt x="177" y="162"/>
                    </a:cubicBezTo>
                    <a:cubicBezTo>
                      <a:pt x="185" y="155"/>
                      <a:pt x="185" y="155"/>
                      <a:pt x="185" y="155"/>
                    </a:cubicBezTo>
                    <a:cubicBezTo>
                      <a:pt x="179" y="147"/>
                      <a:pt x="179" y="147"/>
                      <a:pt x="179" y="147"/>
                    </a:cubicBezTo>
                    <a:cubicBezTo>
                      <a:pt x="191" y="145"/>
                      <a:pt x="191" y="145"/>
                      <a:pt x="191" y="145"/>
                    </a:cubicBezTo>
                    <a:cubicBezTo>
                      <a:pt x="212" y="132"/>
                      <a:pt x="212" y="132"/>
                      <a:pt x="212" y="132"/>
                    </a:cubicBezTo>
                    <a:cubicBezTo>
                      <a:pt x="212" y="132"/>
                      <a:pt x="223" y="123"/>
                      <a:pt x="224" y="112"/>
                    </a:cubicBezTo>
                    <a:cubicBezTo>
                      <a:pt x="225" y="105"/>
                      <a:pt x="211" y="107"/>
                      <a:pt x="203" y="108"/>
                    </a:cubicBezTo>
                    <a:cubicBezTo>
                      <a:pt x="195" y="109"/>
                      <a:pt x="183" y="115"/>
                      <a:pt x="175" y="115"/>
                    </a:cubicBezTo>
                    <a:cubicBezTo>
                      <a:pt x="167" y="115"/>
                      <a:pt x="160" y="106"/>
                      <a:pt x="153" y="110"/>
                    </a:cubicBezTo>
                    <a:cubicBezTo>
                      <a:pt x="146" y="114"/>
                      <a:pt x="153" y="124"/>
                      <a:pt x="153" y="124"/>
                    </a:cubicBezTo>
                    <a:cubicBezTo>
                      <a:pt x="153" y="124"/>
                      <a:pt x="146" y="125"/>
                      <a:pt x="141" y="129"/>
                    </a:cubicBezTo>
                    <a:cubicBezTo>
                      <a:pt x="136" y="133"/>
                      <a:pt x="144" y="148"/>
                      <a:pt x="144" y="148"/>
                    </a:cubicBezTo>
                    <a:cubicBezTo>
                      <a:pt x="115" y="151"/>
                      <a:pt x="115" y="151"/>
                      <a:pt x="115" y="151"/>
                    </a:cubicBezTo>
                    <a:cubicBezTo>
                      <a:pt x="115" y="157"/>
                      <a:pt x="115" y="157"/>
                      <a:pt x="115" y="157"/>
                    </a:cubicBezTo>
                    <a:cubicBezTo>
                      <a:pt x="121" y="162"/>
                      <a:pt x="121" y="162"/>
                      <a:pt x="121" y="162"/>
                    </a:cubicBezTo>
                    <a:cubicBezTo>
                      <a:pt x="130" y="180"/>
                      <a:pt x="130" y="180"/>
                      <a:pt x="130" y="180"/>
                    </a:cubicBezTo>
                    <a:cubicBezTo>
                      <a:pt x="130" y="180"/>
                      <a:pt x="124" y="185"/>
                      <a:pt x="121" y="188"/>
                    </a:cubicBezTo>
                    <a:cubicBezTo>
                      <a:pt x="118" y="191"/>
                      <a:pt x="116" y="198"/>
                      <a:pt x="116" y="198"/>
                    </a:cubicBezTo>
                    <a:cubicBezTo>
                      <a:pt x="105" y="203"/>
                      <a:pt x="105" y="203"/>
                      <a:pt x="105" y="203"/>
                    </a:cubicBezTo>
                    <a:cubicBezTo>
                      <a:pt x="105" y="203"/>
                      <a:pt x="111" y="212"/>
                      <a:pt x="119" y="211"/>
                    </a:cubicBezTo>
                    <a:cubicBezTo>
                      <a:pt x="127" y="210"/>
                      <a:pt x="134" y="202"/>
                      <a:pt x="134" y="202"/>
                    </a:cubicBezTo>
                    <a:cubicBezTo>
                      <a:pt x="133" y="214"/>
                      <a:pt x="133" y="214"/>
                      <a:pt x="133" y="214"/>
                    </a:cubicBezTo>
                    <a:cubicBezTo>
                      <a:pt x="133" y="214"/>
                      <a:pt x="120" y="220"/>
                      <a:pt x="115" y="228"/>
                    </a:cubicBezTo>
                    <a:cubicBezTo>
                      <a:pt x="110" y="237"/>
                      <a:pt x="116" y="250"/>
                      <a:pt x="116" y="250"/>
                    </a:cubicBezTo>
                    <a:cubicBezTo>
                      <a:pt x="116" y="250"/>
                      <a:pt x="127" y="242"/>
                      <a:pt x="134" y="247"/>
                    </a:cubicBezTo>
                    <a:cubicBezTo>
                      <a:pt x="140" y="252"/>
                      <a:pt x="153" y="241"/>
                      <a:pt x="153" y="241"/>
                    </a:cubicBezTo>
                    <a:cubicBezTo>
                      <a:pt x="144" y="251"/>
                      <a:pt x="144" y="251"/>
                      <a:pt x="144" y="251"/>
                    </a:cubicBezTo>
                    <a:cubicBezTo>
                      <a:pt x="149" y="269"/>
                      <a:pt x="149" y="269"/>
                      <a:pt x="149" y="269"/>
                    </a:cubicBezTo>
                    <a:cubicBezTo>
                      <a:pt x="149" y="269"/>
                      <a:pt x="138" y="282"/>
                      <a:pt x="130" y="296"/>
                    </a:cubicBezTo>
                    <a:cubicBezTo>
                      <a:pt x="123" y="309"/>
                      <a:pt x="146" y="306"/>
                      <a:pt x="146" y="306"/>
                    </a:cubicBezTo>
                    <a:cubicBezTo>
                      <a:pt x="146" y="306"/>
                      <a:pt x="159" y="300"/>
                      <a:pt x="166" y="303"/>
                    </a:cubicBezTo>
                    <a:cubicBezTo>
                      <a:pt x="173" y="306"/>
                      <a:pt x="189" y="293"/>
                      <a:pt x="189" y="293"/>
                    </a:cubicBezTo>
                    <a:cubicBezTo>
                      <a:pt x="211" y="295"/>
                      <a:pt x="211" y="295"/>
                      <a:pt x="211" y="295"/>
                    </a:cubicBezTo>
                    <a:cubicBezTo>
                      <a:pt x="211" y="295"/>
                      <a:pt x="188" y="308"/>
                      <a:pt x="186" y="318"/>
                    </a:cubicBezTo>
                    <a:cubicBezTo>
                      <a:pt x="185" y="328"/>
                      <a:pt x="215" y="335"/>
                      <a:pt x="215" y="335"/>
                    </a:cubicBezTo>
                    <a:cubicBezTo>
                      <a:pt x="216" y="349"/>
                      <a:pt x="216" y="349"/>
                      <a:pt x="216" y="349"/>
                    </a:cubicBezTo>
                    <a:cubicBezTo>
                      <a:pt x="208" y="361"/>
                      <a:pt x="208" y="361"/>
                      <a:pt x="208" y="361"/>
                    </a:cubicBezTo>
                    <a:cubicBezTo>
                      <a:pt x="208" y="361"/>
                      <a:pt x="210" y="375"/>
                      <a:pt x="207" y="379"/>
                    </a:cubicBezTo>
                    <a:cubicBezTo>
                      <a:pt x="204" y="383"/>
                      <a:pt x="162" y="377"/>
                      <a:pt x="162" y="377"/>
                    </a:cubicBezTo>
                    <a:cubicBezTo>
                      <a:pt x="162" y="377"/>
                      <a:pt x="152" y="374"/>
                      <a:pt x="143" y="376"/>
                    </a:cubicBezTo>
                    <a:cubicBezTo>
                      <a:pt x="134" y="378"/>
                      <a:pt x="149" y="389"/>
                      <a:pt x="149" y="389"/>
                    </a:cubicBezTo>
                    <a:cubicBezTo>
                      <a:pt x="135" y="402"/>
                      <a:pt x="135" y="402"/>
                      <a:pt x="135" y="402"/>
                    </a:cubicBezTo>
                    <a:cubicBezTo>
                      <a:pt x="163" y="400"/>
                      <a:pt x="163" y="400"/>
                      <a:pt x="163" y="400"/>
                    </a:cubicBezTo>
                    <a:cubicBezTo>
                      <a:pt x="163" y="400"/>
                      <a:pt x="163" y="423"/>
                      <a:pt x="156" y="430"/>
                    </a:cubicBezTo>
                    <a:cubicBezTo>
                      <a:pt x="149" y="437"/>
                      <a:pt x="121" y="445"/>
                      <a:pt x="117" y="448"/>
                    </a:cubicBezTo>
                    <a:cubicBezTo>
                      <a:pt x="113" y="451"/>
                      <a:pt x="118" y="466"/>
                      <a:pt x="122" y="468"/>
                    </a:cubicBezTo>
                    <a:cubicBezTo>
                      <a:pt x="126" y="470"/>
                      <a:pt x="144" y="456"/>
                      <a:pt x="144" y="456"/>
                    </a:cubicBezTo>
                    <a:cubicBezTo>
                      <a:pt x="144" y="456"/>
                      <a:pt x="147" y="462"/>
                      <a:pt x="151" y="466"/>
                    </a:cubicBezTo>
                    <a:cubicBezTo>
                      <a:pt x="155" y="470"/>
                      <a:pt x="165" y="466"/>
                      <a:pt x="165" y="466"/>
                    </a:cubicBezTo>
                    <a:cubicBezTo>
                      <a:pt x="165" y="466"/>
                      <a:pt x="173" y="475"/>
                      <a:pt x="181" y="476"/>
                    </a:cubicBezTo>
                    <a:cubicBezTo>
                      <a:pt x="190" y="477"/>
                      <a:pt x="197" y="472"/>
                      <a:pt x="202" y="467"/>
                    </a:cubicBezTo>
                    <a:cubicBezTo>
                      <a:pt x="207" y="462"/>
                      <a:pt x="220" y="463"/>
                      <a:pt x="220" y="463"/>
                    </a:cubicBezTo>
                    <a:cubicBezTo>
                      <a:pt x="220" y="463"/>
                      <a:pt x="204" y="478"/>
                      <a:pt x="194" y="485"/>
                    </a:cubicBezTo>
                    <a:cubicBezTo>
                      <a:pt x="183" y="492"/>
                      <a:pt x="163" y="485"/>
                      <a:pt x="156" y="485"/>
                    </a:cubicBezTo>
                    <a:cubicBezTo>
                      <a:pt x="149" y="485"/>
                      <a:pt x="151" y="495"/>
                      <a:pt x="151" y="495"/>
                    </a:cubicBezTo>
                    <a:cubicBezTo>
                      <a:pt x="151" y="495"/>
                      <a:pt x="142" y="495"/>
                      <a:pt x="135" y="498"/>
                    </a:cubicBezTo>
                    <a:cubicBezTo>
                      <a:pt x="127" y="501"/>
                      <a:pt x="135" y="507"/>
                      <a:pt x="129" y="516"/>
                    </a:cubicBezTo>
                    <a:cubicBezTo>
                      <a:pt x="124" y="524"/>
                      <a:pt x="117" y="520"/>
                      <a:pt x="110" y="520"/>
                    </a:cubicBezTo>
                    <a:cubicBezTo>
                      <a:pt x="103" y="520"/>
                      <a:pt x="106" y="530"/>
                      <a:pt x="99" y="536"/>
                    </a:cubicBezTo>
                    <a:cubicBezTo>
                      <a:pt x="92" y="542"/>
                      <a:pt x="83" y="541"/>
                      <a:pt x="83" y="545"/>
                    </a:cubicBezTo>
                    <a:cubicBezTo>
                      <a:pt x="83" y="549"/>
                      <a:pt x="102" y="549"/>
                      <a:pt x="105" y="549"/>
                    </a:cubicBezTo>
                    <a:cubicBezTo>
                      <a:pt x="108" y="549"/>
                      <a:pt x="116" y="539"/>
                      <a:pt x="122" y="534"/>
                    </a:cubicBezTo>
                    <a:cubicBezTo>
                      <a:pt x="128" y="529"/>
                      <a:pt x="138" y="530"/>
                      <a:pt x="147" y="530"/>
                    </a:cubicBezTo>
                    <a:cubicBezTo>
                      <a:pt x="156" y="530"/>
                      <a:pt x="159" y="540"/>
                      <a:pt x="165" y="540"/>
                    </a:cubicBezTo>
                    <a:cubicBezTo>
                      <a:pt x="171" y="540"/>
                      <a:pt x="184" y="515"/>
                      <a:pt x="191" y="512"/>
                    </a:cubicBezTo>
                    <a:cubicBezTo>
                      <a:pt x="197" y="508"/>
                      <a:pt x="211" y="519"/>
                      <a:pt x="211" y="519"/>
                    </a:cubicBezTo>
                    <a:cubicBezTo>
                      <a:pt x="228" y="520"/>
                      <a:pt x="228" y="520"/>
                      <a:pt x="228" y="520"/>
                    </a:cubicBezTo>
                    <a:cubicBezTo>
                      <a:pt x="248" y="512"/>
                      <a:pt x="248" y="512"/>
                      <a:pt x="248" y="512"/>
                    </a:cubicBezTo>
                    <a:cubicBezTo>
                      <a:pt x="248" y="512"/>
                      <a:pt x="267" y="521"/>
                      <a:pt x="273" y="520"/>
                    </a:cubicBezTo>
                    <a:cubicBezTo>
                      <a:pt x="279" y="519"/>
                      <a:pt x="265" y="508"/>
                      <a:pt x="271" y="503"/>
                    </a:cubicBezTo>
                    <a:cubicBezTo>
                      <a:pt x="277" y="498"/>
                      <a:pt x="286" y="513"/>
                      <a:pt x="286" y="513"/>
                    </a:cubicBezTo>
                    <a:cubicBezTo>
                      <a:pt x="293" y="508"/>
                      <a:pt x="293" y="508"/>
                      <a:pt x="293" y="508"/>
                    </a:cubicBezTo>
                    <a:cubicBezTo>
                      <a:pt x="293" y="508"/>
                      <a:pt x="346" y="508"/>
                      <a:pt x="359" y="501"/>
                    </a:cubicBezTo>
                    <a:cubicBezTo>
                      <a:pt x="371" y="494"/>
                      <a:pt x="379" y="479"/>
                      <a:pt x="379" y="479"/>
                    </a:cubicBezTo>
                    <a:cubicBezTo>
                      <a:pt x="340" y="474"/>
                      <a:pt x="340" y="474"/>
                      <a:pt x="340" y="474"/>
                    </a:cubicBezTo>
                    <a:cubicBezTo>
                      <a:pt x="358" y="471"/>
                      <a:pt x="358" y="471"/>
                      <a:pt x="358" y="471"/>
                    </a:cubicBezTo>
                    <a:cubicBezTo>
                      <a:pt x="354" y="461"/>
                      <a:pt x="354" y="461"/>
                      <a:pt x="354" y="461"/>
                    </a:cubicBezTo>
                    <a:cubicBezTo>
                      <a:pt x="354" y="461"/>
                      <a:pt x="368" y="448"/>
                      <a:pt x="375" y="447"/>
                    </a:cubicBezTo>
                    <a:cubicBezTo>
                      <a:pt x="382" y="446"/>
                      <a:pt x="393" y="435"/>
                      <a:pt x="394" y="415"/>
                    </a:cubicBezTo>
                    <a:cubicBezTo>
                      <a:pt x="395" y="394"/>
                      <a:pt x="346" y="395"/>
                      <a:pt x="346" y="395"/>
                    </a:cubicBezTo>
                    <a:close/>
                    <a:moveTo>
                      <a:pt x="157" y="325"/>
                    </a:moveTo>
                    <a:cubicBezTo>
                      <a:pt x="152" y="310"/>
                      <a:pt x="147" y="330"/>
                      <a:pt x="138" y="338"/>
                    </a:cubicBezTo>
                    <a:cubicBezTo>
                      <a:pt x="138" y="338"/>
                      <a:pt x="162" y="340"/>
                      <a:pt x="157" y="325"/>
                    </a:cubicBezTo>
                    <a:close/>
                    <a:moveTo>
                      <a:pt x="94" y="338"/>
                    </a:moveTo>
                    <a:cubicBezTo>
                      <a:pt x="97" y="335"/>
                      <a:pt x="99" y="329"/>
                      <a:pt x="99" y="329"/>
                    </a:cubicBezTo>
                    <a:cubicBezTo>
                      <a:pt x="99" y="329"/>
                      <a:pt x="104" y="336"/>
                      <a:pt x="107" y="330"/>
                    </a:cubicBezTo>
                    <a:cubicBezTo>
                      <a:pt x="110" y="324"/>
                      <a:pt x="117" y="314"/>
                      <a:pt x="110" y="308"/>
                    </a:cubicBezTo>
                    <a:cubicBezTo>
                      <a:pt x="103" y="302"/>
                      <a:pt x="103" y="293"/>
                      <a:pt x="103" y="293"/>
                    </a:cubicBezTo>
                    <a:cubicBezTo>
                      <a:pt x="98" y="295"/>
                      <a:pt x="98" y="295"/>
                      <a:pt x="98" y="295"/>
                    </a:cubicBezTo>
                    <a:cubicBezTo>
                      <a:pt x="98" y="295"/>
                      <a:pt x="93" y="283"/>
                      <a:pt x="86" y="281"/>
                    </a:cubicBezTo>
                    <a:cubicBezTo>
                      <a:pt x="79" y="279"/>
                      <a:pt x="61" y="282"/>
                      <a:pt x="61" y="282"/>
                    </a:cubicBezTo>
                    <a:cubicBezTo>
                      <a:pt x="61" y="282"/>
                      <a:pt x="61" y="282"/>
                      <a:pt x="61" y="281"/>
                    </a:cubicBezTo>
                    <a:cubicBezTo>
                      <a:pt x="58" y="288"/>
                      <a:pt x="58" y="288"/>
                      <a:pt x="58" y="288"/>
                    </a:cubicBezTo>
                    <a:cubicBezTo>
                      <a:pt x="28" y="302"/>
                      <a:pt x="28" y="302"/>
                      <a:pt x="28" y="302"/>
                    </a:cubicBezTo>
                    <a:cubicBezTo>
                      <a:pt x="29" y="312"/>
                      <a:pt x="29" y="312"/>
                      <a:pt x="29" y="312"/>
                    </a:cubicBezTo>
                    <a:cubicBezTo>
                      <a:pt x="29" y="312"/>
                      <a:pt x="0" y="318"/>
                      <a:pt x="13" y="325"/>
                    </a:cubicBezTo>
                    <a:cubicBezTo>
                      <a:pt x="26" y="333"/>
                      <a:pt x="38" y="335"/>
                      <a:pt x="38" y="335"/>
                    </a:cubicBezTo>
                    <a:cubicBezTo>
                      <a:pt x="55" y="319"/>
                      <a:pt x="55" y="319"/>
                      <a:pt x="55" y="319"/>
                    </a:cubicBezTo>
                    <a:cubicBezTo>
                      <a:pt x="67" y="335"/>
                      <a:pt x="67" y="335"/>
                      <a:pt x="67" y="335"/>
                    </a:cubicBezTo>
                    <a:cubicBezTo>
                      <a:pt x="89" y="340"/>
                      <a:pt x="89" y="340"/>
                      <a:pt x="89" y="340"/>
                    </a:cubicBezTo>
                    <a:cubicBezTo>
                      <a:pt x="91" y="340"/>
                      <a:pt x="93" y="339"/>
                      <a:pt x="94" y="338"/>
                    </a:cubicBezTo>
                    <a:close/>
                    <a:moveTo>
                      <a:pt x="63" y="155"/>
                    </a:moveTo>
                    <a:cubicBezTo>
                      <a:pt x="57" y="155"/>
                      <a:pt x="54" y="155"/>
                      <a:pt x="52" y="163"/>
                    </a:cubicBezTo>
                    <a:cubicBezTo>
                      <a:pt x="66" y="163"/>
                      <a:pt x="66" y="163"/>
                      <a:pt x="66" y="163"/>
                    </a:cubicBezTo>
                    <a:cubicBezTo>
                      <a:pt x="66" y="163"/>
                      <a:pt x="69" y="155"/>
                      <a:pt x="63" y="155"/>
                    </a:cubicBezTo>
                    <a:close/>
                    <a:moveTo>
                      <a:pt x="82" y="144"/>
                    </a:moveTo>
                    <a:cubicBezTo>
                      <a:pt x="82" y="144"/>
                      <a:pt x="88" y="146"/>
                      <a:pt x="94" y="145"/>
                    </a:cubicBezTo>
                    <a:cubicBezTo>
                      <a:pt x="100" y="144"/>
                      <a:pt x="108" y="115"/>
                      <a:pt x="108" y="115"/>
                    </a:cubicBezTo>
                    <a:cubicBezTo>
                      <a:pt x="108" y="115"/>
                      <a:pt x="100" y="117"/>
                      <a:pt x="94" y="122"/>
                    </a:cubicBezTo>
                    <a:cubicBezTo>
                      <a:pt x="88" y="126"/>
                      <a:pt x="86" y="133"/>
                      <a:pt x="86" y="133"/>
                    </a:cubicBezTo>
                    <a:cubicBezTo>
                      <a:pt x="86" y="133"/>
                      <a:pt x="78" y="125"/>
                      <a:pt x="72" y="128"/>
                    </a:cubicBezTo>
                    <a:cubicBezTo>
                      <a:pt x="67" y="131"/>
                      <a:pt x="73" y="153"/>
                      <a:pt x="73" y="153"/>
                    </a:cubicBezTo>
                    <a:lnTo>
                      <a:pt x="82" y="144"/>
                    </a:lnTo>
                    <a:close/>
                    <a:moveTo>
                      <a:pt x="57" y="169"/>
                    </a:moveTo>
                    <a:cubicBezTo>
                      <a:pt x="51" y="191"/>
                      <a:pt x="51" y="191"/>
                      <a:pt x="51" y="191"/>
                    </a:cubicBezTo>
                    <a:cubicBezTo>
                      <a:pt x="62" y="177"/>
                      <a:pt x="62" y="177"/>
                      <a:pt x="62" y="177"/>
                    </a:cubicBezTo>
                    <a:lnTo>
                      <a:pt x="57" y="16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4" name="Freeform 331">
                <a:extLst>
                  <a:ext uri="{FF2B5EF4-FFF2-40B4-BE49-F238E27FC236}">
                    <a16:creationId xmlns:a16="http://schemas.microsoft.com/office/drawing/2014/main" id="{B54DB68B-6D72-0F1B-A4C3-E95E0CF694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302" y="-16953"/>
                <a:ext cx="446" cy="477"/>
              </a:xfrm>
              <a:custGeom>
                <a:avLst/>
                <a:gdLst>
                  <a:gd name="T0" fmla="*/ 186 w 189"/>
                  <a:gd name="T1" fmla="*/ 104 h 202"/>
                  <a:gd name="T2" fmla="*/ 177 w 189"/>
                  <a:gd name="T3" fmla="*/ 87 h 202"/>
                  <a:gd name="T4" fmla="*/ 175 w 189"/>
                  <a:gd name="T5" fmla="*/ 73 h 202"/>
                  <a:gd name="T6" fmla="*/ 189 w 189"/>
                  <a:gd name="T7" fmla="*/ 66 h 202"/>
                  <a:gd name="T8" fmla="*/ 167 w 189"/>
                  <a:gd name="T9" fmla="*/ 61 h 202"/>
                  <a:gd name="T10" fmla="*/ 155 w 189"/>
                  <a:gd name="T11" fmla="*/ 45 h 202"/>
                  <a:gd name="T12" fmla="*/ 138 w 189"/>
                  <a:gd name="T13" fmla="*/ 61 h 202"/>
                  <a:gd name="T14" fmla="*/ 113 w 189"/>
                  <a:gd name="T15" fmla="*/ 51 h 202"/>
                  <a:gd name="T16" fmla="*/ 129 w 189"/>
                  <a:gd name="T17" fmla="*/ 38 h 202"/>
                  <a:gd name="T18" fmla="*/ 128 w 189"/>
                  <a:gd name="T19" fmla="*/ 28 h 202"/>
                  <a:gd name="T20" fmla="*/ 158 w 189"/>
                  <a:gd name="T21" fmla="*/ 14 h 202"/>
                  <a:gd name="T22" fmla="*/ 161 w 189"/>
                  <a:gd name="T23" fmla="*/ 7 h 202"/>
                  <a:gd name="T24" fmla="*/ 153 w 189"/>
                  <a:gd name="T25" fmla="*/ 2 h 202"/>
                  <a:gd name="T26" fmla="*/ 138 w 189"/>
                  <a:gd name="T27" fmla="*/ 14 h 202"/>
                  <a:gd name="T28" fmla="*/ 134 w 189"/>
                  <a:gd name="T29" fmla="*/ 4 h 202"/>
                  <a:gd name="T30" fmla="*/ 107 w 189"/>
                  <a:gd name="T31" fmla="*/ 9 h 202"/>
                  <a:gd name="T32" fmla="*/ 99 w 189"/>
                  <a:gd name="T33" fmla="*/ 30 h 202"/>
                  <a:gd name="T34" fmla="*/ 84 w 189"/>
                  <a:gd name="T35" fmla="*/ 35 h 202"/>
                  <a:gd name="T36" fmla="*/ 102 w 189"/>
                  <a:gd name="T37" fmla="*/ 44 h 202"/>
                  <a:gd name="T38" fmla="*/ 92 w 189"/>
                  <a:gd name="T39" fmla="*/ 50 h 202"/>
                  <a:gd name="T40" fmla="*/ 87 w 189"/>
                  <a:gd name="T41" fmla="*/ 57 h 202"/>
                  <a:gd name="T42" fmla="*/ 69 w 189"/>
                  <a:gd name="T43" fmla="*/ 56 h 202"/>
                  <a:gd name="T44" fmla="*/ 69 w 189"/>
                  <a:gd name="T45" fmla="*/ 61 h 202"/>
                  <a:gd name="T46" fmla="*/ 48 w 189"/>
                  <a:gd name="T47" fmla="*/ 51 h 202"/>
                  <a:gd name="T48" fmla="*/ 30 w 189"/>
                  <a:gd name="T49" fmla="*/ 54 h 202"/>
                  <a:gd name="T50" fmla="*/ 33 w 189"/>
                  <a:gd name="T51" fmla="*/ 71 h 202"/>
                  <a:gd name="T52" fmla="*/ 42 w 189"/>
                  <a:gd name="T53" fmla="*/ 79 h 202"/>
                  <a:gd name="T54" fmla="*/ 31 w 189"/>
                  <a:gd name="T55" fmla="*/ 86 h 202"/>
                  <a:gd name="T56" fmla="*/ 25 w 189"/>
                  <a:gd name="T57" fmla="*/ 98 h 202"/>
                  <a:gd name="T58" fmla="*/ 48 w 189"/>
                  <a:gd name="T59" fmla="*/ 107 h 202"/>
                  <a:gd name="T60" fmla="*/ 66 w 189"/>
                  <a:gd name="T61" fmla="*/ 107 h 202"/>
                  <a:gd name="T62" fmla="*/ 50 w 189"/>
                  <a:gd name="T63" fmla="*/ 116 h 202"/>
                  <a:gd name="T64" fmla="*/ 50 w 189"/>
                  <a:gd name="T65" fmla="*/ 130 h 202"/>
                  <a:gd name="T66" fmla="*/ 35 w 189"/>
                  <a:gd name="T67" fmla="*/ 134 h 202"/>
                  <a:gd name="T68" fmla="*/ 30 w 189"/>
                  <a:gd name="T69" fmla="*/ 156 h 202"/>
                  <a:gd name="T70" fmla="*/ 4 w 189"/>
                  <a:gd name="T71" fmla="*/ 161 h 202"/>
                  <a:gd name="T72" fmla="*/ 15 w 189"/>
                  <a:gd name="T73" fmla="*/ 167 h 202"/>
                  <a:gd name="T74" fmla="*/ 0 w 189"/>
                  <a:gd name="T75" fmla="*/ 176 h 202"/>
                  <a:gd name="T76" fmla="*/ 7 w 189"/>
                  <a:gd name="T77" fmla="*/ 183 h 202"/>
                  <a:gd name="T78" fmla="*/ 30 w 189"/>
                  <a:gd name="T79" fmla="*/ 180 h 202"/>
                  <a:gd name="T80" fmla="*/ 19 w 189"/>
                  <a:gd name="T81" fmla="*/ 192 h 202"/>
                  <a:gd name="T82" fmla="*/ 35 w 189"/>
                  <a:gd name="T83" fmla="*/ 190 h 202"/>
                  <a:gd name="T84" fmla="*/ 29 w 189"/>
                  <a:gd name="T85" fmla="*/ 202 h 202"/>
                  <a:gd name="T86" fmla="*/ 74 w 189"/>
                  <a:gd name="T87" fmla="*/ 191 h 202"/>
                  <a:gd name="T88" fmla="*/ 83 w 189"/>
                  <a:gd name="T89" fmla="*/ 178 h 202"/>
                  <a:gd name="T90" fmla="*/ 102 w 189"/>
                  <a:gd name="T91" fmla="*/ 178 h 202"/>
                  <a:gd name="T92" fmla="*/ 124 w 189"/>
                  <a:gd name="T93" fmla="*/ 166 h 202"/>
                  <a:gd name="T94" fmla="*/ 140 w 189"/>
                  <a:gd name="T95" fmla="*/ 165 h 202"/>
                  <a:gd name="T96" fmla="*/ 143 w 189"/>
                  <a:gd name="T97" fmla="*/ 159 h 202"/>
                  <a:gd name="T98" fmla="*/ 168 w 189"/>
                  <a:gd name="T99" fmla="*/ 160 h 202"/>
                  <a:gd name="T100" fmla="*/ 167 w 189"/>
                  <a:gd name="T101" fmla="*/ 148 h 202"/>
                  <a:gd name="T102" fmla="*/ 179 w 189"/>
                  <a:gd name="T103" fmla="*/ 146 h 202"/>
                  <a:gd name="T104" fmla="*/ 178 w 189"/>
                  <a:gd name="T105" fmla="*/ 133 h 202"/>
                  <a:gd name="T106" fmla="*/ 186 w 189"/>
                  <a:gd name="T107" fmla="*/ 104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89" h="202">
                    <a:moveTo>
                      <a:pt x="186" y="104"/>
                    </a:moveTo>
                    <a:cubicBezTo>
                      <a:pt x="186" y="94"/>
                      <a:pt x="177" y="87"/>
                      <a:pt x="177" y="87"/>
                    </a:cubicBezTo>
                    <a:cubicBezTo>
                      <a:pt x="177" y="87"/>
                      <a:pt x="177" y="78"/>
                      <a:pt x="175" y="73"/>
                    </a:cubicBezTo>
                    <a:cubicBezTo>
                      <a:pt x="175" y="69"/>
                      <a:pt x="184" y="68"/>
                      <a:pt x="189" y="66"/>
                    </a:cubicBezTo>
                    <a:cubicBezTo>
                      <a:pt x="167" y="61"/>
                      <a:pt x="167" y="61"/>
                      <a:pt x="167" y="61"/>
                    </a:cubicBezTo>
                    <a:cubicBezTo>
                      <a:pt x="155" y="45"/>
                      <a:pt x="155" y="45"/>
                      <a:pt x="155" y="45"/>
                    </a:cubicBezTo>
                    <a:cubicBezTo>
                      <a:pt x="138" y="61"/>
                      <a:pt x="138" y="61"/>
                      <a:pt x="138" y="61"/>
                    </a:cubicBezTo>
                    <a:cubicBezTo>
                      <a:pt x="138" y="61"/>
                      <a:pt x="126" y="59"/>
                      <a:pt x="113" y="51"/>
                    </a:cubicBezTo>
                    <a:cubicBezTo>
                      <a:pt x="100" y="44"/>
                      <a:pt x="129" y="38"/>
                      <a:pt x="129" y="38"/>
                    </a:cubicBezTo>
                    <a:cubicBezTo>
                      <a:pt x="128" y="28"/>
                      <a:pt x="128" y="28"/>
                      <a:pt x="128" y="28"/>
                    </a:cubicBezTo>
                    <a:cubicBezTo>
                      <a:pt x="158" y="14"/>
                      <a:pt x="158" y="14"/>
                      <a:pt x="158" y="14"/>
                    </a:cubicBezTo>
                    <a:cubicBezTo>
                      <a:pt x="161" y="7"/>
                      <a:pt x="161" y="7"/>
                      <a:pt x="161" y="7"/>
                    </a:cubicBezTo>
                    <a:cubicBezTo>
                      <a:pt x="160" y="6"/>
                      <a:pt x="158" y="4"/>
                      <a:pt x="153" y="2"/>
                    </a:cubicBezTo>
                    <a:cubicBezTo>
                      <a:pt x="146" y="0"/>
                      <a:pt x="138" y="14"/>
                      <a:pt x="138" y="14"/>
                    </a:cubicBezTo>
                    <a:cubicBezTo>
                      <a:pt x="134" y="4"/>
                      <a:pt x="134" y="4"/>
                      <a:pt x="134" y="4"/>
                    </a:cubicBezTo>
                    <a:cubicBezTo>
                      <a:pt x="134" y="4"/>
                      <a:pt x="111" y="4"/>
                      <a:pt x="107" y="9"/>
                    </a:cubicBezTo>
                    <a:cubicBezTo>
                      <a:pt x="103" y="15"/>
                      <a:pt x="99" y="30"/>
                      <a:pt x="99" y="30"/>
                    </a:cubicBezTo>
                    <a:cubicBezTo>
                      <a:pt x="99" y="30"/>
                      <a:pt x="84" y="29"/>
                      <a:pt x="84" y="35"/>
                    </a:cubicBezTo>
                    <a:cubicBezTo>
                      <a:pt x="84" y="41"/>
                      <a:pt x="106" y="37"/>
                      <a:pt x="102" y="44"/>
                    </a:cubicBezTo>
                    <a:cubicBezTo>
                      <a:pt x="98" y="51"/>
                      <a:pt x="94" y="47"/>
                      <a:pt x="92" y="50"/>
                    </a:cubicBezTo>
                    <a:cubicBezTo>
                      <a:pt x="90" y="53"/>
                      <a:pt x="87" y="57"/>
                      <a:pt x="87" y="57"/>
                    </a:cubicBezTo>
                    <a:cubicBezTo>
                      <a:pt x="69" y="56"/>
                      <a:pt x="69" y="56"/>
                      <a:pt x="69" y="56"/>
                    </a:cubicBezTo>
                    <a:cubicBezTo>
                      <a:pt x="69" y="61"/>
                      <a:pt x="69" y="61"/>
                      <a:pt x="69" y="61"/>
                    </a:cubicBezTo>
                    <a:cubicBezTo>
                      <a:pt x="69" y="61"/>
                      <a:pt x="56" y="47"/>
                      <a:pt x="48" y="51"/>
                    </a:cubicBezTo>
                    <a:cubicBezTo>
                      <a:pt x="40" y="55"/>
                      <a:pt x="30" y="54"/>
                      <a:pt x="30" y="54"/>
                    </a:cubicBezTo>
                    <a:cubicBezTo>
                      <a:pt x="30" y="54"/>
                      <a:pt x="28" y="71"/>
                      <a:pt x="33" y="71"/>
                    </a:cubicBezTo>
                    <a:cubicBezTo>
                      <a:pt x="38" y="71"/>
                      <a:pt x="42" y="79"/>
                      <a:pt x="42" y="79"/>
                    </a:cubicBezTo>
                    <a:cubicBezTo>
                      <a:pt x="31" y="86"/>
                      <a:pt x="31" y="86"/>
                      <a:pt x="31" y="86"/>
                    </a:cubicBezTo>
                    <a:cubicBezTo>
                      <a:pt x="31" y="86"/>
                      <a:pt x="20" y="90"/>
                      <a:pt x="25" y="98"/>
                    </a:cubicBezTo>
                    <a:cubicBezTo>
                      <a:pt x="30" y="106"/>
                      <a:pt x="48" y="107"/>
                      <a:pt x="48" y="107"/>
                    </a:cubicBezTo>
                    <a:cubicBezTo>
                      <a:pt x="48" y="107"/>
                      <a:pt x="67" y="99"/>
                      <a:pt x="66" y="107"/>
                    </a:cubicBezTo>
                    <a:cubicBezTo>
                      <a:pt x="65" y="115"/>
                      <a:pt x="50" y="116"/>
                      <a:pt x="50" y="116"/>
                    </a:cubicBezTo>
                    <a:cubicBezTo>
                      <a:pt x="50" y="130"/>
                      <a:pt x="50" y="130"/>
                      <a:pt x="50" y="130"/>
                    </a:cubicBezTo>
                    <a:cubicBezTo>
                      <a:pt x="50" y="130"/>
                      <a:pt x="37" y="125"/>
                      <a:pt x="35" y="134"/>
                    </a:cubicBezTo>
                    <a:cubicBezTo>
                      <a:pt x="33" y="143"/>
                      <a:pt x="30" y="156"/>
                      <a:pt x="30" y="156"/>
                    </a:cubicBezTo>
                    <a:cubicBezTo>
                      <a:pt x="30" y="156"/>
                      <a:pt x="5" y="156"/>
                      <a:pt x="4" y="161"/>
                    </a:cubicBezTo>
                    <a:cubicBezTo>
                      <a:pt x="3" y="166"/>
                      <a:pt x="15" y="167"/>
                      <a:pt x="15" y="167"/>
                    </a:cubicBezTo>
                    <a:cubicBezTo>
                      <a:pt x="15" y="167"/>
                      <a:pt x="0" y="169"/>
                      <a:pt x="0" y="176"/>
                    </a:cubicBezTo>
                    <a:cubicBezTo>
                      <a:pt x="0" y="184"/>
                      <a:pt x="7" y="183"/>
                      <a:pt x="7" y="183"/>
                    </a:cubicBezTo>
                    <a:cubicBezTo>
                      <a:pt x="30" y="180"/>
                      <a:pt x="30" y="180"/>
                      <a:pt x="30" y="180"/>
                    </a:cubicBezTo>
                    <a:cubicBezTo>
                      <a:pt x="19" y="192"/>
                      <a:pt x="19" y="192"/>
                      <a:pt x="19" y="192"/>
                    </a:cubicBezTo>
                    <a:cubicBezTo>
                      <a:pt x="19" y="192"/>
                      <a:pt x="36" y="187"/>
                      <a:pt x="35" y="190"/>
                    </a:cubicBezTo>
                    <a:cubicBezTo>
                      <a:pt x="34" y="193"/>
                      <a:pt x="14" y="202"/>
                      <a:pt x="29" y="202"/>
                    </a:cubicBezTo>
                    <a:cubicBezTo>
                      <a:pt x="44" y="202"/>
                      <a:pt x="65" y="196"/>
                      <a:pt x="74" y="191"/>
                    </a:cubicBezTo>
                    <a:cubicBezTo>
                      <a:pt x="83" y="186"/>
                      <a:pt x="83" y="178"/>
                      <a:pt x="83" y="178"/>
                    </a:cubicBezTo>
                    <a:cubicBezTo>
                      <a:pt x="83" y="178"/>
                      <a:pt x="93" y="184"/>
                      <a:pt x="102" y="178"/>
                    </a:cubicBezTo>
                    <a:cubicBezTo>
                      <a:pt x="111" y="173"/>
                      <a:pt x="112" y="167"/>
                      <a:pt x="124" y="166"/>
                    </a:cubicBezTo>
                    <a:cubicBezTo>
                      <a:pt x="135" y="165"/>
                      <a:pt x="140" y="165"/>
                      <a:pt x="140" y="165"/>
                    </a:cubicBezTo>
                    <a:cubicBezTo>
                      <a:pt x="143" y="159"/>
                      <a:pt x="143" y="159"/>
                      <a:pt x="143" y="159"/>
                    </a:cubicBezTo>
                    <a:cubicBezTo>
                      <a:pt x="168" y="160"/>
                      <a:pt x="168" y="160"/>
                      <a:pt x="168" y="160"/>
                    </a:cubicBezTo>
                    <a:cubicBezTo>
                      <a:pt x="167" y="148"/>
                      <a:pt x="167" y="148"/>
                      <a:pt x="167" y="148"/>
                    </a:cubicBezTo>
                    <a:cubicBezTo>
                      <a:pt x="167" y="148"/>
                      <a:pt x="179" y="150"/>
                      <a:pt x="179" y="146"/>
                    </a:cubicBezTo>
                    <a:cubicBezTo>
                      <a:pt x="179" y="142"/>
                      <a:pt x="174" y="138"/>
                      <a:pt x="178" y="133"/>
                    </a:cubicBezTo>
                    <a:cubicBezTo>
                      <a:pt x="181" y="128"/>
                      <a:pt x="186" y="114"/>
                      <a:pt x="186" y="104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Freeform 332">
                <a:extLst>
                  <a:ext uri="{FF2B5EF4-FFF2-40B4-BE49-F238E27FC236}">
                    <a16:creationId xmlns:a16="http://schemas.microsoft.com/office/drawing/2014/main" id="{CD52824C-A272-D061-F695-93663BB08DF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1311" y="-19887"/>
                <a:ext cx="6246" cy="3028"/>
              </a:xfrm>
              <a:custGeom>
                <a:avLst/>
                <a:gdLst>
                  <a:gd name="T0" fmla="*/ 1565 w 2644"/>
                  <a:gd name="T1" fmla="*/ 52 h 1282"/>
                  <a:gd name="T2" fmla="*/ 1392 w 2644"/>
                  <a:gd name="T3" fmla="*/ 47 h 1282"/>
                  <a:gd name="T4" fmla="*/ 1490 w 2644"/>
                  <a:gd name="T5" fmla="*/ 10 h 1282"/>
                  <a:gd name="T6" fmla="*/ 1129 w 2644"/>
                  <a:gd name="T7" fmla="*/ 20 h 1282"/>
                  <a:gd name="T8" fmla="*/ 1006 w 2644"/>
                  <a:gd name="T9" fmla="*/ 38 h 1282"/>
                  <a:gd name="T10" fmla="*/ 728 w 2644"/>
                  <a:gd name="T11" fmla="*/ 51 h 1282"/>
                  <a:gd name="T12" fmla="*/ 452 w 2644"/>
                  <a:gd name="T13" fmla="*/ 80 h 1282"/>
                  <a:gd name="T14" fmla="*/ 236 w 2644"/>
                  <a:gd name="T15" fmla="*/ 157 h 1282"/>
                  <a:gd name="T16" fmla="*/ 83 w 2644"/>
                  <a:gd name="T17" fmla="*/ 219 h 1282"/>
                  <a:gd name="T18" fmla="*/ 96 w 2644"/>
                  <a:gd name="T19" fmla="*/ 231 h 1282"/>
                  <a:gd name="T20" fmla="*/ 106 w 2644"/>
                  <a:gd name="T21" fmla="*/ 266 h 1282"/>
                  <a:gd name="T22" fmla="*/ 313 w 2644"/>
                  <a:gd name="T23" fmla="*/ 274 h 1282"/>
                  <a:gd name="T24" fmla="*/ 399 w 2644"/>
                  <a:gd name="T25" fmla="*/ 369 h 1282"/>
                  <a:gd name="T26" fmla="*/ 370 w 2644"/>
                  <a:gd name="T27" fmla="*/ 445 h 1282"/>
                  <a:gd name="T28" fmla="*/ 438 w 2644"/>
                  <a:gd name="T29" fmla="*/ 447 h 1282"/>
                  <a:gd name="T30" fmla="*/ 432 w 2644"/>
                  <a:gd name="T31" fmla="*/ 517 h 1282"/>
                  <a:gd name="T32" fmla="*/ 456 w 2644"/>
                  <a:gd name="T33" fmla="*/ 542 h 1282"/>
                  <a:gd name="T34" fmla="*/ 421 w 2644"/>
                  <a:gd name="T35" fmla="*/ 578 h 1282"/>
                  <a:gd name="T36" fmla="*/ 408 w 2644"/>
                  <a:gd name="T37" fmla="*/ 639 h 1282"/>
                  <a:gd name="T38" fmla="*/ 354 w 2644"/>
                  <a:gd name="T39" fmla="*/ 640 h 1282"/>
                  <a:gd name="T40" fmla="*/ 276 w 2644"/>
                  <a:gd name="T41" fmla="*/ 668 h 1282"/>
                  <a:gd name="T42" fmla="*/ 273 w 2644"/>
                  <a:gd name="T43" fmla="*/ 727 h 1282"/>
                  <a:gd name="T44" fmla="*/ 270 w 2644"/>
                  <a:gd name="T45" fmla="*/ 802 h 1282"/>
                  <a:gd name="T46" fmla="*/ 328 w 2644"/>
                  <a:gd name="T47" fmla="*/ 798 h 1282"/>
                  <a:gd name="T48" fmla="*/ 286 w 2644"/>
                  <a:gd name="T49" fmla="*/ 851 h 1282"/>
                  <a:gd name="T50" fmla="*/ 322 w 2644"/>
                  <a:gd name="T51" fmla="*/ 925 h 1282"/>
                  <a:gd name="T52" fmla="*/ 398 w 2644"/>
                  <a:gd name="T53" fmla="*/ 969 h 1282"/>
                  <a:gd name="T54" fmla="*/ 443 w 2644"/>
                  <a:gd name="T55" fmla="*/ 1000 h 1282"/>
                  <a:gd name="T56" fmla="*/ 540 w 2644"/>
                  <a:gd name="T57" fmla="*/ 948 h 1282"/>
                  <a:gd name="T58" fmla="*/ 585 w 2644"/>
                  <a:gd name="T59" fmla="*/ 903 h 1282"/>
                  <a:gd name="T60" fmla="*/ 625 w 2644"/>
                  <a:gd name="T61" fmla="*/ 858 h 1282"/>
                  <a:gd name="T62" fmla="*/ 673 w 2644"/>
                  <a:gd name="T63" fmla="*/ 802 h 1282"/>
                  <a:gd name="T64" fmla="*/ 752 w 2644"/>
                  <a:gd name="T65" fmla="*/ 741 h 1282"/>
                  <a:gd name="T66" fmla="*/ 841 w 2644"/>
                  <a:gd name="T67" fmla="*/ 727 h 1282"/>
                  <a:gd name="T68" fmla="*/ 1053 w 2644"/>
                  <a:gd name="T69" fmla="*/ 599 h 1282"/>
                  <a:gd name="T70" fmla="*/ 1317 w 2644"/>
                  <a:gd name="T71" fmla="*/ 578 h 1282"/>
                  <a:gd name="T72" fmla="*/ 1303 w 2644"/>
                  <a:gd name="T73" fmla="*/ 524 h 1282"/>
                  <a:gd name="T74" fmla="*/ 1217 w 2644"/>
                  <a:gd name="T75" fmla="*/ 512 h 1282"/>
                  <a:gd name="T76" fmla="*/ 1271 w 2644"/>
                  <a:gd name="T77" fmla="*/ 465 h 1282"/>
                  <a:gd name="T78" fmla="*/ 1427 w 2644"/>
                  <a:gd name="T79" fmla="*/ 502 h 1282"/>
                  <a:gd name="T80" fmla="*/ 1425 w 2644"/>
                  <a:gd name="T81" fmla="*/ 459 h 1282"/>
                  <a:gd name="T82" fmla="*/ 1303 w 2644"/>
                  <a:gd name="T83" fmla="*/ 412 h 1282"/>
                  <a:gd name="T84" fmla="*/ 1471 w 2644"/>
                  <a:gd name="T85" fmla="*/ 404 h 1282"/>
                  <a:gd name="T86" fmla="*/ 1535 w 2644"/>
                  <a:gd name="T87" fmla="*/ 368 h 1282"/>
                  <a:gd name="T88" fmla="*/ 1546 w 2644"/>
                  <a:gd name="T89" fmla="*/ 334 h 1282"/>
                  <a:gd name="T90" fmla="*/ 1594 w 2644"/>
                  <a:gd name="T91" fmla="*/ 289 h 1282"/>
                  <a:gd name="T92" fmla="*/ 1590 w 2644"/>
                  <a:gd name="T93" fmla="*/ 221 h 1282"/>
                  <a:gd name="T94" fmla="*/ 1627 w 2644"/>
                  <a:gd name="T95" fmla="*/ 165 h 1282"/>
                  <a:gd name="T96" fmla="*/ 1659 w 2644"/>
                  <a:gd name="T97" fmla="*/ 111 h 1282"/>
                  <a:gd name="T98" fmla="*/ 1807 w 2644"/>
                  <a:gd name="T99" fmla="*/ 79 h 1282"/>
                  <a:gd name="T100" fmla="*/ 371 w 2644"/>
                  <a:gd name="T101" fmla="*/ 534 h 1282"/>
                  <a:gd name="T102" fmla="*/ 2531 w 2644"/>
                  <a:gd name="T103" fmla="*/ 1160 h 1282"/>
                  <a:gd name="T104" fmla="*/ 2458 w 2644"/>
                  <a:gd name="T105" fmla="*/ 1164 h 1282"/>
                  <a:gd name="T106" fmla="*/ 2471 w 2644"/>
                  <a:gd name="T107" fmla="*/ 1249 h 1282"/>
                  <a:gd name="T108" fmla="*/ 2517 w 2644"/>
                  <a:gd name="T109" fmla="*/ 1268 h 1282"/>
                  <a:gd name="T110" fmla="*/ 2531 w 2644"/>
                  <a:gd name="T111" fmla="*/ 1179 h 1282"/>
                  <a:gd name="T112" fmla="*/ 2577 w 2644"/>
                  <a:gd name="T113" fmla="*/ 1240 h 1282"/>
                  <a:gd name="T114" fmla="*/ 2624 w 2644"/>
                  <a:gd name="T115" fmla="*/ 1211 h 1282"/>
                  <a:gd name="T116" fmla="*/ 2629 w 2644"/>
                  <a:gd name="T117" fmla="*/ 1260 h 1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44" h="1282">
                    <a:moveTo>
                      <a:pt x="1845" y="57"/>
                    </a:moveTo>
                    <a:cubicBezTo>
                      <a:pt x="1825" y="57"/>
                      <a:pt x="1757" y="51"/>
                      <a:pt x="1752" y="57"/>
                    </a:cubicBezTo>
                    <a:cubicBezTo>
                      <a:pt x="1747" y="63"/>
                      <a:pt x="1722" y="69"/>
                      <a:pt x="1711" y="69"/>
                    </a:cubicBezTo>
                    <a:cubicBezTo>
                      <a:pt x="1700" y="69"/>
                      <a:pt x="1655" y="60"/>
                      <a:pt x="1647" y="64"/>
                    </a:cubicBezTo>
                    <a:cubicBezTo>
                      <a:pt x="1639" y="68"/>
                      <a:pt x="1587" y="83"/>
                      <a:pt x="1581" y="86"/>
                    </a:cubicBezTo>
                    <a:cubicBezTo>
                      <a:pt x="1575" y="89"/>
                      <a:pt x="1523" y="101"/>
                      <a:pt x="1532" y="94"/>
                    </a:cubicBezTo>
                    <a:cubicBezTo>
                      <a:pt x="1541" y="87"/>
                      <a:pt x="1615" y="71"/>
                      <a:pt x="1610" y="61"/>
                    </a:cubicBezTo>
                    <a:cubicBezTo>
                      <a:pt x="1605" y="51"/>
                      <a:pt x="1576" y="48"/>
                      <a:pt x="1565" y="52"/>
                    </a:cubicBezTo>
                    <a:cubicBezTo>
                      <a:pt x="1554" y="56"/>
                      <a:pt x="1536" y="63"/>
                      <a:pt x="1536" y="63"/>
                    </a:cubicBezTo>
                    <a:cubicBezTo>
                      <a:pt x="1457" y="73"/>
                      <a:pt x="1457" y="73"/>
                      <a:pt x="1457" y="73"/>
                    </a:cubicBezTo>
                    <a:cubicBezTo>
                      <a:pt x="1457" y="73"/>
                      <a:pt x="1531" y="55"/>
                      <a:pt x="1513" y="54"/>
                    </a:cubicBezTo>
                    <a:cubicBezTo>
                      <a:pt x="1495" y="53"/>
                      <a:pt x="1427" y="52"/>
                      <a:pt x="1427" y="52"/>
                    </a:cubicBezTo>
                    <a:cubicBezTo>
                      <a:pt x="1403" y="57"/>
                      <a:pt x="1403" y="57"/>
                      <a:pt x="1403" y="57"/>
                    </a:cubicBezTo>
                    <a:cubicBezTo>
                      <a:pt x="1358" y="53"/>
                      <a:pt x="1358" y="53"/>
                      <a:pt x="1358" y="53"/>
                    </a:cubicBezTo>
                    <a:cubicBezTo>
                      <a:pt x="1358" y="53"/>
                      <a:pt x="1307" y="68"/>
                      <a:pt x="1309" y="61"/>
                    </a:cubicBezTo>
                    <a:cubicBezTo>
                      <a:pt x="1311" y="54"/>
                      <a:pt x="1371" y="47"/>
                      <a:pt x="1392" y="47"/>
                    </a:cubicBezTo>
                    <a:cubicBezTo>
                      <a:pt x="1413" y="47"/>
                      <a:pt x="1548" y="45"/>
                      <a:pt x="1557" y="45"/>
                    </a:cubicBezTo>
                    <a:cubicBezTo>
                      <a:pt x="1566" y="45"/>
                      <a:pt x="1645" y="43"/>
                      <a:pt x="1636" y="35"/>
                    </a:cubicBezTo>
                    <a:cubicBezTo>
                      <a:pt x="1627" y="27"/>
                      <a:pt x="1577" y="24"/>
                      <a:pt x="1558" y="27"/>
                    </a:cubicBezTo>
                    <a:cubicBezTo>
                      <a:pt x="1539" y="30"/>
                      <a:pt x="1526" y="29"/>
                      <a:pt x="1526" y="29"/>
                    </a:cubicBezTo>
                    <a:cubicBezTo>
                      <a:pt x="1526" y="29"/>
                      <a:pt x="1551" y="18"/>
                      <a:pt x="1535" y="17"/>
                    </a:cubicBezTo>
                    <a:cubicBezTo>
                      <a:pt x="1519" y="16"/>
                      <a:pt x="1492" y="19"/>
                      <a:pt x="1492" y="19"/>
                    </a:cubicBezTo>
                    <a:cubicBezTo>
                      <a:pt x="1492" y="19"/>
                      <a:pt x="1462" y="18"/>
                      <a:pt x="1455" y="16"/>
                    </a:cubicBezTo>
                    <a:cubicBezTo>
                      <a:pt x="1448" y="14"/>
                      <a:pt x="1483" y="17"/>
                      <a:pt x="1490" y="10"/>
                    </a:cubicBezTo>
                    <a:cubicBezTo>
                      <a:pt x="1497" y="3"/>
                      <a:pt x="1454" y="5"/>
                      <a:pt x="1432" y="5"/>
                    </a:cubicBezTo>
                    <a:cubicBezTo>
                      <a:pt x="1410" y="5"/>
                      <a:pt x="1355" y="8"/>
                      <a:pt x="1355" y="8"/>
                    </a:cubicBezTo>
                    <a:cubicBezTo>
                      <a:pt x="1355" y="8"/>
                      <a:pt x="1315" y="4"/>
                      <a:pt x="1292" y="2"/>
                    </a:cubicBezTo>
                    <a:cubicBezTo>
                      <a:pt x="1269" y="0"/>
                      <a:pt x="1246" y="5"/>
                      <a:pt x="1237" y="6"/>
                    </a:cubicBezTo>
                    <a:cubicBezTo>
                      <a:pt x="1228" y="7"/>
                      <a:pt x="1210" y="7"/>
                      <a:pt x="1188" y="6"/>
                    </a:cubicBezTo>
                    <a:cubicBezTo>
                      <a:pt x="1166" y="5"/>
                      <a:pt x="1144" y="5"/>
                      <a:pt x="1146" y="10"/>
                    </a:cubicBezTo>
                    <a:cubicBezTo>
                      <a:pt x="1148" y="15"/>
                      <a:pt x="1177" y="16"/>
                      <a:pt x="1177" y="16"/>
                    </a:cubicBezTo>
                    <a:cubicBezTo>
                      <a:pt x="1177" y="16"/>
                      <a:pt x="1142" y="21"/>
                      <a:pt x="1129" y="20"/>
                    </a:cubicBezTo>
                    <a:cubicBezTo>
                      <a:pt x="1116" y="19"/>
                      <a:pt x="1061" y="13"/>
                      <a:pt x="1047" y="11"/>
                    </a:cubicBezTo>
                    <a:cubicBezTo>
                      <a:pt x="1033" y="9"/>
                      <a:pt x="995" y="13"/>
                      <a:pt x="990" y="13"/>
                    </a:cubicBezTo>
                    <a:cubicBezTo>
                      <a:pt x="985" y="13"/>
                      <a:pt x="935" y="19"/>
                      <a:pt x="956" y="24"/>
                    </a:cubicBezTo>
                    <a:cubicBezTo>
                      <a:pt x="977" y="29"/>
                      <a:pt x="1046" y="31"/>
                      <a:pt x="1046" y="31"/>
                    </a:cubicBezTo>
                    <a:cubicBezTo>
                      <a:pt x="1103" y="38"/>
                      <a:pt x="1103" y="38"/>
                      <a:pt x="1103" y="38"/>
                    </a:cubicBezTo>
                    <a:cubicBezTo>
                      <a:pt x="1103" y="38"/>
                      <a:pt x="1048" y="40"/>
                      <a:pt x="1040" y="40"/>
                    </a:cubicBezTo>
                    <a:cubicBezTo>
                      <a:pt x="1032" y="40"/>
                      <a:pt x="984" y="27"/>
                      <a:pt x="985" y="31"/>
                    </a:cubicBezTo>
                    <a:cubicBezTo>
                      <a:pt x="986" y="35"/>
                      <a:pt x="1006" y="38"/>
                      <a:pt x="1006" y="38"/>
                    </a:cubicBezTo>
                    <a:cubicBezTo>
                      <a:pt x="975" y="41"/>
                      <a:pt x="975" y="41"/>
                      <a:pt x="975" y="41"/>
                    </a:cubicBezTo>
                    <a:cubicBezTo>
                      <a:pt x="975" y="41"/>
                      <a:pt x="958" y="55"/>
                      <a:pt x="962" y="59"/>
                    </a:cubicBezTo>
                    <a:cubicBezTo>
                      <a:pt x="966" y="63"/>
                      <a:pt x="938" y="64"/>
                      <a:pt x="925" y="56"/>
                    </a:cubicBezTo>
                    <a:cubicBezTo>
                      <a:pt x="912" y="48"/>
                      <a:pt x="885" y="42"/>
                      <a:pt x="859" y="40"/>
                    </a:cubicBezTo>
                    <a:cubicBezTo>
                      <a:pt x="833" y="38"/>
                      <a:pt x="804" y="38"/>
                      <a:pt x="804" y="38"/>
                    </a:cubicBezTo>
                    <a:cubicBezTo>
                      <a:pt x="806" y="58"/>
                      <a:pt x="806" y="58"/>
                      <a:pt x="806" y="58"/>
                    </a:cubicBezTo>
                    <a:cubicBezTo>
                      <a:pt x="806" y="58"/>
                      <a:pt x="786" y="61"/>
                      <a:pt x="773" y="59"/>
                    </a:cubicBezTo>
                    <a:cubicBezTo>
                      <a:pt x="760" y="57"/>
                      <a:pt x="736" y="49"/>
                      <a:pt x="728" y="51"/>
                    </a:cubicBezTo>
                    <a:cubicBezTo>
                      <a:pt x="720" y="53"/>
                      <a:pt x="702" y="62"/>
                      <a:pt x="702" y="62"/>
                    </a:cubicBezTo>
                    <a:cubicBezTo>
                      <a:pt x="702" y="62"/>
                      <a:pt x="713" y="44"/>
                      <a:pt x="700" y="44"/>
                    </a:cubicBezTo>
                    <a:cubicBezTo>
                      <a:pt x="687" y="44"/>
                      <a:pt x="616" y="45"/>
                      <a:pt x="597" y="48"/>
                    </a:cubicBezTo>
                    <a:cubicBezTo>
                      <a:pt x="578" y="51"/>
                      <a:pt x="545" y="44"/>
                      <a:pt x="550" y="49"/>
                    </a:cubicBezTo>
                    <a:cubicBezTo>
                      <a:pt x="555" y="54"/>
                      <a:pt x="590" y="71"/>
                      <a:pt x="590" y="71"/>
                    </a:cubicBezTo>
                    <a:cubicBezTo>
                      <a:pt x="590" y="71"/>
                      <a:pt x="536" y="54"/>
                      <a:pt x="527" y="54"/>
                    </a:cubicBezTo>
                    <a:cubicBezTo>
                      <a:pt x="518" y="54"/>
                      <a:pt x="491" y="49"/>
                      <a:pt x="487" y="59"/>
                    </a:cubicBezTo>
                    <a:cubicBezTo>
                      <a:pt x="483" y="69"/>
                      <a:pt x="465" y="80"/>
                      <a:pt x="452" y="80"/>
                    </a:cubicBezTo>
                    <a:cubicBezTo>
                      <a:pt x="439" y="80"/>
                      <a:pt x="402" y="80"/>
                      <a:pt x="402" y="80"/>
                    </a:cubicBezTo>
                    <a:cubicBezTo>
                      <a:pt x="402" y="80"/>
                      <a:pt x="328" y="94"/>
                      <a:pt x="324" y="95"/>
                    </a:cubicBezTo>
                    <a:cubicBezTo>
                      <a:pt x="320" y="96"/>
                      <a:pt x="248" y="106"/>
                      <a:pt x="259" y="113"/>
                    </a:cubicBezTo>
                    <a:cubicBezTo>
                      <a:pt x="270" y="120"/>
                      <a:pt x="310" y="122"/>
                      <a:pt x="315" y="121"/>
                    </a:cubicBezTo>
                    <a:cubicBezTo>
                      <a:pt x="320" y="120"/>
                      <a:pt x="335" y="118"/>
                      <a:pt x="335" y="118"/>
                    </a:cubicBezTo>
                    <a:cubicBezTo>
                      <a:pt x="311" y="128"/>
                      <a:pt x="311" y="128"/>
                      <a:pt x="311" y="128"/>
                    </a:cubicBezTo>
                    <a:cubicBezTo>
                      <a:pt x="300" y="139"/>
                      <a:pt x="300" y="139"/>
                      <a:pt x="300" y="139"/>
                    </a:cubicBezTo>
                    <a:cubicBezTo>
                      <a:pt x="300" y="139"/>
                      <a:pt x="253" y="157"/>
                      <a:pt x="236" y="157"/>
                    </a:cubicBezTo>
                    <a:cubicBezTo>
                      <a:pt x="219" y="157"/>
                      <a:pt x="151" y="157"/>
                      <a:pt x="137" y="169"/>
                    </a:cubicBezTo>
                    <a:cubicBezTo>
                      <a:pt x="123" y="181"/>
                      <a:pt x="112" y="167"/>
                      <a:pt x="112" y="167"/>
                    </a:cubicBezTo>
                    <a:cubicBezTo>
                      <a:pt x="90" y="176"/>
                      <a:pt x="90" y="176"/>
                      <a:pt x="90" y="176"/>
                    </a:cubicBezTo>
                    <a:cubicBezTo>
                      <a:pt x="57" y="175"/>
                      <a:pt x="57" y="175"/>
                      <a:pt x="57" y="175"/>
                    </a:cubicBezTo>
                    <a:cubicBezTo>
                      <a:pt x="57" y="175"/>
                      <a:pt x="0" y="181"/>
                      <a:pt x="14" y="191"/>
                    </a:cubicBezTo>
                    <a:cubicBezTo>
                      <a:pt x="28" y="201"/>
                      <a:pt x="51" y="212"/>
                      <a:pt x="51" y="212"/>
                    </a:cubicBezTo>
                    <a:cubicBezTo>
                      <a:pt x="71" y="204"/>
                      <a:pt x="71" y="204"/>
                      <a:pt x="71" y="204"/>
                    </a:cubicBezTo>
                    <a:cubicBezTo>
                      <a:pt x="71" y="204"/>
                      <a:pt x="73" y="216"/>
                      <a:pt x="83" y="219"/>
                    </a:cubicBezTo>
                    <a:cubicBezTo>
                      <a:pt x="93" y="222"/>
                      <a:pt x="116" y="209"/>
                      <a:pt x="116" y="209"/>
                    </a:cubicBezTo>
                    <a:cubicBezTo>
                      <a:pt x="116" y="209"/>
                      <a:pt x="112" y="220"/>
                      <a:pt x="122" y="220"/>
                    </a:cubicBezTo>
                    <a:cubicBezTo>
                      <a:pt x="132" y="220"/>
                      <a:pt x="169" y="204"/>
                      <a:pt x="176" y="209"/>
                    </a:cubicBezTo>
                    <a:cubicBezTo>
                      <a:pt x="183" y="214"/>
                      <a:pt x="181" y="220"/>
                      <a:pt x="181" y="220"/>
                    </a:cubicBezTo>
                    <a:cubicBezTo>
                      <a:pt x="170" y="221"/>
                      <a:pt x="170" y="221"/>
                      <a:pt x="170" y="221"/>
                    </a:cubicBezTo>
                    <a:cubicBezTo>
                      <a:pt x="170" y="221"/>
                      <a:pt x="162" y="232"/>
                      <a:pt x="155" y="232"/>
                    </a:cubicBezTo>
                    <a:cubicBezTo>
                      <a:pt x="148" y="232"/>
                      <a:pt x="152" y="226"/>
                      <a:pt x="141" y="226"/>
                    </a:cubicBezTo>
                    <a:cubicBezTo>
                      <a:pt x="130" y="226"/>
                      <a:pt x="96" y="231"/>
                      <a:pt x="96" y="231"/>
                    </a:cubicBezTo>
                    <a:cubicBezTo>
                      <a:pt x="69" y="228"/>
                      <a:pt x="69" y="228"/>
                      <a:pt x="69" y="228"/>
                    </a:cubicBezTo>
                    <a:cubicBezTo>
                      <a:pt x="69" y="228"/>
                      <a:pt x="31" y="208"/>
                      <a:pt x="20" y="227"/>
                    </a:cubicBezTo>
                    <a:cubicBezTo>
                      <a:pt x="9" y="246"/>
                      <a:pt x="36" y="252"/>
                      <a:pt x="44" y="251"/>
                    </a:cubicBezTo>
                    <a:cubicBezTo>
                      <a:pt x="52" y="250"/>
                      <a:pt x="79" y="251"/>
                      <a:pt x="79" y="251"/>
                    </a:cubicBezTo>
                    <a:cubicBezTo>
                      <a:pt x="79" y="251"/>
                      <a:pt x="36" y="254"/>
                      <a:pt x="41" y="261"/>
                    </a:cubicBezTo>
                    <a:cubicBezTo>
                      <a:pt x="46" y="268"/>
                      <a:pt x="74" y="274"/>
                      <a:pt x="74" y="274"/>
                    </a:cubicBezTo>
                    <a:cubicBezTo>
                      <a:pt x="98" y="277"/>
                      <a:pt x="98" y="277"/>
                      <a:pt x="98" y="277"/>
                    </a:cubicBezTo>
                    <a:cubicBezTo>
                      <a:pt x="98" y="277"/>
                      <a:pt x="99" y="267"/>
                      <a:pt x="106" y="266"/>
                    </a:cubicBezTo>
                    <a:cubicBezTo>
                      <a:pt x="113" y="265"/>
                      <a:pt x="121" y="276"/>
                      <a:pt x="121" y="276"/>
                    </a:cubicBezTo>
                    <a:cubicBezTo>
                      <a:pt x="144" y="267"/>
                      <a:pt x="144" y="267"/>
                      <a:pt x="144" y="267"/>
                    </a:cubicBezTo>
                    <a:cubicBezTo>
                      <a:pt x="144" y="267"/>
                      <a:pt x="148" y="277"/>
                      <a:pt x="151" y="277"/>
                    </a:cubicBezTo>
                    <a:cubicBezTo>
                      <a:pt x="154" y="277"/>
                      <a:pt x="184" y="263"/>
                      <a:pt x="193" y="265"/>
                    </a:cubicBezTo>
                    <a:cubicBezTo>
                      <a:pt x="202" y="267"/>
                      <a:pt x="209" y="271"/>
                      <a:pt x="214" y="271"/>
                    </a:cubicBezTo>
                    <a:cubicBezTo>
                      <a:pt x="219" y="271"/>
                      <a:pt x="230" y="262"/>
                      <a:pt x="236" y="262"/>
                    </a:cubicBezTo>
                    <a:cubicBezTo>
                      <a:pt x="242" y="262"/>
                      <a:pt x="259" y="273"/>
                      <a:pt x="259" y="273"/>
                    </a:cubicBezTo>
                    <a:cubicBezTo>
                      <a:pt x="259" y="273"/>
                      <a:pt x="291" y="268"/>
                      <a:pt x="313" y="274"/>
                    </a:cubicBezTo>
                    <a:cubicBezTo>
                      <a:pt x="335" y="280"/>
                      <a:pt x="339" y="291"/>
                      <a:pt x="339" y="291"/>
                    </a:cubicBezTo>
                    <a:cubicBezTo>
                      <a:pt x="339" y="291"/>
                      <a:pt x="361" y="286"/>
                      <a:pt x="361" y="291"/>
                    </a:cubicBezTo>
                    <a:cubicBezTo>
                      <a:pt x="361" y="296"/>
                      <a:pt x="351" y="306"/>
                      <a:pt x="351" y="306"/>
                    </a:cubicBezTo>
                    <a:cubicBezTo>
                      <a:pt x="357" y="315"/>
                      <a:pt x="357" y="315"/>
                      <a:pt x="357" y="315"/>
                    </a:cubicBezTo>
                    <a:cubicBezTo>
                      <a:pt x="357" y="315"/>
                      <a:pt x="390" y="321"/>
                      <a:pt x="390" y="330"/>
                    </a:cubicBezTo>
                    <a:cubicBezTo>
                      <a:pt x="390" y="339"/>
                      <a:pt x="374" y="343"/>
                      <a:pt x="374" y="343"/>
                    </a:cubicBezTo>
                    <a:cubicBezTo>
                      <a:pt x="383" y="359"/>
                      <a:pt x="383" y="359"/>
                      <a:pt x="383" y="359"/>
                    </a:cubicBezTo>
                    <a:cubicBezTo>
                      <a:pt x="399" y="369"/>
                      <a:pt x="399" y="369"/>
                      <a:pt x="399" y="369"/>
                    </a:cubicBezTo>
                    <a:cubicBezTo>
                      <a:pt x="385" y="374"/>
                      <a:pt x="385" y="374"/>
                      <a:pt x="385" y="374"/>
                    </a:cubicBezTo>
                    <a:cubicBezTo>
                      <a:pt x="395" y="387"/>
                      <a:pt x="395" y="387"/>
                      <a:pt x="395" y="387"/>
                    </a:cubicBezTo>
                    <a:cubicBezTo>
                      <a:pt x="395" y="387"/>
                      <a:pt x="383" y="386"/>
                      <a:pt x="383" y="395"/>
                    </a:cubicBezTo>
                    <a:cubicBezTo>
                      <a:pt x="383" y="404"/>
                      <a:pt x="405" y="407"/>
                      <a:pt x="402" y="412"/>
                    </a:cubicBezTo>
                    <a:cubicBezTo>
                      <a:pt x="399" y="417"/>
                      <a:pt x="380" y="426"/>
                      <a:pt x="380" y="426"/>
                    </a:cubicBezTo>
                    <a:cubicBezTo>
                      <a:pt x="388" y="433"/>
                      <a:pt x="388" y="433"/>
                      <a:pt x="388" y="433"/>
                    </a:cubicBezTo>
                    <a:cubicBezTo>
                      <a:pt x="388" y="433"/>
                      <a:pt x="347" y="438"/>
                      <a:pt x="348" y="441"/>
                    </a:cubicBezTo>
                    <a:cubicBezTo>
                      <a:pt x="349" y="444"/>
                      <a:pt x="357" y="446"/>
                      <a:pt x="370" y="445"/>
                    </a:cubicBezTo>
                    <a:cubicBezTo>
                      <a:pt x="383" y="444"/>
                      <a:pt x="367" y="455"/>
                      <a:pt x="367" y="455"/>
                    </a:cubicBezTo>
                    <a:cubicBezTo>
                      <a:pt x="367" y="455"/>
                      <a:pt x="316" y="456"/>
                      <a:pt x="328" y="465"/>
                    </a:cubicBezTo>
                    <a:cubicBezTo>
                      <a:pt x="340" y="474"/>
                      <a:pt x="353" y="479"/>
                      <a:pt x="369" y="478"/>
                    </a:cubicBezTo>
                    <a:cubicBezTo>
                      <a:pt x="385" y="477"/>
                      <a:pt x="389" y="467"/>
                      <a:pt x="389" y="467"/>
                    </a:cubicBezTo>
                    <a:cubicBezTo>
                      <a:pt x="389" y="467"/>
                      <a:pt x="416" y="469"/>
                      <a:pt x="414" y="460"/>
                    </a:cubicBezTo>
                    <a:cubicBezTo>
                      <a:pt x="412" y="451"/>
                      <a:pt x="419" y="439"/>
                      <a:pt x="419" y="439"/>
                    </a:cubicBezTo>
                    <a:cubicBezTo>
                      <a:pt x="421" y="458"/>
                      <a:pt x="421" y="458"/>
                      <a:pt x="421" y="458"/>
                    </a:cubicBezTo>
                    <a:cubicBezTo>
                      <a:pt x="438" y="447"/>
                      <a:pt x="438" y="447"/>
                      <a:pt x="438" y="447"/>
                    </a:cubicBezTo>
                    <a:cubicBezTo>
                      <a:pt x="438" y="447"/>
                      <a:pt x="430" y="453"/>
                      <a:pt x="434" y="458"/>
                    </a:cubicBezTo>
                    <a:cubicBezTo>
                      <a:pt x="438" y="463"/>
                      <a:pt x="463" y="465"/>
                      <a:pt x="463" y="465"/>
                    </a:cubicBezTo>
                    <a:cubicBezTo>
                      <a:pt x="454" y="471"/>
                      <a:pt x="454" y="471"/>
                      <a:pt x="454" y="471"/>
                    </a:cubicBezTo>
                    <a:cubicBezTo>
                      <a:pt x="454" y="471"/>
                      <a:pt x="448" y="484"/>
                      <a:pt x="457" y="487"/>
                    </a:cubicBezTo>
                    <a:cubicBezTo>
                      <a:pt x="466" y="490"/>
                      <a:pt x="479" y="504"/>
                      <a:pt x="473" y="510"/>
                    </a:cubicBezTo>
                    <a:cubicBezTo>
                      <a:pt x="467" y="516"/>
                      <a:pt x="456" y="513"/>
                      <a:pt x="456" y="513"/>
                    </a:cubicBezTo>
                    <a:cubicBezTo>
                      <a:pt x="456" y="519"/>
                      <a:pt x="456" y="519"/>
                      <a:pt x="456" y="519"/>
                    </a:cubicBezTo>
                    <a:cubicBezTo>
                      <a:pt x="456" y="519"/>
                      <a:pt x="441" y="518"/>
                      <a:pt x="432" y="517"/>
                    </a:cubicBezTo>
                    <a:cubicBezTo>
                      <a:pt x="423" y="516"/>
                      <a:pt x="415" y="506"/>
                      <a:pt x="415" y="506"/>
                    </a:cubicBezTo>
                    <a:cubicBezTo>
                      <a:pt x="375" y="505"/>
                      <a:pt x="375" y="505"/>
                      <a:pt x="375" y="505"/>
                    </a:cubicBezTo>
                    <a:cubicBezTo>
                      <a:pt x="375" y="505"/>
                      <a:pt x="351" y="483"/>
                      <a:pt x="345" y="505"/>
                    </a:cubicBezTo>
                    <a:cubicBezTo>
                      <a:pt x="343" y="514"/>
                      <a:pt x="355" y="520"/>
                      <a:pt x="362" y="521"/>
                    </a:cubicBezTo>
                    <a:cubicBezTo>
                      <a:pt x="369" y="522"/>
                      <a:pt x="374" y="518"/>
                      <a:pt x="383" y="522"/>
                    </a:cubicBezTo>
                    <a:cubicBezTo>
                      <a:pt x="392" y="526"/>
                      <a:pt x="400" y="540"/>
                      <a:pt x="415" y="540"/>
                    </a:cubicBezTo>
                    <a:cubicBezTo>
                      <a:pt x="430" y="540"/>
                      <a:pt x="441" y="534"/>
                      <a:pt x="441" y="534"/>
                    </a:cubicBezTo>
                    <a:cubicBezTo>
                      <a:pt x="456" y="542"/>
                      <a:pt x="456" y="542"/>
                      <a:pt x="456" y="542"/>
                    </a:cubicBezTo>
                    <a:cubicBezTo>
                      <a:pt x="470" y="533"/>
                      <a:pt x="470" y="533"/>
                      <a:pt x="470" y="533"/>
                    </a:cubicBezTo>
                    <a:cubicBezTo>
                      <a:pt x="467" y="547"/>
                      <a:pt x="467" y="547"/>
                      <a:pt x="467" y="547"/>
                    </a:cubicBezTo>
                    <a:cubicBezTo>
                      <a:pt x="467" y="547"/>
                      <a:pt x="452" y="540"/>
                      <a:pt x="450" y="547"/>
                    </a:cubicBezTo>
                    <a:cubicBezTo>
                      <a:pt x="448" y="554"/>
                      <a:pt x="459" y="561"/>
                      <a:pt x="459" y="561"/>
                    </a:cubicBezTo>
                    <a:cubicBezTo>
                      <a:pt x="459" y="561"/>
                      <a:pt x="432" y="561"/>
                      <a:pt x="433" y="566"/>
                    </a:cubicBezTo>
                    <a:cubicBezTo>
                      <a:pt x="434" y="571"/>
                      <a:pt x="454" y="572"/>
                      <a:pt x="454" y="572"/>
                    </a:cubicBezTo>
                    <a:cubicBezTo>
                      <a:pt x="454" y="572"/>
                      <a:pt x="451" y="581"/>
                      <a:pt x="446" y="583"/>
                    </a:cubicBezTo>
                    <a:cubicBezTo>
                      <a:pt x="441" y="585"/>
                      <a:pt x="425" y="572"/>
                      <a:pt x="421" y="578"/>
                    </a:cubicBezTo>
                    <a:cubicBezTo>
                      <a:pt x="417" y="584"/>
                      <a:pt x="427" y="592"/>
                      <a:pt x="427" y="592"/>
                    </a:cubicBezTo>
                    <a:cubicBezTo>
                      <a:pt x="411" y="591"/>
                      <a:pt x="411" y="591"/>
                      <a:pt x="411" y="591"/>
                    </a:cubicBezTo>
                    <a:cubicBezTo>
                      <a:pt x="416" y="605"/>
                      <a:pt x="416" y="605"/>
                      <a:pt x="416" y="605"/>
                    </a:cubicBezTo>
                    <a:cubicBezTo>
                      <a:pt x="416" y="605"/>
                      <a:pt x="395" y="606"/>
                      <a:pt x="398" y="616"/>
                    </a:cubicBezTo>
                    <a:cubicBezTo>
                      <a:pt x="401" y="626"/>
                      <a:pt x="420" y="628"/>
                      <a:pt x="420" y="628"/>
                    </a:cubicBezTo>
                    <a:cubicBezTo>
                      <a:pt x="420" y="628"/>
                      <a:pt x="422" y="639"/>
                      <a:pt x="415" y="639"/>
                    </a:cubicBezTo>
                    <a:cubicBezTo>
                      <a:pt x="408" y="639"/>
                      <a:pt x="413" y="647"/>
                      <a:pt x="413" y="647"/>
                    </a:cubicBezTo>
                    <a:cubicBezTo>
                      <a:pt x="413" y="647"/>
                      <a:pt x="411" y="649"/>
                      <a:pt x="408" y="639"/>
                    </a:cubicBezTo>
                    <a:cubicBezTo>
                      <a:pt x="405" y="629"/>
                      <a:pt x="394" y="624"/>
                      <a:pt x="394" y="624"/>
                    </a:cubicBezTo>
                    <a:cubicBezTo>
                      <a:pt x="394" y="624"/>
                      <a:pt x="377" y="593"/>
                      <a:pt x="367" y="595"/>
                    </a:cubicBezTo>
                    <a:cubicBezTo>
                      <a:pt x="357" y="597"/>
                      <a:pt x="331" y="609"/>
                      <a:pt x="345" y="617"/>
                    </a:cubicBezTo>
                    <a:cubicBezTo>
                      <a:pt x="359" y="625"/>
                      <a:pt x="381" y="628"/>
                      <a:pt x="381" y="628"/>
                    </a:cubicBezTo>
                    <a:cubicBezTo>
                      <a:pt x="381" y="628"/>
                      <a:pt x="364" y="630"/>
                      <a:pt x="353" y="630"/>
                    </a:cubicBezTo>
                    <a:cubicBezTo>
                      <a:pt x="342" y="630"/>
                      <a:pt x="328" y="625"/>
                      <a:pt x="320" y="630"/>
                    </a:cubicBezTo>
                    <a:cubicBezTo>
                      <a:pt x="312" y="635"/>
                      <a:pt x="289" y="640"/>
                      <a:pt x="296" y="643"/>
                    </a:cubicBezTo>
                    <a:cubicBezTo>
                      <a:pt x="303" y="646"/>
                      <a:pt x="344" y="639"/>
                      <a:pt x="354" y="640"/>
                    </a:cubicBezTo>
                    <a:cubicBezTo>
                      <a:pt x="364" y="641"/>
                      <a:pt x="388" y="643"/>
                      <a:pt x="388" y="643"/>
                    </a:cubicBezTo>
                    <a:cubicBezTo>
                      <a:pt x="388" y="643"/>
                      <a:pt x="368" y="644"/>
                      <a:pt x="362" y="644"/>
                    </a:cubicBezTo>
                    <a:cubicBezTo>
                      <a:pt x="356" y="644"/>
                      <a:pt x="290" y="649"/>
                      <a:pt x="284" y="654"/>
                    </a:cubicBezTo>
                    <a:cubicBezTo>
                      <a:pt x="278" y="659"/>
                      <a:pt x="278" y="663"/>
                      <a:pt x="294" y="662"/>
                    </a:cubicBezTo>
                    <a:cubicBezTo>
                      <a:pt x="310" y="661"/>
                      <a:pt x="348" y="657"/>
                      <a:pt x="348" y="657"/>
                    </a:cubicBezTo>
                    <a:cubicBezTo>
                      <a:pt x="348" y="657"/>
                      <a:pt x="375" y="656"/>
                      <a:pt x="376" y="659"/>
                    </a:cubicBezTo>
                    <a:cubicBezTo>
                      <a:pt x="377" y="662"/>
                      <a:pt x="330" y="664"/>
                      <a:pt x="330" y="664"/>
                    </a:cubicBezTo>
                    <a:cubicBezTo>
                      <a:pt x="330" y="664"/>
                      <a:pt x="275" y="666"/>
                      <a:pt x="276" y="668"/>
                    </a:cubicBezTo>
                    <a:cubicBezTo>
                      <a:pt x="277" y="670"/>
                      <a:pt x="286" y="675"/>
                      <a:pt x="295" y="675"/>
                    </a:cubicBezTo>
                    <a:cubicBezTo>
                      <a:pt x="304" y="675"/>
                      <a:pt x="318" y="682"/>
                      <a:pt x="318" y="682"/>
                    </a:cubicBezTo>
                    <a:cubicBezTo>
                      <a:pt x="318" y="682"/>
                      <a:pt x="294" y="676"/>
                      <a:pt x="289" y="682"/>
                    </a:cubicBezTo>
                    <a:cubicBezTo>
                      <a:pt x="284" y="688"/>
                      <a:pt x="289" y="690"/>
                      <a:pt x="289" y="690"/>
                    </a:cubicBezTo>
                    <a:cubicBezTo>
                      <a:pt x="289" y="690"/>
                      <a:pt x="258" y="699"/>
                      <a:pt x="262" y="705"/>
                    </a:cubicBezTo>
                    <a:cubicBezTo>
                      <a:pt x="287" y="706"/>
                      <a:pt x="287" y="706"/>
                      <a:pt x="287" y="706"/>
                    </a:cubicBezTo>
                    <a:cubicBezTo>
                      <a:pt x="264" y="716"/>
                      <a:pt x="264" y="716"/>
                      <a:pt x="264" y="716"/>
                    </a:cubicBezTo>
                    <a:cubicBezTo>
                      <a:pt x="264" y="716"/>
                      <a:pt x="263" y="729"/>
                      <a:pt x="273" y="727"/>
                    </a:cubicBezTo>
                    <a:cubicBezTo>
                      <a:pt x="283" y="725"/>
                      <a:pt x="306" y="725"/>
                      <a:pt x="306" y="725"/>
                    </a:cubicBezTo>
                    <a:cubicBezTo>
                      <a:pt x="306" y="725"/>
                      <a:pt x="267" y="736"/>
                      <a:pt x="274" y="744"/>
                    </a:cubicBezTo>
                    <a:cubicBezTo>
                      <a:pt x="281" y="752"/>
                      <a:pt x="304" y="740"/>
                      <a:pt x="304" y="740"/>
                    </a:cubicBezTo>
                    <a:cubicBezTo>
                      <a:pt x="304" y="740"/>
                      <a:pt x="287" y="755"/>
                      <a:pt x="285" y="762"/>
                    </a:cubicBezTo>
                    <a:cubicBezTo>
                      <a:pt x="283" y="769"/>
                      <a:pt x="280" y="775"/>
                      <a:pt x="286" y="775"/>
                    </a:cubicBezTo>
                    <a:cubicBezTo>
                      <a:pt x="292" y="775"/>
                      <a:pt x="303" y="767"/>
                      <a:pt x="303" y="767"/>
                    </a:cubicBezTo>
                    <a:cubicBezTo>
                      <a:pt x="303" y="767"/>
                      <a:pt x="298" y="783"/>
                      <a:pt x="291" y="783"/>
                    </a:cubicBezTo>
                    <a:cubicBezTo>
                      <a:pt x="284" y="783"/>
                      <a:pt x="269" y="792"/>
                      <a:pt x="270" y="802"/>
                    </a:cubicBezTo>
                    <a:cubicBezTo>
                      <a:pt x="271" y="812"/>
                      <a:pt x="294" y="793"/>
                      <a:pt x="294" y="793"/>
                    </a:cubicBezTo>
                    <a:cubicBezTo>
                      <a:pt x="294" y="793"/>
                      <a:pt x="309" y="776"/>
                      <a:pt x="313" y="780"/>
                    </a:cubicBezTo>
                    <a:cubicBezTo>
                      <a:pt x="317" y="784"/>
                      <a:pt x="341" y="774"/>
                      <a:pt x="341" y="774"/>
                    </a:cubicBezTo>
                    <a:cubicBezTo>
                      <a:pt x="338" y="784"/>
                      <a:pt x="338" y="784"/>
                      <a:pt x="338" y="784"/>
                    </a:cubicBezTo>
                    <a:cubicBezTo>
                      <a:pt x="352" y="774"/>
                      <a:pt x="352" y="774"/>
                      <a:pt x="352" y="774"/>
                    </a:cubicBezTo>
                    <a:cubicBezTo>
                      <a:pt x="338" y="791"/>
                      <a:pt x="338" y="791"/>
                      <a:pt x="338" y="791"/>
                    </a:cubicBezTo>
                    <a:cubicBezTo>
                      <a:pt x="360" y="794"/>
                      <a:pt x="360" y="794"/>
                      <a:pt x="360" y="794"/>
                    </a:cubicBezTo>
                    <a:cubicBezTo>
                      <a:pt x="360" y="794"/>
                      <a:pt x="330" y="794"/>
                      <a:pt x="328" y="798"/>
                    </a:cubicBezTo>
                    <a:cubicBezTo>
                      <a:pt x="326" y="802"/>
                      <a:pt x="335" y="804"/>
                      <a:pt x="335" y="804"/>
                    </a:cubicBezTo>
                    <a:cubicBezTo>
                      <a:pt x="335" y="804"/>
                      <a:pt x="312" y="809"/>
                      <a:pt x="306" y="810"/>
                    </a:cubicBezTo>
                    <a:cubicBezTo>
                      <a:pt x="300" y="811"/>
                      <a:pt x="307" y="816"/>
                      <a:pt x="307" y="816"/>
                    </a:cubicBezTo>
                    <a:cubicBezTo>
                      <a:pt x="307" y="816"/>
                      <a:pt x="283" y="821"/>
                      <a:pt x="281" y="826"/>
                    </a:cubicBezTo>
                    <a:cubicBezTo>
                      <a:pt x="279" y="831"/>
                      <a:pt x="305" y="829"/>
                      <a:pt x="305" y="829"/>
                    </a:cubicBezTo>
                    <a:cubicBezTo>
                      <a:pt x="305" y="829"/>
                      <a:pt x="284" y="833"/>
                      <a:pt x="284" y="836"/>
                    </a:cubicBezTo>
                    <a:cubicBezTo>
                      <a:pt x="284" y="839"/>
                      <a:pt x="304" y="844"/>
                      <a:pt x="304" y="844"/>
                    </a:cubicBezTo>
                    <a:cubicBezTo>
                      <a:pt x="304" y="844"/>
                      <a:pt x="287" y="844"/>
                      <a:pt x="286" y="851"/>
                    </a:cubicBezTo>
                    <a:cubicBezTo>
                      <a:pt x="285" y="858"/>
                      <a:pt x="310" y="855"/>
                      <a:pt x="310" y="855"/>
                    </a:cubicBezTo>
                    <a:cubicBezTo>
                      <a:pt x="298" y="870"/>
                      <a:pt x="298" y="870"/>
                      <a:pt x="298" y="870"/>
                    </a:cubicBezTo>
                    <a:cubicBezTo>
                      <a:pt x="317" y="867"/>
                      <a:pt x="317" y="867"/>
                      <a:pt x="317" y="867"/>
                    </a:cubicBezTo>
                    <a:cubicBezTo>
                      <a:pt x="317" y="867"/>
                      <a:pt x="295" y="880"/>
                      <a:pt x="298" y="891"/>
                    </a:cubicBezTo>
                    <a:cubicBezTo>
                      <a:pt x="301" y="902"/>
                      <a:pt x="324" y="900"/>
                      <a:pt x="324" y="900"/>
                    </a:cubicBezTo>
                    <a:cubicBezTo>
                      <a:pt x="313" y="915"/>
                      <a:pt x="313" y="915"/>
                      <a:pt x="313" y="915"/>
                    </a:cubicBezTo>
                    <a:cubicBezTo>
                      <a:pt x="334" y="908"/>
                      <a:pt x="334" y="908"/>
                      <a:pt x="334" y="908"/>
                    </a:cubicBezTo>
                    <a:cubicBezTo>
                      <a:pt x="334" y="908"/>
                      <a:pt x="319" y="920"/>
                      <a:pt x="322" y="925"/>
                    </a:cubicBezTo>
                    <a:cubicBezTo>
                      <a:pt x="325" y="930"/>
                      <a:pt x="344" y="931"/>
                      <a:pt x="344" y="931"/>
                    </a:cubicBezTo>
                    <a:cubicBezTo>
                      <a:pt x="344" y="931"/>
                      <a:pt x="334" y="934"/>
                      <a:pt x="337" y="940"/>
                    </a:cubicBezTo>
                    <a:cubicBezTo>
                      <a:pt x="340" y="946"/>
                      <a:pt x="351" y="943"/>
                      <a:pt x="351" y="943"/>
                    </a:cubicBezTo>
                    <a:cubicBezTo>
                      <a:pt x="351" y="943"/>
                      <a:pt x="336" y="955"/>
                      <a:pt x="339" y="959"/>
                    </a:cubicBezTo>
                    <a:cubicBezTo>
                      <a:pt x="342" y="963"/>
                      <a:pt x="358" y="961"/>
                      <a:pt x="358" y="961"/>
                    </a:cubicBezTo>
                    <a:cubicBezTo>
                      <a:pt x="356" y="969"/>
                      <a:pt x="356" y="969"/>
                      <a:pt x="356" y="969"/>
                    </a:cubicBezTo>
                    <a:cubicBezTo>
                      <a:pt x="382" y="963"/>
                      <a:pt x="382" y="963"/>
                      <a:pt x="382" y="963"/>
                    </a:cubicBezTo>
                    <a:cubicBezTo>
                      <a:pt x="382" y="963"/>
                      <a:pt x="390" y="976"/>
                      <a:pt x="398" y="969"/>
                    </a:cubicBezTo>
                    <a:cubicBezTo>
                      <a:pt x="406" y="962"/>
                      <a:pt x="431" y="946"/>
                      <a:pt x="435" y="948"/>
                    </a:cubicBezTo>
                    <a:cubicBezTo>
                      <a:pt x="439" y="950"/>
                      <a:pt x="428" y="958"/>
                      <a:pt x="428" y="958"/>
                    </a:cubicBezTo>
                    <a:cubicBezTo>
                      <a:pt x="443" y="962"/>
                      <a:pt x="443" y="962"/>
                      <a:pt x="443" y="962"/>
                    </a:cubicBezTo>
                    <a:cubicBezTo>
                      <a:pt x="457" y="955"/>
                      <a:pt x="457" y="955"/>
                      <a:pt x="457" y="955"/>
                    </a:cubicBezTo>
                    <a:cubicBezTo>
                      <a:pt x="457" y="955"/>
                      <a:pt x="436" y="968"/>
                      <a:pt x="431" y="973"/>
                    </a:cubicBezTo>
                    <a:cubicBezTo>
                      <a:pt x="426" y="978"/>
                      <a:pt x="422" y="983"/>
                      <a:pt x="430" y="983"/>
                    </a:cubicBezTo>
                    <a:cubicBezTo>
                      <a:pt x="438" y="983"/>
                      <a:pt x="465" y="978"/>
                      <a:pt x="465" y="978"/>
                    </a:cubicBezTo>
                    <a:cubicBezTo>
                      <a:pt x="465" y="978"/>
                      <a:pt x="434" y="994"/>
                      <a:pt x="443" y="1000"/>
                    </a:cubicBezTo>
                    <a:cubicBezTo>
                      <a:pt x="452" y="1006"/>
                      <a:pt x="471" y="1000"/>
                      <a:pt x="471" y="1000"/>
                    </a:cubicBezTo>
                    <a:cubicBezTo>
                      <a:pt x="471" y="1000"/>
                      <a:pt x="481" y="1019"/>
                      <a:pt x="493" y="1012"/>
                    </a:cubicBezTo>
                    <a:cubicBezTo>
                      <a:pt x="505" y="1005"/>
                      <a:pt x="511" y="998"/>
                      <a:pt x="511" y="998"/>
                    </a:cubicBezTo>
                    <a:cubicBezTo>
                      <a:pt x="511" y="998"/>
                      <a:pt x="506" y="995"/>
                      <a:pt x="502" y="989"/>
                    </a:cubicBezTo>
                    <a:cubicBezTo>
                      <a:pt x="498" y="983"/>
                      <a:pt x="515" y="990"/>
                      <a:pt x="520" y="985"/>
                    </a:cubicBezTo>
                    <a:cubicBezTo>
                      <a:pt x="525" y="980"/>
                      <a:pt x="524" y="964"/>
                      <a:pt x="524" y="964"/>
                    </a:cubicBezTo>
                    <a:cubicBezTo>
                      <a:pt x="524" y="964"/>
                      <a:pt x="546" y="974"/>
                      <a:pt x="545" y="964"/>
                    </a:cubicBezTo>
                    <a:cubicBezTo>
                      <a:pt x="544" y="954"/>
                      <a:pt x="540" y="948"/>
                      <a:pt x="540" y="948"/>
                    </a:cubicBezTo>
                    <a:cubicBezTo>
                      <a:pt x="540" y="948"/>
                      <a:pt x="546" y="957"/>
                      <a:pt x="552" y="958"/>
                    </a:cubicBezTo>
                    <a:cubicBezTo>
                      <a:pt x="557" y="958"/>
                      <a:pt x="562" y="949"/>
                      <a:pt x="559" y="944"/>
                    </a:cubicBezTo>
                    <a:cubicBezTo>
                      <a:pt x="553" y="934"/>
                      <a:pt x="547" y="931"/>
                      <a:pt x="547" y="931"/>
                    </a:cubicBezTo>
                    <a:cubicBezTo>
                      <a:pt x="547" y="931"/>
                      <a:pt x="569" y="937"/>
                      <a:pt x="569" y="933"/>
                    </a:cubicBezTo>
                    <a:cubicBezTo>
                      <a:pt x="569" y="929"/>
                      <a:pt x="564" y="923"/>
                      <a:pt x="564" y="923"/>
                    </a:cubicBezTo>
                    <a:cubicBezTo>
                      <a:pt x="582" y="922"/>
                      <a:pt x="582" y="922"/>
                      <a:pt x="582" y="922"/>
                    </a:cubicBezTo>
                    <a:cubicBezTo>
                      <a:pt x="574" y="908"/>
                      <a:pt x="574" y="908"/>
                      <a:pt x="574" y="908"/>
                    </a:cubicBezTo>
                    <a:cubicBezTo>
                      <a:pt x="585" y="903"/>
                      <a:pt x="585" y="903"/>
                      <a:pt x="585" y="903"/>
                    </a:cubicBezTo>
                    <a:cubicBezTo>
                      <a:pt x="585" y="903"/>
                      <a:pt x="572" y="894"/>
                      <a:pt x="569" y="893"/>
                    </a:cubicBezTo>
                    <a:cubicBezTo>
                      <a:pt x="566" y="892"/>
                      <a:pt x="580" y="887"/>
                      <a:pt x="580" y="887"/>
                    </a:cubicBezTo>
                    <a:cubicBezTo>
                      <a:pt x="566" y="873"/>
                      <a:pt x="566" y="873"/>
                      <a:pt x="566" y="873"/>
                    </a:cubicBezTo>
                    <a:cubicBezTo>
                      <a:pt x="566" y="873"/>
                      <a:pt x="580" y="885"/>
                      <a:pt x="584" y="882"/>
                    </a:cubicBezTo>
                    <a:cubicBezTo>
                      <a:pt x="588" y="879"/>
                      <a:pt x="596" y="873"/>
                      <a:pt x="596" y="873"/>
                    </a:cubicBezTo>
                    <a:cubicBezTo>
                      <a:pt x="596" y="873"/>
                      <a:pt x="612" y="875"/>
                      <a:pt x="615" y="872"/>
                    </a:cubicBezTo>
                    <a:cubicBezTo>
                      <a:pt x="618" y="869"/>
                      <a:pt x="611" y="859"/>
                      <a:pt x="611" y="859"/>
                    </a:cubicBezTo>
                    <a:cubicBezTo>
                      <a:pt x="625" y="858"/>
                      <a:pt x="625" y="858"/>
                      <a:pt x="625" y="858"/>
                    </a:cubicBezTo>
                    <a:cubicBezTo>
                      <a:pt x="630" y="841"/>
                      <a:pt x="630" y="841"/>
                      <a:pt x="630" y="841"/>
                    </a:cubicBezTo>
                    <a:cubicBezTo>
                      <a:pt x="630" y="841"/>
                      <a:pt x="650" y="848"/>
                      <a:pt x="656" y="843"/>
                    </a:cubicBezTo>
                    <a:cubicBezTo>
                      <a:pt x="662" y="838"/>
                      <a:pt x="657" y="829"/>
                      <a:pt x="657" y="829"/>
                    </a:cubicBezTo>
                    <a:cubicBezTo>
                      <a:pt x="657" y="829"/>
                      <a:pt x="664" y="839"/>
                      <a:pt x="671" y="839"/>
                    </a:cubicBezTo>
                    <a:cubicBezTo>
                      <a:pt x="675" y="839"/>
                      <a:pt x="678" y="830"/>
                      <a:pt x="680" y="828"/>
                    </a:cubicBezTo>
                    <a:cubicBezTo>
                      <a:pt x="685" y="821"/>
                      <a:pt x="680" y="811"/>
                      <a:pt x="680" y="811"/>
                    </a:cubicBezTo>
                    <a:cubicBezTo>
                      <a:pt x="655" y="807"/>
                      <a:pt x="655" y="807"/>
                      <a:pt x="655" y="807"/>
                    </a:cubicBezTo>
                    <a:cubicBezTo>
                      <a:pt x="673" y="802"/>
                      <a:pt x="673" y="802"/>
                      <a:pt x="673" y="802"/>
                    </a:cubicBezTo>
                    <a:cubicBezTo>
                      <a:pt x="693" y="794"/>
                      <a:pt x="693" y="794"/>
                      <a:pt x="693" y="794"/>
                    </a:cubicBezTo>
                    <a:cubicBezTo>
                      <a:pt x="694" y="780"/>
                      <a:pt x="694" y="780"/>
                      <a:pt x="694" y="780"/>
                    </a:cubicBezTo>
                    <a:cubicBezTo>
                      <a:pt x="681" y="777"/>
                      <a:pt x="681" y="777"/>
                      <a:pt x="681" y="777"/>
                    </a:cubicBezTo>
                    <a:cubicBezTo>
                      <a:pt x="686" y="765"/>
                      <a:pt x="686" y="765"/>
                      <a:pt x="686" y="765"/>
                    </a:cubicBezTo>
                    <a:cubicBezTo>
                      <a:pt x="707" y="765"/>
                      <a:pt x="707" y="765"/>
                      <a:pt x="707" y="765"/>
                    </a:cubicBezTo>
                    <a:cubicBezTo>
                      <a:pt x="707" y="765"/>
                      <a:pt x="721" y="769"/>
                      <a:pt x="728" y="763"/>
                    </a:cubicBezTo>
                    <a:cubicBezTo>
                      <a:pt x="735" y="757"/>
                      <a:pt x="730" y="745"/>
                      <a:pt x="730" y="745"/>
                    </a:cubicBezTo>
                    <a:cubicBezTo>
                      <a:pt x="752" y="741"/>
                      <a:pt x="752" y="741"/>
                      <a:pt x="752" y="741"/>
                    </a:cubicBezTo>
                    <a:cubicBezTo>
                      <a:pt x="752" y="741"/>
                      <a:pt x="783" y="747"/>
                      <a:pt x="791" y="740"/>
                    </a:cubicBezTo>
                    <a:cubicBezTo>
                      <a:pt x="799" y="733"/>
                      <a:pt x="802" y="726"/>
                      <a:pt x="802" y="726"/>
                    </a:cubicBezTo>
                    <a:cubicBezTo>
                      <a:pt x="811" y="721"/>
                      <a:pt x="811" y="721"/>
                      <a:pt x="811" y="721"/>
                    </a:cubicBezTo>
                    <a:cubicBezTo>
                      <a:pt x="811" y="721"/>
                      <a:pt x="813" y="710"/>
                      <a:pt x="824" y="708"/>
                    </a:cubicBezTo>
                    <a:cubicBezTo>
                      <a:pt x="835" y="706"/>
                      <a:pt x="804" y="740"/>
                      <a:pt x="812" y="740"/>
                    </a:cubicBezTo>
                    <a:cubicBezTo>
                      <a:pt x="820" y="740"/>
                      <a:pt x="828" y="738"/>
                      <a:pt x="828" y="738"/>
                    </a:cubicBezTo>
                    <a:cubicBezTo>
                      <a:pt x="832" y="725"/>
                      <a:pt x="832" y="725"/>
                      <a:pt x="832" y="725"/>
                    </a:cubicBezTo>
                    <a:cubicBezTo>
                      <a:pt x="841" y="727"/>
                      <a:pt x="841" y="727"/>
                      <a:pt x="841" y="727"/>
                    </a:cubicBezTo>
                    <a:cubicBezTo>
                      <a:pt x="849" y="718"/>
                      <a:pt x="849" y="718"/>
                      <a:pt x="849" y="718"/>
                    </a:cubicBezTo>
                    <a:cubicBezTo>
                      <a:pt x="849" y="718"/>
                      <a:pt x="866" y="733"/>
                      <a:pt x="878" y="725"/>
                    </a:cubicBezTo>
                    <a:cubicBezTo>
                      <a:pt x="890" y="717"/>
                      <a:pt x="907" y="704"/>
                      <a:pt x="907" y="704"/>
                    </a:cubicBezTo>
                    <a:cubicBezTo>
                      <a:pt x="907" y="704"/>
                      <a:pt x="923" y="709"/>
                      <a:pt x="950" y="698"/>
                    </a:cubicBezTo>
                    <a:cubicBezTo>
                      <a:pt x="977" y="687"/>
                      <a:pt x="974" y="670"/>
                      <a:pt x="992" y="658"/>
                    </a:cubicBezTo>
                    <a:cubicBezTo>
                      <a:pt x="1010" y="646"/>
                      <a:pt x="1052" y="634"/>
                      <a:pt x="1052" y="634"/>
                    </a:cubicBezTo>
                    <a:cubicBezTo>
                      <a:pt x="1052" y="634"/>
                      <a:pt x="1055" y="625"/>
                      <a:pt x="1054" y="619"/>
                    </a:cubicBezTo>
                    <a:cubicBezTo>
                      <a:pt x="1053" y="613"/>
                      <a:pt x="1046" y="601"/>
                      <a:pt x="1053" y="599"/>
                    </a:cubicBezTo>
                    <a:cubicBezTo>
                      <a:pt x="1060" y="597"/>
                      <a:pt x="1071" y="625"/>
                      <a:pt x="1082" y="625"/>
                    </a:cubicBezTo>
                    <a:cubicBezTo>
                      <a:pt x="1082" y="625"/>
                      <a:pt x="1124" y="624"/>
                      <a:pt x="1135" y="622"/>
                    </a:cubicBezTo>
                    <a:cubicBezTo>
                      <a:pt x="1146" y="620"/>
                      <a:pt x="1167" y="609"/>
                      <a:pt x="1190" y="606"/>
                    </a:cubicBezTo>
                    <a:cubicBezTo>
                      <a:pt x="1213" y="603"/>
                      <a:pt x="1253" y="600"/>
                      <a:pt x="1260" y="598"/>
                    </a:cubicBezTo>
                    <a:cubicBezTo>
                      <a:pt x="1267" y="596"/>
                      <a:pt x="1273" y="589"/>
                      <a:pt x="1273" y="589"/>
                    </a:cubicBezTo>
                    <a:cubicBezTo>
                      <a:pt x="1291" y="589"/>
                      <a:pt x="1291" y="589"/>
                      <a:pt x="1291" y="589"/>
                    </a:cubicBezTo>
                    <a:cubicBezTo>
                      <a:pt x="1300" y="578"/>
                      <a:pt x="1300" y="578"/>
                      <a:pt x="1300" y="578"/>
                    </a:cubicBezTo>
                    <a:cubicBezTo>
                      <a:pt x="1317" y="578"/>
                      <a:pt x="1317" y="578"/>
                      <a:pt x="1317" y="578"/>
                    </a:cubicBezTo>
                    <a:cubicBezTo>
                      <a:pt x="1317" y="578"/>
                      <a:pt x="1335" y="561"/>
                      <a:pt x="1339" y="558"/>
                    </a:cubicBezTo>
                    <a:cubicBezTo>
                      <a:pt x="1343" y="555"/>
                      <a:pt x="1369" y="553"/>
                      <a:pt x="1369" y="553"/>
                    </a:cubicBezTo>
                    <a:cubicBezTo>
                      <a:pt x="1401" y="542"/>
                      <a:pt x="1401" y="542"/>
                      <a:pt x="1401" y="542"/>
                    </a:cubicBezTo>
                    <a:cubicBezTo>
                      <a:pt x="1422" y="537"/>
                      <a:pt x="1422" y="537"/>
                      <a:pt x="1422" y="537"/>
                    </a:cubicBezTo>
                    <a:cubicBezTo>
                      <a:pt x="1427" y="529"/>
                      <a:pt x="1427" y="529"/>
                      <a:pt x="1427" y="529"/>
                    </a:cubicBezTo>
                    <a:cubicBezTo>
                      <a:pt x="1427" y="529"/>
                      <a:pt x="1407" y="531"/>
                      <a:pt x="1395" y="531"/>
                    </a:cubicBezTo>
                    <a:cubicBezTo>
                      <a:pt x="1383" y="531"/>
                      <a:pt x="1375" y="524"/>
                      <a:pt x="1360" y="522"/>
                    </a:cubicBezTo>
                    <a:cubicBezTo>
                      <a:pt x="1345" y="520"/>
                      <a:pt x="1317" y="520"/>
                      <a:pt x="1303" y="524"/>
                    </a:cubicBezTo>
                    <a:cubicBezTo>
                      <a:pt x="1289" y="528"/>
                      <a:pt x="1269" y="528"/>
                      <a:pt x="1269" y="528"/>
                    </a:cubicBezTo>
                    <a:cubicBezTo>
                      <a:pt x="1259" y="537"/>
                      <a:pt x="1259" y="537"/>
                      <a:pt x="1259" y="537"/>
                    </a:cubicBezTo>
                    <a:cubicBezTo>
                      <a:pt x="1259" y="537"/>
                      <a:pt x="1214" y="541"/>
                      <a:pt x="1221" y="535"/>
                    </a:cubicBezTo>
                    <a:cubicBezTo>
                      <a:pt x="1228" y="529"/>
                      <a:pt x="1288" y="520"/>
                      <a:pt x="1288" y="520"/>
                    </a:cubicBezTo>
                    <a:cubicBezTo>
                      <a:pt x="1288" y="520"/>
                      <a:pt x="1348" y="508"/>
                      <a:pt x="1333" y="499"/>
                    </a:cubicBezTo>
                    <a:cubicBezTo>
                      <a:pt x="1318" y="490"/>
                      <a:pt x="1310" y="490"/>
                      <a:pt x="1310" y="490"/>
                    </a:cubicBezTo>
                    <a:cubicBezTo>
                      <a:pt x="1310" y="490"/>
                      <a:pt x="1255" y="508"/>
                      <a:pt x="1249" y="511"/>
                    </a:cubicBezTo>
                    <a:cubicBezTo>
                      <a:pt x="1243" y="514"/>
                      <a:pt x="1217" y="512"/>
                      <a:pt x="1217" y="512"/>
                    </a:cubicBezTo>
                    <a:cubicBezTo>
                      <a:pt x="1241" y="500"/>
                      <a:pt x="1241" y="500"/>
                      <a:pt x="1241" y="500"/>
                    </a:cubicBezTo>
                    <a:cubicBezTo>
                      <a:pt x="1255" y="489"/>
                      <a:pt x="1255" y="489"/>
                      <a:pt x="1255" y="489"/>
                    </a:cubicBezTo>
                    <a:cubicBezTo>
                      <a:pt x="1255" y="489"/>
                      <a:pt x="1279" y="493"/>
                      <a:pt x="1286" y="491"/>
                    </a:cubicBezTo>
                    <a:cubicBezTo>
                      <a:pt x="1293" y="489"/>
                      <a:pt x="1311" y="485"/>
                      <a:pt x="1319" y="485"/>
                    </a:cubicBezTo>
                    <a:cubicBezTo>
                      <a:pt x="1327" y="485"/>
                      <a:pt x="1349" y="483"/>
                      <a:pt x="1337" y="477"/>
                    </a:cubicBezTo>
                    <a:cubicBezTo>
                      <a:pt x="1325" y="471"/>
                      <a:pt x="1287" y="470"/>
                      <a:pt x="1287" y="470"/>
                    </a:cubicBezTo>
                    <a:cubicBezTo>
                      <a:pt x="1255" y="472"/>
                      <a:pt x="1255" y="472"/>
                      <a:pt x="1255" y="472"/>
                    </a:cubicBezTo>
                    <a:cubicBezTo>
                      <a:pt x="1271" y="465"/>
                      <a:pt x="1271" y="465"/>
                      <a:pt x="1271" y="465"/>
                    </a:cubicBezTo>
                    <a:cubicBezTo>
                      <a:pt x="1255" y="455"/>
                      <a:pt x="1255" y="455"/>
                      <a:pt x="1255" y="455"/>
                    </a:cubicBezTo>
                    <a:cubicBezTo>
                      <a:pt x="1255" y="455"/>
                      <a:pt x="1253" y="446"/>
                      <a:pt x="1257" y="446"/>
                    </a:cubicBezTo>
                    <a:cubicBezTo>
                      <a:pt x="1261" y="446"/>
                      <a:pt x="1281" y="463"/>
                      <a:pt x="1294" y="464"/>
                    </a:cubicBezTo>
                    <a:cubicBezTo>
                      <a:pt x="1307" y="465"/>
                      <a:pt x="1348" y="477"/>
                      <a:pt x="1348" y="477"/>
                    </a:cubicBezTo>
                    <a:cubicBezTo>
                      <a:pt x="1348" y="477"/>
                      <a:pt x="1366" y="469"/>
                      <a:pt x="1367" y="478"/>
                    </a:cubicBezTo>
                    <a:cubicBezTo>
                      <a:pt x="1368" y="487"/>
                      <a:pt x="1356" y="501"/>
                      <a:pt x="1377" y="507"/>
                    </a:cubicBezTo>
                    <a:cubicBezTo>
                      <a:pt x="1398" y="513"/>
                      <a:pt x="1421" y="514"/>
                      <a:pt x="1421" y="514"/>
                    </a:cubicBezTo>
                    <a:cubicBezTo>
                      <a:pt x="1421" y="514"/>
                      <a:pt x="1423" y="499"/>
                      <a:pt x="1427" y="502"/>
                    </a:cubicBezTo>
                    <a:cubicBezTo>
                      <a:pt x="1431" y="505"/>
                      <a:pt x="1427" y="520"/>
                      <a:pt x="1436" y="520"/>
                    </a:cubicBezTo>
                    <a:cubicBezTo>
                      <a:pt x="1445" y="520"/>
                      <a:pt x="1457" y="510"/>
                      <a:pt x="1457" y="510"/>
                    </a:cubicBezTo>
                    <a:cubicBezTo>
                      <a:pt x="1457" y="494"/>
                      <a:pt x="1457" y="494"/>
                      <a:pt x="1457" y="494"/>
                    </a:cubicBezTo>
                    <a:cubicBezTo>
                      <a:pt x="1451" y="492"/>
                      <a:pt x="1451" y="492"/>
                      <a:pt x="1451" y="492"/>
                    </a:cubicBezTo>
                    <a:cubicBezTo>
                      <a:pt x="1451" y="492"/>
                      <a:pt x="1465" y="481"/>
                      <a:pt x="1459" y="476"/>
                    </a:cubicBezTo>
                    <a:cubicBezTo>
                      <a:pt x="1453" y="471"/>
                      <a:pt x="1442" y="477"/>
                      <a:pt x="1442" y="477"/>
                    </a:cubicBezTo>
                    <a:cubicBezTo>
                      <a:pt x="1436" y="462"/>
                      <a:pt x="1436" y="462"/>
                      <a:pt x="1436" y="462"/>
                    </a:cubicBezTo>
                    <a:cubicBezTo>
                      <a:pt x="1425" y="459"/>
                      <a:pt x="1425" y="459"/>
                      <a:pt x="1425" y="459"/>
                    </a:cubicBezTo>
                    <a:cubicBezTo>
                      <a:pt x="1428" y="449"/>
                      <a:pt x="1428" y="449"/>
                      <a:pt x="1428" y="449"/>
                    </a:cubicBezTo>
                    <a:cubicBezTo>
                      <a:pt x="1380" y="430"/>
                      <a:pt x="1380" y="430"/>
                      <a:pt x="1380" y="430"/>
                    </a:cubicBezTo>
                    <a:cubicBezTo>
                      <a:pt x="1353" y="437"/>
                      <a:pt x="1353" y="437"/>
                      <a:pt x="1353" y="437"/>
                    </a:cubicBezTo>
                    <a:cubicBezTo>
                      <a:pt x="1347" y="434"/>
                      <a:pt x="1347" y="434"/>
                      <a:pt x="1347" y="434"/>
                    </a:cubicBezTo>
                    <a:cubicBezTo>
                      <a:pt x="1369" y="427"/>
                      <a:pt x="1369" y="427"/>
                      <a:pt x="1369" y="427"/>
                    </a:cubicBezTo>
                    <a:cubicBezTo>
                      <a:pt x="1371" y="424"/>
                      <a:pt x="1371" y="424"/>
                      <a:pt x="1371" y="424"/>
                    </a:cubicBezTo>
                    <a:cubicBezTo>
                      <a:pt x="1371" y="424"/>
                      <a:pt x="1370" y="415"/>
                      <a:pt x="1353" y="415"/>
                    </a:cubicBezTo>
                    <a:cubicBezTo>
                      <a:pt x="1336" y="415"/>
                      <a:pt x="1303" y="412"/>
                      <a:pt x="1303" y="412"/>
                    </a:cubicBezTo>
                    <a:cubicBezTo>
                      <a:pt x="1314" y="398"/>
                      <a:pt x="1314" y="398"/>
                      <a:pt x="1314" y="398"/>
                    </a:cubicBezTo>
                    <a:cubicBezTo>
                      <a:pt x="1314" y="398"/>
                      <a:pt x="1327" y="396"/>
                      <a:pt x="1337" y="400"/>
                    </a:cubicBezTo>
                    <a:cubicBezTo>
                      <a:pt x="1347" y="404"/>
                      <a:pt x="1363" y="393"/>
                      <a:pt x="1363" y="393"/>
                    </a:cubicBezTo>
                    <a:cubicBezTo>
                      <a:pt x="1381" y="390"/>
                      <a:pt x="1381" y="390"/>
                      <a:pt x="1381" y="390"/>
                    </a:cubicBezTo>
                    <a:cubicBezTo>
                      <a:pt x="1413" y="400"/>
                      <a:pt x="1413" y="400"/>
                      <a:pt x="1413" y="400"/>
                    </a:cubicBezTo>
                    <a:cubicBezTo>
                      <a:pt x="1427" y="397"/>
                      <a:pt x="1427" y="397"/>
                      <a:pt x="1427" y="397"/>
                    </a:cubicBezTo>
                    <a:cubicBezTo>
                      <a:pt x="1427" y="397"/>
                      <a:pt x="1453" y="418"/>
                      <a:pt x="1464" y="418"/>
                    </a:cubicBezTo>
                    <a:cubicBezTo>
                      <a:pt x="1475" y="418"/>
                      <a:pt x="1471" y="404"/>
                      <a:pt x="1471" y="404"/>
                    </a:cubicBezTo>
                    <a:cubicBezTo>
                      <a:pt x="1445" y="400"/>
                      <a:pt x="1445" y="400"/>
                      <a:pt x="1445" y="400"/>
                    </a:cubicBezTo>
                    <a:cubicBezTo>
                      <a:pt x="1425" y="390"/>
                      <a:pt x="1425" y="390"/>
                      <a:pt x="1425" y="390"/>
                    </a:cubicBezTo>
                    <a:cubicBezTo>
                      <a:pt x="1394" y="387"/>
                      <a:pt x="1394" y="387"/>
                      <a:pt x="1394" y="387"/>
                    </a:cubicBezTo>
                    <a:cubicBezTo>
                      <a:pt x="1394" y="387"/>
                      <a:pt x="1401" y="378"/>
                      <a:pt x="1408" y="375"/>
                    </a:cubicBezTo>
                    <a:cubicBezTo>
                      <a:pt x="1415" y="372"/>
                      <a:pt x="1432" y="390"/>
                      <a:pt x="1448" y="390"/>
                    </a:cubicBezTo>
                    <a:cubicBezTo>
                      <a:pt x="1464" y="390"/>
                      <a:pt x="1492" y="391"/>
                      <a:pt x="1492" y="391"/>
                    </a:cubicBezTo>
                    <a:cubicBezTo>
                      <a:pt x="1534" y="386"/>
                      <a:pt x="1534" y="386"/>
                      <a:pt x="1534" y="386"/>
                    </a:cubicBezTo>
                    <a:cubicBezTo>
                      <a:pt x="1535" y="368"/>
                      <a:pt x="1535" y="368"/>
                      <a:pt x="1535" y="368"/>
                    </a:cubicBezTo>
                    <a:cubicBezTo>
                      <a:pt x="1506" y="361"/>
                      <a:pt x="1506" y="361"/>
                      <a:pt x="1506" y="361"/>
                    </a:cubicBezTo>
                    <a:cubicBezTo>
                      <a:pt x="1491" y="371"/>
                      <a:pt x="1491" y="371"/>
                      <a:pt x="1491" y="371"/>
                    </a:cubicBezTo>
                    <a:cubicBezTo>
                      <a:pt x="1491" y="371"/>
                      <a:pt x="1477" y="359"/>
                      <a:pt x="1481" y="355"/>
                    </a:cubicBezTo>
                    <a:cubicBezTo>
                      <a:pt x="1485" y="351"/>
                      <a:pt x="1517" y="354"/>
                      <a:pt x="1517" y="354"/>
                    </a:cubicBezTo>
                    <a:cubicBezTo>
                      <a:pt x="1546" y="346"/>
                      <a:pt x="1546" y="346"/>
                      <a:pt x="1546" y="346"/>
                    </a:cubicBezTo>
                    <a:cubicBezTo>
                      <a:pt x="1546" y="346"/>
                      <a:pt x="1563" y="356"/>
                      <a:pt x="1576" y="352"/>
                    </a:cubicBezTo>
                    <a:cubicBezTo>
                      <a:pt x="1589" y="348"/>
                      <a:pt x="1602" y="339"/>
                      <a:pt x="1597" y="337"/>
                    </a:cubicBezTo>
                    <a:cubicBezTo>
                      <a:pt x="1592" y="335"/>
                      <a:pt x="1550" y="334"/>
                      <a:pt x="1546" y="334"/>
                    </a:cubicBezTo>
                    <a:cubicBezTo>
                      <a:pt x="1542" y="334"/>
                      <a:pt x="1550" y="326"/>
                      <a:pt x="1538" y="323"/>
                    </a:cubicBezTo>
                    <a:cubicBezTo>
                      <a:pt x="1526" y="320"/>
                      <a:pt x="1498" y="321"/>
                      <a:pt x="1498" y="321"/>
                    </a:cubicBezTo>
                    <a:cubicBezTo>
                      <a:pt x="1498" y="321"/>
                      <a:pt x="1532" y="320"/>
                      <a:pt x="1535" y="314"/>
                    </a:cubicBezTo>
                    <a:cubicBezTo>
                      <a:pt x="1538" y="308"/>
                      <a:pt x="1499" y="301"/>
                      <a:pt x="1499" y="301"/>
                    </a:cubicBezTo>
                    <a:cubicBezTo>
                      <a:pt x="1499" y="301"/>
                      <a:pt x="1521" y="296"/>
                      <a:pt x="1528" y="299"/>
                    </a:cubicBezTo>
                    <a:cubicBezTo>
                      <a:pt x="1535" y="302"/>
                      <a:pt x="1559" y="310"/>
                      <a:pt x="1565" y="308"/>
                    </a:cubicBezTo>
                    <a:cubicBezTo>
                      <a:pt x="1571" y="306"/>
                      <a:pt x="1573" y="320"/>
                      <a:pt x="1583" y="316"/>
                    </a:cubicBezTo>
                    <a:cubicBezTo>
                      <a:pt x="1593" y="312"/>
                      <a:pt x="1601" y="294"/>
                      <a:pt x="1594" y="289"/>
                    </a:cubicBezTo>
                    <a:cubicBezTo>
                      <a:pt x="1587" y="284"/>
                      <a:pt x="1570" y="272"/>
                      <a:pt x="1570" y="272"/>
                    </a:cubicBezTo>
                    <a:cubicBezTo>
                      <a:pt x="1531" y="264"/>
                      <a:pt x="1531" y="264"/>
                      <a:pt x="1531" y="264"/>
                    </a:cubicBezTo>
                    <a:cubicBezTo>
                      <a:pt x="1531" y="264"/>
                      <a:pt x="1513" y="256"/>
                      <a:pt x="1520" y="250"/>
                    </a:cubicBezTo>
                    <a:cubicBezTo>
                      <a:pt x="1527" y="244"/>
                      <a:pt x="1549" y="249"/>
                      <a:pt x="1549" y="249"/>
                    </a:cubicBezTo>
                    <a:cubicBezTo>
                      <a:pt x="1580" y="242"/>
                      <a:pt x="1580" y="242"/>
                      <a:pt x="1580" y="242"/>
                    </a:cubicBezTo>
                    <a:cubicBezTo>
                      <a:pt x="1580" y="242"/>
                      <a:pt x="1591" y="244"/>
                      <a:pt x="1623" y="246"/>
                    </a:cubicBezTo>
                    <a:cubicBezTo>
                      <a:pt x="1655" y="248"/>
                      <a:pt x="1670" y="225"/>
                      <a:pt x="1647" y="223"/>
                    </a:cubicBezTo>
                    <a:cubicBezTo>
                      <a:pt x="1624" y="221"/>
                      <a:pt x="1590" y="221"/>
                      <a:pt x="1590" y="221"/>
                    </a:cubicBezTo>
                    <a:cubicBezTo>
                      <a:pt x="1589" y="211"/>
                      <a:pt x="1589" y="211"/>
                      <a:pt x="1589" y="211"/>
                    </a:cubicBezTo>
                    <a:cubicBezTo>
                      <a:pt x="1609" y="210"/>
                      <a:pt x="1609" y="210"/>
                      <a:pt x="1609" y="210"/>
                    </a:cubicBezTo>
                    <a:cubicBezTo>
                      <a:pt x="1609" y="210"/>
                      <a:pt x="1603" y="195"/>
                      <a:pt x="1587" y="197"/>
                    </a:cubicBezTo>
                    <a:cubicBezTo>
                      <a:pt x="1571" y="199"/>
                      <a:pt x="1583" y="215"/>
                      <a:pt x="1574" y="216"/>
                    </a:cubicBezTo>
                    <a:cubicBezTo>
                      <a:pt x="1565" y="217"/>
                      <a:pt x="1540" y="204"/>
                      <a:pt x="1549" y="201"/>
                    </a:cubicBezTo>
                    <a:cubicBezTo>
                      <a:pt x="1558" y="198"/>
                      <a:pt x="1582" y="193"/>
                      <a:pt x="1585" y="185"/>
                    </a:cubicBezTo>
                    <a:cubicBezTo>
                      <a:pt x="1588" y="177"/>
                      <a:pt x="1598" y="165"/>
                      <a:pt x="1601" y="164"/>
                    </a:cubicBezTo>
                    <a:cubicBezTo>
                      <a:pt x="1604" y="163"/>
                      <a:pt x="1618" y="170"/>
                      <a:pt x="1627" y="165"/>
                    </a:cubicBezTo>
                    <a:cubicBezTo>
                      <a:pt x="1636" y="160"/>
                      <a:pt x="1649" y="151"/>
                      <a:pt x="1649" y="151"/>
                    </a:cubicBezTo>
                    <a:cubicBezTo>
                      <a:pt x="1639" y="141"/>
                      <a:pt x="1639" y="141"/>
                      <a:pt x="1639" y="141"/>
                    </a:cubicBezTo>
                    <a:cubicBezTo>
                      <a:pt x="1639" y="141"/>
                      <a:pt x="1665" y="128"/>
                      <a:pt x="1671" y="128"/>
                    </a:cubicBezTo>
                    <a:cubicBezTo>
                      <a:pt x="1677" y="128"/>
                      <a:pt x="1687" y="138"/>
                      <a:pt x="1695" y="132"/>
                    </a:cubicBezTo>
                    <a:cubicBezTo>
                      <a:pt x="1703" y="126"/>
                      <a:pt x="1723" y="122"/>
                      <a:pt x="1711" y="119"/>
                    </a:cubicBezTo>
                    <a:cubicBezTo>
                      <a:pt x="1699" y="116"/>
                      <a:pt x="1670" y="119"/>
                      <a:pt x="1670" y="119"/>
                    </a:cubicBezTo>
                    <a:cubicBezTo>
                      <a:pt x="1670" y="119"/>
                      <a:pt x="1615" y="134"/>
                      <a:pt x="1626" y="123"/>
                    </a:cubicBezTo>
                    <a:cubicBezTo>
                      <a:pt x="1637" y="112"/>
                      <a:pt x="1659" y="111"/>
                      <a:pt x="1659" y="111"/>
                    </a:cubicBezTo>
                    <a:cubicBezTo>
                      <a:pt x="1659" y="111"/>
                      <a:pt x="1700" y="113"/>
                      <a:pt x="1721" y="112"/>
                    </a:cubicBezTo>
                    <a:cubicBezTo>
                      <a:pt x="1742" y="111"/>
                      <a:pt x="1758" y="104"/>
                      <a:pt x="1758" y="104"/>
                    </a:cubicBezTo>
                    <a:cubicBezTo>
                      <a:pt x="1758" y="104"/>
                      <a:pt x="1723" y="95"/>
                      <a:pt x="1717" y="98"/>
                    </a:cubicBezTo>
                    <a:cubicBezTo>
                      <a:pt x="1711" y="101"/>
                      <a:pt x="1672" y="102"/>
                      <a:pt x="1672" y="102"/>
                    </a:cubicBezTo>
                    <a:cubicBezTo>
                      <a:pt x="1672" y="102"/>
                      <a:pt x="1625" y="105"/>
                      <a:pt x="1642" y="100"/>
                    </a:cubicBezTo>
                    <a:cubicBezTo>
                      <a:pt x="1659" y="95"/>
                      <a:pt x="1710" y="94"/>
                      <a:pt x="1710" y="94"/>
                    </a:cubicBezTo>
                    <a:cubicBezTo>
                      <a:pt x="1710" y="94"/>
                      <a:pt x="1776" y="95"/>
                      <a:pt x="1787" y="92"/>
                    </a:cubicBezTo>
                    <a:cubicBezTo>
                      <a:pt x="1798" y="89"/>
                      <a:pt x="1807" y="79"/>
                      <a:pt x="1807" y="79"/>
                    </a:cubicBezTo>
                    <a:cubicBezTo>
                      <a:pt x="1807" y="79"/>
                      <a:pt x="1834" y="80"/>
                      <a:pt x="1851" y="78"/>
                    </a:cubicBezTo>
                    <a:cubicBezTo>
                      <a:pt x="1868" y="76"/>
                      <a:pt x="1891" y="67"/>
                      <a:pt x="1891" y="67"/>
                    </a:cubicBezTo>
                    <a:cubicBezTo>
                      <a:pt x="1891" y="67"/>
                      <a:pt x="1865" y="57"/>
                      <a:pt x="1845" y="57"/>
                    </a:cubicBezTo>
                    <a:close/>
                    <a:moveTo>
                      <a:pt x="345" y="566"/>
                    </a:moveTo>
                    <a:cubicBezTo>
                      <a:pt x="353" y="568"/>
                      <a:pt x="353" y="568"/>
                      <a:pt x="353" y="568"/>
                    </a:cubicBezTo>
                    <a:cubicBezTo>
                      <a:pt x="353" y="568"/>
                      <a:pt x="371" y="564"/>
                      <a:pt x="377" y="564"/>
                    </a:cubicBezTo>
                    <a:cubicBezTo>
                      <a:pt x="383" y="564"/>
                      <a:pt x="397" y="554"/>
                      <a:pt x="395" y="546"/>
                    </a:cubicBezTo>
                    <a:cubicBezTo>
                      <a:pt x="393" y="538"/>
                      <a:pt x="371" y="534"/>
                      <a:pt x="371" y="534"/>
                    </a:cubicBezTo>
                    <a:cubicBezTo>
                      <a:pt x="371" y="534"/>
                      <a:pt x="361" y="526"/>
                      <a:pt x="351" y="526"/>
                    </a:cubicBezTo>
                    <a:cubicBezTo>
                      <a:pt x="341" y="526"/>
                      <a:pt x="337" y="532"/>
                      <a:pt x="321" y="526"/>
                    </a:cubicBezTo>
                    <a:cubicBezTo>
                      <a:pt x="317" y="542"/>
                      <a:pt x="317" y="542"/>
                      <a:pt x="317" y="542"/>
                    </a:cubicBezTo>
                    <a:cubicBezTo>
                      <a:pt x="317" y="542"/>
                      <a:pt x="309" y="546"/>
                      <a:pt x="309" y="552"/>
                    </a:cubicBezTo>
                    <a:cubicBezTo>
                      <a:pt x="309" y="558"/>
                      <a:pt x="321" y="564"/>
                      <a:pt x="321" y="564"/>
                    </a:cubicBezTo>
                    <a:cubicBezTo>
                      <a:pt x="317" y="572"/>
                      <a:pt x="317" y="572"/>
                      <a:pt x="317" y="572"/>
                    </a:cubicBezTo>
                    <a:lnTo>
                      <a:pt x="345" y="566"/>
                    </a:lnTo>
                    <a:close/>
                    <a:moveTo>
                      <a:pt x="2531" y="1160"/>
                    </a:moveTo>
                    <a:cubicBezTo>
                      <a:pt x="2535" y="1157"/>
                      <a:pt x="2548" y="1143"/>
                      <a:pt x="2545" y="1138"/>
                    </a:cubicBezTo>
                    <a:cubicBezTo>
                      <a:pt x="2542" y="1133"/>
                      <a:pt x="2538" y="1126"/>
                      <a:pt x="2538" y="1126"/>
                    </a:cubicBezTo>
                    <a:cubicBezTo>
                      <a:pt x="2538" y="1126"/>
                      <a:pt x="2520" y="1124"/>
                      <a:pt x="2519" y="1127"/>
                    </a:cubicBezTo>
                    <a:cubicBezTo>
                      <a:pt x="2518" y="1130"/>
                      <a:pt x="2498" y="1155"/>
                      <a:pt x="2498" y="1160"/>
                    </a:cubicBezTo>
                    <a:cubicBezTo>
                      <a:pt x="2498" y="1165"/>
                      <a:pt x="2501" y="1177"/>
                      <a:pt x="2501" y="1177"/>
                    </a:cubicBezTo>
                    <a:cubicBezTo>
                      <a:pt x="2488" y="1166"/>
                      <a:pt x="2488" y="1166"/>
                      <a:pt x="2488" y="1166"/>
                    </a:cubicBezTo>
                    <a:cubicBezTo>
                      <a:pt x="2482" y="1145"/>
                      <a:pt x="2482" y="1145"/>
                      <a:pt x="2482" y="1145"/>
                    </a:cubicBezTo>
                    <a:cubicBezTo>
                      <a:pt x="2482" y="1145"/>
                      <a:pt x="2457" y="1161"/>
                      <a:pt x="2458" y="1164"/>
                    </a:cubicBezTo>
                    <a:cubicBezTo>
                      <a:pt x="2459" y="1167"/>
                      <a:pt x="2472" y="1165"/>
                      <a:pt x="2473" y="1168"/>
                    </a:cubicBezTo>
                    <a:cubicBezTo>
                      <a:pt x="2474" y="1171"/>
                      <a:pt x="2483" y="1185"/>
                      <a:pt x="2483" y="1185"/>
                    </a:cubicBezTo>
                    <a:cubicBezTo>
                      <a:pt x="2460" y="1181"/>
                      <a:pt x="2460" y="1181"/>
                      <a:pt x="2460" y="1181"/>
                    </a:cubicBezTo>
                    <a:cubicBezTo>
                      <a:pt x="2460" y="1181"/>
                      <a:pt x="2448" y="1196"/>
                      <a:pt x="2449" y="1204"/>
                    </a:cubicBezTo>
                    <a:cubicBezTo>
                      <a:pt x="2450" y="1212"/>
                      <a:pt x="2466" y="1214"/>
                      <a:pt x="2466" y="1214"/>
                    </a:cubicBezTo>
                    <a:cubicBezTo>
                      <a:pt x="2466" y="1214"/>
                      <a:pt x="2452" y="1230"/>
                      <a:pt x="2455" y="1232"/>
                    </a:cubicBezTo>
                    <a:cubicBezTo>
                      <a:pt x="2458" y="1234"/>
                      <a:pt x="2472" y="1234"/>
                      <a:pt x="2472" y="1234"/>
                    </a:cubicBezTo>
                    <a:cubicBezTo>
                      <a:pt x="2471" y="1249"/>
                      <a:pt x="2471" y="1249"/>
                      <a:pt x="2471" y="1249"/>
                    </a:cubicBezTo>
                    <a:cubicBezTo>
                      <a:pt x="2463" y="1259"/>
                      <a:pt x="2463" y="1259"/>
                      <a:pt x="2463" y="1259"/>
                    </a:cubicBezTo>
                    <a:cubicBezTo>
                      <a:pt x="2473" y="1264"/>
                      <a:pt x="2473" y="1264"/>
                      <a:pt x="2473" y="1264"/>
                    </a:cubicBezTo>
                    <a:cubicBezTo>
                      <a:pt x="2473" y="1264"/>
                      <a:pt x="2480" y="1264"/>
                      <a:pt x="2484" y="1264"/>
                    </a:cubicBezTo>
                    <a:cubicBezTo>
                      <a:pt x="2488" y="1264"/>
                      <a:pt x="2496" y="1269"/>
                      <a:pt x="2496" y="1269"/>
                    </a:cubicBezTo>
                    <a:cubicBezTo>
                      <a:pt x="2496" y="1269"/>
                      <a:pt x="2498" y="1267"/>
                      <a:pt x="2506" y="1267"/>
                    </a:cubicBezTo>
                    <a:cubicBezTo>
                      <a:pt x="2513" y="1266"/>
                      <a:pt x="2514" y="1270"/>
                      <a:pt x="2514" y="1270"/>
                    </a:cubicBezTo>
                    <a:cubicBezTo>
                      <a:pt x="2514" y="1270"/>
                      <a:pt x="2515" y="1269"/>
                      <a:pt x="2517" y="1268"/>
                    </a:cubicBezTo>
                    <a:cubicBezTo>
                      <a:pt x="2517" y="1268"/>
                      <a:pt x="2517" y="1268"/>
                      <a:pt x="2517" y="1268"/>
                    </a:cubicBezTo>
                    <a:cubicBezTo>
                      <a:pt x="2513" y="1258"/>
                      <a:pt x="2510" y="1252"/>
                      <a:pt x="2510" y="1252"/>
                    </a:cubicBezTo>
                    <a:cubicBezTo>
                      <a:pt x="2521" y="1239"/>
                      <a:pt x="2521" y="1239"/>
                      <a:pt x="2521" y="1239"/>
                    </a:cubicBezTo>
                    <a:cubicBezTo>
                      <a:pt x="2521" y="1239"/>
                      <a:pt x="2503" y="1224"/>
                      <a:pt x="2513" y="1222"/>
                    </a:cubicBezTo>
                    <a:cubicBezTo>
                      <a:pt x="2523" y="1220"/>
                      <a:pt x="2531" y="1213"/>
                      <a:pt x="2531" y="1213"/>
                    </a:cubicBezTo>
                    <a:cubicBezTo>
                      <a:pt x="2535" y="1194"/>
                      <a:pt x="2535" y="1194"/>
                      <a:pt x="2535" y="1194"/>
                    </a:cubicBezTo>
                    <a:cubicBezTo>
                      <a:pt x="2549" y="1194"/>
                      <a:pt x="2549" y="1194"/>
                      <a:pt x="2549" y="1194"/>
                    </a:cubicBezTo>
                    <a:cubicBezTo>
                      <a:pt x="2554" y="1179"/>
                      <a:pt x="2554" y="1179"/>
                      <a:pt x="2554" y="1179"/>
                    </a:cubicBezTo>
                    <a:cubicBezTo>
                      <a:pt x="2531" y="1179"/>
                      <a:pt x="2531" y="1179"/>
                      <a:pt x="2531" y="1179"/>
                    </a:cubicBezTo>
                    <a:cubicBezTo>
                      <a:pt x="2531" y="1179"/>
                      <a:pt x="2527" y="1163"/>
                      <a:pt x="2531" y="1160"/>
                    </a:cubicBezTo>
                    <a:close/>
                    <a:moveTo>
                      <a:pt x="2525" y="1228"/>
                    </a:moveTo>
                    <a:cubicBezTo>
                      <a:pt x="2527" y="1252"/>
                      <a:pt x="2527" y="1252"/>
                      <a:pt x="2527" y="1252"/>
                    </a:cubicBezTo>
                    <a:cubicBezTo>
                      <a:pt x="2533" y="1252"/>
                      <a:pt x="2543" y="1262"/>
                      <a:pt x="2543" y="1262"/>
                    </a:cubicBezTo>
                    <a:cubicBezTo>
                      <a:pt x="2549" y="1244"/>
                      <a:pt x="2549" y="1244"/>
                      <a:pt x="2549" y="1244"/>
                    </a:cubicBezTo>
                    <a:cubicBezTo>
                      <a:pt x="2537" y="1230"/>
                      <a:pt x="2537" y="1230"/>
                      <a:pt x="2537" y="1230"/>
                    </a:cubicBezTo>
                    <a:lnTo>
                      <a:pt x="2525" y="1228"/>
                    </a:lnTo>
                    <a:close/>
                    <a:moveTo>
                      <a:pt x="2577" y="1240"/>
                    </a:moveTo>
                    <a:cubicBezTo>
                      <a:pt x="2576" y="1251"/>
                      <a:pt x="2567" y="1253"/>
                      <a:pt x="2579" y="1254"/>
                    </a:cubicBezTo>
                    <a:cubicBezTo>
                      <a:pt x="2591" y="1255"/>
                      <a:pt x="2596" y="1253"/>
                      <a:pt x="2596" y="1253"/>
                    </a:cubicBezTo>
                    <a:cubicBezTo>
                      <a:pt x="2596" y="1253"/>
                      <a:pt x="2604" y="1272"/>
                      <a:pt x="2605" y="1265"/>
                    </a:cubicBezTo>
                    <a:cubicBezTo>
                      <a:pt x="2607" y="1259"/>
                      <a:pt x="2617" y="1245"/>
                      <a:pt x="2619" y="1244"/>
                    </a:cubicBezTo>
                    <a:cubicBezTo>
                      <a:pt x="2621" y="1244"/>
                      <a:pt x="2630" y="1244"/>
                      <a:pt x="2622" y="1239"/>
                    </a:cubicBezTo>
                    <a:cubicBezTo>
                      <a:pt x="2614" y="1234"/>
                      <a:pt x="2607" y="1227"/>
                      <a:pt x="2610" y="1227"/>
                    </a:cubicBezTo>
                    <a:cubicBezTo>
                      <a:pt x="2613" y="1226"/>
                      <a:pt x="2620" y="1227"/>
                      <a:pt x="2615" y="1224"/>
                    </a:cubicBezTo>
                    <a:cubicBezTo>
                      <a:pt x="2610" y="1220"/>
                      <a:pt x="2624" y="1211"/>
                      <a:pt x="2624" y="1211"/>
                    </a:cubicBezTo>
                    <a:cubicBezTo>
                      <a:pt x="2624" y="1211"/>
                      <a:pt x="2616" y="1199"/>
                      <a:pt x="2615" y="1200"/>
                    </a:cubicBezTo>
                    <a:cubicBezTo>
                      <a:pt x="2614" y="1200"/>
                      <a:pt x="2601" y="1205"/>
                      <a:pt x="2601" y="1210"/>
                    </a:cubicBezTo>
                    <a:cubicBezTo>
                      <a:pt x="2601" y="1215"/>
                      <a:pt x="2601" y="1219"/>
                      <a:pt x="2601" y="1219"/>
                    </a:cubicBezTo>
                    <a:cubicBezTo>
                      <a:pt x="2601" y="1219"/>
                      <a:pt x="2592" y="1207"/>
                      <a:pt x="2590" y="1208"/>
                    </a:cubicBezTo>
                    <a:cubicBezTo>
                      <a:pt x="2588" y="1209"/>
                      <a:pt x="2585" y="1213"/>
                      <a:pt x="2585" y="1213"/>
                    </a:cubicBezTo>
                    <a:cubicBezTo>
                      <a:pt x="2569" y="1224"/>
                      <a:pt x="2569" y="1224"/>
                      <a:pt x="2569" y="1224"/>
                    </a:cubicBezTo>
                    <a:cubicBezTo>
                      <a:pt x="2569" y="1224"/>
                      <a:pt x="2578" y="1229"/>
                      <a:pt x="2577" y="1240"/>
                    </a:cubicBezTo>
                    <a:close/>
                    <a:moveTo>
                      <a:pt x="2629" y="1260"/>
                    </a:moveTo>
                    <a:cubicBezTo>
                      <a:pt x="2612" y="1266"/>
                      <a:pt x="2612" y="1266"/>
                      <a:pt x="2612" y="1266"/>
                    </a:cubicBezTo>
                    <a:cubicBezTo>
                      <a:pt x="2612" y="1266"/>
                      <a:pt x="2602" y="1270"/>
                      <a:pt x="2598" y="1269"/>
                    </a:cubicBezTo>
                    <a:cubicBezTo>
                      <a:pt x="2594" y="1269"/>
                      <a:pt x="2578" y="1262"/>
                      <a:pt x="2573" y="1262"/>
                    </a:cubicBezTo>
                    <a:cubicBezTo>
                      <a:pt x="2563" y="1262"/>
                      <a:pt x="2565" y="1273"/>
                      <a:pt x="2573" y="1272"/>
                    </a:cubicBezTo>
                    <a:cubicBezTo>
                      <a:pt x="2581" y="1270"/>
                      <a:pt x="2592" y="1282"/>
                      <a:pt x="2592" y="1282"/>
                    </a:cubicBezTo>
                    <a:cubicBezTo>
                      <a:pt x="2592" y="1282"/>
                      <a:pt x="2609" y="1279"/>
                      <a:pt x="2626" y="1275"/>
                    </a:cubicBezTo>
                    <a:cubicBezTo>
                      <a:pt x="2644" y="1272"/>
                      <a:pt x="2629" y="1260"/>
                      <a:pt x="2629" y="126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Freeform 333">
                <a:extLst>
                  <a:ext uri="{FF2B5EF4-FFF2-40B4-BE49-F238E27FC236}">
                    <a16:creationId xmlns:a16="http://schemas.microsoft.com/office/drawing/2014/main" id="{7DF542C4-9A12-A373-6F77-B3E20EE5008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4274" y="-17463"/>
                <a:ext cx="560" cy="252"/>
              </a:xfrm>
              <a:custGeom>
                <a:avLst/>
                <a:gdLst>
                  <a:gd name="T0" fmla="*/ 228 w 237"/>
                  <a:gd name="T1" fmla="*/ 76 h 107"/>
                  <a:gd name="T2" fmla="*/ 221 w 237"/>
                  <a:gd name="T3" fmla="*/ 74 h 107"/>
                  <a:gd name="T4" fmla="*/ 226 w 237"/>
                  <a:gd name="T5" fmla="*/ 56 h 107"/>
                  <a:gd name="T6" fmla="*/ 217 w 237"/>
                  <a:gd name="T7" fmla="*/ 52 h 107"/>
                  <a:gd name="T8" fmla="*/ 220 w 237"/>
                  <a:gd name="T9" fmla="*/ 36 h 107"/>
                  <a:gd name="T10" fmla="*/ 231 w 237"/>
                  <a:gd name="T11" fmla="*/ 30 h 107"/>
                  <a:gd name="T12" fmla="*/ 228 w 237"/>
                  <a:gd name="T13" fmla="*/ 21 h 107"/>
                  <a:gd name="T14" fmla="*/ 231 w 237"/>
                  <a:gd name="T15" fmla="*/ 11 h 107"/>
                  <a:gd name="T16" fmla="*/ 170 w 237"/>
                  <a:gd name="T17" fmla="*/ 1 h 107"/>
                  <a:gd name="T18" fmla="*/ 110 w 237"/>
                  <a:gd name="T19" fmla="*/ 6 h 107"/>
                  <a:gd name="T20" fmla="*/ 60 w 237"/>
                  <a:gd name="T21" fmla="*/ 31 h 107"/>
                  <a:gd name="T22" fmla="*/ 66 w 237"/>
                  <a:gd name="T23" fmla="*/ 56 h 107"/>
                  <a:gd name="T24" fmla="*/ 105 w 237"/>
                  <a:gd name="T25" fmla="*/ 61 h 107"/>
                  <a:gd name="T26" fmla="*/ 98 w 237"/>
                  <a:gd name="T27" fmla="*/ 85 h 107"/>
                  <a:gd name="T28" fmla="*/ 102 w 237"/>
                  <a:gd name="T29" fmla="*/ 85 h 107"/>
                  <a:gd name="T30" fmla="*/ 123 w 237"/>
                  <a:gd name="T31" fmla="*/ 79 h 107"/>
                  <a:gd name="T32" fmla="*/ 144 w 237"/>
                  <a:gd name="T33" fmla="*/ 78 h 107"/>
                  <a:gd name="T34" fmla="*/ 172 w 237"/>
                  <a:gd name="T35" fmla="*/ 95 h 107"/>
                  <a:gd name="T36" fmla="*/ 192 w 237"/>
                  <a:gd name="T37" fmla="*/ 107 h 107"/>
                  <a:gd name="T38" fmla="*/ 203 w 237"/>
                  <a:gd name="T39" fmla="*/ 101 h 107"/>
                  <a:gd name="T40" fmla="*/ 216 w 237"/>
                  <a:gd name="T41" fmla="*/ 106 h 107"/>
                  <a:gd name="T42" fmla="*/ 224 w 237"/>
                  <a:gd name="T43" fmla="*/ 105 h 107"/>
                  <a:gd name="T44" fmla="*/ 224 w 237"/>
                  <a:gd name="T45" fmla="*/ 97 h 107"/>
                  <a:gd name="T46" fmla="*/ 237 w 237"/>
                  <a:gd name="T47" fmla="*/ 88 h 107"/>
                  <a:gd name="T48" fmla="*/ 228 w 237"/>
                  <a:gd name="T49" fmla="*/ 76 h 107"/>
                  <a:gd name="T50" fmla="*/ 27 w 237"/>
                  <a:gd name="T51" fmla="*/ 53 h 107"/>
                  <a:gd name="T52" fmla="*/ 7 w 237"/>
                  <a:gd name="T53" fmla="*/ 55 h 107"/>
                  <a:gd name="T54" fmla="*/ 9 w 237"/>
                  <a:gd name="T55" fmla="*/ 74 h 107"/>
                  <a:gd name="T56" fmla="*/ 14 w 237"/>
                  <a:gd name="T57" fmla="*/ 87 h 107"/>
                  <a:gd name="T58" fmla="*/ 34 w 237"/>
                  <a:gd name="T59" fmla="*/ 74 h 107"/>
                  <a:gd name="T60" fmla="*/ 55 w 237"/>
                  <a:gd name="T61" fmla="*/ 60 h 107"/>
                  <a:gd name="T62" fmla="*/ 51 w 237"/>
                  <a:gd name="T63" fmla="*/ 49 h 107"/>
                  <a:gd name="T64" fmla="*/ 27 w 237"/>
                  <a:gd name="T65" fmla="*/ 53 h 107"/>
                  <a:gd name="T66" fmla="*/ 29 w 237"/>
                  <a:gd name="T67" fmla="*/ 45 h 107"/>
                  <a:gd name="T68" fmla="*/ 35 w 237"/>
                  <a:gd name="T69" fmla="*/ 25 h 107"/>
                  <a:gd name="T70" fmla="*/ 29 w 237"/>
                  <a:gd name="T71" fmla="*/ 45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37" h="107">
                    <a:moveTo>
                      <a:pt x="228" y="76"/>
                    </a:moveTo>
                    <a:cubicBezTo>
                      <a:pt x="221" y="74"/>
                      <a:pt x="221" y="74"/>
                      <a:pt x="221" y="74"/>
                    </a:cubicBezTo>
                    <a:cubicBezTo>
                      <a:pt x="226" y="56"/>
                      <a:pt x="226" y="56"/>
                      <a:pt x="226" y="56"/>
                    </a:cubicBezTo>
                    <a:cubicBezTo>
                      <a:pt x="217" y="52"/>
                      <a:pt x="217" y="52"/>
                      <a:pt x="217" y="52"/>
                    </a:cubicBezTo>
                    <a:cubicBezTo>
                      <a:pt x="217" y="52"/>
                      <a:pt x="216" y="38"/>
                      <a:pt x="220" y="36"/>
                    </a:cubicBezTo>
                    <a:cubicBezTo>
                      <a:pt x="224" y="34"/>
                      <a:pt x="231" y="30"/>
                      <a:pt x="231" y="30"/>
                    </a:cubicBezTo>
                    <a:cubicBezTo>
                      <a:pt x="228" y="21"/>
                      <a:pt x="228" y="21"/>
                      <a:pt x="228" y="21"/>
                    </a:cubicBezTo>
                    <a:cubicBezTo>
                      <a:pt x="231" y="11"/>
                      <a:pt x="231" y="11"/>
                      <a:pt x="231" y="11"/>
                    </a:cubicBezTo>
                    <a:cubicBezTo>
                      <a:pt x="215" y="8"/>
                      <a:pt x="180" y="2"/>
                      <a:pt x="170" y="1"/>
                    </a:cubicBezTo>
                    <a:cubicBezTo>
                      <a:pt x="157" y="0"/>
                      <a:pt x="110" y="6"/>
                      <a:pt x="110" y="6"/>
                    </a:cubicBezTo>
                    <a:cubicBezTo>
                      <a:pt x="110" y="6"/>
                      <a:pt x="60" y="24"/>
                      <a:pt x="60" y="31"/>
                    </a:cubicBezTo>
                    <a:cubicBezTo>
                      <a:pt x="60" y="38"/>
                      <a:pt x="66" y="56"/>
                      <a:pt x="66" y="56"/>
                    </a:cubicBezTo>
                    <a:cubicBezTo>
                      <a:pt x="105" y="61"/>
                      <a:pt x="105" y="61"/>
                      <a:pt x="105" y="61"/>
                    </a:cubicBezTo>
                    <a:cubicBezTo>
                      <a:pt x="98" y="85"/>
                      <a:pt x="98" y="85"/>
                      <a:pt x="98" y="85"/>
                    </a:cubicBezTo>
                    <a:cubicBezTo>
                      <a:pt x="102" y="85"/>
                      <a:pt x="102" y="85"/>
                      <a:pt x="102" y="85"/>
                    </a:cubicBezTo>
                    <a:cubicBezTo>
                      <a:pt x="123" y="79"/>
                      <a:pt x="123" y="79"/>
                      <a:pt x="123" y="79"/>
                    </a:cubicBezTo>
                    <a:cubicBezTo>
                      <a:pt x="123" y="79"/>
                      <a:pt x="129" y="75"/>
                      <a:pt x="144" y="78"/>
                    </a:cubicBezTo>
                    <a:cubicBezTo>
                      <a:pt x="159" y="81"/>
                      <a:pt x="161" y="86"/>
                      <a:pt x="172" y="95"/>
                    </a:cubicBezTo>
                    <a:cubicBezTo>
                      <a:pt x="183" y="104"/>
                      <a:pt x="186" y="107"/>
                      <a:pt x="192" y="107"/>
                    </a:cubicBezTo>
                    <a:cubicBezTo>
                      <a:pt x="198" y="107"/>
                      <a:pt x="200" y="100"/>
                      <a:pt x="203" y="101"/>
                    </a:cubicBezTo>
                    <a:cubicBezTo>
                      <a:pt x="206" y="102"/>
                      <a:pt x="216" y="106"/>
                      <a:pt x="216" y="106"/>
                    </a:cubicBezTo>
                    <a:cubicBezTo>
                      <a:pt x="224" y="105"/>
                      <a:pt x="224" y="105"/>
                      <a:pt x="224" y="105"/>
                    </a:cubicBezTo>
                    <a:cubicBezTo>
                      <a:pt x="224" y="97"/>
                      <a:pt x="224" y="97"/>
                      <a:pt x="224" y="97"/>
                    </a:cubicBezTo>
                    <a:cubicBezTo>
                      <a:pt x="237" y="88"/>
                      <a:pt x="237" y="88"/>
                      <a:pt x="237" y="88"/>
                    </a:cubicBezTo>
                    <a:lnTo>
                      <a:pt x="228" y="76"/>
                    </a:lnTo>
                    <a:close/>
                    <a:moveTo>
                      <a:pt x="27" y="53"/>
                    </a:moveTo>
                    <a:cubicBezTo>
                      <a:pt x="27" y="53"/>
                      <a:pt x="14" y="52"/>
                      <a:pt x="7" y="55"/>
                    </a:cubicBezTo>
                    <a:cubicBezTo>
                      <a:pt x="0" y="57"/>
                      <a:pt x="9" y="74"/>
                      <a:pt x="9" y="74"/>
                    </a:cubicBezTo>
                    <a:cubicBezTo>
                      <a:pt x="14" y="87"/>
                      <a:pt x="14" y="87"/>
                      <a:pt x="14" y="87"/>
                    </a:cubicBezTo>
                    <a:cubicBezTo>
                      <a:pt x="14" y="87"/>
                      <a:pt x="30" y="74"/>
                      <a:pt x="34" y="74"/>
                    </a:cubicBezTo>
                    <a:cubicBezTo>
                      <a:pt x="38" y="74"/>
                      <a:pt x="55" y="60"/>
                      <a:pt x="55" y="60"/>
                    </a:cubicBezTo>
                    <a:cubicBezTo>
                      <a:pt x="51" y="49"/>
                      <a:pt x="51" y="49"/>
                      <a:pt x="51" y="49"/>
                    </a:cubicBezTo>
                    <a:lnTo>
                      <a:pt x="27" y="53"/>
                    </a:lnTo>
                    <a:close/>
                    <a:moveTo>
                      <a:pt x="29" y="45"/>
                    </a:moveTo>
                    <a:cubicBezTo>
                      <a:pt x="44" y="45"/>
                      <a:pt x="48" y="23"/>
                      <a:pt x="35" y="25"/>
                    </a:cubicBezTo>
                    <a:cubicBezTo>
                      <a:pt x="22" y="28"/>
                      <a:pt x="15" y="45"/>
                      <a:pt x="29" y="45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Freeform 334">
                <a:extLst>
                  <a:ext uri="{FF2B5EF4-FFF2-40B4-BE49-F238E27FC236}">
                    <a16:creationId xmlns:a16="http://schemas.microsoft.com/office/drawing/2014/main" id="{7704F153-06AF-902D-9330-46C7A79BCA9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393" y="-8936"/>
                <a:ext cx="397" cy="182"/>
              </a:xfrm>
              <a:custGeom>
                <a:avLst/>
                <a:gdLst>
                  <a:gd name="T0" fmla="*/ 53 w 168"/>
                  <a:gd name="T1" fmla="*/ 33 h 77"/>
                  <a:gd name="T2" fmla="*/ 53 w 168"/>
                  <a:gd name="T3" fmla="*/ 33 h 77"/>
                  <a:gd name="T4" fmla="*/ 53 w 168"/>
                  <a:gd name="T5" fmla="*/ 33 h 77"/>
                  <a:gd name="T6" fmla="*/ 53 w 168"/>
                  <a:gd name="T7" fmla="*/ 33 h 77"/>
                  <a:gd name="T8" fmla="*/ 152 w 168"/>
                  <a:gd name="T9" fmla="*/ 0 h 77"/>
                  <a:gd name="T10" fmla="*/ 139 w 168"/>
                  <a:gd name="T11" fmla="*/ 14 h 77"/>
                  <a:gd name="T12" fmla="*/ 84 w 168"/>
                  <a:gd name="T13" fmla="*/ 15 h 77"/>
                  <a:gd name="T14" fmla="*/ 67 w 168"/>
                  <a:gd name="T15" fmla="*/ 33 h 77"/>
                  <a:gd name="T16" fmla="*/ 53 w 168"/>
                  <a:gd name="T17" fmla="*/ 33 h 77"/>
                  <a:gd name="T18" fmla="*/ 60 w 168"/>
                  <a:gd name="T19" fmla="*/ 47 h 77"/>
                  <a:gd name="T20" fmla="*/ 50 w 168"/>
                  <a:gd name="T21" fmla="*/ 66 h 77"/>
                  <a:gd name="T22" fmla="*/ 52 w 168"/>
                  <a:gd name="T23" fmla="*/ 77 h 77"/>
                  <a:gd name="T24" fmla="*/ 57 w 168"/>
                  <a:gd name="T25" fmla="*/ 72 h 77"/>
                  <a:gd name="T26" fmla="*/ 67 w 168"/>
                  <a:gd name="T27" fmla="*/ 69 h 77"/>
                  <a:gd name="T28" fmla="*/ 89 w 168"/>
                  <a:gd name="T29" fmla="*/ 53 h 77"/>
                  <a:gd name="T30" fmla="*/ 111 w 168"/>
                  <a:gd name="T31" fmla="*/ 59 h 77"/>
                  <a:gd name="T32" fmla="*/ 168 w 168"/>
                  <a:gd name="T33" fmla="*/ 9 h 77"/>
                  <a:gd name="T34" fmla="*/ 152 w 168"/>
                  <a:gd name="T35" fmla="*/ 0 h 77"/>
                  <a:gd name="T36" fmla="*/ 0 w 168"/>
                  <a:gd name="T37" fmla="*/ 58 h 77"/>
                  <a:gd name="T38" fmla="*/ 4 w 168"/>
                  <a:gd name="T39" fmla="*/ 67 h 77"/>
                  <a:gd name="T40" fmla="*/ 24 w 168"/>
                  <a:gd name="T41" fmla="*/ 61 h 77"/>
                  <a:gd name="T42" fmla="*/ 28 w 168"/>
                  <a:gd name="T43" fmla="*/ 48 h 77"/>
                  <a:gd name="T44" fmla="*/ 11 w 168"/>
                  <a:gd name="T45" fmla="*/ 47 h 77"/>
                  <a:gd name="T46" fmla="*/ 0 w 168"/>
                  <a:gd name="T47" fmla="*/ 58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8" h="77">
                    <a:moveTo>
                      <a:pt x="53" y="33"/>
                    </a:moveTo>
                    <a:cubicBezTo>
                      <a:pt x="53" y="33"/>
                      <a:pt x="53" y="33"/>
                      <a:pt x="53" y="33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3" y="33"/>
                      <a:pt x="53" y="33"/>
                      <a:pt x="53" y="33"/>
                    </a:cubicBezTo>
                    <a:close/>
                    <a:moveTo>
                      <a:pt x="152" y="0"/>
                    </a:moveTo>
                    <a:cubicBezTo>
                      <a:pt x="139" y="14"/>
                      <a:pt x="139" y="14"/>
                      <a:pt x="139" y="14"/>
                    </a:cubicBezTo>
                    <a:cubicBezTo>
                      <a:pt x="139" y="14"/>
                      <a:pt x="96" y="15"/>
                      <a:pt x="84" y="15"/>
                    </a:cubicBezTo>
                    <a:cubicBezTo>
                      <a:pt x="73" y="15"/>
                      <a:pt x="67" y="33"/>
                      <a:pt x="67" y="33"/>
                    </a:cubicBezTo>
                    <a:cubicBezTo>
                      <a:pt x="67" y="33"/>
                      <a:pt x="61" y="32"/>
                      <a:pt x="53" y="33"/>
                    </a:cubicBezTo>
                    <a:cubicBezTo>
                      <a:pt x="60" y="47"/>
                      <a:pt x="60" y="47"/>
                      <a:pt x="60" y="47"/>
                    </a:cubicBezTo>
                    <a:cubicBezTo>
                      <a:pt x="60" y="47"/>
                      <a:pt x="56" y="54"/>
                      <a:pt x="50" y="66"/>
                    </a:cubicBezTo>
                    <a:cubicBezTo>
                      <a:pt x="46" y="72"/>
                      <a:pt x="49" y="76"/>
                      <a:pt x="52" y="77"/>
                    </a:cubicBezTo>
                    <a:cubicBezTo>
                      <a:pt x="55" y="74"/>
                      <a:pt x="57" y="72"/>
                      <a:pt x="57" y="72"/>
                    </a:cubicBezTo>
                    <a:cubicBezTo>
                      <a:pt x="67" y="69"/>
                      <a:pt x="67" y="69"/>
                      <a:pt x="67" y="69"/>
                    </a:cubicBezTo>
                    <a:cubicBezTo>
                      <a:pt x="89" y="53"/>
                      <a:pt x="89" y="53"/>
                      <a:pt x="89" y="53"/>
                    </a:cubicBezTo>
                    <a:cubicBezTo>
                      <a:pt x="89" y="53"/>
                      <a:pt x="98" y="62"/>
                      <a:pt x="111" y="59"/>
                    </a:cubicBezTo>
                    <a:cubicBezTo>
                      <a:pt x="124" y="56"/>
                      <a:pt x="168" y="9"/>
                      <a:pt x="168" y="9"/>
                    </a:cubicBezTo>
                    <a:lnTo>
                      <a:pt x="152" y="0"/>
                    </a:lnTo>
                    <a:close/>
                    <a:moveTo>
                      <a:pt x="0" y="58"/>
                    </a:moveTo>
                    <a:cubicBezTo>
                      <a:pt x="4" y="67"/>
                      <a:pt x="4" y="67"/>
                      <a:pt x="4" y="67"/>
                    </a:cubicBezTo>
                    <a:cubicBezTo>
                      <a:pt x="15" y="58"/>
                      <a:pt x="24" y="61"/>
                      <a:pt x="24" y="61"/>
                    </a:cubicBezTo>
                    <a:cubicBezTo>
                      <a:pt x="24" y="61"/>
                      <a:pt x="24" y="54"/>
                      <a:pt x="28" y="48"/>
                    </a:cubicBezTo>
                    <a:cubicBezTo>
                      <a:pt x="11" y="47"/>
                      <a:pt x="11" y="47"/>
                      <a:pt x="11" y="47"/>
                    </a:cubicBezTo>
                    <a:lnTo>
                      <a:pt x="0" y="5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Freeform 335">
                <a:extLst>
                  <a:ext uri="{FF2B5EF4-FFF2-40B4-BE49-F238E27FC236}">
                    <a16:creationId xmlns:a16="http://schemas.microsoft.com/office/drawing/2014/main" id="{E893600D-3542-463C-BC9A-B611E0876C8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262" y="-9767"/>
                <a:ext cx="1724" cy="1160"/>
              </a:xfrm>
              <a:custGeom>
                <a:avLst/>
                <a:gdLst>
                  <a:gd name="T0" fmla="*/ 296 w 730"/>
                  <a:gd name="T1" fmla="*/ 19 h 491"/>
                  <a:gd name="T2" fmla="*/ 331 w 730"/>
                  <a:gd name="T3" fmla="*/ 7 h 491"/>
                  <a:gd name="T4" fmla="*/ 521 w 730"/>
                  <a:gd name="T5" fmla="*/ 171 h 491"/>
                  <a:gd name="T6" fmla="*/ 476 w 730"/>
                  <a:gd name="T7" fmla="*/ 209 h 491"/>
                  <a:gd name="T8" fmla="*/ 404 w 730"/>
                  <a:gd name="T9" fmla="*/ 228 h 491"/>
                  <a:gd name="T10" fmla="*/ 398 w 730"/>
                  <a:gd name="T11" fmla="*/ 257 h 491"/>
                  <a:gd name="T12" fmla="*/ 474 w 730"/>
                  <a:gd name="T13" fmla="*/ 251 h 491"/>
                  <a:gd name="T14" fmla="*/ 523 w 730"/>
                  <a:gd name="T15" fmla="*/ 228 h 491"/>
                  <a:gd name="T16" fmla="*/ 536 w 730"/>
                  <a:gd name="T17" fmla="*/ 206 h 491"/>
                  <a:gd name="T18" fmla="*/ 555 w 730"/>
                  <a:gd name="T19" fmla="*/ 140 h 491"/>
                  <a:gd name="T20" fmla="*/ 564 w 730"/>
                  <a:gd name="T21" fmla="*/ 94 h 491"/>
                  <a:gd name="T22" fmla="*/ 520 w 730"/>
                  <a:gd name="T23" fmla="*/ 58 h 491"/>
                  <a:gd name="T24" fmla="*/ 494 w 730"/>
                  <a:gd name="T25" fmla="*/ 31 h 491"/>
                  <a:gd name="T26" fmla="*/ 516 w 730"/>
                  <a:gd name="T27" fmla="*/ 69 h 491"/>
                  <a:gd name="T28" fmla="*/ 576 w 730"/>
                  <a:gd name="T29" fmla="*/ 122 h 491"/>
                  <a:gd name="T30" fmla="*/ 599 w 730"/>
                  <a:gd name="T31" fmla="*/ 131 h 491"/>
                  <a:gd name="T32" fmla="*/ 728 w 730"/>
                  <a:gd name="T33" fmla="*/ 249 h 491"/>
                  <a:gd name="T34" fmla="*/ 664 w 730"/>
                  <a:gd name="T35" fmla="*/ 185 h 491"/>
                  <a:gd name="T36" fmla="*/ 670 w 730"/>
                  <a:gd name="T37" fmla="*/ 225 h 491"/>
                  <a:gd name="T38" fmla="*/ 730 w 730"/>
                  <a:gd name="T39" fmla="*/ 300 h 491"/>
                  <a:gd name="T40" fmla="*/ 17 w 730"/>
                  <a:gd name="T41" fmla="*/ 401 h 491"/>
                  <a:gd name="T42" fmla="*/ 17 w 730"/>
                  <a:gd name="T43" fmla="*/ 401 h 491"/>
                  <a:gd name="T44" fmla="*/ 452 w 730"/>
                  <a:gd name="T45" fmla="*/ 453 h 491"/>
                  <a:gd name="T46" fmla="*/ 437 w 730"/>
                  <a:gd name="T47" fmla="*/ 426 h 491"/>
                  <a:gd name="T48" fmla="*/ 408 w 730"/>
                  <a:gd name="T49" fmla="*/ 388 h 491"/>
                  <a:gd name="T50" fmla="*/ 374 w 730"/>
                  <a:gd name="T51" fmla="*/ 375 h 491"/>
                  <a:gd name="T52" fmla="*/ 357 w 730"/>
                  <a:gd name="T53" fmla="*/ 337 h 491"/>
                  <a:gd name="T54" fmla="*/ 304 w 730"/>
                  <a:gd name="T55" fmla="*/ 274 h 491"/>
                  <a:gd name="T56" fmla="*/ 308 w 730"/>
                  <a:gd name="T57" fmla="*/ 220 h 491"/>
                  <a:gd name="T58" fmla="*/ 256 w 730"/>
                  <a:gd name="T59" fmla="*/ 169 h 491"/>
                  <a:gd name="T60" fmla="*/ 200 w 730"/>
                  <a:gd name="T61" fmla="*/ 113 h 491"/>
                  <a:gd name="T62" fmla="*/ 151 w 730"/>
                  <a:gd name="T63" fmla="*/ 91 h 491"/>
                  <a:gd name="T64" fmla="*/ 49 w 730"/>
                  <a:gd name="T65" fmla="*/ 49 h 491"/>
                  <a:gd name="T66" fmla="*/ 6 w 730"/>
                  <a:gd name="T67" fmla="*/ 36 h 491"/>
                  <a:gd name="T68" fmla="*/ 30 w 730"/>
                  <a:gd name="T69" fmla="*/ 155 h 491"/>
                  <a:gd name="T70" fmla="*/ 27 w 730"/>
                  <a:gd name="T71" fmla="*/ 253 h 491"/>
                  <a:gd name="T72" fmla="*/ 26 w 730"/>
                  <a:gd name="T73" fmla="*/ 282 h 491"/>
                  <a:gd name="T74" fmla="*/ 15 w 730"/>
                  <a:gd name="T75" fmla="*/ 353 h 491"/>
                  <a:gd name="T76" fmla="*/ 17 w 730"/>
                  <a:gd name="T77" fmla="*/ 401 h 491"/>
                  <a:gd name="T78" fmla="*/ 88 w 730"/>
                  <a:gd name="T79" fmla="*/ 408 h 491"/>
                  <a:gd name="T80" fmla="*/ 71 w 730"/>
                  <a:gd name="T81" fmla="*/ 347 h 491"/>
                  <a:gd name="T82" fmla="*/ 130 w 730"/>
                  <a:gd name="T83" fmla="*/ 329 h 491"/>
                  <a:gd name="T84" fmla="*/ 146 w 730"/>
                  <a:gd name="T85" fmla="*/ 313 h 491"/>
                  <a:gd name="T86" fmla="*/ 185 w 730"/>
                  <a:gd name="T87" fmla="*/ 311 h 491"/>
                  <a:gd name="T88" fmla="*/ 258 w 730"/>
                  <a:gd name="T89" fmla="*/ 342 h 491"/>
                  <a:gd name="T90" fmla="*/ 302 w 730"/>
                  <a:gd name="T91" fmla="*/ 398 h 491"/>
                  <a:gd name="T92" fmla="*/ 418 w 730"/>
                  <a:gd name="T93" fmla="*/ 464 h 491"/>
                  <a:gd name="T94" fmla="*/ 450 w 730"/>
                  <a:gd name="T95" fmla="*/ 464 h 4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30" h="491">
                    <a:moveTo>
                      <a:pt x="331" y="7"/>
                    </a:moveTo>
                    <a:cubicBezTo>
                      <a:pt x="318" y="0"/>
                      <a:pt x="296" y="19"/>
                      <a:pt x="296" y="19"/>
                    </a:cubicBezTo>
                    <a:cubicBezTo>
                      <a:pt x="315" y="31"/>
                      <a:pt x="315" y="31"/>
                      <a:pt x="315" y="31"/>
                    </a:cubicBezTo>
                    <a:cubicBezTo>
                      <a:pt x="333" y="35"/>
                      <a:pt x="344" y="14"/>
                      <a:pt x="331" y="7"/>
                    </a:cubicBezTo>
                    <a:close/>
                    <a:moveTo>
                      <a:pt x="508" y="150"/>
                    </a:moveTo>
                    <a:cubicBezTo>
                      <a:pt x="499" y="159"/>
                      <a:pt x="521" y="171"/>
                      <a:pt x="521" y="171"/>
                    </a:cubicBezTo>
                    <a:cubicBezTo>
                      <a:pt x="523" y="184"/>
                      <a:pt x="523" y="184"/>
                      <a:pt x="523" y="184"/>
                    </a:cubicBezTo>
                    <a:cubicBezTo>
                      <a:pt x="476" y="209"/>
                      <a:pt x="476" y="209"/>
                      <a:pt x="476" y="209"/>
                    </a:cubicBezTo>
                    <a:cubicBezTo>
                      <a:pt x="476" y="209"/>
                      <a:pt x="452" y="207"/>
                      <a:pt x="436" y="210"/>
                    </a:cubicBezTo>
                    <a:cubicBezTo>
                      <a:pt x="420" y="213"/>
                      <a:pt x="414" y="222"/>
                      <a:pt x="404" y="228"/>
                    </a:cubicBezTo>
                    <a:cubicBezTo>
                      <a:pt x="394" y="234"/>
                      <a:pt x="388" y="222"/>
                      <a:pt x="382" y="234"/>
                    </a:cubicBezTo>
                    <a:cubicBezTo>
                      <a:pt x="398" y="257"/>
                      <a:pt x="398" y="257"/>
                      <a:pt x="398" y="257"/>
                    </a:cubicBezTo>
                    <a:cubicBezTo>
                      <a:pt x="463" y="260"/>
                      <a:pt x="463" y="260"/>
                      <a:pt x="463" y="260"/>
                    </a:cubicBezTo>
                    <a:cubicBezTo>
                      <a:pt x="474" y="251"/>
                      <a:pt x="474" y="251"/>
                      <a:pt x="474" y="251"/>
                    </a:cubicBezTo>
                    <a:cubicBezTo>
                      <a:pt x="474" y="251"/>
                      <a:pt x="486" y="251"/>
                      <a:pt x="499" y="250"/>
                    </a:cubicBezTo>
                    <a:cubicBezTo>
                      <a:pt x="513" y="248"/>
                      <a:pt x="523" y="228"/>
                      <a:pt x="523" y="228"/>
                    </a:cubicBezTo>
                    <a:cubicBezTo>
                      <a:pt x="542" y="223"/>
                      <a:pt x="542" y="223"/>
                      <a:pt x="542" y="223"/>
                    </a:cubicBezTo>
                    <a:cubicBezTo>
                      <a:pt x="536" y="206"/>
                      <a:pt x="536" y="206"/>
                      <a:pt x="536" y="206"/>
                    </a:cubicBezTo>
                    <a:cubicBezTo>
                      <a:pt x="554" y="209"/>
                      <a:pt x="554" y="209"/>
                      <a:pt x="554" y="209"/>
                    </a:cubicBezTo>
                    <a:cubicBezTo>
                      <a:pt x="554" y="209"/>
                      <a:pt x="562" y="157"/>
                      <a:pt x="555" y="140"/>
                    </a:cubicBezTo>
                    <a:cubicBezTo>
                      <a:pt x="548" y="122"/>
                      <a:pt x="517" y="141"/>
                      <a:pt x="508" y="150"/>
                    </a:cubicBezTo>
                    <a:close/>
                    <a:moveTo>
                      <a:pt x="564" y="94"/>
                    </a:moveTo>
                    <a:cubicBezTo>
                      <a:pt x="555" y="94"/>
                      <a:pt x="555" y="94"/>
                      <a:pt x="555" y="94"/>
                    </a:cubicBezTo>
                    <a:cubicBezTo>
                      <a:pt x="555" y="94"/>
                      <a:pt x="524" y="60"/>
                      <a:pt x="520" y="58"/>
                    </a:cubicBezTo>
                    <a:cubicBezTo>
                      <a:pt x="516" y="55"/>
                      <a:pt x="508" y="55"/>
                      <a:pt x="508" y="55"/>
                    </a:cubicBezTo>
                    <a:cubicBezTo>
                      <a:pt x="494" y="31"/>
                      <a:pt x="494" y="31"/>
                      <a:pt x="494" y="31"/>
                    </a:cubicBezTo>
                    <a:cubicBezTo>
                      <a:pt x="486" y="63"/>
                      <a:pt x="486" y="63"/>
                      <a:pt x="486" y="63"/>
                    </a:cubicBezTo>
                    <a:cubicBezTo>
                      <a:pt x="516" y="69"/>
                      <a:pt x="516" y="69"/>
                      <a:pt x="516" y="69"/>
                    </a:cubicBezTo>
                    <a:cubicBezTo>
                      <a:pt x="516" y="69"/>
                      <a:pt x="539" y="96"/>
                      <a:pt x="545" y="102"/>
                    </a:cubicBezTo>
                    <a:cubicBezTo>
                      <a:pt x="551" y="107"/>
                      <a:pt x="571" y="109"/>
                      <a:pt x="576" y="122"/>
                    </a:cubicBezTo>
                    <a:cubicBezTo>
                      <a:pt x="580" y="135"/>
                      <a:pt x="562" y="179"/>
                      <a:pt x="589" y="181"/>
                    </a:cubicBezTo>
                    <a:cubicBezTo>
                      <a:pt x="604" y="182"/>
                      <a:pt x="612" y="150"/>
                      <a:pt x="599" y="131"/>
                    </a:cubicBezTo>
                    <a:cubicBezTo>
                      <a:pt x="586" y="112"/>
                      <a:pt x="564" y="94"/>
                      <a:pt x="564" y="94"/>
                    </a:cubicBezTo>
                    <a:close/>
                    <a:moveTo>
                      <a:pt x="728" y="249"/>
                    </a:moveTo>
                    <a:cubicBezTo>
                      <a:pt x="687" y="202"/>
                      <a:pt x="687" y="202"/>
                      <a:pt x="687" y="202"/>
                    </a:cubicBezTo>
                    <a:cubicBezTo>
                      <a:pt x="687" y="202"/>
                      <a:pt x="683" y="177"/>
                      <a:pt x="664" y="185"/>
                    </a:cubicBezTo>
                    <a:cubicBezTo>
                      <a:pt x="653" y="190"/>
                      <a:pt x="659" y="206"/>
                      <a:pt x="659" y="206"/>
                    </a:cubicBezTo>
                    <a:cubicBezTo>
                      <a:pt x="670" y="225"/>
                      <a:pt x="670" y="225"/>
                      <a:pt x="670" y="225"/>
                    </a:cubicBezTo>
                    <a:cubicBezTo>
                      <a:pt x="687" y="257"/>
                      <a:pt x="687" y="257"/>
                      <a:pt x="687" y="257"/>
                    </a:cubicBezTo>
                    <a:cubicBezTo>
                      <a:pt x="730" y="300"/>
                      <a:pt x="730" y="300"/>
                      <a:pt x="730" y="300"/>
                    </a:cubicBezTo>
                    <a:lnTo>
                      <a:pt x="728" y="249"/>
                    </a:lnTo>
                    <a:close/>
                    <a:moveTo>
                      <a:pt x="17" y="401"/>
                    </a:moveTo>
                    <a:cubicBezTo>
                      <a:pt x="17" y="401"/>
                      <a:pt x="17" y="401"/>
                      <a:pt x="17" y="401"/>
                    </a:cubicBezTo>
                    <a:cubicBezTo>
                      <a:pt x="17" y="401"/>
                      <a:pt x="17" y="401"/>
                      <a:pt x="17" y="401"/>
                    </a:cubicBezTo>
                    <a:cubicBezTo>
                      <a:pt x="17" y="401"/>
                      <a:pt x="17" y="401"/>
                      <a:pt x="17" y="401"/>
                    </a:cubicBezTo>
                    <a:close/>
                    <a:moveTo>
                      <a:pt x="452" y="453"/>
                    </a:moveTo>
                    <a:cubicBezTo>
                      <a:pt x="425" y="436"/>
                      <a:pt x="425" y="436"/>
                      <a:pt x="425" y="436"/>
                    </a:cubicBezTo>
                    <a:cubicBezTo>
                      <a:pt x="437" y="426"/>
                      <a:pt x="437" y="426"/>
                      <a:pt x="437" y="426"/>
                    </a:cubicBezTo>
                    <a:cubicBezTo>
                      <a:pt x="437" y="426"/>
                      <a:pt x="413" y="425"/>
                      <a:pt x="406" y="418"/>
                    </a:cubicBezTo>
                    <a:cubicBezTo>
                      <a:pt x="400" y="411"/>
                      <a:pt x="408" y="397"/>
                      <a:pt x="408" y="388"/>
                    </a:cubicBezTo>
                    <a:cubicBezTo>
                      <a:pt x="408" y="379"/>
                      <a:pt x="375" y="396"/>
                      <a:pt x="375" y="396"/>
                    </a:cubicBezTo>
                    <a:cubicBezTo>
                      <a:pt x="374" y="375"/>
                      <a:pt x="374" y="375"/>
                      <a:pt x="374" y="375"/>
                    </a:cubicBezTo>
                    <a:cubicBezTo>
                      <a:pt x="357" y="367"/>
                      <a:pt x="357" y="367"/>
                      <a:pt x="357" y="367"/>
                    </a:cubicBezTo>
                    <a:cubicBezTo>
                      <a:pt x="357" y="337"/>
                      <a:pt x="357" y="337"/>
                      <a:pt x="357" y="337"/>
                    </a:cubicBezTo>
                    <a:cubicBezTo>
                      <a:pt x="321" y="311"/>
                      <a:pt x="321" y="311"/>
                      <a:pt x="321" y="311"/>
                    </a:cubicBezTo>
                    <a:cubicBezTo>
                      <a:pt x="304" y="274"/>
                      <a:pt x="304" y="274"/>
                      <a:pt x="304" y="274"/>
                    </a:cubicBezTo>
                    <a:cubicBezTo>
                      <a:pt x="304" y="274"/>
                      <a:pt x="342" y="261"/>
                      <a:pt x="342" y="245"/>
                    </a:cubicBezTo>
                    <a:cubicBezTo>
                      <a:pt x="342" y="229"/>
                      <a:pt x="308" y="220"/>
                      <a:pt x="308" y="220"/>
                    </a:cubicBezTo>
                    <a:cubicBezTo>
                      <a:pt x="306" y="216"/>
                      <a:pt x="256" y="202"/>
                      <a:pt x="256" y="202"/>
                    </a:cubicBezTo>
                    <a:cubicBezTo>
                      <a:pt x="256" y="202"/>
                      <a:pt x="252" y="189"/>
                      <a:pt x="256" y="169"/>
                    </a:cubicBezTo>
                    <a:cubicBezTo>
                      <a:pt x="260" y="150"/>
                      <a:pt x="232" y="147"/>
                      <a:pt x="232" y="147"/>
                    </a:cubicBezTo>
                    <a:cubicBezTo>
                      <a:pt x="200" y="113"/>
                      <a:pt x="200" y="113"/>
                      <a:pt x="200" y="113"/>
                    </a:cubicBezTo>
                    <a:cubicBezTo>
                      <a:pt x="175" y="114"/>
                      <a:pt x="175" y="114"/>
                      <a:pt x="175" y="114"/>
                    </a:cubicBezTo>
                    <a:cubicBezTo>
                      <a:pt x="151" y="91"/>
                      <a:pt x="151" y="91"/>
                      <a:pt x="151" y="91"/>
                    </a:cubicBezTo>
                    <a:cubicBezTo>
                      <a:pt x="131" y="87"/>
                      <a:pt x="131" y="87"/>
                      <a:pt x="131" y="87"/>
                    </a:cubicBezTo>
                    <a:cubicBezTo>
                      <a:pt x="49" y="49"/>
                      <a:pt x="49" y="49"/>
                      <a:pt x="49" y="49"/>
                    </a:cubicBezTo>
                    <a:cubicBezTo>
                      <a:pt x="33" y="55"/>
                      <a:pt x="33" y="55"/>
                      <a:pt x="33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32" y="55"/>
                      <a:pt x="32" y="55"/>
                      <a:pt x="32" y="55"/>
                    </a:cubicBezTo>
                    <a:cubicBezTo>
                      <a:pt x="32" y="75"/>
                      <a:pt x="30" y="139"/>
                      <a:pt x="30" y="155"/>
                    </a:cubicBezTo>
                    <a:cubicBezTo>
                      <a:pt x="30" y="175"/>
                      <a:pt x="22" y="197"/>
                      <a:pt x="24" y="212"/>
                    </a:cubicBezTo>
                    <a:cubicBezTo>
                      <a:pt x="26" y="227"/>
                      <a:pt x="27" y="253"/>
                      <a:pt x="27" y="253"/>
                    </a:cubicBezTo>
                    <a:cubicBezTo>
                      <a:pt x="27" y="253"/>
                      <a:pt x="0" y="271"/>
                      <a:pt x="11" y="277"/>
                    </a:cubicBezTo>
                    <a:cubicBezTo>
                      <a:pt x="22" y="284"/>
                      <a:pt x="26" y="282"/>
                      <a:pt x="26" y="282"/>
                    </a:cubicBezTo>
                    <a:cubicBezTo>
                      <a:pt x="26" y="282"/>
                      <a:pt x="23" y="319"/>
                      <a:pt x="21" y="327"/>
                    </a:cubicBezTo>
                    <a:cubicBezTo>
                      <a:pt x="19" y="334"/>
                      <a:pt x="15" y="353"/>
                      <a:pt x="15" y="353"/>
                    </a:cubicBezTo>
                    <a:cubicBezTo>
                      <a:pt x="19" y="369"/>
                      <a:pt x="19" y="369"/>
                      <a:pt x="19" y="369"/>
                    </a:cubicBezTo>
                    <a:cubicBezTo>
                      <a:pt x="17" y="401"/>
                      <a:pt x="17" y="401"/>
                      <a:pt x="17" y="401"/>
                    </a:cubicBezTo>
                    <a:cubicBezTo>
                      <a:pt x="34" y="405"/>
                      <a:pt x="75" y="396"/>
                      <a:pt x="75" y="396"/>
                    </a:cubicBezTo>
                    <a:cubicBezTo>
                      <a:pt x="88" y="408"/>
                      <a:pt x="88" y="408"/>
                      <a:pt x="88" y="408"/>
                    </a:cubicBezTo>
                    <a:cubicBezTo>
                      <a:pt x="88" y="408"/>
                      <a:pt x="114" y="398"/>
                      <a:pt x="126" y="388"/>
                    </a:cubicBezTo>
                    <a:cubicBezTo>
                      <a:pt x="138" y="377"/>
                      <a:pt x="71" y="347"/>
                      <a:pt x="71" y="347"/>
                    </a:cubicBezTo>
                    <a:cubicBezTo>
                      <a:pt x="71" y="347"/>
                      <a:pt x="126" y="355"/>
                      <a:pt x="138" y="353"/>
                    </a:cubicBezTo>
                    <a:cubicBezTo>
                      <a:pt x="150" y="350"/>
                      <a:pt x="130" y="329"/>
                      <a:pt x="130" y="329"/>
                    </a:cubicBezTo>
                    <a:cubicBezTo>
                      <a:pt x="130" y="329"/>
                      <a:pt x="146" y="341"/>
                      <a:pt x="151" y="338"/>
                    </a:cubicBezTo>
                    <a:cubicBezTo>
                      <a:pt x="156" y="336"/>
                      <a:pt x="146" y="313"/>
                      <a:pt x="146" y="313"/>
                    </a:cubicBezTo>
                    <a:cubicBezTo>
                      <a:pt x="146" y="313"/>
                      <a:pt x="156" y="322"/>
                      <a:pt x="163" y="324"/>
                    </a:cubicBezTo>
                    <a:cubicBezTo>
                      <a:pt x="169" y="325"/>
                      <a:pt x="179" y="312"/>
                      <a:pt x="185" y="311"/>
                    </a:cubicBezTo>
                    <a:cubicBezTo>
                      <a:pt x="192" y="309"/>
                      <a:pt x="202" y="329"/>
                      <a:pt x="209" y="333"/>
                    </a:cubicBezTo>
                    <a:cubicBezTo>
                      <a:pt x="215" y="337"/>
                      <a:pt x="240" y="332"/>
                      <a:pt x="258" y="342"/>
                    </a:cubicBezTo>
                    <a:cubicBezTo>
                      <a:pt x="277" y="353"/>
                      <a:pt x="270" y="376"/>
                      <a:pt x="277" y="388"/>
                    </a:cubicBezTo>
                    <a:cubicBezTo>
                      <a:pt x="283" y="400"/>
                      <a:pt x="296" y="392"/>
                      <a:pt x="302" y="398"/>
                    </a:cubicBezTo>
                    <a:cubicBezTo>
                      <a:pt x="307" y="405"/>
                      <a:pt x="316" y="446"/>
                      <a:pt x="330" y="456"/>
                    </a:cubicBezTo>
                    <a:cubicBezTo>
                      <a:pt x="345" y="466"/>
                      <a:pt x="409" y="460"/>
                      <a:pt x="418" y="464"/>
                    </a:cubicBezTo>
                    <a:cubicBezTo>
                      <a:pt x="427" y="468"/>
                      <a:pt x="447" y="491"/>
                      <a:pt x="459" y="491"/>
                    </a:cubicBezTo>
                    <a:cubicBezTo>
                      <a:pt x="471" y="491"/>
                      <a:pt x="450" y="464"/>
                      <a:pt x="450" y="464"/>
                    </a:cubicBezTo>
                    <a:lnTo>
                      <a:pt x="452" y="45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" name="Freeform 336">
                <a:extLst>
                  <a:ext uri="{FF2B5EF4-FFF2-40B4-BE49-F238E27FC236}">
                    <a16:creationId xmlns:a16="http://schemas.microsoft.com/office/drawing/2014/main" id="{F3C91D11-1B85-C3A1-E422-7C7CDAE81E9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190" y="-10710"/>
                <a:ext cx="5147" cy="2077"/>
              </a:xfrm>
              <a:custGeom>
                <a:avLst/>
                <a:gdLst>
                  <a:gd name="T0" fmla="*/ 455 w 2179"/>
                  <a:gd name="T1" fmla="*/ 287 h 879"/>
                  <a:gd name="T2" fmla="*/ 603 w 2179"/>
                  <a:gd name="T3" fmla="*/ 446 h 879"/>
                  <a:gd name="T4" fmla="*/ 558 w 2179"/>
                  <a:gd name="T5" fmla="*/ 443 h 879"/>
                  <a:gd name="T6" fmla="*/ 162 w 2179"/>
                  <a:gd name="T7" fmla="*/ 330 h 879"/>
                  <a:gd name="T8" fmla="*/ 40 w 2179"/>
                  <a:gd name="T9" fmla="*/ 174 h 879"/>
                  <a:gd name="T10" fmla="*/ 1708 w 2179"/>
                  <a:gd name="T11" fmla="*/ 314 h 879"/>
                  <a:gd name="T12" fmla="*/ 1627 w 2179"/>
                  <a:gd name="T13" fmla="*/ 412 h 879"/>
                  <a:gd name="T14" fmla="*/ 1950 w 2179"/>
                  <a:gd name="T15" fmla="*/ 413 h 879"/>
                  <a:gd name="T16" fmla="*/ 1124 w 2179"/>
                  <a:gd name="T17" fmla="*/ 485 h 879"/>
                  <a:gd name="T18" fmla="*/ 1210 w 2179"/>
                  <a:gd name="T19" fmla="*/ 476 h 879"/>
                  <a:gd name="T20" fmla="*/ 1285 w 2179"/>
                  <a:gd name="T21" fmla="*/ 614 h 879"/>
                  <a:gd name="T22" fmla="*/ 1291 w 2179"/>
                  <a:gd name="T23" fmla="*/ 446 h 879"/>
                  <a:gd name="T24" fmla="*/ 1240 w 2179"/>
                  <a:gd name="T25" fmla="*/ 370 h 879"/>
                  <a:gd name="T26" fmla="*/ 1415 w 2179"/>
                  <a:gd name="T27" fmla="*/ 258 h 879"/>
                  <a:gd name="T28" fmla="*/ 1253 w 2179"/>
                  <a:gd name="T29" fmla="*/ 232 h 879"/>
                  <a:gd name="T30" fmla="*/ 1328 w 2179"/>
                  <a:gd name="T31" fmla="*/ 387 h 879"/>
                  <a:gd name="T32" fmla="*/ 1127 w 2179"/>
                  <a:gd name="T33" fmla="*/ 743 h 879"/>
                  <a:gd name="T34" fmla="*/ 1542 w 2179"/>
                  <a:gd name="T35" fmla="*/ 370 h 879"/>
                  <a:gd name="T36" fmla="*/ 1603 w 2179"/>
                  <a:gd name="T37" fmla="*/ 288 h 879"/>
                  <a:gd name="T38" fmla="*/ 1548 w 2179"/>
                  <a:gd name="T39" fmla="*/ 230 h 879"/>
                  <a:gd name="T40" fmla="*/ 1517 w 2179"/>
                  <a:gd name="T41" fmla="*/ 471 h 879"/>
                  <a:gd name="T42" fmla="*/ 1634 w 2179"/>
                  <a:gd name="T43" fmla="*/ 448 h 879"/>
                  <a:gd name="T44" fmla="*/ 1654 w 2179"/>
                  <a:gd name="T45" fmla="*/ 509 h 879"/>
                  <a:gd name="T46" fmla="*/ 2007 w 2179"/>
                  <a:gd name="T47" fmla="*/ 423 h 879"/>
                  <a:gd name="T48" fmla="*/ 1820 w 2179"/>
                  <a:gd name="T49" fmla="*/ 350 h 879"/>
                  <a:gd name="T50" fmla="*/ 1749 w 2179"/>
                  <a:gd name="T51" fmla="*/ 393 h 879"/>
                  <a:gd name="T52" fmla="*/ 1790 w 2179"/>
                  <a:gd name="T53" fmla="*/ 530 h 879"/>
                  <a:gd name="T54" fmla="*/ 1964 w 2179"/>
                  <a:gd name="T55" fmla="*/ 567 h 879"/>
                  <a:gd name="T56" fmla="*/ 2077 w 2179"/>
                  <a:gd name="T57" fmla="*/ 729 h 879"/>
                  <a:gd name="T58" fmla="*/ 2168 w 2179"/>
                  <a:gd name="T59" fmla="*/ 726 h 879"/>
                  <a:gd name="T60" fmla="*/ 258 w 2179"/>
                  <a:gd name="T61" fmla="*/ 478 h 879"/>
                  <a:gd name="T62" fmla="*/ 2037 w 2179"/>
                  <a:gd name="T63" fmla="*/ 711 h 879"/>
                  <a:gd name="T64" fmla="*/ 1860 w 2179"/>
                  <a:gd name="T65" fmla="*/ 679 h 879"/>
                  <a:gd name="T66" fmla="*/ 1427 w 2179"/>
                  <a:gd name="T67" fmla="*/ 403 h 879"/>
                  <a:gd name="T68" fmla="*/ 863 w 2179"/>
                  <a:gd name="T69" fmla="*/ 677 h 879"/>
                  <a:gd name="T70" fmla="*/ 499 w 2179"/>
                  <a:gd name="T71" fmla="*/ 620 h 879"/>
                  <a:gd name="T72" fmla="*/ 450 w 2179"/>
                  <a:gd name="T73" fmla="*/ 413 h 879"/>
                  <a:gd name="T74" fmla="*/ 340 w 2179"/>
                  <a:gd name="T75" fmla="*/ 238 h 879"/>
                  <a:gd name="T76" fmla="*/ 151 w 2179"/>
                  <a:gd name="T77" fmla="*/ 72 h 879"/>
                  <a:gd name="T78" fmla="*/ 119 w 2179"/>
                  <a:gd name="T79" fmla="*/ 154 h 879"/>
                  <a:gd name="T80" fmla="*/ 275 w 2179"/>
                  <a:gd name="T81" fmla="*/ 408 h 879"/>
                  <a:gd name="T82" fmla="*/ 444 w 2179"/>
                  <a:gd name="T83" fmla="*/ 630 h 879"/>
                  <a:gd name="T84" fmla="*/ 1408 w 2179"/>
                  <a:gd name="T85" fmla="*/ 828 h 879"/>
                  <a:gd name="T86" fmla="*/ 778 w 2179"/>
                  <a:gd name="T87" fmla="*/ 674 h 879"/>
                  <a:gd name="T88" fmla="*/ 535 w 2179"/>
                  <a:gd name="T89" fmla="*/ 624 h 879"/>
                  <a:gd name="T90" fmla="*/ 705 w 2179"/>
                  <a:gd name="T91" fmla="*/ 728 h 879"/>
                  <a:gd name="T92" fmla="*/ 1004 w 2179"/>
                  <a:gd name="T93" fmla="*/ 484 h 879"/>
                  <a:gd name="T94" fmla="*/ 1139 w 2179"/>
                  <a:gd name="T95" fmla="*/ 271 h 879"/>
                  <a:gd name="T96" fmla="*/ 1086 w 2179"/>
                  <a:gd name="T97" fmla="*/ 110 h 879"/>
                  <a:gd name="T98" fmla="*/ 939 w 2179"/>
                  <a:gd name="T99" fmla="*/ 208 h 879"/>
                  <a:gd name="T100" fmla="*/ 712 w 2179"/>
                  <a:gd name="T101" fmla="*/ 247 h 879"/>
                  <a:gd name="T102" fmla="*/ 716 w 2179"/>
                  <a:gd name="T103" fmla="*/ 388 h 879"/>
                  <a:gd name="T104" fmla="*/ 822 w 2179"/>
                  <a:gd name="T105" fmla="*/ 472 h 879"/>
                  <a:gd name="T106" fmla="*/ 974 w 2179"/>
                  <a:gd name="T107" fmla="*/ 755 h 879"/>
                  <a:gd name="T108" fmla="*/ 1187 w 2179"/>
                  <a:gd name="T109" fmla="*/ 827 h 879"/>
                  <a:gd name="T110" fmla="*/ 1151 w 2179"/>
                  <a:gd name="T111" fmla="*/ 787 h 879"/>
                  <a:gd name="T112" fmla="*/ 1056 w 2179"/>
                  <a:gd name="T113" fmla="*/ 774 h 879"/>
                  <a:gd name="T114" fmla="*/ 1067 w 2179"/>
                  <a:gd name="T115" fmla="*/ 771 h 8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179" h="879">
                    <a:moveTo>
                      <a:pt x="1196" y="656"/>
                    </a:moveTo>
                    <a:cubicBezTo>
                      <a:pt x="1210" y="655"/>
                      <a:pt x="1210" y="655"/>
                      <a:pt x="1210" y="655"/>
                    </a:cubicBezTo>
                    <a:cubicBezTo>
                      <a:pt x="1218" y="637"/>
                      <a:pt x="1218" y="637"/>
                      <a:pt x="1218" y="637"/>
                    </a:cubicBezTo>
                    <a:cubicBezTo>
                      <a:pt x="1215" y="622"/>
                      <a:pt x="1215" y="622"/>
                      <a:pt x="1215" y="622"/>
                    </a:cubicBezTo>
                    <a:lnTo>
                      <a:pt x="1196" y="656"/>
                    </a:lnTo>
                    <a:close/>
                    <a:moveTo>
                      <a:pt x="453" y="310"/>
                    </a:moveTo>
                    <a:cubicBezTo>
                      <a:pt x="472" y="321"/>
                      <a:pt x="472" y="321"/>
                      <a:pt x="472" y="321"/>
                    </a:cubicBezTo>
                    <a:cubicBezTo>
                      <a:pt x="472" y="300"/>
                      <a:pt x="472" y="300"/>
                      <a:pt x="472" y="300"/>
                    </a:cubicBezTo>
                    <a:cubicBezTo>
                      <a:pt x="455" y="287"/>
                      <a:pt x="455" y="287"/>
                      <a:pt x="455" y="287"/>
                    </a:cubicBezTo>
                    <a:lnTo>
                      <a:pt x="453" y="310"/>
                    </a:lnTo>
                    <a:close/>
                    <a:moveTo>
                      <a:pt x="455" y="331"/>
                    </a:moveTo>
                    <a:cubicBezTo>
                      <a:pt x="441" y="344"/>
                      <a:pt x="441" y="344"/>
                      <a:pt x="441" y="344"/>
                    </a:cubicBezTo>
                    <a:cubicBezTo>
                      <a:pt x="458" y="365"/>
                      <a:pt x="458" y="365"/>
                      <a:pt x="458" y="365"/>
                    </a:cubicBezTo>
                    <a:lnTo>
                      <a:pt x="455" y="331"/>
                    </a:lnTo>
                    <a:close/>
                    <a:moveTo>
                      <a:pt x="611" y="478"/>
                    </a:moveTo>
                    <a:cubicBezTo>
                      <a:pt x="624" y="491"/>
                      <a:pt x="624" y="491"/>
                      <a:pt x="624" y="491"/>
                    </a:cubicBezTo>
                    <a:cubicBezTo>
                      <a:pt x="630" y="474"/>
                      <a:pt x="630" y="474"/>
                      <a:pt x="630" y="474"/>
                    </a:cubicBezTo>
                    <a:cubicBezTo>
                      <a:pt x="630" y="474"/>
                      <a:pt x="622" y="444"/>
                      <a:pt x="603" y="446"/>
                    </a:cubicBezTo>
                    <a:cubicBezTo>
                      <a:pt x="584" y="447"/>
                      <a:pt x="590" y="466"/>
                      <a:pt x="596" y="484"/>
                    </a:cubicBezTo>
                    <a:lnTo>
                      <a:pt x="611" y="478"/>
                    </a:lnTo>
                    <a:close/>
                    <a:moveTo>
                      <a:pt x="459" y="249"/>
                    </a:moveTo>
                    <a:cubicBezTo>
                      <a:pt x="454" y="237"/>
                      <a:pt x="440" y="244"/>
                      <a:pt x="450" y="260"/>
                    </a:cubicBezTo>
                    <a:cubicBezTo>
                      <a:pt x="461" y="279"/>
                      <a:pt x="464" y="261"/>
                      <a:pt x="459" y="249"/>
                    </a:cubicBezTo>
                    <a:close/>
                    <a:moveTo>
                      <a:pt x="507" y="418"/>
                    </a:moveTo>
                    <a:cubicBezTo>
                      <a:pt x="507" y="418"/>
                      <a:pt x="512" y="447"/>
                      <a:pt x="523" y="459"/>
                    </a:cubicBezTo>
                    <a:cubicBezTo>
                      <a:pt x="533" y="471"/>
                      <a:pt x="559" y="471"/>
                      <a:pt x="559" y="471"/>
                    </a:cubicBezTo>
                    <a:cubicBezTo>
                      <a:pt x="558" y="443"/>
                      <a:pt x="558" y="443"/>
                      <a:pt x="558" y="443"/>
                    </a:cubicBezTo>
                    <a:cubicBezTo>
                      <a:pt x="546" y="435"/>
                      <a:pt x="546" y="435"/>
                      <a:pt x="546" y="435"/>
                    </a:cubicBezTo>
                    <a:cubicBezTo>
                      <a:pt x="545" y="415"/>
                      <a:pt x="545" y="415"/>
                      <a:pt x="545" y="415"/>
                    </a:cubicBezTo>
                    <a:cubicBezTo>
                      <a:pt x="545" y="415"/>
                      <a:pt x="530" y="390"/>
                      <a:pt x="508" y="384"/>
                    </a:cubicBezTo>
                    <a:cubicBezTo>
                      <a:pt x="486" y="378"/>
                      <a:pt x="487" y="403"/>
                      <a:pt x="487" y="403"/>
                    </a:cubicBezTo>
                    <a:cubicBezTo>
                      <a:pt x="487" y="403"/>
                      <a:pt x="473" y="399"/>
                      <a:pt x="480" y="419"/>
                    </a:cubicBezTo>
                    <a:lnTo>
                      <a:pt x="507" y="418"/>
                    </a:lnTo>
                    <a:close/>
                    <a:moveTo>
                      <a:pt x="169" y="296"/>
                    </a:moveTo>
                    <a:cubicBezTo>
                      <a:pt x="154" y="310"/>
                      <a:pt x="154" y="310"/>
                      <a:pt x="154" y="310"/>
                    </a:cubicBezTo>
                    <a:cubicBezTo>
                      <a:pt x="162" y="330"/>
                      <a:pt x="162" y="330"/>
                      <a:pt x="162" y="330"/>
                    </a:cubicBezTo>
                    <a:cubicBezTo>
                      <a:pt x="162" y="330"/>
                      <a:pt x="152" y="348"/>
                      <a:pt x="164" y="344"/>
                    </a:cubicBezTo>
                    <a:cubicBezTo>
                      <a:pt x="171" y="341"/>
                      <a:pt x="168" y="316"/>
                      <a:pt x="168" y="316"/>
                    </a:cubicBezTo>
                    <a:cubicBezTo>
                      <a:pt x="175" y="307"/>
                      <a:pt x="175" y="307"/>
                      <a:pt x="175" y="307"/>
                    </a:cubicBezTo>
                    <a:lnTo>
                      <a:pt x="169" y="296"/>
                    </a:lnTo>
                    <a:close/>
                    <a:moveTo>
                      <a:pt x="180" y="360"/>
                    </a:moveTo>
                    <a:cubicBezTo>
                      <a:pt x="170" y="372"/>
                      <a:pt x="176" y="414"/>
                      <a:pt x="198" y="410"/>
                    </a:cubicBezTo>
                    <a:cubicBezTo>
                      <a:pt x="207" y="408"/>
                      <a:pt x="191" y="348"/>
                      <a:pt x="180" y="360"/>
                    </a:cubicBezTo>
                    <a:close/>
                    <a:moveTo>
                      <a:pt x="35" y="152"/>
                    </a:moveTo>
                    <a:cubicBezTo>
                      <a:pt x="30" y="157"/>
                      <a:pt x="28" y="173"/>
                      <a:pt x="40" y="174"/>
                    </a:cubicBezTo>
                    <a:cubicBezTo>
                      <a:pt x="52" y="176"/>
                      <a:pt x="55" y="189"/>
                      <a:pt x="66" y="181"/>
                    </a:cubicBezTo>
                    <a:cubicBezTo>
                      <a:pt x="73" y="175"/>
                      <a:pt x="40" y="146"/>
                      <a:pt x="35" y="152"/>
                    </a:cubicBezTo>
                    <a:close/>
                    <a:moveTo>
                      <a:pt x="112" y="221"/>
                    </a:moveTo>
                    <a:cubicBezTo>
                      <a:pt x="104" y="221"/>
                      <a:pt x="94" y="234"/>
                      <a:pt x="106" y="242"/>
                    </a:cubicBezTo>
                    <a:cubicBezTo>
                      <a:pt x="118" y="250"/>
                      <a:pt x="122" y="280"/>
                      <a:pt x="134" y="280"/>
                    </a:cubicBezTo>
                    <a:cubicBezTo>
                      <a:pt x="141" y="280"/>
                      <a:pt x="142" y="249"/>
                      <a:pt x="138" y="245"/>
                    </a:cubicBezTo>
                    <a:cubicBezTo>
                      <a:pt x="134" y="241"/>
                      <a:pt x="120" y="221"/>
                      <a:pt x="112" y="221"/>
                    </a:cubicBezTo>
                    <a:close/>
                    <a:moveTo>
                      <a:pt x="1721" y="328"/>
                    </a:moveTo>
                    <a:cubicBezTo>
                      <a:pt x="1721" y="328"/>
                      <a:pt x="1725" y="316"/>
                      <a:pt x="1708" y="314"/>
                    </a:cubicBezTo>
                    <a:cubicBezTo>
                      <a:pt x="1691" y="311"/>
                      <a:pt x="1680" y="316"/>
                      <a:pt x="1680" y="316"/>
                    </a:cubicBezTo>
                    <a:cubicBezTo>
                      <a:pt x="1684" y="334"/>
                      <a:pt x="1684" y="334"/>
                      <a:pt x="1684" y="334"/>
                    </a:cubicBezTo>
                    <a:cubicBezTo>
                      <a:pt x="1693" y="333"/>
                      <a:pt x="1721" y="328"/>
                      <a:pt x="1721" y="328"/>
                    </a:cubicBezTo>
                    <a:close/>
                    <a:moveTo>
                      <a:pt x="230" y="434"/>
                    </a:moveTo>
                    <a:cubicBezTo>
                      <a:pt x="239" y="433"/>
                      <a:pt x="226" y="413"/>
                      <a:pt x="218" y="418"/>
                    </a:cubicBezTo>
                    <a:cubicBezTo>
                      <a:pt x="211" y="422"/>
                      <a:pt x="220" y="436"/>
                      <a:pt x="230" y="434"/>
                    </a:cubicBezTo>
                    <a:close/>
                    <a:moveTo>
                      <a:pt x="1652" y="438"/>
                    </a:moveTo>
                    <a:cubicBezTo>
                      <a:pt x="1674" y="429"/>
                      <a:pt x="1672" y="413"/>
                      <a:pt x="1672" y="413"/>
                    </a:cubicBezTo>
                    <a:cubicBezTo>
                      <a:pt x="1627" y="412"/>
                      <a:pt x="1627" y="412"/>
                      <a:pt x="1627" y="412"/>
                    </a:cubicBezTo>
                    <a:cubicBezTo>
                      <a:pt x="1627" y="412"/>
                      <a:pt x="1630" y="447"/>
                      <a:pt x="1652" y="438"/>
                    </a:cubicBezTo>
                    <a:close/>
                    <a:moveTo>
                      <a:pt x="1609" y="194"/>
                    </a:moveTo>
                    <a:cubicBezTo>
                      <a:pt x="1624" y="182"/>
                      <a:pt x="1618" y="175"/>
                      <a:pt x="1605" y="171"/>
                    </a:cubicBezTo>
                    <a:cubicBezTo>
                      <a:pt x="1592" y="167"/>
                      <a:pt x="1586" y="172"/>
                      <a:pt x="1586" y="172"/>
                    </a:cubicBezTo>
                    <a:cubicBezTo>
                      <a:pt x="1586" y="172"/>
                      <a:pt x="1601" y="202"/>
                      <a:pt x="1609" y="194"/>
                    </a:cubicBezTo>
                    <a:close/>
                    <a:moveTo>
                      <a:pt x="1918" y="353"/>
                    </a:moveTo>
                    <a:cubicBezTo>
                      <a:pt x="1937" y="362"/>
                      <a:pt x="1945" y="353"/>
                      <a:pt x="1930" y="346"/>
                    </a:cubicBezTo>
                    <a:cubicBezTo>
                      <a:pt x="1916" y="340"/>
                      <a:pt x="1910" y="349"/>
                      <a:pt x="1918" y="353"/>
                    </a:cubicBezTo>
                    <a:close/>
                    <a:moveTo>
                      <a:pt x="1950" y="413"/>
                    </a:moveTo>
                    <a:cubicBezTo>
                      <a:pt x="1959" y="413"/>
                      <a:pt x="1986" y="406"/>
                      <a:pt x="1986" y="406"/>
                    </a:cubicBezTo>
                    <a:cubicBezTo>
                      <a:pt x="1986" y="406"/>
                      <a:pt x="1962" y="396"/>
                      <a:pt x="1957" y="395"/>
                    </a:cubicBezTo>
                    <a:cubicBezTo>
                      <a:pt x="1953" y="394"/>
                      <a:pt x="1924" y="400"/>
                      <a:pt x="1924" y="400"/>
                    </a:cubicBezTo>
                    <a:cubicBezTo>
                      <a:pt x="1924" y="400"/>
                      <a:pt x="1940" y="413"/>
                      <a:pt x="1950" y="413"/>
                    </a:cubicBezTo>
                    <a:close/>
                    <a:moveTo>
                      <a:pt x="1145" y="370"/>
                    </a:moveTo>
                    <a:cubicBezTo>
                      <a:pt x="1142" y="380"/>
                      <a:pt x="1161" y="400"/>
                      <a:pt x="1153" y="409"/>
                    </a:cubicBezTo>
                    <a:cubicBezTo>
                      <a:pt x="1145" y="418"/>
                      <a:pt x="1122" y="424"/>
                      <a:pt x="1120" y="437"/>
                    </a:cubicBezTo>
                    <a:cubicBezTo>
                      <a:pt x="1119" y="451"/>
                      <a:pt x="1130" y="464"/>
                      <a:pt x="1130" y="464"/>
                    </a:cubicBezTo>
                    <a:cubicBezTo>
                      <a:pt x="1130" y="464"/>
                      <a:pt x="1114" y="478"/>
                      <a:pt x="1124" y="485"/>
                    </a:cubicBezTo>
                    <a:cubicBezTo>
                      <a:pt x="1135" y="492"/>
                      <a:pt x="1153" y="477"/>
                      <a:pt x="1157" y="489"/>
                    </a:cubicBezTo>
                    <a:cubicBezTo>
                      <a:pt x="1161" y="501"/>
                      <a:pt x="1153" y="510"/>
                      <a:pt x="1153" y="510"/>
                    </a:cubicBezTo>
                    <a:cubicBezTo>
                      <a:pt x="1164" y="524"/>
                      <a:pt x="1164" y="524"/>
                      <a:pt x="1164" y="524"/>
                    </a:cubicBezTo>
                    <a:cubicBezTo>
                      <a:pt x="1158" y="568"/>
                      <a:pt x="1158" y="568"/>
                      <a:pt x="1158" y="568"/>
                    </a:cubicBezTo>
                    <a:cubicBezTo>
                      <a:pt x="1158" y="568"/>
                      <a:pt x="1134" y="582"/>
                      <a:pt x="1146" y="606"/>
                    </a:cubicBezTo>
                    <a:cubicBezTo>
                      <a:pt x="1157" y="630"/>
                      <a:pt x="1173" y="630"/>
                      <a:pt x="1191" y="612"/>
                    </a:cubicBezTo>
                    <a:cubicBezTo>
                      <a:pt x="1208" y="595"/>
                      <a:pt x="1188" y="566"/>
                      <a:pt x="1188" y="566"/>
                    </a:cubicBezTo>
                    <a:cubicBezTo>
                      <a:pt x="1188" y="566"/>
                      <a:pt x="1209" y="551"/>
                      <a:pt x="1209" y="530"/>
                    </a:cubicBezTo>
                    <a:cubicBezTo>
                      <a:pt x="1208" y="508"/>
                      <a:pt x="1217" y="489"/>
                      <a:pt x="1210" y="476"/>
                    </a:cubicBezTo>
                    <a:cubicBezTo>
                      <a:pt x="1202" y="464"/>
                      <a:pt x="1198" y="439"/>
                      <a:pt x="1200" y="434"/>
                    </a:cubicBezTo>
                    <a:cubicBezTo>
                      <a:pt x="1201" y="429"/>
                      <a:pt x="1207" y="401"/>
                      <a:pt x="1217" y="419"/>
                    </a:cubicBezTo>
                    <a:cubicBezTo>
                      <a:pt x="1228" y="437"/>
                      <a:pt x="1228" y="468"/>
                      <a:pt x="1228" y="468"/>
                    </a:cubicBezTo>
                    <a:cubicBezTo>
                      <a:pt x="1251" y="494"/>
                      <a:pt x="1251" y="494"/>
                      <a:pt x="1251" y="494"/>
                    </a:cubicBezTo>
                    <a:cubicBezTo>
                      <a:pt x="1248" y="529"/>
                      <a:pt x="1248" y="529"/>
                      <a:pt x="1248" y="529"/>
                    </a:cubicBezTo>
                    <a:cubicBezTo>
                      <a:pt x="1265" y="551"/>
                      <a:pt x="1265" y="551"/>
                      <a:pt x="1265" y="551"/>
                    </a:cubicBezTo>
                    <a:cubicBezTo>
                      <a:pt x="1266" y="575"/>
                      <a:pt x="1266" y="575"/>
                      <a:pt x="1266" y="575"/>
                    </a:cubicBezTo>
                    <a:cubicBezTo>
                      <a:pt x="1275" y="624"/>
                      <a:pt x="1275" y="624"/>
                      <a:pt x="1275" y="624"/>
                    </a:cubicBezTo>
                    <a:cubicBezTo>
                      <a:pt x="1285" y="614"/>
                      <a:pt x="1285" y="614"/>
                      <a:pt x="1285" y="614"/>
                    </a:cubicBezTo>
                    <a:cubicBezTo>
                      <a:pt x="1312" y="622"/>
                      <a:pt x="1312" y="622"/>
                      <a:pt x="1312" y="622"/>
                    </a:cubicBezTo>
                    <a:cubicBezTo>
                      <a:pt x="1312" y="622"/>
                      <a:pt x="1314" y="605"/>
                      <a:pt x="1313" y="592"/>
                    </a:cubicBezTo>
                    <a:cubicBezTo>
                      <a:pt x="1312" y="579"/>
                      <a:pt x="1319" y="572"/>
                      <a:pt x="1319" y="572"/>
                    </a:cubicBezTo>
                    <a:cubicBezTo>
                      <a:pt x="1325" y="588"/>
                      <a:pt x="1325" y="588"/>
                      <a:pt x="1325" y="588"/>
                    </a:cubicBezTo>
                    <a:cubicBezTo>
                      <a:pt x="1325" y="588"/>
                      <a:pt x="1342" y="590"/>
                      <a:pt x="1344" y="574"/>
                    </a:cubicBezTo>
                    <a:cubicBezTo>
                      <a:pt x="1345" y="558"/>
                      <a:pt x="1341" y="546"/>
                      <a:pt x="1341" y="546"/>
                    </a:cubicBezTo>
                    <a:cubicBezTo>
                      <a:pt x="1341" y="546"/>
                      <a:pt x="1301" y="514"/>
                      <a:pt x="1303" y="502"/>
                    </a:cubicBezTo>
                    <a:cubicBezTo>
                      <a:pt x="1305" y="490"/>
                      <a:pt x="1324" y="477"/>
                      <a:pt x="1313" y="467"/>
                    </a:cubicBezTo>
                    <a:cubicBezTo>
                      <a:pt x="1301" y="457"/>
                      <a:pt x="1292" y="454"/>
                      <a:pt x="1291" y="446"/>
                    </a:cubicBezTo>
                    <a:cubicBezTo>
                      <a:pt x="1291" y="437"/>
                      <a:pt x="1304" y="418"/>
                      <a:pt x="1290" y="412"/>
                    </a:cubicBezTo>
                    <a:cubicBezTo>
                      <a:pt x="1277" y="407"/>
                      <a:pt x="1257" y="390"/>
                      <a:pt x="1257" y="390"/>
                    </a:cubicBezTo>
                    <a:cubicBezTo>
                      <a:pt x="1257" y="390"/>
                      <a:pt x="1279" y="395"/>
                      <a:pt x="1289" y="385"/>
                    </a:cubicBezTo>
                    <a:cubicBezTo>
                      <a:pt x="1298" y="376"/>
                      <a:pt x="1308" y="354"/>
                      <a:pt x="1308" y="354"/>
                    </a:cubicBezTo>
                    <a:cubicBezTo>
                      <a:pt x="1308" y="354"/>
                      <a:pt x="1347" y="356"/>
                      <a:pt x="1348" y="348"/>
                    </a:cubicBezTo>
                    <a:cubicBezTo>
                      <a:pt x="1349" y="339"/>
                      <a:pt x="1338" y="324"/>
                      <a:pt x="1328" y="323"/>
                    </a:cubicBezTo>
                    <a:cubicBezTo>
                      <a:pt x="1317" y="323"/>
                      <a:pt x="1310" y="341"/>
                      <a:pt x="1310" y="341"/>
                    </a:cubicBezTo>
                    <a:cubicBezTo>
                      <a:pt x="1310" y="341"/>
                      <a:pt x="1281" y="333"/>
                      <a:pt x="1269" y="337"/>
                    </a:cubicBezTo>
                    <a:cubicBezTo>
                      <a:pt x="1258" y="340"/>
                      <a:pt x="1252" y="369"/>
                      <a:pt x="1240" y="370"/>
                    </a:cubicBezTo>
                    <a:cubicBezTo>
                      <a:pt x="1229" y="370"/>
                      <a:pt x="1230" y="350"/>
                      <a:pt x="1213" y="340"/>
                    </a:cubicBezTo>
                    <a:cubicBezTo>
                      <a:pt x="1196" y="330"/>
                      <a:pt x="1188" y="333"/>
                      <a:pt x="1188" y="333"/>
                    </a:cubicBezTo>
                    <a:cubicBezTo>
                      <a:pt x="1188" y="333"/>
                      <a:pt x="1193" y="274"/>
                      <a:pt x="1209" y="273"/>
                    </a:cubicBezTo>
                    <a:cubicBezTo>
                      <a:pt x="1225" y="272"/>
                      <a:pt x="1255" y="283"/>
                      <a:pt x="1269" y="279"/>
                    </a:cubicBezTo>
                    <a:cubicBezTo>
                      <a:pt x="1282" y="276"/>
                      <a:pt x="1273" y="264"/>
                      <a:pt x="1284" y="266"/>
                    </a:cubicBezTo>
                    <a:cubicBezTo>
                      <a:pt x="1296" y="267"/>
                      <a:pt x="1349" y="293"/>
                      <a:pt x="1359" y="294"/>
                    </a:cubicBezTo>
                    <a:cubicBezTo>
                      <a:pt x="1370" y="294"/>
                      <a:pt x="1372" y="285"/>
                      <a:pt x="1379" y="281"/>
                    </a:cubicBezTo>
                    <a:cubicBezTo>
                      <a:pt x="1386" y="277"/>
                      <a:pt x="1399" y="283"/>
                      <a:pt x="1408" y="278"/>
                    </a:cubicBezTo>
                    <a:cubicBezTo>
                      <a:pt x="1417" y="272"/>
                      <a:pt x="1406" y="267"/>
                      <a:pt x="1415" y="258"/>
                    </a:cubicBezTo>
                    <a:cubicBezTo>
                      <a:pt x="1423" y="249"/>
                      <a:pt x="1443" y="240"/>
                      <a:pt x="1443" y="240"/>
                    </a:cubicBezTo>
                    <a:cubicBezTo>
                      <a:pt x="1436" y="220"/>
                      <a:pt x="1436" y="220"/>
                      <a:pt x="1436" y="220"/>
                    </a:cubicBezTo>
                    <a:cubicBezTo>
                      <a:pt x="1384" y="242"/>
                      <a:pt x="1384" y="242"/>
                      <a:pt x="1384" y="242"/>
                    </a:cubicBezTo>
                    <a:cubicBezTo>
                      <a:pt x="1384" y="242"/>
                      <a:pt x="1396" y="255"/>
                      <a:pt x="1381" y="256"/>
                    </a:cubicBezTo>
                    <a:cubicBezTo>
                      <a:pt x="1366" y="257"/>
                      <a:pt x="1353" y="248"/>
                      <a:pt x="1344" y="248"/>
                    </a:cubicBezTo>
                    <a:cubicBezTo>
                      <a:pt x="1336" y="248"/>
                      <a:pt x="1321" y="261"/>
                      <a:pt x="1311" y="259"/>
                    </a:cubicBezTo>
                    <a:cubicBezTo>
                      <a:pt x="1300" y="256"/>
                      <a:pt x="1275" y="244"/>
                      <a:pt x="1268" y="244"/>
                    </a:cubicBezTo>
                    <a:cubicBezTo>
                      <a:pt x="1261" y="244"/>
                      <a:pt x="1245" y="244"/>
                      <a:pt x="1245" y="244"/>
                    </a:cubicBezTo>
                    <a:cubicBezTo>
                      <a:pt x="1253" y="232"/>
                      <a:pt x="1253" y="232"/>
                      <a:pt x="1253" y="232"/>
                    </a:cubicBezTo>
                    <a:cubicBezTo>
                      <a:pt x="1253" y="232"/>
                      <a:pt x="1226" y="225"/>
                      <a:pt x="1223" y="228"/>
                    </a:cubicBezTo>
                    <a:cubicBezTo>
                      <a:pt x="1219" y="232"/>
                      <a:pt x="1224" y="249"/>
                      <a:pt x="1212" y="256"/>
                    </a:cubicBezTo>
                    <a:cubicBezTo>
                      <a:pt x="1201" y="263"/>
                      <a:pt x="1179" y="261"/>
                      <a:pt x="1179" y="267"/>
                    </a:cubicBezTo>
                    <a:cubicBezTo>
                      <a:pt x="1179" y="273"/>
                      <a:pt x="1178" y="287"/>
                      <a:pt x="1178" y="287"/>
                    </a:cubicBezTo>
                    <a:cubicBezTo>
                      <a:pt x="1164" y="289"/>
                      <a:pt x="1164" y="289"/>
                      <a:pt x="1164" y="289"/>
                    </a:cubicBezTo>
                    <a:cubicBezTo>
                      <a:pt x="1174" y="336"/>
                      <a:pt x="1174" y="336"/>
                      <a:pt x="1174" y="336"/>
                    </a:cubicBezTo>
                    <a:cubicBezTo>
                      <a:pt x="1164" y="335"/>
                      <a:pt x="1164" y="335"/>
                      <a:pt x="1164" y="335"/>
                    </a:cubicBezTo>
                    <a:cubicBezTo>
                      <a:pt x="1164" y="335"/>
                      <a:pt x="1147" y="360"/>
                      <a:pt x="1145" y="370"/>
                    </a:cubicBezTo>
                    <a:close/>
                    <a:moveTo>
                      <a:pt x="1328" y="387"/>
                    </a:moveTo>
                    <a:cubicBezTo>
                      <a:pt x="1328" y="400"/>
                      <a:pt x="1328" y="400"/>
                      <a:pt x="1328" y="400"/>
                    </a:cubicBezTo>
                    <a:cubicBezTo>
                      <a:pt x="1328" y="400"/>
                      <a:pt x="1343" y="412"/>
                      <a:pt x="1350" y="395"/>
                    </a:cubicBezTo>
                    <a:cubicBezTo>
                      <a:pt x="1358" y="379"/>
                      <a:pt x="1328" y="387"/>
                      <a:pt x="1328" y="387"/>
                    </a:cubicBezTo>
                    <a:close/>
                    <a:moveTo>
                      <a:pt x="1127" y="743"/>
                    </a:moveTo>
                    <a:cubicBezTo>
                      <a:pt x="1118" y="740"/>
                      <a:pt x="1111" y="746"/>
                      <a:pt x="1111" y="746"/>
                    </a:cubicBezTo>
                    <a:cubicBezTo>
                      <a:pt x="1080" y="739"/>
                      <a:pt x="1080" y="739"/>
                      <a:pt x="1080" y="739"/>
                    </a:cubicBezTo>
                    <a:cubicBezTo>
                      <a:pt x="1099" y="766"/>
                      <a:pt x="1099" y="766"/>
                      <a:pt x="1099" y="766"/>
                    </a:cubicBezTo>
                    <a:cubicBezTo>
                      <a:pt x="1099" y="766"/>
                      <a:pt x="1126" y="793"/>
                      <a:pt x="1132" y="775"/>
                    </a:cubicBezTo>
                    <a:cubicBezTo>
                      <a:pt x="1137" y="758"/>
                      <a:pt x="1136" y="746"/>
                      <a:pt x="1127" y="743"/>
                    </a:cubicBezTo>
                    <a:close/>
                    <a:moveTo>
                      <a:pt x="1400" y="740"/>
                    </a:moveTo>
                    <a:cubicBezTo>
                      <a:pt x="1379" y="754"/>
                      <a:pt x="1379" y="754"/>
                      <a:pt x="1379" y="754"/>
                    </a:cubicBezTo>
                    <a:cubicBezTo>
                      <a:pt x="1400" y="759"/>
                      <a:pt x="1400" y="759"/>
                      <a:pt x="1400" y="759"/>
                    </a:cubicBezTo>
                    <a:lnTo>
                      <a:pt x="1400" y="740"/>
                    </a:lnTo>
                    <a:close/>
                    <a:moveTo>
                      <a:pt x="327" y="200"/>
                    </a:moveTo>
                    <a:cubicBezTo>
                      <a:pt x="315" y="190"/>
                      <a:pt x="304" y="196"/>
                      <a:pt x="310" y="212"/>
                    </a:cubicBezTo>
                    <a:cubicBezTo>
                      <a:pt x="314" y="226"/>
                      <a:pt x="339" y="209"/>
                      <a:pt x="327" y="200"/>
                    </a:cubicBezTo>
                    <a:close/>
                    <a:moveTo>
                      <a:pt x="1569" y="393"/>
                    </a:moveTo>
                    <a:cubicBezTo>
                      <a:pt x="1561" y="383"/>
                      <a:pt x="1542" y="370"/>
                      <a:pt x="1542" y="370"/>
                    </a:cubicBezTo>
                    <a:cubicBezTo>
                      <a:pt x="1540" y="400"/>
                      <a:pt x="1540" y="400"/>
                      <a:pt x="1540" y="400"/>
                    </a:cubicBezTo>
                    <a:cubicBezTo>
                      <a:pt x="1552" y="408"/>
                      <a:pt x="1578" y="404"/>
                      <a:pt x="1569" y="393"/>
                    </a:cubicBezTo>
                    <a:close/>
                    <a:moveTo>
                      <a:pt x="1543" y="318"/>
                    </a:moveTo>
                    <a:cubicBezTo>
                      <a:pt x="1552" y="325"/>
                      <a:pt x="1590" y="359"/>
                      <a:pt x="1599" y="356"/>
                    </a:cubicBezTo>
                    <a:cubicBezTo>
                      <a:pt x="1608" y="353"/>
                      <a:pt x="1598" y="340"/>
                      <a:pt x="1587" y="334"/>
                    </a:cubicBezTo>
                    <a:cubicBezTo>
                      <a:pt x="1577" y="328"/>
                      <a:pt x="1571" y="316"/>
                      <a:pt x="1581" y="306"/>
                    </a:cubicBezTo>
                    <a:cubicBezTo>
                      <a:pt x="1592" y="296"/>
                      <a:pt x="1611" y="306"/>
                      <a:pt x="1611" y="306"/>
                    </a:cubicBezTo>
                    <a:cubicBezTo>
                      <a:pt x="1620" y="299"/>
                      <a:pt x="1620" y="299"/>
                      <a:pt x="1620" y="299"/>
                    </a:cubicBezTo>
                    <a:cubicBezTo>
                      <a:pt x="1603" y="288"/>
                      <a:pt x="1603" y="288"/>
                      <a:pt x="1603" y="288"/>
                    </a:cubicBezTo>
                    <a:cubicBezTo>
                      <a:pt x="1603" y="288"/>
                      <a:pt x="1617" y="281"/>
                      <a:pt x="1620" y="269"/>
                    </a:cubicBezTo>
                    <a:cubicBezTo>
                      <a:pt x="1623" y="258"/>
                      <a:pt x="1608" y="250"/>
                      <a:pt x="1598" y="249"/>
                    </a:cubicBezTo>
                    <a:cubicBezTo>
                      <a:pt x="1587" y="247"/>
                      <a:pt x="1577" y="274"/>
                      <a:pt x="1565" y="275"/>
                    </a:cubicBezTo>
                    <a:cubicBezTo>
                      <a:pt x="1554" y="277"/>
                      <a:pt x="1557" y="250"/>
                      <a:pt x="1557" y="250"/>
                    </a:cubicBezTo>
                    <a:cubicBezTo>
                      <a:pt x="1557" y="250"/>
                      <a:pt x="1567" y="237"/>
                      <a:pt x="1570" y="227"/>
                    </a:cubicBezTo>
                    <a:cubicBezTo>
                      <a:pt x="1573" y="216"/>
                      <a:pt x="1567" y="211"/>
                      <a:pt x="1567" y="211"/>
                    </a:cubicBezTo>
                    <a:cubicBezTo>
                      <a:pt x="1576" y="184"/>
                      <a:pt x="1576" y="184"/>
                      <a:pt x="1576" y="184"/>
                    </a:cubicBezTo>
                    <a:cubicBezTo>
                      <a:pt x="1548" y="211"/>
                      <a:pt x="1548" y="211"/>
                      <a:pt x="1548" y="211"/>
                    </a:cubicBezTo>
                    <a:cubicBezTo>
                      <a:pt x="1548" y="230"/>
                      <a:pt x="1548" y="230"/>
                      <a:pt x="1548" y="230"/>
                    </a:cubicBezTo>
                    <a:cubicBezTo>
                      <a:pt x="1548" y="230"/>
                      <a:pt x="1525" y="240"/>
                      <a:pt x="1527" y="265"/>
                    </a:cubicBezTo>
                    <a:cubicBezTo>
                      <a:pt x="1529" y="281"/>
                      <a:pt x="1540" y="284"/>
                      <a:pt x="1543" y="293"/>
                    </a:cubicBezTo>
                    <a:cubicBezTo>
                      <a:pt x="1546" y="302"/>
                      <a:pt x="1535" y="310"/>
                      <a:pt x="1543" y="318"/>
                    </a:cubicBezTo>
                    <a:close/>
                    <a:moveTo>
                      <a:pt x="1505" y="474"/>
                    </a:moveTo>
                    <a:cubicBezTo>
                      <a:pt x="1496" y="464"/>
                      <a:pt x="1496" y="464"/>
                      <a:pt x="1496" y="464"/>
                    </a:cubicBezTo>
                    <a:cubicBezTo>
                      <a:pt x="1482" y="475"/>
                      <a:pt x="1482" y="475"/>
                      <a:pt x="1482" y="475"/>
                    </a:cubicBezTo>
                    <a:cubicBezTo>
                      <a:pt x="1482" y="475"/>
                      <a:pt x="1475" y="494"/>
                      <a:pt x="1489" y="503"/>
                    </a:cubicBezTo>
                    <a:cubicBezTo>
                      <a:pt x="1502" y="513"/>
                      <a:pt x="1521" y="509"/>
                      <a:pt x="1521" y="509"/>
                    </a:cubicBezTo>
                    <a:cubicBezTo>
                      <a:pt x="1529" y="498"/>
                      <a:pt x="1517" y="471"/>
                      <a:pt x="1517" y="471"/>
                    </a:cubicBezTo>
                    <a:lnTo>
                      <a:pt x="1505" y="474"/>
                    </a:lnTo>
                    <a:close/>
                    <a:moveTo>
                      <a:pt x="1437" y="740"/>
                    </a:moveTo>
                    <a:cubicBezTo>
                      <a:pt x="1487" y="728"/>
                      <a:pt x="1487" y="728"/>
                      <a:pt x="1487" y="728"/>
                    </a:cubicBezTo>
                    <a:cubicBezTo>
                      <a:pt x="1449" y="718"/>
                      <a:pt x="1449" y="718"/>
                      <a:pt x="1449" y="718"/>
                    </a:cubicBezTo>
                    <a:lnTo>
                      <a:pt x="1437" y="740"/>
                    </a:lnTo>
                    <a:close/>
                    <a:moveTo>
                      <a:pt x="1700" y="502"/>
                    </a:moveTo>
                    <a:cubicBezTo>
                      <a:pt x="1686" y="490"/>
                      <a:pt x="1686" y="490"/>
                      <a:pt x="1686" y="490"/>
                    </a:cubicBezTo>
                    <a:cubicBezTo>
                      <a:pt x="1687" y="479"/>
                      <a:pt x="1687" y="479"/>
                      <a:pt x="1687" y="479"/>
                    </a:cubicBezTo>
                    <a:cubicBezTo>
                      <a:pt x="1687" y="479"/>
                      <a:pt x="1681" y="458"/>
                      <a:pt x="1634" y="448"/>
                    </a:cubicBezTo>
                    <a:cubicBezTo>
                      <a:pt x="1618" y="444"/>
                      <a:pt x="1608" y="454"/>
                      <a:pt x="1597" y="459"/>
                    </a:cubicBezTo>
                    <a:cubicBezTo>
                      <a:pt x="1591" y="461"/>
                      <a:pt x="1583" y="457"/>
                      <a:pt x="1579" y="460"/>
                    </a:cubicBezTo>
                    <a:cubicBezTo>
                      <a:pt x="1566" y="468"/>
                      <a:pt x="1562" y="484"/>
                      <a:pt x="1566" y="487"/>
                    </a:cubicBezTo>
                    <a:cubicBezTo>
                      <a:pt x="1573" y="493"/>
                      <a:pt x="1580" y="479"/>
                      <a:pt x="1580" y="479"/>
                    </a:cubicBezTo>
                    <a:cubicBezTo>
                      <a:pt x="1580" y="479"/>
                      <a:pt x="1580" y="495"/>
                      <a:pt x="1591" y="497"/>
                    </a:cubicBezTo>
                    <a:cubicBezTo>
                      <a:pt x="1602" y="498"/>
                      <a:pt x="1604" y="478"/>
                      <a:pt x="1604" y="478"/>
                    </a:cubicBezTo>
                    <a:cubicBezTo>
                      <a:pt x="1604" y="478"/>
                      <a:pt x="1612" y="489"/>
                      <a:pt x="1619" y="489"/>
                    </a:cubicBezTo>
                    <a:cubicBezTo>
                      <a:pt x="1626" y="489"/>
                      <a:pt x="1644" y="474"/>
                      <a:pt x="1644" y="474"/>
                    </a:cubicBezTo>
                    <a:cubicBezTo>
                      <a:pt x="1654" y="509"/>
                      <a:pt x="1654" y="509"/>
                      <a:pt x="1654" y="509"/>
                    </a:cubicBezTo>
                    <a:cubicBezTo>
                      <a:pt x="1673" y="495"/>
                      <a:pt x="1673" y="495"/>
                      <a:pt x="1673" y="495"/>
                    </a:cubicBezTo>
                    <a:cubicBezTo>
                      <a:pt x="1695" y="519"/>
                      <a:pt x="1695" y="519"/>
                      <a:pt x="1695" y="519"/>
                    </a:cubicBezTo>
                    <a:lnTo>
                      <a:pt x="1700" y="502"/>
                    </a:lnTo>
                    <a:close/>
                    <a:moveTo>
                      <a:pt x="2179" y="454"/>
                    </a:moveTo>
                    <a:cubicBezTo>
                      <a:pt x="2153" y="435"/>
                      <a:pt x="2153" y="435"/>
                      <a:pt x="2153" y="435"/>
                    </a:cubicBezTo>
                    <a:cubicBezTo>
                      <a:pt x="2153" y="435"/>
                      <a:pt x="2134" y="437"/>
                      <a:pt x="2124" y="437"/>
                    </a:cubicBezTo>
                    <a:cubicBezTo>
                      <a:pt x="2113" y="437"/>
                      <a:pt x="2045" y="394"/>
                      <a:pt x="2032" y="390"/>
                    </a:cubicBezTo>
                    <a:cubicBezTo>
                      <a:pt x="2019" y="386"/>
                      <a:pt x="1998" y="405"/>
                      <a:pt x="1998" y="405"/>
                    </a:cubicBezTo>
                    <a:cubicBezTo>
                      <a:pt x="2007" y="423"/>
                      <a:pt x="2007" y="423"/>
                      <a:pt x="2007" y="423"/>
                    </a:cubicBezTo>
                    <a:cubicBezTo>
                      <a:pt x="1956" y="428"/>
                      <a:pt x="1956" y="428"/>
                      <a:pt x="1956" y="428"/>
                    </a:cubicBezTo>
                    <a:cubicBezTo>
                      <a:pt x="1960" y="446"/>
                      <a:pt x="1960" y="446"/>
                      <a:pt x="1960" y="446"/>
                    </a:cubicBezTo>
                    <a:cubicBezTo>
                      <a:pt x="1960" y="446"/>
                      <a:pt x="1950" y="477"/>
                      <a:pt x="1913" y="484"/>
                    </a:cubicBezTo>
                    <a:cubicBezTo>
                      <a:pt x="1876" y="492"/>
                      <a:pt x="1886" y="443"/>
                      <a:pt x="1880" y="443"/>
                    </a:cubicBezTo>
                    <a:cubicBezTo>
                      <a:pt x="1875" y="443"/>
                      <a:pt x="1869" y="465"/>
                      <a:pt x="1869" y="465"/>
                    </a:cubicBezTo>
                    <a:cubicBezTo>
                      <a:pt x="1869" y="465"/>
                      <a:pt x="1861" y="448"/>
                      <a:pt x="1861" y="439"/>
                    </a:cubicBezTo>
                    <a:cubicBezTo>
                      <a:pt x="1861" y="429"/>
                      <a:pt x="1862" y="402"/>
                      <a:pt x="1859" y="385"/>
                    </a:cubicBezTo>
                    <a:cubicBezTo>
                      <a:pt x="1857" y="368"/>
                      <a:pt x="1846" y="350"/>
                      <a:pt x="1846" y="350"/>
                    </a:cubicBezTo>
                    <a:cubicBezTo>
                      <a:pt x="1820" y="350"/>
                      <a:pt x="1820" y="350"/>
                      <a:pt x="1820" y="350"/>
                    </a:cubicBezTo>
                    <a:cubicBezTo>
                      <a:pt x="1820" y="350"/>
                      <a:pt x="1799" y="326"/>
                      <a:pt x="1781" y="326"/>
                    </a:cubicBezTo>
                    <a:cubicBezTo>
                      <a:pt x="1763" y="326"/>
                      <a:pt x="1744" y="351"/>
                      <a:pt x="1744" y="351"/>
                    </a:cubicBezTo>
                    <a:cubicBezTo>
                      <a:pt x="1728" y="355"/>
                      <a:pt x="1728" y="355"/>
                      <a:pt x="1728" y="355"/>
                    </a:cubicBezTo>
                    <a:cubicBezTo>
                      <a:pt x="1723" y="367"/>
                      <a:pt x="1723" y="367"/>
                      <a:pt x="1723" y="367"/>
                    </a:cubicBezTo>
                    <a:cubicBezTo>
                      <a:pt x="1711" y="373"/>
                      <a:pt x="1711" y="373"/>
                      <a:pt x="1711" y="373"/>
                    </a:cubicBezTo>
                    <a:cubicBezTo>
                      <a:pt x="1711" y="364"/>
                      <a:pt x="1711" y="364"/>
                      <a:pt x="1711" y="364"/>
                    </a:cubicBezTo>
                    <a:cubicBezTo>
                      <a:pt x="1711" y="364"/>
                      <a:pt x="1704" y="352"/>
                      <a:pt x="1693" y="356"/>
                    </a:cubicBezTo>
                    <a:cubicBezTo>
                      <a:pt x="1693" y="356"/>
                      <a:pt x="1693" y="369"/>
                      <a:pt x="1702" y="382"/>
                    </a:cubicBezTo>
                    <a:cubicBezTo>
                      <a:pt x="1711" y="395"/>
                      <a:pt x="1732" y="388"/>
                      <a:pt x="1749" y="393"/>
                    </a:cubicBezTo>
                    <a:cubicBezTo>
                      <a:pt x="1766" y="398"/>
                      <a:pt x="1751" y="406"/>
                      <a:pt x="1760" y="422"/>
                    </a:cubicBezTo>
                    <a:cubicBezTo>
                      <a:pt x="1769" y="437"/>
                      <a:pt x="1799" y="424"/>
                      <a:pt x="1821" y="424"/>
                    </a:cubicBezTo>
                    <a:cubicBezTo>
                      <a:pt x="1844" y="424"/>
                      <a:pt x="1845" y="429"/>
                      <a:pt x="1845" y="440"/>
                    </a:cubicBezTo>
                    <a:cubicBezTo>
                      <a:pt x="1845" y="450"/>
                      <a:pt x="1819" y="440"/>
                      <a:pt x="1811" y="441"/>
                    </a:cubicBezTo>
                    <a:cubicBezTo>
                      <a:pt x="1803" y="443"/>
                      <a:pt x="1785" y="454"/>
                      <a:pt x="1785" y="454"/>
                    </a:cubicBezTo>
                    <a:cubicBezTo>
                      <a:pt x="1785" y="454"/>
                      <a:pt x="1757" y="454"/>
                      <a:pt x="1751" y="461"/>
                    </a:cubicBezTo>
                    <a:cubicBezTo>
                      <a:pt x="1744" y="467"/>
                      <a:pt x="1774" y="474"/>
                      <a:pt x="1781" y="478"/>
                    </a:cubicBezTo>
                    <a:cubicBezTo>
                      <a:pt x="1787" y="482"/>
                      <a:pt x="1797" y="498"/>
                      <a:pt x="1797" y="498"/>
                    </a:cubicBezTo>
                    <a:cubicBezTo>
                      <a:pt x="1797" y="498"/>
                      <a:pt x="1781" y="517"/>
                      <a:pt x="1790" y="530"/>
                    </a:cubicBezTo>
                    <a:cubicBezTo>
                      <a:pt x="1799" y="543"/>
                      <a:pt x="1819" y="508"/>
                      <a:pt x="1819" y="504"/>
                    </a:cubicBezTo>
                    <a:cubicBezTo>
                      <a:pt x="1819" y="500"/>
                      <a:pt x="1838" y="471"/>
                      <a:pt x="1838" y="471"/>
                    </a:cubicBezTo>
                    <a:cubicBezTo>
                      <a:pt x="1836" y="496"/>
                      <a:pt x="1836" y="496"/>
                      <a:pt x="1836" y="496"/>
                    </a:cubicBezTo>
                    <a:cubicBezTo>
                      <a:pt x="1836" y="496"/>
                      <a:pt x="1849" y="509"/>
                      <a:pt x="1859" y="518"/>
                    </a:cubicBezTo>
                    <a:cubicBezTo>
                      <a:pt x="1870" y="528"/>
                      <a:pt x="1891" y="520"/>
                      <a:pt x="1891" y="520"/>
                    </a:cubicBezTo>
                    <a:cubicBezTo>
                      <a:pt x="1882" y="529"/>
                      <a:pt x="1882" y="529"/>
                      <a:pt x="1882" y="529"/>
                    </a:cubicBezTo>
                    <a:cubicBezTo>
                      <a:pt x="1903" y="549"/>
                      <a:pt x="1903" y="549"/>
                      <a:pt x="1903" y="549"/>
                    </a:cubicBezTo>
                    <a:cubicBezTo>
                      <a:pt x="1941" y="550"/>
                      <a:pt x="1941" y="550"/>
                      <a:pt x="1941" y="550"/>
                    </a:cubicBezTo>
                    <a:cubicBezTo>
                      <a:pt x="1964" y="567"/>
                      <a:pt x="1964" y="567"/>
                      <a:pt x="1964" y="567"/>
                    </a:cubicBezTo>
                    <a:cubicBezTo>
                      <a:pt x="1964" y="567"/>
                      <a:pt x="2006" y="581"/>
                      <a:pt x="2030" y="598"/>
                    </a:cubicBezTo>
                    <a:cubicBezTo>
                      <a:pt x="2053" y="615"/>
                      <a:pt x="2048" y="621"/>
                      <a:pt x="2049" y="640"/>
                    </a:cubicBezTo>
                    <a:cubicBezTo>
                      <a:pt x="2051" y="660"/>
                      <a:pt x="2073" y="669"/>
                      <a:pt x="2073" y="669"/>
                    </a:cubicBezTo>
                    <a:cubicBezTo>
                      <a:pt x="2073" y="669"/>
                      <a:pt x="2056" y="672"/>
                      <a:pt x="2056" y="681"/>
                    </a:cubicBezTo>
                    <a:cubicBezTo>
                      <a:pt x="2056" y="690"/>
                      <a:pt x="2082" y="691"/>
                      <a:pt x="2082" y="691"/>
                    </a:cubicBezTo>
                    <a:cubicBezTo>
                      <a:pt x="2066" y="697"/>
                      <a:pt x="2066" y="697"/>
                      <a:pt x="2066" y="697"/>
                    </a:cubicBezTo>
                    <a:cubicBezTo>
                      <a:pt x="2067" y="705"/>
                      <a:pt x="2067" y="705"/>
                      <a:pt x="2067" y="705"/>
                    </a:cubicBezTo>
                    <a:cubicBezTo>
                      <a:pt x="2072" y="708"/>
                      <a:pt x="2072" y="708"/>
                      <a:pt x="2072" y="708"/>
                    </a:cubicBezTo>
                    <a:cubicBezTo>
                      <a:pt x="2077" y="729"/>
                      <a:pt x="2077" y="729"/>
                      <a:pt x="2077" y="729"/>
                    </a:cubicBezTo>
                    <a:cubicBezTo>
                      <a:pt x="2067" y="750"/>
                      <a:pt x="2067" y="750"/>
                      <a:pt x="2067" y="750"/>
                    </a:cubicBezTo>
                    <a:cubicBezTo>
                      <a:pt x="2073" y="749"/>
                      <a:pt x="2078" y="748"/>
                      <a:pt x="2081" y="749"/>
                    </a:cubicBezTo>
                    <a:cubicBezTo>
                      <a:pt x="2086" y="752"/>
                      <a:pt x="2120" y="737"/>
                      <a:pt x="2120" y="737"/>
                    </a:cubicBezTo>
                    <a:cubicBezTo>
                      <a:pt x="2120" y="755"/>
                      <a:pt x="2120" y="755"/>
                      <a:pt x="2120" y="755"/>
                    </a:cubicBezTo>
                    <a:cubicBezTo>
                      <a:pt x="2120" y="755"/>
                      <a:pt x="2147" y="788"/>
                      <a:pt x="2159" y="797"/>
                    </a:cubicBezTo>
                    <a:cubicBezTo>
                      <a:pt x="2161" y="798"/>
                      <a:pt x="2162" y="799"/>
                      <a:pt x="2164" y="800"/>
                    </a:cubicBezTo>
                    <a:cubicBezTo>
                      <a:pt x="2166" y="768"/>
                      <a:pt x="2166" y="768"/>
                      <a:pt x="2166" y="768"/>
                    </a:cubicBezTo>
                    <a:cubicBezTo>
                      <a:pt x="2162" y="752"/>
                      <a:pt x="2162" y="752"/>
                      <a:pt x="2162" y="752"/>
                    </a:cubicBezTo>
                    <a:cubicBezTo>
                      <a:pt x="2162" y="752"/>
                      <a:pt x="2166" y="733"/>
                      <a:pt x="2168" y="726"/>
                    </a:cubicBezTo>
                    <a:cubicBezTo>
                      <a:pt x="2170" y="718"/>
                      <a:pt x="2173" y="681"/>
                      <a:pt x="2173" y="681"/>
                    </a:cubicBezTo>
                    <a:cubicBezTo>
                      <a:pt x="2173" y="681"/>
                      <a:pt x="2169" y="683"/>
                      <a:pt x="2158" y="676"/>
                    </a:cubicBezTo>
                    <a:cubicBezTo>
                      <a:pt x="2147" y="670"/>
                      <a:pt x="2174" y="652"/>
                      <a:pt x="2174" y="652"/>
                    </a:cubicBezTo>
                    <a:cubicBezTo>
                      <a:pt x="2174" y="652"/>
                      <a:pt x="2173" y="626"/>
                      <a:pt x="2171" y="611"/>
                    </a:cubicBezTo>
                    <a:cubicBezTo>
                      <a:pt x="2169" y="596"/>
                      <a:pt x="2177" y="574"/>
                      <a:pt x="2177" y="554"/>
                    </a:cubicBezTo>
                    <a:cubicBezTo>
                      <a:pt x="2177" y="538"/>
                      <a:pt x="2179" y="474"/>
                      <a:pt x="2179" y="454"/>
                    </a:cubicBezTo>
                    <a:close/>
                    <a:moveTo>
                      <a:pt x="228" y="446"/>
                    </a:moveTo>
                    <a:cubicBezTo>
                      <a:pt x="220" y="453"/>
                      <a:pt x="238" y="462"/>
                      <a:pt x="238" y="462"/>
                    </a:cubicBezTo>
                    <a:cubicBezTo>
                      <a:pt x="238" y="462"/>
                      <a:pt x="250" y="486"/>
                      <a:pt x="258" y="478"/>
                    </a:cubicBezTo>
                    <a:cubicBezTo>
                      <a:pt x="266" y="470"/>
                      <a:pt x="234" y="442"/>
                      <a:pt x="228" y="446"/>
                    </a:cubicBezTo>
                    <a:close/>
                    <a:moveTo>
                      <a:pt x="1691" y="739"/>
                    </a:moveTo>
                    <a:cubicBezTo>
                      <a:pt x="1701" y="745"/>
                      <a:pt x="1701" y="745"/>
                      <a:pt x="1701" y="745"/>
                    </a:cubicBezTo>
                    <a:cubicBezTo>
                      <a:pt x="1720" y="730"/>
                      <a:pt x="1720" y="730"/>
                      <a:pt x="1720" y="730"/>
                    </a:cubicBezTo>
                    <a:cubicBezTo>
                      <a:pt x="1720" y="730"/>
                      <a:pt x="1742" y="738"/>
                      <a:pt x="1742" y="716"/>
                    </a:cubicBezTo>
                    <a:cubicBezTo>
                      <a:pt x="1742" y="694"/>
                      <a:pt x="1691" y="720"/>
                      <a:pt x="1691" y="739"/>
                    </a:cubicBezTo>
                    <a:close/>
                    <a:moveTo>
                      <a:pt x="2068" y="714"/>
                    </a:moveTo>
                    <a:cubicBezTo>
                      <a:pt x="2067" y="713"/>
                      <a:pt x="2067" y="713"/>
                      <a:pt x="2067" y="713"/>
                    </a:cubicBezTo>
                    <a:cubicBezTo>
                      <a:pt x="2065" y="710"/>
                      <a:pt x="2056" y="702"/>
                      <a:pt x="2037" y="711"/>
                    </a:cubicBezTo>
                    <a:cubicBezTo>
                      <a:pt x="2015" y="721"/>
                      <a:pt x="2011" y="759"/>
                      <a:pt x="2011" y="759"/>
                    </a:cubicBezTo>
                    <a:cubicBezTo>
                      <a:pt x="2053" y="754"/>
                      <a:pt x="2053" y="754"/>
                      <a:pt x="2053" y="754"/>
                    </a:cubicBezTo>
                    <a:cubicBezTo>
                      <a:pt x="2053" y="754"/>
                      <a:pt x="2059" y="752"/>
                      <a:pt x="2066" y="750"/>
                    </a:cubicBezTo>
                    <a:cubicBezTo>
                      <a:pt x="2072" y="728"/>
                      <a:pt x="2072" y="728"/>
                      <a:pt x="2072" y="728"/>
                    </a:cubicBezTo>
                    <a:lnTo>
                      <a:pt x="2068" y="714"/>
                    </a:lnTo>
                    <a:close/>
                    <a:moveTo>
                      <a:pt x="1857" y="631"/>
                    </a:moveTo>
                    <a:cubicBezTo>
                      <a:pt x="1847" y="641"/>
                      <a:pt x="1847" y="641"/>
                      <a:pt x="1847" y="641"/>
                    </a:cubicBezTo>
                    <a:cubicBezTo>
                      <a:pt x="1849" y="676"/>
                      <a:pt x="1849" y="676"/>
                      <a:pt x="1849" y="676"/>
                    </a:cubicBezTo>
                    <a:cubicBezTo>
                      <a:pt x="1860" y="679"/>
                      <a:pt x="1860" y="679"/>
                      <a:pt x="1860" y="679"/>
                    </a:cubicBezTo>
                    <a:cubicBezTo>
                      <a:pt x="1859" y="666"/>
                      <a:pt x="1859" y="666"/>
                      <a:pt x="1859" y="666"/>
                    </a:cubicBezTo>
                    <a:cubicBezTo>
                      <a:pt x="1866" y="663"/>
                      <a:pt x="1866" y="663"/>
                      <a:pt x="1866" y="663"/>
                    </a:cubicBezTo>
                    <a:cubicBezTo>
                      <a:pt x="1865" y="648"/>
                      <a:pt x="1865" y="648"/>
                      <a:pt x="1865" y="648"/>
                    </a:cubicBezTo>
                    <a:cubicBezTo>
                      <a:pt x="1856" y="648"/>
                      <a:pt x="1856" y="648"/>
                      <a:pt x="1856" y="648"/>
                    </a:cubicBezTo>
                    <a:cubicBezTo>
                      <a:pt x="1868" y="628"/>
                      <a:pt x="1868" y="628"/>
                      <a:pt x="1868" y="628"/>
                    </a:cubicBezTo>
                    <a:cubicBezTo>
                      <a:pt x="1881" y="606"/>
                      <a:pt x="1881" y="606"/>
                      <a:pt x="1881" y="606"/>
                    </a:cubicBezTo>
                    <a:cubicBezTo>
                      <a:pt x="1862" y="610"/>
                      <a:pt x="1862" y="610"/>
                      <a:pt x="1862" y="610"/>
                    </a:cubicBezTo>
                    <a:lnTo>
                      <a:pt x="1857" y="631"/>
                    </a:lnTo>
                    <a:close/>
                    <a:moveTo>
                      <a:pt x="1427" y="403"/>
                    </a:moveTo>
                    <a:cubicBezTo>
                      <a:pt x="1427" y="403"/>
                      <a:pt x="1405" y="391"/>
                      <a:pt x="1398" y="394"/>
                    </a:cubicBezTo>
                    <a:cubicBezTo>
                      <a:pt x="1392" y="397"/>
                      <a:pt x="1389" y="406"/>
                      <a:pt x="1389" y="406"/>
                    </a:cubicBezTo>
                    <a:cubicBezTo>
                      <a:pt x="1396" y="420"/>
                      <a:pt x="1427" y="415"/>
                      <a:pt x="1427" y="415"/>
                    </a:cubicBezTo>
                    <a:cubicBezTo>
                      <a:pt x="1480" y="405"/>
                      <a:pt x="1480" y="405"/>
                      <a:pt x="1480" y="405"/>
                    </a:cubicBezTo>
                    <a:lnTo>
                      <a:pt x="1427" y="403"/>
                    </a:lnTo>
                    <a:close/>
                    <a:moveTo>
                      <a:pt x="879" y="696"/>
                    </a:moveTo>
                    <a:cubicBezTo>
                      <a:pt x="917" y="669"/>
                      <a:pt x="917" y="669"/>
                      <a:pt x="917" y="669"/>
                    </a:cubicBezTo>
                    <a:cubicBezTo>
                      <a:pt x="914" y="663"/>
                      <a:pt x="914" y="663"/>
                      <a:pt x="914" y="663"/>
                    </a:cubicBezTo>
                    <a:cubicBezTo>
                      <a:pt x="914" y="663"/>
                      <a:pt x="864" y="667"/>
                      <a:pt x="863" y="677"/>
                    </a:cubicBezTo>
                    <a:cubicBezTo>
                      <a:pt x="858" y="702"/>
                      <a:pt x="879" y="696"/>
                      <a:pt x="879" y="696"/>
                    </a:cubicBezTo>
                    <a:close/>
                    <a:moveTo>
                      <a:pt x="959" y="747"/>
                    </a:moveTo>
                    <a:cubicBezTo>
                      <a:pt x="949" y="747"/>
                      <a:pt x="933" y="747"/>
                      <a:pt x="933" y="747"/>
                    </a:cubicBezTo>
                    <a:cubicBezTo>
                      <a:pt x="930" y="766"/>
                      <a:pt x="930" y="766"/>
                      <a:pt x="930" y="766"/>
                    </a:cubicBezTo>
                    <a:cubicBezTo>
                      <a:pt x="930" y="766"/>
                      <a:pt x="940" y="794"/>
                      <a:pt x="953" y="783"/>
                    </a:cubicBezTo>
                    <a:cubicBezTo>
                      <a:pt x="966" y="773"/>
                      <a:pt x="969" y="747"/>
                      <a:pt x="959" y="747"/>
                    </a:cubicBezTo>
                    <a:close/>
                    <a:moveTo>
                      <a:pt x="475" y="622"/>
                    </a:moveTo>
                    <a:cubicBezTo>
                      <a:pt x="480" y="617"/>
                      <a:pt x="480" y="602"/>
                      <a:pt x="480" y="602"/>
                    </a:cubicBezTo>
                    <a:cubicBezTo>
                      <a:pt x="499" y="620"/>
                      <a:pt x="499" y="620"/>
                      <a:pt x="499" y="620"/>
                    </a:cubicBezTo>
                    <a:cubicBezTo>
                      <a:pt x="499" y="620"/>
                      <a:pt x="507" y="597"/>
                      <a:pt x="507" y="581"/>
                    </a:cubicBezTo>
                    <a:cubicBezTo>
                      <a:pt x="507" y="565"/>
                      <a:pt x="516" y="521"/>
                      <a:pt x="516" y="521"/>
                    </a:cubicBezTo>
                    <a:cubicBezTo>
                      <a:pt x="516" y="521"/>
                      <a:pt x="507" y="516"/>
                      <a:pt x="507" y="506"/>
                    </a:cubicBezTo>
                    <a:cubicBezTo>
                      <a:pt x="507" y="497"/>
                      <a:pt x="526" y="482"/>
                      <a:pt x="520" y="477"/>
                    </a:cubicBezTo>
                    <a:cubicBezTo>
                      <a:pt x="515" y="472"/>
                      <a:pt x="510" y="468"/>
                      <a:pt x="510" y="468"/>
                    </a:cubicBezTo>
                    <a:cubicBezTo>
                      <a:pt x="502" y="437"/>
                      <a:pt x="502" y="437"/>
                      <a:pt x="502" y="437"/>
                    </a:cubicBezTo>
                    <a:cubicBezTo>
                      <a:pt x="474" y="438"/>
                      <a:pt x="474" y="438"/>
                      <a:pt x="474" y="438"/>
                    </a:cubicBezTo>
                    <a:cubicBezTo>
                      <a:pt x="474" y="438"/>
                      <a:pt x="478" y="420"/>
                      <a:pt x="471" y="416"/>
                    </a:cubicBezTo>
                    <a:cubicBezTo>
                      <a:pt x="464" y="412"/>
                      <a:pt x="450" y="413"/>
                      <a:pt x="450" y="413"/>
                    </a:cubicBezTo>
                    <a:cubicBezTo>
                      <a:pt x="444" y="366"/>
                      <a:pt x="444" y="366"/>
                      <a:pt x="444" y="366"/>
                    </a:cubicBezTo>
                    <a:cubicBezTo>
                      <a:pt x="444" y="366"/>
                      <a:pt x="402" y="370"/>
                      <a:pt x="399" y="357"/>
                    </a:cubicBezTo>
                    <a:cubicBezTo>
                      <a:pt x="396" y="344"/>
                      <a:pt x="410" y="328"/>
                      <a:pt x="410" y="328"/>
                    </a:cubicBezTo>
                    <a:cubicBezTo>
                      <a:pt x="394" y="326"/>
                      <a:pt x="394" y="326"/>
                      <a:pt x="394" y="326"/>
                    </a:cubicBezTo>
                    <a:cubicBezTo>
                      <a:pt x="394" y="326"/>
                      <a:pt x="419" y="297"/>
                      <a:pt x="410" y="289"/>
                    </a:cubicBezTo>
                    <a:cubicBezTo>
                      <a:pt x="400" y="281"/>
                      <a:pt x="358" y="300"/>
                      <a:pt x="358" y="300"/>
                    </a:cubicBezTo>
                    <a:cubicBezTo>
                      <a:pt x="358" y="300"/>
                      <a:pt x="383" y="276"/>
                      <a:pt x="375" y="272"/>
                    </a:cubicBezTo>
                    <a:cubicBezTo>
                      <a:pt x="367" y="268"/>
                      <a:pt x="343" y="264"/>
                      <a:pt x="343" y="264"/>
                    </a:cubicBezTo>
                    <a:cubicBezTo>
                      <a:pt x="343" y="264"/>
                      <a:pt x="354" y="256"/>
                      <a:pt x="340" y="238"/>
                    </a:cubicBezTo>
                    <a:cubicBezTo>
                      <a:pt x="327" y="221"/>
                      <a:pt x="304" y="220"/>
                      <a:pt x="304" y="220"/>
                    </a:cubicBezTo>
                    <a:cubicBezTo>
                      <a:pt x="304" y="220"/>
                      <a:pt x="298" y="200"/>
                      <a:pt x="291" y="192"/>
                    </a:cubicBezTo>
                    <a:cubicBezTo>
                      <a:pt x="284" y="184"/>
                      <a:pt x="275" y="190"/>
                      <a:pt x="275" y="190"/>
                    </a:cubicBezTo>
                    <a:cubicBezTo>
                      <a:pt x="279" y="205"/>
                      <a:pt x="279" y="205"/>
                      <a:pt x="279" y="205"/>
                    </a:cubicBezTo>
                    <a:cubicBezTo>
                      <a:pt x="279" y="205"/>
                      <a:pt x="254" y="186"/>
                      <a:pt x="248" y="180"/>
                    </a:cubicBezTo>
                    <a:cubicBezTo>
                      <a:pt x="243" y="173"/>
                      <a:pt x="232" y="146"/>
                      <a:pt x="232" y="146"/>
                    </a:cubicBezTo>
                    <a:cubicBezTo>
                      <a:pt x="232" y="146"/>
                      <a:pt x="202" y="125"/>
                      <a:pt x="188" y="113"/>
                    </a:cubicBezTo>
                    <a:cubicBezTo>
                      <a:pt x="175" y="101"/>
                      <a:pt x="152" y="82"/>
                      <a:pt x="152" y="82"/>
                    </a:cubicBezTo>
                    <a:cubicBezTo>
                      <a:pt x="152" y="82"/>
                      <a:pt x="156" y="77"/>
                      <a:pt x="151" y="72"/>
                    </a:cubicBezTo>
                    <a:cubicBezTo>
                      <a:pt x="146" y="66"/>
                      <a:pt x="139" y="60"/>
                      <a:pt x="139" y="60"/>
                    </a:cubicBezTo>
                    <a:cubicBezTo>
                      <a:pt x="139" y="60"/>
                      <a:pt x="128" y="41"/>
                      <a:pt x="120" y="34"/>
                    </a:cubicBezTo>
                    <a:cubicBezTo>
                      <a:pt x="112" y="28"/>
                      <a:pt x="104" y="29"/>
                      <a:pt x="104" y="29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47" y="25"/>
                      <a:pt x="27" y="0"/>
                      <a:pt x="16" y="2"/>
                    </a:cubicBezTo>
                    <a:cubicBezTo>
                      <a:pt x="6" y="5"/>
                      <a:pt x="0" y="29"/>
                      <a:pt x="7" y="41"/>
                    </a:cubicBezTo>
                    <a:cubicBezTo>
                      <a:pt x="14" y="53"/>
                      <a:pt x="88" y="121"/>
                      <a:pt x="88" y="121"/>
                    </a:cubicBezTo>
                    <a:cubicBezTo>
                      <a:pt x="111" y="157"/>
                      <a:pt x="111" y="157"/>
                      <a:pt x="111" y="157"/>
                    </a:cubicBezTo>
                    <a:cubicBezTo>
                      <a:pt x="119" y="154"/>
                      <a:pt x="119" y="154"/>
                      <a:pt x="119" y="154"/>
                    </a:cubicBezTo>
                    <a:cubicBezTo>
                      <a:pt x="119" y="154"/>
                      <a:pt x="122" y="178"/>
                      <a:pt x="128" y="184"/>
                    </a:cubicBezTo>
                    <a:cubicBezTo>
                      <a:pt x="135" y="189"/>
                      <a:pt x="170" y="202"/>
                      <a:pt x="178" y="218"/>
                    </a:cubicBezTo>
                    <a:cubicBezTo>
                      <a:pt x="186" y="234"/>
                      <a:pt x="194" y="266"/>
                      <a:pt x="194" y="266"/>
                    </a:cubicBezTo>
                    <a:cubicBezTo>
                      <a:pt x="194" y="266"/>
                      <a:pt x="191" y="301"/>
                      <a:pt x="199" y="301"/>
                    </a:cubicBezTo>
                    <a:cubicBezTo>
                      <a:pt x="207" y="301"/>
                      <a:pt x="219" y="293"/>
                      <a:pt x="222" y="302"/>
                    </a:cubicBezTo>
                    <a:cubicBezTo>
                      <a:pt x="224" y="312"/>
                      <a:pt x="230" y="328"/>
                      <a:pt x="230" y="328"/>
                    </a:cubicBezTo>
                    <a:cubicBezTo>
                      <a:pt x="255" y="349"/>
                      <a:pt x="255" y="349"/>
                      <a:pt x="255" y="349"/>
                    </a:cubicBezTo>
                    <a:cubicBezTo>
                      <a:pt x="254" y="365"/>
                      <a:pt x="254" y="365"/>
                      <a:pt x="254" y="365"/>
                    </a:cubicBezTo>
                    <a:cubicBezTo>
                      <a:pt x="275" y="408"/>
                      <a:pt x="275" y="408"/>
                      <a:pt x="275" y="408"/>
                    </a:cubicBezTo>
                    <a:cubicBezTo>
                      <a:pt x="275" y="408"/>
                      <a:pt x="268" y="421"/>
                      <a:pt x="278" y="436"/>
                    </a:cubicBezTo>
                    <a:cubicBezTo>
                      <a:pt x="287" y="450"/>
                      <a:pt x="296" y="453"/>
                      <a:pt x="296" y="453"/>
                    </a:cubicBezTo>
                    <a:cubicBezTo>
                      <a:pt x="296" y="453"/>
                      <a:pt x="306" y="477"/>
                      <a:pt x="314" y="485"/>
                    </a:cubicBezTo>
                    <a:cubicBezTo>
                      <a:pt x="322" y="493"/>
                      <a:pt x="343" y="501"/>
                      <a:pt x="343" y="501"/>
                    </a:cubicBezTo>
                    <a:cubicBezTo>
                      <a:pt x="343" y="526"/>
                      <a:pt x="343" y="526"/>
                      <a:pt x="343" y="526"/>
                    </a:cubicBezTo>
                    <a:cubicBezTo>
                      <a:pt x="343" y="526"/>
                      <a:pt x="392" y="568"/>
                      <a:pt x="395" y="572"/>
                    </a:cubicBezTo>
                    <a:cubicBezTo>
                      <a:pt x="398" y="576"/>
                      <a:pt x="411" y="577"/>
                      <a:pt x="411" y="577"/>
                    </a:cubicBezTo>
                    <a:cubicBezTo>
                      <a:pt x="411" y="577"/>
                      <a:pt x="422" y="602"/>
                      <a:pt x="430" y="606"/>
                    </a:cubicBezTo>
                    <a:cubicBezTo>
                      <a:pt x="438" y="610"/>
                      <a:pt x="440" y="632"/>
                      <a:pt x="444" y="630"/>
                    </a:cubicBezTo>
                    <a:cubicBezTo>
                      <a:pt x="448" y="629"/>
                      <a:pt x="442" y="608"/>
                      <a:pt x="447" y="605"/>
                    </a:cubicBezTo>
                    <a:cubicBezTo>
                      <a:pt x="452" y="602"/>
                      <a:pt x="470" y="628"/>
                      <a:pt x="475" y="622"/>
                    </a:cubicBezTo>
                    <a:close/>
                    <a:moveTo>
                      <a:pt x="1416" y="798"/>
                    </a:moveTo>
                    <a:cubicBezTo>
                      <a:pt x="1409" y="784"/>
                      <a:pt x="1409" y="784"/>
                      <a:pt x="1409" y="784"/>
                    </a:cubicBezTo>
                    <a:cubicBezTo>
                      <a:pt x="1404" y="785"/>
                      <a:pt x="1397" y="786"/>
                      <a:pt x="1392" y="790"/>
                    </a:cubicBezTo>
                    <a:cubicBezTo>
                      <a:pt x="1380" y="797"/>
                      <a:pt x="1380" y="812"/>
                      <a:pt x="1380" y="812"/>
                    </a:cubicBezTo>
                    <a:cubicBezTo>
                      <a:pt x="1380" y="812"/>
                      <a:pt x="1369" y="809"/>
                      <a:pt x="1357" y="820"/>
                    </a:cubicBezTo>
                    <a:cubicBezTo>
                      <a:pt x="1345" y="832"/>
                      <a:pt x="1322" y="855"/>
                      <a:pt x="1342" y="870"/>
                    </a:cubicBezTo>
                    <a:cubicBezTo>
                      <a:pt x="1353" y="879"/>
                      <a:pt x="1393" y="842"/>
                      <a:pt x="1408" y="828"/>
                    </a:cubicBezTo>
                    <a:cubicBezTo>
                      <a:pt x="1405" y="827"/>
                      <a:pt x="1402" y="823"/>
                      <a:pt x="1406" y="817"/>
                    </a:cubicBezTo>
                    <a:cubicBezTo>
                      <a:pt x="1412" y="805"/>
                      <a:pt x="1416" y="798"/>
                      <a:pt x="1416" y="798"/>
                    </a:cubicBezTo>
                    <a:close/>
                    <a:moveTo>
                      <a:pt x="921" y="753"/>
                    </a:moveTo>
                    <a:cubicBezTo>
                      <a:pt x="921" y="734"/>
                      <a:pt x="894" y="734"/>
                      <a:pt x="879" y="731"/>
                    </a:cubicBezTo>
                    <a:cubicBezTo>
                      <a:pt x="865" y="728"/>
                      <a:pt x="866" y="759"/>
                      <a:pt x="866" y="759"/>
                    </a:cubicBezTo>
                    <a:cubicBezTo>
                      <a:pt x="841" y="740"/>
                      <a:pt x="841" y="740"/>
                      <a:pt x="841" y="740"/>
                    </a:cubicBezTo>
                    <a:cubicBezTo>
                      <a:pt x="841" y="740"/>
                      <a:pt x="847" y="724"/>
                      <a:pt x="847" y="700"/>
                    </a:cubicBezTo>
                    <a:cubicBezTo>
                      <a:pt x="847" y="677"/>
                      <a:pt x="799" y="686"/>
                      <a:pt x="799" y="686"/>
                    </a:cubicBezTo>
                    <a:cubicBezTo>
                      <a:pt x="778" y="674"/>
                      <a:pt x="778" y="674"/>
                      <a:pt x="778" y="674"/>
                    </a:cubicBezTo>
                    <a:cubicBezTo>
                      <a:pt x="775" y="659"/>
                      <a:pt x="775" y="659"/>
                      <a:pt x="775" y="659"/>
                    </a:cubicBezTo>
                    <a:cubicBezTo>
                      <a:pt x="749" y="659"/>
                      <a:pt x="749" y="659"/>
                      <a:pt x="749" y="659"/>
                    </a:cubicBezTo>
                    <a:cubicBezTo>
                      <a:pt x="749" y="659"/>
                      <a:pt x="744" y="680"/>
                      <a:pt x="744" y="684"/>
                    </a:cubicBezTo>
                    <a:cubicBezTo>
                      <a:pt x="744" y="688"/>
                      <a:pt x="709" y="677"/>
                      <a:pt x="693" y="674"/>
                    </a:cubicBezTo>
                    <a:cubicBezTo>
                      <a:pt x="677" y="671"/>
                      <a:pt x="648" y="672"/>
                      <a:pt x="648" y="672"/>
                    </a:cubicBezTo>
                    <a:cubicBezTo>
                      <a:pt x="648" y="672"/>
                      <a:pt x="630" y="650"/>
                      <a:pt x="621" y="640"/>
                    </a:cubicBezTo>
                    <a:cubicBezTo>
                      <a:pt x="612" y="630"/>
                      <a:pt x="598" y="641"/>
                      <a:pt x="598" y="641"/>
                    </a:cubicBezTo>
                    <a:cubicBezTo>
                      <a:pt x="598" y="641"/>
                      <a:pt x="573" y="628"/>
                      <a:pt x="567" y="627"/>
                    </a:cubicBezTo>
                    <a:cubicBezTo>
                      <a:pt x="561" y="625"/>
                      <a:pt x="535" y="624"/>
                      <a:pt x="535" y="624"/>
                    </a:cubicBezTo>
                    <a:cubicBezTo>
                      <a:pt x="535" y="624"/>
                      <a:pt x="524" y="615"/>
                      <a:pt x="511" y="619"/>
                    </a:cubicBezTo>
                    <a:cubicBezTo>
                      <a:pt x="498" y="624"/>
                      <a:pt x="498" y="652"/>
                      <a:pt x="491" y="656"/>
                    </a:cubicBezTo>
                    <a:cubicBezTo>
                      <a:pt x="483" y="661"/>
                      <a:pt x="469" y="666"/>
                      <a:pt x="472" y="677"/>
                    </a:cubicBezTo>
                    <a:cubicBezTo>
                      <a:pt x="496" y="672"/>
                      <a:pt x="496" y="672"/>
                      <a:pt x="496" y="672"/>
                    </a:cubicBezTo>
                    <a:cubicBezTo>
                      <a:pt x="527" y="675"/>
                      <a:pt x="527" y="675"/>
                      <a:pt x="527" y="675"/>
                    </a:cubicBezTo>
                    <a:cubicBezTo>
                      <a:pt x="527" y="675"/>
                      <a:pt x="504" y="688"/>
                      <a:pt x="514" y="699"/>
                    </a:cubicBezTo>
                    <a:cubicBezTo>
                      <a:pt x="524" y="709"/>
                      <a:pt x="558" y="691"/>
                      <a:pt x="558" y="691"/>
                    </a:cubicBezTo>
                    <a:cubicBezTo>
                      <a:pt x="558" y="691"/>
                      <a:pt x="608" y="718"/>
                      <a:pt x="623" y="722"/>
                    </a:cubicBezTo>
                    <a:cubicBezTo>
                      <a:pt x="637" y="727"/>
                      <a:pt x="687" y="728"/>
                      <a:pt x="705" y="728"/>
                    </a:cubicBezTo>
                    <a:cubicBezTo>
                      <a:pt x="722" y="728"/>
                      <a:pt x="727" y="747"/>
                      <a:pt x="737" y="756"/>
                    </a:cubicBezTo>
                    <a:cubicBezTo>
                      <a:pt x="747" y="765"/>
                      <a:pt x="780" y="771"/>
                      <a:pt x="794" y="772"/>
                    </a:cubicBezTo>
                    <a:cubicBezTo>
                      <a:pt x="809" y="774"/>
                      <a:pt x="815" y="771"/>
                      <a:pt x="837" y="772"/>
                    </a:cubicBezTo>
                    <a:cubicBezTo>
                      <a:pt x="859" y="774"/>
                      <a:pt x="877" y="801"/>
                      <a:pt x="885" y="806"/>
                    </a:cubicBezTo>
                    <a:cubicBezTo>
                      <a:pt x="894" y="810"/>
                      <a:pt x="904" y="801"/>
                      <a:pt x="904" y="801"/>
                    </a:cubicBezTo>
                    <a:cubicBezTo>
                      <a:pt x="904" y="801"/>
                      <a:pt x="921" y="810"/>
                      <a:pt x="921" y="804"/>
                    </a:cubicBezTo>
                    <a:cubicBezTo>
                      <a:pt x="921" y="793"/>
                      <a:pt x="910" y="778"/>
                      <a:pt x="910" y="778"/>
                    </a:cubicBezTo>
                    <a:cubicBezTo>
                      <a:pt x="910" y="778"/>
                      <a:pt x="921" y="772"/>
                      <a:pt x="921" y="753"/>
                    </a:cubicBezTo>
                    <a:close/>
                    <a:moveTo>
                      <a:pt x="1004" y="484"/>
                    </a:moveTo>
                    <a:cubicBezTo>
                      <a:pt x="1004" y="484"/>
                      <a:pt x="1025" y="467"/>
                      <a:pt x="1031" y="460"/>
                    </a:cubicBezTo>
                    <a:cubicBezTo>
                      <a:pt x="1036" y="453"/>
                      <a:pt x="1055" y="403"/>
                      <a:pt x="1055" y="403"/>
                    </a:cubicBezTo>
                    <a:cubicBezTo>
                      <a:pt x="1055" y="403"/>
                      <a:pt x="1037" y="401"/>
                      <a:pt x="1034" y="388"/>
                    </a:cubicBezTo>
                    <a:cubicBezTo>
                      <a:pt x="1031" y="376"/>
                      <a:pt x="1037" y="361"/>
                      <a:pt x="1042" y="348"/>
                    </a:cubicBezTo>
                    <a:cubicBezTo>
                      <a:pt x="1048" y="334"/>
                      <a:pt x="1070" y="336"/>
                      <a:pt x="1083" y="334"/>
                    </a:cubicBezTo>
                    <a:cubicBezTo>
                      <a:pt x="1095" y="333"/>
                      <a:pt x="1102" y="309"/>
                      <a:pt x="1101" y="301"/>
                    </a:cubicBezTo>
                    <a:cubicBezTo>
                      <a:pt x="1099" y="293"/>
                      <a:pt x="1079" y="301"/>
                      <a:pt x="1079" y="301"/>
                    </a:cubicBezTo>
                    <a:cubicBezTo>
                      <a:pt x="1079" y="301"/>
                      <a:pt x="1076" y="288"/>
                      <a:pt x="1088" y="275"/>
                    </a:cubicBezTo>
                    <a:cubicBezTo>
                      <a:pt x="1101" y="264"/>
                      <a:pt x="1128" y="269"/>
                      <a:pt x="1139" y="271"/>
                    </a:cubicBezTo>
                    <a:cubicBezTo>
                      <a:pt x="1150" y="274"/>
                      <a:pt x="1150" y="257"/>
                      <a:pt x="1150" y="257"/>
                    </a:cubicBezTo>
                    <a:cubicBezTo>
                      <a:pt x="1124" y="235"/>
                      <a:pt x="1124" y="235"/>
                      <a:pt x="1124" y="235"/>
                    </a:cubicBezTo>
                    <a:cubicBezTo>
                      <a:pt x="1124" y="208"/>
                      <a:pt x="1124" y="208"/>
                      <a:pt x="1124" y="208"/>
                    </a:cubicBezTo>
                    <a:cubicBezTo>
                      <a:pt x="1124" y="208"/>
                      <a:pt x="1105" y="207"/>
                      <a:pt x="1105" y="199"/>
                    </a:cubicBezTo>
                    <a:cubicBezTo>
                      <a:pt x="1105" y="191"/>
                      <a:pt x="1117" y="179"/>
                      <a:pt x="1116" y="168"/>
                    </a:cubicBezTo>
                    <a:cubicBezTo>
                      <a:pt x="1115" y="156"/>
                      <a:pt x="1082" y="153"/>
                      <a:pt x="1082" y="153"/>
                    </a:cubicBezTo>
                    <a:cubicBezTo>
                      <a:pt x="1093" y="135"/>
                      <a:pt x="1093" y="135"/>
                      <a:pt x="1093" y="135"/>
                    </a:cubicBezTo>
                    <a:cubicBezTo>
                      <a:pt x="1082" y="130"/>
                      <a:pt x="1082" y="130"/>
                      <a:pt x="1082" y="130"/>
                    </a:cubicBezTo>
                    <a:cubicBezTo>
                      <a:pt x="1086" y="110"/>
                      <a:pt x="1086" y="110"/>
                      <a:pt x="1086" y="110"/>
                    </a:cubicBezTo>
                    <a:cubicBezTo>
                      <a:pt x="1078" y="99"/>
                      <a:pt x="1078" y="99"/>
                      <a:pt x="1078" y="99"/>
                    </a:cubicBezTo>
                    <a:cubicBezTo>
                      <a:pt x="1070" y="92"/>
                      <a:pt x="1051" y="75"/>
                      <a:pt x="1047" y="75"/>
                    </a:cubicBezTo>
                    <a:cubicBezTo>
                      <a:pt x="1043" y="74"/>
                      <a:pt x="1002" y="73"/>
                      <a:pt x="987" y="74"/>
                    </a:cubicBezTo>
                    <a:cubicBezTo>
                      <a:pt x="973" y="75"/>
                      <a:pt x="980" y="97"/>
                      <a:pt x="978" y="113"/>
                    </a:cubicBezTo>
                    <a:cubicBezTo>
                      <a:pt x="977" y="129"/>
                      <a:pt x="968" y="144"/>
                      <a:pt x="968" y="144"/>
                    </a:cubicBezTo>
                    <a:cubicBezTo>
                      <a:pt x="968" y="144"/>
                      <a:pt x="961" y="143"/>
                      <a:pt x="955" y="152"/>
                    </a:cubicBezTo>
                    <a:cubicBezTo>
                      <a:pt x="948" y="161"/>
                      <a:pt x="960" y="177"/>
                      <a:pt x="960" y="177"/>
                    </a:cubicBezTo>
                    <a:cubicBezTo>
                      <a:pt x="938" y="196"/>
                      <a:pt x="938" y="196"/>
                      <a:pt x="938" y="196"/>
                    </a:cubicBezTo>
                    <a:cubicBezTo>
                      <a:pt x="939" y="208"/>
                      <a:pt x="939" y="208"/>
                      <a:pt x="939" y="208"/>
                    </a:cubicBezTo>
                    <a:cubicBezTo>
                      <a:pt x="922" y="231"/>
                      <a:pt x="922" y="231"/>
                      <a:pt x="922" y="231"/>
                    </a:cubicBezTo>
                    <a:cubicBezTo>
                      <a:pt x="906" y="231"/>
                      <a:pt x="906" y="231"/>
                      <a:pt x="906" y="231"/>
                    </a:cubicBezTo>
                    <a:cubicBezTo>
                      <a:pt x="906" y="231"/>
                      <a:pt x="888" y="244"/>
                      <a:pt x="885" y="244"/>
                    </a:cubicBezTo>
                    <a:cubicBezTo>
                      <a:pt x="882" y="245"/>
                      <a:pt x="857" y="229"/>
                      <a:pt x="853" y="227"/>
                    </a:cubicBezTo>
                    <a:cubicBezTo>
                      <a:pt x="849" y="224"/>
                      <a:pt x="824" y="227"/>
                      <a:pt x="824" y="227"/>
                    </a:cubicBezTo>
                    <a:cubicBezTo>
                      <a:pt x="824" y="227"/>
                      <a:pt x="811" y="248"/>
                      <a:pt x="801" y="254"/>
                    </a:cubicBezTo>
                    <a:cubicBezTo>
                      <a:pt x="791" y="260"/>
                      <a:pt x="778" y="251"/>
                      <a:pt x="764" y="251"/>
                    </a:cubicBezTo>
                    <a:cubicBezTo>
                      <a:pt x="749" y="251"/>
                      <a:pt x="750" y="259"/>
                      <a:pt x="746" y="261"/>
                    </a:cubicBezTo>
                    <a:cubicBezTo>
                      <a:pt x="742" y="264"/>
                      <a:pt x="720" y="256"/>
                      <a:pt x="712" y="247"/>
                    </a:cubicBezTo>
                    <a:cubicBezTo>
                      <a:pt x="708" y="243"/>
                      <a:pt x="706" y="237"/>
                      <a:pt x="703" y="231"/>
                    </a:cubicBezTo>
                    <a:cubicBezTo>
                      <a:pt x="703" y="231"/>
                      <a:pt x="703" y="231"/>
                      <a:pt x="703" y="231"/>
                    </a:cubicBezTo>
                    <a:cubicBezTo>
                      <a:pt x="703" y="231"/>
                      <a:pt x="684" y="213"/>
                      <a:pt x="671" y="227"/>
                    </a:cubicBezTo>
                    <a:cubicBezTo>
                      <a:pt x="657" y="242"/>
                      <a:pt x="650" y="278"/>
                      <a:pt x="650" y="278"/>
                    </a:cubicBezTo>
                    <a:cubicBezTo>
                      <a:pt x="666" y="300"/>
                      <a:pt x="666" y="300"/>
                      <a:pt x="666" y="300"/>
                    </a:cubicBezTo>
                    <a:cubicBezTo>
                      <a:pt x="673" y="335"/>
                      <a:pt x="673" y="335"/>
                      <a:pt x="673" y="335"/>
                    </a:cubicBezTo>
                    <a:cubicBezTo>
                      <a:pt x="704" y="353"/>
                      <a:pt x="704" y="353"/>
                      <a:pt x="704" y="353"/>
                    </a:cubicBezTo>
                    <a:cubicBezTo>
                      <a:pt x="699" y="377"/>
                      <a:pt x="699" y="377"/>
                      <a:pt x="699" y="377"/>
                    </a:cubicBezTo>
                    <a:cubicBezTo>
                      <a:pt x="716" y="388"/>
                      <a:pt x="716" y="388"/>
                      <a:pt x="716" y="388"/>
                    </a:cubicBezTo>
                    <a:cubicBezTo>
                      <a:pt x="705" y="407"/>
                      <a:pt x="705" y="407"/>
                      <a:pt x="705" y="407"/>
                    </a:cubicBezTo>
                    <a:cubicBezTo>
                      <a:pt x="718" y="425"/>
                      <a:pt x="718" y="425"/>
                      <a:pt x="718" y="425"/>
                    </a:cubicBezTo>
                    <a:cubicBezTo>
                      <a:pt x="707" y="432"/>
                      <a:pt x="707" y="432"/>
                      <a:pt x="707" y="432"/>
                    </a:cubicBezTo>
                    <a:cubicBezTo>
                      <a:pt x="717" y="470"/>
                      <a:pt x="717" y="470"/>
                      <a:pt x="717" y="470"/>
                    </a:cubicBezTo>
                    <a:cubicBezTo>
                      <a:pt x="745" y="466"/>
                      <a:pt x="745" y="466"/>
                      <a:pt x="745" y="466"/>
                    </a:cubicBezTo>
                    <a:cubicBezTo>
                      <a:pt x="765" y="473"/>
                      <a:pt x="765" y="473"/>
                      <a:pt x="765" y="473"/>
                    </a:cubicBezTo>
                    <a:cubicBezTo>
                      <a:pt x="765" y="473"/>
                      <a:pt x="777" y="451"/>
                      <a:pt x="789" y="451"/>
                    </a:cubicBezTo>
                    <a:cubicBezTo>
                      <a:pt x="801" y="451"/>
                      <a:pt x="789" y="483"/>
                      <a:pt x="801" y="493"/>
                    </a:cubicBezTo>
                    <a:cubicBezTo>
                      <a:pt x="812" y="502"/>
                      <a:pt x="822" y="472"/>
                      <a:pt x="822" y="472"/>
                    </a:cubicBezTo>
                    <a:cubicBezTo>
                      <a:pt x="840" y="484"/>
                      <a:pt x="840" y="484"/>
                      <a:pt x="840" y="484"/>
                    </a:cubicBezTo>
                    <a:cubicBezTo>
                      <a:pt x="840" y="484"/>
                      <a:pt x="856" y="470"/>
                      <a:pt x="865" y="470"/>
                    </a:cubicBezTo>
                    <a:cubicBezTo>
                      <a:pt x="874" y="469"/>
                      <a:pt x="868" y="495"/>
                      <a:pt x="878" y="498"/>
                    </a:cubicBezTo>
                    <a:cubicBezTo>
                      <a:pt x="888" y="502"/>
                      <a:pt x="919" y="486"/>
                      <a:pt x="935" y="489"/>
                    </a:cubicBezTo>
                    <a:cubicBezTo>
                      <a:pt x="951" y="493"/>
                      <a:pt x="936" y="542"/>
                      <a:pt x="936" y="542"/>
                    </a:cubicBezTo>
                    <a:cubicBezTo>
                      <a:pt x="936" y="542"/>
                      <a:pt x="950" y="538"/>
                      <a:pt x="966" y="531"/>
                    </a:cubicBezTo>
                    <a:cubicBezTo>
                      <a:pt x="982" y="523"/>
                      <a:pt x="1004" y="484"/>
                      <a:pt x="1004" y="484"/>
                    </a:cubicBezTo>
                    <a:close/>
                    <a:moveTo>
                      <a:pt x="990" y="745"/>
                    </a:moveTo>
                    <a:cubicBezTo>
                      <a:pt x="980" y="744"/>
                      <a:pt x="974" y="755"/>
                      <a:pt x="974" y="755"/>
                    </a:cubicBezTo>
                    <a:cubicBezTo>
                      <a:pt x="974" y="755"/>
                      <a:pt x="991" y="770"/>
                      <a:pt x="1002" y="763"/>
                    </a:cubicBezTo>
                    <a:cubicBezTo>
                      <a:pt x="1012" y="755"/>
                      <a:pt x="1000" y="747"/>
                      <a:pt x="990" y="745"/>
                    </a:cubicBezTo>
                    <a:close/>
                    <a:moveTo>
                      <a:pt x="1148" y="822"/>
                    </a:moveTo>
                    <a:cubicBezTo>
                      <a:pt x="1125" y="815"/>
                      <a:pt x="1125" y="815"/>
                      <a:pt x="1125" y="815"/>
                    </a:cubicBezTo>
                    <a:cubicBezTo>
                      <a:pt x="1118" y="821"/>
                      <a:pt x="1119" y="822"/>
                      <a:pt x="1129" y="838"/>
                    </a:cubicBezTo>
                    <a:cubicBezTo>
                      <a:pt x="1140" y="854"/>
                      <a:pt x="1147" y="843"/>
                      <a:pt x="1160" y="843"/>
                    </a:cubicBezTo>
                    <a:cubicBezTo>
                      <a:pt x="1173" y="843"/>
                      <a:pt x="1163" y="852"/>
                      <a:pt x="1173" y="862"/>
                    </a:cubicBezTo>
                    <a:cubicBezTo>
                      <a:pt x="1184" y="872"/>
                      <a:pt x="1204" y="863"/>
                      <a:pt x="1204" y="863"/>
                    </a:cubicBezTo>
                    <a:cubicBezTo>
                      <a:pt x="1204" y="863"/>
                      <a:pt x="1200" y="844"/>
                      <a:pt x="1187" y="827"/>
                    </a:cubicBezTo>
                    <a:cubicBezTo>
                      <a:pt x="1173" y="809"/>
                      <a:pt x="1148" y="822"/>
                      <a:pt x="1148" y="822"/>
                    </a:cubicBezTo>
                    <a:close/>
                    <a:moveTo>
                      <a:pt x="1312" y="751"/>
                    </a:moveTo>
                    <a:cubicBezTo>
                      <a:pt x="1293" y="767"/>
                      <a:pt x="1293" y="767"/>
                      <a:pt x="1293" y="767"/>
                    </a:cubicBezTo>
                    <a:cubicBezTo>
                      <a:pt x="1293" y="767"/>
                      <a:pt x="1282" y="755"/>
                      <a:pt x="1271" y="756"/>
                    </a:cubicBezTo>
                    <a:cubicBezTo>
                      <a:pt x="1261" y="758"/>
                      <a:pt x="1249" y="771"/>
                      <a:pt x="1249" y="771"/>
                    </a:cubicBezTo>
                    <a:cubicBezTo>
                      <a:pt x="1249" y="771"/>
                      <a:pt x="1239" y="745"/>
                      <a:pt x="1221" y="748"/>
                    </a:cubicBezTo>
                    <a:cubicBezTo>
                      <a:pt x="1204" y="751"/>
                      <a:pt x="1182" y="777"/>
                      <a:pt x="1182" y="777"/>
                    </a:cubicBezTo>
                    <a:cubicBezTo>
                      <a:pt x="1158" y="775"/>
                      <a:pt x="1158" y="775"/>
                      <a:pt x="1158" y="775"/>
                    </a:cubicBezTo>
                    <a:cubicBezTo>
                      <a:pt x="1151" y="787"/>
                      <a:pt x="1151" y="787"/>
                      <a:pt x="1151" y="787"/>
                    </a:cubicBezTo>
                    <a:cubicBezTo>
                      <a:pt x="1167" y="784"/>
                      <a:pt x="1167" y="784"/>
                      <a:pt x="1167" y="784"/>
                    </a:cubicBezTo>
                    <a:cubicBezTo>
                      <a:pt x="1167" y="784"/>
                      <a:pt x="1179" y="790"/>
                      <a:pt x="1191" y="795"/>
                    </a:cubicBezTo>
                    <a:cubicBezTo>
                      <a:pt x="1202" y="799"/>
                      <a:pt x="1214" y="781"/>
                      <a:pt x="1214" y="781"/>
                    </a:cubicBezTo>
                    <a:cubicBezTo>
                      <a:pt x="1276" y="780"/>
                      <a:pt x="1276" y="780"/>
                      <a:pt x="1276" y="780"/>
                    </a:cubicBezTo>
                    <a:cubicBezTo>
                      <a:pt x="1308" y="775"/>
                      <a:pt x="1308" y="775"/>
                      <a:pt x="1308" y="775"/>
                    </a:cubicBezTo>
                    <a:cubicBezTo>
                      <a:pt x="1334" y="752"/>
                      <a:pt x="1334" y="752"/>
                      <a:pt x="1334" y="752"/>
                    </a:cubicBezTo>
                    <a:cubicBezTo>
                      <a:pt x="1333" y="742"/>
                      <a:pt x="1333" y="742"/>
                      <a:pt x="1333" y="742"/>
                    </a:cubicBezTo>
                    <a:lnTo>
                      <a:pt x="1312" y="751"/>
                    </a:lnTo>
                    <a:close/>
                    <a:moveTo>
                      <a:pt x="1056" y="774"/>
                    </a:moveTo>
                    <a:cubicBezTo>
                      <a:pt x="1056" y="774"/>
                      <a:pt x="1042" y="759"/>
                      <a:pt x="1034" y="761"/>
                    </a:cubicBezTo>
                    <a:cubicBezTo>
                      <a:pt x="1025" y="762"/>
                      <a:pt x="1006" y="791"/>
                      <a:pt x="1006" y="791"/>
                    </a:cubicBezTo>
                    <a:cubicBezTo>
                      <a:pt x="1041" y="796"/>
                      <a:pt x="1041" y="796"/>
                      <a:pt x="1041" y="796"/>
                    </a:cubicBezTo>
                    <a:cubicBezTo>
                      <a:pt x="1042" y="810"/>
                      <a:pt x="1042" y="810"/>
                      <a:pt x="1042" y="810"/>
                    </a:cubicBezTo>
                    <a:cubicBezTo>
                      <a:pt x="1057" y="808"/>
                      <a:pt x="1057" y="808"/>
                      <a:pt x="1057" y="808"/>
                    </a:cubicBezTo>
                    <a:cubicBezTo>
                      <a:pt x="1063" y="794"/>
                      <a:pt x="1063" y="794"/>
                      <a:pt x="1063" y="794"/>
                    </a:cubicBezTo>
                    <a:cubicBezTo>
                      <a:pt x="1082" y="805"/>
                      <a:pt x="1082" y="805"/>
                      <a:pt x="1082" y="805"/>
                    </a:cubicBezTo>
                    <a:cubicBezTo>
                      <a:pt x="1101" y="783"/>
                      <a:pt x="1101" y="783"/>
                      <a:pt x="1101" y="783"/>
                    </a:cubicBezTo>
                    <a:cubicBezTo>
                      <a:pt x="1067" y="771"/>
                      <a:pt x="1067" y="771"/>
                      <a:pt x="1067" y="771"/>
                    </a:cubicBezTo>
                    <a:lnTo>
                      <a:pt x="1056" y="77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Freeform 337">
                <a:extLst>
                  <a:ext uri="{FF2B5EF4-FFF2-40B4-BE49-F238E27FC236}">
                    <a16:creationId xmlns:a16="http://schemas.microsoft.com/office/drawing/2014/main" id="{803BBDE0-157A-398A-B2F9-81D20AA423C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0263" y="-5628"/>
                <a:ext cx="2011" cy="1549"/>
              </a:xfrm>
              <a:custGeom>
                <a:avLst/>
                <a:gdLst>
                  <a:gd name="T0" fmla="*/ 489 w 851"/>
                  <a:gd name="T1" fmla="*/ 375 h 656"/>
                  <a:gd name="T2" fmla="*/ 477 w 851"/>
                  <a:gd name="T3" fmla="*/ 361 h 656"/>
                  <a:gd name="T4" fmla="*/ 456 w 851"/>
                  <a:gd name="T5" fmla="*/ 351 h 656"/>
                  <a:gd name="T6" fmla="*/ 425 w 851"/>
                  <a:gd name="T7" fmla="*/ 380 h 656"/>
                  <a:gd name="T8" fmla="*/ 360 w 851"/>
                  <a:gd name="T9" fmla="*/ 432 h 656"/>
                  <a:gd name="T10" fmla="*/ 261 w 851"/>
                  <a:gd name="T11" fmla="*/ 484 h 656"/>
                  <a:gd name="T12" fmla="*/ 177 w 851"/>
                  <a:gd name="T13" fmla="*/ 513 h 656"/>
                  <a:gd name="T14" fmla="*/ 112 w 851"/>
                  <a:gd name="T15" fmla="*/ 564 h 656"/>
                  <a:gd name="T16" fmla="*/ 56 w 851"/>
                  <a:gd name="T17" fmla="*/ 583 h 656"/>
                  <a:gd name="T18" fmla="*/ 0 w 851"/>
                  <a:gd name="T19" fmla="*/ 608 h 656"/>
                  <a:gd name="T20" fmla="*/ 12 w 851"/>
                  <a:gd name="T21" fmla="*/ 629 h 656"/>
                  <a:gd name="T22" fmla="*/ 47 w 851"/>
                  <a:gd name="T23" fmla="*/ 631 h 656"/>
                  <a:gd name="T24" fmla="*/ 65 w 851"/>
                  <a:gd name="T25" fmla="*/ 637 h 656"/>
                  <a:gd name="T26" fmla="*/ 96 w 851"/>
                  <a:gd name="T27" fmla="*/ 648 h 656"/>
                  <a:gd name="T28" fmla="*/ 152 w 851"/>
                  <a:gd name="T29" fmla="*/ 653 h 656"/>
                  <a:gd name="T30" fmla="*/ 215 w 851"/>
                  <a:gd name="T31" fmla="*/ 620 h 656"/>
                  <a:gd name="T32" fmla="*/ 265 w 851"/>
                  <a:gd name="T33" fmla="*/ 574 h 656"/>
                  <a:gd name="T34" fmla="*/ 279 w 851"/>
                  <a:gd name="T35" fmla="*/ 557 h 656"/>
                  <a:gd name="T36" fmla="*/ 306 w 851"/>
                  <a:gd name="T37" fmla="*/ 517 h 656"/>
                  <a:gd name="T38" fmla="*/ 343 w 851"/>
                  <a:gd name="T39" fmla="*/ 510 h 656"/>
                  <a:gd name="T40" fmla="*/ 388 w 851"/>
                  <a:gd name="T41" fmla="*/ 503 h 656"/>
                  <a:gd name="T42" fmla="*/ 395 w 851"/>
                  <a:gd name="T43" fmla="*/ 480 h 656"/>
                  <a:gd name="T44" fmla="*/ 430 w 851"/>
                  <a:gd name="T45" fmla="*/ 456 h 656"/>
                  <a:gd name="T46" fmla="*/ 468 w 851"/>
                  <a:gd name="T47" fmla="*/ 430 h 656"/>
                  <a:gd name="T48" fmla="*/ 518 w 851"/>
                  <a:gd name="T49" fmla="*/ 389 h 656"/>
                  <a:gd name="T50" fmla="*/ 498 w 851"/>
                  <a:gd name="T51" fmla="*/ 375 h 656"/>
                  <a:gd name="T52" fmla="*/ 841 w 851"/>
                  <a:gd name="T53" fmla="*/ 205 h 656"/>
                  <a:gd name="T54" fmla="*/ 821 w 851"/>
                  <a:gd name="T55" fmla="*/ 186 h 656"/>
                  <a:gd name="T56" fmla="*/ 768 w 851"/>
                  <a:gd name="T57" fmla="*/ 192 h 656"/>
                  <a:gd name="T58" fmla="*/ 777 w 851"/>
                  <a:gd name="T59" fmla="*/ 120 h 656"/>
                  <a:gd name="T60" fmla="*/ 756 w 851"/>
                  <a:gd name="T61" fmla="*/ 129 h 656"/>
                  <a:gd name="T62" fmla="*/ 740 w 851"/>
                  <a:gd name="T63" fmla="*/ 126 h 656"/>
                  <a:gd name="T64" fmla="*/ 750 w 851"/>
                  <a:gd name="T65" fmla="*/ 62 h 656"/>
                  <a:gd name="T66" fmla="*/ 720 w 851"/>
                  <a:gd name="T67" fmla="*/ 27 h 656"/>
                  <a:gd name="T68" fmla="*/ 692 w 851"/>
                  <a:gd name="T69" fmla="*/ 11 h 656"/>
                  <a:gd name="T70" fmla="*/ 679 w 851"/>
                  <a:gd name="T71" fmla="*/ 12 h 656"/>
                  <a:gd name="T72" fmla="*/ 686 w 851"/>
                  <a:gd name="T73" fmla="*/ 60 h 656"/>
                  <a:gd name="T74" fmla="*/ 692 w 851"/>
                  <a:gd name="T75" fmla="*/ 70 h 656"/>
                  <a:gd name="T76" fmla="*/ 712 w 851"/>
                  <a:gd name="T77" fmla="*/ 89 h 656"/>
                  <a:gd name="T78" fmla="*/ 705 w 851"/>
                  <a:gd name="T79" fmla="*/ 102 h 656"/>
                  <a:gd name="T80" fmla="*/ 715 w 851"/>
                  <a:gd name="T81" fmla="*/ 136 h 656"/>
                  <a:gd name="T82" fmla="*/ 694 w 851"/>
                  <a:gd name="T83" fmla="*/ 148 h 656"/>
                  <a:gd name="T84" fmla="*/ 682 w 851"/>
                  <a:gd name="T85" fmla="*/ 185 h 656"/>
                  <a:gd name="T86" fmla="*/ 656 w 851"/>
                  <a:gd name="T87" fmla="*/ 209 h 656"/>
                  <a:gd name="T88" fmla="*/ 578 w 851"/>
                  <a:gd name="T89" fmla="*/ 255 h 656"/>
                  <a:gd name="T90" fmla="*/ 609 w 851"/>
                  <a:gd name="T91" fmla="*/ 302 h 656"/>
                  <a:gd name="T92" fmla="*/ 576 w 851"/>
                  <a:gd name="T93" fmla="*/ 359 h 656"/>
                  <a:gd name="T94" fmla="*/ 557 w 851"/>
                  <a:gd name="T95" fmla="*/ 381 h 656"/>
                  <a:gd name="T96" fmla="*/ 644 w 851"/>
                  <a:gd name="T97" fmla="*/ 340 h 656"/>
                  <a:gd name="T98" fmla="*/ 697 w 851"/>
                  <a:gd name="T99" fmla="*/ 308 h 656"/>
                  <a:gd name="T100" fmla="*/ 715 w 851"/>
                  <a:gd name="T101" fmla="*/ 277 h 656"/>
                  <a:gd name="T102" fmla="*/ 774 w 851"/>
                  <a:gd name="T103" fmla="*/ 266 h 656"/>
                  <a:gd name="T104" fmla="*/ 805 w 851"/>
                  <a:gd name="T105" fmla="*/ 236 h 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51" h="656">
                    <a:moveTo>
                      <a:pt x="498" y="375"/>
                    </a:moveTo>
                    <a:cubicBezTo>
                      <a:pt x="489" y="375"/>
                      <a:pt x="489" y="375"/>
                      <a:pt x="489" y="375"/>
                    </a:cubicBezTo>
                    <a:cubicBezTo>
                      <a:pt x="495" y="350"/>
                      <a:pt x="495" y="350"/>
                      <a:pt x="495" y="350"/>
                    </a:cubicBezTo>
                    <a:cubicBezTo>
                      <a:pt x="477" y="361"/>
                      <a:pt x="477" y="361"/>
                      <a:pt x="477" y="361"/>
                    </a:cubicBezTo>
                    <a:cubicBezTo>
                      <a:pt x="477" y="361"/>
                      <a:pt x="490" y="335"/>
                      <a:pt x="478" y="335"/>
                    </a:cubicBezTo>
                    <a:cubicBezTo>
                      <a:pt x="466" y="334"/>
                      <a:pt x="456" y="351"/>
                      <a:pt x="456" y="351"/>
                    </a:cubicBezTo>
                    <a:cubicBezTo>
                      <a:pt x="445" y="358"/>
                      <a:pt x="445" y="358"/>
                      <a:pt x="445" y="358"/>
                    </a:cubicBezTo>
                    <a:cubicBezTo>
                      <a:pt x="445" y="358"/>
                      <a:pt x="434" y="369"/>
                      <a:pt x="425" y="380"/>
                    </a:cubicBezTo>
                    <a:cubicBezTo>
                      <a:pt x="417" y="391"/>
                      <a:pt x="396" y="393"/>
                      <a:pt x="381" y="403"/>
                    </a:cubicBezTo>
                    <a:cubicBezTo>
                      <a:pt x="366" y="414"/>
                      <a:pt x="360" y="432"/>
                      <a:pt x="360" y="432"/>
                    </a:cubicBezTo>
                    <a:cubicBezTo>
                      <a:pt x="360" y="432"/>
                      <a:pt x="313" y="446"/>
                      <a:pt x="300" y="455"/>
                    </a:cubicBezTo>
                    <a:cubicBezTo>
                      <a:pt x="285" y="464"/>
                      <a:pt x="261" y="484"/>
                      <a:pt x="261" y="484"/>
                    </a:cubicBezTo>
                    <a:cubicBezTo>
                      <a:pt x="261" y="484"/>
                      <a:pt x="234" y="488"/>
                      <a:pt x="217" y="495"/>
                    </a:cubicBezTo>
                    <a:cubicBezTo>
                      <a:pt x="201" y="503"/>
                      <a:pt x="192" y="505"/>
                      <a:pt x="177" y="513"/>
                    </a:cubicBezTo>
                    <a:cubicBezTo>
                      <a:pt x="161" y="522"/>
                      <a:pt x="131" y="533"/>
                      <a:pt x="119" y="539"/>
                    </a:cubicBezTo>
                    <a:cubicBezTo>
                      <a:pt x="106" y="545"/>
                      <a:pt x="112" y="564"/>
                      <a:pt x="112" y="564"/>
                    </a:cubicBezTo>
                    <a:cubicBezTo>
                      <a:pt x="102" y="555"/>
                      <a:pt x="102" y="555"/>
                      <a:pt x="102" y="555"/>
                    </a:cubicBezTo>
                    <a:cubicBezTo>
                      <a:pt x="102" y="555"/>
                      <a:pt x="67" y="577"/>
                      <a:pt x="56" y="583"/>
                    </a:cubicBezTo>
                    <a:cubicBezTo>
                      <a:pt x="44" y="590"/>
                      <a:pt x="39" y="587"/>
                      <a:pt x="23" y="593"/>
                    </a:cubicBezTo>
                    <a:cubicBezTo>
                      <a:pt x="7" y="599"/>
                      <a:pt x="0" y="608"/>
                      <a:pt x="0" y="608"/>
                    </a:cubicBezTo>
                    <a:cubicBezTo>
                      <a:pt x="0" y="608"/>
                      <a:pt x="20" y="607"/>
                      <a:pt x="18" y="611"/>
                    </a:cubicBezTo>
                    <a:cubicBezTo>
                      <a:pt x="16" y="615"/>
                      <a:pt x="8" y="620"/>
                      <a:pt x="12" y="629"/>
                    </a:cubicBezTo>
                    <a:cubicBezTo>
                      <a:pt x="17" y="638"/>
                      <a:pt x="40" y="624"/>
                      <a:pt x="40" y="624"/>
                    </a:cubicBezTo>
                    <a:cubicBezTo>
                      <a:pt x="47" y="631"/>
                      <a:pt x="47" y="631"/>
                      <a:pt x="47" y="631"/>
                    </a:cubicBezTo>
                    <a:cubicBezTo>
                      <a:pt x="63" y="631"/>
                      <a:pt x="63" y="631"/>
                      <a:pt x="63" y="631"/>
                    </a:cubicBezTo>
                    <a:cubicBezTo>
                      <a:pt x="65" y="637"/>
                      <a:pt x="65" y="637"/>
                      <a:pt x="65" y="637"/>
                    </a:cubicBezTo>
                    <a:cubicBezTo>
                      <a:pt x="87" y="634"/>
                      <a:pt x="87" y="634"/>
                      <a:pt x="87" y="634"/>
                    </a:cubicBezTo>
                    <a:cubicBezTo>
                      <a:pt x="96" y="648"/>
                      <a:pt x="96" y="648"/>
                      <a:pt x="96" y="648"/>
                    </a:cubicBezTo>
                    <a:cubicBezTo>
                      <a:pt x="118" y="645"/>
                      <a:pt x="118" y="645"/>
                      <a:pt x="118" y="645"/>
                    </a:cubicBezTo>
                    <a:cubicBezTo>
                      <a:pt x="118" y="645"/>
                      <a:pt x="136" y="656"/>
                      <a:pt x="152" y="653"/>
                    </a:cubicBezTo>
                    <a:cubicBezTo>
                      <a:pt x="167" y="650"/>
                      <a:pt x="172" y="634"/>
                      <a:pt x="182" y="627"/>
                    </a:cubicBezTo>
                    <a:cubicBezTo>
                      <a:pt x="192" y="620"/>
                      <a:pt x="200" y="630"/>
                      <a:pt x="215" y="620"/>
                    </a:cubicBezTo>
                    <a:cubicBezTo>
                      <a:pt x="230" y="610"/>
                      <a:pt x="220" y="597"/>
                      <a:pt x="232" y="586"/>
                    </a:cubicBezTo>
                    <a:cubicBezTo>
                      <a:pt x="243" y="574"/>
                      <a:pt x="257" y="582"/>
                      <a:pt x="265" y="574"/>
                    </a:cubicBezTo>
                    <a:cubicBezTo>
                      <a:pt x="273" y="567"/>
                      <a:pt x="265" y="558"/>
                      <a:pt x="265" y="558"/>
                    </a:cubicBezTo>
                    <a:cubicBezTo>
                      <a:pt x="279" y="557"/>
                      <a:pt x="279" y="557"/>
                      <a:pt x="279" y="557"/>
                    </a:cubicBezTo>
                    <a:cubicBezTo>
                      <a:pt x="318" y="527"/>
                      <a:pt x="318" y="527"/>
                      <a:pt x="318" y="527"/>
                    </a:cubicBezTo>
                    <a:cubicBezTo>
                      <a:pt x="306" y="517"/>
                      <a:pt x="306" y="517"/>
                      <a:pt x="306" y="517"/>
                    </a:cubicBezTo>
                    <a:cubicBezTo>
                      <a:pt x="333" y="527"/>
                      <a:pt x="333" y="527"/>
                      <a:pt x="333" y="527"/>
                    </a:cubicBezTo>
                    <a:cubicBezTo>
                      <a:pt x="333" y="527"/>
                      <a:pt x="334" y="511"/>
                      <a:pt x="343" y="510"/>
                    </a:cubicBezTo>
                    <a:cubicBezTo>
                      <a:pt x="352" y="509"/>
                      <a:pt x="360" y="517"/>
                      <a:pt x="372" y="520"/>
                    </a:cubicBezTo>
                    <a:cubicBezTo>
                      <a:pt x="383" y="522"/>
                      <a:pt x="388" y="503"/>
                      <a:pt x="388" y="503"/>
                    </a:cubicBezTo>
                    <a:cubicBezTo>
                      <a:pt x="378" y="495"/>
                      <a:pt x="378" y="495"/>
                      <a:pt x="378" y="495"/>
                    </a:cubicBezTo>
                    <a:cubicBezTo>
                      <a:pt x="395" y="480"/>
                      <a:pt x="395" y="480"/>
                      <a:pt x="395" y="480"/>
                    </a:cubicBezTo>
                    <a:cubicBezTo>
                      <a:pt x="407" y="466"/>
                      <a:pt x="407" y="466"/>
                      <a:pt x="407" y="466"/>
                    </a:cubicBezTo>
                    <a:cubicBezTo>
                      <a:pt x="407" y="466"/>
                      <a:pt x="418" y="459"/>
                      <a:pt x="430" y="456"/>
                    </a:cubicBezTo>
                    <a:cubicBezTo>
                      <a:pt x="442" y="453"/>
                      <a:pt x="447" y="436"/>
                      <a:pt x="447" y="436"/>
                    </a:cubicBezTo>
                    <a:cubicBezTo>
                      <a:pt x="447" y="436"/>
                      <a:pt x="458" y="434"/>
                      <a:pt x="468" y="430"/>
                    </a:cubicBezTo>
                    <a:cubicBezTo>
                      <a:pt x="479" y="426"/>
                      <a:pt x="488" y="408"/>
                      <a:pt x="488" y="408"/>
                    </a:cubicBezTo>
                    <a:cubicBezTo>
                      <a:pt x="488" y="408"/>
                      <a:pt x="508" y="401"/>
                      <a:pt x="518" y="389"/>
                    </a:cubicBezTo>
                    <a:cubicBezTo>
                      <a:pt x="529" y="376"/>
                      <a:pt x="516" y="353"/>
                      <a:pt x="516" y="353"/>
                    </a:cubicBezTo>
                    <a:lnTo>
                      <a:pt x="498" y="375"/>
                    </a:lnTo>
                    <a:close/>
                    <a:moveTo>
                      <a:pt x="815" y="215"/>
                    </a:moveTo>
                    <a:cubicBezTo>
                      <a:pt x="823" y="210"/>
                      <a:pt x="831" y="213"/>
                      <a:pt x="841" y="205"/>
                    </a:cubicBezTo>
                    <a:cubicBezTo>
                      <a:pt x="851" y="197"/>
                      <a:pt x="847" y="183"/>
                      <a:pt x="839" y="176"/>
                    </a:cubicBezTo>
                    <a:cubicBezTo>
                      <a:pt x="831" y="168"/>
                      <a:pt x="821" y="186"/>
                      <a:pt x="821" y="186"/>
                    </a:cubicBezTo>
                    <a:cubicBezTo>
                      <a:pt x="821" y="186"/>
                      <a:pt x="815" y="186"/>
                      <a:pt x="806" y="184"/>
                    </a:cubicBezTo>
                    <a:cubicBezTo>
                      <a:pt x="798" y="181"/>
                      <a:pt x="780" y="195"/>
                      <a:pt x="768" y="192"/>
                    </a:cubicBezTo>
                    <a:cubicBezTo>
                      <a:pt x="756" y="189"/>
                      <a:pt x="761" y="145"/>
                      <a:pt x="761" y="145"/>
                    </a:cubicBezTo>
                    <a:cubicBezTo>
                      <a:pt x="777" y="120"/>
                      <a:pt x="777" y="120"/>
                      <a:pt x="777" y="120"/>
                    </a:cubicBezTo>
                    <a:cubicBezTo>
                      <a:pt x="777" y="120"/>
                      <a:pt x="777" y="102"/>
                      <a:pt x="767" y="103"/>
                    </a:cubicBezTo>
                    <a:cubicBezTo>
                      <a:pt x="756" y="103"/>
                      <a:pt x="756" y="119"/>
                      <a:pt x="756" y="129"/>
                    </a:cubicBezTo>
                    <a:cubicBezTo>
                      <a:pt x="755" y="138"/>
                      <a:pt x="743" y="146"/>
                      <a:pt x="743" y="146"/>
                    </a:cubicBezTo>
                    <a:cubicBezTo>
                      <a:pt x="740" y="126"/>
                      <a:pt x="740" y="126"/>
                      <a:pt x="740" y="126"/>
                    </a:cubicBezTo>
                    <a:cubicBezTo>
                      <a:pt x="726" y="113"/>
                      <a:pt x="726" y="113"/>
                      <a:pt x="726" y="113"/>
                    </a:cubicBezTo>
                    <a:cubicBezTo>
                      <a:pt x="726" y="113"/>
                      <a:pt x="750" y="82"/>
                      <a:pt x="750" y="62"/>
                    </a:cubicBezTo>
                    <a:cubicBezTo>
                      <a:pt x="751" y="42"/>
                      <a:pt x="717" y="41"/>
                      <a:pt x="717" y="41"/>
                    </a:cubicBezTo>
                    <a:cubicBezTo>
                      <a:pt x="720" y="27"/>
                      <a:pt x="720" y="27"/>
                      <a:pt x="720" y="27"/>
                    </a:cubicBezTo>
                    <a:cubicBezTo>
                      <a:pt x="707" y="25"/>
                      <a:pt x="707" y="25"/>
                      <a:pt x="707" y="25"/>
                    </a:cubicBezTo>
                    <a:cubicBezTo>
                      <a:pt x="692" y="11"/>
                      <a:pt x="692" y="11"/>
                      <a:pt x="692" y="11"/>
                    </a:cubicBezTo>
                    <a:cubicBezTo>
                      <a:pt x="699" y="0"/>
                      <a:pt x="699" y="0"/>
                      <a:pt x="699" y="0"/>
                    </a:cubicBezTo>
                    <a:cubicBezTo>
                      <a:pt x="679" y="12"/>
                      <a:pt x="679" y="12"/>
                      <a:pt x="679" y="12"/>
                    </a:cubicBezTo>
                    <a:cubicBezTo>
                      <a:pt x="692" y="35"/>
                      <a:pt x="692" y="35"/>
                      <a:pt x="692" y="35"/>
                    </a:cubicBezTo>
                    <a:cubicBezTo>
                      <a:pt x="686" y="60"/>
                      <a:pt x="686" y="60"/>
                      <a:pt x="686" y="60"/>
                    </a:cubicBezTo>
                    <a:cubicBezTo>
                      <a:pt x="701" y="66"/>
                      <a:pt x="701" y="66"/>
                      <a:pt x="701" y="66"/>
                    </a:cubicBezTo>
                    <a:cubicBezTo>
                      <a:pt x="692" y="70"/>
                      <a:pt x="692" y="70"/>
                      <a:pt x="692" y="70"/>
                    </a:cubicBezTo>
                    <a:cubicBezTo>
                      <a:pt x="696" y="84"/>
                      <a:pt x="696" y="84"/>
                      <a:pt x="696" y="84"/>
                    </a:cubicBezTo>
                    <a:cubicBezTo>
                      <a:pt x="712" y="89"/>
                      <a:pt x="712" y="89"/>
                      <a:pt x="712" y="89"/>
                    </a:cubicBezTo>
                    <a:cubicBezTo>
                      <a:pt x="696" y="97"/>
                      <a:pt x="696" y="97"/>
                      <a:pt x="696" y="97"/>
                    </a:cubicBezTo>
                    <a:cubicBezTo>
                      <a:pt x="705" y="102"/>
                      <a:pt x="705" y="102"/>
                      <a:pt x="705" y="102"/>
                    </a:cubicBezTo>
                    <a:cubicBezTo>
                      <a:pt x="705" y="102"/>
                      <a:pt x="702" y="116"/>
                      <a:pt x="702" y="122"/>
                    </a:cubicBezTo>
                    <a:cubicBezTo>
                      <a:pt x="702" y="129"/>
                      <a:pt x="715" y="136"/>
                      <a:pt x="715" y="136"/>
                    </a:cubicBezTo>
                    <a:cubicBezTo>
                      <a:pt x="702" y="138"/>
                      <a:pt x="702" y="138"/>
                      <a:pt x="702" y="138"/>
                    </a:cubicBezTo>
                    <a:cubicBezTo>
                      <a:pt x="694" y="148"/>
                      <a:pt x="694" y="148"/>
                      <a:pt x="694" y="148"/>
                    </a:cubicBezTo>
                    <a:cubicBezTo>
                      <a:pt x="705" y="154"/>
                      <a:pt x="705" y="154"/>
                      <a:pt x="705" y="154"/>
                    </a:cubicBezTo>
                    <a:cubicBezTo>
                      <a:pt x="705" y="154"/>
                      <a:pt x="684" y="174"/>
                      <a:pt x="682" y="185"/>
                    </a:cubicBezTo>
                    <a:cubicBezTo>
                      <a:pt x="681" y="196"/>
                      <a:pt x="691" y="199"/>
                      <a:pt x="691" y="199"/>
                    </a:cubicBezTo>
                    <a:cubicBezTo>
                      <a:pt x="691" y="199"/>
                      <a:pt x="669" y="203"/>
                      <a:pt x="656" y="209"/>
                    </a:cubicBezTo>
                    <a:cubicBezTo>
                      <a:pt x="643" y="214"/>
                      <a:pt x="646" y="217"/>
                      <a:pt x="630" y="229"/>
                    </a:cubicBezTo>
                    <a:cubicBezTo>
                      <a:pt x="613" y="242"/>
                      <a:pt x="599" y="243"/>
                      <a:pt x="578" y="255"/>
                    </a:cubicBezTo>
                    <a:cubicBezTo>
                      <a:pt x="557" y="268"/>
                      <a:pt x="576" y="302"/>
                      <a:pt x="576" y="302"/>
                    </a:cubicBezTo>
                    <a:cubicBezTo>
                      <a:pt x="576" y="302"/>
                      <a:pt x="599" y="300"/>
                      <a:pt x="609" y="302"/>
                    </a:cubicBezTo>
                    <a:cubicBezTo>
                      <a:pt x="619" y="304"/>
                      <a:pt x="609" y="323"/>
                      <a:pt x="609" y="338"/>
                    </a:cubicBezTo>
                    <a:cubicBezTo>
                      <a:pt x="610" y="354"/>
                      <a:pt x="593" y="353"/>
                      <a:pt x="576" y="359"/>
                    </a:cubicBezTo>
                    <a:cubicBezTo>
                      <a:pt x="559" y="365"/>
                      <a:pt x="567" y="370"/>
                      <a:pt x="567" y="370"/>
                    </a:cubicBezTo>
                    <a:cubicBezTo>
                      <a:pt x="557" y="381"/>
                      <a:pt x="557" y="381"/>
                      <a:pt x="557" y="381"/>
                    </a:cubicBezTo>
                    <a:cubicBezTo>
                      <a:pt x="557" y="381"/>
                      <a:pt x="575" y="394"/>
                      <a:pt x="589" y="390"/>
                    </a:cubicBezTo>
                    <a:cubicBezTo>
                      <a:pt x="602" y="385"/>
                      <a:pt x="633" y="351"/>
                      <a:pt x="644" y="340"/>
                    </a:cubicBezTo>
                    <a:cubicBezTo>
                      <a:pt x="655" y="329"/>
                      <a:pt x="682" y="321"/>
                      <a:pt x="687" y="321"/>
                    </a:cubicBezTo>
                    <a:cubicBezTo>
                      <a:pt x="692" y="320"/>
                      <a:pt x="697" y="308"/>
                      <a:pt x="697" y="308"/>
                    </a:cubicBezTo>
                    <a:cubicBezTo>
                      <a:pt x="697" y="308"/>
                      <a:pt x="704" y="305"/>
                      <a:pt x="715" y="301"/>
                    </a:cubicBezTo>
                    <a:cubicBezTo>
                      <a:pt x="726" y="296"/>
                      <a:pt x="715" y="277"/>
                      <a:pt x="715" y="277"/>
                    </a:cubicBezTo>
                    <a:cubicBezTo>
                      <a:pt x="715" y="277"/>
                      <a:pt x="725" y="269"/>
                      <a:pt x="738" y="263"/>
                    </a:cubicBezTo>
                    <a:cubicBezTo>
                      <a:pt x="752" y="257"/>
                      <a:pt x="762" y="269"/>
                      <a:pt x="774" y="266"/>
                    </a:cubicBezTo>
                    <a:cubicBezTo>
                      <a:pt x="786" y="264"/>
                      <a:pt x="782" y="240"/>
                      <a:pt x="782" y="240"/>
                    </a:cubicBezTo>
                    <a:cubicBezTo>
                      <a:pt x="782" y="240"/>
                      <a:pt x="793" y="237"/>
                      <a:pt x="805" y="236"/>
                    </a:cubicBezTo>
                    <a:cubicBezTo>
                      <a:pt x="816" y="235"/>
                      <a:pt x="808" y="221"/>
                      <a:pt x="815" y="215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Freeform 338">
                <a:extLst>
                  <a:ext uri="{FF2B5EF4-FFF2-40B4-BE49-F238E27FC236}">
                    <a16:creationId xmlns:a16="http://schemas.microsoft.com/office/drawing/2014/main" id="{8C313E64-CBFE-F998-8299-A295E171F7E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728" y="-8631"/>
                <a:ext cx="4483" cy="4191"/>
              </a:xfrm>
              <a:custGeom>
                <a:avLst/>
                <a:gdLst>
                  <a:gd name="T0" fmla="*/ 971 w 1898"/>
                  <a:gd name="T1" fmla="*/ 1367 h 1774"/>
                  <a:gd name="T2" fmla="*/ 1008 w 1898"/>
                  <a:gd name="T3" fmla="*/ 1349 h 1774"/>
                  <a:gd name="T4" fmla="*/ 1830 w 1898"/>
                  <a:gd name="T5" fmla="*/ 698 h 1774"/>
                  <a:gd name="T6" fmla="*/ 1797 w 1898"/>
                  <a:gd name="T7" fmla="*/ 622 h 1774"/>
                  <a:gd name="T8" fmla="*/ 1707 w 1898"/>
                  <a:gd name="T9" fmla="*/ 471 h 1774"/>
                  <a:gd name="T10" fmla="*/ 1649 w 1898"/>
                  <a:gd name="T11" fmla="*/ 192 h 1774"/>
                  <a:gd name="T12" fmla="*/ 1596 w 1898"/>
                  <a:gd name="T13" fmla="*/ 64 h 1774"/>
                  <a:gd name="T14" fmla="*/ 1541 w 1898"/>
                  <a:gd name="T15" fmla="*/ 18 h 1774"/>
                  <a:gd name="T16" fmla="*/ 1494 w 1898"/>
                  <a:gd name="T17" fmla="*/ 189 h 1774"/>
                  <a:gd name="T18" fmla="*/ 1283 w 1898"/>
                  <a:gd name="T19" fmla="*/ 306 h 1774"/>
                  <a:gd name="T20" fmla="*/ 1239 w 1898"/>
                  <a:gd name="T21" fmla="*/ 181 h 1774"/>
                  <a:gd name="T22" fmla="*/ 1269 w 1898"/>
                  <a:gd name="T23" fmla="*/ 69 h 1774"/>
                  <a:gd name="T24" fmla="*/ 1170 w 1898"/>
                  <a:gd name="T25" fmla="*/ 75 h 1774"/>
                  <a:gd name="T26" fmla="*/ 1050 w 1898"/>
                  <a:gd name="T27" fmla="*/ 42 h 1774"/>
                  <a:gd name="T28" fmla="*/ 1012 w 1898"/>
                  <a:gd name="T29" fmla="*/ 86 h 1774"/>
                  <a:gd name="T30" fmla="*/ 910 w 1898"/>
                  <a:gd name="T31" fmla="*/ 212 h 1774"/>
                  <a:gd name="T32" fmla="*/ 872 w 1898"/>
                  <a:gd name="T33" fmla="*/ 235 h 1774"/>
                  <a:gd name="T34" fmla="*/ 848 w 1898"/>
                  <a:gd name="T35" fmla="*/ 215 h 1774"/>
                  <a:gd name="T36" fmla="*/ 788 w 1898"/>
                  <a:gd name="T37" fmla="*/ 185 h 1774"/>
                  <a:gd name="T38" fmla="*/ 731 w 1898"/>
                  <a:gd name="T39" fmla="*/ 238 h 1774"/>
                  <a:gd name="T40" fmla="*/ 676 w 1898"/>
                  <a:gd name="T41" fmla="*/ 279 h 1774"/>
                  <a:gd name="T42" fmla="*/ 614 w 1898"/>
                  <a:gd name="T43" fmla="*/ 310 h 1774"/>
                  <a:gd name="T44" fmla="*/ 606 w 1898"/>
                  <a:gd name="T45" fmla="*/ 348 h 1774"/>
                  <a:gd name="T46" fmla="*/ 531 w 1898"/>
                  <a:gd name="T47" fmla="*/ 409 h 1774"/>
                  <a:gd name="T48" fmla="*/ 359 w 1898"/>
                  <a:gd name="T49" fmla="*/ 505 h 1774"/>
                  <a:gd name="T50" fmla="*/ 218 w 1898"/>
                  <a:gd name="T51" fmla="*/ 554 h 1774"/>
                  <a:gd name="T52" fmla="*/ 83 w 1898"/>
                  <a:gd name="T53" fmla="*/ 649 h 1774"/>
                  <a:gd name="T54" fmla="*/ 48 w 1898"/>
                  <a:gd name="T55" fmla="*/ 813 h 1774"/>
                  <a:gd name="T56" fmla="*/ 35 w 1898"/>
                  <a:gd name="T57" fmla="*/ 937 h 1774"/>
                  <a:gd name="T58" fmla="*/ 87 w 1898"/>
                  <a:gd name="T59" fmla="*/ 1141 h 1774"/>
                  <a:gd name="T60" fmla="*/ 56 w 1898"/>
                  <a:gd name="T61" fmla="*/ 1305 h 1774"/>
                  <a:gd name="T62" fmla="*/ 186 w 1898"/>
                  <a:gd name="T63" fmla="*/ 1285 h 1774"/>
                  <a:gd name="T64" fmla="*/ 384 w 1898"/>
                  <a:gd name="T65" fmla="*/ 1244 h 1774"/>
                  <a:gd name="T66" fmla="*/ 594 w 1898"/>
                  <a:gd name="T67" fmla="*/ 1153 h 1774"/>
                  <a:gd name="T68" fmla="*/ 896 w 1898"/>
                  <a:gd name="T69" fmla="*/ 1136 h 1774"/>
                  <a:gd name="T70" fmla="*/ 932 w 1898"/>
                  <a:gd name="T71" fmla="*/ 1225 h 1774"/>
                  <a:gd name="T72" fmla="*/ 962 w 1898"/>
                  <a:gd name="T73" fmla="*/ 1304 h 1774"/>
                  <a:gd name="T74" fmla="*/ 1060 w 1898"/>
                  <a:gd name="T75" fmla="*/ 1224 h 1774"/>
                  <a:gd name="T76" fmla="*/ 1083 w 1898"/>
                  <a:gd name="T77" fmla="*/ 1210 h 1774"/>
                  <a:gd name="T78" fmla="*/ 1011 w 1898"/>
                  <a:gd name="T79" fmla="*/ 1319 h 1774"/>
                  <a:gd name="T80" fmla="*/ 1072 w 1898"/>
                  <a:gd name="T81" fmla="*/ 1339 h 1774"/>
                  <a:gd name="T82" fmla="*/ 1118 w 1898"/>
                  <a:gd name="T83" fmla="*/ 1477 h 1774"/>
                  <a:gd name="T84" fmla="*/ 1319 w 1898"/>
                  <a:gd name="T85" fmla="*/ 1502 h 1774"/>
                  <a:gd name="T86" fmla="*/ 1360 w 1898"/>
                  <a:gd name="T87" fmla="*/ 1532 h 1774"/>
                  <a:gd name="T88" fmla="*/ 1533 w 1898"/>
                  <a:gd name="T89" fmla="*/ 1461 h 1774"/>
                  <a:gd name="T90" fmla="*/ 1641 w 1898"/>
                  <a:gd name="T91" fmla="*/ 1275 h 1774"/>
                  <a:gd name="T92" fmla="*/ 1874 w 1898"/>
                  <a:gd name="T93" fmla="*/ 952 h 1774"/>
                  <a:gd name="T94" fmla="*/ 1364 w 1898"/>
                  <a:gd name="T95" fmla="*/ 1612 h 1774"/>
                  <a:gd name="T96" fmla="*/ 1274 w 1898"/>
                  <a:gd name="T97" fmla="*/ 1651 h 1774"/>
                  <a:gd name="T98" fmla="*/ 1184 w 1898"/>
                  <a:gd name="T99" fmla="*/ 1616 h 1774"/>
                  <a:gd name="T100" fmla="*/ 1155 w 1898"/>
                  <a:gd name="T101" fmla="*/ 1713 h 1774"/>
                  <a:gd name="T102" fmla="*/ 1214 w 1898"/>
                  <a:gd name="T103" fmla="*/ 1769 h 1774"/>
                  <a:gd name="T104" fmla="*/ 1282 w 1898"/>
                  <a:gd name="T105" fmla="*/ 1706 h 1774"/>
                  <a:gd name="T106" fmla="*/ 1290 w 1898"/>
                  <a:gd name="T107" fmla="*/ 195 h 1774"/>
                  <a:gd name="T108" fmla="*/ 1209 w 1898"/>
                  <a:gd name="T109" fmla="*/ 1549 h 1774"/>
                  <a:gd name="T110" fmla="*/ 1357 w 1898"/>
                  <a:gd name="T111" fmla="*/ 1597 h 17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898" h="1774">
                    <a:moveTo>
                      <a:pt x="1024" y="43"/>
                    </a:moveTo>
                    <a:cubicBezTo>
                      <a:pt x="1014" y="29"/>
                      <a:pt x="990" y="54"/>
                      <a:pt x="999" y="65"/>
                    </a:cubicBezTo>
                    <a:cubicBezTo>
                      <a:pt x="1008" y="75"/>
                      <a:pt x="1024" y="43"/>
                      <a:pt x="1024" y="43"/>
                    </a:cubicBezTo>
                    <a:close/>
                    <a:moveTo>
                      <a:pt x="986" y="1341"/>
                    </a:moveTo>
                    <a:cubicBezTo>
                      <a:pt x="972" y="1343"/>
                      <a:pt x="954" y="1348"/>
                      <a:pt x="961" y="1354"/>
                    </a:cubicBezTo>
                    <a:cubicBezTo>
                      <a:pt x="968" y="1360"/>
                      <a:pt x="971" y="1367"/>
                      <a:pt x="971" y="1367"/>
                    </a:cubicBezTo>
                    <a:cubicBezTo>
                      <a:pt x="985" y="1367"/>
                      <a:pt x="999" y="1359"/>
                      <a:pt x="999" y="1359"/>
                    </a:cubicBezTo>
                    <a:cubicBezTo>
                      <a:pt x="1007" y="1359"/>
                      <a:pt x="1007" y="1359"/>
                      <a:pt x="1007" y="1359"/>
                    </a:cubicBezTo>
                    <a:cubicBezTo>
                      <a:pt x="1011" y="1356"/>
                      <a:pt x="1011" y="1356"/>
                      <a:pt x="1011" y="1356"/>
                    </a:cubicBezTo>
                    <a:cubicBezTo>
                      <a:pt x="1022" y="1356"/>
                      <a:pt x="1022" y="1356"/>
                      <a:pt x="1022" y="1356"/>
                    </a:cubicBezTo>
                    <a:cubicBezTo>
                      <a:pt x="1026" y="1351"/>
                      <a:pt x="1026" y="1351"/>
                      <a:pt x="1026" y="1351"/>
                    </a:cubicBezTo>
                    <a:cubicBezTo>
                      <a:pt x="1008" y="1349"/>
                      <a:pt x="1008" y="1349"/>
                      <a:pt x="1008" y="1349"/>
                    </a:cubicBezTo>
                    <a:cubicBezTo>
                      <a:pt x="1008" y="1349"/>
                      <a:pt x="1000" y="1340"/>
                      <a:pt x="986" y="1341"/>
                    </a:cubicBezTo>
                    <a:close/>
                    <a:moveTo>
                      <a:pt x="1869" y="774"/>
                    </a:moveTo>
                    <a:cubicBezTo>
                      <a:pt x="1869" y="774"/>
                      <a:pt x="1866" y="733"/>
                      <a:pt x="1865" y="727"/>
                    </a:cubicBezTo>
                    <a:cubicBezTo>
                      <a:pt x="1863" y="721"/>
                      <a:pt x="1843" y="720"/>
                      <a:pt x="1843" y="720"/>
                    </a:cubicBezTo>
                    <a:cubicBezTo>
                      <a:pt x="1843" y="706"/>
                      <a:pt x="1843" y="706"/>
                      <a:pt x="1843" y="706"/>
                    </a:cubicBezTo>
                    <a:cubicBezTo>
                      <a:pt x="1830" y="698"/>
                      <a:pt x="1830" y="698"/>
                      <a:pt x="1830" y="698"/>
                    </a:cubicBezTo>
                    <a:cubicBezTo>
                      <a:pt x="1830" y="698"/>
                      <a:pt x="1835" y="681"/>
                      <a:pt x="1830" y="674"/>
                    </a:cubicBezTo>
                    <a:cubicBezTo>
                      <a:pt x="1825" y="667"/>
                      <a:pt x="1805" y="660"/>
                      <a:pt x="1805" y="660"/>
                    </a:cubicBezTo>
                    <a:cubicBezTo>
                      <a:pt x="1805" y="660"/>
                      <a:pt x="1840" y="654"/>
                      <a:pt x="1842" y="641"/>
                    </a:cubicBezTo>
                    <a:cubicBezTo>
                      <a:pt x="1844" y="627"/>
                      <a:pt x="1822" y="623"/>
                      <a:pt x="1822" y="623"/>
                    </a:cubicBezTo>
                    <a:cubicBezTo>
                      <a:pt x="1822" y="623"/>
                      <a:pt x="1815" y="602"/>
                      <a:pt x="1804" y="603"/>
                    </a:cubicBezTo>
                    <a:cubicBezTo>
                      <a:pt x="1792" y="604"/>
                      <a:pt x="1797" y="622"/>
                      <a:pt x="1797" y="622"/>
                    </a:cubicBezTo>
                    <a:cubicBezTo>
                      <a:pt x="1783" y="619"/>
                      <a:pt x="1783" y="619"/>
                      <a:pt x="1783" y="619"/>
                    </a:cubicBezTo>
                    <a:cubicBezTo>
                      <a:pt x="1783" y="619"/>
                      <a:pt x="1796" y="578"/>
                      <a:pt x="1796" y="568"/>
                    </a:cubicBezTo>
                    <a:cubicBezTo>
                      <a:pt x="1795" y="559"/>
                      <a:pt x="1775" y="557"/>
                      <a:pt x="1771" y="547"/>
                    </a:cubicBezTo>
                    <a:cubicBezTo>
                      <a:pt x="1768" y="538"/>
                      <a:pt x="1781" y="521"/>
                      <a:pt x="1777" y="507"/>
                    </a:cubicBezTo>
                    <a:cubicBezTo>
                      <a:pt x="1773" y="494"/>
                      <a:pt x="1713" y="465"/>
                      <a:pt x="1713" y="465"/>
                    </a:cubicBezTo>
                    <a:cubicBezTo>
                      <a:pt x="1707" y="471"/>
                      <a:pt x="1707" y="471"/>
                      <a:pt x="1707" y="471"/>
                    </a:cubicBezTo>
                    <a:cubicBezTo>
                      <a:pt x="1707" y="471"/>
                      <a:pt x="1679" y="439"/>
                      <a:pt x="1677" y="417"/>
                    </a:cubicBezTo>
                    <a:cubicBezTo>
                      <a:pt x="1676" y="394"/>
                      <a:pt x="1685" y="381"/>
                      <a:pt x="1685" y="361"/>
                    </a:cubicBezTo>
                    <a:cubicBezTo>
                      <a:pt x="1685" y="341"/>
                      <a:pt x="1666" y="298"/>
                      <a:pt x="1662" y="282"/>
                    </a:cubicBezTo>
                    <a:cubicBezTo>
                      <a:pt x="1658" y="266"/>
                      <a:pt x="1669" y="256"/>
                      <a:pt x="1671" y="247"/>
                    </a:cubicBezTo>
                    <a:cubicBezTo>
                      <a:pt x="1673" y="238"/>
                      <a:pt x="1666" y="200"/>
                      <a:pt x="1666" y="200"/>
                    </a:cubicBezTo>
                    <a:cubicBezTo>
                      <a:pt x="1649" y="192"/>
                      <a:pt x="1649" y="192"/>
                      <a:pt x="1649" y="192"/>
                    </a:cubicBezTo>
                    <a:cubicBezTo>
                      <a:pt x="1649" y="192"/>
                      <a:pt x="1635" y="177"/>
                      <a:pt x="1625" y="177"/>
                    </a:cubicBezTo>
                    <a:cubicBezTo>
                      <a:pt x="1615" y="176"/>
                      <a:pt x="1609" y="191"/>
                      <a:pt x="1609" y="191"/>
                    </a:cubicBezTo>
                    <a:cubicBezTo>
                      <a:pt x="1609" y="191"/>
                      <a:pt x="1602" y="176"/>
                      <a:pt x="1601" y="167"/>
                    </a:cubicBezTo>
                    <a:cubicBezTo>
                      <a:pt x="1600" y="159"/>
                      <a:pt x="1607" y="135"/>
                      <a:pt x="1607" y="135"/>
                    </a:cubicBezTo>
                    <a:cubicBezTo>
                      <a:pt x="1596" y="120"/>
                      <a:pt x="1596" y="120"/>
                      <a:pt x="1596" y="120"/>
                    </a:cubicBezTo>
                    <a:cubicBezTo>
                      <a:pt x="1596" y="64"/>
                      <a:pt x="1596" y="64"/>
                      <a:pt x="1596" y="64"/>
                    </a:cubicBezTo>
                    <a:cubicBezTo>
                      <a:pt x="1596" y="64"/>
                      <a:pt x="1575" y="50"/>
                      <a:pt x="1578" y="41"/>
                    </a:cubicBezTo>
                    <a:cubicBezTo>
                      <a:pt x="1582" y="32"/>
                      <a:pt x="1586" y="20"/>
                      <a:pt x="1581" y="15"/>
                    </a:cubicBezTo>
                    <a:cubicBezTo>
                      <a:pt x="1576" y="11"/>
                      <a:pt x="1564" y="9"/>
                      <a:pt x="1564" y="9"/>
                    </a:cubicBezTo>
                    <a:cubicBezTo>
                      <a:pt x="1565" y="0"/>
                      <a:pt x="1565" y="0"/>
                      <a:pt x="1565" y="0"/>
                    </a:cubicBezTo>
                    <a:cubicBezTo>
                      <a:pt x="1545" y="5"/>
                      <a:pt x="1545" y="5"/>
                      <a:pt x="1545" y="5"/>
                    </a:cubicBezTo>
                    <a:cubicBezTo>
                      <a:pt x="1541" y="18"/>
                      <a:pt x="1541" y="18"/>
                      <a:pt x="1541" y="18"/>
                    </a:cubicBezTo>
                    <a:cubicBezTo>
                      <a:pt x="1541" y="18"/>
                      <a:pt x="1529" y="26"/>
                      <a:pt x="1523" y="30"/>
                    </a:cubicBezTo>
                    <a:cubicBezTo>
                      <a:pt x="1518" y="34"/>
                      <a:pt x="1531" y="60"/>
                      <a:pt x="1531" y="70"/>
                    </a:cubicBezTo>
                    <a:cubicBezTo>
                      <a:pt x="1530" y="81"/>
                      <a:pt x="1496" y="118"/>
                      <a:pt x="1496" y="118"/>
                    </a:cubicBezTo>
                    <a:cubicBezTo>
                      <a:pt x="1507" y="127"/>
                      <a:pt x="1507" y="127"/>
                      <a:pt x="1507" y="127"/>
                    </a:cubicBezTo>
                    <a:cubicBezTo>
                      <a:pt x="1507" y="127"/>
                      <a:pt x="1492" y="147"/>
                      <a:pt x="1490" y="155"/>
                    </a:cubicBezTo>
                    <a:cubicBezTo>
                      <a:pt x="1488" y="163"/>
                      <a:pt x="1494" y="189"/>
                      <a:pt x="1494" y="189"/>
                    </a:cubicBezTo>
                    <a:cubicBezTo>
                      <a:pt x="1494" y="189"/>
                      <a:pt x="1473" y="273"/>
                      <a:pt x="1472" y="285"/>
                    </a:cubicBezTo>
                    <a:cubicBezTo>
                      <a:pt x="1471" y="296"/>
                      <a:pt x="1444" y="325"/>
                      <a:pt x="1444" y="325"/>
                    </a:cubicBezTo>
                    <a:cubicBezTo>
                      <a:pt x="1444" y="325"/>
                      <a:pt x="1445" y="358"/>
                      <a:pt x="1428" y="366"/>
                    </a:cubicBezTo>
                    <a:cubicBezTo>
                      <a:pt x="1411" y="373"/>
                      <a:pt x="1375" y="381"/>
                      <a:pt x="1375" y="381"/>
                    </a:cubicBezTo>
                    <a:cubicBezTo>
                      <a:pt x="1375" y="381"/>
                      <a:pt x="1354" y="347"/>
                      <a:pt x="1349" y="337"/>
                    </a:cubicBezTo>
                    <a:cubicBezTo>
                      <a:pt x="1344" y="328"/>
                      <a:pt x="1303" y="314"/>
                      <a:pt x="1283" y="306"/>
                    </a:cubicBezTo>
                    <a:cubicBezTo>
                      <a:pt x="1262" y="299"/>
                      <a:pt x="1249" y="266"/>
                      <a:pt x="1246" y="262"/>
                    </a:cubicBezTo>
                    <a:cubicBezTo>
                      <a:pt x="1243" y="259"/>
                      <a:pt x="1223" y="261"/>
                      <a:pt x="1223" y="261"/>
                    </a:cubicBezTo>
                    <a:cubicBezTo>
                      <a:pt x="1207" y="231"/>
                      <a:pt x="1207" y="231"/>
                      <a:pt x="1207" y="231"/>
                    </a:cubicBezTo>
                    <a:cubicBezTo>
                      <a:pt x="1220" y="217"/>
                      <a:pt x="1220" y="217"/>
                      <a:pt x="1220" y="217"/>
                    </a:cubicBezTo>
                    <a:cubicBezTo>
                      <a:pt x="1220" y="217"/>
                      <a:pt x="1213" y="206"/>
                      <a:pt x="1221" y="195"/>
                    </a:cubicBezTo>
                    <a:cubicBezTo>
                      <a:pt x="1229" y="184"/>
                      <a:pt x="1239" y="181"/>
                      <a:pt x="1239" y="181"/>
                    </a:cubicBezTo>
                    <a:cubicBezTo>
                      <a:pt x="1235" y="151"/>
                      <a:pt x="1235" y="151"/>
                      <a:pt x="1235" y="151"/>
                    </a:cubicBezTo>
                    <a:cubicBezTo>
                      <a:pt x="1248" y="139"/>
                      <a:pt x="1248" y="139"/>
                      <a:pt x="1248" y="139"/>
                    </a:cubicBezTo>
                    <a:cubicBezTo>
                      <a:pt x="1248" y="139"/>
                      <a:pt x="1262" y="146"/>
                      <a:pt x="1267" y="144"/>
                    </a:cubicBezTo>
                    <a:cubicBezTo>
                      <a:pt x="1273" y="142"/>
                      <a:pt x="1274" y="119"/>
                      <a:pt x="1274" y="119"/>
                    </a:cubicBezTo>
                    <a:cubicBezTo>
                      <a:pt x="1299" y="95"/>
                      <a:pt x="1299" y="95"/>
                      <a:pt x="1299" y="95"/>
                    </a:cubicBezTo>
                    <a:cubicBezTo>
                      <a:pt x="1299" y="95"/>
                      <a:pt x="1285" y="72"/>
                      <a:pt x="1269" y="69"/>
                    </a:cubicBezTo>
                    <a:cubicBezTo>
                      <a:pt x="1252" y="67"/>
                      <a:pt x="1231" y="92"/>
                      <a:pt x="1231" y="92"/>
                    </a:cubicBezTo>
                    <a:cubicBezTo>
                      <a:pt x="1229" y="78"/>
                      <a:pt x="1229" y="78"/>
                      <a:pt x="1229" y="78"/>
                    </a:cubicBezTo>
                    <a:cubicBezTo>
                      <a:pt x="1209" y="80"/>
                      <a:pt x="1209" y="80"/>
                      <a:pt x="1209" y="80"/>
                    </a:cubicBezTo>
                    <a:cubicBezTo>
                      <a:pt x="1200" y="89"/>
                      <a:pt x="1200" y="89"/>
                      <a:pt x="1200" y="89"/>
                    </a:cubicBezTo>
                    <a:cubicBezTo>
                      <a:pt x="1194" y="78"/>
                      <a:pt x="1194" y="78"/>
                      <a:pt x="1194" y="78"/>
                    </a:cubicBezTo>
                    <a:cubicBezTo>
                      <a:pt x="1170" y="75"/>
                      <a:pt x="1170" y="75"/>
                      <a:pt x="1170" y="75"/>
                    </a:cubicBezTo>
                    <a:cubicBezTo>
                      <a:pt x="1170" y="75"/>
                      <a:pt x="1144" y="56"/>
                      <a:pt x="1139" y="56"/>
                    </a:cubicBezTo>
                    <a:cubicBezTo>
                      <a:pt x="1135" y="57"/>
                      <a:pt x="1101" y="53"/>
                      <a:pt x="1101" y="53"/>
                    </a:cubicBezTo>
                    <a:cubicBezTo>
                      <a:pt x="1101" y="53"/>
                      <a:pt x="1093" y="31"/>
                      <a:pt x="1086" y="28"/>
                    </a:cubicBezTo>
                    <a:cubicBezTo>
                      <a:pt x="1080" y="24"/>
                      <a:pt x="1078" y="38"/>
                      <a:pt x="1078" y="38"/>
                    </a:cubicBezTo>
                    <a:cubicBezTo>
                      <a:pt x="1078" y="38"/>
                      <a:pt x="1053" y="25"/>
                      <a:pt x="1047" y="30"/>
                    </a:cubicBezTo>
                    <a:cubicBezTo>
                      <a:pt x="1041" y="34"/>
                      <a:pt x="1050" y="42"/>
                      <a:pt x="1050" y="42"/>
                    </a:cubicBezTo>
                    <a:cubicBezTo>
                      <a:pt x="1050" y="42"/>
                      <a:pt x="1037" y="41"/>
                      <a:pt x="1035" y="46"/>
                    </a:cubicBezTo>
                    <a:cubicBezTo>
                      <a:pt x="1032" y="52"/>
                      <a:pt x="1049" y="58"/>
                      <a:pt x="1060" y="61"/>
                    </a:cubicBezTo>
                    <a:cubicBezTo>
                      <a:pt x="1071" y="64"/>
                      <a:pt x="1077" y="56"/>
                      <a:pt x="1077" y="56"/>
                    </a:cubicBezTo>
                    <a:cubicBezTo>
                      <a:pt x="1099" y="65"/>
                      <a:pt x="1099" y="65"/>
                      <a:pt x="1099" y="65"/>
                    </a:cubicBezTo>
                    <a:cubicBezTo>
                      <a:pt x="1099" y="65"/>
                      <a:pt x="1077" y="78"/>
                      <a:pt x="1065" y="83"/>
                    </a:cubicBezTo>
                    <a:cubicBezTo>
                      <a:pt x="1054" y="88"/>
                      <a:pt x="1020" y="84"/>
                      <a:pt x="1012" y="86"/>
                    </a:cubicBezTo>
                    <a:cubicBezTo>
                      <a:pt x="1005" y="88"/>
                      <a:pt x="955" y="114"/>
                      <a:pt x="955" y="114"/>
                    </a:cubicBezTo>
                    <a:cubicBezTo>
                      <a:pt x="955" y="114"/>
                      <a:pt x="949" y="131"/>
                      <a:pt x="948" y="142"/>
                    </a:cubicBezTo>
                    <a:cubicBezTo>
                      <a:pt x="947" y="152"/>
                      <a:pt x="968" y="161"/>
                      <a:pt x="968" y="161"/>
                    </a:cubicBezTo>
                    <a:cubicBezTo>
                      <a:pt x="935" y="163"/>
                      <a:pt x="935" y="163"/>
                      <a:pt x="935" y="163"/>
                    </a:cubicBezTo>
                    <a:cubicBezTo>
                      <a:pt x="912" y="185"/>
                      <a:pt x="912" y="185"/>
                      <a:pt x="912" y="185"/>
                    </a:cubicBezTo>
                    <a:cubicBezTo>
                      <a:pt x="912" y="185"/>
                      <a:pt x="916" y="205"/>
                      <a:pt x="910" y="212"/>
                    </a:cubicBezTo>
                    <a:cubicBezTo>
                      <a:pt x="904" y="219"/>
                      <a:pt x="927" y="226"/>
                      <a:pt x="936" y="231"/>
                    </a:cubicBezTo>
                    <a:cubicBezTo>
                      <a:pt x="946" y="235"/>
                      <a:pt x="942" y="256"/>
                      <a:pt x="942" y="256"/>
                    </a:cubicBezTo>
                    <a:cubicBezTo>
                      <a:pt x="927" y="242"/>
                      <a:pt x="927" y="242"/>
                      <a:pt x="927" y="242"/>
                    </a:cubicBezTo>
                    <a:cubicBezTo>
                      <a:pt x="907" y="244"/>
                      <a:pt x="907" y="244"/>
                      <a:pt x="907" y="244"/>
                    </a:cubicBezTo>
                    <a:cubicBezTo>
                      <a:pt x="899" y="256"/>
                      <a:pt x="899" y="256"/>
                      <a:pt x="899" y="256"/>
                    </a:cubicBezTo>
                    <a:cubicBezTo>
                      <a:pt x="872" y="235"/>
                      <a:pt x="872" y="235"/>
                      <a:pt x="872" y="235"/>
                    </a:cubicBezTo>
                    <a:cubicBezTo>
                      <a:pt x="869" y="256"/>
                      <a:pt x="869" y="256"/>
                      <a:pt x="869" y="256"/>
                    </a:cubicBezTo>
                    <a:cubicBezTo>
                      <a:pt x="853" y="261"/>
                      <a:pt x="853" y="261"/>
                      <a:pt x="853" y="261"/>
                    </a:cubicBezTo>
                    <a:cubicBezTo>
                      <a:pt x="856" y="279"/>
                      <a:pt x="856" y="279"/>
                      <a:pt x="856" y="279"/>
                    </a:cubicBezTo>
                    <a:cubicBezTo>
                      <a:pt x="837" y="276"/>
                      <a:pt x="837" y="276"/>
                      <a:pt x="837" y="276"/>
                    </a:cubicBezTo>
                    <a:cubicBezTo>
                      <a:pt x="856" y="232"/>
                      <a:pt x="856" y="232"/>
                      <a:pt x="856" y="232"/>
                    </a:cubicBezTo>
                    <a:cubicBezTo>
                      <a:pt x="856" y="232"/>
                      <a:pt x="851" y="226"/>
                      <a:pt x="848" y="215"/>
                    </a:cubicBezTo>
                    <a:cubicBezTo>
                      <a:pt x="846" y="203"/>
                      <a:pt x="827" y="205"/>
                      <a:pt x="827" y="205"/>
                    </a:cubicBezTo>
                    <a:cubicBezTo>
                      <a:pt x="816" y="187"/>
                      <a:pt x="816" y="187"/>
                      <a:pt x="816" y="187"/>
                    </a:cubicBezTo>
                    <a:cubicBezTo>
                      <a:pt x="816" y="187"/>
                      <a:pt x="825" y="167"/>
                      <a:pt x="814" y="159"/>
                    </a:cubicBezTo>
                    <a:cubicBezTo>
                      <a:pt x="802" y="151"/>
                      <a:pt x="787" y="162"/>
                      <a:pt x="787" y="169"/>
                    </a:cubicBezTo>
                    <a:cubicBezTo>
                      <a:pt x="786" y="176"/>
                      <a:pt x="792" y="176"/>
                      <a:pt x="792" y="176"/>
                    </a:cubicBezTo>
                    <a:cubicBezTo>
                      <a:pt x="788" y="185"/>
                      <a:pt x="788" y="185"/>
                      <a:pt x="788" y="185"/>
                    </a:cubicBezTo>
                    <a:cubicBezTo>
                      <a:pt x="768" y="184"/>
                      <a:pt x="768" y="184"/>
                      <a:pt x="768" y="184"/>
                    </a:cubicBezTo>
                    <a:cubicBezTo>
                      <a:pt x="771" y="202"/>
                      <a:pt x="771" y="202"/>
                      <a:pt x="771" y="202"/>
                    </a:cubicBezTo>
                    <a:cubicBezTo>
                      <a:pt x="758" y="196"/>
                      <a:pt x="758" y="196"/>
                      <a:pt x="758" y="196"/>
                    </a:cubicBezTo>
                    <a:cubicBezTo>
                      <a:pt x="746" y="201"/>
                      <a:pt x="746" y="201"/>
                      <a:pt x="746" y="201"/>
                    </a:cubicBezTo>
                    <a:cubicBezTo>
                      <a:pt x="746" y="201"/>
                      <a:pt x="751" y="209"/>
                      <a:pt x="749" y="219"/>
                    </a:cubicBezTo>
                    <a:cubicBezTo>
                      <a:pt x="747" y="230"/>
                      <a:pt x="731" y="238"/>
                      <a:pt x="731" y="238"/>
                    </a:cubicBezTo>
                    <a:cubicBezTo>
                      <a:pt x="736" y="214"/>
                      <a:pt x="736" y="214"/>
                      <a:pt x="736" y="214"/>
                    </a:cubicBezTo>
                    <a:cubicBezTo>
                      <a:pt x="724" y="229"/>
                      <a:pt x="724" y="229"/>
                      <a:pt x="724" y="229"/>
                    </a:cubicBezTo>
                    <a:cubicBezTo>
                      <a:pt x="724" y="229"/>
                      <a:pt x="713" y="227"/>
                      <a:pt x="706" y="237"/>
                    </a:cubicBezTo>
                    <a:cubicBezTo>
                      <a:pt x="699" y="247"/>
                      <a:pt x="710" y="268"/>
                      <a:pt x="710" y="268"/>
                    </a:cubicBezTo>
                    <a:cubicBezTo>
                      <a:pt x="679" y="255"/>
                      <a:pt x="679" y="255"/>
                      <a:pt x="679" y="255"/>
                    </a:cubicBezTo>
                    <a:cubicBezTo>
                      <a:pt x="676" y="279"/>
                      <a:pt x="676" y="279"/>
                      <a:pt x="676" y="279"/>
                    </a:cubicBezTo>
                    <a:cubicBezTo>
                      <a:pt x="665" y="281"/>
                      <a:pt x="665" y="281"/>
                      <a:pt x="665" y="281"/>
                    </a:cubicBezTo>
                    <a:cubicBezTo>
                      <a:pt x="676" y="298"/>
                      <a:pt x="676" y="298"/>
                      <a:pt x="676" y="298"/>
                    </a:cubicBezTo>
                    <a:cubicBezTo>
                      <a:pt x="688" y="297"/>
                      <a:pt x="688" y="297"/>
                      <a:pt x="688" y="297"/>
                    </a:cubicBezTo>
                    <a:cubicBezTo>
                      <a:pt x="685" y="308"/>
                      <a:pt x="685" y="308"/>
                      <a:pt x="685" y="308"/>
                    </a:cubicBezTo>
                    <a:cubicBezTo>
                      <a:pt x="638" y="312"/>
                      <a:pt x="638" y="312"/>
                      <a:pt x="638" y="312"/>
                    </a:cubicBezTo>
                    <a:cubicBezTo>
                      <a:pt x="638" y="312"/>
                      <a:pt x="624" y="302"/>
                      <a:pt x="614" y="310"/>
                    </a:cubicBezTo>
                    <a:cubicBezTo>
                      <a:pt x="604" y="319"/>
                      <a:pt x="620" y="337"/>
                      <a:pt x="620" y="337"/>
                    </a:cubicBezTo>
                    <a:cubicBezTo>
                      <a:pt x="622" y="359"/>
                      <a:pt x="622" y="359"/>
                      <a:pt x="622" y="359"/>
                    </a:cubicBezTo>
                    <a:cubicBezTo>
                      <a:pt x="616" y="373"/>
                      <a:pt x="616" y="373"/>
                      <a:pt x="616" y="373"/>
                    </a:cubicBezTo>
                    <a:cubicBezTo>
                      <a:pt x="620" y="399"/>
                      <a:pt x="620" y="399"/>
                      <a:pt x="620" y="399"/>
                    </a:cubicBezTo>
                    <a:cubicBezTo>
                      <a:pt x="609" y="400"/>
                      <a:pt x="609" y="400"/>
                      <a:pt x="609" y="400"/>
                    </a:cubicBezTo>
                    <a:cubicBezTo>
                      <a:pt x="606" y="348"/>
                      <a:pt x="606" y="348"/>
                      <a:pt x="606" y="348"/>
                    </a:cubicBezTo>
                    <a:cubicBezTo>
                      <a:pt x="595" y="337"/>
                      <a:pt x="595" y="337"/>
                      <a:pt x="595" y="337"/>
                    </a:cubicBezTo>
                    <a:cubicBezTo>
                      <a:pt x="593" y="316"/>
                      <a:pt x="593" y="316"/>
                      <a:pt x="593" y="316"/>
                    </a:cubicBezTo>
                    <a:cubicBezTo>
                      <a:pt x="580" y="317"/>
                      <a:pt x="580" y="317"/>
                      <a:pt x="580" y="317"/>
                    </a:cubicBezTo>
                    <a:cubicBezTo>
                      <a:pt x="569" y="333"/>
                      <a:pt x="569" y="333"/>
                      <a:pt x="569" y="333"/>
                    </a:cubicBezTo>
                    <a:cubicBezTo>
                      <a:pt x="569" y="333"/>
                      <a:pt x="556" y="344"/>
                      <a:pt x="537" y="360"/>
                    </a:cubicBezTo>
                    <a:cubicBezTo>
                      <a:pt x="519" y="376"/>
                      <a:pt x="531" y="409"/>
                      <a:pt x="531" y="409"/>
                    </a:cubicBezTo>
                    <a:cubicBezTo>
                      <a:pt x="531" y="409"/>
                      <a:pt x="548" y="414"/>
                      <a:pt x="546" y="423"/>
                    </a:cubicBezTo>
                    <a:cubicBezTo>
                      <a:pt x="543" y="433"/>
                      <a:pt x="510" y="445"/>
                      <a:pt x="504" y="448"/>
                    </a:cubicBezTo>
                    <a:cubicBezTo>
                      <a:pt x="498" y="451"/>
                      <a:pt x="501" y="461"/>
                      <a:pt x="501" y="461"/>
                    </a:cubicBezTo>
                    <a:cubicBezTo>
                      <a:pt x="501" y="461"/>
                      <a:pt x="480" y="480"/>
                      <a:pt x="463" y="494"/>
                    </a:cubicBezTo>
                    <a:cubicBezTo>
                      <a:pt x="445" y="507"/>
                      <a:pt x="393" y="512"/>
                      <a:pt x="393" y="512"/>
                    </a:cubicBezTo>
                    <a:cubicBezTo>
                      <a:pt x="359" y="505"/>
                      <a:pt x="359" y="505"/>
                      <a:pt x="359" y="505"/>
                    </a:cubicBezTo>
                    <a:cubicBezTo>
                      <a:pt x="332" y="519"/>
                      <a:pt x="332" y="519"/>
                      <a:pt x="332" y="519"/>
                    </a:cubicBezTo>
                    <a:cubicBezTo>
                      <a:pt x="295" y="524"/>
                      <a:pt x="295" y="524"/>
                      <a:pt x="295" y="524"/>
                    </a:cubicBezTo>
                    <a:cubicBezTo>
                      <a:pt x="290" y="529"/>
                      <a:pt x="290" y="529"/>
                      <a:pt x="290" y="529"/>
                    </a:cubicBezTo>
                    <a:cubicBezTo>
                      <a:pt x="290" y="529"/>
                      <a:pt x="280" y="529"/>
                      <a:pt x="271" y="534"/>
                    </a:cubicBezTo>
                    <a:cubicBezTo>
                      <a:pt x="262" y="538"/>
                      <a:pt x="251" y="549"/>
                      <a:pt x="251" y="549"/>
                    </a:cubicBezTo>
                    <a:cubicBezTo>
                      <a:pt x="251" y="549"/>
                      <a:pt x="232" y="550"/>
                      <a:pt x="218" y="554"/>
                    </a:cubicBezTo>
                    <a:cubicBezTo>
                      <a:pt x="204" y="558"/>
                      <a:pt x="188" y="587"/>
                      <a:pt x="188" y="587"/>
                    </a:cubicBezTo>
                    <a:cubicBezTo>
                      <a:pt x="188" y="587"/>
                      <a:pt x="153" y="595"/>
                      <a:pt x="146" y="599"/>
                    </a:cubicBezTo>
                    <a:cubicBezTo>
                      <a:pt x="138" y="604"/>
                      <a:pt x="103" y="649"/>
                      <a:pt x="103" y="649"/>
                    </a:cubicBezTo>
                    <a:cubicBezTo>
                      <a:pt x="109" y="605"/>
                      <a:pt x="109" y="605"/>
                      <a:pt x="109" y="605"/>
                    </a:cubicBezTo>
                    <a:cubicBezTo>
                      <a:pt x="97" y="612"/>
                      <a:pt x="97" y="612"/>
                      <a:pt x="97" y="612"/>
                    </a:cubicBezTo>
                    <a:cubicBezTo>
                      <a:pt x="83" y="649"/>
                      <a:pt x="83" y="649"/>
                      <a:pt x="83" y="649"/>
                    </a:cubicBezTo>
                    <a:cubicBezTo>
                      <a:pt x="83" y="649"/>
                      <a:pt x="69" y="675"/>
                      <a:pt x="62" y="690"/>
                    </a:cubicBezTo>
                    <a:cubicBezTo>
                      <a:pt x="56" y="705"/>
                      <a:pt x="79" y="711"/>
                      <a:pt x="79" y="711"/>
                    </a:cubicBezTo>
                    <a:cubicBezTo>
                      <a:pt x="79" y="711"/>
                      <a:pt x="59" y="732"/>
                      <a:pt x="49" y="741"/>
                    </a:cubicBezTo>
                    <a:cubicBezTo>
                      <a:pt x="38" y="750"/>
                      <a:pt x="58" y="789"/>
                      <a:pt x="59" y="795"/>
                    </a:cubicBezTo>
                    <a:cubicBezTo>
                      <a:pt x="59" y="802"/>
                      <a:pt x="84" y="845"/>
                      <a:pt x="78" y="849"/>
                    </a:cubicBezTo>
                    <a:cubicBezTo>
                      <a:pt x="72" y="854"/>
                      <a:pt x="48" y="813"/>
                      <a:pt x="48" y="813"/>
                    </a:cubicBezTo>
                    <a:cubicBezTo>
                      <a:pt x="36" y="811"/>
                      <a:pt x="36" y="811"/>
                      <a:pt x="36" y="811"/>
                    </a:cubicBezTo>
                    <a:cubicBezTo>
                      <a:pt x="46" y="841"/>
                      <a:pt x="46" y="841"/>
                      <a:pt x="46" y="841"/>
                    </a:cubicBezTo>
                    <a:cubicBezTo>
                      <a:pt x="23" y="821"/>
                      <a:pt x="23" y="821"/>
                      <a:pt x="23" y="821"/>
                    </a:cubicBezTo>
                    <a:cubicBezTo>
                      <a:pt x="23" y="821"/>
                      <a:pt x="19" y="844"/>
                      <a:pt x="22" y="858"/>
                    </a:cubicBezTo>
                    <a:cubicBezTo>
                      <a:pt x="25" y="872"/>
                      <a:pt x="48" y="907"/>
                      <a:pt x="48" y="907"/>
                    </a:cubicBezTo>
                    <a:cubicBezTo>
                      <a:pt x="48" y="907"/>
                      <a:pt x="37" y="929"/>
                      <a:pt x="35" y="937"/>
                    </a:cubicBezTo>
                    <a:cubicBezTo>
                      <a:pt x="33" y="945"/>
                      <a:pt x="63" y="968"/>
                      <a:pt x="64" y="974"/>
                    </a:cubicBezTo>
                    <a:cubicBezTo>
                      <a:pt x="65" y="981"/>
                      <a:pt x="66" y="1003"/>
                      <a:pt x="60" y="1011"/>
                    </a:cubicBezTo>
                    <a:cubicBezTo>
                      <a:pt x="55" y="1019"/>
                      <a:pt x="68" y="1065"/>
                      <a:pt x="68" y="1065"/>
                    </a:cubicBezTo>
                    <a:cubicBezTo>
                      <a:pt x="68" y="1065"/>
                      <a:pt x="64" y="1067"/>
                      <a:pt x="56" y="1073"/>
                    </a:cubicBezTo>
                    <a:cubicBezTo>
                      <a:pt x="49" y="1079"/>
                      <a:pt x="65" y="1115"/>
                      <a:pt x="65" y="1115"/>
                    </a:cubicBezTo>
                    <a:cubicBezTo>
                      <a:pt x="65" y="1115"/>
                      <a:pt x="85" y="1124"/>
                      <a:pt x="87" y="1141"/>
                    </a:cubicBezTo>
                    <a:cubicBezTo>
                      <a:pt x="89" y="1157"/>
                      <a:pt x="60" y="1186"/>
                      <a:pt x="60" y="1186"/>
                    </a:cubicBezTo>
                    <a:cubicBezTo>
                      <a:pt x="60" y="1186"/>
                      <a:pt x="69" y="1219"/>
                      <a:pt x="52" y="1236"/>
                    </a:cubicBezTo>
                    <a:cubicBezTo>
                      <a:pt x="35" y="1252"/>
                      <a:pt x="4" y="1244"/>
                      <a:pt x="4" y="1244"/>
                    </a:cubicBezTo>
                    <a:cubicBezTo>
                      <a:pt x="0" y="1276"/>
                      <a:pt x="0" y="1276"/>
                      <a:pt x="0" y="1276"/>
                    </a:cubicBezTo>
                    <a:cubicBezTo>
                      <a:pt x="0" y="1276"/>
                      <a:pt x="32" y="1284"/>
                      <a:pt x="41" y="1289"/>
                    </a:cubicBezTo>
                    <a:cubicBezTo>
                      <a:pt x="50" y="1295"/>
                      <a:pt x="56" y="1305"/>
                      <a:pt x="56" y="1305"/>
                    </a:cubicBezTo>
                    <a:cubicBezTo>
                      <a:pt x="73" y="1303"/>
                      <a:pt x="73" y="1303"/>
                      <a:pt x="73" y="1303"/>
                    </a:cubicBezTo>
                    <a:cubicBezTo>
                      <a:pt x="73" y="1303"/>
                      <a:pt x="82" y="1312"/>
                      <a:pt x="96" y="1317"/>
                    </a:cubicBezTo>
                    <a:cubicBezTo>
                      <a:pt x="109" y="1322"/>
                      <a:pt x="140" y="1312"/>
                      <a:pt x="153" y="1311"/>
                    </a:cubicBezTo>
                    <a:cubicBezTo>
                      <a:pt x="165" y="1311"/>
                      <a:pt x="155" y="1295"/>
                      <a:pt x="155" y="1295"/>
                    </a:cubicBezTo>
                    <a:cubicBezTo>
                      <a:pt x="180" y="1297"/>
                      <a:pt x="180" y="1297"/>
                      <a:pt x="180" y="1297"/>
                    </a:cubicBezTo>
                    <a:cubicBezTo>
                      <a:pt x="186" y="1285"/>
                      <a:pt x="186" y="1285"/>
                      <a:pt x="186" y="1285"/>
                    </a:cubicBezTo>
                    <a:cubicBezTo>
                      <a:pt x="213" y="1281"/>
                      <a:pt x="213" y="1281"/>
                      <a:pt x="213" y="1281"/>
                    </a:cubicBezTo>
                    <a:cubicBezTo>
                      <a:pt x="213" y="1281"/>
                      <a:pt x="237" y="1256"/>
                      <a:pt x="250" y="1255"/>
                    </a:cubicBezTo>
                    <a:cubicBezTo>
                      <a:pt x="262" y="1255"/>
                      <a:pt x="274" y="1270"/>
                      <a:pt x="281" y="1268"/>
                    </a:cubicBezTo>
                    <a:cubicBezTo>
                      <a:pt x="289" y="1266"/>
                      <a:pt x="326" y="1248"/>
                      <a:pt x="326" y="1248"/>
                    </a:cubicBezTo>
                    <a:cubicBezTo>
                      <a:pt x="326" y="1248"/>
                      <a:pt x="348" y="1258"/>
                      <a:pt x="359" y="1256"/>
                    </a:cubicBezTo>
                    <a:cubicBezTo>
                      <a:pt x="370" y="1255"/>
                      <a:pt x="377" y="1245"/>
                      <a:pt x="384" y="1244"/>
                    </a:cubicBezTo>
                    <a:cubicBezTo>
                      <a:pt x="392" y="1244"/>
                      <a:pt x="411" y="1256"/>
                      <a:pt x="426" y="1253"/>
                    </a:cubicBezTo>
                    <a:cubicBezTo>
                      <a:pt x="441" y="1250"/>
                      <a:pt x="438" y="1231"/>
                      <a:pt x="438" y="1231"/>
                    </a:cubicBezTo>
                    <a:cubicBezTo>
                      <a:pt x="438" y="1231"/>
                      <a:pt x="450" y="1228"/>
                      <a:pt x="454" y="1225"/>
                    </a:cubicBezTo>
                    <a:cubicBezTo>
                      <a:pt x="459" y="1222"/>
                      <a:pt x="465" y="1195"/>
                      <a:pt x="478" y="1183"/>
                    </a:cubicBezTo>
                    <a:cubicBezTo>
                      <a:pt x="491" y="1171"/>
                      <a:pt x="524" y="1179"/>
                      <a:pt x="535" y="1176"/>
                    </a:cubicBezTo>
                    <a:cubicBezTo>
                      <a:pt x="545" y="1174"/>
                      <a:pt x="579" y="1155"/>
                      <a:pt x="594" y="1153"/>
                    </a:cubicBezTo>
                    <a:cubicBezTo>
                      <a:pt x="610" y="1151"/>
                      <a:pt x="612" y="1158"/>
                      <a:pt x="631" y="1161"/>
                    </a:cubicBezTo>
                    <a:cubicBezTo>
                      <a:pt x="650" y="1164"/>
                      <a:pt x="697" y="1131"/>
                      <a:pt x="716" y="1125"/>
                    </a:cubicBezTo>
                    <a:cubicBezTo>
                      <a:pt x="736" y="1119"/>
                      <a:pt x="819" y="1113"/>
                      <a:pt x="819" y="1113"/>
                    </a:cubicBezTo>
                    <a:cubicBezTo>
                      <a:pt x="826" y="1106"/>
                      <a:pt x="826" y="1106"/>
                      <a:pt x="826" y="1106"/>
                    </a:cubicBezTo>
                    <a:cubicBezTo>
                      <a:pt x="826" y="1106"/>
                      <a:pt x="854" y="1131"/>
                      <a:pt x="872" y="1138"/>
                    </a:cubicBezTo>
                    <a:cubicBezTo>
                      <a:pt x="889" y="1145"/>
                      <a:pt x="896" y="1136"/>
                      <a:pt x="896" y="1136"/>
                    </a:cubicBezTo>
                    <a:cubicBezTo>
                      <a:pt x="896" y="1136"/>
                      <a:pt x="899" y="1153"/>
                      <a:pt x="907" y="1156"/>
                    </a:cubicBezTo>
                    <a:cubicBezTo>
                      <a:pt x="915" y="1159"/>
                      <a:pt x="920" y="1152"/>
                      <a:pt x="920" y="1152"/>
                    </a:cubicBezTo>
                    <a:cubicBezTo>
                      <a:pt x="923" y="1167"/>
                      <a:pt x="923" y="1167"/>
                      <a:pt x="923" y="1167"/>
                    </a:cubicBezTo>
                    <a:cubicBezTo>
                      <a:pt x="923" y="1167"/>
                      <a:pt x="935" y="1165"/>
                      <a:pt x="936" y="1174"/>
                    </a:cubicBezTo>
                    <a:cubicBezTo>
                      <a:pt x="937" y="1182"/>
                      <a:pt x="918" y="1206"/>
                      <a:pt x="918" y="1206"/>
                    </a:cubicBezTo>
                    <a:cubicBezTo>
                      <a:pt x="932" y="1225"/>
                      <a:pt x="932" y="1225"/>
                      <a:pt x="932" y="1225"/>
                    </a:cubicBezTo>
                    <a:cubicBezTo>
                      <a:pt x="941" y="1216"/>
                      <a:pt x="941" y="1216"/>
                      <a:pt x="941" y="1216"/>
                    </a:cubicBezTo>
                    <a:cubicBezTo>
                      <a:pt x="954" y="1243"/>
                      <a:pt x="954" y="1243"/>
                      <a:pt x="954" y="1243"/>
                    </a:cubicBezTo>
                    <a:cubicBezTo>
                      <a:pt x="954" y="1243"/>
                      <a:pt x="963" y="1270"/>
                      <a:pt x="964" y="1279"/>
                    </a:cubicBezTo>
                    <a:cubicBezTo>
                      <a:pt x="965" y="1287"/>
                      <a:pt x="937" y="1280"/>
                      <a:pt x="937" y="1280"/>
                    </a:cubicBezTo>
                    <a:cubicBezTo>
                      <a:pt x="944" y="1303"/>
                      <a:pt x="944" y="1303"/>
                      <a:pt x="944" y="1303"/>
                    </a:cubicBezTo>
                    <a:cubicBezTo>
                      <a:pt x="944" y="1303"/>
                      <a:pt x="953" y="1303"/>
                      <a:pt x="962" y="1304"/>
                    </a:cubicBezTo>
                    <a:cubicBezTo>
                      <a:pt x="971" y="1304"/>
                      <a:pt x="970" y="1311"/>
                      <a:pt x="970" y="1311"/>
                    </a:cubicBezTo>
                    <a:cubicBezTo>
                      <a:pt x="983" y="1308"/>
                      <a:pt x="983" y="1308"/>
                      <a:pt x="983" y="1308"/>
                    </a:cubicBezTo>
                    <a:cubicBezTo>
                      <a:pt x="983" y="1308"/>
                      <a:pt x="979" y="1294"/>
                      <a:pt x="979" y="1283"/>
                    </a:cubicBezTo>
                    <a:cubicBezTo>
                      <a:pt x="980" y="1272"/>
                      <a:pt x="998" y="1263"/>
                      <a:pt x="1010" y="1261"/>
                    </a:cubicBezTo>
                    <a:cubicBezTo>
                      <a:pt x="1022" y="1258"/>
                      <a:pt x="1045" y="1222"/>
                      <a:pt x="1045" y="1222"/>
                    </a:cubicBezTo>
                    <a:cubicBezTo>
                      <a:pt x="1060" y="1224"/>
                      <a:pt x="1060" y="1224"/>
                      <a:pt x="1060" y="1224"/>
                    </a:cubicBezTo>
                    <a:cubicBezTo>
                      <a:pt x="1074" y="1191"/>
                      <a:pt x="1074" y="1191"/>
                      <a:pt x="1074" y="1191"/>
                    </a:cubicBezTo>
                    <a:cubicBezTo>
                      <a:pt x="1074" y="1191"/>
                      <a:pt x="1093" y="1188"/>
                      <a:pt x="1102" y="1187"/>
                    </a:cubicBezTo>
                    <a:cubicBezTo>
                      <a:pt x="1110" y="1186"/>
                      <a:pt x="1115" y="1156"/>
                      <a:pt x="1115" y="1156"/>
                    </a:cubicBezTo>
                    <a:cubicBezTo>
                      <a:pt x="1115" y="1156"/>
                      <a:pt x="1120" y="1180"/>
                      <a:pt x="1121" y="1187"/>
                    </a:cubicBezTo>
                    <a:cubicBezTo>
                      <a:pt x="1122" y="1195"/>
                      <a:pt x="1093" y="1209"/>
                      <a:pt x="1093" y="1209"/>
                    </a:cubicBezTo>
                    <a:cubicBezTo>
                      <a:pt x="1083" y="1210"/>
                      <a:pt x="1083" y="1210"/>
                      <a:pt x="1083" y="1210"/>
                    </a:cubicBezTo>
                    <a:cubicBezTo>
                      <a:pt x="1078" y="1217"/>
                      <a:pt x="1078" y="1217"/>
                      <a:pt x="1078" y="1217"/>
                    </a:cubicBezTo>
                    <a:cubicBezTo>
                      <a:pt x="1089" y="1240"/>
                      <a:pt x="1089" y="1240"/>
                      <a:pt x="1089" y="1240"/>
                    </a:cubicBezTo>
                    <a:cubicBezTo>
                      <a:pt x="1089" y="1240"/>
                      <a:pt x="1079" y="1244"/>
                      <a:pt x="1072" y="1248"/>
                    </a:cubicBezTo>
                    <a:cubicBezTo>
                      <a:pt x="1065" y="1253"/>
                      <a:pt x="1047" y="1276"/>
                      <a:pt x="1047" y="1276"/>
                    </a:cubicBezTo>
                    <a:cubicBezTo>
                      <a:pt x="1047" y="1276"/>
                      <a:pt x="1042" y="1295"/>
                      <a:pt x="1035" y="1299"/>
                    </a:cubicBezTo>
                    <a:cubicBezTo>
                      <a:pt x="1028" y="1304"/>
                      <a:pt x="1004" y="1313"/>
                      <a:pt x="1011" y="1319"/>
                    </a:cubicBezTo>
                    <a:cubicBezTo>
                      <a:pt x="1018" y="1326"/>
                      <a:pt x="1045" y="1316"/>
                      <a:pt x="1054" y="1313"/>
                    </a:cubicBezTo>
                    <a:cubicBezTo>
                      <a:pt x="1062" y="1309"/>
                      <a:pt x="1063" y="1296"/>
                      <a:pt x="1069" y="1287"/>
                    </a:cubicBezTo>
                    <a:cubicBezTo>
                      <a:pt x="1076" y="1277"/>
                      <a:pt x="1090" y="1267"/>
                      <a:pt x="1090" y="1267"/>
                    </a:cubicBezTo>
                    <a:cubicBezTo>
                      <a:pt x="1090" y="1267"/>
                      <a:pt x="1093" y="1292"/>
                      <a:pt x="1095" y="1298"/>
                    </a:cubicBezTo>
                    <a:cubicBezTo>
                      <a:pt x="1097" y="1304"/>
                      <a:pt x="1084" y="1315"/>
                      <a:pt x="1075" y="1320"/>
                    </a:cubicBezTo>
                    <a:cubicBezTo>
                      <a:pt x="1067" y="1325"/>
                      <a:pt x="1066" y="1333"/>
                      <a:pt x="1072" y="1339"/>
                    </a:cubicBezTo>
                    <a:cubicBezTo>
                      <a:pt x="1079" y="1344"/>
                      <a:pt x="1110" y="1344"/>
                      <a:pt x="1110" y="1344"/>
                    </a:cubicBezTo>
                    <a:cubicBezTo>
                      <a:pt x="1115" y="1351"/>
                      <a:pt x="1115" y="1351"/>
                      <a:pt x="1115" y="1351"/>
                    </a:cubicBezTo>
                    <a:cubicBezTo>
                      <a:pt x="1100" y="1364"/>
                      <a:pt x="1100" y="1364"/>
                      <a:pt x="1100" y="1364"/>
                    </a:cubicBezTo>
                    <a:cubicBezTo>
                      <a:pt x="1100" y="1364"/>
                      <a:pt x="1116" y="1393"/>
                      <a:pt x="1118" y="1403"/>
                    </a:cubicBezTo>
                    <a:cubicBezTo>
                      <a:pt x="1121" y="1414"/>
                      <a:pt x="1097" y="1430"/>
                      <a:pt x="1088" y="1441"/>
                    </a:cubicBezTo>
                    <a:cubicBezTo>
                      <a:pt x="1078" y="1452"/>
                      <a:pt x="1110" y="1474"/>
                      <a:pt x="1118" y="1477"/>
                    </a:cubicBezTo>
                    <a:cubicBezTo>
                      <a:pt x="1125" y="1480"/>
                      <a:pt x="1139" y="1500"/>
                      <a:pt x="1154" y="1505"/>
                    </a:cubicBezTo>
                    <a:cubicBezTo>
                      <a:pt x="1169" y="1510"/>
                      <a:pt x="1180" y="1501"/>
                      <a:pt x="1194" y="1504"/>
                    </a:cubicBezTo>
                    <a:cubicBezTo>
                      <a:pt x="1207" y="1507"/>
                      <a:pt x="1210" y="1524"/>
                      <a:pt x="1229" y="1527"/>
                    </a:cubicBezTo>
                    <a:cubicBezTo>
                      <a:pt x="1249" y="1531"/>
                      <a:pt x="1297" y="1498"/>
                      <a:pt x="1297" y="1498"/>
                    </a:cubicBezTo>
                    <a:cubicBezTo>
                      <a:pt x="1297" y="1498"/>
                      <a:pt x="1290" y="1484"/>
                      <a:pt x="1305" y="1475"/>
                    </a:cubicBezTo>
                    <a:cubicBezTo>
                      <a:pt x="1320" y="1466"/>
                      <a:pt x="1319" y="1502"/>
                      <a:pt x="1319" y="1502"/>
                    </a:cubicBezTo>
                    <a:cubicBezTo>
                      <a:pt x="1330" y="1501"/>
                      <a:pt x="1330" y="1501"/>
                      <a:pt x="1330" y="1501"/>
                    </a:cubicBezTo>
                    <a:cubicBezTo>
                      <a:pt x="1320" y="1517"/>
                      <a:pt x="1320" y="1517"/>
                      <a:pt x="1320" y="1517"/>
                    </a:cubicBezTo>
                    <a:cubicBezTo>
                      <a:pt x="1333" y="1518"/>
                      <a:pt x="1333" y="1518"/>
                      <a:pt x="1333" y="1518"/>
                    </a:cubicBezTo>
                    <a:cubicBezTo>
                      <a:pt x="1333" y="1518"/>
                      <a:pt x="1334" y="1530"/>
                      <a:pt x="1341" y="1539"/>
                    </a:cubicBezTo>
                    <a:cubicBezTo>
                      <a:pt x="1347" y="1547"/>
                      <a:pt x="1354" y="1543"/>
                      <a:pt x="1354" y="1543"/>
                    </a:cubicBezTo>
                    <a:cubicBezTo>
                      <a:pt x="1360" y="1532"/>
                      <a:pt x="1360" y="1532"/>
                      <a:pt x="1360" y="1532"/>
                    </a:cubicBezTo>
                    <a:cubicBezTo>
                      <a:pt x="1360" y="1532"/>
                      <a:pt x="1378" y="1530"/>
                      <a:pt x="1388" y="1521"/>
                    </a:cubicBezTo>
                    <a:cubicBezTo>
                      <a:pt x="1399" y="1513"/>
                      <a:pt x="1443" y="1482"/>
                      <a:pt x="1443" y="1482"/>
                    </a:cubicBezTo>
                    <a:cubicBezTo>
                      <a:pt x="1438" y="1472"/>
                      <a:pt x="1438" y="1472"/>
                      <a:pt x="1438" y="1472"/>
                    </a:cubicBezTo>
                    <a:cubicBezTo>
                      <a:pt x="1462" y="1468"/>
                      <a:pt x="1462" y="1468"/>
                      <a:pt x="1462" y="1468"/>
                    </a:cubicBezTo>
                    <a:cubicBezTo>
                      <a:pt x="1471" y="1476"/>
                      <a:pt x="1471" y="1476"/>
                      <a:pt x="1471" y="1476"/>
                    </a:cubicBezTo>
                    <a:cubicBezTo>
                      <a:pt x="1471" y="1476"/>
                      <a:pt x="1510" y="1469"/>
                      <a:pt x="1533" y="1461"/>
                    </a:cubicBezTo>
                    <a:cubicBezTo>
                      <a:pt x="1555" y="1452"/>
                      <a:pt x="1557" y="1408"/>
                      <a:pt x="1560" y="1396"/>
                    </a:cubicBezTo>
                    <a:cubicBezTo>
                      <a:pt x="1564" y="1385"/>
                      <a:pt x="1590" y="1370"/>
                      <a:pt x="1590" y="1370"/>
                    </a:cubicBezTo>
                    <a:cubicBezTo>
                      <a:pt x="1590" y="1355"/>
                      <a:pt x="1590" y="1355"/>
                      <a:pt x="1590" y="1355"/>
                    </a:cubicBezTo>
                    <a:cubicBezTo>
                      <a:pt x="1590" y="1355"/>
                      <a:pt x="1605" y="1349"/>
                      <a:pt x="1613" y="1338"/>
                    </a:cubicBezTo>
                    <a:cubicBezTo>
                      <a:pt x="1620" y="1328"/>
                      <a:pt x="1631" y="1314"/>
                      <a:pt x="1631" y="1314"/>
                    </a:cubicBezTo>
                    <a:cubicBezTo>
                      <a:pt x="1631" y="1314"/>
                      <a:pt x="1633" y="1285"/>
                      <a:pt x="1641" y="1275"/>
                    </a:cubicBezTo>
                    <a:cubicBezTo>
                      <a:pt x="1648" y="1266"/>
                      <a:pt x="1682" y="1228"/>
                      <a:pt x="1695" y="1222"/>
                    </a:cubicBezTo>
                    <a:cubicBezTo>
                      <a:pt x="1707" y="1216"/>
                      <a:pt x="1709" y="1185"/>
                      <a:pt x="1709" y="1185"/>
                    </a:cubicBezTo>
                    <a:cubicBezTo>
                      <a:pt x="1709" y="1185"/>
                      <a:pt x="1732" y="1189"/>
                      <a:pt x="1741" y="1179"/>
                    </a:cubicBezTo>
                    <a:cubicBezTo>
                      <a:pt x="1750" y="1170"/>
                      <a:pt x="1797" y="1111"/>
                      <a:pt x="1800" y="1104"/>
                    </a:cubicBezTo>
                    <a:cubicBezTo>
                      <a:pt x="1804" y="1098"/>
                      <a:pt x="1803" y="1067"/>
                      <a:pt x="1813" y="1060"/>
                    </a:cubicBezTo>
                    <a:cubicBezTo>
                      <a:pt x="1822" y="1053"/>
                      <a:pt x="1864" y="971"/>
                      <a:pt x="1874" y="952"/>
                    </a:cubicBezTo>
                    <a:cubicBezTo>
                      <a:pt x="1884" y="933"/>
                      <a:pt x="1872" y="920"/>
                      <a:pt x="1871" y="907"/>
                    </a:cubicBezTo>
                    <a:cubicBezTo>
                      <a:pt x="1870" y="894"/>
                      <a:pt x="1880" y="873"/>
                      <a:pt x="1889" y="859"/>
                    </a:cubicBezTo>
                    <a:cubicBezTo>
                      <a:pt x="1898" y="845"/>
                      <a:pt x="1888" y="783"/>
                      <a:pt x="1888" y="783"/>
                    </a:cubicBezTo>
                    <a:lnTo>
                      <a:pt x="1869" y="774"/>
                    </a:lnTo>
                    <a:close/>
                    <a:moveTo>
                      <a:pt x="1347" y="1624"/>
                    </a:moveTo>
                    <a:cubicBezTo>
                      <a:pt x="1349" y="1631"/>
                      <a:pt x="1373" y="1619"/>
                      <a:pt x="1364" y="1612"/>
                    </a:cubicBezTo>
                    <a:cubicBezTo>
                      <a:pt x="1355" y="1605"/>
                      <a:pt x="1347" y="1624"/>
                      <a:pt x="1347" y="1624"/>
                    </a:cubicBezTo>
                    <a:close/>
                    <a:moveTo>
                      <a:pt x="1332" y="1632"/>
                    </a:moveTo>
                    <a:cubicBezTo>
                      <a:pt x="1323" y="1626"/>
                      <a:pt x="1312" y="1646"/>
                      <a:pt x="1312" y="1646"/>
                    </a:cubicBezTo>
                    <a:cubicBezTo>
                      <a:pt x="1312" y="1646"/>
                      <a:pt x="1308" y="1640"/>
                      <a:pt x="1304" y="1640"/>
                    </a:cubicBezTo>
                    <a:cubicBezTo>
                      <a:pt x="1300" y="1639"/>
                      <a:pt x="1277" y="1643"/>
                      <a:pt x="1277" y="1643"/>
                    </a:cubicBezTo>
                    <a:cubicBezTo>
                      <a:pt x="1274" y="1651"/>
                      <a:pt x="1274" y="1651"/>
                      <a:pt x="1274" y="1651"/>
                    </a:cubicBezTo>
                    <a:cubicBezTo>
                      <a:pt x="1261" y="1640"/>
                      <a:pt x="1261" y="1640"/>
                      <a:pt x="1261" y="1640"/>
                    </a:cubicBezTo>
                    <a:cubicBezTo>
                      <a:pt x="1236" y="1638"/>
                      <a:pt x="1236" y="1638"/>
                      <a:pt x="1236" y="1638"/>
                    </a:cubicBezTo>
                    <a:cubicBezTo>
                      <a:pt x="1221" y="1620"/>
                      <a:pt x="1221" y="1620"/>
                      <a:pt x="1221" y="1620"/>
                    </a:cubicBezTo>
                    <a:cubicBezTo>
                      <a:pt x="1221" y="1620"/>
                      <a:pt x="1216" y="1623"/>
                      <a:pt x="1210" y="1624"/>
                    </a:cubicBezTo>
                    <a:cubicBezTo>
                      <a:pt x="1205" y="1625"/>
                      <a:pt x="1188" y="1605"/>
                      <a:pt x="1188" y="1605"/>
                    </a:cubicBezTo>
                    <a:cubicBezTo>
                      <a:pt x="1184" y="1616"/>
                      <a:pt x="1184" y="1616"/>
                      <a:pt x="1184" y="1616"/>
                    </a:cubicBezTo>
                    <a:cubicBezTo>
                      <a:pt x="1188" y="1629"/>
                      <a:pt x="1188" y="1629"/>
                      <a:pt x="1188" y="1629"/>
                    </a:cubicBezTo>
                    <a:cubicBezTo>
                      <a:pt x="1188" y="1629"/>
                      <a:pt x="1189" y="1645"/>
                      <a:pt x="1187" y="1650"/>
                    </a:cubicBezTo>
                    <a:cubicBezTo>
                      <a:pt x="1185" y="1655"/>
                      <a:pt x="1179" y="1663"/>
                      <a:pt x="1185" y="1674"/>
                    </a:cubicBezTo>
                    <a:cubicBezTo>
                      <a:pt x="1191" y="1685"/>
                      <a:pt x="1184" y="1691"/>
                      <a:pt x="1176" y="1694"/>
                    </a:cubicBezTo>
                    <a:cubicBezTo>
                      <a:pt x="1167" y="1696"/>
                      <a:pt x="1160" y="1686"/>
                      <a:pt x="1160" y="1686"/>
                    </a:cubicBezTo>
                    <a:cubicBezTo>
                      <a:pt x="1160" y="1686"/>
                      <a:pt x="1156" y="1700"/>
                      <a:pt x="1155" y="1713"/>
                    </a:cubicBezTo>
                    <a:cubicBezTo>
                      <a:pt x="1154" y="1727"/>
                      <a:pt x="1166" y="1748"/>
                      <a:pt x="1166" y="1748"/>
                    </a:cubicBezTo>
                    <a:cubicBezTo>
                      <a:pt x="1181" y="1750"/>
                      <a:pt x="1181" y="1750"/>
                      <a:pt x="1181" y="1750"/>
                    </a:cubicBezTo>
                    <a:cubicBezTo>
                      <a:pt x="1168" y="1757"/>
                      <a:pt x="1168" y="1757"/>
                      <a:pt x="1168" y="1757"/>
                    </a:cubicBezTo>
                    <a:cubicBezTo>
                      <a:pt x="1173" y="1774"/>
                      <a:pt x="1173" y="1774"/>
                      <a:pt x="1173" y="1774"/>
                    </a:cubicBezTo>
                    <a:cubicBezTo>
                      <a:pt x="1173" y="1774"/>
                      <a:pt x="1185" y="1769"/>
                      <a:pt x="1191" y="1766"/>
                    </a:cubicBezTo>
                    <a:cubicBezTo>
                      <a:pt x="1198" y="1763"/>
                      <a:pt x="1203" y="1773"/>
                      <a:pt x="1214" y="1769"/>
                    </a:cubicBezTo>
                    <a:cubicBezTo>
                      <a:pt x="1225" y="1764"/>
                      <a:pt x="1232" y="1748"/>
                      <a:pt x="1239" y="1752"/>
                    </a:cubicBezTo>
                    <a:cubicBezTo>
                      <a:pt x="1247" y="1757"/>
                      <a:pt x="1236" y="1768"/>
                      <a:pt x="1236" y="1768"/>
                    </a:cubicBezTo>
                    <a:cubicBezTo>
                      <a:pt x="1247" y="1772"/>
                      <a:pt x="1247" y="1772"/>
                      <a:pt x="1247" y="1772"/>
                    </a:cubicBezTo>
                    <a:cubicBezTo>
                      <a:pt x="1247" y="1772"/>
                      <a:pt x="1268" y="1744"/>
                      <a:pt x="1277" y="1738"/>
                    </a:cubicBezTo>
                    <a:cubicBezTo>
                      <a:pt x="1285" y="1733"/>
                      <a:pt x="1268" y="1726"/>
                      <a:pt x="1268" y="1726"/>
                    </a:cubicBezTo>
                    <a:cubicBezTo>
                      <a:pt x="1282" y="1706"/>
                      <a:pt x="1282" y="1706"/>
                      <a:pt x="1282" y="1706"/>
                    </a:cubicBezTo>
                    <a:cubicBezTo>
                      <a:pt x="1282" y="1706"/>
                      <a:pt x="1292" y="1710"/>
                      <a:pt x="1303" y="1704"/>
                    </a:cubicBezTo>
                    <a:cubicBezTo>
                      <a:pt x="1314" y="1699"/>
                      <a:pt x="1305" y="1678"/>
                      <a:pt x="1315" y="1667"/>
                    </a:cubicBezTo>
                    <a:cubicBezTo>
                      <a:pt x="1326" y="1656"/>
                      <a:pt x="1340" y="1638"/>
                      <a:pt x="1332" y="1632"/>
                    </a:cubicBezTo>
                    <a:close/>
                    <a:moveTo>
                      <a:pt x="1269" y="162"/>
                    </a:moveTo>
                    <a:cubicBezTo>
                      <a:pt x="1263" y="162"/>
                      <a:pt x="1259" y="193"/>
                      <a:pt x="1259" y="193"/>
                    </a:cubicBezTo>
                    <a:cubicBezTo>
                      <a:pt x="1269" y="207"/>
                      <a:pt x="1290" y="195"/>
                      <a:pt x="1290" y="195"/>
                    </a:cubicBezTo>
                    <a:cubicBezTo>
                      <a:pt x="1286" y="186"/>
                      <a:pt x="1286" y="186"/>
                      <a:pt x="1286" y="186"/>
                    </a:cubicBezTo>
                    <a:cubicBezTo>
                      <a:pt x="1290" y="167"/>
                      <a:pt x="1290" y="167"/>
                      <a:pt x="1290" y="167"/>
                    </a:cubicBezTo>
                    <a:cubicBezTo>
                      <a:pt x="1290" y="167"/>
                      <a:pt x="1274" y="162"/>
                      <a:pt x="1269" y="162"/>
                    </a:cubicBezTo>
                    <a:close/>
                    <a:moveTo>
                      <a:pt x="1182" y="1554"/>
                    </a:moveTo>
                    <a:cubicBezTo>
                      <a:pt x="1175" y="1581"/>
                      <a:pt x="1175" y="1581"/>
                      <a:pt x="1175" y="1581"/>
                    </a:cubicBezTo>
                    <a:cubicBezTo>
                      <a:pt x="1209" y="1549"/>
                      <a:pt x="1209" y="1549"/>
                      <a:pt x="1209" y="1549"/>
                    </a:cubicBezTo>
                    <a:lnTo>
                      <a:pt x="1182" y="1554"/>
                    </a:lnTo>
                    <a:close/>
                    <a:moveTo>
                      <a:pt x="1357" y="1597"/>
                    </a:moveTo>
                    <a:cubicBezTo>
                      <a:pt x="1345" y="1572"/>
                      <a:pt x="1345" y="1572"/>
                      <a:pt x="1345" y="1572"/>
                    </a:cubicBezTo>
                    <a:cubicBezTo>
                      <a:pt x="1345" y="1572"/>
                      <a:pt x="1333" y="1579"/>
                      <a:pt x="1332" y="1587"/>
                    </a:cubicBezTo>
                    <a:cubicBezTo>
                      <a:pt x="1332" y="1594"/>
                      <a:pt x="1334" y="1597"/>
                      <a:pt x="1343" y="1600"/>
                    </a:cubicBezTo>
                    <a:cubicBezTo>
                      <a:pt x="1352" y="1603"/>
                      <a:pt x="1357" y="1597"/>
                      <a:pt x="1357" y="1597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Freeform 339">
                <a:extLst>
                  <a:ext uri="{FF2B5EF4-FFF2-40B4-BE49-F238E27FC236}">
                    <a16:creationId xmlns:a16="http://schemas.microsoft.com/office/drawing/2014/main" id="{1C20C1B2-B94F-766A-5E5B-657DEBA06A0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4816" y="-15399"/>
                <a:ext cx="52" cy="59"/>
              </a:xfrm>
              <a:custGeom>
                <a:avLst/>
                <a:gdLst>
                  <a:gd name="T0" fmla="*/ 0 w 22"/>
                  <a:gd name="T1" fmla="*/ 15 h 25"/>
                  <a:gd name="T2" fmla="*/ 12 w 22"/>
                  <a:gd name="T3" fmla="*/ 22 h 25"/>
                  <a:gd name="T4" fmla="*/ 15 w 22"/>
                  <a:gd name="T5" fmla="*/ 9 h 25"/>
                  <a:gd name="T6" fmla="*/ 0 w 22"/>
                  <a:gd name="T7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25">
                    <a:moveTo>
                      <a:pt x="0" y="15"/>
                    </a:moveTo>
                    <a:cubicBezTo>
                      <a:pt x="0" y="15"/>
                      <a:pt x="2" y="25"/>
                      <a:pt x="12" y="22"/>
                    </a:cubicBezTo>
                    <a:cubicBezTo>
                      <a:pt x="22" y="19"/>
                      <a:pt x="18" y="18"/>
                      <a:pt x="15" y="9"/>
                    </a:cubicBezTo>
                    <a:cubicBezTo>
                      <a:pt x="12" y="0"/>
                      <a:pt x="0" y="4"/>
                      <a:pt x="0" y="15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Freeform 340">
                <a:extLst>
                  <a:ext uri="{FF2B5EF4-FFF2-40B4-BE49-F238E27FC236}">
                    <a16:creationId xmlns:a16="http://schemas.microsoft.com/office/drawing/2014/main" id="{EB1B6128-C40C-DC22-6592-F445C7FDEA3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8896" y="-19856"/>
                <a:ext cx="8783" cy="4554"/>
              </a:xfrm>
              <a:custGeom>
                <a:avLst/>
                <a:gdLst>
                  <a:gd name="T0" fmla="*/ 1824 w 3718"/>
                  <a:gd name="T1" fmla="*/ 304 h 1928"/>
                  <a:gd name="T2" fmla="*/ 1868 w 3718"/>
                  <a:gd name="T3" fmla="*/ 216 h 1928"/>
                  <a:gd name="T4" fmla="*/ 141 w 3718"/>
                  <a:gd name="T5" fmla="*/ 1354 h 1928"/>
                  <a:gd name="T6" fmla="*/ 138 w 3718"/>
                  <a:gd name="T7" fmla="*/ 1561 h 1928"/>
                  <a:gd name="T8" fmla="*/ 1554 w 3718"/>
                  <a:gd name="T9" fmla="*/ 213 h 1928"/>
                  <a:gd name="T10" fmla="*/ 34 w 3718"/>
                  <a:gd name="T11" fmla="*/ 1340 h 1928"/>
                  <a:gd name="T12" fmla="*/ 1227 w 3718"/>
                  <a:gd name="T13" fmla="*/ 437 h 1928"/>
                  <a:gd name="T14" fmla="*/ 2245 w 3718"/>
                  <a:gd name="T15" fmla="*/ 414 h 1928"/>
                  <a:gd name="T16" fmla="*/ 2627 w 3718"/>
                  <a:gd name="T17" fmla="*/ 171 h 1928"/>
                  <a:gd name="T18" fmla="*/ 2592 w 3718"/>
                  <a:gd name="T19" fmla="*/ 114 h 1928"/>
                  <a:gd name="T20" fmla="*/ 2731 w 3718"/>
                  <a:gd name="T21" fmla="*/ 327 h 1928"/>
                  <a:gd name="T22" fmla="*/ 2578 w 3718"/>
                  <a:gd name="T23" fmla="*/ 240 h 1928"/>
                  <a:gd name="T24" fmla="*/ 2488 w 3718"/>
                  <a:gd name="T25" fmla="*/ 156 h 1928"/>
                  <a:gd name="T26" fmla="*/ 1744 w 3718"/>
                  <a:gd name="T27" fmla="*/ 405 h 1928"/>
                  <a:gd name="T28" fmla="*/ 1851 w 3718"/>
                  <a:gd name="T29" fmla="*/ 586 h 1928"/>
                  <a:gd name="T30" fmla="*/ 2278 w 3718"/>
                  <a:gd name="T31" fmla="*/ 144 h 1928"/>
                  <a:gd name="T32" fmla="*/ 3024 w 3718"/>
                  <a:gd name="T33" fmla="*/ 564 h 1928"/>
                  <a:gd name="T34" fmla="*/ 2988 w 3718"/>
                  <a:gd name="T35" fmla="*/ 474 h 1928"/>
                  <a:gd name="T36" fmla="*/ 2753 w 3718"/>
                  <a:gd name="T37" fmla="*/ 381 h 1928"/>
                  <a:gd name="T38" fmla="*/ 2565 w 3718"/>
                  <a:gd name="T39" fmla="*/ 358 h 1928"/>
                  <a:gd name="T40" fmla="*/ 2816 w 3718"/>
                  <a:gd name="T41" fmla="*/ 590 h 1928"/>
                  <a:gd name="T42" fmla="*/ 2732 w 3718"/>
                  <a:gd name="T43" fmla="*/ 829 h 1928"/>
                  <a:gd name="T44" fmla="*/ 2995 w 3718"/>
                  <a:gd name="T45" fmla="*/ 792 h 1928"/>
                  <a:gd name="T46" fmla="*/ 3152 w 3718"/>
                  <a:gd name="T47" fmla="*/ 694 h 1928"/>
                  <a:gd name="T48" fmla="*/ 2821 w 3718"/>
                  <a:gd name="T49" fmla="*/ 613 h 1928"/>
                  <a:gd name="T50" fmla="*/ 3034 w 3718"/>
                  <a:gd name="T51" fmla="*/ 25 h 1928"/>
                  <a:gd name="T52" fmla="*/ 3027 w 3718"/>
                  <a:gd name="T53" fmla="*/ 92 h 1928"/>
                  <a:gd name="T54" fmla="*/ 2737 w 3718"/>
                  <a:gd name="T55" fmla="*/ 191 h 1928"/>
                  <a:gd name="T56" fmla="*/ 2975 w 3718"/>
                  <a:gd name="T57" fmla="*/ 248 h 1928"/>
                  <a:gd name="T58" fmla="*/ 3379 w 3718"/>
                  <a:gd name="T59" fmla="*/ 91 h 1928"/>
                  <a:gd name="T60" fmla="*/ 2747 w 3718"/>
                  <a:gd name="T61" fmla="*/ 549 h 1928"/>
                  <a:gd name="T62" fmla="*/ 2686 w 3718"/>
                  <a:gd name="T63" fmla="*/ 1536 h 1928"/>
                  <a:gd name="T64" fmla="*/ 2958 w 3718"/>
                  <a:gd name="T65" fmla="*/ 1304 h 1928"/>
                  <a:gd name="T66" fmla="*/ 2899 w 3718"/>
                  <a:gd name="T67" fmla="*/ 1093 h 1928"/>
                  <a:gd name="T68" fmla="*/ 2744 w 3718"/>
                  <a:gd name="T69" fmla="*/ 1079 h 1928"/>
                  <a:gd name="T70" fmla="*/ 2677 w 3718"/>
                  <a:gd name="T71" fmla="*/ 900 h 1928"/>
                  <a:gd name="T72" fmla="*/ 2180 w 3718"/>
                  <a:gd name="T73" fmla="*/ 1298 h 1928"/>
                  <a:gd name="T74" fmla="*/ 1908 w 3718"/>
                  <a:gd name="T75" fmla="*/ 1200 h 1928"/>
                  <a:gd name="T76" fmla="*/ 1986 w 3718"/>
                  <a:gd name="T77" fmla="*/ 814 h 1928"/>
                  <a:gd name="T78" fmla="*/ 2401 w 3718"/>
                  <a:gd name="T79" fmla="*/ 658 h 1928"/>
                  <a:gd name="T80" fmla="*/ 2262 w 3718"/>
                  <a:gd name="T81" fmla="*/ 563 h 1928"/>
                  <a:gd name="T82" fmla="*/ 2163 w 3718"/>
                  <a:gd name="T83" fmla="*/ 561 h 1928"/>
                  <a:gd name="T84" fmla="*/ 1863 w 3718"/>
                  <a:gd name="T85" fmla="*/ 625 h 1928"/>
                  <a:gd name="T86" fmla="*/ 1155 w 3718"/>
                  <a:gd name="T87" fmla="*/ 554 h 1928"/>
                  <a:gd name="T88" fmla="*/ 983 w 3718"/>
                  <a:gd name="T89" fmla="*/ 514 h 1928"/>
                  <a:gd name="T90" fmla="*/ 52 w 3718"/>
                  <a:gd name="T91" fmla="*/ 964 h 1928"/>
                  <a:gd name="T92" fmla="*/ 225 w 3718"/>
                  <a:gd name="T93" fmla="*/ 1187 h 1928"/>
                  <a:gd name="T94" fmla="*/ 184 w 3718"/>
                  <a:gd name="T95" fmla="*/ 1387 h 1928"/>
                  <a:gd name="T96" fmla="*/ 1394 w 3718"/>
                  <a:gd name="T97" fmla="*/ 1537 h 1928"/>
                  <a:gd name="T98" fmla="*/ 1727 w 3718"/>
                  <a:gd name="T99" fmla="*/ 1604 h 1928"/>
                  <a:gd name="T100" fmla="*/ 1868 w 3718"/>
                  <a:gd name="T101" fmla="*/ 1783 h 1928"/>
                  <a:gd name="T102" fmla="*/ 1928 w 3718"/>
                  <a:gd name="T103" fmla="*/ 1826 h 1928"/>
                  <a:gd name="T104" fmla="*/ 2453 w 3718"/>
                  <a:gd name="T105" fmla="*/ 1735 h 1928"/>
                  <a:gd name="T106" fmla="*/ 2655 w 3718"/>
                  <a:gd name="T107" fmla="*/ 1772 h 1928"/>
                  <a:gd name="T108" fmla="*/ 2574 w 3718"/>
                  <a:gd name="T109" fmla="*/ 1597 h 1928"/>
                  <a:gd name="T110" fmla="*/ 2967 w 3718"/>
                  <a:gd name="T111" fmla="*/ 1436 h 1928"/>
                  <a:gd name="T112" fmla="*/ 1119 w 3718"/>
                  <a:gd name="T113" fmla="*/ 664 h 1928"/>
                  <a:gd name="T114" fmla="*/ 990 w 3718"/>
                  <a:gd name="T115" fmla="*/ 760 h 1928"/>
                  <a:gd name="T116" fmla="*/ 985 w 3718"/>
                  <a:gd name="T117" fmla="*/ 939 h 1928"/>
                  <a:gd name="T118" fmla="*/ 1403 w 3718"/>
                  <a:gd name="T119" fmla="*/ 1433 h 1928"/>
                  <a:gd name="T120" fmla="*/ 2456 w 3718"/>
                  <a:gd name="T121" fmla="*/ 825 h 1928"/>
                  <a:gd name="T122" fmla="*/ 2386 w 3718"/>
                  <a:gd name="T123" fmla="*/ 823 h 19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18" h="1928">
                    <a:moveTo>
                      <a:pt x="2074" y="170"/>
                    </a:moveTo>
                    <a:cubicBezTo>
                      <a:pt x="2084" y="169"/>
                      <a:pt x="2113" y="177"/>
                      <a:pt x="2115" y="169"/>
                    </a:cubicBezTo>
                    <a:cubicBezTo>
                      <a:pt x="2117" y="160"/>
                      <a:pt x="2107" y="154"/>
                      <a:pt x="2091" y="154"/>
                    </a:cubicBezTo>
                    <a:cubicBezTo>
                      <a:pt x="2074" y="154"/>
                      <a:pt x="2009" y="165"/>
                      <a:pt x="2009" y="165"/>
                    </a:cubicBezTo>
                    <a:cubicBezTo>
                      <a:pt x="2009" y="165"/>
                      <a:pt x="2065" y="171"/>
                      <a:pt x="2074" y="170"/>
                    </a:cubicBezTo>
                    <a:close/>
                    <a:moveTo>
                      <a:pt x="1990" y="214"/>
                    </a:moveTo>
                    <a:cubicBezTo>
                      <a:pt x="2052" y="218"/>
                      <a:pt x="2047" y="199"/>
                      <a:pt x="2047" y="199"/>
                    </a:cubicBezTo>
                    <a:cubicBezTo>
                      <a:pt x="2043" y="189"/>
                      <a:pt x="2043" y="189"/>
                      <a:pt x="2043" y="189"/>
                    </a:cubicBezTo>
                    <a:cubicBezTo>
                      <a:pt x="2089" y="184"/>
                      <a:pt x="2089" y="184"/>
                      <a:pt x="2089" y="184"/>
                    </a:cubicBezTo>
                    <a:cubicBezTo>
                      <a:pt x="2078" y="176"/>
                      <a:pt x="2078" y="176"/>
                      <a:pt x="2078" y="176"/>
                    </a:cubicBezTo>
                    <a:cubicBezTo>
                      <a:pt x="2033" y="178"/>
                      <a:pt x="2033" y="178"/>
                      <a:pt x="2033" y="178"/>
                    </a:cubicBezTo>
                    <a:cubicBezTo>
                      <a:pt x="2025" y="186"/>
                      <a:pt x="2025" y="186"/>
                      <a:pt x="2025" y="186"/>
                    </a:cubicBezTo>
                    <a:cubicBezTo>
                      <a:pt x="2025" y="186"/>
                      <a:pt x="1966" y="173"/>
                      <a:pt x="1959" y="189"/>
                    </a:cubicBezTo>
                    <a:cubicBezTo>
                      <a:pt x="1953" y="205"/>
                      <a:pt x="1990" y="214"/>
                      <a:pt x="1990" y="214"/>
                    </a:cubicBezTo>
                    <a:close/>
                    <a:moveTo>
                      <a:pt x="1785" y="257"/>
                    </a:moveTo>
                    <a:cubicBezTo>
                      <a:pt x="1749" y="275"/>
                      <a:pt x="1749" y="275"/>
                      <a:pt x="1749" y="275"/>
                    </a:cubicBezTo>
                    <a:cubicBezTo>
                      <a:pt x="1749" y="275"/>
                      <a:pt x="1784" y="281"/>
                      <a:pt x="1768" y="284"/>
                    </a:cubicBezTo>
                    <a:cubicBezTo>
                      <a:pt x="1752" y="288"/>
                      <a:pt x="1694" y="292"/>
                      <a:pt x="1694" y="292"/>
                    </a:cubicBezTo>
                    <a:cubicBezTo>
                      <a:pt x="1680" y="308"/>
                      <a:pt x="1680" y="308"/>
                      <a:pt x="1680" y="308"/>
                    </a:cubicBezTo>
                    <a:cubicBezTo>
                      <a:pt x="1717" y="303"/>
                      <a:pt x="1717" y="303"/>
                      <a:pt x="1717" y="303"/>
                    </a:cubicBezTo>
                    <a:cubicBezTo>
                      <a:pt x="1717" y="303"/>
                      <a:pt x="1732" y="308"/>
                      <a:pt x="1751" y="311"/>
                    </a:cubicBezTo>
                    <a:cubicBezTo>
                      <a:pt x="1770" y="314"/>
                      <a:pt x="1826" y="295"/>
                      <a:pt x="1826" y="295"/>
                    </a:cubicBezTo>
                    <a:cubicBezTo>
                      <a:pt x="1824" y="304"/>
                      <a:pt x="1824" y="304"/>
                      <a:pt x="1824" y="304"/>
                    </a:cubicBezTo>
                    <a:cubicBezTo>
                      <a:pt x="1824" y="304"/>
                      <a:pt x="1862" y="299"/>
                      <a:pt x="1892" y="297"/>
                    </a:cubicBezTo>
                    <a:cubicBezTo>
                      <a:pt x="1920" y="295"/>
                      <a:pt x="1895" y="302"/>
                      <a:pt x="1885" y="304"/>
                    </a:cubicBezTo>
                    <a:cubicBezTo>
                      <a:pt x="1875" y="305"/>
                      <a:pt x="1841" y="309"/>
                      <a:pt x="1816" y="312"/>
                    </a:cubicBezTo>
                    <a:cubicBezTo>
                      <a:pt x="1791" y="315"/>
                      <a:pt x="1760" y="326"/>
                      <a:pt x="1760" y="326"/>
                    </a:cubicBezTo>
                    <a:cubicBezTo>
                      <a:pt x="1760" y="326"/>
                      <a:pt x="1788" y="331"/>
                      <a:pt x="1838" y="333"/>
                    </a:cubicBezTo>
                    <a:cubicBezTo>
                      <a:pt x="1886" y="334"/>
                      <a:pt x="1920" y="313"/>
                      <a:pt x="1920" y="313"/>
                    </a:cubicBezTo>
                    <a:cubicBezTo>
                      <a:pt x="1970" y="300"/>
                      <a:pt x="1970" y="300"/>
                      <a:pt x="1970" y="300"/>
                    </a:cubicBezTo>
                    <a:cubicBezTo>
                      <a:pt x="1970" y="300"/>
                      <a:pt x="1987" y="306"/>
                      <a:pt x="2035" y="300"/>
                    </a:cubicBezTo>
                    <a:cubicBezTo>
                      <a:pt x="2081" y="294"/>
                      <a:pt x="2084" y="284"/>
                      <a:pt x="2103" y="279"/>
                    </a:cubicBezTo>
                    <a:cubicBezTo>
                      <a:pt x="2121" y="274"/>
                      <a:pt x="2106" y="254"/>
                      <a:pt x="2086" y="254"/>
                    </a:cubicBezTo>
                    <a:cubicBezTo>
                      <a:pt x="2066" y="255"/>
                      <a:pt x="2072" y="268"/>
                      <a:pt x="2072" y="268"/>
                    </a:cubicBezTo>
                    <a:cubicBezTo>
                      <a:pt x="2045" y="267"/>
                      <a:pt x="2045" y="267"/>
                      <a:pt x="2045" y="267"/>
                    </a:cubicBezTo>
                    <a:cubicBezTo>
                      <a:pt x="2045" y="267"/>
                      <a:pt x="2050" y="260"/>
                      <a:pt x="2055" y="252"/>
                    </a:cubicBezTo>
                    <a:cubicBezTo>
                      <a:pt x="2060" y="244"/>
                      <a:pt x="2073" y="229"/>
                      <a:pt x="2061" y="229"/>
                    </a:cubicBezTo>
                    <a:cubicBezTo>
                      <a:pt x="2049" y="228"/>
                      <a:pt x="2024" y="239"/>
                      <a:pt x="1991" y="249"/>
                    </a:cubicBezTo>
                    <a:cubicBezTo>
                      <a:pt x="1957" y="259"/>
                      <a:pt x="2012" y="256"/>
                      <a:pt x="2012" y="256"/>
                    </a:cubicBezTo>
                    <a:cubicBezTo>
                      <a:pt x="2009" y="272"/>
                      <a:pt x="2009" y="272"/>
                      <a:pt x="2009" y="272"/>
                    </a:cubicBezTo>
                    <a:cubicBezTo>
                      <a:pt x="1929" y="282"/>
                      <a:pt x="1929" y="282"/>
                      <a:pt x="1929" y="282"/>
                    </a:cubicBezTo>
                    <a:cubicBezTo>
                      <a:pt x="1929" y="282"/>
                      <a:pt x="1923" y="262"/>
                      <a:pt x="1928" y="253"/>
                    </a:cubicBezTo>
                    <a:cubicBezTo>
                      <a:pt x="1932" y="244"/>
                      <a:pt x="1875" y="240"/>
                      <a:pt x="1875" y="240"/>
                    </a:cubicBezTo>
                    <a:lnTo>
                      <a:pt x="1785" y="257"/>
                    </a:lnTo>
                    <a:close/>
                    <a:moveTo>
                      <a:pt x="1887" y="230"/>
                    </a:moveTo>
                    <a:cubicBezTo>
                      <a:pt x="1905" y="215"/>
                      <a:pt x="1886" y="206"/>
                      <a:pt x="1868" y="216"/>
                    </a:cubicBezTo>
                    <a:cubicBezTo>
                      <a:pt x="1849" y="226"/>
                      <a:pt x="1887" y="230"/>
                      <a:pt x="1887" y="230"/>
                    </a:cubicBezTo>
                    <a:close/>
                    <a:moveTo>
                      <a:pt x="2008" y="377"/>
                    </a:moveTo>
                    <a:cubicBezTo>
                      <a:pt x="1988" y="361"/>
                      <a:pt x="1988" y="361"/>
                      <a:pt x="1988" y="361"/>
                    </a:cubicBezTo>
                    <a:cubicBezTo>
                      <a:pt x="1969" y="363"/>
                      <a:pt x="1969" y="363"/>
                      <a:pt x="1969" y="363"/>
                    </a:cubicBezTo>
                    <a:cubicBezTo>
                      <a:pt x="1969" y="363"/>
                      <a:pt x="1957" y="348"/>
                      <a:pt x="1932" y="357"/>
                    </a:cubicBezTo>
                    <a:cubicBezTo>
                      <a:pt x="1906" y="365"/>
                      <a:pt x="1964" y="389"/>
                      <a:pt x="1964" y="389"/>
                    </a:cubicBezTo>
                    <a:lnTo>
                      <a:pt x="2008" y="377"/>
                    </a:lnTo>
                    <a:close/>
                    <a:moveTo>
                      <a:pt x="1638" y="280"/>
                    </a:moveTo>
                    <a:cubicBezTo>
                      <a:pt x="1598" y="290"/>
                      <a:pt x="1626" y="295"/>
                      <a:pt x="1626" y="295"/>
                    </a:cubicBezTo>
                    <a:cubicBezTo>
                      <a:pt x="1683" y="281"/>
                      <a:pt x="1679" y="269"/>
                      <a:pt x="1638" y="280"/>
                    </a:cubicBezTo>
                    <a:close/>
                    <a:moveTo>
                      <a:pt x="1978" y="572"/>
                    </a:moveTo>
                    <a:cubicBezTo>
                      <a:pt x="1997" y="574"/>
                      <a:pt x="2006" y="580"/>
                      <a:pt x="2022" y="588"/>
                    </a:cubicBezTo>
                    <a:cubicBezTo>
                      <a:pt x="2038" y="596"/>
                      <a:pt x="2092" y="587"/>
                      <a:pt x="2092" y="587"/>
                    </a:cubicBezTo>
                    <a:cubicBezTo>
                      <a:pt x="2078" y="542"/>
                      <a:pt x="2078" y="542"/>
                      <a:pt x="2078" y="542"/>
                    </a:cubicBezTo>
                    <a:cubicBezTo>
                      <a:pt x="2012" y="528"/>
                      <a:pt x="2012" y="528"/>
                      <a:pt x="2012" y="528"/>
                    </a:cubicBezTo>
                    <a:cubicBezTo>
                      <a:pt x="1990" y="553"/>
                      <a:pt x="1990" y="553"/>
                      <a:pt x="1990" y="553"/>
                    </a:cubicBezTo>
                    <a:cubicBezTo>
                      <a:pt x="1968" y="555"/>
                      <a:pt x="1968" y="555"/>
                      <a:pt x="1968" y="555"/>
                    </a:cubicBezTo>
                    <a:cubicBezTo>
                      <a:pt x="1968" y="555"/>
                      <a:pt x="1959" y="571"/>
                      <a:pt x="1978" y="572"/>
                    </a:cubicBezTo>
                    <a:close/>
                    <a:moveTo>
                      <a:pt x="109" y="1360"/>
                    </a:moveTo>
                    <a:cubicBezTo>
                      <a:pt x="109" y="1369"/>
                      <a:pt x="126" y="1366"/>
                      <a:pt x="126" y="1366"/>
                    </a:cubicBezTo>
                    <a:cubicBezTo>
                      <a:pt x="124" y="1383"/>
                      <a:pt x="124" y="1383"/>
                      <a:pt x="124" y="1383"/>
                    </a:cubicBezTo>
                    <a:cubicBezTo>
                      <a:pt x="143" y="1371"/>
                      <a:pt x="143" y="1371"/>
                      <a:pt x="143" y="1371"/>
                    </a:cubicBezTo>
                    <a:cubicBezTo>
                      <a:pt x="141" y="1354"/>
                      <a:pt x="141" y="1354"/>
                      <a:pt x="141" y="1354"/>
                    </a:cubicBezTo>
                    <a:cubicBezTo>
                      <a:pt x="141" y="1354"/>
                      <a:pt x="109" y="1351"/>
                      <a:pt x="109" y="1360"/>
                    </a:cubicBezTo>
                    <a:close/>
                    <a:moveTo>
                      <a:pt x="166" y="1535"/>
                    </a:moveTo>
                    <a:cubicBezTo>
                      <a:pt x="166" y="1535"/>
                      <a:pt x="163" y="1521"/>
                      <a:pt x="164" y="1514"/>
                    </a:cubicBezTo>
                    <a:cubicBezTo>
                      <a:pt x="165" y="1507"/>
                      <a:pt x="170" y="1495"/>
                      <a:pt x="162" y="1485"/>
                    </a:cubicBezTo>
                    <a:cubicBezTo>
                      <a:pt x="162" y="1485"/>
                      <a:pt x="136" y="1481"/>
                      <a:pt x="127" y="1479"/>
                    </a:cubicBezTo>
                    <a:cubicBezTo>
                      <a:pt x="118" y="1477"/>
                      <a:pt x="103" y="1453"/>
                      <a:pt x="91" y="1452"/>
                    </a:cubicBezTo>
                    <a:cubicBezTo>
                      <a:pt x="79" y="1451"/>
                      <a:pt x="59" y="1463"/>
                      <a:pt x="64" y="1471"/>
                    </a:cubicBezTo>
                    <a:cubicBezTo>
                      <a:pt x="69" y="1479"/>
                      <a:pt x="78" y="1477"/>
                      <a:pt x="78" y="1477"/>
                    </a:cubicBezTo>
                    <a:cubicBezTo>
                      <a:pt x="87" y="1471"/>
                      <a:pt x="87" y="1471"/>
                      <a:pt x="87" y="1471"/>
                    </a:cubicBezTo>
                    <a:cubicBezTo>
                      <a:pt x="94" y="1476"/>
                      <a:pt x="94" y="1476"/>
                      <a:pt x="94" y="1476"/>
                    </a:cubicBezTo>
                    <a:cubicBezTo>
                      <a:pt x="88" y="1483"/>
                      <a:pt x="88" y="1483"/>
                      <a:pt x="88" y="1483"/>
                    </a:cubicBezTo>
                    <a:cubicBezTo>
                      <a:pt x="88" y="1483"/>
                      <a:pt x="59" y="1488"/>
                      <a:pt x="67" y="1497"/>
                    </a:cubicBezTo>
                    <a:cubicBezTo>
                      <a:pt x="75" y="1506"/>
                      <a:pt x="90" y="1497"/>
                      <a:pt x="90" y="1497"/>
                    </a:cubicBezTo>
                    <a:cubicBezTo>
                      <a:pt x="85" y="1512"/>
                      <a:pt x="85" y="1512"/>
                      <a:pt x="85" y="1512"/>
                    </a:cubicBezTo>
                    <a:cubicBezTo>
                      <a:pt x="100" y="1511"/>
                      <a:pt x="100" y="1511"/>
                      <a:pt x="100" y="1511"/>
                    </a:cubicBezTo>
                    <a:cubicBezTo>
                      <a:pt x="86" y="1522"/>
                      <a:pt x="86" y="1522"/>
                      <a:pt x="86" y="1522"/>
                    </a:cubicBezTo>
                    <a:cubicBezTo>
                      <a:pt x="112" y="1520"/>
                      <a:pt x="112" y="1520"/>
                      <a:pt x="112" y="1520"/>
                    </a:cubicBezTo>
                    <a:cubicBezTo>
                      <a:pt x="112" y="1520"/>
                      <a:pt x="85" y="1531"/>
                      <a:pt x="91" y="1536"/>
                    </a:cubicBezTo>
                    <a:cubicBezTo>
                      <a:pt x="97" y="1541"/>
                      <a:pt x="109" y="1520"/>
                      <a:pt x="115" y="1531"/>
                    </a:cubicBezTo>
                    <a:cubicBezTo>
                      <a:pt x="121" y="1542"/>
                      <a:pt x="99" y="1546"/>
                      <a:pt x="105" y="1553"/>
                    </a:cubicBezTo>
                    <a:cubicBezTo>
                      <a:pt x="111" y="1560"/>
                      <a:pt x="137" y="1555"/>
                      <a:pt x="137" y="1555"/>
                    </a:cubicBezTo>
                    <a:cubicBezTo>
                      <a:pt x="150" y="1547"/>
                      <a:pt x="150" y="1547"/>
                      <a:pt x="150" y="1547"/>
                    </a:cubicBezTo>
                    <a:cubicBezTo>
                      <a:pt x="138" y="1561"/>
                      <a:pt x="138" y="1561"/>
                      <a:pt x="138" y="1561"/>
                    </a:cubicBezTo>
                    <a:cubicBezTo>
                      <a:pt x="138" y="1561"/>
                      <a:pt x="113" y="1561"/>
                      <a:pt x="124" y="1570"/>
                    </a:cubicBezTo>
                    <a:cubicBezTo>
                      <a:pt x="135" y="1579"/>
                      <a:pt x="144" y="1579"/>
                      <a:pt x="144" y="1579"/>
                    </a:cubicBezTo>
                    <a:cubicBezTo>
                      <a:pt x="144" y="1579"/>
                      <a:pt x="168" y="1596"/>
                      <a:pt x="180" y="1586"/>
                    </a:cubicBezTo>
                    <a:cubicBezTo>
                      <a:pt x="192" y="1576"/>
                      <a:pt x="201" y="1568"/>
                      <a:pt x="192" y="1557"/>
                    </a:cubicBezTo>
                    <a:cubicBezTo>
                      <a:pt x="183" y="1546"/>
                      <a:pt x="166" y="1535"/>
                      <a:pt x="166" y="1535"/>
                    </a:cubicBezTo>
                    <a:close/>
                    <a:moveTo>
                      <a:pt x="1536" y="249"/>
                    </a:moveTo>
                    <a:cubicBezTo>
                      <a:pt x="1536" y="249"/>
                      <a:pt x="1574" y="242"/>
                      <a:pt x="1583" y="248"/>
                    </a:cubicBezTo>
                    <a:cubicBezTo>
                      <a:pt x="1593" y="254"/>
                      <a:pt x="1587" y="264"/>
                      <a:pt x="1599" y="264"/>
                    </a:cubicBezTo>
                    <a:cubicBezTo>
                      <a:pt x="1612" y="264"/>
                      <a:pt x="1634" y="259"/>
                      <a:pt x="1634" y="259"/>
                    </a:cubicBezTo>
                    <a:cubicBezTo>
                      <a:pt x="1634" y="259"/>
                      <a:pt x="1650" y="268"/>
                      <a:pt x="1665" y="261"/>
                    </a:cubicBezTo>
                    <a:cubicBezTo>
                      <a:pt x="1681" y="255"/>
                      <a:pt x="1678" y="238"/>
                      <a:pt x="1678" y="238"/>
                    </a:cubicBezTo>
                    <a:cubicBezTo>
                      <a:pt x="1700" y="238"/>
                      <a:pt x="1700" y="238"/>
                      <a:pt x="1700" y="238"/>
                    </a:cubicBezTo>
                    <a:cubicBezTo>
                      <a:pt x="1744" y="224"/>
                      <a:pt x="1744" y="224"/>
                      <a:pt x="1744" y="224"/>
                    </a:cubicBezTo>
                    <a:cubicBezTo>
                      <a:pt x="1719" y="247"/>
                      <a:pt x="1719" y="247"/>
                      <a:pt x="1719" y="247"/>
                    </a:cubicBezTo>
                    <a:cubicBezTo>
                      <a:pt x="1754" y="253"/>
                      <a:pt x="1754" y="253"/>
                      <a:pt x="1754" y="253"/>
                    </a:cubicBezTo>
                    <a:cubicBezTo>
                      <a:pt x="1791" y="238"/>
                      <a:pt x="1791" y="238"/>
                      <a:pt x="1791" y="238"/>
                    </a:cubicBezTo>
                    <a:cubicBezTo>
                      <a:pt x="1854" y="209"/>
                      <a:pt x="1854" y="209"/>
                      <a:pt x="1854" y="209"/>
                    </a:cubicBezTo>
                    <a:cubicBezTo>
                      <a:pt x="1854" y="209"/>
                      <a:pt x="1806" y="194"/>
                      <a:pt x="1797" y="194"/>
                    </a:cubicBezTo>
                    <a:cubicBezTo>
                      <a:pt x="1787" y="194"/>
                      <a:pt x="1734" y="190"/>
                      <a:pt x="1734" y="190"/>
                    </a:cubicBezTo>
                    <a:cubicBezTo>
                      <a:pt x="1683" y="198"/>
                      <a:pt x="1683" y="198"/>
                      <a:pt x="1683" y="198"/>
                    </a:cubicBezTo>
                    <a:cubicBezTo>
                      <a:pt x="1680" y="212"/>
                      <a:pt x="1680" y="212"/>
                      <a:pt x="1680" y="212"/>
                    </a:cubicBezTo>
                    <a:cubicBezTo>
                      <a:pt x="1602" y="218"/>
                      <a:pt x="1602" y="218"/>
                      <a:pt x="1602" y="218"/>
                    </a:cubicBezTo>
                    <a:cubicBezTo>
                      <a:pt x="1602" y="218"/>
                      <a:pt x="1576" y="209"/>
                      <a:pt x="1554" y="213"/>
                    </a:cubicBezTo>
                    <a:cubicBezTo>
                      <a:pt x="1532" y="216"/>
                      <a:pt x="1535" y="224"/>
                      <a:pt x="1535" y="224"/>
                    </a:cubicBezTo>
                    <a:cubicBezTo>
                      <a:pt x="1535" y="229"/>
                      <a:pt x="1536" y="249"/>
                      <a:pt x="1536" y="249"/>
                    </a:cubicBezTo>
                    <a:close/>
                    <a:moveTo>
                      <a:pt x="100" y="1323"/>
                    </a:moveTo>
                    <a:cubicBezTo>
                      <a:pt x="102" y="1338"/>
                      <a:pt x="113" y="1344"/>
                      <a:pt x="113" y="1344"/>
                    </a:cubicBezTo>
                    <a:cubicBezTo>
                      <a:pt x="121" y="1323"/>
                      <a:pt x="121" y="1323"/>
                      <a:pt x="121" y="1323"/>
                    </a:cubicBezTo>
                    <a:cubicBezTo>
                      <a:pt x="121" y="1323"/>
                      <a:pt x="98" y="1308"/>
                      <a:pt x="100" y="1323"/>
                    </a:cubicBezTo>
                    <a:close/>
                    <a:moveTo>
                      <a:pt x="82" y="1291"/>
                    </a:moveTo>
                    <a:cubicBezTo>
                      <a:pt x="78" y="1290"/>
                      <a:pt x="62" y="1294"/>
                      <a:pt x="56" y="1297"/>
                    </a:cubicBezTo>
                    <a:cubicBezTo>
                      <a:pt x="50" y="1300"/>
                      <a:pt x="45" y="1315"/>
                      <a:pt x="35" y="1315"/>
                    </a:cubicBezTo>
                    <a:cubicBezTo>
                      <a:pt x="25" y="1315"/>
                      <a:pt x="24" y="1307"/>
                      <a:pt x="34" y="1307"/>
                    </a:cubicBezTo>
                    <a:cubicBezTo>
                      <a:pt x="44" y="1307"/>
                      <a:pt x="62" y="1294"/>
                      <a:pt x="48" y="1295"/>
                    </a:cubicBezTo>
                    <a:cubicBezTo>
                      <a:pt x="34" y="1296"/>
                      <a:pt x="32" y="1299"/>
                      <a:pt x="32" y="1299"/>
                    </a:cubicBezTo>
                    <a:cubicBezTo>
                      <a:pt x="32" y="1299"/>
                      <a:pt x="35" y="1285"/>
                      <a:pt x="24" y="1289"/>
                    </a:cubicBezTo>
                    <a:cubicBezTo>
                      <a:pt x="13" y="1293"/>
                      <a:pt x="11" y="1306"/>
                      <a:pt x="11" y="1306"/>
                    </a:cubicBezTo>
                    <a:cubicBezTo>
                      <a:pt x="3" y="1324"/>
                      <a:pt x="3" y="1324"/>
                      <a:pt x="3" y="1324"/>
                    </a:cubicBezTo>
                    <a:cubicBezTo>
                      <a:pt x="3" y="1324"/>
                      <a:pt x="0" y="1336"/>
                      <a:pt x="3" y="1337"/>
                    </a:cubicBezTo>
                    <a:cubicBezTo>
                      <a:pt x="6" y="1338"/>
                      <a:pt x="9" y="1347"/>
                      <a:pt x="9" y="1347"/>
                    </a:cubicBezTo>
                    <a:cubicBezTo>
                      <a:pt x="0" y="1351"/>
                      <a:pt x="0" y="1351"/>
                      <a:pt x="0" y="1351"/>
                    </a:cubicBezTo>
                    <a:cubicBezTo>
                      <a:pt x="5" y="1386"/>
                      <a:pt x="5" y="1386"/>
                      <a:pt x="5" y="1386"/>
                    </a:cubicBezTo>
                    <a:cubicBezTo>
                      <a:pt x="5" y="1386"/>
                      <a:pt x="0" y="1398"/>
                      <a:pt x="16" y="1397"/>
                    </a:cubicBezTo>
                    <a:cubicBezTo>
                      <a:pt x="27" y="1396"/>
                      <a:pt x="16" y="1379"/>
                      <a:pt x="13" y="1372"/>
                    </a:cubicBezTo>
                    <a:cubicBezTo>
                      <a:pt x="10" y="1365"/>
                      <a:pt x="18" y="1359"/>
                      <a:pt x="23" y="1356"/>
                    </a:cubicBezTo>
                    <a:cubicBezTo>
                      <a:pt x="28" y="1353"/>
                      <a:pt x="36" y="1344"/>
                      <a:pt x="34" y="1340"/>
                    </a:cubicBezTo>
                    <a:cubicBezTo>
                      <a:pt x="34" y="1340"/>
                      <a:pt x="32" y="1329"/>
                      <a:pt x="38" y="1324"/>
                    </a:cubicBezTo>
                    <a:cubicBezTo>
                      <a:pt x="44" y="1319"/>
                      <a:pt x="55" y="1308"/>
                      <a:pt x="64" y="1303"/>
                    </a:cubicBezTo>
                    <a:cubicBezTo>
                      <a:pt x="73" y="1298"/>
                      <a:pt x="86" y="1292"/>
                      <a:pt x="82" y="1291"/>
                    </a:cubicBezTo>
                    <a:close/>
                    <a:moveTo>
                      <a:pt x="1263" y="454"/>
                    </a:moveTo>
                    <a:cubicBezTo>
                      <a:pt x="1268" y="466"/>
                      <a:pt x="1238" y="482"/>
                      <a:pt x="1266" y="478"/>
                    </a:cubicBezTo>
                    <a:cubicBezTo>
                      <a:pt x="1294" y="474"/>
                      <a:pt x="1328" y="462"/>
                      <a:pt x="1328" y="462"/>
                    </a:cubicBezTo>
                    <a:cubicBezTo>
                      <a:pt x="1354" y="468"/>
                      <a:pt x="1354" y="468"/>
                      <a:pt x="1354" y="468"/>
                    </a:cubicBezTo>
                    <a:cubicBezTo>
                      <a:pt x="1405" y="430"/>
                      <a:pt x="1405" y="430"/>
                      <a:pt x="1405" y="430"/>
                    </a:cubicBezTo>
                    <a:cubicBezTo>
                      <a:pt x="1493" y="402"/>
                      <a:pt x="1493" y="402"/>
                      <a:pt x="1493" y="402"/>
                    </a:cubicBezTo>
                    <a:cubicBezTo>
                      <a:pt x="1576" y="379"/>
                      <a:pt x="1576" y="379"/>
                      <a:pt x="1576" y="379"/>
                    </a:cubicBezTo>
                    <a:cubicBezTo>
                      <a:pt x="1642" y="366"/>
                      <a:pt x="1642" y="366"/>
                      <a:pt x="1642" y="366"/>
                    </a:cubicBezTo>
                    <a:cubicBezTo>
                      <a:pt x="1642" y="366"/>
                      <a:pt x="1603" y="334"/>
                      <a:pt x="1600" y="330"/>
                    </a:cubicBezTo>
                    <a:cubicBezTo>
                      <a:pt x="1596" y="327"/>
                      <a:pt x="1549" y="333"/>
                      <a:pt x="1549" y="333"/>
                    </a:cubicBezTo>
                    <a:cubicBezTo>
                      <a:pt x="1505" y="339"/>
                      <a:pt x="1505" y="339"/>
                      <a:pt x="1505" y="339"/>
                    </a:cubicBezTo>
                    <a:cubicBezTo>
                      <a:pt x="1481" y="321"/>
                      <a:pt x="1481" y="321"/>
                      <a:pt x="1481" y="321"/>
                    </a:cubicBezTo>
                    <a:cubicBezTo>
                      <a:pt x="1427" y="328"/>
                      <a:pt x="1427" y="328"/>
                      <a:pt x="1427" y="328"/>
                    </a:cubicBezTo>
                    <a:cubicBezTo>
                      <a:pt x="1393" y="338"/>
                      <a:pt x="1393" y="338"/>
                      <a:pt x="1393" y="338"/>
                    </a:cubicBezTo>
                    <a:cubicBezTo>
                      <a:pt x="1383" y="351"/>
                      <a:pt x="1383" y="351"/>
                      <a:pt x="1383" y="351"/>
                    </a:cubicBezTo>
                    <a:cubicBezTo>
                      <a:pt x="1372" y="371"/>
                      <a:pt x="1372" y="371"/>
                      <a:pt x="1372" y="371"/>
                    </a:cubicBezTo>
                    <a:cubicBezTo>
                      <a:pt x="1340" y="380"/>
                      <a:pt x="1340" y="380"/>
                      <a:pt x="1340" y="380"/>
                    </a:cubicBezTo>
                    <a:cubicBezTo>
                      <a:pt x="1294" y="393"/>
                      <a:pt x="1294" y="393"/>
                      <a:pt x="1294" y="393"/>
                    </a:cubicBezTo>
                    <a:cubicBezTo>
                      <a:pt x="1307" y="401"/>
                      <a:pt x="1307" y="401"/>
                      <a:pt x="1307" y="401"/>
                    </a:cubicBezTo>
                    <a:cubicBezTo>
                      <a:pt x="1227" y="437"/>
                      <a:pt x="1227" y="437"/>
                      <a:pt x="1227" y="437"/>
                    </a:cubicBezTo>
                    <a:cubicBezTo>
                      <a:pt x="1227" y="437"/>
                      <a:pt x="1259" y="442"/>
                      <a:pt x="1263" y="454"/>
                    </a:cubicBezTo>
                    <a:close/>
                    <a:moveTo>
                      <a:pt x="132" y="1313"/>
                    </a:moveTo>
                    <a:cubicBezTo>
                      <a:pt x="125" y="1331"/>
                      <a:pt x="125" y="1331"/>
                      <a:pt x="125" y="1331"/>
                    </a:cubicBezTo>
                    <a:cubicBezTo>
                      <a:pt x="127" y="1343"/>
                      <a:pt x="127" y="1343"/>
                      <a:pt x="127" y="1343"/>
                    </a:cubicBezTo>
                    <a:cubicBezTo>
                      <a:pt x="143" y="1333"/>
                      <a:pt x="143" y="1333"/>
                      <a:pt x="143" y="1333"/>
                    </a:cubicBezTo>
                    <a:lnTo>
                      <a:pt x="132" y="1313"/>
                    </a:lnTo>
                    <a:close/>
                    <a:moveTo>
                      <a:pt x="2786" y="403"/>
                    </a:moveTo>
                    <a:cubicBezTo>
                      <a:pt x="2802" y="409"/>
                      <a:pt x="2824" y="395"/>
                      <a:pt x="2824" y="395"/>
                    </a:cubicBezTo>
                    <a:cubicBezTo>
                      <a:pt x="2865" y="394"/>
                      <a:pt x="2865" y="394"/>
                      <a:pt x="2865" y="394"/>
                    </a:cubicBezTo>
                    <a:cubicBezTo>
                      <a:pt x="2865" y="394"/>
                      <a:pt x="2891" y="404"/>
                      <a:pt x="2899" y="398"/>
                    </a:cubicBezTo>
                    <a:cubicBezTo>
                      <a:pt x="2906" y="393"/>
                      <a:pt x="2900" y="370"/>
                      <a:pt x="2883" y="366"/>
                    </a:cubicBezTo>
                    <a:cubicBezTo>
                      <a:pt x="2865" y="362"/>
                      <a:pt x="2849" y="367"/>
                      <a:pt x="2849" y="367"/>
                    </a:cubicBezTo>
                    <a:cubicBezTo>
                      <a:pt x="2823" y="367"/>
                      <a:pt x="2823" y="367"/>
                      <a:pt x="2823" y="367"/>
                    </a:cubicBezTo>
                    <a:cubicBezTo>
                      <a:pt x="2823" y="367"/>
                      <a:pt x="2793" y="355"/>
                      <a:pt x="2782" y="364"/>
                    </a:cubicBezTo>
                    <a:cubicBezTo>
                      <a:pt x="2772" y="372"/>
                      <a:pt x="2768" y="378"/>
                      <a:pt x="2768" y="378"/>
                    </a:cubicBezTo>
                    <a:cubicBezTo>
                      <a:pt x="2781" y="385"/>
                      <a:pt x="2781" y="385"/>
                      <a:pt x="2781" y="385"/>
                    </a:cubicBezTo>
                    <a:cubicBezTo>
                      <a:pt x="2781" y="385"/>
                      <a:pt x="2772" y="397"/>
                      <a:pt x="2786" y="403"/>
                    </a:cubicBezTo>
                    <a:close/>
                    <a:moveTo>
                      <a:pt x="2471" y="347"/>
                    </a:moveTo>
                    <a:cubicBezTo>
                      <a:pt x="2457" y="346"/>
                      <a:pt x="2380" y="337"/>
                      <a:pt x="2339" y="339"/>
                    </a:cubicBezTo>
                    <a:cubicBezTo>
                      <a:pt x="2300" y="340"/>
                      <a:pt x="2311" y="339"/>
                      <a:pt x="2310" y="347"/>
                    </a:cubicBezTo>
                    <a:cubicBezTo>
                      <a:pt x="2308" y="356"/>
                      <a:pt x="2294" y="359"/>
                      <a:pt x="2260" y="367"/>
                    </a:cubicBezTo>
                    <a:cubicBezTo>
                      <a:pt x="2227" y="374"/>
                      <a:pt x="2259" y="375"/>
                      <a:pt x="2257" y="397"/>
                    </a:cubicBezTo>
                    <a:cubicBezTo>
                      <a:pt x="2245" y="414"/>
                      <a:pt x="2245" y="414"/>
                      <a:pt x="2245" y="414"/>
                    </a:cubicBezTo>
                    <a:cubicBezTo>
                      <a:pt x="2265" y="426"/>
                      <a:pt x="2265" y="426"/>
                      <a:pt x="2265" y="426"/>
                    </a:cubicBezTo>
                    <a:cubicBezTo>
                      <a:pt x="2318" y="404"/>
                      <a:pt x="2318" y="404"/>
                      <a:pt x="2318" y="404"/>
                    </a:cubicBezTo>
                    <a:cubicBezTo>
                      <a:pt x="2318" y="404"/>
                      <a:pt x="2299" y="397"/>
                      <a:pt x="2323" y="390"/>
                    </a:cubicBezTo>
                    <a:cubicBezTo>
                      <a:pt x="2348" y="383"/>
                      <a:pt x="2365" y="403"/>
                      <a:pt x="2365" y="403"/>
                    </a:cubicBezTo>
                    <a:cubicBezTo>
                      <a:pt x="2403" y="398"/>
                      <a:pt x="2403" y="398"/>
                      <a:pt x="2403" y="398"/>
                    </a:cubicBezTo>
                    <a:cubicBezTo>
                      <a:pt x="2398" y="383"/>
                      <a:pt x="2398" y="383"/>
                      <a:pt x="2398" y="383"/>
                    </a:cubicBezTo>
                    <a:cubicBezTo>
                      <a:pt x="2398" y="383"/>
                      <a:pt x="2447" y="381"/>
                      <a:pt x="2457" y="369"/>
                    </a:cubicBezTo>
                    <a:cubicBezTo>
                      <a:pt x="2467" y="358"/>
                      <a:pt x="2484" y="347"/>
                      <a:pt x="2471" y="347"/>
                    </a:cubicBezTo>
                    <a:close/>
                    <a:moveTo>
                      <a:pt x="2526" y="101"/>
                    </a:moveTo>
                    <a:cubicBezTo>
                      <a:pt x="2489" y="105"/>
                      <a:pt x="2489" y="105"/>
                      <a:pt x="2489" y="105"/>
                    </a:cubicBezTo>
                    <a:cubicBezTo>
                      <a:pt x="2503" y="123"/>
                      <a:pt x="2503" y="123"/>
                      <a:pt x="2503" y="123"/>
                    </a:cubicBezTo>
                    <a:lnTo>
                      <a:pt x="2526" y="101"/>
                    </a:lnTo>
                    <a:close/>
                    <a:moveTo>
                      <a:pt x="2406" y="324"/>
                    </a:moveTo>
                    <a:cubicBezTo>
                      <a:pt x="2417" y="317"/>
                      <a:pt x="2442" y="298"/>
                      <a:pt x="2438" y="290"/>
                    </a:cubicBezTo>
                    <a:cubicBezTo>
                      <a:pt x="2434" y="281"/>
                      <a:pt x="2400" y="283"/>
                      <a:pt x="2389" y="284"/>
                    </a:cubicBezTo>
                    <a:cubicBezTo>
                      <a:pt x="2366" y="286"/>
                      <a:pt x="2322" y="301"/>
                      <a:pt x="2334" y="309"/>
                    </a:cubicBezTo>
                    <a:cubicBezTo>
                      <a:pt x="2346" y="316"/>
                      <a:pt x="2406" y="324"/>
                      <a:pt x="2406" y="324"/>
                    </a:cubicBezTo>
                    <a:close/>
                    <a:moveTo>
                      <a:pt x="2634" y="123"/>
                    </a:moveTo>
                    <a:cubicBezTo>
                      <a:pt x="2598" y="131"/>
                      <a:pt x="2598" y="131"/>
                      <a:pt x="2598" y="131"/>
                    </a:cubicBezTo>
                    <a:cubicBezTo>
                      <a:pt x="2623" y="142"/>
                      <a:pt x="2623" y="142"/>
                      <a:pt x="2623" y="142"/>
                    </a:cubicBezTo>
                    <a:cubicBezTo>
                      <a:pt x="2623" y="142"/>
                      <a:pt x="2609" y="146"/>
                      <a:pt x="2611" y="156"/>
                    </a:cubicBezTo>
                    <a:cubicBezTo>
                      <a:pt x="2613" y="165"/>
                      <a:pt x="2640" y="162"/>
                      <a:pt x="2640" y="162"/>
                    </a:cubicBezTo>
                    <a:cubicBezTo>
                      <a:pt x="2627" y="171"/>
                      <a:pt x="2627" y="171"/>
                      <a:pt x="2627" y="171"/>
                    </a:cubicBezTo>
                    <a:cubicBezTo>
                      <a:pt x="2627" y="171"/>
                      <a:pt x="2645" y="175"/>
                      <a:pt x="2659" y="184"/>
                    </a:cubicBezTo>
                    <a:cubicBezTo>
                      <a:pt x="2673" y="192"/>
                      <a:pt x="2698" y="172"/>
                      <a:pt x="2698" y="172"/>
                    </a:cubicBezTo>
                    <a:cubicBezTo>
                      <a:pt x="2714" y="164"/>
                      <a:pt x="2714" y="164"/>
                      <a:pt x="2714" y="164"/>
                    </a:cubicBezTo>
                    <a:cubicBezTo>
                      <a:pt x="2714" y="164"/>
                      <a:pt x="2719" y="170"/>
                      <a:pt x="2725" y="181"/>
                    </a:cubicBezTo>
                    <a:cubicBezTo>
                      <a:pt x="2732" y="191"/>
                      <a:pt x="2756" y="173"/>
                      <a:pt x="2765" y="171"/>
                    </a:cubicBezTo>
                    <a:cubicBezTo>
                      <a:pt x="2774" y="169"/>
                      <a:pt x="2787" y="155"/>
                      <a:pt x="2787" y="155"/>
                    </a:cubicBezTo>
                    <a:cubicBezTo>
                      <a:pt x="2795" y="164"/>
                      <a:pt x="2795" y="164"/>
                      <a:pt x="2795" y="164"/>
                    </a:cubicBezTo>
                    <a:cubicBezTo>
                      <a:pt x="2795" y="164"/>
                      <a:pt x="2808" y="151"/>
                      <a:pt x="2810" y="146"/>
                    </a:cubicBezTo>
                    <a:cubicBezTo>
                      <a:pt x="2812" y="141"/>
                      <a:pt x="2865" y="143"/>
                      <a:pt x="2877" y="143"/>
                    </a:cubicBezTo>
                    <a:cubicBezTo>
                      <a:pt x="2889" y="143"/>
                      <a:pt x="2886" y="129"/>
                      <a:pt x="2886" y="129"/>
                    </a:cubicBezTo>
                    <a:cubicBezTo>
                      <a:pt x="2844" y="128"/>
                      <a:pt x="2844" y="128"/>
                      <a:pt x="2844" y="128"/>
                    </a:cubicBezTo>
                    <a:cubicBezTo>
                      <a:pt x="2864" y="117"/>
                      <a:pt x="2864" y="117"/>
                      <a:pt x="2864" y="117"/>
                    </a:cubicBezTo>
                    <a:cubicBezTo>
                      <a:pt x="2864" y="117"/>
                      <a:pt x="2872" y="97"/>
                      <a:pt x="2867" y="90"/>
                    </a:cubicBezTo>
                    <a:cubicBezTo>
                      <a:pt x="2863" y="84"/>
                      <a:pt x="2829" y="102"/>
                      <a:pt x="2829" y="102"/>
                    </a:cubicBezTo>
                    <a:cubicBezTo>
                      <a:pt x="2826" y="85"/>
                      <a:pt x="2826" y="85"/>
                      <a:pt x="2826" y="85"/>
                    </a:cubicBezTo>
                    <a:cubicBezTo>
                      <a:pt x="2794" y="91"/>
                      <a:pt x="2794" y="91"/>
                      <a:pt x="2794" y="91"/>
                    </a:cubicBezTo>
                    <a:cubicBezTo>
                      <a:pt x="2794" y="91"/>
                      <a:pt x="2791" y="71"/>
                      <a:pt x="2781" y="60"/>
                    </a:cubicBezTo>
                    <a:cubicBezTo>
                      <a:pt x="2772" y="49"/>
                      <a:pt x="2730" y="72"/>
                      <a:pt x="2730" y="72"/>
                    </a:cubicBezTo>
                    <a:cubicBezTo>
                      <a:pt x="2678" y="75"/>
                      <a:pt x="2678" y="75"/>
                      <a:pt x="2678" y="75"/>
                    </a:cubicBezTo>
                    <a:cubicBezTo>
                      <a:pt x="2695" y="88"/>
                      <a:pt x="2695" y="88"/>
                      <a:pt x="2695" y="88"/>
                    </a:cubicBezTo>
                    <a:cubicBezTo>
                      <a:pt x="2695" y="88"/>
                      <a:pt x="2658" y="85"/>
                      <a:pt x="2645" y="89"/>
                    </a:cubicBezTo>
                    <a:cubicBezTo>
                      <a:pt x="2633" y="93"/>
                      <a:pt x="2653" y="106"/>
                      <a:pt x="2653" y="106"/>
                    </a:cubicBezTo>
                    <a:cubicBezTo>
                      <a:pt x="2653" y="106"/>
                      <a:pt x="2596" y="100"/>
                      <a:pt x="2592" y="114"/>
                    </a:cubicBezTo>
                    <a:cubicBezTo>
                      <a:pt x="2587" y="128"/>
                      <a:pt x="2634" y="123"/>
                      <a:pt x="2634" y="123"/>
                    </a:cubicBezTo>
                    <a:close/>
                    <a:moveTo>
                      <a:pt x="2644" y="199"/>
                    </a:moveTo>
                    <a:cubicBezTo>
                      <a:pt x="2622" y="203"/>
                      <a:pt x="2622" y="213"/>
                      <a:pt x="2622" y="213"/>
                    </a:cubicBezTo>
                    <a:cubicBezTo>
                      <a:pt x="2640" y="216"/>
                      <a:pt x="2640" y="216"/>
                      <a:pt x="2640" y="216"/>
                    </a:cubicBezTo>
                    <a:cubicBezTo>
                      <a:pt x="2655" y="216"/>
                      <a:pt x="2667" y="195"/>
                      <a:pt x="2644" y="199"/>
                    </a:cubicBezTo>
                    <a:close/>
                    <a:moveTo>
                      <a:pt x="2488" y="226"/>
                    </a:moveTo>
                    <a:cubicBezTo>
                      <a:pt x="2484" y="226"/>
                      <a:pt x="2476" y="222"/>
                      <a:pt x="2476" y="222"/>
                    </a:cubicBezTo>
                    <a:cubicBezTo>
                      <a:pt x="2476" y="222"/>
                      <a:pt x="2416" y="222"/>
                      <a:pt x="2416" y="230"/>
                    </a:cubicBezTo>
                    <a:cubicBezTo>
                      <a:pt x="2416" y="239"/>
                      <a:pt x="2435" y="241"/>
                      <a:pt x="2435" y="241"/>
                    </a:cubicBezTo>
                    <a:cubicBezTo>
                      <a:pt x="2436" y="253"/>
                      <a:pt x="2436" y="253"/>
                      <a:pt x="2436" y="253"/>
                    </a:cubicBezTo>
                    <a:cubicBezTo>
                      <a:pt x="2436" y="253"/>
                      <a:pt x="2486" y="258"/>
                      <a:pt x="2490" y="256"/>
                    </a:cubicBezTo>
                    <a:cubicBezTo>
                      <a:pt x="2494" y="254"/>
                      <a:pt x="2506" y="255"/>
                      <a:pt x="2512" y="255"/>
                    </a:cubicBezTo>
                    <a:cubicBezTo>
                      <a:pt x="2510" y="263"/>
                      <a:pt x="2508" y="274"/>
                      <a:pt x="2508" y="274"/>
                    </a:cubicBezTo>
                    <a:cubicBezTo>
                      <a:pt x="2471" y="301"/>
                      <a:pt x="2471" y="301"/>
                      <a:pt x="2471" y="301"/>
                    </a:cubicBezTo>
                    <a:cubicBezTo>
                      <a:pt x="2485" y="307"/>
                      <a:pt x="2485" y="307"/>
                      <a:pt x="2485" y="307"/>
                    </a:cubicBezTo>
                    <a:cubicBezTo>
                      <a:pt x="2485" y="307"/>
                      <a:pt x="2461" y="322"/>
                      <a:pt x="2473" y="322"/>
                    </a:cubicBezTo>
                    <a:cubicBezTo>
                      <a:pt x="2485" y="322"/>
                      <a:pt x="2503" y="312"/>
                      <a:pt x="2503" y="312"/>
                    </a:cubicBezTo>
                    <a:cubicBezTo>
                      <a:pt x="2503" y="312"/>
                      <a:pt x="2494" y="325"/>
                      <a:pt x="2513" y="324"/>
                    </a:cubicBezTo>
                    <a:cubicBezTo>
                      <a:pt x="2532" y="323"/>
                      <a:pt x="2568" y="311"/>
                      <a:pt x="2568" y="311"/>
                    </a:cubicBezTo>
                    <a:cubicBezTo>
                      <a:pt x="2569" y="325"/>
                      <a:pt x="2569" y="325"/>
                      <a:pt x="2569" y="325"/>
                    </a:cubicBezTo>
                    <a:cubicBezTo>
                      <a:pt x="2614" y="322"/>
                      <a:pt x="2614" y="322"/>
                      <a:pt x="2614" y="322"/>
                    </a:cubicBezTo>
                    <a:cubicBezTo>
                      <a:pt x="2667" y="332"/>
                      <a:pt x="2667" y="332"/>
                      <a:pt x="2667" y="332"/>
                    </a:cubicBezTo>
                    <a:cubicBezTo>
                      <a:pt x="2731" y="327"/>
                      <a:pt x="2731" y="327"/>
                      <a:pt x="2731" y="327"/>
                    </a:cubicBezTo>
                    <a:cubicBezTo>
                      <a:pt x="2749" y="312"/>
                      <a:pt x="2749" y="312"/>
                      <a:pt x="2749" y="312"/>
                    </a:cubicBezTo>
                    <a:cubicBezTo>
                      <a:pt x="2749" y="312"/>
                      <a:pt x="2738" y="326"/>
                      <a:pt x="2751" y="327"/>
                    </a:cubicBezTo>
                    <a:cubicBezTo>
                      <a:pt x="2764" y="328"/>
                      <a:pt x="2839" y="326"/>
                      <a:pt x="2839" y="326"/>
                    </a:cubicBezTo>
                    <a:cubicBezTo>
                      <a:pt x="2846" y="312"/>
                      <a:pt x="2846" y="312"/>
                      <a:pt x="2846" y="312"/>
                    </a:cubicBezTo>
                    <a:cubicBezTo>
                      <a:pt x="2890" y="294"/>
                      <a:pt x="2890" y="294"/>
                      <a:pt x="2890" y="294"/>
                    </a:cubicBezTo>
                    <a:cubicBezTo>
                      <a:pt x="2879" y="290"/>
                      <a:pt x="2879" y="290"/>
                      <a:pt x="2879" y="290"/>
                    </a:cubicBezTo>
                    <a:cubicBezTo>
                      <a:pt x="2879" y="281"/>
                      <a:pt x="2879" y="281"/>
                      <a:pt x="2879" y="281"/>
                    </a:cubicBezTo>
                    <a:cubicBezTo>
                      <a:pt x="2879" y="281"/>
                      <a:pt x="2834" y="270"/>
                      <a:pt x="2818" y="270"/>
                    </a:cubicBezTo>
                    <a:cubicBezTo>
                      <a:pt x="2802" y="270"/>
                      <a:pt x="2681" y="294"/>
                      <a:pt x="2681" y="294"/>
                    </a:cubicBezTo>
                    <a:cubicBezTo>
                      <a:pt x="2681" y="294"/>
                      <a:pt x="2666" y="283"/>
                      <a:pt x="2658" y="282"/>
                    </a:cubicBezTo>
                    <a:cubicBezTo>
                      <a:pt x="2651" y="281"/>
                      <a:pt x="2621" y="294"/>
                      <a:pt x="2621" y="294"/>
                    </a:cubicBezTo>
                    <a:cubicBezTo>
                      <a:pt x="2608" y="280"/>
                      <a:pt x="2608" y="280"/>
                      <a:pt x="2608" y="280"/>
                    </a:cubicBezTo>
                    <a:cubicBezTo>
                      <a:pt x="2596" y="286"/>
                      <a:pt x="2596" y="286"/>
                      <a:pt x="2596" y="286"/>
                    </a:cubicBezTo>
                    <a:cubicBezTo>
                      <a:pt x="2574" y="282"/>
                      <a:pt x="2574" y="282"/>
                      <a:pt x="2574" y="282"/>
                    </a:cubicBezTo>
                    <a:cubicBezTo>
                      <a:pt x="2596" y="274"/>
                      <a:pt x="2596" y="274"/>
                      <a:pt x="2596" y="274"/>
                    </a:cubicBezTo>
                    <a:cubicBezTo>
                      <a:pt x="2583" y="268"/>
                      <a:pt x="2583" y="268"/>
                      <a:pt x="2583" y="268"/>
                    </a:cubicBezTo>
                    <a:cubicBezTo>
                      <a:pt x="2546" y="272"/>
                      <a:pt x="2546" y="272"/>
                      <a:pt x="2546" y="272"/>
                    </a:cubicBezTo>
                    <a:cubicBezTo>
                      <a:pt x="2570" y="265"/>
                      <a:pt x="2570" y="265"/>
                      <a:pt x="2570" y="265"/>
                    </a:cubicBezTo>
                    <a:cubicBezTo>
                      <a:pt x="2569" y="260"/>
                      <a:pt x="2569" y="260"/>
                      <a:pt x="2569" y="260"/>
                    </a:cubicBezTo>
                    <a:cubicBezTo>
                      <a:pt x="2615" y="259"/>
                      <a:pt x="2615" y="259"/>
                      <a:pt x="2615" y="259"/>
                    </a:cubicBezTo>
                    <a:cubicBezTo>
                      <a:pt x="2592" y="251"/>
                      <a:pt x="2592" y="251"/>
                      <a:pt x="2592" y="251"/>
                    </a:cubicBezTo>
                    <a:cubicBezTo>
                      <a:pt x="2576" y="251"/>
                      <a:pt x="2576" y="251"/>
                      <a:pt x="2576" y="251"/>
                    </a:cubicBezTo>
                    <a:cubicBezTo>
                      <a:pt x="2576" y="251"/>
                      <a:pt x="2588" y="241"/>
                      <a:pt x="2578" y="240"/>
                    </a:cubicBezTo>
                    <a:cubicBezTo>
                      <a:pt x="2570" y="239"/>
                      <a:pt x="2539" y="241"/>
                      <a:pt x="2523" y="244"/>
                    </a:cubicBezTo>
                    <a:cubicBezTo>
                      <a:pt x="2521" y="237"/>
                      <a:pt x="2492" y="226"/>
                      <a:pt x="2488" y="226"/>
                    </a:cubicBezTo>
                    <a:close/>
                    <a:moveTo>
                      <a:pt x="2173" y="281"/>
                    </a:moveTo>
                    <a:cubicBezTo>
                      <a:pt x="2182" y="281"/>
                      <a:pt x="2226" y="288"/>
                      <a:pt x="2226" y="288"/>
                    </a:cubicBezTo>
                    <a:cubicBezTo>
                      <a:pt x="2226" y="288"/>
                      <a:pt x="2202" y="308"/>
                      <a:pt x="2217" y="308"/>
                    </a:cubicBezTo>
                    <a:cubicBezTo>
                      <a:pt x="2232" y="308"/>
                      <a:pt x="2270" y="308"/>
                      <a:pt x="2270" y="308"/>
                    </a:cubicBezTo>
                    <a:cubicBezTo>
                      <a:pt x="2284" y="308"/>
                      <a:pt x="2309" y="302"/>
                      <a:pt x="2305" y="294"/>
                    </a:cubicBezTo>
                    <a:cubicBezTo>
                      <a:pt x="2301" y="285"/>
                      <a:pt x="2341" y="282"/>
                      <a:pt x="2339" y="273"/>
                    </a:cubicBezTo>
                    <a:cubicBezTo>
                      <a:pt x="2338" y="265"/>
                      <a:pt x="2376" y="259"/>
                      <a:pt x="2362" y="247"/>
                    </a:cubicBezTo>
                    <a:cubicBezTo>
                      <a:pt x="2348" y="236"/>
                      <a:pt x="2329" y="244"/>
                      <a:pt x="2329" y="244"/>
                    </a:cubicBezTo>
                    <a:cubicBezTo>
                      <a:pt x="2329" y="244"/>
                      <a:pt x="2282" y="229"/>
                      <a:pt x="2279" y="238"/>
                    </a:cubicBezTo>
                    <a:cubicBezTo>
                      <a:pt x="2276" y="246"/>
                      <a:pt x="2276" y="267"/>
                      <a:pt x="2276" y="267"/>
                    </a:cubicBezTo>
                    <a:cubicBezTo>
                      <a:pt x="2276" y="267"/>
                      <a:pt x="2255" y="242"/>
                      <a:pt x="2244" y="251"/>
                    </a:cubicBezTo>
                    <a:cubicBezTo>
                      <a:pt x="2232" y="259"/>
                      <a:pt x="2222" y="283"/>
                      <a:pt x="2213" y="276"/>
                    </a:cubicBezTo>
                    <a:cubicBezTo>
                      <a:pt x="2205" y="270"/>
                      <a:pt x="2200" y="245"/>
                      <a:pt x="2191" y="243"/>
                    </a:cubicBezTo>
                    <a:cubicBezTo>
                      <a:pt x="2181" y="241"/>
                      <a:pt x="2155" y="243"/>
                      <a:pt x="2156" y="256"/>
                    </a:cubicBezTo>
                    <a:cubicBezTo>
                      <a:pt x="2157" y="269"/>
                      <a:pt x="2165" y="281"/>
                      <a:pt x="2173" y="281"/>
                    </a:cubicBezTo>
                    <a:close/>
                    <a:moveTo>
                      <a:pt x="2477" y="192"/>
                    </a:moveTo>
                    <a:cubicBezTo>
                      <a:pt x="2487" y="195"/>
                      <a:pt x="2490" y="205"/>
                      <a:pt x="2490" y="205"/>
                    </a:cubicBezTo>
                    <a:cubicBezTo>
                      <a:pt x="2490" y="205"/>
                      <a:pt x="2532" y="202"/>
                      <a:pt x="2552" y="201"/>
                    </a:cubicBezTo>
                    <a:cubicBezTo>
                      <a:pt x="2571" y="200"/>
                      <a:pt x="2528" y="189"/>
                      <a:pt x="2528" y="189"/>
                    </a:cubicBezTo>
                    <a:cubicBezTo>
                      <a:pt x="2528" y="189"/>
                      <a:pt x="2537" y="179"/>
                      <a:pt x="2547" y="177"/>
                    </a:cubicBezTo>
                    <a:cubicBezTo>
                      <a:pt x="2558" y="175"/>
                      <a:pt x="2518" y="162"/>
                      <a:pt x="2488" y="156"/>
                    </a:cubicBezTo>
                    <a:cubicBezTo>
                      <a:pt x="2488" y="156"/>
                      <a:pt x="2464" y="160"/>
                      <a:pt x="2460" y="164"/>
                    </a:cubicBezTo>
                    <a:cubicBezTo>
                      <a:pt x="2456" y="169"/>
                      <a:pt x="2468" y="190"/>
                      <a:pt x="2477" y="192"/>
                    </a:cubicBezTo>
                    <a:close/>
                    <a:moveTo>
                      <a:pt x="2188" y="339"/>
                    </a:moveTo>
                    <a:cubicBezTo>
                      <a:pt x="2188" y="339"/>
                      <a:pt x="2127" y="341"/>
                      <a:pt x="2093" y="352"/>
                    </a:cubicBezTo>
                    <a:cubicBezTo>
                      <a:pt x="2060" y="363"/>
                      <a:pt x="2112" y="372"/>
                      <a:pt x="2101" y="385"/>
                    </a:cubicBezTo>
                    <a:cubicBezTo>
                      <a:pt x="2090" y="399"/>
                      <a:pt x="2068" y="364"/>
                      <a:pt x="2030" y="380"/>
                    </a:cubicBezTo>
                    <a:cubicBezTo>
                      <a:pt x="2042" y="405"/>
                      <a:pt x="2042" y="405"/>
                      <a:pt x="2042" y="405"/>
                    </a:cubicBezTo>
                    <a:cubicBezTo>
                      <a:pt x="2042" y="405"/>
                      <a:pt x="2048" y="415"/>
                      <a:pt x="2065" y="418"/>
                    </a:cubicBezTo>
                    <a:cubicBezTo>
                      <a:pt x="2083" y="421"/>
                      <a:pt x="2082" y="456"/>
                      <a:pt x="2082" y="456"/>
                    </a:cubicBezTo>
                    <a:cubicBezTo>
                      <a:pt x="2082" y="456"/>
                      <a:pt x="2152" y="447"/>
                      <a:pt x="2174" y="442"/>
                    </a:cubicBezTo>
                    <a:cubicBezTo>
                      <a:pt x="2196" y="436"/>
                      <a:pt x="2196" y="395"/>
                      <a:pt x="2196" y="395"/>
                    </a:cubicBezTo>
                    <a:cubicBezTo>
                      <a:pt x="2152" y="385"/>
                      <a:pt x="2152" y="385"/>
                      <a:pt x="2152" y="385"/>
                    </a:cubicBezTo>
                    <a:cubicBezTo>
                      <a:pt x="2152" y="385"/>
                      <a:pt x="2205" y="367"/>
                      <a:pt x="2232" y="358"/>
                    </a:cubicBezTo>
                    <a:cubicBezTo>
                      <a:pt x="2258" y="348"/>
                      <a:pt x="2188" y="339"/>
                      <a:pt x="2188" y="339"/>
                    </a:cubicBezTo>
                    <a:close/>
                    <a:moveTo>
                      <a:pt x="1929" y="499"/>
                    </a:moveTo>
                    <a:cubicBezTo>
                      <a:pt x="1927" y="493"/>
                      <a:pt x="1862" y="494"/>
                      <a:pt x="1862" y="494"/>
                    </a:cubicBezTo>
                    <a:cubicBezTo>
                      <a:pt x="1915" y="466"/>
                      <a:pt x="1915" y="466"/>
                      <a:pt x="1915" y="466"/>
                    </a:cubicBezTo>
                    <a:cubicBezTo>
                      <a:pt x="1915" y="466"/>
                      <a:pt x="1947" y="392"/>
                      <a:pt x="1918" y="383"/>
                    </a:cubicBezTo>
                    <a:cubicBezTo>
                      <a:pt x="1891" y="375"/>
                      <a:pt x="1852" y="393"/>
                      <a:pt x="1852" y="393"/>
                    </a:cubicBezTo>
                    <a:cubicBezTo>
                      <a:pt x="1852" y="393"/>
                      <a:pt x="1826" y="447"/>
                      <a:pt x="1802" y="450"/>
                    </a:cubicBezTo>
                    <a:cubicBezTo>
                      <a:pt x="1778" y="453"/>
                      <a:pt x="1818" y="413"/>
                      <a:pt x="1816" y="403"/>
                    </a:cubicBezTo>
                    <a:cubicBezTo>
                      <a:pt x="1814" y="393"/>
                      <a:pt x="1750" y="392"/>
                      <a:pt x="1750" y="392"/>
                    </a:cubicBezTo>
                    <a:cubicBezTo>
                      <a:pt x="1744" y="405"/>
                      <a:pt x="1744" y="405"/>
                      <a:pt x="1744" y="405"/>
                    </a:cubicBezTo>
                    <a:cubicBezTo>
                      <a:pt x="1744" y="405"/>
                      <a:pt x="1708" y="420"/>
                      <a:pt x="1671" y="423"/>
                    </a:cubicBezTo>
                    <a:cubicBezTo>
                      <a:pt x="1635" y="425"/>
                      <a:pt x="1687" y="412"/>
                      <a:pt x="1723" y="400"/>
                    </a:cubicBezTo>
                    <a:cubicBezTo>
                      <a:pt x="1761" y="388"/>
                      <a:pt x="1704" y="386"/>
                      <a:pt x="1704" y="386"/>
                    </a:cubicBezTo>
                    <a:cubicBezTo>
                      <a:pt x="1664" y="398"/>
                      <a:pt x="1664" y="398"/>
                      <a:pt x="1664" y="398"/>
                    </a:cubicBezTo>
                    <a:cubicBezTo>
                      <a:pt x="1636" y="401"/>
                      <a:pt x="1636" y="401"/>
                      <a:pt x="1636" y="401"/>
                    </a:cubicBezTo>
                    <a:cubicBezTo>
                      <a:pt x="1636" y="401"/>
                      <a:pt x="1651" y="391"/>
                      <a:pt x="1667" y="380"/>
                    </a:cubicBezTo>
                    <a:cubicBezTo>
                      <a:pt x="1682" y="369"/>
                      <a:pt x="1663" y="371"/>
                      <a:pt x="1663" y="371"/>
                    </a:cubicBezTo>
                    <a:cubicBezTo>
                      <a:pt x="1564" y="402"/>
                      <a:pt x="1564" y="402"/>
                      <a:pt x="1564" y="402"/>
                    </a:cubicBezTo>
                    <a:cubicBezTo>
                      <a:pt x="1550" y="403"/>
                      <a:pt x="1550" y="403"/>
                      <a:pt x="1550" y="403"/>
                    </a:cubicBezTo>
                    <a:cubicBezTo>
                      <a:pt x="1494" y="420"/>
                      <a:pt x="1494" y="420"/>
                      <a:pt x="1494" y="420"/>
                    </a:cubicBezTo>
                    <a:cubicBezTo>
                      <a:pt x="1496" y="428"/>
                      <a:pt x="1496" y="428"/>
                      <a:pt x="1496" y="428"/>
                    </a:cubicBezTo>
                    <a:cubicBezTo>
                      <a:pt x="1456" y="443"/>
                      <a:pt x="1456" y="443"/>
                      <a:pt x="1456" y="443"/>
                    </a:cubicBezTo>
                    <a:cubicBezTo>
                      <a:pt x="1447" y="453"/>
                      <a:pt x="1447" y="453"/>
                      <a:pt x="1447" y="453"/>
                    </a:cubicBezTo>
                    <a:cubicBezTo>
                      <a:pt x="1465" y="461"/>
                      <a:pt x="1465" y="461"/>
                      <a:pt x="1465" y="461"/>
                    </a:cubicBezTo>
                    <a:cubicBezTo>
                      <a:pt x="1465" y="461"/>
                      <a:pt x="1487" y="446"/>
                      <a:pt x="1492" y="458"/>
                    </a:cubicBezTo>
                    <a:cubicBezTo>
                      <a:pt x="1497" y="470"/>
                      <a:pt x="1451" y="464"/>
                      <a:pt x="1440" y="483"/>
                    </a:cubicBezTo>
                    <a:cubicBezTo>
                      <a:pt x="1428" y="503"/>
                      <a:pt x="1587" y="484"/>
                      <a:pt x="1565" y="502"/>
                    </a:cubicBezTo>
                    <a:cubicBezTo>
                      <a:pt x="1544" y="519"/>
                      <a:pt x="1417" y="508"/>
                      <a:pt x="1406" y="525"/>
                    </a:cubicBezTo>
                    <a:cubicBezTo>
                      <a:pt x="1395" y="542"/>
                      <a:pt x="1427" y="540"/>
                      <a:pt x="1450" y="552"/>
                    </a:cubicBezTo>
                    <a:cubicBezTo>
                      <a:pt x="1473" y="564"/>
                      <a:pt x="1438" y="557"/>
                      <a:pt x="1434" y="574"/>
                    </a:cubicBezTo>
                    <a:cubicBezTo>
                      <a:pt x="1430" y="590"/>
                      <a:pt x="1533" y="582"/>
                      <a:pt x="1533" y="582"/>
                    </a:cubicBezTo>
                    <a:cubicBezTo>
                      <a:pt x="1533" y="582"/>
                      <a:pt x="1702" y="566"/>
                      <a:pt x="1741" y="554"/>
                    </a:cubicBezTo>
                    <a:cubicBezTo>
                      <a:pt x="1768" y="545"/>
                      <a:pt x="1819" y="583"/>
                      <a:pt x="1851" y="586"/>
                    </a:cubicBezTo>
                    <a:cubicBezTo>
                      <a:pt x="1884" y="588"/>
                      <a:pt x="1895" y="551"/>
                      <a:pt x="1895" y="551"/>
                    </a:cubicBezTo>
                    <a:cubicBezTo>
                      <a:pt x="1843" y="550"/>
                      <a:pt x="1843" y="550"/>
                      <a:pt x="1843" y="550"/>
                    </a:cubicBezTo>
                    <a:cubicBezTo>
                      <a:pt x="1865" y="533"/>
                      <a:pt x="1865" y="533"/>
                      <a:pt x="1865" y="533"/>
                    </a:cubicBezTo>
                    <a:cubicBezTo>
                      <a:pt x="1865" y="533"/>
                      <a:pt x="1897" y="539"/>
                      <a:pt x="1929" y="532"/>
                    </a:cubicBezTo>
                    <a:cubicBezTo>
                      <a:pt x="1962" y="525"/>
                      <a:pt x="1931" y="506"/>
                      <a:pt x="1929" y="499"/>
                    </a:cubicBezTo>
                    <a:close/>
                    <a:moveTo>
                      <a:pt x="1909" y="590"/>
                    </a:moveTo>
                    <a:cubicBezTo>
                      <a:pt x="1941" y="591"/>
                      <a:pt x="1947" y="573"/>
                      <a:pt x="1925" y="574"/>
                    </a:cubicBezTo>
                    <a:cubicBezTo>
                      <a:pt x="1903" y="574"/>
                      <a:pt x="1909" y="590"/>
                      <a:pt x="1909" y="590"/>
                    </a:cubicBezTo>
                    <a:close/>
                    <a:moveTo>
                      <a:pt x="2183" y="224"/>
                    </a:moveTo>
                    <a:cubicBezTo>
                      <a:pt x="2201" y="221"/>
                      <a:pt x="2202" y="193"/>
                      <a:pt x="2187" y="193"/>
                    </a:cubicBezTo>
                    <a:cubicBezTo>
                      <a:pt x="2173" y="193"/>
                      <a:pt x="2166" y="226"/>
                      <a:pt x="2183" y="224"/>
                    </a:cubicBezTo>
                    <a:close/>
                    <a:moveTo>
                      <a:pt x="2307" y="155"/>
                    </a:moveTo>
                    <a:cubicBezTo>
                      <a:pt x="2307" y="155"/>
                      <a:pt x="2289" y="172"/>
                      <a:pt x="2303" y="173"/>
                    </a:cubicBezTo>
                    <a:cubicBezTo>
                      <a:pt x="2317" y="174"/>
                      <a:pt x="2349" y="175"/>
                      <a:pt x="2349" y="175"/>
                    </a:cubicBezTo>
                    <a:cubicBezTo>
                      <a:pt x="2349" y="175"/>
                      <a:pt x="2363" y="191"/>
                      <a:pt x="2380" y="191"/>
                    </a:cubicBezTo>
                    <a:cubicBezTo>
                      <a:pt x="2398" y="191"/>
                      <a:pt x="2411" y="177"/>
                      <a:pt x="2411" y="177"/>
                    </a:cubicBezTo>
                    <a:cubicBezTo>
                      <a:pt x="2402" y="169"/>
                      <a:pt x="2402" y="169"/>
                      <a:pt x="2402" y="169"/>
                    </a:cubicBezTo>
                    <a:cubicBezTo>
                      <a:pt x="2423" y="165"/>
                      <a:pt x="2423" y="165"/>
                      <a:pt x="2423" y="165"/>
                    </a:cubicBezTo>
                    <a:cubicBezTo>
                      <a:pt x="2393" y="143"/>
                      <a:pt x="2393" y="143"/>
                      <a:pt x="2393" y="143"/>
                    </a:cubicBezTo>
                    <a:cubicBezTo>
                      <a:pt x="2365" y="147"/>
                      <a:pt x="2365" y="147"/>
                      <a:pt x="2365" y="147"/>
                    </a:cubicBezTo>
                    <a:cubicBezTo>
                      <a:pt x="2355" y="132"/>
                      <a:pt x="2355" y="132"/>
                      <a:pt x="2355" y="132"/>
                    </a:cubicBezTo>
                    <a:cubicBezTo>
                      <a:pt x="2336" y="132"/>
                      <a:pt x="2336" y="132"/>
                      <a:pt x="2336" y="132"/>
                    </a:cubicBezTo>
                    <a:cubicBezTo>
                      <a:pt x="2314" y="132"/>
                      <a:pt x="2279" y="132"/>
                      <a:pt x="2278" y="144"/>
                    </a:cubicBezTo>
                    <a:cubicBezTo>
                      <a:pt x="2277" y="156"/>
                      <a:pt x="2307" y="155"/>
                      <a:pt x="2307" y="155"/>
                    </a:cubicBezTo>
                    <a:close/>
                    <a:moveTo>
                      <a:pt x="2285" y="872"/>
                    </a:moveTo>
                    <a:cubicBezTo>
                      <a:pt x="2230" y="922"/>
                      <a:pt x="2320" y="886"/>
                      <a:pt x="2320" y="886"/>
                    </a:cubicBezTo>
                    <a:cubicBezTo>
                      <a:pt x="2366" y="843"/>
                      <a:pt x="2339" y="821"/>
                      <a:pt x="2285" y="872"/>
                    </a:cubicBezTo>
                    <a:close/>
                    <a:moveTo>
                      <a:pt x="2943" y="929"/>
                    </a:moveTo>
                    <a:cubicBezTo>
                      <a:pt x="2953" y="921"/>
                      <a:pt x="2946" y="918"/>
                      <a:pt x="2946" y="918"/>
                    </a:cubicBezTo>
                    <a:cubicBezTo>
                      <a:pt x="2946" y="918"/>
                      <a:pt x="2924" y="913"/>
                      <a:pt x="2921" y="922"/>
                    </a:cubicBezTo>
                    <a:cubicBezTo>
                      <a:pt x="2921" y="922"/>
                      <a:pt x="2932" y="936"/>
                      <a:pt x="2943" y="929"/>
                    </a:cubicBezTo>
                    <a:close/>
                    <a:moveTo>
                      <a:pt x="2077" y="1360"/>
                    </a:moveTo>
                    <a:cubicBezTo>
                      <a:pt x="2105" y="1356"/>
                      <a:pt x="2070" y="1342"/>
                      <a:pt x="2070" y="1342"/>
                    </a:cubicBezTo>
                    <a:cubicBezTo>
                      <a:pt x="2026" y="1351"/>
                      <a:pt x="2048" y="1363"/>
                      <a:pt x="2077" y="1360"/>
                    </a:cubicBezTo>
                    <a:close/>
                    <a:moveTo>
                      <a:pt x="3172" y="665"/>
                    </a:moveTo>
                    <a:cubicBezTo>
                      <a:pt x="3167" y="669"/>
                      <a:pt x="3155" y="660"/>
                      <a:pt x="3155" y="660"/>
                    </a:cubicBezTo>
                    <a:cubicBezTo>
                      <a:pt x="3133" y="673"/>
                      <a:pt x="3133" y="673"/>
                      <a:pt x="3133" y="673"/>
                    </a:cubicBezTo>
                    <a:cubicBezTo>
                      <a:pt x="3135" y="656"/>
                      <a:pt x="3135" y="656"/>
                      <a:pt x="3135" y="656"/>
                    </a:cubicBezTo>
                    <a:cubicBezTo>
                      <a:pt x="3107" y="656"/>
                      <a:pt x="3107" y="656"/>
                      <a:pt x="3107" y="656"/>
                    </a:cubicBezTo>
                    <a:cubicBezTo>
                      <a:pt x="3107" y="656"/>
                      <a:pt x="3139" y="646"/>
                      <a:pt x="3133" y="636"/>
                    </a:cubicBezTo>
                    <a:cubicBezTo>
                      <a:pt x="3128" y="625"/>
                      <a:pt x="3079" y="624"/>
                      <a:pt x="3079" y="624"/>
                    </a:cubicBezTo>
                    <a:cubicBezTo>
                      <a:pt x="3073" y="613"/>
                      <a:pt x="3073" y="613"/>
                      <a:pt x="3073" y="613"/>
                    </a:cubicBezTo>
                    <a:cubicBezTo>
                      <a:pt x="3041" y="612"/>
                      <a:pt x="3041" y="612"/>
                      <a:pt x="3041" y="612"/>
                    </a:cubicBezTo>
                    <a:cubicBezTo>
                      <a:pt x="2997" y="581"/>
                      <a:pt x="2997" y="581"/>
                      <a:pt x="2997" y="581"/>
                    </a:cubicBezTo>
                    <a:cubicBezTo>
                      <a:pt x="3044" y="578"/>
                      <a:pt x="3044" y="578"/>
                      <a:pt x="3044" y="578"/>
                    </a:cubicBezTo>
                    <a:cubicBezTo>
                      <a:pt x="3024" y="564"/>
                      <a:pt x="3024" y="564"/>
                      <a:pt x="3024" y="564"/>
                    </a:cubicBezTo>
                    <a:cubicBezTo>
                      <a:pt x="3024" y="564"/>
                      <a:pt x="3037" y="560"/>
                      <a:pt x="3041" y="560"/>
                    </a:cubicBezTo>
                    <a:cubicBezTo>
                      <a:pt x="3045" y="560"/>
                      <a:pt x="3097" y="572"/>
                      <a:pt x="3091" y="558"/>
                    </a:cubicBezTo>
                    <a:cubicBezTo>
                      <a:pt x="3084" y="545"/>
                      <a:pt x="3029" y="548"/>
                      <a:pt x="3029" y="548"/>
                    </a:cubicBezTo>
                    <a:cubicBezTo>
                      <a:pt x="3011" y="546"/>
                      <a:pt x="3011" y="546"/>
                      <a:pt x="3011" y="546"/>
                    </a:cubicBezTo>
                    <a:cubicBezTo>
                      <a:pt x="3011" y="546"/>
                      <a:pt x="3088" y="544"/>
                      <a:pt x="3091" y="534"/>
                    </a:cubicBezTo>
                    <a:cubicBezTo>
                      <a:pt x="3093" y="525"/>
                      <a:pt x="3069" y="525"/>
                      <a:pt x="3069" y="525"/>
                    </a:cubicBezTo>
                    <a:cubicBezTo>
                      <a:pt x="3000" y="536"/>
                      <a:pt x="3000" y="536"/>
                      <a:pt x="3000" y="536"/>
                    </a:cubicBezTo>
                    <a:cubicBezTo>
                      <a:pt x="3040" y="512"/>
                      <a:pt x="3040" y="512"/>
                      <a:pt x="3040" y="512"/>
                    </a:cubicBezTo>
                    <a:cubicBezTo>
                      <a:pt x="3040" y="512"/>
                      <a:pt x="3093" y="518"/>
                      <a:pt x="3077" y="504"/>
                    </a:cubicBezTo>
                    <a:cubicBezTo>
                      <a:pt x="3061" y="489"/>
                      <a:pt x="3035" y="489"/>
                      <a:pt x="3035" y="489"/>
                    </a:cubicBezTo>
                    <a:cubicBezTo>
                      <a:pt x="3009" y="504"/>
                      <a:pt x="3009" y="504"/>
                      <a:pt x="3009" y="504"/>
                    </a:cubicBezTo>
                    <a:cubicBezTo>
                      <a:pt x="2999" y="500"/>
                      <a:pt x="2999" y="500"/>
                      <a:pt x="2999" y="500"/>
                    </a:cubicBezTo>
                    <a:cubicBezTo>
                      <a:pt x="2971" y="520"/>
                      <a:pt x="2971" y="520"/>
                      <a:pt x="2971" y="520"/>
                    </a:cubicBezTo>
                    <a:cubicBezTo>
                      <a:pt x="2973" y="505"/>
                      <a:pt x="2973" y="505"/>
                      <a:pt x="2973" y="505"/>
                    </a:cubicBezTo>
                    <a:cubicBezTo>
                      <a:pt x="2959" y="517"/>
                      <a:pt x="2959" y="517"/>
                      <a:pt x="2959" y="517"/>
                    </a:cubicBezTo>
                    <a:cubicBezTo>
                      <a:pt x="2973" y="497"/>
                      <a:pt x="2973" y="497"/>
                      <a:pt x="2973" y="497"/>
                    </a:cubicBezTo>
                    <a:cubicBezTo>
                      <a:pt x="2973" y="497"/>
                      <a:pt x="2993" y="502"/>
                      <a:pt x="3003" y="493"/>
                    </a:cubicBezTo>
                    <a:cubicBezTo>
                      <a:pt x="3012" y="484"/>
                      <a:pt x="3012" y="470"/>
                      <a:pt x="3005" y="472"/>
                    </a:cubicBezTo>
                    <a:cubicBezTo>
                      <a:pt x="2999" y="473"/>
                      <a:pt x="2991" y="485"/>
                      <a:pt x="2991" y="485"/>
                    </a:cubicBezTo>
                    <a:cubicBezTo>
                      <a:pt x="2967" y="486"/>
                      <a:pt x="2967" y="486"/>
                      <a:pt x="2967" y="486"/>
                    </a:cubicBezTo>
                    <a:cubicBezTo>
                      <a:pt x="2952" y="493"/>
                      <a:pt x="2952" y="493"/>
                      <a:pt x="2952" y="493"/>
                    </a:cubicBezTo>
                    <a:cubicBezTo>
                      <a:pt x="2968" y="474"/>
                      <a:pt x="2968" y="474"/>
                      <a:pt x="2968" y="474"/>
                    </a:cubicBezTo>
                    <a:cubicBezTo>
                      <a:pt x="2988" y="474"/>
                      <a:pt x="2988" y="474"/>
                      <a:pt x="2988" y="474"/>
                    </a:cubicBezTo>
                    <a:cubicBezTo>
                      <a:pt x="2988" y="474"/>
                      <a:pt x="3012" y="465"/>
                      <a:pt x="2999" y="457"/>
                    </a:cubicBezTo>
                    <a:cubicBezTo>
                      <a:pt x="2985" y="449"/>
                      <a:pt x="2941" y="469"/>
                      <a:pt x="2941" y="469"/>
                    </a:cubicBezTo>
                    <a:cubicBezTo>
                      <a:pt x="2933" y="460"/>
                      <a:pt x="2933" y="460"/>
                      <a:pt x="2933" y="460"/>
                    </a:cubicBezTo>
                    <a:cubicBezTo>
                      <a:pt x="2917" y="472"/>
                      <a:pt x="2917" y="472"/>
                      <a:pt x="2917" y="472"/>
                    </a:cubicBezTo>
                    <a:cubicBezTo>
                      <a:pt x="2932" y="452"/>
                      <a:pt x="2932" y="452"/>
                      <a:pt x="2932" y="452"/>
                    </a:cubicBezTo>
                    <a:cubicBezTo>
                      <a:pt x="2895" y="465"/>
                      <a:pt x="2895" y="465"/>
                      <a:pt x="2895" y="465"/>
                    </a:cubicBezTo>
                    <a:cubicBezTo>
                      <a:pt x="2895" y="450"/>
                      <a:pt x="2895" y="450"/>
                      <a:pt x="2895" y="450"/>
                    </a:cubicBezTo>
                    <a:cubicBezTo>
                      <a:pt x="2895" y="450"/>
                      <a:pt x="2931" y="441"/>
                      <a:pt x="2931" y="437"/>
                    </a:cubicBezTo>
                    <a:cubicBezTo>
                      <a:pt x="2931" y="433"/>
                      <a:pt x="2881" y="442"/>
                      <a:pt x="2881" y="442"/>
                    </a:cubicBezTo>
                    <a:cubicBezTo>
                      <a:pt x="2880" y="434"/>
                      <a:pt x="2880" y="434"/>
                      <a:pt x="2880" y="434"/>
                    </a:cubicBezTo>
                    <a:cubicBezTo>
                      <a:pt x="2880" y="434"/>
                      <a:pt x="2928" y="424"/>
                      <a:pt x="2923" y="417"/>
                    </a:cubicBezTo>
                    <a:cubicBezTo>
                      <a:pt x="2917" y="410"/>
                      <a:pt x="2852" y="409"/>
                      <a:pt x="2844" y="406"/>
                    </a:cubicBezTo>
                    <a:cubicBezTo>
                      <a:pt x="2836" y="404"/>
                      <a:pt x="2820" y="406"/>
                      <a:pt x="2819" y="410"/>
                    </a:cubicBezTo>
                    <a:cubicBezTo>
                      <a:pt x="2817" y="414"/>
                      <a:pt x="2828" y="428"/>
                      <a:pt x="2828" y="428"/>
                    </a:cubicBezTo>
                    <a:cubicBezTo>
                      <a:pt x="2804" y="424"/>
                      <a:pt x="2804" y="424"/>
                      <a:pt x="2804" y="424"/>
                    </a:cubicBezTo>
                    <a:cubicBezTo>
                      <a:pt x="2807" y="442"/>
                      <a:pt x="2807" y="442"/>
                      <a:pt x="2807" y="442"/>
                    </a:cubicBezTo>
                    <a:cubicBezTo>
                      <a:pt x="2793" y="425"/>
                      <a:pt x="2793" y="425"/>
                      <a:pt x="2793" y="425"/>
                    </a:cubicBezTo>
                    <a:cubicBezTo>
                      <a:pt x="2768" y="441"/>
                      <a:pt x="2768" y="441"/>
                      <a:pt x="2768" y="441"/>
                    </a:cubicBezTo>
                    <a:cubicBezTo>
                      <a:pt x="2768" y="441"/>
                      <a:pt x="2773" y="426"/>
                      <a:pt x="2768" y="422"/>
                    </a:cubicBezTo>
                    <a:cubicBezTo>
                      <a:pt x="2763" y="418"/>
                      <a:pt x="2715" y="438"/>
                      <a:pt x="2715" y="438"/>
                    </a:cubicBezTo>
                    <a:cubicBezTo>
                      <a:pt x="2727" y="413"/>
                      <a:pt x="2727" y="413"/>
                      <a:pt x="2727" y="413"/>
                    </a:cubicBezTo>
                    <a:cubicBezTo>
                      <a:pt x="2727" y="413"/>
                      <a:pt x="2767" y="412"/>
                      <a:pt x="2767" y="402"/>
                    </a:cubicBezTo>
                    <a:cubicBezTo>
                      <a:pt x="2767" y="393"/>
                      <a:pt x="2753" y="381"/>
                      <a:pt x="2753" y="381"/>
                    </a:cubicBezTo>
                    <a:cubicBezTo>
                      <a:pt x="2753" y="381"/>
                      <a:pt x="2777" y="364"/>
                      <a:pt x="2761" y="361"/>
                    </a:cubicBezTo>
                    <a:cubicBezTo>
                      <a:pt x="2745" y="358"/>
                      <a:pt x="2699" y="362"/>
                      <a:pt x="2699" y="362"/>
                    </a:cubicBezTo>
                    <a:cubicBezTo>
                      <a:pt x="2684" y="373"/>
                      <a:pt x="2684" y="373"/>
                      <a:pt x="2684" y="373"/>
                    </a:cubicBezTo>
                    <a:cubicBezTo>
                      <a:pt x="2625" y="374"/>
                      <a:pt x="2625" y="374"/>
                      <a:pt x="2625" y="374"/>
                    </a:cubicBezTo>
                    <a:cubicBezTo>
                      <a:pt x="2632" y="385"/>
                      <a:pt x="2632" y="385"/>
                      <a:pt x="2632" y="385"/>
                    </a:cubicBezTo>
                    <a:cubicBezTo>
                      <a:pt x="2652" y="393"/>
                      <a:pt x="2652" y="393"/>
                      <a:pt x="2652" y="393"/>
                    </a:cubicBezTo>
                    <a:cubicBezTo>
                      <a:pt x="2623" y="385"/>
                      <a:pt x="2623" y="385"/>
                      <a:pt x="2623" y="385"/>
                    </a:cubicBezTo>
                    <a:cubicBezTo>
                      <a:pt x="2629" y="401"/>
                      <a:pt x="2629" y="401"/>
                      <a:pt x="2629" y="401"/>
                    </a:cubicBezTo>
                    <a:cubicBezTo>
                      <a:pt x="2629" y="401"/>
                      <a:pt x="2597" y="388"/>
                      <a:pt x="2588" y="400"/>
                    </a:cubicBezTo>
                    <a:cubicBezTo>
                      <a:pt x="2579" y="412"/>
                      <a:pt x="2596" y="424"/>
                      <a:pt x="2596" y="424"/>
                    </a:cubicBezTo>
                    <a:cubicBezTo>
                      <a:pt x="2599" y="441"/>
                      <a:pt x="2599" y="441"/>
                      <a:pt x="2599" y="441"/>
                    </a:cubicBezTo>
                    <a:cubicBezTo>
                      <a:pt x="2599" y="441"/>
                      <a:pt x="2579" y="429"/>
                      <a:pt x="2568" y="432"/>
                    </a:cubicBezTo>
                    <a:cubicBezTo>
                      <a:pt x="2557" y="434"/>
                      <a:pt x="2543" y="453"/>
                      <a:pt x="2555" y="454"/>
                    </a:cubicBezTo>
                    <a:cubicBezTo>
                      <a:pt x="2567" y="456"/>
                      <a:pt x="2571" y="462"/>
                      <a:pt x="2571" y="462"/>
                    </a:cubicBezTo>
                    <a:cubicBezTo>
                      <a:pt x="2540" y="477"/>
                      <a:pt x="2540" y="477"/>
                      <a:pt x="2540" y="477"/>
                    </a:cubicBezTo>
                    <a:cubicBezTo>
                      <a:pt x="2500" y="481"/>
                      <a:pt x="2500" y="481"/>
                      <a:pt x="2500" y="481"/>
                    </a:cubicBezTo>
                    <a:cubicBezTo>
                      <a:pt x="2500" y="481"/>
                      <a:pt x="2539" y="473"/>
                      <a:pt x="2539" y="464"/>
                    </a:cubicBezTo>
                    <a:cubicBezTo>
                      <a:pt x="2539" y="454"/>
                      <a:pt x="2515" y="453"/>
                      <a:pt x="2525" y="440"/>
                    </a:cubicBezTo>
                    <a:cubicBezTo>
                      <a:pt x="2536" y="426"/>
                      <a:pt x="2549" y="425"/>
                      <a:pt x="2549" y="425"/>
                    </a:cubicBezTo>
                    <a:cubicBezTo>
                      <a:pt x="2549" y="406"/>
                      <a:pt x="2549" y="406"/>
                      <a:pt x="2549" y="406"/>
                    </a:cubicBezTo>
                    <a:cubicBezTo>
                      <a:pt x="2549" y="406"/>
                      <a:pt x="2584" y="384"/>
                      <a:pt x="2596" y="378"/>
                    </a:cubicBezTo>
                    <a:cubicBezTo>
                      <a:pt x="2608" y="373"/>
                      <a:pt x="2653" y="366"/>
                      <a:pt x="2645" y="362"/>
                    </a:cubicBezTo>
                    <a:cubicBezTo>
                      <a:pt x="2637" y="358"/>
                      <a:pt x="2591" y="357"/>
                      <a:pt x="2565" y="358"/>
                    </a:cubicBezTo>
                    <a:cubicBezTo>
                      <a:pt x="2540" y="360"/>
                      <a:pt x="2472" y="401"/>
                      <a:pt x="2472" y="401"/>
                    </a:cubicBezTo>
                    <a:cubicBezTo>
                      <a:pt x="2472" y="401"/>
                      <a:pt x="2443" y="414"/>
                      <a:pt x="2433" y="416"/>
                    </a:cubicBezTo>
                    <a:cubicBezTo>
                      <a:pt x="2424" y="417"/>
                      <a:pt x="2420" y="428"/>
                      <a:pt x="2420" y="428"/>
                    </a:cubicBezTo>
                    <a:cubicBezTo>
                      <a:pt x="2420" y="428"/>
                      <a:pt x="2373" y="454"/>
                      <a:pt x="2391" y="461"/>
                    </a:cubicBezTo>
                    <a:cubicBezTo>
                      <a:pt x="2408" y="468"/>
                      <a:pt x="2460" y="464"/>
                      <a:pt x="2453" y="473"/>
                    </a:cubicBezTo>
                    <a:cubicBezTo>
                      <a:pt x="2447" y="482"/>
                      <a:pt x="2360" y="481"/>
                      <a:pt x="2381" y="496"/>
                    </a:cubicBezTo>
                    <a:cubicBezTo>
                      <a:pt x="2403" y="510"/>
                      <a:pt x="2429" y="513"/>
                      <a:pt x="2429" y="513"/>
                    </a:cubicBezTo>
                    <a:cubicBezTo>
                      <a:pt x="2460" y="501"/>
                      <a:pt x="2460" y="501"/>
                      <a:pt x="2460" y="501"/>
                    </a:cubicBezTo>
                    <a:cubicBezTo>
                      <a:pt x="2460" y="501"/>
                      <a:pt x="2451" y="517"/>
                      <a:pt x="2473" y="517"/>
                    </a:cubicBezTo>
                    <a:cubicBezTo>
                      <a:pt x="2496" y="517"/>
                      <a:pt x="2584" y="536"/>
                      <a:pt x="2595" y="530"/>
                    </a:cubicBezTo>
                    <a:cubicBezTo>
                      <a:pt x="2605" y="525"/>
                      <a:pt x="2581" y="513"/>
                      <a:pt x="2581" y="513"/>
                    </a:cubicBezTo>
                    <a:cubicBezTo>
                      <a:pt x="2581" y="513"/>
                      <a:pt x="2648" y="520"/>
                      <a:pt x="2659" y="521"/>
                    </a:cubicBezTo>
                    <a:cubicBezTo>
                      <a:pt x="2669" y="522"/>
                      <a:pt x="2696" y="533"/>
                      <a:pt x="2705" y="528"/>
                    </a:cubicBezTo>
                    <a:cubicBezTo>
                      <a:pt x="2715" y="522"/>
                      <a:pt x="2696" y="502"/>
                      <a:pt x="2696" y="502"/>
                    </a:cubicBezTo>
                    <a:cubicBezTo>
                      <a:pt x="2727" y="496"/>
                      <a:pt x="2727" y="496"/>
                      <a:pt x="2727" y="496"/>
                    </a:cubicBezTo>
                    <a:cubicBezTo>
                      <a:pt x="2727" y="496"/>
                      <a:pt x="2735" y="518"/>
                      <a:pt x="2739" y="517"/>
                    </a:cubicBezTo>
                    <a:cubicBezTo>
                      <a:pt x="2743" y="516"/>
                      <a:pt x="2757" y="532"/>
                      <a:pt x="2757" y="532"/>
                    </a:cubicBezTo>
                    <a:cubicBezTo>
                      <a:pt x="2777" y="525"/>
                      <a:pt x="2777" y="525"/>
                      <a:pt x="2777" y="525"/>
                    </a:cubicBezTo>
                    <a:cubicBezTo>
                      <a:pt x="2777" y="525"/>
                      <a:pt x="2769" y="545"/>
                      <a:pt x="2773" y="546"/>
                    </a:cubicBezTo>
                    <a:cubicBezTo>
                      <a:pt x="2777" y="548"/>
                      <a:pt x="2807" y="554"/>
                      <a:pt x="2807" y="554"/>
                    </a:cubicBezTo>
                    <a:cubicBezTo>
                      <a:pt x="2807" y="554"/>
                      <a:pt x="2785" y="573"/>
                      <a:pt x="2793" y="573"/>
                    </a:cubicBezTo>
                    <a:cubicBezTo>
                      <a:pt x="2801" y="573"/>
                      <a:pt x="2820" y="573"/>
                      <a:pt x="2820" y="573"/>
                    </a:cubicBezTo>
                    <a:cubicBezTo>
                      <a:pt x="2816" y="590"/>
                      <a:pt x="2816" y="590"/>
                      <a:pt x="2816" y="590"/>
                    </a:cubicBezTo>
                    <a:cubicBezTo>
                      <a:pt x="2816" y="590"/>
                      <a:pt x="2849" y="594"/>
                      <a:pt x="2849" y="610"/>
                    </a:cubicBezTo>
                    <a:cubicBezTo>
                      <a:pt x="2849" y="626"/>
                      <a:pt x="2827" y="660"/>
                      <a:pt x="2821" y="661"/>
                    </a:cubicBezTo>
                    <a:cubicBezTo>
                      <a:pt x="2816" y="662"/>
                      <a:pt x="2728" y="701"/>
                      <a:pt x="2728" y="701"/>
                    </a:cubicBezTo>
                    <a:cubicBezTo>
                      <a:pt x="2728" y="701"/>
                      <a:pt x="2756" y="720"/>
                      <a:pt x="2741" y="726"/>
                    </a:cubicBezTo>
                    <a:cubicBezTo>
                      <a:pt x="2727" y="733"/>
                      <a:pt x="2707" y="734"/>
                      <a:pt x="2707" y="734"/>
                    </a:cubicBezTo>
                    <a:cubicBezTo>
                      <a:pt x="2655" y="741"/>
                      <a:pt x="2655" y="741"/>
                      <a:pt x="2655" y="741"/>
                    </a:cubicBezTo>
                    <a:cubicBezTo>
                      <a:pt x="2649" y="756"/>
                      <a:pt x="2649" y="756"/>
                      <a:pt x="2649" y="756"/>
                    </a:cubicBezTo>
                    <a:cubicBezTo>
                      <a:pt x="2640" y="742"/>
                      <a:pt x="2640" y="742"/>
                      <a:pt x="2640" y="742"/>
                    </a:cubicBezTo>
                    <a:cubicBezTo>
                      <a:pt x="2640" y="742"/>
                      <a:pt x="2613" y="733"/>
                      <a:pt x="2600" y="736"/>
                    </a:cubicBezTo>
                    <a:cubicBezTo>
                      <a:pt x="2587" y="738"/>
                      <a:pt x="2588" y="750"/>
                      <a:pt x="2588" y="750"/>
                    </a:cubicBezTo>
                    <a:cubicBezTo>
                      <a:pt x="2588" y="750"/>
                      <a:pt x="2543" y="760"/>
                      <a:pt x="2543" y="776"/>
                    </a:cubicBezTo>
                    <a:cubicBezTo>
                      <a:pt x="2543" y="800"/>
                      <a:pt x="2577" y="794"/>
                      <a:pt x="2604" y="785"/>
                    </a:cubicBezTo>
                    <a:cubicBezTo>
                      <a:pt x="2631" y="776"/>
                      <a:pt x="2637" y="777"/>
                      <a:pt x="2637" y="777"/>
                    </a:cubicBezTo>
                    <a:cubicBezTo>
                      <a:pt x="2637" y="777"/>
                      <a:pt x="2656" y="790"/>
                      <a:pt x="2663" y="785"/>
                    </a:cubicBezTo>
                    <a:cubicBezTo>
                      <a:pt x="2669" y="780"/>
                      <a:pt x="2665" y="769"/>
                      <a:pt x="2665" y="769"/>
                    </a:cubicBezTo>
                    <a:cubicBezTo>
                      <a:pt x="2681" y="754"/>
                      <a:pt x="2681" y="754"/>
                      <a:pt x="2681" y="754"/>
                    </a:cubicBezTo>
                    <a:cubicBezTo>
                      <a:pt x="2681" y="754"/>
                      <a:pt x="2668" y="766"/>
                      <a:pt x="2677" y="769"/>
                    </a:cubicBezTo>
                    <a:cubicBezTo>
                      <a:pt x="2687" y="772"/>
                      <a:pt x="2721" y="772"/>
                      <a:pt x="2721" y="772"/>
                    </a:cubicBezTo>
                    <a:cubicBezTo>
                      <a:pt x="2721" y="772"/>
                      <a:pt x="2707" y="778"/>
                      <a:pt x="2708" y="785"/>
                    </a:cubicBezTo>
                    <a:cubicBezTo>
                      <a:pt x="2709" y="792"/>
                      <a:pt x="2731" y="796"/>
                      <a:pt x="2731" y="796"/>
                    </a:cubicBezTo>
                    <a:cubicBezTo>
                      <a:pt x="2731" y="796"/>
                      <a:pt x="2717" y="805"/>
                      <a:pt x="2728" y="812"/>
                    </a:cubicBezTo>
                    <a:cubicBezTo>
                      <a:pt x="2739" y="818"/>
                      <a:pt x="2763" y="818"/>
                      <a:pt x="2763" y="818"/>
                    </a:cubicBezTo>
                    <a:cubicBezTo>
                      <a:pt x="2732" y="829"/>
                      <a:pt x="2732" y="829"/>
                      <a:pt x="2732" y="829"/>
                    </a:cubicBezTo>
                    <a:cubicBezTo>
                      <a:pt x="2732" y="829"/>
                      <a:pt x="2737" y="850"/>
                      <a:pt x="2743" y="849"/>
                    </a:cubicBezTo>
                    <a:cubicBezTo>
                      <a:pt x="2748" y="848"/>
                      <a:pt x="2759" y="841"/>
                      <a:pt x="2759" y="841"/>
                    </a:cubicBezTo>
                    <a:cubicBezTo>
                      <a:pt x="2759" y="841"/>
                      <a:pt x="2761" y="856"/>
                      <a:pt x="2771" y="857"/>
                    </a:cubicBezTo>
                    <a:cubicBezTo>
                      <a:pt x="2780" y="858"/>
                      <a:pt x="2801" y="861"/>
                      <a:pt x="2801" y="861"/>
                    </a:cubicBezTo>
                    <a:cubicBezTo>
                      <a:pt x="2801" y="861"/>
                      <a:pt x="2800" y="878"/>
                      <a:pt x="2816" y="882"/>
                    </a:cubicBezTo>
                    <a:cubicBezTo>
                      <a:pt x="2832" y="886"/>
                      <a:pt x="2843" y="878"/>
                      <a:pt x="2857" y="886"/>
                    </a:cubicBezTo>
                    <a:cubicBezTo>
                      <a:pt x="2872" y="894"/>
                      <a:pt x="2908" y="909"/>
                      <a:pt x="2908" y="909"/>
                    </a:cubicBezTo>
                    <a:cubicBezTo>
                      <a:pt x="2908" y="909"/>
                      <a:pt x="2919" y="889"/>
                      <a:pt x="2907" y="876"/>
                    </a:cubicBezTo>
                    <a:cubicBezTo>
                      <a:pt x="2895" y="862"/>
                      <a:pt x="2875" y="850"/>
                      <a:pt x="2875" y="850"/>
                    </a:cubicBezTo>
                    <a:cubicBezTo>
                      <a:pt x="2875" y="850"/>
                      <a:pt x="2855" y="825"/>
                      <a:pt x="2860" y="817"/>
                    </a:cubicBezTo>
                    <a:cubicBezTo>
                      <a:pt x="2865" y="809"/>
                      <a:pt x="2888" y="832"/>
                      <a:pt x="2888" y="832"/>
                    </a:cubicBezTo>
                    <a:cubicBezTo>
                      <a:pt x="2888" y="812"/>
                      <a:pt x="2888" y="812"/>
                      <a:pt x="2888" y="812"/>
                    </a:cubicBezTo>
                    <a:cubicBezTo>
                      <a:pt x="2888" y="812"/>
                      <a:pt x="2897" y="837"/>
                      <a:pt x="2907" y="837"/>
                    </a:cubicBezTo>
                    <a:cubicBezTo>
                      <a:pt x="2916" y="837"/>
                      <a:pt x="2931" y="833"/>
                      <a:pt x="2931" y="833"/>
                    </a:cubicBezTo>
                    <a:cubicBezTo>
                      <a:pt x="2931" y="833"/>
                      <a:pt x="2927" y="854"/>
                      <a:pt x="2937" y="853"/>
                    </a:cubicBezTo>
                    <a:cubicBezTo>
                      <a:pt x="2948" y="852"/>
                      <a:pt x="2952" y="864"/>
                      <a:pt x="2952" y="864"/>
                    </a:cubicBezTo>
                    <a:cubicBezTo>
                      <a:pt x="2965" y="849"/>
                      <a:pt x="2965" y="849"/>
                      <a:pt x="2965" y="849"/>
                    </a:cubicBezTo>
                    <a:cubicBezTo>
                      <a:pt x="2965" y="849"/>
                      <a:pt x="2975" y="861"/>
                      <a:pt x="2980" y="858"/>
                    </a:cubicBezTo>
                    <a:cubicBezTo>
                      <a:pt x="2985" y="856"/>
                      <a:pt x="2979" y="840"/>
                      <a:pt x="2979" y="840"/>
                    </a:cubicBezTo>
                    <a:cubicBezTo>
                      <a:pt x="2989" y="809"/>
                      <a:pt x="2989" y="809"/>
                      <a:pt x="2989" y="809"/>
                    </a:cubicBezTo>
                    <a:cubicBezTo>
                      <a:pt x="2989" y="809"/>
                      <a:pt x="2989" y="836"/>
                      <a:pt x="2997" y="836"/>
                    </a:cubicBezTo>
                    <a:cubicBezTo>
                      <a:pt x="3005" y="836"/>
                      <a:pt x="3009" y="808"/>
                      <a:pt x="3009" y="808"/>
                    </a:cubicBezTo>
                    <a:cubicBezTo>
                      <a:pt x="2995" y="792"/>
                      <a:pt x="2995" y="792"/>
                      <a:pt x="2995" y="792"/>
                    </a:cubicBezTo>
                    <a:cubicBezTo>
                      <a:pt x="3009" y="788"/>
                      <a:pt x="3009" y="788"/>
                      <a:pt x="3009" y="788"/>
                    </a:cubicBezTo>
                    <a:cubicBezTo>
                      <a:pt x="2997" y="778"/>
                      <a:pt x="2997" y="778"/>
                      <a:pt x="2997" y="778"/>
                    </a:cubicBezTo>
                    <a:cubicBezTo>
                      <a:pt x="2999" y="765"/>
                      <a:pt x="2999" y="765"/>
                      <a:pt x="2999" y="765"/>
                    </a:cubicBezTo>
                    <a:cubicBezTo>
                      <a:pt x="2979" y="768"/>
                      <a:pt x="2979" y="768"/>
                      <a:pt x="2979" y="768"/>
                    </a:cubicBezTo>
                    <a:cubicBezTo>
                      <a:pt x="2979" y="757"/>
                      <a:pt x="2979" y="757"/>
                      <a:pt x="2979" y="757"/>
                    </a:cubicBezTo>
                    <a:cubicBezTo>
                      <a:pt x="2964" y="757"/>
                      <a:pt x="2964" y="757"/>
                      <a:pt x="2964" y="757"/>
                    </a:cubicBezTo>
                    <a:cubicBezTo>
                      <a:pt x="2963" y="724"/>
                      <a:pt x="2963" y="724"/>
                      <a:pt x="2963" y="724"/>
                    </a:cubicBezTo>
                    <a:cubicBezTo>
                      <a:pt x="2941" y="725"/>
                      <a:pt x="2941" y="725"/>
                      <a:pt x="2941" y="725"/>
                    </a:cubicBezTo>
                    <a:cubicBezTo>
                      <a:pt x="2941" y="725"/>
                      <a:pt x="2929" y="705"/>
                      <a:pt x="2941" y="702"/>
                    </a:cubicBezTo>
                    <a:cubicBezTo>
                      <a:pt x="2953" y="700"/>
                      <a:pt x="2961" y="717"/>
                      <a:pt x="2969" y="714"/>
                    </a:cubicBezTo>
                    <a:cubicBezTo>
                      <a:pt x="2977" y="712"/>
                      <a:pt x="2976" y="686"/>
                      <a:pt x="2976" y="686"/>
                    </a:cubicBezTo>
                    <a:cubicBezTo>
                      <a:pt x="2991" y="690"/>
                      <a:pt x="2991" y="690"/>
                      <a:pt x="2991" y="690"/>
                    </a:cubicBezTo>
                    <a:cubicBezTo>
                      <a:pt x="3016" y="678"/>
                      <a:pt x="3016" y="678"/>
                      <a:pt x="3016" y="678"/>
                    </a:cubicBezTo>
                    <a:cubicBezTo>
                      <a:pt x="3016" y="678"/>
                      <a:pt x="3017" y="710"/>
                      <a:pt x="3024" y="704"/>
                    </a:cubicBezTo>
                    <a:cubicBezTo>
                      <a:pt x="3031" y="697"/>
                      <a:pt x="3044" y="697"/>
                      <a:pt x="3044" y="697"/>
                    </a:cubicBezTo>
                    <a:cubicBezTo>
                      <a:pt x="3036" y="709"/>
                      <a:pt x="3036" y="709"/>
                      <a:pt x="3036" y="709"/>
                    </a:cubicBezTo>
                    <a:cubicBezTo>
                      <a:pt x="3051" y="710"/>
                      <a:pt x="3051" y="710"/>
                      <a:pt x="3051" y="710"/>
                    </a:cubicBezTo>
                    <a:cubicBezTo>
                      <a:pt x="3044" y="729"/>
                      <a:pt x="3044" y="729"/>
                      <a:pt x="3044" y="729"/>
                    </a:cubicBezTo>
                    <a:cubicBezTo>
                      <a:pt x="3044" y="729"/>
                      <a:pt x="3067" y="770"/>
                      <a:pt x="3083" y="760"/>
                    </a:cubicBezTo>
                    <a:cubicBezTo>
                      <a:pt x="3099" y="749"/>
                      <a:pt x="3101" y="724"/>
                      <a:pt x="3101" y="724"/>
                    </a:cubicBezTo>
                    <a:cubicBezTo>
                      <a:pt x="3108" y="714"/>
                      <a:pt x="3108" y="714"/>
                      <a:pt x="3108" y="714"/>
                    </a:cubicBezTo>
                    <a:cubicBezTo>
                      <a:pt x="3108" y="714"/>
                      <a:pt x="3127" y="730"/>
                      <a:pt x="3140" y="721"/>
                    </a:cubicBezTo>
                    <a:cubicBezTo>
                      <a:pt x="3153" y="712"/>
                      <a:pt x="3152" y="694"/>
                      <a:pt x="3152" y="694"/>
                    </a:cubicBezTo>
                    <a:cubicBezTo>
                      <a:pt x="3152" y="694"/>
                      <a:pt x="3187" y="704"/>
                      <a:pt x="3201" y="688"/>
                    </a:cubicBezTo>
                    <a:cubicBezTo>
                      <a:pt x="3216" y="672"/>
                      <a:pt x="3177" y="661"/>
                      <a:pt x="3172" y="665"/>
                    </a:cubicBezTo>
                    <a:close/>
                    <a:moveTo>
                      <a:pt x="2983" y="872"/>
                    </a:moveTo>
                    <a:cubicBezTo>
                      <a:pt x="2963" y="876"/>
                      <a:pt x="2963" y="876"/>
                      <a:pt x="2963" y="876"/>
                    </a:cubicBezTo>
                    <a:cubicBezTo>
                      <a:pt x="2960" y="885"/>
                      <a:pt x="2960" y="885"/>
                      <a:pt x="2960" y="885"/>
                    </a:cubicBezTo>
                    <a:cubicBezTo>
                      <a:pt x="2983" y="882"/>
                      <a:pt x="2983" y="882"/>
                      <a:pt x="2983" y="882"/>
                    </a:cubicBezTo>
                    <a:lnTo>
                      <a:pt x="2983" y="872"/>
                    </a:lnTo>
                    <a:close/>
                    <a:moveTo>
                      <a:pt x="2758" y="861"/>
                    </a:moveTo>
                    <a:cubicBezTo>
                      <a:pt x="2746" y="862"/>
                      <a:pt x="2747" y="878"/>
                      <a:pt x="2761" y="878"/>
                    </a:cubicBezTo>
                    <a:cubicBezTo>
                      <a:pt x="2785" y="878"/>
                      <a:pt x="2771" y="859"/>
                      <a:pt x="2758" y="861"/>
                    </a:cubicBezTo>
                    <a:close/>
                    <a:moveTo>
                      <a:pt x="2555" y="832"/>
                    </a:moveTo>
                    <a:cubicBezTo>
                      <a:pt x="2565" y="822"/>
                      <a:pt x="2540" y="818"/>
                      <a:pt x="2540" y="818"/>
                    </a:cubicBezTo>
                    <a:cubicBezTo>
                      <a:pt x="2540" y="818"/>
                      <a:pt x="2540" y="847"/>
                      <a:pt x="2555" y="832"/>
                    </a:cubicBezTo>
                    <a:close/>
                    <a:moveTo>
                      <a:pt x="2800" y="969"/>
                    </a:moveTo>
                    <a:cubicBezTo>
                      <a:pt x="2777" y="971"/>
                      <a:pt x="2777" y="971"/>
                      <a:pt x="2777" y="971"/>
                    </a:cubicBezTo>
                    <a:cubicBezTo>
                      <a:pt x="2801" y="987"/>
                      <a:pt x="2801" y="987"/>
                      <a:pt x="2801" y="987"/>
                    </a:cubicBezTo>
                    <a:cubicBezTo>
                      <a:pt x="2820" y="978"/>
                      <a:pt x="2800" y="969"/>
                      <a:pt x="2800" y="969"/>
                    </a:cubicBezTo>
                    <a:close/>
                    <a:moveTo>
                      <a:pt x="2779" y="582"/>
                    </a:moveTo>
                    <a:cubicBezTo>
                      <a:pt x="2752" y="576"/>
                      <a:pt x="2779" y="594"/>
                      <a:pt x="2779" y="594"/>
                    </a:cubicBezTo>
                    <a:cubicBezTo>
                      <a:pt x="2795" y="592"/>
                      <a:pt x="2807" y="588"/>
                      <a:pt x="2779" y="582"/>
                    </a:cubicBezTo>
                    <a:close/>
                    <a:moveTo>
                      <a:pt x="2779" y="626"/>
                    </a:moveTo>
                    <a:cubicBezTo>
                      <a:pt x="2821" y="624"/>
                      <a:pt x="2821" y="624"/>
                      <a:pt x="2821" y="624"/>
                    </a:cubicBezTo>
                    <a:cubicBezTo>
                      <a:pt x="2821" y="613"/>
                      <a:pt x="2821" y="613"/>
                      <a:pt x="2821" y="613"/>
                    </a:cubicBezTo>
                    <a:cubicBezTo>
                      <a:pt x="2791" y="615"/>
                      <a:pt x="2791" y="615"/>
                      <a:pt x="2791" y="615"/>
                    </a:cubicBezTo>
                    <a:lnTo>
                      <a:pt x="2779" y="626"/>
                    </a:lnTo>
                    <a:close/>
                    <a:moveTo>
                      <a:pt x="3715" y="26"/>
                    </a:moveTo>
                    <a:cubicBezTo>
                      <a:pt x="3713" y="23"/>
                      <a:pt x="3658" y="28"/>
                      <a:pt x="3658" y="28"/>
                    </a:cubicBezTo>
                    <a:cubicBezTo>
                      <a:pt x="3660" y="18"/>
                      <a:pt x="3660" y="18"/>
                      <a:pt x="3660" y="18"/>
                    </a:cubicBezTo>
                    <a:cubicBezTo>
                      <a:pt x="3660" y="18"/>
                      <a:pt x="3625" y="10"/>
                      <a:pt x="3612" y="10"/>
                    </a:cubicBezTo>
                    <a:cubicBezTo>
                      <a:pt x="3599" y="10"/>
                      <a:pt x="3527" y="25"/>
                      <a:pt x="3527" y="25"/>
                    </a:cubicBezTo>
                    <a:cubicBezTo>
                      <a:pt x="3560" y="10"/>
                      <a:pt x="3560" y="10"/>
                      <a:pt x="3560" y="10"/>
                    </a:cubicBezTo>
                    <a:cubicBezTo>
                      <a:pt x="3515" y="12"/>
                      <a:pt x="3515" y="12"/>
                      <a:pt x="3515" y="12"/>
                    </a:cubicBezTo>
                    <a:cubicBezTo>
                      <a:pt x="3515" y="12"/>
                      <a:pt x="3479" y="0"/>
                      <a:pt x="3469" y="2"/>
                    </a:cubicBezTo>
                    <a:cubicBezTo>
                      <a:pt x="3458" y="4"/>
                      <a:pt x="3453" y="15"/>
                      <a:pt x="3453" y="15"/>
                    </a:cubicBezTo>
                    <a:cubicBezTo>
                      <a:pt x="3453" y="15"/>
                      <a:pt x="3427" y="3"/>
                      <a:pt x="3418" y="3"/>
                    </a:cubicBezTo>
                    <a:cubicBezTo>
                      <a:pt x="3409" y="3"/>
                      <a:pt x="3389" y="18"/>
                      <a:pt x="3389" y="18"/>
                    </a:cubicBezTo>
                    <a:cubicBezTo>
                      <a:pt x="3363" y="10"/>
                      <a:pt x="3363" y="10"/>
                      <a:pt x="3363" y="10"/>
                    </a:cubicBezTo>
                    <a:cubicBezTo>
                      <a:pt x="3290" y="7"/>
                      <a:pt x="3290" y="7"/>
                      <a:pt x="3290" y="7"/>
                    </a:cubicBezTo>
                    <a:cubicBezTo>
                      <a:pt x="3308" y="25"/>
                      <a:pt x="3308" y="25"/>
                      <a:pt x="3308" y="25"/>
                    </a:cubicBezTo>
                    <a:cubicBezTo>
                      <a:pt x="3266" y="11"/>
                      <a:pt x="3266" y="11"/>
                      <a:pt x="3266" y="11"/>
                    </a:cubicBezTo>
                    <a:cubicBezTo>
                      <a:pt x="3225" y="18"/>
                      <a:pt x="3225" y="18"/>
                      <a:pt x="3225" y="18"/>
                    </a:cubicBezTo>
                    <a:cubicBezTo>
                      <a:pt x="3225" y="18"/>
                      <a:pt x="3195" y="12"/>
                      <a:pt x="3179" y="12"/>
                    </a:cubicBezTo>
                    <a:cubicBezTo>
                      <a:pt x="3163" y="12"/>
                      <a:pt x="3114" y="24"/>
                      <a:pt x="3114" y="24"/>
                    </a:cubicBezTo>
                    <a:cubicBezTo>
                      <a:pt x="3172" y="42"/>
                      <a:pt x="3172" y="42"/>
                      <a:pt x="3172" y="42"/>
                    </a:cubicBezTo>
                    <a:cubicBezTo>
                      <a:pt x="3114" y="34"/>
                      <a:pt x="3114" y="34"/>
                      <a:pt x="3114" y="34"/>
                    </a:cubicBezTo>
                    <a:cubicBezTo>
                      <a:pt x="3114" y="34"/>
                      <a:pt x="3059" y="23"/>
                      <a:pt x="3034" y="25"/>
                    </a:cubicBezTo>
                    <a:cubicBezTo>
                      <a:pt x="3010" y="28"/>
                      <a:pt x="3018" y="42"/>
                      <a:pt x="3018" y="42"/>
                    </a:cubicBezTo>
                    <a:cubicBezTo>
                      <a:pt x="3018" y="42"/>
                      <a:pt x="2956" y="36"/>
                      <a:pt x="2943" y="36"/>
                    </a:cubicBezTo>
                    <a:cubicBezTo>
                      <a:pt x="2930" y="36"/>
                      <a:pt x="2830" y="46"/>
                      <a:pt x="2826" y="48"/>
                    </a:cubicBezTo>
                    <a:cubicBezTo>
                      <a:pt x="2823" y="50"/>
                      <a:pt x="2849" y="56"/>
                      <a:pt x="2849" y="56"/>
                    </a:cubicBezTo>
                    <a:cubicBezTo>
                      <a:pt x="2905" y="59"/>
                      <a:pt x="2905" y="59"/>
                      <a:pt x="2905" y="59"/>
                    </a:cubicBezTo>
                    <a:cubicBezTo>
                      <a:pt x="2850" y="67"/>
                      <a:pt x="2850" y="67"/>
                      <a:pt x="2850" y="67"/>
                    </a:cubicBezTo>
                    <a:cubicBezTo>
                      <a:pt x="2850" y="67"/>
                      <a:pt x="2870" y="76"/>
                      <a:pt x="2884" y="76"/>
                    </a:cubicBezTo>
                    <a:cubicBezTo>
                      <a:pt x="2898" y="76"/>
                      <a:pt x="2935" y="70"/>
                      <a:pt x="2935" y="70"/>
                    </a:cubicBezTo>
                    <a:cubicBezTo>
                      <a:pt x="2935" y="70"/>
                      <a:pt x="2960" y="62"/>
                      <a:pt x="2978" y="62"/>
                    </a:cubicBezTo>
                    <a:cubicBezTo>
                      <a:pt x="2997" y="62"/>
                      <a:pt x="3040" y="71"/>
                      <a:pt x="3040" y="71"/>
                    </a:cubicBezTo>
                    <a:cubicBezTo>
                      <a:pt x="3040" y="71"/>
                      <a:pt x="2989" y="72"/>
                      <a:pt x="2977" y="73"/>
                    </a:cubicBezTo>
                    <a:cubicBezTo>
                      <a:pt x="2965" y="74"/>
                      <a:pt x="2930" y="87"/>
                      <a:pt x="2930" y="87"/>
                    </a:cubicBezTo>
                    <a:cubicBezTo>
                      <a:pt x="2930" y="87"/>
                      <a:pt x="2958" y="87"/>
                      <a:pt x="2979" y="89"/>
                    </a:cubicBezTo>
                    <a:cubicBezTo>
                      <a:pt x="3001" y="91"/>
                      <a:pt x="3006" y="83"/>
                      <a:pt x="3006" y="83"/>
                    </a:cubicBezTo>
                    <a:cubicBezTo>
                      <a:pt x="3050" y="83"/>
                      <a:pt x="3050" y="83"/>
                      <a:pt x="3050" y="83"/>
                    </a:cubicBezTo>
                    <a:cubicBezTo>
                      <a:pt x="3050" y="83"/>
                      <a:pt x="3064" y="84"/>
                      <a:pt x="3081" y="84"/>
                    </a:cubicBezTo>
                    <a:cubicBezTo>
                      <a:pt x="3098" y="84"/>
                      <a:pt x="3138" y="73"/>
                      <a:pt x="3142" y="70"/>
                    </a:cubicBezTo>
                    <a:cubicBezTo>
                      <a:pt x="3147" y="66"/>
                      <a:pt x="3173" y="63"/>
                      <a:pt x="3186" y="59"/>
                    </a:cubicBezTo>
                    <a:cubicBezTo>
                      <a:pt x="3199" y="54"/>
                      <a:pt x="3220" y="59"/>
                      <a:pt x="3220" y="59"/>
                    </a:cubicBezTo>
                    <a:cubicBezTo>
                      <a:pt x="3162" y="76"/>
                      <a:pt x="3162" y="76"/>
                      <a:pt x="3162" y="76"/>
                    </a:cubicBezTo>
                    <a:cubicBezTo>
                      <a:pt x="3185" y="77"/>
                      <a:pt x="3185" y="77"/>
                      <a:pt x="3185" y="77"/>
                    </a:cubicBezTo>
                    <a:cubicBezTo>
                      <a:pt x="3153" y="87"/>
                      <a:pt x="3153" y="87"/>
                      <a:pt x="3153" y="87"/>
                    </a:cubicBezTo>
                    <a:cubicBezTo>
                      <a:pt x="3153" y="87"/>
                      <a:pt x="3040" y="92"/>
                      <a:pt x="3027" y="92"/>
                    </a:cubicBezTo>
                    <a:cubicBezTo>
                      <a:pt x="3014" y="92"/>
                      <a:pt x="3014" y="104"/>
                      <a:pt x="3014" y="104"/>
                    </a:cubicBezTo>
                    <a:cubicBezTo>
                      <a:pt x="3065" y="119"/>
                      <a:pt x="3065" y="119"/>
                      <a:pt x="3065" y="119"/>
                    </a:cubicBezTo>
                    <a:cubicBezTo>
                      <a:pt x="3065" y="119"/>
                      <a:pt x="3045" y="125"/>
                      <a:pt x="3033" y="125"/>
                    </a:cubicBezTo>
                    <a:cubicBezTo>
                      <a:pt x="3022" y="125"/>
                      <a:pt x="2974" y="99"/>
                      <a:pt x="2974" y="99"/>
                    </a:cubicBezTo>
                    <a:cubicBezTo>
                      <a:pt x="2974" y="99"/>
                      <a:pt x="2925" y="100"/>
                      <a:pt x="2912" y="100"/>
                    </a:cubicBezTo>
                    <a:cubicBezTo>
                      <a:pt x="2899" y="100"/>
                      <a:pt x="2891" y="115"/>
                      <a:pt x="2891" y="115"/>
                    </a:cubicBezTo>
                    <a:cubicBezTo>
                      <a:pt x="2912" y="126"/>
                      <a:pt x="2912" y="126"/>
                      <a:pt x="2912" y="126"/>
                    </a:cubicBezTo>
                    <a:cubicBezTo>
                      <a:pt x="2912" y="126"/>
                      <a:pt x="2923" y="142"/>
                      <a:pt x="2940" y="145"/>
                    </a:cubicBezTo>
                    <a:cubicBezTo>
                      <a:pt x="2956" y="148"/>
                      <a:pt x="2989" y="144"/>
                      <a:pt x="2989" y="144"/>
                    </a:cubicBezTo>
                    <a:cubicBezTo>
                      <a:pt x="2989" y="144"/>
                      <a:pt x="2981" y="153"/>
                      <a:pt x="2964" y="155"/>
                    </a:cubicBezTo>
                    <a:cubicBezTo>
                      <a:pt x="2948" y="157"/>
                      <a:pt x="2917" y="151"/>
                      <a:pt x="2909" y="149"/>
                    </a:cubicBezTo>
                    <a:cubicBezTo>
                      <a:pt x="2902" y="147"/>
                      <a:pt x="2846" y="157"/>
                      <a:pt x="2828" y="157"/>
                    </a:cubicBezTo>
                    <a:cubicBezTo>
                      <a:pt x="2809" y="157"/>
                      <a:pt x="2774" y="182"/>
                      <a:pt x="2774" y="182"/>
                    </a:cubicBezTo>
                    <a:cubicBezTo>
                      <a:pt x="2823" y="174"/>
                      <a:pt x="2823" y="174"/>
                      <a:pt x="2823" y="174"/>
                    </a:cubicBezTo>
                    <a:cubicBezTo>
                      <a:pt x="2821" y="186"/>
                      <a:pt x="2821" y="186"/>
                      <a:pt x="2821" y="186"/>
                    </a:cubicBezTo>
                    <a:cubicBezTo>
                      <a:pt x="2863" y="174"/>
                      <a:pt x="2863" y="174"/>
                      <a:pt x="2863" y="174"/>
                    </a:cubicBezTo>
                    <a:cubicBezTo>
                      <a:pt x="2816" y="192"/>
                      <a:pt x="2816" y="192"/>
                      <a:pt x="2816" y="192"/>
                    </a:cubicBezTo>
                    <a:cubicBezTo>
                      <a:pt x="2816" y="192"/>
                      <a:pt x="2824" y="203"/>
                      <a:pt x="2840" y="203"/>
                    </a:cubicBezTo>
                    <a:cubicBezTo>
                      <a:pt x="2857" y="203"/>
                      <a:pt x="2902" y="186"/>
                      <a:pt x="2902" y="186"/>
                    </a:cubicBezTo>
                    <a:cubicBezTo>
                      <a:pt x="2834" y="212"/>
                      <a:pt x="2834" y="212"/>
                      <a:pt x="2834" y="212"/>
                    </a:cubicBezTo>
                    <a:cubicBezTo>
                      <a:pt x="2789" y="209"/>
                      <a:pt x="2789" y="209"/>
                      <a:pt x="2789" y="209"/>
                    </a:cubicBezTo>
                    <a:cubicBezTo>
                      <a:pt x="2780" y="192"/>
                      <a:pt x="2780" y="192"/>
                      <a:pt x="2780" y="192"/>
                    </a:cubicBezTo>
                    <a:cubicBezTo>
                      <a:pt x="2780" y="192"/>
                      <a:pt x="2747" y="189"/>
                      <a:pt x="2737" y="191"/>
                    </a:cubicBezTo>
                    <a:cubicBezTo>
                      <a:pt x="2727" y="193"/>
                      <a:pt x="2741" y="218"/>
                      <a:pt x="2741" y="218"/>
                    </a:cubicBezTo>
                    <a:cubicBezTo>
                      <a:pt x="2741" y="218"/>
                      <a:pt x="2697" y="222"/>
                      <a:pt x="2691" y="222"/>
                    </a:cubicBezTo>
                    <a:cubicBezTo>
                      <a:pt x="2684" y="222"/>
                      <a:pt x="2654" y="237"/>
                      <a:pt x="2634" y="239"/>
                    </a:cubicBezTo>
                    <a:cubicBezTo>
                      <a:pt x="2622" y="240"/>
                      <a:pt x="2613" y="241"/>
                      <a:pt x="2610" y="241"/>
                    </a:cubicBezTo>
                    <a:cubicBezTo>
                      <a:pt x="2607" y="241"/>
                      <a:pt x="2626" y="247"/>
                      <a:pt x="2641" y="247"/>
                    </a:cubicBezTo>
                    <a:cubicBezTo>
                      <a:pt x="2656" y="247"/>
                      <a:pt x="2663" y="240"/>
                      <a:pt x="2663" y="240"/>
                    </a:cubicBezTo>
                    <a:cubicBezTo>
                      <a:pt x="2655" y="252"/>
                      <a:pt x="2655" y="252"/>
                      <a:pt x="2655" y="252"/>
                    </a:cubicBezTo>
                    <a:cubicBezTo>
                      <a:pt x="2680" y="247"/>
                      <a:pt x="2680" y="247"/>
                      <a:pt x="2680" y="247"/>
                    </a:cubicBezTo>
                    <a:cubicBezTo>
                      <a:pt x="2695" y="240"/>
                      <a:pt x="2695" y="240"/>
                      <a:pt x="2695" y="240"/>
                    </a:cubicBezTo>
                    <a:cubicBezTo>
                      <a:pt x="2695" y="248"/>
                      <a:pt x="2695" y="248"/>
                      <a:pt x="2695" y="248"/>
                    </a:cubicBezTo>
                    <a:cubicBezTo>
                      <a:pt x="2712" y="246"/>
                      <a:pt x="2712" y="246"/>
                      <a:pt x="2712" y="246"/>
                    </a:cubicBezTo>
                    <a:cubicBezTo>
                      <a:pt x="2728" y="244"/>
                      <a:pt x="2728" y="244"/>
                      <a:pt x="2728" y="244"/>
                    </a:cubicBezTo>
                    <a:cubicBezTo>
                      <a:pt x="2728" y="244"/>
                      <a:pt x="2729" y="253"/>
                      <a:pt x="2740" y="254"/>
                    </a:cubicBezTo>
                    <a:cubicBezTo>
                      <a:pt x="2751" y="255"/>
                      <a:pt x="2773" y="241"/>
                      <a:pt x="2773" y="241"/>
                    </a:cubicBezTo>
                    <a:cubicBezTo>
                      <a:pt x="2778" y="250"/>
                      <a:pt x="2778" y="250"/>
                      <a:pt x="2778" y="250"/>
                    </a:cubicBezTo>
                    <a:cubicBezTo>
                      <a:pt x="2796" y="240"/>
                      <a:pt x="2796" y="240"/>
                      <a:pt x="2796" y="240"/>
                    </a:cubicBezTo>
                    <a:cubicBezTo>
                      <a:pt x="2796" y="240"/>
                      <a:pt x="2802" y="248"/>
                      <a:pt x="2810" y="251"/>
                    </a:cubicBezTo>
                    <a:cubicBezTo>
                      <a:pt x="2819" y="253"/>
                      <a:pt x="2828" y="242"/>
                      <a:pt x="2828" y="242"/>
                    </a:cubicBezTo>
                    <a:cubicBezTo>
                      <a:pt x="2828" y="242"/>
                      <a:pt x="2837" y="250"/>
                      <a:pt x="2850" y="250"/>
                    </a:cubicBezTo>
                    <a:cubicBezTo>
                      <a:pt x="2863" y="250"/>
                      <a:pt x="2853" y="238"/>
                      <a:pt x="2853" y="238"/>
                    </a:cubicBezTo>
                    <a:cubicBezTo>
                      <a:pt x="2891" y="252"/>
                      <a:pt x="2891" y="252"/>
                      <a:pt x="2891" y="252"/>
                    </a:cubicBezTo>
                    <a:cubicBezTo>
                      <a:pt x="2891" y="252"/>
                      <a:pt x="2898" y="261"/>
                      <a:pt x="2902" y="261"/>
                    </a:cubicBezTo>
                    <a:cubicBezTo>
                      <a:pt x="2906" y="261"/>
                      <a:pt x="2964" y="248"/>
                      <a:pt x="2975" y="248"/>
                    </a:cubicBezTo>
                    <a:cubicBezTo>
                      <a:pt x="2986" y="248"/>
                      <a:pt x="3011" y="238"/>
                      <a:pt x="3015" y="231"/>
                    </a:cubicBezTo>
                    <a:cubicBezTo>
                      <a:pt x="3019" y="225"/>
                      <a:pt x="2973" y="230"/>
                      <a:pt x="2973" y="230"/>
                    </a:cubicBezTo>
                    <a:cubicBezTo>
                      <a:pt x="2973" y="230"/>
                      <a:pt x="2982" y="223"/>
                      <a:pt x="2975" y="220"/>
                    </a:cubicBezTo>
                    <a:cubicBezTo>
                      <a:pt x="2969" y="218"/>
                      <a:pt x="2943" y="220"/>
                      <a:pt x="2943" y="220"/>
                    </a:cubicBezTo>
                    <a:cubicBezTo>
                      <a:pt x="2905" y="214"/>
                      <a:pt x="2905" y="214"/>
                      <a:pt x="2905" y="214"/>
                    </a:cubicBezTo>
                    <a:cubicBezTo>
                      <a:pt x="2917" y="201"/>
                      <a:pt x="2917" y="201"/>
                      <a:pt x="2917" y="201"/>
                    </a:cubicBezTo>
                    <a:cubicBezTo>
                      <a:pt x="2959" y="215"/>
                      <a:pt x="2959" y="215"/>
                      <a:pt x="2959" y="215"/>
                    </a:cubicBezTo>
                    <a:cubicBezTo>
                      <a:pt x="2959" y="215"/>
                      <a:pt x="3014" y="212"/>
                      <a:pt x="3034" y="211"/>
                    </a:cubicBezTo>
                    <a:cubicBezTo>
                      <a:pt x="3055" y="210"/>
                      <a:pt x="3050" y="192"/>
                      <a:pt x="3050" y="192"/>
                    </a:cubicBezTo>
                    <a:cubicBezTo>
                      <a:pt x="3050" y="192"/>
                      <a:pt x="3075" y="187"/>
                      <a:pt x="3094" y="187"/>
                    </a:cubicBezTo>
                    <a:cubicBezTo>
                      <a:pt x="3112" y="187"/>
                      <a:pt x="3150" y="178"/>
                      <a:pt x="3150" y="178"/>
                    </a:cubicBezTo>
                    <a:cubicBezTo>
                      <a:pt x="3132" y="167"/>
                      <a:pt x="3132" y="167"/>
                      <a:pt x="3132" y="167"/>
                    </a:cubicBezTo>
                    <a:cubicBezTo>
                      <a:pt x="3132" y="167"/>
                      <a:pt x="3155" y="167"/>
                      <a:pt x="3180" y="161"/>
                    </a:cubicBezTo>
                    <a:cubicBezTo>
                      <a:pt x="3205" y="156"/>
                      <a:pt x="3147" y="146"/>
                      <a:pt x="3147" y="146"/>
                    </a:cubicBezTo>
                    <a:cubicBezTo>
                      <a:pt x="3147" y="146"/>
                      <a:pt x="3115" y="147"/>
                      <a:pt x="3104" y="143"/>
                    </a:cubicBezTo>
                    <a:cubicBezTo>
                      <a:pt x="3094" y="139"/>
                      <a:pt x="3152" y="125"/>
                      <a:pt x="3155" y="126"/>
                    </a:cubicBezTo>
                    <a:cubicBezTo>
                      <a:pt x="3158" y="127"/>
                      <a:pt x="3200" y="131"/>
                      <a:pt x="3200" y="131"/>
                    </a:cubicBezTo>
                    <a:cubicBezTo>
                      <a:pt x="3200" y="131"/>
                      <a:pt x="3248" y="129"/>
                      <a:pt x="3263" y="126"/>
                    </a:cubicBezTo>
                    <a:cubicBezTo>
                      <a:pt x="3278" y="122"/>
                      <a:pt x="3229" y="120"/>
                      <a:pt x="3247" y="113"/>
                    </a:cubicBezTo>
                    <a:cubicBezTo>
                      <a:pt x="3264" y="105"/>
                      <a:pt x="3296" y="119"/>
                      <a:pt x="3316" y="119"/>
                    </a:cubicBezTo>
                    <a:cubicBezTo>
                      <a:pt x="3335" y="119"/>
                      <a:pt x="3328" y="102"/>
                      <a:pt x="3328" y="102"/>
                    </a:cubicBezTo>
                    <a:cubicBezTo>
                      <a:pt x="3376" y="105"/>
                      <a:pt x="3376" y="105"/>
                      <a:pt x="3376" y="105"/>
                    </a:cubicBezTo>
                    <a:cubicBezTo>
                      <a:pt x="3379" y="91"/>
                      <a:pt x="3379" y="91"/>
                      <a:pt x="3379" y="91"/>
                    </a:cubicBezTo>
                    <a:cubicBezTo>
                      <a:pt x="3379" y="91"/>
                      <a:pt x="3392" y="95"/>
                      <a:pt x="3401" y="95"/>
                    </a:cubicBezTo>
                    <a:cubicBezTo>
                      <a:pt x="3409" y="95"/>
                      <a:pt x="3440" y="83"/>
                      <a:pt x="3440" y="83"/>
                    </a:cubicBezTo>
                    <a:cubicBezTo>
                      <a:pt x="3440" y="83"/>
                      <a:pt x="3499" y="73"/>
                      <a:pt x="3531" y="67"/>
                    </a:cubicBezTo>
                    <a:cubicBezTo>
                      <a:pt x="3564" y="62"/>
                      <a:pt x="3567" y="57"/>
                      <a:pt x="3562" y="57"/>
                    </a:cubicBezTo>
                    <a:cubicBezTo>
                      <a:pt x="3558" y="57"/>
                      <a:pt x="3491" y="60"/>
                      <a:pt x="3491" y="60"/>
                    </a:cubicBezTo>
                    <a:cubicBezTo>
                      <a:pt x="3474" y="67"/>
                      <a:pt x="3474" y="67"/>
                      <a:pt x="3474" y="67"/>
                    </a:cubicBezTo>
                    <a:cubicBezTo>
                      <a:pt x="3428" y="64"/>
                      <a:pt x="3428" y="64"/>
                      <a:pt x="3428" y="64"/>
                    </a:cubicBezTo>
                    <a:cubicBezTo>
                      <a:pt x="3481" y="61"/>
                      <a:pt x="3481" y="61"/>
                      <a:pt x="3481" y="61"/>
                    </a:cubicBezTo>
                    <a:cubicBezTo>
                      <a:pt x="3479" y="52"/>
                      <a:pt x="3479" y="52"/>
                      <a:pt x="3479" y="52"/>
                    </a:cubicBezTo>
                    <a:cubicBezTo>
                      <a:pt x="3512" y="57"/>
                      <a:pt x="3512" y="57"/>
                      <a:pt x="3512" y="57"/>
                    </a:cubicBezTo>
                    <a:cubicBezTo>
                      <a:pt x="3512" y="57"/>
                      <a:pt x="3517" y="49"/>
                      <a:pt x="3526" y="49"/>
                    </a:cubicBezTo>
                    <a:cubicBezTo>
                      <a:pt x="3534" y="49"/>
                      <a:pt x="3635" y="45"/>
                      <a:pt x="3653" y="44"/>
                    </a:cubicBezTo>
                    <a:cubicBezTo>
                      <a:pt x="3671" y="43"/>
                      <a:pt x="3718" y="30"/>
                      <a:pt x="3715" y="26"/>
                    </a:cubicBezTo>
                    <a:close/>
                    <a:moveTo>
                      <a:pt x="2687" y="644"/>
                    </a:moveTo>
                    <a:cubicBezTo>
                      <a:pt x="2722" y="650"/>
                      <a:pt x="2732" y="643"/>
                      <a:pt x="2747" y="633"/>
                    </a:cubicBezTo>
                    <a:cubicBezTo>
                      <a:pt x="2763" y="624"/>
                      <a:pt x="2759" y="608"/>
                      <a:pt x="2745" y="604"/>
                    </a:cubicBezTo>
                    <a:cubicBezTo>
                      <a:pt x="2731" y="601"/>
                      <a:pt x="2698" y="610"/>
                      <a:pt x="2698" y="610"/>
                    </a:cubicBezTo>
                    <a:cubicBezTo>
                      <a:pt x="2660" y="634"/>
                      <a:pt x="2652" y="639"/>
                      <a:pt x="2687" y="644"/>
                    </a:cubicBezTo>
                    <a:close/>
                    <a:moveTo>
                      <a:pt x="2674" y="560"/>
                    </a:moveTo>
                    <a:cubicBezTo>
                      <a:pt x="2658" y="565"/>
                      <a:pt x="2633" y="576"/>
                      <a:pt x="2657" y="571"/>
                    </a:cubicBezTo>
                    <a:cubicBezTo>
                      <a:pt x="2680" y="566"/>
                      <a:pt x="2700" y="558"/>
                      <a:pt x="2700" y="558"/>
                    </a:cubicBezTo>
                    <a:cubicBezTo>
                      <a:pt x="2724" y="540"/>
                      <a:pt x="2690" y="555"/>
                      <a:pt x="2674" y="560"/>
                    </a:cubicBezTo>
                    <a:close/>
                    <a:moveTo>
                      <a:pt x="2747" y="549"/>
                    </a:moveTo>
                    <a:cubicBezTo>
                      <a:pt x="2733" y="543"/>
                      <a:pt x="2722" y="562"/>
                      <a:pt x="2735" y="566"/>
                    </a:cubicBezTo>
                    <a:cubicBezTo>
                      <a:pt x="2735" y="566"/>
                      <a:pt x="2761" y="555"/>
                      <a:pt x="2747" y="549"/>
                    </a:cubicBezTo>
                    <a:close/>
                    <a:moveTo>
                      <a:pt x="2349" y="710"/>
                    </a:moveTo>
                    <a:cubicBezTo>
                      <a:pt x="2337" y="712"/>
                      <a:pt x="2327" y="729"/>
                      <a:pt x="2346" y="729"/>
                    </a:cubicBezTo>
                    <a:cubicBezTo>
                      <a:pt x="2357" y="729"/>
                      <a:pt x="2362" y="708"/>
                      <a:pt x="2349" y="710"/>
                    </a:cubicBezTo>
                    <a:close/>
                    <a:moveTo>
                      <a:pt x="2390" y="712"/>
                    </a:moveTo>
                    <a:cubicBezTo>
                      <a:pt x="2374" y="710"/>
                      <a:pt x="2385" y="727"/>
                      <a:pt x="2385" y="727"/>
                    </a:cubicBezTo>
                    <a:cubicBezTo>
                      <a:pt x="2396" y="726"/>
                      <a:pt x="2405" y="713"/>
                      <a:pt x="2390" y="712"/>
                    </a:cubicBezTo>
                    <a:close/>
                    <a:moveTo>
                      <a:pt x="2500" y="829"/>
                    </a:moveTo>
                    <a:cubicBezTo>
                      <a:pt x="2477" y="841"/>
                      <a:pt x="2509" y="849"/>
                      <a:pt x="2509" y="849"/>
                    </a:cubicBezTo>
                    <a:cubicBezTo>
                      <a:pt x="2532" y="836"/>
                      <a:pt x="2524" y="816"/>
                      <a:pt x="2500" y="829"/>
                    </a:cubicBezTo>
                    <a:close/>
                    <a:moveTo>
                      <a:pt x="2653" y="1691"/>
                    </a:moveTo>
                    <a:cubicBezTo>
                      <a:pt x="2633" y="1687"/>
                      <a:pt x="2622" y="1678"/>
                      <a:pt x="2622" y="1678"/>
                    </a:cubicBezTo>
                    <a:cubicBezTo>
                      <a:pt x="2612" y="1687"/>
                      <a:pt x="2612" y="1687"/>
                      <a:pt x="2612" y="1687"/>
                    </a:cubicBezTo>
                    <a:cubicBezTo>
                      <a:pt x="2612" y="1687"/>
                      <a:pt x="2629" y="1696"/>
                      <a:pt x="2633" y="1699"/>
                    </a:cubicBezTo>
                    <a:cubicBezTo>
                      <a:pt x="2637" y="1702"/>
                      <a:pt x="2656" y="1701"/>
                      <a:pt x="2656" y="1701"/>
                    </a:cubicBezTo>
                    <a:cubicBezTo>
                      <a:pt x="2656" y="1701"/>
                      <a:pt x="2666" y="1706"/>
                      <a:pt x="2676" y="1705"/>
                    </a:cubicBezTo>
                    <a:cubicBezTo>
                      <a:pt x="2687" y="1704"/>
                      <a:pt x="2691" y="1693"/>
                      <a:pt x="2691" y="1693"/>
                    </a:cubicBezTo>
                    <a:cubicBezTo>
                      <a:pt x="2691" y="1693"/>
                      <a:pt x="2674" y="1695"/>
                      <a:pt x="2653" y="1691"/>
                    </a:cubicBezTo>
                    <a:close/>
                    <a:moveTo>
                      <a:pt x="2731" y="1524"/>
                    </a:moveTo>
                    <a:cubicBezTo>
                      <a:pt x="2731" y="1524"/>
                      <a:pt x="2698" y="1516"/>
                      <a:pt x="2671" y="1515"/>
                    </a:cubicBezTo>
                    <a:cubicBezTo>
                      <a:pt x="2644" y="1514"/>
                      <a:pt x="2686" y="1526"/>
                      <a:pt x="2686" y="1526"/>
                    </a:cubicBezTo>
                    <a:cubicBezTo>
                      <a:pt x="2686" y="1536"/>
                      <a:pt x="2686" y="1536"/>
                      <a:pt x="2686" y="1536"/>
                    </a:cubicBezTo>
                    <a:cubicBezTo>
                      <a:pt x="2686" y="1536"/>
                      <a:pt x="2719" y="1541"/>
                      <a:pt x="2748" y="1546"/>
                    </a:cubicBezTo>
                    <a:cubicBezTo>
                      <a:pt x="2777" y="1551"/>
                      <a:pt x="2804" y="1540"/>
                      <a:pt x="2731" y="1524"/>
                    </a:cubicBezTo>
                    <a:close/>
                    <a:moveTo>
                      <a:pt x="2793" y="1702"/>
                    </a:moveTo>
                    <a:cubicBezTo>
                      <a:pt x="2780" y="1699"/>
                      <a:pt x="2766" y="1706"/>
                      <a:pt x="2761" y="1709"/>
                    </a:cubicBezTo>
                    <a:cubicBezTo>
                      <a:pt x="2765" y="1706"/>
                      <a:pt x="2774" y="1700"/>
                      <a:pt x="2783" y="1690"/>
                    </a:cubicBezTo>
                    <a:cubicBezTo>
                      <a:pt x="2795" y="1677"/>
                      <a:pt x="2764" y="1676"/>
                      <a:pt x="2750" y="1692"/>
                    </a:cubicBezTo>
                    <a:cubicBezTo>
                      <a:pt x="2744" y="1706"/>
                      <a:pt x="2744" y="1706"/>
                      <a:pt x="2744" y="1706"/>
                    </a:cubicBezTo>
                    <a:cubicBezTo>
                      <a:pt x="2736" y="1720"/>
                      <a:pt x="2736" y="1720"/>
                      <a:pt x="2736" y="1720"/>
                    </a:cubicBezTo>
                    <a:cubicBezTo>
                      <a:pt x="2773" y="1715"/>
                      <a:pt x="2773" y="1715"/>
                      <a:pt x="2773" y="1715"/>
                    </a:cubicBezTo>
                    <a:cubicBezTo>
                      <a:pt x="2773" y="1715"/>
                      <a:pt x="2810" y="1706"/>
                      <a:pt x="2793" y="1702"/>
                    </a:cubicBezTo>
                    <a:close/>
                    <a:moveTo>
                      <a:pt x="3058" y="1312"/>
                    </a:moveTo>
                    <a:cubicBezTo>
                      <a:pt x="3051" y="1320"/>
                      <a:pt x="3052" y="1335"/>
                      <a:pt x="3037" y="1324"/>
                    </a:cubicBezTo>
                    <a:cubicBezTo>
                      <a:pt x="3022" y="1313"/>
                      <a:pt x="3046" y="1306"/>
                      <a:pt x="3046" y="1306"/>
                    </a:cubicBezTo>
                    <a:cubicBezTo>
                      <a:pt x="3043" y="1289"/>
                      <a:pt x="3043" y="1289"/>
                      <a:pt x="3043" y="1289"/>
                    </a:cubicBezTo>
                    <a:cubicBezTo>
                      <a:pt x="3023" y="1288"/>
                      <a:pt x="3023" y="1288"/>
                      <a:pt x="3023" y="1288"/>
                    </a:cubicBezTo>
                    <a:cubicBezTo>
                      <a:pt x="3023" y="1288"/>
                      <a:pt x="2977" y="1308"/>
                      <a:pt x="2974" y="1312"/>
                    </a:cubicBezTo>
                    <a:cubicBezTo>
                      <a:pt x="2971" y="1316"/>
                      <a:pt x="2935" y="1320"/>
                      <a:pt x="2935" y="1320"/>
                    </a:cubicBezTo>
                    <a:cubicBezTo>
                      <a:pt x="2914" y="1334"/>
                      <a:pt x="2914" y="1334"/>
                      <a:pt x="2914" y="1334"/>
                    </a:cubicBezTo>
                    <a:cubicBezTo>
                      <a:pt x="2922" y="1319"/>
                      <a:pt x="2922" y="1319"/>
                      <a:pt x="2922" y="1319"/>
                    </a:cubicBezTo>
                    <a:cubicBezTo>
                      <a:pt x="2907" y="1308"/>
                      <a:pt x="2907" y="1308"/>
                      <a:pt x="2907" y="1308"/>
                    </a:cubicBezTo>
                    <a:cubicBezTo>
                      <a:pt x="2930" y="1313"/>
                      <a:pt x="2930" y="1313"/>
                      <a:pt x="2930" y="1313"/>
                    </a:cubicBezTo>
                    <a:cubicBezTo>
                      <a:pt x="2940" y="1305"/>
                      <a:pt x="2940" y="1305"/>
                      <a:pt x="2940" y="1305"/>
                    </a:cubicBezTo>
                    <a:cubicBezTo>
                      <a:pt x="2958" y="1304"/>
                      <a:pt x="2958" y="1304"/>
                      <a:pt x="2958" y="1304"/>
                    </a:cubicBezTo>
                    <a:cubicBezTo>
                      <a:pt x="2960" y="1291"/>
                      <a:pt x="2960" y="1291"/>
                      <a:pt x="2960" y="1291"/>
                    </a:cubicBezTo>
                    <a:cubicBezTo>
                      <a:pt x="2960" y="1291"/>
                      <a:pt x="2981" y="1294"/>
                      <a:pt x="2993" y="1289"/>
                    </a:cubicBezTo>
                    <a:cubicBezTo>
                      <a:pt x="3005" y="1284"/>
                      <a:pt x="3022" y="1275"/>
                      <a:pt x="3022" y="1275"/>
                    </a:cubicBezTo>
                    <a:cubicBezTo>
                      <a:pt x="3022" y="1275"/>
                      <a:pt x="3070" y="1280"/>
                      <a:pt x="3069" y="1275"/>
                    </a:cubicBezTo>
                    <a:cubicBezTo>
                      <a:pt x="3068" y="1270"/>
                      <a:pt x="3050" y="1262"/>
                      <a:pt x="3050" y="1262"/>
                    </a:cubicBezTo>
                    <a:cubicBezTo>
                      <a:pt x="3049" y="1246"/>
                      <a:pt x="3049" y="1246"/>
                      <a:pt x="3049" y="1246"/>
                    </a:cubicBezTo>
                    <a:cubicBezTo>
                      <a:pt x="3049" y="1246"/>
                      <a:pt x="3021" y="1255"/>
                      <a:pt x="3015" y="1254"/>
                    </a:cubicBezTo>
                    <a:cubicBezTo>
                      <a:pt x="3009" y="1253"/>
                      <a:pt x="3007" y="1241"/>
                      <a:pt x="3007" y="1241"/>
                    </a:cubicBezTo>
                    <a:cubicBezTo>
                      <a:pt x="2967" y="1253"/>
                      <a:pt x="2967" y="1253"/>
                      <a:pt x="2967" y="1253"/>
                    </a:cubicBezTo>
                    <a:cubicBezTo>
                      <a:pt x="2969" y="1233"/>
                      <a:pt x="2969" y="1233"/>
                      <a:pt x="2969" y="1233"/>
                    </a:cubicBezTo>
                    <a:cubicBezTo>
                      <a:pt x="2940" y="1243"/>
                      <a:pt x="2940" y="1243"/>
                      <a:pt x="2940" y="1243"/>
                    </a:cubicBezTo>
                    <a:cubicBezTo>
                      <a:pt x="2940" y="1243"/>
                      <a:pt x="2971" y="1208"/>
                      <a:pt x="2963" y="1204"/>
                    </a:cubicBezTo>
                    <a:cubicBezTo>
                      <a:pt x="2955" y="1200"/>
                      <a:pt x="2930" y="1200"/>
                      <a:pt x="2930" y="1200"/>
                    </a:cubicBezTo>
                    <a:cubicBezTo>
                      <a:pt x="2933" y="1184"/>
                      <a:pt x="2933" y="1184"/>
                      <a:pt x="2933" y="1184"/>
                    </a:cubicBezTo>
                    <a:cubicBezTo>
                      <a:pt x="2911" y="1184"/>
                      <a:pt x="2911" y="1184"/>
                      <a:pt x="2911" y="1184"/>
                    </a:cubicBezTo>
                    <a:cubicBezTo>
                      <a:pt x="2920" y="1170"/>
                      <a:pt x="2920" y="1170"/>
                      <a:pt x="2920" y="1170"/>
                    </a:cubicBezTo>
                    <a:cubicBezTo>
                      <a:pt x="2902" y="1154"/>
                      <a:pt x="2902" y="1154"/>
                      <a:pt x="2902" y="1154"/>
                    </a:cubicBezTo>
                    <a:cubicBezTo>
                      <a:pt x="2902" y="1154"/>
                      <a:pt x="2932" y="1161"/>
                      <a:pt x="2940" y="1155"/>
                    </a:cubicBezTo>
                    <a:cubicBezTo>
                      <a:pt x="2948" y="1149"/>
                      <a:pt x="2959" y="1144"/>
                      <a:pt x="2959" y="1144"/>
                    </a:cubicBezTo>
                    <a:cubicBezTo>
                      <a:pt x="2929" y="1126"/>
                      <a:pt x="2929" y="1126"/>
                      <a:pt x="2929" y="1126"/>
                    </a:cubicBezTo>
                    <a:cubicBezTo>
                      <a:pt x="2962" y="1107"/>
                      <a:pt x="2962" y="1107"/>
                      <a:pt x="2962" y="1107"/>
                    </a:cubicBezTo>
                    <a:cubicBezTo>
                      <a:pt x="2929" y="1092"/>
                      <a:pt x="2929" y="1092"/>
                      <a:pt x="2929" y="1092"/>
                    </a:cubicBezTo>
                    <a:cubicBezTo>
                      <a:pt x="2899" y="1093"/>
                      <a:pt x="2899" y="1093"/>
                      <a:pt x="2899" y="1093"/>
                    </a:cubicBezTo>
                    <a:cubicBezTo>
                      <a:pt x="2935" y="1080"/>
                      <a:pt x="2935" y="1080"/>
                      <a:pt x="2935" y="1080"/>
                    </a:cubicBezTo>
                    <a:cubicBezTo>
                      <a:pt x="2910" y="1074"/>
                      <a:pt x="2910" y="1074"/>
                      <a:pt x="2910" y="1074"/>
                    </a:cubicBezTo>
                    <a:cubicBezTo>
                      <a:pt x="2940" y="1060"/>
                      <a:pt x="2940" y="1060"/>
                      <a:pt x="2940" y="1060"/>
                    </a:cubicBezTo>
                    <a:cubicBezTo>
                      <a:pt x="2935" y="1044"/>
                      <a:pt x="2935" y="1044"/>
                      <a:pt x="2935" y="1044"/>
                    </a:cubicBezTo>
                    <a:cubicBezTo>
                      <a:pt x="2913" y="1042"/>
                      <a:pt x="2913" y="1042"/>
                      <a:pt x="2913" y="1042"/>
                    </a:cubicBezTo>
                    <a:cubicBezTo>
                      <a:pt x="2913" y="1042"/>
                      <a:pt x="2931" y="1032"/>
                      <a:pt x="2923" y="1013"/>
                    </a:cubicBezTo>
                    <a:cubicBezTo>
                      <a:pt x="2915" y="994"/>
                      <a:pt x="2907" y="997"/>
                      <a:pt x="2907" y="997"/>
                    </a:cubicBezTo>
                    <a:cubicBezTo>
                      <a:pt x="2916" y="983"/>
                      <a:pt x="2916" y="983"/>
                      <a:pt x="2916" y="983"/>
                    </a:cubicBezTo>
                    <a:cubicBezTo>
                      <a:pt x="2916" y="983"/>
                      <a:pt x="2892" y="994"/>
                      <a:pt x="2887" y="1001"/>
                    </a:cubicBezTo>
                    <a:cubicBezTo>
                      <a:pt x="2882" y="1008"/>
                      <a:pt x="2886" y="1014"/>
                      <a:pt x="2886" y="1014"/>
                    </a:cubicBezTo>
                    <a:cubicBezTo>
                      <a:pt x="2867" y="1008"/>
                      <a:pt x="2867" y="1008"/>
                      <a:pt x="2867" y="1008"/>
                    </a:cubicBezTo>
                    <a:cubicBezTo>
                      <a:pt x="2871" y="1030"/>
                      <a:pt x="2871" y="1030"/>
                      <a:pt x="2871" y="1030"/>
                    </a:cubicBezTo>
                    <a:cubicBezTo>
                      <a:pt x="2853" y="1029"/>
                      <a:pt x="2853" y="1029"/>
                      <a:pt x="2853" y="1029"/>
                    </a:cubicBezTo>
                    <a:cubicBezTo>
                      <a:pt x="2845" y="1043"/>
                      <a:pt x="2845" y="1043"/>
                      <a:pt x="2845" y="1043"/>
                    </a:cubicBezTo>
                    <a:cubicBezTo>
                      <a:pt x="2850" y="1049"/>
                      <a:pt x="2850" y="1049"/>
                      <a:pt x="2850" y="1049"/>
                    </a:cubicBezTo>
                    <a:cubicBezTo>
                      <a:pt x="2834" y="1050"/>
                      <a:pt x="2834" y="1050"/>
                      <a:pt x="2834" y="1050"/>
                    </a:cubicBezTo>
                    <a:cubicBezTo>
                      <a:pt x="2819" y="1080"/>
                      <a:pt x="2819" y="1080"/>
                      <a:pt x="2819" y="1080"/>
                    </a:cubicBezTo>
                    <a:cubicBezTo>
                      <a:pt x="2811" y="1080"/>
                      <a:pt x="2811" y="1080"/>
                      <a:pt x="2811" y="1080"/>
                    </a:cubicBezTo>
                    <a:cubicBezTo>
                      <a:pt x="2821" y="1055"/>
                      <a:pt x="2821" y="1055"/>
                      <a:pt x="2821" y="1055"/>
                    </a:cubicBezTo>
                    <a:cubicBezTo>
                      <a:pt x="2821" y="1055"/>
                      <a:pt x="2811" y="1040"/>
                      <a:pt x="2802" y="1049"/>
                    </a:cubicBezTo>
                    <a:cubicBezTo>
                      <a:pt x="2793" y="1058"/>
                      <a:pt x="2781" y="1071"/>
                      <a:pt x="2774" y="1072"/>
                    </a:cubicBezTo>
                    <a:cubicBezTo>
                      <a:pt x="2767" y="1073"/>
                      <a:pt x="2739" y="1094"/>
                      <a:pt x="2739" y="1094"/>
                    </a:cubicBezTo>
                    <a:cubicBezTo>
                      <a:pt x="2744" y="1079"/>
                      <a:pt x="2744" y="1079"/>
                      <a:pt x="2744" y="1079"/>
                    </a:cubicBezTo>
                    <a:cubicBezTo>
                      <a:pt x="2743" y="1068"/>
                      <a:pt x="2743" y="1068"/>
                      <a:pt x="2743" y="1068"/>
                    </a:cubicBezTo>
                    <a:cubicBezTo>
                      <a:pt x="2718" y="1089"/>
                      <a:pt x="2718" y="1089"/>
                      <a:pt x="2718" y="1089"/>
                    </a:cubicBezTo>
                    <a:cubicBezTo>
                      <a:pt x="2674" y="1099"/>
                      <a:pt x="2674" y="1099"/>
                      <a:pt x="2674" y="1099"/>
                    </a:cubicBezTo>
                    <a:cubicBezTo>
                      <a:pt x="2715" y="1085"/>
                      <a:pt x="2715" y="1085"/>
                      <a:pt x="2715" y="1085"/>
                    </a:cubicBezTo>
                    <a:cubicBezTo>
                      <a:pt x="2715" y="1085"/>
                      <a:pt x="2739" y="1058"/>
                      <a:pt x="2726" y="1052"/>
                    </a:cubicBezTo>
                    <a:cubicBezTo>
                      <a:pt x="2713" y="1046"/>
                      <a:pt x="2698" y="1052"/>
                      <a:pt x="2698" y="1052"/>
                    </a:cubicBezTo>
                    <a:cubicBezTo>
                      <a:pt x="2698" y="1052"/>
                      <a:pt x="2665" y="1067"/>
                      <a:pt x="2667" y="1056"/>
                    </a:cubicBezTo>
                    <a:cubicBezTo>
                      <a:pt x="2669" y="1045"/>
                      <a:pt x="2686" y="1042"/>
                      <a:pt x="2686" y="1042"/>
                    </a:cubicBezTo>
                    <a:cubicBezTo>
                      <a:pt x="2685" y="1049"/>
                      <a:pt x="2685" y="1049"/>
                      <a:pt x="2685" y="1049"/>
                    </a:cubicBezTo>
                    <a:cubicBezTo>
                      <a:pt x="2699" y="1044"/>
                      <a:pt x="2699" y="1044"/>
                      <a:pt x="2699" y="1044"/>
                    </a:cubicBezTo>
                    <a:cubicBezTo>
                      <a:pt x="2696" y="1025"/>
                      <a:pt x="2696" y="1025"/>
                      <a:pt x="2696" y="1025"/>
                    </a:cubicBezTo>
                    <a:cubicBezTo>
                      <a:pt x="2696" y="1025"/>
                      <a:pt x="2721" y="1011"/>
                      <a:pt x="2712" y="1004"/>
                    </a:cubicBezTo>
                    <a:cubicBezTo>
                      <a:pt x="2703" y="997"/>
                      <a:pt x="2676" y="993"/>
                      <a:pt x="2676" y="993"/>
                    </a:cubicBezTo>
                    <a:cubicBezTo>
                      <a:pt x="2676" y="993"/>
                      <a:pt x="2721" y="995"/>
                      <a:pt x="2724" y="983"/>
                    </a:cubicBezTo>
                    <a:cubicBezTo>
                      <a:pt x="2727" y="971"/>
                      <a:pt x="2730" y="968"/>
                      <a:pt x="2736" y="964"/>
                    </a:cubicBezTo>
                    <a:cubicBezTo>
                      <a:pt x="2742" y="960"/>
                      <a:pt x="2762" y="959"/>
                      <a:pt x="2752" y="950"/>
                    </a:cubicBezTo>
                    <a:cubicBezTo>
                      <a:pt x="2742" y="941"/>
                      <a:pt x="2732" y="957"/>
                      <a:pt x="2732" y="957"/>
                    </a:cubicBezTo>
                    <a:cubicBezTo>
                      <a:pt x="2726" y="940"/>
                      <a:pt x="2726" y="940"/>
                      <a:pt x="2726" y="940"/>
                    </a:cubicBezTo>
                    <a:cubicBezTo>
                      <a:pt x="2726" y="940"/>
                      <a:pt x="2695" y="941"/>
                      <a:pt x="2686" y="941"/>
                    </a:cubicBezTo>
                    <a:cubicBezTo>
                      <a:pt x="2677" y="941"/>
                      <a:pt x="2675" y="926"/>
                      <a:pt x="2683" y="923"/>
                    </a:cubicBezTo>
                    <a:cubicBezTo>
                      <a:pt x="2691" y="920"/>
                      <a:pt x="2692" y="913"/>
                      <a:pt x="2685" y="911"/>
                    </a:cubicBezTo>
                    <a:cubicBezTo>
                      <a:pt x="2678" y="909"/>
                      <a:pt x="2672" y="916"/>
                      <a:pt x="2672" y="916"/>
                    </a:cubicBezTo>
                    <a:cubicBezTo>
                      <a:pt x="2677" y="900"/>
                      <a:pt x="2677" y="900"/>
                      <a:pt x="2677" y="900"/>
                    </a:cubicBezTo>
                    <a:cubicBezTo>
                      <a:pt x="2653" y="904"/>
                      <a:pt x="2653" y="904"/>
                      <a:pt x="2653" y="904"/>
                    </a:cubicBezTo>
                    <a:cubicBezTo>
                      <a:pt x="2653" y="904"/>
                      <a:pt x="2657" y="875"/>
                      <a:pt x="2640" y="875"/>
                    </a:cubicBezTo>
                    <a:cubicBezTo>
                      <a:pt x="2623" y="875"/>
                      <a:pt x="2595" y="892"/>
                      <a:pt x="2595" y="892"/>
                    </a:cubicBezTo>
                    <a:cubicBezTo>
                      <a:pt x="2595" y="892"/>
                      <a:pt x="2587" y="881"/>
                      <a:pt x="2579" y="881"/>
                    </a:cubicBezTo>
                    <a:cubicBezTo>
                      <a:pt x="2571" y="881"/>
                      <a:pt x="2554" y="890"/>
                      <a:pt x="2554" y="890"/>
                    </a:cubicBezTo>
                    <a:cubicBezTo>
                      <a:pt x="2554" y="890"/>
                      <a:pt x="2508" y="868"/>
                      <a:pt x="2492" y="871"/>
                    </a:cubicBezTo>
                    <a:cubicBezTo>
                      <a:pt x="2476" y="874"/>
                      <a:pt x="2470" y="886"/>
                      <a:pt x="2470" y="886"/>
                    </a:cubicBezTo>
                    <a:cubicBezTo>
                      <a:pt x="2470" y="886"/>
                      <a:pt x="2449" y="896"/>
                      <a:pt x="2456" y="904"/>
                    </a:cubicBezTo>
                    <a:cubicBezTo>
                      <a:pt x="2463" y="912"/>
                      <a:pt x="2476" y="913"/>
                      <a:pt x="2470" y="921"/>
                    </a:cubicBezTo>
                    <a:cubicBezTo>
                      <a:pt x="2464" y="929"/>
                      <a:pt x="2439" y="945"/>
                      <a:pt x="2439" y="945"/>
                    </a:cubicBezTo>
                    <a:cubicBezTo>
                      <a:pt x="2421" y="952"/>
                      <a:pt x="2421" y="952"/>
                      <a:pt x="2421" y="952"/>
                    </a:cubicBezTo>
                    <a:cubicBezTo>
                      <a:pt x="2438" y="961"/>
                      <a:pt x="2438" y="961"/>
                      <a:pt x="2438" y="961"/>
                    </a:cubicBezTo>
                    <a:cubicBezTo>
                      <a:pt x="2438" y="961"/>
                      <a:pt x="2423" y="968"/>
                      <a:pt x="2422" y="977"/>
                    </a:cubicBezTo>
                    <a:cubicBezTo>
                      <a:pt x="2421" y="986"/>
                      <a:pt x="2429" y="993"/>
                      <a:pt x="2421" y="1003"/>
                    </a:cubicBezTo>
                    <a:cubicBezTo>
                      <a:pt x="2413" y="1013"/>
                      <a:pt x="2406" y="1005"/>
                      <a:pt x="2393" y="1013"/>
                    </a:cubicBezTo>
                    <a:cubicBezTo>
                      <a:pt x="2380" y="1021"/>
                      <a:pt x="2382" y="1034"/>
                      <a:pt x="2382" y="1034"/>
                    </a:cubicBezTo>
                    <a:cubicBezTo>
                      <a:pt x="2382" y="1034"/>
                      <a:pt x="2366" y="1037"/>
                      <a:pt x="2360" y="1043"/>
                    </a:cubicBezTo>
                    <a:cubicBezTo>
                      <a:pt x="2354" y="1049"/>
                      <a:pt x="2334" y="1054"/>
                      <a:pt x="2336" y="1062"/>
                    </a:cubicBezTo>
                    <a:cubicBezTo>
                      <a:pt x="2338" y="1070"/>
                      <a:pt x="2375" y="1084"/>
                      <a:pt x="2375" y="1093"/>
                    </a:cubicBezTo>
                    <a:cubicBezTo>
                      <a:pt x="2375" y="1102"/>
                      <a:pt x="2374" y="1167"/>
                      <a:pt x="2339" y="1187"/>
                    </a:cubicBezTo>
                    <a:cubicBezTo>
                      <a:pt x="2304" y="1207"/>
                      <a:pt x="2259" y="1242"/>
                      <a:pt x="2241" y="1243"/>
                    </a:cubicBezTo>
                    <a:cubicBezTo>
                      <a:pt x="2223" y="1244"/>
                      <a:pt x="2174" y="1247"/>
                      <a:pt x="2171" y="1256"/>
                    </a:cubicBezTo>
                    <a:cubicBezTo>
                      <a:pt x="2168" y="1265"/>
                      <a:pt x="2180" y="1293"/>
                      <a:pt x="2180" y="1298"/>
                    </a:cubicBezTo>
                    <a:cubicBezTo>
                      <a:pt x="2180" y="1303"/>
                      <a:pt x="2159" y="1324"/>
                      <a:pt x="2155" y="1339"/>
                    </a:cubicBezTo>
                    <a:cubicBezTo>
                      <a:pt x="2151" y="1354"/>
                      <a:pt x="2154" y="1387"/>
                      <a:pt x="2154" y="1387"/>
                    </a:cubicBezTo>
                    <a:cubicBezTo>
                      <a:pt x="2154" y="1387"/>
                      <a:pt x="2120" y="1404"/>
                      <a:pt x="2119" y="1409"/>
                    </a:cubicBezTo>
                    <a:cubicBezTo>
                      <a:pt x="2118" y="1414"/>
                      <a:pt x="2117" y="1431"/>
                      <a:pt x="2117" y="1431"/>
                    </a:cubicBezTo>
                    <a:cubicBezTo>
                      <a:pt x="2104" y="1447"/>
                      <a:pt x="2104" y="1447"/>
                      <a:pt x="2104" y="1447"/>
                    </a:cubicBezTo>
                    <a:cubicBezTo>
                      <a:pt x="2104" y="1447"/>
                      <a:pt x="2111" y="1423"/>
                      <a:pt x="2100" y="1422"/>
                    </a:cubicBezTo>
                    <a:cubicBezTo>
                      <a:pt x="2089" y="1421"/>
                      <a:pt x="2067" y="1435"/>
                      <a:pt x="2072" y="1446"/>
                    </a:cubicBezTo>
                    <a:cubicBezTo>
                      <a:pt x="2077" y="1457"/>
                      <a:pt x="2071" y="1466"/>
                      <a:pt x="2071" y="1466"/>
                    </a:cubicBezTo>
                    <a:cubicBezTo>
                      <a:pt x="2071" y="1466"/>
                      <a:pt x="2069" y="1446"/>
                      <a:pt x="2063" y="1441"/>
                    </a:cubicBezTo>
                    <a:cubicBezTo>
                      <a:pt x="2057" y="1436"/>
                      <a:pt x="2019" y="1447"/>
                      <a:pt x="2019" y="1447"/>
                    </a:cubicBezTo>
                    <a:cubicBezTo>
                      <a:pt x="2019" y="1447"/>
                      <a:pt x="2055" y="1426"/>
                      <a:pt x="2051" y="1413"/>
                    </a:cubicBezTo>
                    <a:cubicBezTo>
                      <a:pt x="2047" y="1400"/>
                      <a:pt x="2011" y="1389"/>
                      <a:pt x="2011" y="1389"/>
                    </a:cubicBezTo>
                    <a:cubicBezTo>
                      <a:pt x="2011" y="1389"/>
                      <a:pt x="2028" y="1386"/>
                      <a:pt x="2028" y="1379"/>
                    </a:cubicBezTo>
                    <a:cubicBezTo>
                      <a:pt x="2028" y="1372"/>
                      <a:pt x="2016" y="1346"/>
                      <a:pt x="2016" y="1346"/>
                    </a:cubicBezTo>
                    <a:cubicBezTo>
                      <a:pt x="2038" y="1331"/>
                      <a:pt x="2038" y="1331"/>
                      <a:pt x="2038" y="1331"/>
                    </a:cubicBezTo>
                    <a:cubicBezTo>
                      <a:pt x="2037" y="1316"/>
                      <a:pt x="2037" y="1316"/>
                      <a:pt x="2037" y="1316"/>
                    </a:cubicBezTo>
                    <a:cubicBezTo>
                      <a:pt x="2054" y="1305"/>
                      <a:pt x="2054" y="1305"/>
                      <a:pt x="2054" y="1305"/>
                    </a:cubicBezTo>
                    <a:cubicBezTo>
                      <a:pt x="2053" y="1280"/>
                      <a:pt x="2053" y="1280"/>
                      <a:pt x="2053" y="1280"/>
                    </a:cubicBezTo>
                    <a:cubicBezTo>
                      <a:pt x="2053" y="1280"/>
                      <a:pt x="2102" y="1253"/>
                      <a:pt x="2078" y="1241"/>
                    </a:cubicBezTo>
                    <a:cubicBezTo>
                      <a:pt x="2054" y="1229"/>
                      <a:pt x="1982" y="1233"/>
                      <a:pt x="1982" y="1233"/>
                    </a:cubicBezTo>
                    <a:cubicBezTo>
                      <a:pt x="1958" y="1241"/>
                      <a:pt x="1958" y="1241"/>
                      <a:pt x="1958" y="1241"/>
                    </a:cubicBezTo>
                    <a:cubicBezTo>
                      <a:pt x="1958" y="1241"/>
                      <a:pt x="1976" y="1220"/>
                      <a:pt x="1966" y="1215"/>
                    </a:cubicBezTo>
                    <a:cubicBezTo>
                      <a:pt x="1956" y="1210"/>
                      <a:pt x="1908" y="1200"/>
                      <a:pt x="1908" y="1200"/>
                    </a:cubicBezTo>
                    <a:cubicBezTo>
                      <a:pt x="1908" y="1200"/>
                      <a:pt x="1913" y="1178"/>
                      <a:pt x="1894" y="1164"/>
                    </a:cubicBezTo>
                    <a:cubicBezTo>
                      <a:pt x="1875" y="1150"/>
                      <a:pt x="1850" y="1149"/>
                      <a:pt x="1850" y="1149"/>
                    </a:cubicBezTo>
                    <a:cubicBezTo>
                      <a:pt x="1850" y="1149"/>
                      <a:pt x="1851" y="1137"/>
                      <a:pt x="1823" y="1136"/>
                    </a:cubicBezTo>
                    <a:cubicBezTo>
                      <a:pt x="1795" y="1135"/>
                      <a:pt x="1726" y="1147"/>
                      <a:pt x="1726" y="1147"/>
                    </a:cubicBezTo>
                    <a:cubicBezTo>
                      <a:pt x="1726" y="1147"/>
                      <a:pt x="1759" y="1137"/>
                      <a:pt x="1760" y="1125"/>
                    </a:cubicBezTo>
                    <a:cubicBezTo>
                      <a:pt x="1761" y="1113"/>
                      <a:pt x="1779" y="1061"/>
                      <a:pt x="1779" y="1061"/>
                    </a:cubicBezTo>
                    <a:cubicBezTo>
                      <a:pt x="1779" y="1061"/>
                      <a:pt x="1749" y="1055"/>
                      <a:pt x="1746" y="1057"/>
                    </a:cubicBezTo>
                    <a:cubicBezTo>
                      <a:pt x="1743" y="1059"/>
                      <a:pt x="1720" y="1075"/>
                      <a:pt x="1720" y="1075"/>
                    </a:cubicBezTo>
                    <a:cubicBezTo>
                      <a:pt x="1730" y="1056"/>
                      <a:pt x="1730" y="1056"/>
                      <a:pt x="1730" y="1056"/>
                    </a:cubicBezTo>
                    <a:cubicBezTo>
                      <a:pt x="1726" y="1041"/>
                      <a:pt x="1726" y="1041"/>
                      <a:pt x="1726" y="1041"/>
                    </a:cubicBezTo>
                    <a:cubicBezTo>
                      <a:pt x="1726" y="1041"/>
                      <a:pt x="1752" y="1019"/>
                      <a:pt x="1764" y="998"/>
                    </a:cubicBezTo>
                    <a:cubicBezTo>
                      <a:pt x="1776" y="977"/>
                      <a:pt x="1844" y="940"/>
                      <a:pt x="1844" y="940"/>
                    </a:cubicBezTo>
                    <a:cubicBezTo>
                      <a:pt x="1838" y="929"/>
                      <a:pt x="1838" y="929"/>
                      <a:pt x="1838" y="929"/>
                    </a:cubicBezTo>
                    <a:cubicBezTo>
                      <a:pt x="1881" y="915"/>
                      <a:pt x="1881" y="915"/>
                      <a:pt x="1881" y="915"/>
                    </a:cubicBezTo>
                    <a:cubicBezTo>
                      <a:pt x="1882" y="904"/>
                      <a:pt x="1882" y="904"/>
                      <a:pt x="1882" y="904"/>
                    </a:cubicBezTo>
                    <a:cubicBezTo>
                      <a:pt x="1909" y="900"/>
                      <a:pt x="1909" y="900"/>
                      <a:pt x="1909" y="900"/>
                    </a:cubicBezTo>
                    <a:cubicBezTo>
                      <a:pt x="1911" y="887"/>
                      <a:pt x="1911" y="887"/>
                      <a:pt x="1911" y="887"/>
                    </a:cubicBezTo>
                    <a:cubicBezTo>
                      <a:pt x="1932" y="884"/>
                      <a:pt x="1932" y="884"/>
                      <a:pt x="1932" y="884"/>
                    </a:cubicBezTo>
                    <a:cubicBezTo>
                      <a:pt x="1966" y="857"/>
                      <a:pt x="1966" y="857"/>
                      <a:pt x="1966" y="857"/>
                    </a:cubicBezTo>
                    <a:cubicBezTo>
                      <a:pt x="1966" y="857"/>
                      <a:pt x="2040" y="860"/>
                      <a:pt x="2040" y="847"/>
                    </a:cubicBezTo>
                    <a:cubicBezTo>
                      <a:pt x="2040" y="834"/>
                      <a:pt x="2020" y="819"/>
                      <a:pt x="2020" y="819"/>
                    </a:cubicBezTo>
                    <a:cubicBezTo>
                      <a:pt x="1980" y="824"/>
                      <a:pt x="1980" y="824"/>
                      <a:pt x="1980" y="824"/>
                    </a:cubicBezTo>
                    <a:cubicBezTo>
                      <a:pt x="1986" y="814"/>
                      <a:pt x="1986" y="814"/>
                      <a:pt x="1986" y="814"/>
                    </a:cubicBezTo>
                    <a:cubicBezTo>
                      <a:pt x="1950" y="800"/>
                      <a:pt x="1950" y="800"/>
                      <a:pt x="1950" y="800"/>
                    </a:cubicBezTo>
                    <a:cubicBezTo>
                      <a:pt x="1966" y="795"/>
                      <a:pt x="1966" y="795"/>
                      <a:pt x="1966" y="795"/>
                    </a:cubicBezTo>
                    <a:cubicBezTo>
                      <a:pt x="2021" y="811"/>
                      <a:pt x="2021" y="811"/>
                      <a:pt x="2021" y="811"/>
                    </a:cubicBezTo>
                    <a:cubicBezTo>
                      <a:pt x="2021" y="811"/>
                      <a:pt x="2042" y="833"/>
                      <a:pt x="2061" y="825"/>
                    </a:cubicBezTo>
                    <a:cubicBezTo>
                      <a:pt x="2080" y="817"/>
                      <a:pt x="2096" y="784"/>
                      <a:pt x="2103" y="789"/>
                    </a:cubicBezTo>
                    <a:cubicBezTo>
                      <a:pt x="2110" y="794"/>
                      <a:pt x="2131" y="804"/>
                      <a:pt x="2140" y="802"/>
                    </a:cubicBezTo>
                    <a:cubicBezTo>
                      <a:pt x="2140" y="802"/>
                      <a:pt x="2185" y="783"/>
                      <a:pt x="2203" y="776"/>
                    </a:cubicBezTo>
                    <a:cubicBezTo>
                      <a:pt x="2221" y="769"/>
                      <a:pt x="2255" y="750"/>
                      <a:pt x="2243" y="747"/>
                    </a:cubicBezTo>
                    <a:cubicBezTo>
                      <a:pt x="2231" y="744"/>
                      <a:pt x="2175" y="744"/>
                      <a:pt x="2175" y="744"/>
                    </a:cubicBezTo>
                    <a:cubicBezTo>
                      <a:pt x="2171" y="728"/>
                      <a:pt x="2171" y="728"/>
                      <a:pt x="2171" y="728"/>
                    </a:cubicBezTo>
                    <a:cubicBezTo>
                      <a:pt x="2115" y="708"/>
                      <a:pt x="2115" y="708"/>
                      <a:pt x="2115" y="708"/>
                    </a:cubicBezTo>
                    <a:cubicBezTo>
                      <a:pt x="2115" y="708"/>
                      <a:pt x="2171" y="700"/>
                      <a:pt x="2186" y="706"/>
                    </a:cubicBezTo>
                    <a:cubicBezTo>
                      <a:pt x="2201" y="712"/>
                      <a:pt x="2215" y="738"/>
                      <a:pt x="2230" y="738"/>
                    </a:cubicBezTo>
                    <a:cubicBezTo>
                      <a:pt x="2245" y="738"/>
                      <a:pt x="2324" y="700"/>
                      <a:pt x="2324" y="700"/>
                    </a:cubicBezTo>
                    <a:cubicBezTo>
                      <a:pt x="2305" y="692"/>
                      <a:pt x="2305" y="692"/>
                      <a:pt x="2305" y="692"/>
                    </a:cubicBezTo>
                    <a:cubicBezTo>
                      <a:pt x="2305" y="692"/>
                      <a:pt x="2319" y="680"/>
                      <a:pt x="2337" y="680"/>
                    </a:cubicBezTo>
                    <a:cubicBezTo>
                      <a:pt x="2355" y="680"/>
                      <a:pt x="2360" y="694"/>
                      <a:pt x="2360" y="694"/>
                    </a:cubicBezTo>
                    <a:cubicBezTo>
                      <a:pt x="2380" y="701"/>
                      <a:pt x="2380" y="701"/>
                      <a:pt x="2380" y="701"/>
                    </a:cubicBezTo>
                    <a:cubicBezTo>
                      <a:pt x="2381" y="688"/>
                      <a:pt x="2381" y="688"/>
                      <a:pt x="2381" y="688"/>
                    </a:cubicBezTo>
                    <a:cubicBezTo>
                      <a:pt x="2381" y="688"/>
                      <a:pt x="2395" y="705"/>
                      <a:pt x="2400" y="696"/>
                    </a:cubicBezTo>
                    <a:cubicBezTo>
                      <a:pt x="2405" y="687"/>
                      <a:pt x="2388" y="669"/>
                      <a:pt x="2388" y="669"/>
                    </a:cubicBezTo>
                    <a:cubicBezTo>
                      <a:pt x="2374" y="663"/>
                      <a:pt x="2374" y="663"/>
                      <a:pt x="2374" y="663"/>
                    </a:cubicBezTo>
                    <a:cubicBezTo>
                      <a:pt x="2401" y="658"/>
                      <a:pt x="2401" y="658"/>
                      <a:pt x="2401" y="658"/>
                    </a:cubicBezTo>
                    <a:cubicBezTo>
                      <a:pt x="2401" y="658"/>
                      <a:pt x="2415" y="697"/>
                      <a:pt x="2424" y="695"/>
                    </a:cubicBezTo>
                    <a:cubicBezTo>
                      <a:pt x="2433" y="693"/>
                      <a:pt x="2546" y="660"/>
                      <a:pt x="2532" y="641"/>
                    </a:cubicBezTo>
                    <a:cubicBezTo>
                      <a:pt x="2518" y="622"/>
                      <a:pt x="2507" y="607"/>
                      <a:pt x="2518" y="600"/>
                    </a:cubicBezTo>
                    <a:cubicBezTo>
                      <a:pt x="2529" y="593"/>
                      <a:pt x="2579" y="591"/>
                      <a:pt x="2580" y="585"/>
                    </a:cubicBezTo>
                    <a:cubicBezTo>
                      <a:pt x="2581" y="579"/>
                      <a:pt x="2570" y="553"/>
                      <a:pt x="2570" y="553"/>
                    </a:cubicBezTo>
                    <a:cubicBezTo>
                      <a:pt x="2558" y="538"/>
                      <a:pt x="2558" y="538"/>
                      <a:pt x="2558" y="538"/>
                    </a:cubicBezTo>
                    <a:cubicBezTo>
                      <a:pt x="2558" y="538"/>
                      <a:pt x="2496" y="520"/>
                      <a:pt x="2470" y="538"/>
                    </a:cubicBezTo>
                    <a:cubicBezTo>
                      <a:pt x="2444" y="556"/>
                      <a:pt x="2466" y="568"/>
                      <a:pt x="2466" y="568"/>
                    </a:cubicBezTo>
                    <a:cubicBezTo>
                      <a:pt x="2442" y="583"/>
                      <a:pt x="2442" y="583"/>
                      <a:pt x="2442" y="583"/>
                    </a:cubicBezTo>
                    <a:cubicBezTo>
                      <a:pt x="2428" y="583"/>
                      <a:pt x="2428" y="583"/>
                      <a:pt x="2428" y="583"/>
                    </a:cubicBezTo>
                    <a:cubicBezTo>
                      <a:pt x="2383" y="614"/>
                      <a:pt x="2383" y="614"/>
                      <a:pt x="2383" y="614"/>
                    </a:cubicBezTo>
                    <a:cubicBezTo>
                      <a:pt x="2366" y="621"/>
                      <a:pt x="2366" y="621"/>
                      <a:pt x="2366" y="621"/>
                    </a:cubicBezTo>
                    <a:cubicBezTo>
                      <a:pt x="2366" y="621"/>
                      <a:pt x="2354" y="639"/>
                      <a:pt x="2350" y="642"/>
                    </a:cubicBezTo>
                    <a:cubicBezTo>
                      <a:pt x="2346" y="645"/>
                      <a:pt x="2327" y="646"/>
                      <a:pt x="2327" y="646"/>
                    </a:cubicBezTo>
                    <a:cubicBezTo>
                      <a:pt x="2304" y="658"/>
                      <a:pt x="2304" y="658"/>
                      <a:pt x="2304" y="658"/>
                    </a:cubicBezTo>
                    <a:cubicBezTo>
                      <a:pt x="2304" y="658"/>
                      <a:pt x="2293" y="624"/>
                      <a:pt x="2299" y="613"/>
                    </a:cubicBezTo>
                    <a:cubicBezTo>
                      <a:pt x="2305" y="602"/>
                      <a:pt x="2336" y="607"/>
                      <a:pt x="2341" y="591"/>
                    </a:cubicBezTo>
                    <a:cubicBezTo>
                      <a:pt x="2346" y="575"/>
                      <a:pt x="2330" y="558"/>
                      <a:pt x="2327" y="558"/>
                    </a:cubicBezTo>
                    <a:cubicBezTo>
                      <a:pt x="2324" y="558"/>
                      <a:pt x="2271" y="582"/>
                      <a:pt x="2271" y="582"/>
                    </a:cubicBezTo>
                    <a:cubicBezTo>
                      <a:pt x="2252" y="603"/>
                      <a:pt x="2252" y="603"/>
                      <a:pt x="2252" y="603"/>
                    </a:cubicBezTo>
                    <a:cubicBezTo>
                      <a:pt x="2246" y="594"/>
                      <a:pt x="2246" y="594"/>
                      <a:pt x="2246" y="594"/>
                    </a:cubicBezTo>
                    <a:cubicBezTo>
                      <a:pt x="2264" y="576"/>
                      <a:pt x="2264" y="576"/>
                      <a:pt x="2264" y="576"/>
                    </a:cubicBezTo>
                    <a:cubicBezTo>
                      <a:pt x="2262" y="563"/>
                      <a:pt x="2262" y="563"/>
                      <a:pt x="2262" y="563"/>
                    </a:cubicBezTo>
                    <a:cubicBezTo>
                      <a:pt x="2292" y="552"/>
                      <a:pt x="2292" y="552"/>
                      <a:pt x="2292" y="552"/>
                    </a:cubicBezTo>
                    <a:cubicBezTo>
                      <a:pt x="2265" y="547"/>
                      <a:pt x="2265" y="547"/>
                      <a:pt x="2265" y="547"/>
                    </a:cubicBezTo>
                    <a:cubicBezTo>
                      <a:pt x="2270" y="537"/>
                      <a:pt x="2270" y="537"/>
                      <a:pt x="2270" y="537"/>
                    </a:cubicBezTo>
                    <a:cubicBezTo>
                      <a:pt x="2238" y="547"/>
                      <a:pt x="2238" y="547"/>
                      <a:pt x="2238" y="547"/>
                    </a:cubicBezTo>
                    <a:cubicBezTo>
                      <a:pt x="2224" y="539"/>
                      <a:pt x="2224" y="539"/>
                      <a:pt x="2224" y="539"/>
                    </a:cubicBezTo>
                    <a:cubicBezTo>
                      <a:pt x="2249" y="530"/>
                      <a:pt x="2249" y="530"/>
                      <a:pt x="2249" y="530"/>
                    </a:cubicBezTo>
                    <a:cubicBezTo>
                      <a:pt x="2250" y="520"/>
                      <a:pt x="2250" y="520"/>
                      <a:pt x="2250" y="520"/>
                    </a:cubicBezTo>
                    <a:cubicBezTo>
                      <a:pt x="2250" y="520"/>
                      <a:pt x="2286" y="528"/>
                      <a:pt x="2284" y="515"/>
                    </a:cubicBezTo>
                    <a:cubicBezTo>
                      <a:pt x="2282" y="502"/>
                      <a:pt x="2254" y="505"/>
                      <a:pt x="2266" y="488"/>
                    </a:cubicBezTo>
                    <a:cubicBezTo>
                      <a:pt x="2278" y="471"/>
                      <a:pt x="2289" y="446"/>
                      <a:pt x="2273" y="445"/>
                    </a:cubicBezTo>
                    <a:cubicBezTo>
                      <a:pt x="2248" y="435"/>
                      <a:pt x="2248" y="435"/>
                      <a:pt x="2248" y="435"/>
                    </a:cubicBezTo>
                    <a:cubicBezTo>
                      <a:pt x="2229" y="443"/>
                      <a:pt x="2229" y="443"/>
                      <a:pt x="2229" y="443"/>
                    </a:cubicBezTo>
                    <a:cubicBezTo>
                      <a:pt x="2229" y="443"/>
                      <a:pt x="2202" y="445"/>
                      <a:pt x="2201" y="449"/>
                    </a:cubicBezTo>
                    <a:cubicBezTo>
                      <a:pt x="2200" y="453"/>
                      <a:pt x="2208" y="462"/>
                      <a:pt x="2202" y="463"/>
                    </a:cubicBezTo>
                    <a:cubicBezTo>
                      <a:pt x="2196" y="464"/>
                      <a:pt x="2160" y="457"/>
                      <a:pt x="2152" y="466"/>
                    </a:cubicBezTo>
                    <a:cubicBezTo>
                      <a:pt x="2144" y="475"/>
                      <a:pt x="2127" y="484"/>
                      <a:pt x="2136" y="488"/>
                    </a:cubicBezTo>
                    <a:cubicBezTo>
                      <a:pt x="2145" y="492"/>
                      <a:pt x="2156" y="494"/>
                      <a:pt x="2156" y="494"/>
                    </a:cubicBezTo>
                    <a:cubicBezTo>
                      <a:pt x="2156" y="494"/>
                      <a:pt x="2107" y="507"/>
                      <a:pt x="2109" y="520"/>
                    </a:cubicBezTo>
                    <a:cubicBezTo>
                      <a:pt x="2111" y="533"/>
                      <a:pt x="2138" y="543"/>
                      <a:pt x="2138" y="543"/>
                    </a:cubicBezTo>
                    <a:cubicBezTo>
                      <a:pt x="2154" y="536"/>
                      <a:pt x="2154" y="536"/>
                      <a:pt x="2154" y="536"/>
                    </a:cubicBezTo>
                    <a:cubicBezTo>
                      <a:pt x="2154" y="536"/>
                      <a:pt x="2153" y="557"/>
                      <a:pt x="2159" y="554"/>
                    </a:cubicBezTo>
                    <a:cubicBezTo>
                      <a:pt x="2165" y="551"/>
                      <a:pt x="2194" y="546"/>
                      <a:pt x="2183" y="554"/>
                    </a:cubicBezTo>
                    <a:cubicBezTo>
                      <a:pt x="2172" y="562"/>
                      <a:pt x="2163" y="561"/>
                      <a:pt x="2163" y="561"/>
                    </a:cubicBezTo>
                    <a:cubicBezTo>
                      <a:pt x="2150" y="556"/>
                      <a:pt x="2150" y="556"/>
                      <a:pt x="2150" y="556"/>
                    </a:cubicBezTo>
                    <a:cubicBezTo>
                      <a:pt x="2148" y="565"/>
                      <a:pt x="2148" y="565"/>
                      <a:pt x="2148" y="565"/>
                    </a:cubicBezTo>
                    <a:cubicBezTo>
                      <a:pt x="2148" y="565"/>
                      <a:pt x="2112" y="571"/>
                      <a:pt x="2124" y="575"/>
                    </a:cubicBezTo>
                    <a:cubicBezTo>
                      <a:pt x="2136" y="579"/>
                      <a:pt x="2163" y="559"/>
                      <a:pt x="2157" y="572"/>
                    </a:cubicBezTo>
                    <a:cubicBezTo>
                      <a:pt x="2151" y="585"/>
                      <a:pt x="2132" y="594"/>
                      <a:pt x="2119" y="598"/>
                    </a:cubicBezTo>
                    <a:cubicBezTo>
                      <a:pt x="2106" y="602"/>
                      <a:pt x="2086" y="617"/>
                      <a:pt x="2086" y="617"/>
                    </a:cubicBezTo>
                    <a:cubicBezTo>
                      <a:pt x="2086" y="617"/>
                      <a:pt x="2064" y="605"/>
                      <a:pt x="2060" y="612"/>
                    </a:cubicBezTo>
                    <a:cubicBezTo>
                      <a:pt x="2056" y="619"/>
                      <a:pt x="2035" y="625"/>
                      <a:pt x="2036" y="635"/>
                    </a:cubicBezTo>
                    <a:cubicBezTo>
                      <a:pt x="2037" y="645"/>
                      <a:pt x="2030" y="654"/>
                      <a:pt x="2030" y="654"/>
                    </a:cubicBezTo>
                    <a:cubicBezTo>
                      <a:pt x="2026" y="645"/>
                      <a:pt x="2026" y="645"/>
                      <a:pt x="2026" y="645"/>
                    </a:cubicBezTo>
                    <a:cubicBezTo>
                      <a:pt x="2026" y="645"/>
                      <a:pt x="2001" y="644"/>
                      <a:pt x="2003" y="638"/>
                    </a:cubicBezTo>
                    <a:cubicBezTo>
                      <a:pt x="2005" y="632"/>
                      <a:pt x="2047" y="604"/>
                      <a:pt x="2047" y="604"/>
                    </a:cubicBezTo>
                    <a:cubicBezTo>
                      <a:pt x="2022" y="604"/>
                      <a:pt x="2022" y="604"/>
                      <a:pt x="2022" y="604"/>
                    </a:cubicBezTo>
                    <a:cubicBezTo>
                      <a:pt x="2022" y="604"/>
                      <a:pt x="2015" y="590"/>
                      <a:pt x="2008" y="590"/>
                    </a:cubicBezTo>
                    <a:cubicBezTo>
                      <a:pt x="2001" y="590"/>
                      <a:pt x="1985" y="596"/>
                      <a:pt x="1985" y="596"/>
                    </a:cubicBezTo>
                    <a:cubicBezTo>
                      <a:pt x="1985" y="596"/>
                      <a:pt x="1964" y="589"/>
                      <a:pt x="1961" y="597"/>
                    </a:cubicBezTo>
                    <a:cubicBezTo>
                      <a:pt x="1958" y="605"/>
                      <a:pt x="1956" y="612"/>
                      <a:pt x="1960" y="613"/>
                    </a:cubicBezTo>
                    <a:cubicBezTo>
                      <a:pt x="1964" y="614"/>
                      <a:pt x="1993" y="627"/>
                      <a:pt x="1983" y="630"/>
                    </a:cubicBezTo>
                    <a:cubicBezTo>
                      <a:pt x="1973" y="633"/>
                      <a:pt x="1955" y="618"/>
                      <a:pt x="1955" y="618"/>
                    </a:cubicBezTo>
                    <a:cubicBezTo>
                      <a:pt x="1941" y="609"/>
                      <a:pt x="1941" y="609"/>
                      <a:pt x="1941" y="609"/>
                    </a:cubicBezTo>
                    <a:cubicBezTo>
                      <a:pt x="1940" y="629"/>
                      <a:pt x="1940" y="629"/>
                      <a:pt x="1940" y="629"/>
                    </a:cubicBezTo>
                    <a:cubicBezTo>
                      <a:pt x="1940" y="629"/>
                      <a:pt x="1925" y="638"/>
                      <a:pt x="1916" y="636"/>
                    </a:cubicBezTo>
                    <a:cubicBezTo>
                      <a:pt x="1907" y="634"/>
                      <a:pt x="1874" y="625"/>
                      <a:pt x="1863" y="625"/>
                    </a:cubicBezTo>
                    <a:cubicBezTo>
                      <a:pt x="1852" y="625"/>
                      <a:pt x="1830" y="629"/>
                      <a:pt x="1819" y="628"/>
                    </a:cubicBezTo>
                    <a:cubicBezTo>
                      <a:pt x="1808" y="627"/>
                      <a:pt x="1791" y="610"/>
                      <a:pt x="1791" y="610"/>
                    </a:cubicBezTo>
                    <a:cubicBezTo>
                      <a:pt x="1752" y="613"/>
                      <a:pt x="1752" y="613"/>
                      <a:pt x="1752" y="613"/>
                    </a:cubicBezTo>
                    <a:cubicBezTo>
                      <a:pt x="1752" y="613"/>
                      <a:pt x="1737" y="599"/>
                      <a:pt x="1729" y="597"/>
                    </a:cubicBezTo>
                    <a:cubicBezTo>
                      <a:pt x="1721" y="595"/>
                      <a:pt x="1704" y="595"/>
                      <a:pt x="1692" y="601"/>
                    </a:cubicBezTo>
                    <a:cubicBezTo>
                      <a:pt x="1680" y="607"/>
                      <a:pt x="1685" y="609"/>
                      <a:pt x="1672" y="609"/>
                    </a:cubicBezTo>
                    <a:cubicBezTo>
                      <a:pt x="1659" y="609"/>
                      <a:pt x="1631" y="602"/>
                      <a:pt x="1624" y="611"/>
                    </a:cubicBezTo>
                    <a:cubicBezTo>
                      <a:pt x="1617" y="620"/>
                      <a:pt x="1605" y="646"/>
                      <a:pt x="1605" y="646"/>
                    </a:cubicBezTo>
                    <a:cubicBezTo>
                      <a:pt x="1597" y="666"/>
                      <a:pt x="1597" y="666"/>
                      <a:pt x="1597" y="666"/>
                    </a:cubicBezTo>
                    <a:cubicBezTo>
                      <a:pt x="1576" y="668"/>
                      <a:pt x="1576" y="668"/>
                      <a:pt x="1576" y="668"/>
                    </a:cubicBezTo>
                    <a:cubicBezTo>
                      <a:pt x="1571" y="687"/>
                      <a:pt x="1571" y="687"/>
                      <a:pt x="1571" y="687"/>
                    </a:cubicBezTo>
                    <a:cubicBezTo>
                      <a:pt x="1556" y="654"/>
                      <a:pt x="1556" y="654"/>
                      <a:pt x="1556" y="654"/>
                    </a:cubicBezTo>
                    <a:cubicBezTo>
                      <a:pt x="1556" y="654"/>
                      <a:pt x="1598" y="665"/>
                      <a:pt x="1587" y="646"/>
                    </a:cubicBezTo>
                    <a:cubicBezTo>
                      <a:pt x="1576" y="627"/>
                      <a:pt x="1544" y="625"/>
                      <a:pt x="1544" y="625"/>
                    </a:cubicBezTo>
                    <a:cubicBezTo>
                      <a:pt x="1546" y="616"/>
                      <a:pt x="1546" y="616"/>
                      <a:pt x="1546" y="616"/>
                    </a:cubicBezTo>
                    <a:cubicBezTo>
                      <a:pt x="1546" y="616"/>
                      <a:pt x="1477" y="629"/>
                      <a:pt x="1440" y="629"/>
                    </a:cubicBezTo>
                    <a:cubicBezTo>
                      <a:pt x="1403" y="629"/>
                      <a:pt x="1337" y="625"/>
                      <a:pt x="1350" y="619"/>
                    </a:cubicBezTo>
                    <a:cubicBezTo>
                      <a:pt x="1363" y="613"/>
                      <a:pt x="1447" y="616"/>
                      <a:pt x="1427" y="594"/>
                    </a:cubicBezTo>
                    <a:cubicBezTo>
                      <a:pt x="1407" y="572"/>
                      <a:pt x="1388" y="570"/>
                      <a:pt x="1364" y="572"/>
                    </a:cubicBezTo>
                    <a:cubicBezTo>
                      <a:pt x="1340" y="574"/>
                      <a:pt x="1301" y="560"/>
                      <a:pt x="1295" y="557"/>
                    </a:cubicBezTo>
                    <a:cubicBezTo>
                      <a:pt x="1289" y="554"/>
                      <a:pt x="1271" y="554"/>
                      <a:pt x="1271" y="554"/>
                    </a:cubicBezTo>
                    <a:cubicBezTo>
                      <a:pt x="1271" y="554"/>
                      <a:pt x="1223" y="527"/>
                      <a:pt x="1205" y="528"/>
                    </a:cubicBezTo>
                    <a:cubicBezTo>
                      <a:pt x="1187" y="529"/>
                      <a:pt x="1155" y="554"/>
                      <a:pt x="1155" y="554"/>
                    </a:cubicBezTo>
                    <a:cubicBezTo>
                      <a:pt x="1119" y="554"/>
                      <a:pt x="1119" y="554"/>
                      <a:pt x="1119" y="554"/>
                    </a:cubicBezTo>
                    <a:cubicBezTo>
                      <a:pt x="1139" y="542"/>
                      <a:pt x="1139" y="542"/>
                      <a:pt x="1139" y="542"/>
                    </a:cubicBezTo>
                    <a:cubicBezTo>
                      <a:pt x="1139" y="534"/>
                      <a:pt x="1139" y="534"/>
                      <a:pt x="1139" y="534"/>
                    </a:cubicBezTo>
                    <a:cubicBezTo>
                      <a:pt x="1156" y="514"/>
                      <a:pt x="1156" y="514"/>
                      <a:pt x="1156" y="514"/>
                    </a:cubicBezTo>
                    <a:cubicBezTo>
                      <a:pt x="1156" y="514"/>
                      <a:pt x="1117" y="532"/>
                      <a:pt x="1110" y="539"/>
                    </a:cubicBezTo>
                    <a:cubicBezTo>
                      <a:pt x="1103" y="546"/>
                      <a:pt x="1087" y="568"/>
                      <a:pt x="1072" y="553"/>
                    </a:cubicBezTo>
                    <a:cubicBezTo>
                      <a:pt x="1057" y="538"/>
                      <a:pt x="1078" y="522"/>
                      <a:pt x="1075" y="511"/>
                    </a:cubicBezTo>
                    <a:cubicBezTo>
                      <a:pt x="1072" y="500"/>
                      <a:pt x="1049" y="489"/>
                      <a:pt x="1046" y="498"/>
                    </a:cubicBezTo>
                    <a:cubicBezTo>
                      <a:pt x="1043" y="507"/>
                      <a:pt x="1056" y="513"/>
                      <a:pt x="1056" y="513"/>
                    </a:cubicBezTo>
                    <a:cubicBezTo>
                      <a:pt x="1056" y="513"/>
                      <a:pt x="1036" y="511"/>
                      <a:pt x="1025" y="515"/>
                    </a:cubicBezTo>
                    <a:cubicBezTo>
                      <a:pt x="1014" y="519"/>
                      <a:pt x="998" y="530"/>
                      <a:pt x="993" y="534"/>
                    </a:cubicBezTo>
                    <a:cubicBezTo>
                      <a:pt x="988" y="538"/>
                      <a:pt x="970" y="533"/>
                      <a:pt x="970" y="533"/>
                    </a:cubicBezTo>
                    <a:cubicBezTo>
                      <a:pt x="970" y="533"/>
                      <a:pt x="923" y="543"/>
                      <a:pt x="919" y="544"/>
                    </a:cubicBezTo>
                    <a:cubicBezTo>
                      <a:pt x="915" y="545"/>
                      <a:pt x="890" y="560"/>
                      <a:pt x="890" y="560"/>
                    </a:cubicBezTo>
                    <a:cubicBezTo>
                      <a:pt x="876" y="547"/>
                      <a:pt x="876" y="547"/>
                      <a:pt x="876" y="547"/>
                    </a:cubicBezTo>
                    <a:cubicBezTo>
                      <a:pt x="876" y="547"/>
                      <a:pt x="843" y="564"/>
                      <a:pt x="833" y="565"/>
                    </a:cubicBezTo>
                    <a:cubicBezTo>
                      <a:pt x="823" y="566"/>
                      <a:pt x="805" y="578"/>
                      <a:pt x="805" y="578"/>
                    </a:cubicBezTo>
                    <a:cubicBezTo>
                      <a:pt x="783" y="580"/>
                      <a:pt x="783" y="580"/>
                      <a:pt x="783" y="580"/>
                    </a:cubicBezTo>
                    <a:cubicBezTo>
                      <a:pt x="783" y="580"/>
                      <a:pt x="800" y="562"/>
                      <a:pt x="815" y="559"/>
                    </a:cubicBezTo>
                    <a:cubicBezTo>
                      <a:pt x="830" y="556"/>
                      <a:pt x="864" y="543"/>
                      <a:pt x="864" y="543"/>
                    </a:cubicBezTo>
                    <a:cubicBezTo>
                      <a:pt x="864" y="543"/>
                      <a:pt x="895" y="546"/>
                      <a:pt x="906" y="541"/>
                    </a:cubicBezTo>
                    <a:cubicBezTo>
                      <a:pt x="917" y="536"/>
                      <a:pt x="978" y="522"/>
                      <a:pt x="978" y="522"/>
                    </a:cubicBezTo>
                    <a:cubicBezTo>
                      <a:pt x="978" y="522"/>
                      <a:pt x="990" y="519"/>
                      <a:pt x="983" y="514"/>
                    </a:cubicBezTo>
                    <a:cubicBezTo>
                      <a:pt x="976" y="509"/>
                      <a:pt x="955" y="516"/>
                      <a:pt x="955" y="516"/>
                    </a:cubicBezTo>
                    <a:cubicBezTo>
                      <a:pt x="955" y="516"/>
                      <a:pt x="937" y="515"/>
                      <a:pt x="930" y="517"/>
                    </a:cubicBezTo>
                    <a:cubicBezTo>
                      <a:pt x="923" y="519"/>
                      <a:pt x="916" y="527"/>
                      <a:pt x="911" y="528"/>
                    </a:cubicBezTo>
                    <a:cubicBezTo>
                      <a:pt x="906" y="529"/>
                      <a:pt x="887" y="529"/>
                      <a:pt x="887" y="529"/>
                    </a:cubicBezTo>
                    <a:cubicBezTo>
                      <a:pt x="872" y="532"/>
                      <a:pt x="872" y="532"/>
                      <a:pt x="872" y="532"/>
                    </a:cubicBezTo>
                    <a:cubicBezTo>
                      <a:pt x="872" y="532"/>
                      <a:pt x="855" y="532"/>
                      <a:pt x="843" y="535"/>
                    </a:cubicBezTo>
                    <a:cubicBezTo>
                      <a:pt x="831" y="538"/>
                      <a:pt x="820" y="550"/>
                      <a:pt x="820" y="550"/>
                    </a:cubicBezTo>
                    <a:cubicBezTo>
                      <a:pt x="806" y="552"/>
                      <a:pt x="806" y="552"/>
                      <a:pt x="806" y="552"/>
                    </a:cubicBezTo>
                    <a:cubicBezTo>
                      <a:pt x="771" y="565"/>
                      <a:pt x="771" y="565"/>
                      <a:pt x="771" y="565"/>
                    </a:cubicBezTo>
                    <a:cubicBezTo>
                      <a:pt x="771" y="565"/>
                      <a:pt x="756" y="568"/>
                      <a:pt x="753" y="571"/>
                    </a:cubicBezTo>
                    <a:cubicBezTo>
                      <a:pt x="750" y="574"/>
                      <a:pt x="748" y="590"/>
                      <a:pt x="741" y="586"/>
                    </a:cubicBezTo>
                    <a:cubicBezTo>
                      <a:pt x="734" y="582"/>
                      <a:pt x="733" y="567"/>
                      <a:pt x="744" y="565"/>
                    </a:cubicBezTo>
                    <a:cubicBezTo>
                      <a:pt x="755" y="563"/>
                      <a:pt x="784" y="553"/>
                      <a:pt x="793" y="547"/>
                    </a:cubicBezTo>
                    <a:cubicBezTo>
                      <a:pt x="802" y="541"/>
                      <a:pt x="760" y="535"/>
                      <a:pt x="753" y="544"/>
                    </a:cubicBezTo>
                    <a:cubicBezTo>
                      <a:pt x="746" y="553"/>
                      <a:pt x="719" y="558"/>
                      <a:pt x="712" y="558"/>
                    </a:cubicBezTo>
                    <a:cubicBezTo>
                      <a:pt x="705" y="558"/>
                      <a:pt x="705" y="585"/>
                      <a:pt x="705" y="585"/>
                    </a:cubicBezTo>
                    <a:cubicBezTo>
                      <a:pt x="689" y="576"/>
                      <a:pt x="689" y="576"/>
                      <a:pt x="689" y="576"/>
                    </a:cubicBezTo>
                    <a:cubicBezTo>
                      <a:pt x="647" y="570"/>
                      <a:pt x="647" y="570"/>
                      <a:pt x="647" y="570"/>
                    </a:cubicBezTo>
                    <a:cubicBezTo>
                      <a:pt x="647" y="570"/>
                      <a:pt x="621" y="558"/>
                      <a:pt x="623" y="553"/>
                    </a:cubicBezTo>
                    <a:cubicBezTo>
                      <a:pt x="625" y="548"/>
                      <a:pt x="629" y="539"/>
                      <a:pt x="629" y="539"/>
                    </a:cubicBezTo>
                    <a:cubicBezTo>
                      <a:pt x="555" y="540"/>
                      <a:pt x="555" y="540"/>
                      <a:pt x="555" y="540"/>
                    </a:cubicBezTo>
                    <a:cubicBezTo>
                      <a:pt x="567" y="540"/>
                      <a:pt x="567" y="540"/>
                      <a:pt x="567" y="540"/>
                    </a:cubicBezTo>
                    <a:cubicBezTo>
                      <a:pt x="52" y="964"/>
                      <a:pt x="52" y="964"/>
                      <a:pt x="52" y="964"/>
                    </a:cubicBezTo>
                    <a:cubicBezTo>
                      <a:pt x="52" y="964"/>
                      <a:pt x="26" y="978"/>
                      <a:pt x="32" y="984"/>
                    </a:cubicBezTo>
                    <a:cubicBezTo>
                      <a:pt x="38" y="990"/>
                      <a:pt x="67" y="984"/>
                      <a:pt x="67" y="984"/>
                    </a:cubicBezTo>
                    <a:cubicBezTo>
                      <a:pt x="70" y="984"/>
                      <a:pt x="79" y="979"/>
                      <a:pt x="79" y="979"/>
                    </a:cubicBezTo>
                    <a:cubicBezTo>
                      <a:pt x="103" y="979"/>
                      <a:pt x="103" y="979"/>
                      <a:pt x="103" y="979"/>
                    </a:cubicBezTo>
                    <a:cubicBezTo>
                      <a:pt x="88" y="994"/>
                      <a:pt x="88" y="994"/>
                      <a:pt x="88" y="994"/>
                    </a:cubicBezTo>
                    <a:cubicBezTo>
                      <a:pt x="88" y="994"/>
                      <a:pt x="88" y="1003"/>
                      <a:pt x="88" y="1013"/>
                    </a:cubicBezTo>
                    <a:cubicBezTo>
                      <a:pt x="88" y="1024"/>
                      <a:pt x="107" y="1032"/>
                      <a:pt x="107" y="1032"/>
                    </a:cubicBezTo>
                    <a:cubicBezTo>
                      <a:pt x="107" y="1032"/>
                      <a:pt x="88" y="1051"/>
                      <a:pt x="93" y="1051"/>
                    </a:cubicBezTo>
                    <a:cubicBezTo>
                      <a:pt x="99" y="1051"/>
                      <a:pt x="115" y="1038"/>
                      <a:pt x="115" y="1038"/>
                    </a:cubicBezTo>
                    <a:cubicBezTo>
                      <a:pt x="115" y="1038"/>
                      <a:pt x="136" y="1031"/>
                      <a:pt x="143" y="1031"/>
                    </a:cubicBezTo>
                    <a:cubicBezTo>
                      <a:pt x="151" y="1031"/>
                      <a:pt x="157" y="1021"/>
                      <a:pt x="157" y="1021"/>
                    </a:cubicBezTo>
                    <a:cubicBezTo>
                      <a:pt x="169" y="1021"/>
                      <a:pt x="169" y="1021"/>
                      <a:pt x="169" y="1021"/>
                    </a:cubicBezTo>
                    <a:cubicBezTo>
                      <a:pt x="171" y="1013"/>
                      <a:pt x="171" y="1013"/>
                      <a:pt x="171" y="1013"/>
                    </a:cubicBezTo>
                    <a:cubicBezTo>
                      <a:pt x="171" y="1013"/>
                      <a:pt x="199" y="1003"/>
                      <a:pt x="217" y="1008"/>
                    </a:cubicBezTo>
                    <a:cubicBezTo>
                      <a:pt x="236" y="1014"/>
                      <a:pt x="209" y="1024"/>
                      <a:pt x="209" y="1024"/>
                    </a:cubicBezTo>
                    <a:cubicBezTo>
                      <a:pt x="209" y="1041"/>
                      <a:pt x="209" y="1041"/>
                      <a:pt x="209" y="1041"/>
                    </a:cubicBezTo>
                    <a:cubicBezTo>
                      <a:pt x="203" y="1052"/>
                      <a:pt x="203" y="1052"/>
                      <a:pt x="203" y="1052"/>
                    </a:cubicBezTo>
                    <a:cubicBezTo>
                      <a:pt x="203" y="1052"/>
                      <a:pt x="210" y="1054"/>
                      <a:pt x="216" y="1072"/>
                    </a:cubicBezTo>
                    <a:cubicBezTo>
                      <a:pt x="223" y="1089"/>
                      <a:pt x="206" y="1108"/>
                      <a:pt x="206" y="1108"/>
                    </a:cubicBezTo>
                    <a:cubicBezTo>
                      <a:pt x="206" y="1132"/>
                      <a:pt x="206" y="1132"/>
                      <a:pt x="206" y="1132"/>
                    </a:cubicBezTo>
                    <a:cubicBezTo>
                      <a:pt x="206" y="1132"/>
                      <a:pt x="200" y="1149"/>
                      <a:pt x="195" y="1162"/>
                    </a:cubicBezTo>
                    <a:cubicBezTo>
                      <a:pt x="190" y="1175"/>
                      <a:pt x="218" y="1176"/>
                      <a:pt x="218" y="1180"/>
                    </a:cubicBezTo>
                    <a:cubicBezTo>
                      <a:pt x="218" y="1185"/>
                      <a:pt x="225" y="1187"/>
                      <a:pt x="225" y="1187"/>
                    </a:cubicBezTo>
                    <a:cubicBezTo>
                      <a:pt x="225" y="1187"/>
                      <a:pt x="235" y="1186"/>
                      <a:pt x="235" y="1194"/>
                    </a:cubicBezTo>
                    <a:cubicBezTo>
                      <a:pt x="235" y="1202"/>
                      <a:pt x="208" y="1213"/>
                      <a:pt x="208" y="1213"/>
                    </a:cubicBezTo>
                    <a:cubicBezTo>
                      <a:pt x="208" y="1213"/>
                      <a:pt x="208" y="1229"/>
                      <a:pt x="198" y="1239"/>
                    </a:cubicBezTo>
                    <a:cubicBezTo>
                      <a:pt x="194" y="1243"/>
                      <a:pt x="173" y="1254"/>
                      <a:pt x="152" y="1264"/>
                    </a:cubicBezTo>
                    <a:cubicBezTo>
                      <a:pt x="150" y="1269"/>
                      <a:pt x="149" y="1274"/>
                      <a:pt x="148" y="1278"/>
                    </a:cubicBezTo>
                    <a:cubicBezTo>
                      <a:pt x="147" y="1285"/>
                      <a:pt x="142" y="1299"/>
                      <a:pt x="142" y="1299"/>
                    </a:cubicBezTo>
                    <a:cubicBezTo>
                      <a:pt x="133" y="1305"/>
                      <a:pt x="133" y="1305"/>
                      <a:pt x="133" y="1305"/>
                    </a:cubicBezTo>
                    <a:cubicBezTo>
                      <a:pt x="133" y="1305"/>
                      <a:pt x="142" y="1309"/>
                      <a:pt x="143" y="1316"/>
                    </a:cubicBezTo>
                    <a:cubicBezTo>
                      <a:pt x="144" y="1323"/>
                      <a:pt x="151" y="1326"/>
                      <a:pt x="151" y="1326"/>
                    </a:cubicBezTo>
                    <a:cubicBezTo>
                      <a:pt x="151" y="1326"/>
                      <a:pt x="201" y="1287"/>
                      <a:pt x="201" y="1296"/>
                    </a:cubicBezTo>
                    <a:cubicBezTo>
                      <a:pt x="201" y="1305"/>
                      <a:pt x="185" y="1306"/>
                      <a:pt x="183" y="1311"/>
                    </a:cubicBezTo>
                    <a:cubicBezTo>
                      <a:pt x="181" y="1316"/>
                      <a:pt x="185" y="1326"/>
                      <a:pt x="185" y="1326"/>
                    </a:cubicBezTo>
                    <a:cubicBezTo>
                      <a:pt x="194" y="1333"/>
                      <a:pt x="194" y="1333"/>
                      <a:pt x="194" y="1333"/>
                    </a:cubicBezTo>
                    <a:cubicBezTo>
                      <a:pt x="165" y="1332"/>
                      <a:pt x="165" y="1332"/>
                      <a:pt x="165" y="1332"/>
                    </a:cubicBezTo>
                    <a:cubicBezTo>
                      <a:pt x="165" y="1332"/>
                      <a:pt x="143" y="1359"/>
                      <a:pt x="153" y="1360"/>
                    </a:cubicBezTo>
                    <a:cubicBezTo>
                      <a:pt x="163" y="1361"/>
                      <a:pt x="169" y="1367"/>
                      <a:pt x="169" y="1367"/>
                    </a:cubicBezTo>
                    <a:cubicBezTo>
                      <a:pt x="169" y="1367"/>
                      <a:pt x="157" y="1388"/>
                      <a:pt x="164" y="1385"/>
                    </a:cubicBezTo>
                    <a:cubicBezTo>
                      <a:pt x="171" y="1382"/>
                      <a:pt x="212" y="1354"/>
                      <a:pt x="212" y="1354"/>
                    </a:cubicBezTo>
                    <a:cubicBezTo>
                      <a:pt x="211" y="1363"/>
                      <a:pt x="211" y="1363"/>
                      <a:pt x="211" y="1363"/>
                    </a:cubicBezTo>
                    <a:cubicBezTo>
                      <a:pt x="192" y="1374"/>
                      <a:pt x="192" y="1374"/>
                      <a:pt x="192" y="1374"/>
                    </a:cubicBezTo>
                    <a:cubicBezTo>
                      <a:pt x="207" y="1380"/>
                      <a:pt x="207" y="1380"/>
                      <a:pt x="207" y="1380"/>
                    </a:cubicBezTo>
                    <a:cubicBezTo>
                      <a:pt x="207" y="1380"/>
                      <a:pt x="202" y="1400"/>
                      <a:pt x="194" y="1398"/>
                    </a:cubicBezTo>
                    <a:cubicBezTo>
                      <a:pt x="186" y="1396"/>
                      <a:pt x="184" y="1387"/>
                      <a:pt x="184" y="1387"/>
                    </a:cubicBezTo>
                    <a:cubicBezTo>
                      <a:pt x="184" y="1387"/>
                      <a:pt x="151" y="1397"/>
                      <a:pt x="145" y="1403"/>
                    </a:cubicBezTo>
                    <a:cubicBezTo>
                      <a:pt x="139" y="1409"/>
                      <a:pt x="133" y="1417"/>
                      <a:pt x="133" y="1417"/>
                    </a:cubicBezTo>
                    <a:cubicBezTo>
                      <a:pt x="133" y="1417"/>
                      <a:pt x="151" y="1412"/>
                      <a:pt x="156" y="1412"/>
                    </a:cubicBezTo>
                    <a:cubicBezTo>
                      <a:pt x="161" y="1412"/>
                      <a:pt x="182" y="1412"/>
                      <a:pt x="182" y="1412"/>
                    </a:cubicBezTo>
                    <a:cubicBezTo>
                      <a:pt x="182" y="1412"/>
                      <a:pt x="146" y="1421"/>
                      <a:pt x="140" y="1424"/>
                    </a:cubicBezTo>
                    <a:cubicBezTo>
                      <a:pt x="134" y="1427"/>
                      <a:pt x="138" y="1435"/>
                      <a:pt x="138" y="1435"/>
                    </a:cubicBezTo>
                    <a:cubicBezTo>
                      <a:pt x="138" y="1435"/>
                      <a:pt x="105" y="1423"/>
                      <a:pt x="114" y="1437"/>
                    </a:cubicBezTo>
                    <a:cubicBezTo>
                      <a:pt x="123" y="1451"/>
                      <a:pt x="132" y="1455"/>
                      <a:pt x="132" y="1455"/>
                    </a:cubicBezTo>
                    <a:cubicBezTo>
                      <a:pt x="164" y="1444"/>
                      <a:pt x="164" y="1444"/>
                      <a:pt x="164" y="1444"/>
                    </a:cubicBezTo>
                    <a:cubicBezTo>
                      <a:pt x="173" y="1459"/>
                      <a:pt x="173" y="1459"/>
                      <a:pt x="173" y="1459"/>
                    </a:cubicBezTo>
                    <a:cubicBezTo>
                      <a:pt x="198" y="1445"/>
                      <a:pt x="198" y="1445"/>
                      <a:pt x="198" y="1445"/>
                    </a:cubicBezTo>
                    <a:cubicBezTo>
                      <a:pt x="198" y="1445"/>
                      <a:pt x="165" y="1479"/>
                      <a:pt x="176" y="1478"/>
                    </a:cubicBezTo>
                    <a:cubicBezTo>
                      <a:pt x="187" y="1477"/>
                      <a:pt x="217" y="1454"/>
                      <a:pt x="217" y="1454"/>
                    </a:cubicBezTo>
                    <a:cubicBezTo>
                      <a:pt x="217" y="1454"/>
                      <a:pt x="190" y="1484"/>
                      <a:pt x="194" y="1484"/>
                    </a:cubicBezTo>
                    <a:cubicBezTo>
                      <a:pt x="198" y="1484"/>
                      <a:pt x="216" y="1479"/>
                      <a:pt x="216" y="1479"/>
                    </a:cubicBezTo>
                    <a:cubicBezTo>
                      <a:pt x="216" y="1479"/>
                      <a:pt x="178" y="1508"/>
                      <a:pt x="190" y="1509"/>
                    </a:cubicBezTo>
                    <a:cubicBezTo>
                      <a:pt x="202" y="1510"/>
                      <a:pt x="229" y="1490"/>
                      <a:pt x="229" y="1490"/>
                    </a:cubicBezTo>
                    <a:cubicBezTo>
                      <a:pt x="229" y="1490"/>
                      <a:pt x="203" y="1518"/>
                      <a:pt x="210" y="1520"/>
                    </a:cubicBezTo>
                    <a:cubicBezTo>
                      <a:pt x="217" y="1522"/>
                      <a:pt x="233" y="1526"/>
                      <a:pt x="233" y="1529"/>
                    </a:cubicBezTo>
                    <a:cubicBezTo>
                      <a:pt x="233" y="1531"/>
                      <a:pt x="231" y="1548"/>
                      <a:pt x="228" y="1561"/>
                    </a:cubicBezTo>
                    <a:cubicBezTo>
                      <a:pt x="228" y="1561"/>
                      <a:pt x="228" y="1561"/>
                      <a:pt x="228" y="1561"/>
                    </a:cubicBezTo>
                    <a:cubicBezTo>
                      <a:pt x="1370" y="1561"/>
                      <a:pt x="1370" y="1561"/>
                      <a:pt x="1370" y="1561"/>
                    </a:cubicBezTo>
                    <a:cubicBezTo>
                      <a:pt x="1370" y="1561"/>
                      <a:pt x="1384" y="1526"/>
                      <a:pt x="1394" y="1537"/>
                    </a:cubicBezTo>
                    <a:cubicBezTo>
                      <a:pt x="1404" y="1547"/>
                      <a:pt x="1379" y="1557"/>
                      <a:pt x="1388" y="1566"/>
                    </a:cubicBezTo>
                    <a:cubicBezTo>
                      <a:pt x="1396" y="1574"/>
                      <a:pt x="1415" y="1575"/>
                      <a:pt x="1415" y="1575"/>
                    </a:cubicBezTo>
                    <a:cubicBezTo>
                      <a:pt x="1415" y="1575"/>
                      <a:pt x="1422" y="1585"/>
                      <a:pt x="1430" y="1585"/>
                    </a:cubicBezTo>
                    <a:cubicBezTo>
                      <a:pt x="1438" y="1585"/>
                      <a:pt x="1436" y="1573"/>
                      <a:pt x="1449" y="1573"/>
                    </a:cubicBezTo>
                    <a:cubicBezTo>
                      <a:pt x="1462" y="1573"/>
                      <a:pt x="1465" y="1593"/>
                      <a:pt x="1471" y="1593"/>
                    </a:cubicBezTo>
                    <a:cubicBezTo>
                      <a:pt x="1477" y="1593"/>
                      <a:pt x="1484" y="1596"/>
                      <a:pt x="1487" y="1593"/>
                    </a:cubicBezTo>
                    <a:cubicBezTo>
                      <a:pt x="1490" y="1590"/>
                      <a:pt x="1503" y="1614"/>
                      <a:pt x="1509" y="1608"/>
                    </a:cubicBezTo>
                    <a:cubicBezTo>
                      <a:pt x="1515" y="1602"/>
                      <a:pt x="1531" y="1591"/>
                      <a:pt x="1531" y="1591"/>
                    </a:cubicBezTo>
                    <a:cubicBezTo>
                      <a:pt x="1531" y="1601"/>
                      <a:pt x="1531" y="1601"/>
                      <a:pt x="1531" y="1601"/>
                    </a:cubicBezTo>
                    <a:cubicBezTo>
                      <a:pt x="1561" y="1600"/>
                      <a:pt x="1561" y="1600"/>
                      <a:pt x="1561" y="1600"/>
                    </a:cubicBezTo>
                    <a:cubicBezTo>
                      <a:pt x="1561" y="1600"/>
                      <a:pt x="1558" y="1606"/>
                      <a:pt x="1586" y="1606"/>
                    </a:cubicBezTo>
                    <a:cubicBezTo>
                      <a:pt x="1598" y="1598"/>
                      <a:pt x="1605" y="1585"/>
                      <a:pt x="1606" y="1582"/>
                    </a:cubicBezTo>
                    <a:cubicBezTo>
                      <a:pt x="1607" y="1578"/>
                      <a:pt x="1626" y="1586"/>
                      <a:pt x="1626" y="1586"/>
                    </a:cubicBezTo>
                    <a:cubicBezTo>
                      <a:pt x="1634" y="1580"/>
                      <a:pt x="1634" y="1580"/>
                      <a:pt x="1634" y="1580"/>
                    </a:cubicBezTo>
                    <a:cubicBezTo>
                      <a:pt x="1634" y="1580"/>
                      <a:pt x="1641" y="1568"/>
                      <a:pt x="1642" y="1565"/>
                    </a:cubicBezTo>
                    <a:cubicBezTo>
                      <a:pt x="1643" y="1562"/>
                      <a:pt x="1651" y="1575"/>
                      <a:pt x="1651" y="1575"/>
                    </a:cubicBezTo>
                    <a:cubicBezTo>
                      <a:pt x="1668" y="1572"/>
                      <a:pt x="1668" y="1572"/>
                      <a:pt x="1668" y="1572"/>
                    </a:cubicBezTo>
                    <a:cubicBezTo>
                      <a:pt x="1668" y="1572"/>
                      <a:pt x="1659" y="1562"/>
                      <a:pt x="1668" y="1555"/>
                    </a:cubicBezTo>
                    <a:cubicBezTo>
                      <a:pt x="1677" y="1548"/>
                      <a:pt x="1686" y="1563"/>
                      <a:pt x="1686" y="1563"/>
                    </a:cubicBezTo>
                    <a:cubicBezTo>
                      <a:pt x="1704" y="1563"/>
                      <a:pt x="1704" y="1563"/>
                      <a:pt x="1704" y="1563"/>
                    </a:cubicBezTo>
                    <a:cubicBezTo>
                      <a:pt x="1708" y="1567"/>
                      <a:pt x="1708" y="1567"/>
                      <a:pt x="1708" y="1567"/>
                    </a:cubicBezTo>
                    <a:cubicBezTo>
                      <a:pt x="1708" y="1567"/>
                      <a:pt x="1728" y="1568"/>
                      <a:pt x="1733" y="1573"/>
                    </a:cubicBezTo>
                    <a:cubicBezTo>
                      <a:pt x="1738" y="1578"/>
                      <a:pt x="1727" y="1604"/>
                      <a:pt x="1727" y="1604"/>
                    </a:cubicBezTo>
                    <a:cubicBezTo>
                      <a:pt x="1733" y="1611"/>
                      <a:pt x="1733" y="1611"/>
                      <a:pt x="1733" y="1611"/>
                    </a:cubicBezTo>
                    <a:cubicBezTo>
                      <a:pt x="1727" y="1626"/>
                      <a:pt x="1727" y="1626"/>
                      <a:pt x="1727" y="1626"/>
                    </a:cubicBezTo>
                    <a:cubicBezTo>
                      <a:pt x="1727" y="1626"/>
                      <a:pt x="1766" y="1603"/>
                      <a:pt x="1777" y="1610"/>
                    </a:cubicBezTo>
                    <a:cubicBezTo>
                      <a:pt x="1788" y="1617"/>
                      <a:pt x="1760" y="1627"/>
                      <a:pt x="1759" y="1631"/>
                    </a:cubicBezTo>
                    <a:cubicBezTo>
                      <a:pt x="1758" y="1635"/>
                      <a:pt x="1773" y="1638"/>
                      <a:pt x="1773" y="1643"/>
                    </a:cubicBezTo>
                    <a:cubicBezTo>
                      <a:pt x="1773" y="1648"/>
                      <a:pt x="1757" y="1654"/>
                      <a:pt x="1757" y="1659"/>
                    </a:cubicBezTo>
                    <a:cubicBezTo>
                      <a:pt x="1757" y="1664"/>
                      <a:pt x="1770" y="1664"/>
                      <a:pt x="1767" y="1671"/>
                    </a:cubicBezTo>
                    <a:cubicBezTo>
                      <a:pt x="1764" y="1678"/>
                      <a:pt x="1758" y="1679"/>
                      <a:pt x="1758" y="1679"/>
                    </a:cubicBezTo>
                    <a:cubicBezTo>
                      <a:pt x="1756" y="1685"/>
                      <a:pt x="1756" y="1685"/>
                      <a:pt x="1756" y="1685"/>
                    </a:cubicBezTo>
                    <a:cubicBezTo>
                      <a:pt x="1769" y="1685"/>
                      <a:pt x="1769" y="1685"/>
                      <a:pt x="1769" y="1685"/>
                    </a:cubicBezTo>
                    <a:cubicBezTo>
                      <a:pt x="1765" y="1700"/>
                      <a:pt x="1765" y="1700"/>
                      <a:pt x="1765" y="1700"/>
                    </a:cubicBezTo>
                    <a:cubicBezTo>
                      <a:pt x="1771" y="1700"/>
                      <a:pt x="1778" y="1701"/>
                      <a:pt x="1781" y="1701"/>
                    </a:cubicBezTo>
                    <a:cubicBezTo>
                      <a:pt x="1786" y="1700"/>
                      <a:pt x="1794" y="1703"/>
                      <a:pt x="1806" y="1704"/>
                    </a:cubicBezTo>
                    <a:cubicBezTo>
                      <a:pt x="1818" y="1705"/>
                      <a:pt x="1825" y="1703"/>
                      <a:pt x="1825" y="1703"/>
                    </a:cubicBezTo>
                    <a:cubicBezTo>
                      <a:pt x="1837" y="1703"/>
                      <a:pt x="1852" y="1715"/>
                      <a:pt x="1863" y="1715"/>
                    </a:cubicBezTo>
                    <a:cubicBezTo>
                      <a:pt x="1874" y="1715"/>
                      <a:pt x="1884" y="1715"/>
                      <a:pt x="1884" y="1715"/>
                    </a:cubicBezTo>
                    <a:cubicBezTo>
                      <a:pt x="1906" y="1715"/>
                      <a:pt x="1904" y="1729"/>
                      <a:pt x="1904" y="1738"/>
                    </a:cubicBezTo>
                    <a:cubicBezTo>
                      <a:pt x="1904" y="1747"/>
                      <a:pt x="1914" y="1736"/>
                      <a:pt x="1914" y="1746"/>
                    </a:cubicBezTo>
                    <a:cubicBezTo>
                      <a:pt x="1914" y="1756"/>
                      <a:pt x="1910" y="1759"/>
                      <a:pt x="1905" y="1764"/>
                    </a:cubicBezTo>
                    <a:cubicBezTo>
                      <a:pt x="1900" y="1769"/>
                      <a:pt x="1918" y="1777"/>
                      <a:pt x="1918" y="1777"/>
                    </a:cubicBezTo>
                    <a:cubicBezTo>
                      <a:pt x="1903" y="1776"/>
                      <a:pt x="1903" y="1776"/>
                      <a:pt x="1903" y="1776"/>
                    </a:cubicBezTo>
                    <a:cubicBezTo>
                      <a:pt x="1903" y="1776"/>
                      <a:pt x="1903" y="1785"/>
                      <a:pt x="1896" y="1793"/>
                    </a:cubicBezTo>
                    <a:cubicBezTo>
                      <a:pt x="1888" y="1800"/>
                      <a:pt x="1887" y="1793"/>
                      <a:pt x="1868" y="1783"/>
                    </a:cubicBezTo>
                    <a:cubicBezTo>
                      <a:pt x="1849" y="1773"/>
                      <a:pt x="1855" y="1754"/>
                      <a:pt x="1855" y="1754"/>
                    </a:cubicBezTo>
                    <a:cubicBezTo>
                      <a:pt x="1844" y="1749"/>
                      <a:pt x="1844" y="1749"/>
                      <a:pt x="1844" y="1749"/>
                    </a:cubicBezTo>
                    <a:cubicBezTo>
                      <a:pt x="1846" y="1761"/>
                      <a:pt x="1846" y="1761"/>
                      <a:pt x="1846" y="1761"/>
                    </a:cubicBezTo>
                    <a:cubicBezTo>
                      <a:pt x="1846" y="1761"/>
                      <a:pt x="1854" y="1774"/>
                      <a:pt x="1846" y="1788"/>
                    </a:cubicBezTo>
                    <a:cubicBezTo>
                      <a:pt x="1838" y="1802"/>
                      <a:pt x="1820" y="1806"/>
                      <a:pt x="1812" y="1819"/>
                    </a:cubicBezTo>
                    <a:cubicBezTo>
                      <a:pt x="1804" y="1832"/>
                      <a:pt x="1801" y="1844"/>
                      <a:pt x="1793" y="1853"/>
                    </a:cubicBezTo>
                    <a:cubicBezTo>
                      <a:pt x="1785" y="1861"/>
                      <a:pt x="1769" y="1868"/>
                      <a:pt x="1762" y="1864"/>
                    </a:cubicBezTo>
                    <a:cubicBezTo>
                      <a:pt x="1758" y="1869"/>
                      <a:pt x="1755" y="1873"/>
                      <a:pt x="1755" y="1873"/>
                    </a:cubicBezTo>
                    <a:cubicBezTo>
                      <a:pt x="1755" y="1873"/>
                      <a:pt x="1757" y="1894"/>
                      <a:pt x="1749" y="1894"/>
                    </a:cubicBezTo>
                    <a:cubicBezTo>
                      <a:pt x="1741" y="1894"/>
                      <a:pt x="1696" y="1916"/>
                      <a:pt x="1706" y="1926"/>
                    </a:cubicBezTo>
                    <a:cubicBezTo>
                      <a:pt x="1707" y="1926"/>
                      <a:pt x="1707" y="1927"/>
                      <a:pt x="1708" y="1928"/>
                    </a:cubicBezTo>
                    <a:cubicBezTo>
                      <a:pt x="1716" y="1924"/>
                      <a:pt x="1723" y="1921"/>
                      <a:pt x="1724" y="1921"/>
                    </a:cubicBezTo>
                    <a:cubicBezTo>
                      <a:pt x="1727" y="1921"/>
                      <a:pt x="1731" y="1926"/>
                      <a:pt x="1731" y="1926"/>
                    </a:cubicBezTo>
                    <a:cubicBezTo>
                      <a:pt x="1731" y="1926"/>
                      <a:pt x="1746" y="1912"/>
                      <a:pt x="1754" y="1910"/>
                    </a:cubicBezTo>
                    <a:cubicBezTo>
                      <a:pt x="1762" y="1908"/>
                      <a:pt x="1770" y="1911"/>
                      <a:pt x="1770" y="1911"/>
                    </a:cubicBezTo>
                    <a:cubicBezTo>
                      <a:pt x="1770" y="1911"/>
                      <a:pt x="1775" y="1890"/>
                      <a:pt x="1800" y="1889"/>
                    </a:cubicBezTo>
                    <a:cubicBezTo>
                      <a:pt x="1825" y="1888"/>
                      <a:pt x="1842" y="1895"/>
                      <a:pt x="1842" y="1895"/>
                    </a:cubicBezTo>
                    <a:cubicBezTo>
                      <a:pt x="1858" y="1881"/>
                      <a:pt x="1858" y="1881"/>
                      <a:pt x="1858" y="1881"/>
                    </a:cubicBezTo>
                    <a:cubicBezTo>
                      <a:pt x="1900" y="1883"/>
                      <a:pt x="1900" y="1883"/>
                      <a:pt x="1900" y="1883"/>
                    </a:cubicBezTo>
                    <a:cubicBezTo>
                      <a:pt x="1903" y="1880"/>
                      <a:pt x="1905" y="1878"/>
                      <a:pt x="1906" y="1876"/>
                    </a:cubicBezTo>
                    <a:cubicBezTo>
                      <a:pt x="1908" y="1870"/>
                      <a:pt x="1908" y="1866"/>
                      <a:pt x="1907" y="1862"/>
                    </a:cubicBezTo>
                    <a:cubicBezTo>
                      <a:pt x="1889" y="1866"/>
                      <a:pt x="1883" y="1865"/>
                      <a:pt x="1882" y="1858"/>
                    </a:cubicBezTo>
                    <a:cubicBezTo>
                      <a:pt x="1881" y="1848"/>
                      <a:pt x="1915" y="1826"/>
                      <a:pt x="1928" y="1826"/>
                    </a:cubicBezTo>
                    <a:cubicBezTo>
                      <a:pt x="1941" y="1826"/>
                      <a:pt x="1960" y="1821"/>
                      <a:pt x="1964" y="1821"/>
                    </a:cubicBezTo>
                    <a:cubicBezTo>
                      <a:pt x="1968" y="1821"/>
                      <a:pt x="1985" y="1815"/>
                      <a:pt x="1985" y="1815"/>
                    </a:cubicBezTo>
                    <a:cubicBezTo>
                      <a:pt x="1985" y="1815"/>
                      <a:pt x="2012" y="1825"/>
                      <a:pt x="2016" y="1825"/>
                    </a:cubicBezTo>
                    <a:cubicBezTo>
                      <a:pt x="2020" y="1825"/>
                      <a:pt x="2020" y="1809"/>
                      <a:pt x="2020" y="1809"/>
                    </a:cubicBezTo>
                    <a:cubicBezTo>
                      <a:pt x="2020" y="1809"/>
                      <a:pt x="2027" y="1800"/>
                      <a:pt x="2037" y="1803"/>
                    </a:cubicBezTo>
                    <a:cubicBezTo>
                      <a:pt x="2040" y="1804"/>
                      <a:pt x="2042" y="1805"/>
                      <a:pt x="2043" y="1806"/>
                    </a:cubicBezTo>
                    <a:cubicBezTo>
                      <a:pt x="2045" y="1805"/>
                      <a:pt x="2047" y="1804"/>
                      <a:pt x="2048" y="1804"/>
                    </a:cubicBezTo>
                    <a:cubicBezTo>
                      <a:pt x="2054" y="1804"/>
                      <a:pt x="2056" y="1802"/>
                      <a:pt x="2064" y="1802"/>
                    </a:cubicBezTo>
                    <a:cubicBezTo>
                      <a:pt x="2072" y="1802"/>
                      <a:pt x="2106" y="1764"/>
                      <a:pt x="2123" y="1764"/>
                    </a:cubicBezTo>
                    <a:cubicBezTo>
                      <a:pt x="2140" y="1764"/>
                      <a:pt x="2271" y="1764"/>
                      <a:pt x="2271" y="1764"/>
                    </a:cubicBezTo>
                    <a:cubicBezTo>
                      <a:pt x="2271" y="1764"/>
                      <a:pt x="2271" y="1749"/>
                      <a:pt x="2283" y="1749"/>
                    </a:cubicBezTo>
                    <a:cubicBezTo>
                      <a:pt x="2295" y="1749"/>
                      <a:pt x="2303" y="1748"/>
                      <a:pt x="2303" y="1748"/>
                    </a:cubicBezTo>
                    <a:cubicBezTo>
                      <a:pt x="2303" y="1748"/>
                      <a:pt x="2314" y="1727"/>
                      <a:pt x="2323" y="1727"/>
                    </a:cubicBezTo>
                    <a:cubicBezTo>
                      <a:pt x="2333" y="1727"/>
                      <a:pt x="2340" y="1734"/>
                      <a:pt x="2340" y="1727"/>
                    </a:cubicBezTo>
                    <a:cubicBezTo>
                      <a:pt x="2340" y="1720"/>
                      <a:pt x="2343" y="1698"/>
                      <a:pt x="2349" y="1698"/>
                    </a:cubicBezTo>
                    <a:cubicBezTo>
                      <a:pt x="2355" y="1698"/>
                      <a:pt x="2363" y="1690"/>
                      <a:pt x="2363" y="1690"/>
                    </a:cubicBezTo>
                    <a:cubicBezTo>
                      <a:pt x="2363" y="1676"/>
                      <a:pt x="2363" y="1676"/>
                      <a:pt x="2363" y="1676"/>
                    </a:cubicBezTo>
                    <a:cubicBezTo>
                      <a:pt x="2390" y="1657"/>
                      <a:pt x="2390" y="1657"/>
                      <a:pt x="2390" y="1657"/>
                    </a:cubicBezTo>
                    <a:cubicBezTo>
                      <a:pt x="2390" y="1657"/>
                      <a:pt x="2401" y="1636"/>
                      <a:pt x="2414" y="1636"/>
                    </a:cubicBezTo>
                    <a:cubicBezTo>
                      <a:pt x="2427" y="1636"/>
                      <a:pt x="2418" y="1645"/>
                      <a:pt x="2430" y="1645"/>
                    </a:cubicBezTo>
                    <a:cubicBezTo>
                      <a:pt x="2442" y="1645"/>
                      <a:pt x="2469" y="1634"/>
                      <a:pt x="2469" y="1651"/>
                    </a:cubicBezTo>
                    <a:cubicBezTo>
                      <a:pt x="2469" y="1668"/>
                      <a:pt x="2439" y="1725"/>
                      <a:pt x="2442" y="1728"/>
                    </a:cubicBezTo>
                    <a:cubicBezTo>
                      <a:pt x="2445" y="1731"/>
                      <a:pt x="2453" y="1735"/>
                      <a:pt x="2453" y="1735"/>
                    </a:cubicBezTo>
                    <a:cubicBezTo>
                      <a:pt x="2453" y="1735"/>
                      <a:pt x="2439" y="1748"/>
                      <a:pt x="2444" y="1753"/>
                    </a:cubicBezTo>
                    <a:cubicBezTo>
                      <a:pt x="2449" y="1758"/>
                      <a:pt x="2457" y="1755"/>
                      <a:pt x="2457" y="1755"/>
                    </a:cubicBezTo>
                    <a:cubicBezTo>
                      <a:pt x="2458" y="1759"/>
                      <a:pt x="2458" y="1759"/>
                      <a:pt x="2458" y="1759"/>
                    </a:cubicBezTo>
                    <a:cubicBezTo>
                      <a:pt x="2462" y="1761"/>
                      <a:pt x="2472" y="1765"/>
                      <a:pt x="2484" y="1760"/>
                    </a:cubicBezTo>
                    <a:cubicBezTo>
                      <a:pt x="2499" y="1754"/>
                      <a:pt x="2511" y="1738"/>
                      <a:pt x="2511" y="1738"/>
                    </a:cubicBezTo>
                    <a:cubicBezTo>
                      <a:pt x="2517" y="1752"/>
                      <a:pt x="2517" y="1752"/>
                      <a:pt x="2517" y="1752"/>
                    </a:cubicBezTo>
                    <a:cubicBezTo>
                      <a:pt x="2517" y="1752"/>
                      <a:pt x="2549" y="1738"/>
                      <a:pt x="2554" y="1734"/>
                    </a:cubicBezTo>
                    <a:cubicBezTo>
                      <a:pt x="2559" y="1730"/>
                      <a:pt x="2580" y="1724"/>
                      <a:pt x="2580" y="1724"/>
                    </a:cubicBezTo>
                    <a:cubicBezTo>
                      <a:pt x="2590" y="1725"/>
                      <a:pt x="2590" y="1725"/>
                      <a:pt x="2590" y="1725"/>
                    </a:cubicBezTo>
                    <a:cubicBezTo>
                      <a:pt x="2561" y="1748"/>
                      <a:pt x="2561" y="1748"/>
                      <a:pt x="2561" y="1748"/>
                    </a:cubicBezTo>
                    <a:cubicBezTo>
                      <a:pt x="2622" y="1742"/>
                      <a:pt x="2622" y="1742"/>
                      <a:pt x="2622" y="1742"/>
                    </a:cubicBezTo>
                    <a:cubicBezTo>
                      <a:pt x="2622" y="1742"/>
                      <a:pt x="2593" y="1745"/>
                      <a:pt x="2592" y="1751"/>
                    </a:cubicBezTo>
                    <a:cubicBezTo>
                      <a:pt x="2591" y="1757"/>
                      <a:pt x="2587" y="1764"/>
                      <a:pt x="2587" y="1764"/>
                    </a:cubicBezTo>
                    <a:cubicBezTo>
                      <a:pt x="2587" y="1764"/>
                      <a:pt x="2568" y="1753"/>
                      <a:pt x="2561" y="1756"/>
                    </a:cubicBezTo>
                    <a:cubicBezTo>
                      <a:pt x="2554" y="1759"/>
                      <a:pt x="2486" y="1793"/>
                      <a:pt x="2483" y="1801"/>
                    </a:cubicBezTo>
                    <a:cubicBezTo>
                      <a:pt x="2480" y="1809"/>
                      <a:pt x="2474" y="1833"/>
                      <a:pt x="2479" y="1834"/>
                    </a:cubicBezTo>
                    <a:cubicBezTo>
                      <a:pt x="2484" y="1835"/>
                      <a:pt x="2491" y="1829"/>
                      <a:pt x="2491" y="1829"/>
                    </a:cubicBezTo>
                    <a:cubicBezTo>
                      <a:pt x="2491" y="1829"/>
                      <a:pt x="2489" y="1845"/>
                      <a:pt x="2498" y="1843"/>
                    </a:cubicBezTo>
                    <a:cubicBezTo>
                      <a:pt x="2507" y="1841"/>
                      <a:pt x="2513" y="1828"/>
                      <a:pt x="2513" y="1828"/>
                    </a:cubicBezTo>
                    <a:cubicBezTo>
                      <a:pt x="2513" y="1828"/>
                      <a:pt x="2539" y="1825"/>
                      <a:pt x="2553" y="1813"/>
                    </a:cubicBezTo>
                    <a:cubicBezTo>
                      <a:pt x="2567" y="1801"/>
                      <a:pt x="2582" y="1780"/>
                      <a:pt x="2582" y="1780"/>
                    </a:cubicBezTo>
                    <a:cubicBezTo>
                      <a:pt x="2582" y="1780"/>
                      <a:pt x="2582" y="1796"/>
                      <a:pt x="2596" y="1793"/>
                    </a:cubicBezTo>
                    <a:cubicBezTo>
                      <a:pt x="2610" y="1790"/>
                      <a:pt x="2644" y="1775"/>
                      <a:pt x="2655" y="1772"/>
                    </a:cubicBezTo>
                    <a:cubicBezTo>
                      <a:pt x="2666" y="1769"/>
                      <a:pt x="2718" y="1756"/>
                      <a:pt x="2718" y="1756"/>
                    </a:cubicBezTo>
                    <a:cubicBezTo>
                      <a:pt x="2709" y="1746"/>
                      <a:pt x="2709" y="1746"/>
                      <a:pt x="2709" y="1746"/>
                    </a:cubicBezTo>
                    <a:cubicBezTo>
                      <a:pt x="2713" y="1733"/>
                      <a:pt x="2713" y="1733"/>
                      <a:pt x="2713" y="1733"/>
                    </a:cubicBezTo>
                    <a:cubicBezTo>
                      <a:pt x="2692" y="1737"/>
                      <a:pt x="2692" y="1737"/>
                      <a:pt x="2692" y="1737"/>
                    </a:cubicBezTo>
                    <a:cubicBezTo>
                      <a:pt x="2691" y="1721"/>
                      <a:pt x="2691" y="1721"/>
                      <a:pt x="2691" y="1721"/>
                    </a:cubicBezTo>
                    <a:cubicBezTo>
                      <a:pt x="2691" y="1721"/>
                      <a:pt x="2667" y="1735"/>
                      <a:pt x="2661" y="1734"/>
                    </a:cubicBezTo>
                    <a:cubicBezTo>
                      <a:pt x="2655" y="1733"/>
                      <a:pt x="2657" y="1724"/>
                      <a:pt x="2657" y="1724"/>
                    </a:cubicBezTo>
                    <a:cubicBezTo>
                      <a:pt x="2657" y="1724"/>
                      <a:pt x="2625" y="1727"/>
                      <a:pt x="2619" y="1722"/>
                    </a:cubicBezTo>
                    <a:cubicBezTo>
                      <a:pt x="2613" y="1717"/>
                      <a:pt x="2605" y="1707"/>
                      <a:pt x="2614" y="1707"/>
                    </a:cubicBezTo>
                    <a:cubicBezTo>
                      <a:pt x="2623" y="1707"/>
                      <a:pt x="2610" y="1694"/>
                      <a:pt x="2599" y="1697"/>
                    </a:cubicBezTo>
                    <a:cubicBezTo>
                      <a:pt x="2588" y="1700"/>
                      <a:pt x="2584" y="1681"/>
                      <a:pt x="2584" y="1676"/>
                    </a:cubicBezTo>
                    <a:cubicBezTo>
                      <a:pt x="2584" y="1671"/>
                      <a:pt x="2596" y="1658"/>
                      <a:pt x="2596" y="1658"/>
                    </a:cubicBezTo>
                    <a:cubicBezTo>
                      <a:pt x="2580" y="1657"/>
                      <a:pt x="2580" y="1657"/>
                      <a:pt x="2580" y="1657"/>
                    </a:cubicBezTo>
                    <a:cubicBezTo>
                      <a:pt x="2580" y="1657"/>
                      <a:pt x="2599" y="1642"/>
                      <a:pt x="2606" y="1634"/>
                    </a:cubicBezTo>
                    <a:cubicBezTo>
                      <a:pt x="2613" y="1626"/>
                      <a:pt x="2632" y="1607"/>
                      <a:pt x="2632" y="1607"/>
                    </a:cubicBezTo>
                    <a:cubicBezTo>
                      <a:pt x="2622" y="1604"/>
                      <a:pt x="2622" y="1604"/>
                      <a:pt x="2622" y="1604"/>
                    </a:cubicBezTo>
                    <a:cubicBezTo>
                      <a:pt x="2608" y="1622"/>
                      <a:pt x="2608" y="1622"/>
                      <a:pt x="2608" y="1622"/>
                    </a:cubicBezTo>
                    <a:cubicBezTo>
                      <a:pt x="2593" y="1614"/>
                      <a:pt x="2593" y="1614"/>
                      <a:pt x="2593" y="1614"/>
                    </a:cubicBezTo>
                    <a:cubicBezTo>
                      <a:pt x="2574" y="1628"/>
                      <a:pt x="2574" y="1628"/>
                      <a:pt x="2574" y="1628"/>
                    </a:cubicBezTo>
                    <a:cubicBezTo>
                      <a:pt x="2571" y="1615"/>
                      <a:pt x="2571" y="1615"/>
                      <a:pt x="2571" y="1615"/>
                    </a:cubicBezTo>
                    <a:cubicBezTo>
                      <a:pt x="2552" y="1608"/>
                      <a:pt x="2552" y="1608"/>
                      <a:pt x="2552" y="1608"/>
                    </a:cubicBezTo>
                    <a:cubicBezTo>
                      <a:pt x="2537" y="1610"/>
                      <a:pt x="2537" y="1610"/>
                      <a:pt x="2537" y="1610"/>
                    </a:cubicBezTo>
                    <a:cubicBezTo>
                      <a:pt x="2574" y="1597"/>
                      <a:pt x="2574" y="1597"/>
                      <a:pt x="2574" y="1597"/>
                    </a:cubicBezTo>
                    <a:cubicBezTo>
                      <a:pt x="2574" y="1597"/>
                      <a:pt x="2581" y="1607"/>
                      <a:pt x="2591" y="1606"/>
                    </a:cubicBezTo>
                    <a:cubicBezTo>
                      <a:pt x="2601" y="1605"/>
                      <a:pt x="2624" y="1587"/>
                      <a:pt x="2624" y="1587"/>
                    </a:cubicBezTo>
                    <a:cubicBezTo>
                      <a:pt x="2624" y="1587"/>
                      <a:pt x="2650" y="1592"/>
                      <a:pt x="2651" y="1585"/>
                    </a:cubicBezTo>
                    <a:cubicBezTo>
                      <a:pt x="2652" y="1578"/>
                      <a:pt x="2644" y="1567"/>
                      <a:pt x="2644" y="1567"/>
                    </a:cubicBezTo>
                    <a:cubicBezTo>
                      <a:pt x="2660" y="1566"/>
                      <a:pt x="2660" y="1566"/>
                      <a:pt x="2660" y="1566"/>
                    </a:cubicBezTo>
                    <a:cubicBezTo>
                      <a:pt x="2660" y="1566"/>
                      <a:pt x="2651" y="1543"/>
                      <a:pt x="2609" y="1543"/>
                    </a:cubicBezTo>
                    <a:cubicBezTo>
                      <a:pt x="2567" y="1543"/>
                      <a:pt x="2517" y="1564"/>
                      <a:pt x="2494" y="1569"/>
                    </a:cubicBezTo>
                    <a:cubicBezTo>
                      <a:pt x="2471" y="1574"/>
                      <a:pt x="2434" y="1597"/>
                      <a:pt x="2427" y="1603"/>
                    </a:cubicBezTo>
                    <a:cubicBezTo>
                      <a:pt x="2420" y="1609"/>
                      <a:pt x="2378" y="1642"/>
                      <a:pt x="2368" y="1650"/>
                    </a:cubicBezTo>
                    <a:cubicBezTo>
                      <a:pt x="2358" y="1658"/>
                      <a:pt x="2322" y="1663"/>
                      <a:pt x="2322" y="1663"/>
                    </a:cubicBezTo>
                    <a:cubicBezTo>
                      <a:pt x="2322" y="1663"/>
                      <a:pt x="2372" y="1635"/>
                      <a:pt x="2381" y="1626"/>
                    </a:cubicBezTo>
                    <a:cubicBezTo>
                      <a:pt x="2390" y="1617"/>
                      <a:pt x="2403" y="1603"/>
                      <a:pt x="2403" y="1603"/>
                    </a:cubicBezTo>
                    <a:cubicBezTo>
                      <a:pt x="2388" y="1594"/>
                      <a:pt x="2388" y="1594"/>
                      <a:pt x="2388" y="1594"/>
                    </a:cubicBezTo>
                    <a:cubicBezTo>
                      <a:pt x="2388" y="1594"/>
                      <a:pt x="2409" y="1602"/>
                      <a:pt x="2414" y="1597"/>
                    </a:cubicBezTo>
                    <a:cubicBezTo>
                      <a:pt x="2419" y="1592"/>
                      <a:pt x="2469" y="1559"/>
                      <a:pt x="2481" y="1550"/>
                    </a:cubicBezTo>
                    <a:cubicBezTo>
                      <a:pt x="2493" y="1541"/>
                      <a:pt x="2531" y="1535"/>
                      <a:pt x="2535" y="1537"/>
                    </a:cubicBezTo>
                    <a:cubicBezTo>
                      <a:pt x="2539" y="1539"/>
                      <a:pt x="2561" y="1501"/>
                      <a:pt x="2591" y="1496"/>
                    </a:cubicBezTo>
                    <a:cubicBezTo>
                      <a:pt x="2621" y="1491"/>
                      <a:pt x="2697" y="1487"/>
                      <a:pt x="2713" y="1487"/>
                    </a:cubicBezTo>
                    <a:cubicBezTo>
                      <a:pt x="2729" y="1487"/>
                      <a:pt x="2788" y="1504"/>
                      <a:pt x="2798" y="1502"/>
                    </a:cubicBezTo>
                    <a:cubicBezTo>
                      <a:pt x="2808" y="1500"/>
                      <a:pt x="2829" y="1489"/>
                      <a:pt x="2839" y="1488"/>
                    </a:cubicBezTo>
                    <a:cubicBezTo>
                      <a:pt x="2849" y="1487"/>
                      <a:pt x="2880" y="1482"/>
                      <a:pt x="2892" y="1473"/>
                    </a:cubicBezTo>
                    <a:cubicBezTo>
                      <a:pt x="2904" y="1464"/>
                      <a:pt x="2930" y="1439"/>
                      <a:pt x="2940" y="1437"/>
                    </a:cubicBezTo>
                    <a:cubicBezTo>
                      <a:pt x="2950" y="1435"/>
                      <a:pt x="2967" y="1436"/>
                      <a:pt x="2967" y="1436"/>
                    </a:cubicBezTo>
                    <a:cubicBezTo>
                      <a:pt x="2967" y="1436"/>
                      <a:pt x="2980" y="1424"/>
                      <a:pt x="2990" y="1424"/>
                    </a:cubicBezTo>
                    <a:cubicBezTo>
                      <a:pt x="3000" y="1424"/>
                      <a:pt x="3001" y="1429"/>
                      <a:pt x="3018" y="1421"/>
                    </a:cubicBezTo>
                    <a:cubicBezTo>
                      <a:pt x="3018" y="1421"/>
                      <a:pt x="3083" y="1404"/>
                      <a:pt x="3077" y="1394"/>
                    </a:cubicBezTo>
                    <a:cubicBezTo>
                      <a:pt x="3071" y="1384"/>
                      <a:pt x="3052" y="1371"/>
                      <a:pt x="3052" y="1371"/>
                    </a:cubicBezTo>
                    <a:cubicBezTo>
                      <a:pt x="3052" y="1371"/>
                      <a:pt x="3076" y="1373"/>
                      <a:pt x="3076" y="1364"/>
                    </a:cubicBezTo>
                    <a:cubicBezTo>
                      <a:pt x="3076" y="1355"/>
                      <a:pt x="3072" y="1343"/>
                      <a:pt x="3072" y="1343"/>
                    </a:cubicBezTo>
                    <a:cubicBezTo>
                      <a:pt x="3072" y="1343"/>
                      <a:pt x="3100" y="1347"/>
                      <a:pt x="3094" y="1331"/>
                    </a:cubicBezTo>
                    <a:cubicBezTo>
                      <a:pt x="3088" y="1315"/>
                      <a:pt x="3065" y="1304"/>
                      <a:pt x="3058" y="1312"/>
                    </a:cubicBezTo>
                    <a:close/>
                    <a:moveTo>
                      <a:pt x="969" y="735"/>
                    </a:moveTo>
                    <a:cubicBezTo>
                      <a:pt x="976" y="730"/>
                      <a:pt x="1004" y="720"/>
                      <a:pt x="1004" y="720"/>
                    </a:cubicBezTo>
                    <a:cubicBezTo>
                      <a:pt x="1004" y="720"/>
                      <a:pt x="999" y="712"/>
                      <a:pt x="1005" y="709"/>
                    </a:cubicBezTo>
                    <a:cubicBezTo>
                      <a:pt x="1011" y="706"/>
                      <a:pt x="1029" y="715"/>
                      <a:pt x="1051" y="709"/>
                    </a:cubicBezTo>
                    <a:cubicBezTo>
                      <a:pt x="1073" y="703"/>
                      <a:pt x="1053" y="691"/>
                      <a:pt x="1034" y="691"/>
                    </a:cubicBezTo>
                    <a:cubicBezTo>
                      <a:pt x="1015" y="691"/>
                      <a:pt x="1010" y="698"/>
                      <a:pt x="999" y="703"/>
                    </a:cubicBezTo>
                    <a:cubicBezTo>
                      <a:pt x="988" y="708"/>
                      <a:pt x="989" y="698"/>
                      <a:pt x="989" y="698"/>
                    </a:cubicBezTo>
                    <a:cubicBezTo>
                      <a:pt x="977" y="703"/>
                      <a:pt x="977" y="703"/>
                      <a:pt x="977" y="703"/>
                    </a:cubicBezTo>
                    <a:cubicBezTo>
                      <a:pt x="954" y="700"/>
                      <a:pt x="954" y="700"/>
                      <a:pt x="954" y="700"/>
                    </a:cubicBezTo>
                    <a:cubicBezTo>
                      <a:pt x="954" y="700"/>
                      <a:pt x="933" y="710"/>
                      <a:pt x="924" y="707"/>
                    </a:cubicBezTo>
                    <a:cubicBezTo>
                      <a:pt x="915" y="704"/>
                      <a:pt x="950" y="694"/>
                      <a:pt x="960" y="689"/>
                    </a:cubicBezTo>
                    <a:cubicBezTo>
                      <a:pt x="970" y="684"/>
                      <a:pt x="979" y="690"/>
                      <a:pt x="992" y="690"/>
                    </a:cubicBezTo>
                    <a:cubicBezTo>
                      <a:pt x="1005" y="690"/>
                      <a:pt x="1001" y="681"/>
                      <a:pt x="1001" y="681"/>
                    </a:cubicBezTo>
                    <a:cubicBezTo>
                      <a:pt x="1071" y="676"/>
                      <a:pt x="1071" y="676"/>
                      <a:pt x="1071" y="676"/>
                    </a:cubicBezTo>
                    <a:cubicBezTo>
                      <a:pt x="1071" y="676"/>
                      <a:pt x="1106" y="666"/>
                      <a:pt x="1119" y="664"/>
                    </a:cubicBezTo>
                    <a:cubicBezTo>
                      <a:pt x="1132" y="662"/>
                      <a:pt x="1140" y="669"/>
                      <a:pt x="1140" y="669"/>
                    </a:cubicBezTo>
                    <a:cubicBezTo>
                      <a:pt x="1140" y="669"/>
                      <a:pt x="1143" y="663"/>
                      <a:pt x="1150" y="660"/>
                    </a:cubicBezTo>
                    <a:cubicBezTo>
                      <a:pt x="1157" y="657"/>
                      <a:pt x="1179" y="667"/>
                      <a:pt x="1179" y="667"/>
                    </a:cubicBezTo>
                    <a:cubicBezTo>
                      <a:pt x="1179" y="667"/>
                      <a:pt x="1157" y="673"/>
                      <a:pt x="1149" y="677"/>
                    </a:cubicBezTo>
                    <a:cubicBezTo>
                      <a:pt x="1141" y="681"/>
                      <a:pt x="1107" y="683"/>
                      <a:pt x="1107" y="683"/>
                    </a:cubicBezTo>
                    <a:cubicBezTo>
                      <a:pt x="1105" y="691"/>
                      <a:pt x="1105" y="691"/>
                      <a:pt x="1105" y="691"/>
                    </a:cubicBezTo>
                    <a:cubicBezTo>
                      <a:pt x="1123" y="691"/>
                      <a:pt x="1123" y="691"/>
                      <a:pt x="1123" y="691"/>
                    </a:cubicBezTo>
                    <a:cubicBezTo>
                      <a:pt x="1123" y="691"/>
                      <a:pt x="1134" y="694"/>
                      <a:pt x="1138" y="694"/>
                    </a:cubicBezTo>
                    <a:cubicBezTo>
                      <a:pt x="1142" y="694"/>
                      <a:pt x="1168" y="691"/>
                      <a:pt x="1182" y="690"/>
                    </a:cubicBezTo>
                    <a:cubicBezTo>
                      <a:pt x="1196" y="689"/>
                      <a:pt x="1176" y="680"/>
                      <a:pt x="1176" y="680"/>
                    </a:cubicBezTo>
                    <a:cubicBezTo>
                      <a:pt x="1213" y="679"/>
                      <a:pt x="1213" y="679"/>
                      <a:pt x="1213" y="679"/>
                    </a:cubicBezTo>
                    <a:cubicBezTo>
                      <a:pt x="1213" y="679"/>
                      <a:pt x="1208" y="692"/>
                      <a:pt x="1189" y="698"/>
                    </a:cubicBezTo>
                    <a:cubicBezTo>
                      <a:pt x="1170" y="704"/>
                      <a:pt x="1158" y="711"/>
                      <a:pt x="1158" y="711"/>
                    </a:cubicBezTo>
                    <a:cubicBezTo>
                      <a:pt x="1158" y="711"/>
                      <a:pt x="1157" y="723"/>
                      <a:pt x="1149" y="725"/>
                    </a:cubicBezTo>
                    <a:cubicBezTo>
                      <a:pt x="1141" y="727"/>
                      <a:pt x="1119" y="716"/>
                      <a:pt x="1119" y="716"/>
                    </a:cubicBezTo>
                    <a:cubicBezTo>
                      <a:pt x="1114" y="723"/>
                      <a:pt x="1114" y="723"/>
                      <a:pt x="1114" y="723"/>
                    </a:cubicBezTo>
                    <a:cubicBezTo>
                      <a:pt x="1104" y="714"/>
                      <a:pt x="1104" y="714"/>
                      <a:pt x="1104" y="714"/>
                    </a:cubicBezTo>
                    <a:cubicBezTo>
                      <a:pt x="1094" y="724"/>
                      <a:pt x="1094" y="724"/>
                      <a:pt x="1094" y="724"/>
                    </a:cubicBezTo>
                    <a:cubicBezTo>
                      <a:pt x="1094" y="724"/>
                      <a:pt x="1086" y="718"/>
                      <a:pt x="1080" y="725"/>
                    </a:cubicBezTo>
                    <a:cubicBezTo>
                      <a:pt x="1074" y="732"/>
                      <a:pt x="1086" y="738"/>
                      <a:pt x="1086" y="738"/>
                    </a:cubicBezTo>
                    <a:cubicBezTo>
                      <a:pt x="1065" y="741"/>
                      <a:pt x="1065" y="741"/>
                      <a:pt x="1065" y="741"/>
                    </a:cubicBezTo>
                    <a:cubicBezTo>
                      <a:pt x="1065" y="741"/>
                      <a:pt x="1050" y="751"/>
                      <a:pt x="1047" y="751"/>
                    </a:cubicBezTo>
                    <a:cubicBezTo>
                      <a:pt x="1044" y="751"/>
                      <a:pt x="1001" y="764"/>
                      <a:pt x="990" y="760"/>
                    </a:cubicBezTo>
                    <a:cubicBezTo>
                      <a:pt x="979" y="756"/>
                      <a:pt x="1018" y="749"/>
                      <a:pt x="1033" y="746"/>
                    </a:cubicBezTo>
                    <a:cubicBezTo>
                      <a:pt x="1048" y="743"/>
                      <a:pt x="1070" y="726"/>
                      <a:pt x="1057" y="724"/>
                    </a:cubicBezTo>
                    <a:cubicBezTo>
                      <a:pt x="1044" y="722"/>
                      <a:pt x="992" y="751"/>
                      <a:pt x="979" y="753"/>
                    </a:cubicBezTo>
                    <a:cubicBezTo>
                      <a:pt x="966" y="755"/>
                      <a:pt x="940" y="751"/>
                      <a:pt x="931" y="746"/>
                    </a:cubicBezTo>
                    <a:cubicBezTo>
                      <a:pt x="922" y="741"/>
                      <a:pt x="962" y="740"/>
                      <a:pt x="969" y="735"/>
                    </a:cubicBezTo>
                    <a:close/>
                    <a:moveTo>
                      <a:pt x="1324" y="872"/>
                    </a:moveTo>
                    <a:cubicBezTo>
                      <a:pt x="1324" y="869"/>
                      <a:pt x="1312" y="855"/>
                      <a:pt x="1308" y="862"/>
                    </a:cubicBezTo>
                    <a:cubicBezTo>
                      <a:pt x="1304" y="869"/>
                      <a:pt x="1305" y="876"/>
                      <a:pt x="1305" y="876"/>
                    </a:cubicBezTo>
                    <a:cubicBezTo>
                      <a:pt x="1305" y="876"/>
                      <a:pt x="1291" y="868"/>
                      <a:pt x="1285" y="870"/>
                    </a:cubicBezTo>
                    <a:cubicBezTo>
                      <a:pt x="1279" y="872"/>
                      <a:pt x="1283" y="879"/>
                      <a:pt x="1283" y="879"/>
                    </a:cubicBezTo>
                    <a:cubicBezTo>
                      <a:pt x="1266" y="881"/>
                      <a:pt x="1266" y="881"/>
                      <a:pt x="1266" y="881"/>
                    </a:cubicBezTo>
                    <a:cubicBezTo>
                      <a:pt x="1266" y="881"/>
                      <a:pt x="1254" y="877"/>
                      <a:pt x="1239" y="887"/>
                    </a:cubicBezTo>
                    <a:cubicBezTo>
                      <a:pt x="1224" y="897"/>
                      <a:pt x="1195" y="916"/>
                      <a:pt x="1181" y="919"/>
                    </a:cubicBezTo>
                    <a:cubicBezTo>
                      <a:pt x="1167" y="922"/>
                      <a:pt x="1147" y="928"/>
                      <a:pt x="1147" y="928"/>
                    </a:cubicBezTo>
                    <a:cubicBezTo>
                      <a:pt x="1147" y="928"/>
                      <a:pt x="1116" y="920"/>
                      <a:pt x="1108" y="928"/>
                    </a:cubicBezTo>
                    <a:cubicBezTo>
                      <a:pt x="1100" y="936"/>
                      <a:pt x="1094" y="947"/>
                      <a:pt x="1094" y="947"/>
                    </a:cubicBezTo>
                    <a:cubicBezTo>
                      <a:pt x="1065" y="947"/>
                      <a:pt x="1065" y="947"/>
                      <a:pt x="1065" y="947"/>
                    </a:cubicBezTo>
                    <a:cubicBezTo>
                      <a:pt x="1059" y="953"/>
                      <a:pt x="1059" y="953"/>
                      <a:pt x="1059" y="953"/>
                    </a:cubicBezTo>
                    <a:cubicBezTo>
                      <a:pt x="1059" y="953"/>
                      <a:pt x="1045" y="950"/>
                      <a:pt x="1038" y="952"/>
                    </a:cubicBezTo>
                    <a:cubicBezTo>
                      <a:pt x="1031" y="954"/>
                      <a:pt x="1012" y="957"/>
                      <a:pt x="1005" y="956"/>
                    </a:cubicBezTo>
                    <a:cubicBezTo>
                      <a:pt x="998" y="955"/>
                      <a:pt x="987" y="947"/>
                      <a:pt x="984" y="948"/>
                    </a:cubicBezTo>
                    <a:cubicBezTo>
                      <a:pt x="981" y="949"/>
                      <a:pt x="963" y="946"/>
                      <a:pt x="963" y="942"/>
                    </a:cubicBezTo>
                    <a:cubicBezTo>
                      <a:pt x="963" y="938"/>
                      <a:pt x="985" y="939"/>
                      <a:pt x="985" y="939"/>
                    </a:cubicBezTo>
                    <a:cubicBezTo>
                      <a:pt x="985" y="939"/>
                      <a:pt x="994" y="929"/>
                      <a:pt x="997" y="929"/>
                    </a:cubicBezTo>
                    <a:cubicBezTo>
                      <a:pt x="1000" y="929"/>
                      <a:pt x="1008" y="937"/>
                      <a:pt x="1018" y="937"/>
                    </a:cubicBezTo>
                    <a:cubicBezTo>
                      <a:pt x="1028" y="937"/>
                      <a:pt x="1028" y="929"/>
                      <a:pt x="1028" y="929"/>
                    </a:cubicBezTo>
                    <a:cubicBezTo>
                      <a:pt x="1039" y="929"/>
                      <a:pt x="1039" y="929"/>
                      <a:pt x="1039" y="929"/>
                    </a:cubicBezTo>
                    <a:cubicBezTo>
                      <a:pt x="1039" y="929"/>
                      <a:pt x="1049" y="911"/>
                      <a:pt x="1059" y="910"/>
                    </a:cubicBezTo>
                    <a:cubicBezTo>
                      <a:pt x="1069" y="909"/>
                      <a:pt x="1072" y="918"/>
                      <a:pt x="1090" y="911"/>
                    </a:cubicBezTo>
                    <a:cubicBezTo>
                      <a:pt x="1108" y="904"/>
                      <a:pt x="1093" y="882"/>
                      <a:pt x="1093" y="882"/>
                    </a:cubicBezTo>
                    <a:cubicBezTo>
                      <a:pt x="1093" y="882"/>
                      <a:pt x="1071" y="868"/>
                      <a:pt x="1085" y="862"/>
                    </a:cubicBezTo>
                    <a:cubicBezTo>
                      <a:pt x="1091" y="859"/>
                      <a:pt x="1099" y="872"/>
                      <a:pt x="1099" y="872"/>
                    </a:cubicBezTo>
                    <a:cubicBezTo>
                      <a:pt x="1107" y="871"/>
                      <a:pt x="1107" y="871"/>
                      <a:pt x="1107" y="871"/>
                    </a:cubicBezTo>
                    <a:cubicBezTo>
                      <a:pt x="1119" y="882"/>
                      <a:pt x="1119" y="882"/>
                      <a:pt x="1119" y="882"/>
                    </a:cubicBezTo>
                    <a:cubicBezTo>
                      <a:pt x="1119" y="882"/>
                      <a:pt x="1133" y="881"/>
                      <a:pt x="1137" y="884"/>
                    </a:cubicBezTo>
                    <a:cubicBezTo>
                      <a:pt x="1141" y="887"/>
                      <a:pt x="1130" y="902"/>
                      <a:pt x="1153" y="901"/>
                    </a:cubicBezTo>
                    <a:cubicBezTo>
                      <a:pt x="1176" y="900"/>
                      <a:pt x="1176" y="895"/>
                      <a:pt x="1176" y="895"/>
                    </a:cubicBezTo>
                    <a:cubicBezTo>
                      <a:pt x="1187" y="896"/>
                      <a:pt x="1187" y="896"/>
                      <a:pt x="1187" y="896"/>
                    </a:cubicBezTo>
                    <a:cubicBezTo>
                      <a:pt x="1187" y="896"/>
                      <a:pt x="1227" y="880"/>
                      <a:pt x="1241" y="871"/>
                    </a:cubicBezTo>
                    <a:cubicBezTo>
                      <a:pt x="1255" y="862"/>
                      <a:pt x="1277" y="855"/>
                      <a:pt x="1295" y="854"/>
                    </a:cubicBezTo>
                    <a:cubicBezTo>
                      <a:pt x="1313" y="853"/>
                      <a:pt x="1351" y="857"/>
                      <a:pt x="1348" y="861"/>
                    </a:cubicBezTo>
                    <a:cubicBezTo>
                      <a:pt x="1345" y="865"/>
                      <a:pt x="1324" y="875"/>
                      <a:pt x="1324" y="872"/>
                    </a:cubicBezTo>
                    <a:close/>
                    <a:moveTo>
                      <a:pt x="1405" y="1355"/>
                    </a:moveTo>
                    <a:cubicBezTo>
                      <a:pt x="1405" y="1355"/>
                      <a:pt x="1402" y="1384"/>
                      <a:pt x="1403" y="1393"/>
                    </a:cubicBezTo>
                    <a:cubicBezTo>
                      <a:pt x="1404" y="1402"/>
                      <a:pt x="1399" y="1411"/>
                      <a:pt x="1396" y="1416"/>
                    </a:cubicBezTo>
                    <a:cubicBezTo>
                      <a:pt x="1393" y="1421"/>
                      <a:pt x="1400" y="1422"/>
                      <a:pt x="1403" y="1433"/>
                    </a:cubicBezTo>
                    <a:cubicBezTo>
                      <a:pt x="1406" y="1444"/>
                      <a:pt x="1382" y="1471"/>
                      <a:pt x="1382" y="1471"/>
                    </a:cubicBezTo>
                    <a:cubicBezTo>
                      <a:pt x="1368" y="1466"/>
                      <a:pt x="1368" y="1466"/>
                      <a:pt x="1368" y="1466"/>
                    </a:cubicBezTo>
                    <a:cubicBezTo>
                      <a:pt x="1368" y="1466"/>
                      <a:pt x="1365" y="1485"/>
                      <a:pt x="1348" y="1482"/>
                    </a:cubicBezTo>
                    <a:cubicBezTo>
                      <a:pt x="1331" y="1479"/>
                      <a:pt x="1387" y="1431"/>
                      <a:pt x="1387" y="1419"/>
                    </a:cubicBezTo>
                    <a:cubicBezTo>
                      <a:pt x="1387" y="1407"/>
                      <a:pt x="1366" y="1427"/>
                      <a:pt x="1366" y="1427"/>
                    </a:cubicBezTo>
                    <a:cubicBezTo>
                      <a:pt x="1379" y="1406"/>
                      <a:pt x="1379" y="1406"/>
                      <a:pt x="1379" y="1406"/>
                    </a:cubicBezTo>
                    <a:cubicBezTo>
                      <a:pt x="1379" y="1406"/>
                      <a:pt x="1383" y="1393"/>
                      <a:pt x="1372" y="1390"/>
                    </a:cubicBezTo>
                    <a:cubicBezTo>
                      <a:pt x="1361" y="1387"/>
                      <a:pt x="1367" y="1407"/>
                      <a:pt x="1354" y="1407"/>
                    </a:cubicBezTo>
                    <a:cubicBezTo>
                      <a:pt x="1341" y="1407"/>
                      <a:pt x="1351" y="1376"/>
                      <a:pt x="1351" y="1376"/>
                    </a:cubicBezTo>
                    <a:cubicBezTo>
                      <a:pt x="1351" y="1376"/>
                      <a:pt x="1345" y="1370"/>
                      <a:pt x="1343" y="1361"/>
                    </a:cubicBezTo>
                    <a:cubicBezTo>
                      <a:pt x="1341" y="1352"/>
                      <a:pt x="1365" y="1352"/>
                      <a:pt x="1367" y="1346"/>
                    </a:cubicBezTo>
                    <a:cubicBezTo>
                      <a:pt x="1369" y="1340"/>
                      <a:pt x="1347" y="1349"/>
                      <a:pt x="1343" y="1340"/>
                    </a:cubicBezTo>
                    <a:cubicBezTo>
                      <a:pt x="1342" y="1338"/>
                      <a:pt x="1372" y="1307"/>
                      <a:pt x="1382" y="1303"/>
                    </a:cubicBezTo>
                    <a:cubicBezTo>
                      <a:pt x="1392" y="1299"/>
                      <a:pt x="1391" y="1306"/>
                      <a:pt x="1395" y="1307"/>
                    </a:cubicBezTo>
                    <a:cubicBezTo>
                      <a:pt x="1399" y="1308"/>
                      <a:pt x="1410" y="1305"/>
                      <a:pt x="1418" y="1322"/>
                    </a:cubicBezTo>
                    <a:cubicBezTo>
                      <a:pt x="1426" y="1339"/>
                      <a:pt x="1405" y="1355"/>
                      <a:pt x="1405" y="1355"/>
                    </a:cubicBezTo>
                    <a:close/>
                    <a:moveTo>
                      <a:pt x="156" y="1459"/>
                    </a:moveTo>
                    <a:cubicBezTo>
                      <a:pt x="146" y="1456"/>
                      <a:pt x="147" y="1473"/>
                      <a:pt x="147" y="1473"/>
                    </a:cubicBezTo>
                    <a:cubicBezTo>
                      <a:pt x="155" y="1473"/>
                      <a:pt x="166" y="1462"/>
                      <a:pt x="156" y="1459"/>
                    </a:cubicBezTo>
                    <a:close/>
                    <a:moveTo>
                      <a:pt x="2216" y="1197"/>
                    </a:moveTo>
                    <a:cubicBezTo>
                      <a:pt x="2248" y="1196"/>
                      <a:pt x="2259" y="1170"/>
                      <a:pt x="2228" y="1170"/>
                    </a:cubicBezTo>
                    <a:cubicBezTo>
                      <a:pt x="2196" y="1171"/>
                      <a:pt x="2216" y="1197"/>
                      <a:pt x="2216" y="1197"/>
                    </a:cubicBezTo>
                    <a:close/>
                    <a:moveTo>
                      <a:pt x="2456" y="825"/>
                    </a:moveTo>
                    <a:cubicBezTo>
                      <a:pt x="2456" y="825"/>
                      <a:pt x="2433" y="822"/>
                      <a:pt x="2423" y="814"/>
                    </a:cubicBezTo>
                    <a:cubicBezTo>
                      <a:pt x="2413" y="806"/>
                      <a:pt x="2418" y="785"/>
                      <a:pt x="2418" y="785"/>
                    </a:cubicBezTo>
                    <a:cubicBezTo>
                      <a:pt x="2397" y="769"/>
                      <a:pt x="2397" y="769"/>
                      <a:pt x="2397" y="769"/>
                    </a:cubicBezTo>
                    <a:cubicBezTo>
                      <a:pt x="2370" y="772"/>
                      <a:pt x="2370" y="772"/>
                      <a:pt x="2370" y="772"/>
                    </a:cubicBezTo>
                    <a:cubicBezTo>
                      <a:pt x="2366" y="763"/>
                      <a:pt x="2366" y="763"/>
                      <a:pt x="2366" y="763"/>
                    </a:cubicBezTo>
                    <a:cubicBezTo>
                      <a:pt x="2353" y="741"/>
                      <a:pt x="2353" y="741"/>
                      <a:pt x="2353" y="741"/>
                    </a:cubicBezTo>
                    <a:cubicBezTo>
                      <a:pt x="2330" y="745"/>
                      <a:pt x="2330" y="745"/>
                      <a:pt x="2330" y="745"/>
                    </a:cubicBezTo>
                    <a:cubicBezTo>
                      <a:pt x="2317" y="738"/>
                      <a:pt x="2317" y="738"/>
                      <a:pt x="2317" y="738"/>
                    </a:cubicBezTo>
                    <a:cubicBezTo>
                      <a:pt x="2329" y="727"/>
                      <a:pt x="2329" y="727"/>
                      <a:pt x="2329" y="727"/>
                    </a:cubicBezTo>
                    <a:cubicBezTo>
                      <a:pt x="2327" y="710"/>
                      <a:pt x="2327" y="710"/>
                      <a:pt x="2327" y="710"/>
                    </a:cubicBezTo>
                    <a:cubicBezTo>
                      <a:pt x="2293" y="728"/>
                      <a:pt x="2293" y="728"/>
                      <a:pt x="2293" y="728"/>
                    </a:cubicBezTo>
                    <a:cubicBezTo>
                      <a:pt x="2276" y="736"/>
                      <a:pt x="2276" y="736"/>
                      <a:pt x="2276" y="736"/>
                    </a:cubicBezTo>
                    <a:cubicBezTo>
                      <a:pt x="2257" y="764"/>
                      <a:pt x="2257" y="764"/>
                      <a:pt x="2257" y="764"/>
                    </a:cubicBezTo>
                    <a:cubicBezTo>
                      <a:pt x="2257" y="764"/>
                      <a:pt x="2226" y="771"/>
                      <a:pt x="2224" y="777"/>
                    </a:cubicBezTo>
                    <a:cubicBezTo>
                      <a:pt x="2222" y="783"/>
                      <a:pt x="2234" y="790"/>
                      <a:pt x="2224" y="793"/>
                    </a:cubicBezTo>
                    <a:cubicBezTo>
                      <a:pt x="2215" y="797"/>
                      <a:pt x="2186" y="807"/>
                      <a:pt x="2186" y="807"/>
                    </a:cubicBezTo>
                    <a:cubicBezTo>
                      <a:pt x="2203" y="815"/>
                      <a:pt x="2203" y="815"/>
                      <a:pt x="2203" y="815"/>
                    </a:cubicBezTo>
                    <a:cubicBezTo>
                      <a:pt x="2203" y="815"/>
                      <a:pt x="2230" y="811"/>
                      <a:pt x="2231" y="814"/>
                    </a:cubicBezTo>
                    <a:cubicBezTo>
                      <a:pt x="2231" y="817"/>
                      <a:pt x="2225" y="822"/>
                      <a:pt x="2225" y="833"/>
                    </a:cubicBezTo>
                    <a:cubicBezTo>
                      <a:pt x="2225" y="844"/>
                      <a:pt x="2268" y="845"/>
                      <a:pt x="2287" y="835"/>
                    </a:cubicBezTo>
                    <a:cubicBezTo>
                      <a:pt x="2306" y="826"/>
                      <a:pt x="2296" y="808"/>
                      <a:pt x="2324" y="809"/>
                    </a:cubicBezTo>
                    <a:cubicBezTo>
                      <a:pt x="2351" y="809"/>
                      <a:pt x="2355" y="818"/>
                      <a:pt x="2355" y="818"/>
                    </a:cubicBezTo>
                    <a:cubicBezTo>
                      <a:pt x="2386" y="823"/>
                      <a:pt x="2386" y="823"/>
                      <a:pt x="2386" y="823"/>
                    </a:cubicBezTo>
                    <a:cubicBezTo>
                      <a:pt x="2390" y="834"/>
                      <a:pt x="2390" y="834"/>
                      <a:pt x="2390" y="834"/>
                    </a:cubicBezTo>
                    <a:cubicBezTo>
                      <a:pt x="2452" y="838"/>
                      <a:pt x="2452" y="838"/>
                      <a:pt x="2452" y="838"/>
                    </a:cubicBezTo>
                    <a:lnTo>
                      <a:pt x="2456" y="825"/>
                    </a:lnTo>
                    <a:close/>
                    <a:moveTo>
                      <a:pt x="2393" y="886"/>
                    </a:moveTo>
                    <a:cubicBezTo>
                      <a:pt x="2352" y="899"/>
                      <a:pt x="2393" y="913"/>
                      <a:pt x="2393" y="913"/>
                    </a:cubicBezTo>
                    <a:cubicBezTo>
                      <a:pt x="2415" y="897"/>
                      <a:pt x="2434" y="872"/>
                      <a:pt x="2393" y="886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Freeform 341">
                <a:extLst>
                  <a:ext uri="{FF2B5EF4-FFF2-40B4-BE49-F238E27FC236}">
                    <a16:creationId xmlns:a16="http://schemas.microsoft.com/office/drawing/2014/main" id="{0DAB654E-EE01-04C2-DE1D-2383F1033C6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5577" y="-9989"/>
                <a:ext cx="1488" cy="2346"/>
              </a:xfrm>
              <a:custGeom>
                <a:avLst/>
                <a:gdLst>
                  <a:gd name="T0" fmla="*/ 604 w 630"/>
                  <a:gd name="T1" fmla="*/ 869 h 993"/>
                  <a:gd name="T2" fmla="*/ 575 w 630"/>
                  <a:gd name="T3" fmla="*/ 854 h 993"/>
                  <a:gd name="T4" fmla="*/ 581 w 630"/>
                  <a:gd name="T5" fmla="*/ 821 h 993"/>
                  <a:gd name="T6" fmla="*/ 607 w 630"/>
                  <a:gd name="T7" fmla="*/ 835 h 993"/>
                  <a:gd name="T8" fmla="*/ 603 w 630"/>
                  <a:gd name="T9" fmla="*/ 799 h 993"/>
                  <a:gd name="T10" fmla="*/ 605 w 630"/>
                  <a:gd name="T11" fmla="*/ 744 h 993"/>
                  <a:gd name="T12" fmla="*/ 609 w 630"/>
                  <a:gd name="T13" fmla="*/ 694 h 993"/>
                  <a:gd name="T14" fmla="*/ 597 w 630"/>
                  <a:gd name="T15" fmla="*/ 632 h 993"/>
                  <a:gd name="T16" fmla="*/ 556 w 630"/>
                  <a:gd name="T17" fmla="*/ 590 h 993"/>
                  <a:gd name="T18" fmla="*/ 533 w 630"/>
                  <a:gd name="T19" fmla="*/ 591 h 993"/>
                  <a:gd name="T20" fmla="*/ 523 w 630"/>
                  <a:gd name="T21" fmla="*/ 562 h 993"/>
                  <a:gd name="T22" fmla="*/ 525 w 630"/>
                  <a:gd name="T23" fmla="*/ 507 h 993"/>
                  <a:gd name="T24" fmla="*/ 449 w 630"/>
                  <a:gd name="T25" fmla="*/ 541 h 993"/>
                  <a:gd name="T26" fmla="*/ 399 w 630"/>
                  <a:gd name="T27" fmla="*/ 509 h 993"/>
                  <a:gd name="T28" fmla="*/ 391 w 630"/>
                  <a:gd name="T29" fmla="*/ 465 h 993"/>
                  <a:gd name="T30" fmla="*/ 371 w 630"/>
                  <a:gd name="T31" fmla="*/ 420 h 993"/>
                  <a:gd name="T32" fmla="*/ 371 w 630"/>
                  <a:gd name="T33" fmla="*/ 396 h 993"/>
                  <a:gd name="T34" fmla="*/ 368 w 630"/>
                  <a:gd name="T35" fmla="*/ 370 h 993"/>
                  <a:gd name="T36" fmla="*/ 389 w 630"/>
                  <a:gd name="T37" fmla="*/ 331 h 993"/>
                  <a:gd name="T38" fmla="*/ 403 w 630"/>
                  <a:gd name="T39" fmla="*/ 277 h 993"/>
                  <a:gd name="T40" fmla="*/ 422 w 630"/>
                  <a:gd name="T41" fmla="*/ 265 h 993"/>
                  <a:gd name="T42" fmla="*/ 471 w 630"/>
                  <a:gd name="T43" fmla="*/ 244 h 993"/>
                  <a:gd name="T44" fmla="*/ 492 w 630"/>
                  <a:gd name="T45" fmla="*/ 240 h 993"/>
                  <a:gd name="T46" fmla="*/ 527 w 630"/>
                  <a:gd name="T47" fmla="*/ 236 h 993"/>
                  <a:gd name="T48" fmla="*/ 543 w 630"/>
                  <a:gd name="T49" fmla="*/ 227 h 993"/>
                  <a:gd name="T50" fmla="*/ 526 w 630"/>
                  <a:gd name="T51" fmla="*/ 207 h 993"/>
                  <a:gd name="T52" fmla="*/ 520 w 630"/>
                  <a:gd name="T53" fmla="*/ 171 h 993"/>
                  <a:gd name="T54" fmla="*/ 505 w 630"/>
                  <a:gd name="T55" fmla="*/ 135 h 993"/>
                  <a:gd name="T56" fmla="*/ 472 w 630"/>
                  <a:gd name="T57" fmla="*/ 130 h 993"/>
                  <a:gd name="T58" fmla="*/ 434 w 630"/>
                  <a:gd name="T59" fmla="*/ 138 h 993"/>
                  <a:gd name="T60" fmla="*/ 388 w 630"/>
                  <a:gd name="T61" fmla="*/ 106 h 993"/>
                  <a:gd name="T62" fmla="*/ 364 w 630"/>
                  <a:gd name="T63" fmla="*/ 73 h 993"/>
                  <a:gd name="T64" fmla="*/ 343 w 630"/>
                  <a:gd name="T65" fmla="*/ 57 h 993"/>
                  <a:gd name="T66" fmla="*/ 327 w 630"/>
                  <a:gd name="T67" fmla="*/ 33 h 993"/>
                  <a:gd name="T68" fmla="*/ 264 w 630"/>
                  <a:gd name="T69" fmla="*/ 0 h 993"/>
                  <a:gd name="T70" fmla="*/ 278 w 630"/>
                  <a:gd name="T71" fmla="*/ 1 h 993"/>
                  <a:gd name="T72" fmla="*/ 284 w 630"/>
                  <a:gd name="T73" fmla="*/ 31 h 993"/>
                  <a:gd name="T74" fmla="*/ 277 w 630"/>
                  <a:gd name="T75" fmla="*/ 58 h 993"/>
                  <a:gd name="T76" fmla="*/ 218 w 630"/>
                  <a:gd name="T77" fmla="*/ 143 h 993"/>
                  <a:gd name="T78" fmla="*/ 147 w 630"/>
                  <a:gd name="T79" fmla="*/ 186 h 993"/>
                  <a:gd name="T80" fmla="*/ 142 w 630"/>
                  <a:gd name="T81" fmla="*/ 201 h 993"/>
                  <a:gd name="T82" fmla="*/ 128 w 630"/>
                  <a:gd name="T83" fmla="*/ 252 h 993"/>
                  <a:gd name="T84" fmla="*/ 103 w 630"/>
                  <a:gd name="T85" fmla="*/ 270 h 993"/>
                  <a:gd name="T86" fmla="*/ 69 w 630"/>
                  <a:gd name="T87" fmla="*/ 243 h 993"/>
                  <a:gd name="T88" fmla="*/ 40 w 630"/>
                  <a:gd name="T89" fmla="*/ 246 h 993"/>
                  <a:gd name="T90" fmla="*/ 37 w 630"/>
                  <a:gd name="T91" fmla="*/ 224 h 993"/>
                  <a:gd name="T92" fmla="*/ 43 w 630"/>
                  <a:gd name="T93" fmla="*/ 188 h 993"/>
                  <a:gd name="T94" fmla="*/ 0 w 630"/>
                  <a:gd name="T95" fmla="*/ 254 h 993"/>
                  <a:gd name="T96" fmla="*/ 9 w 630"/>
                  <a:gd name="T97" fmla="*/ 282 h 993"/>
                  <a:gd name="T98" fmla="*/ 8 w 630"/>
                  <a:gd name="T99" fmla="*/ 331 h 993"/>
                  <a:gd name="T100" fmla="*/ 85 w 630"/>
                  <a:gd name="T101" fmla="*/ 394 h 993"/>
                  <a:gd name="T102" fmla="*/ 126 w 630"/>
                  <a:gd name="T103" fmla="*/ 462 h 993"/>
                  <a:gd name="T104" fmla="*/ 169 w 630"/>
                  <a:gd name="T105" fmla="*/ 547 h 993"/>
                  <a:gd name="T106" fmla="*/ 214 w 630"/>
                  <a:gd name="T107" fmla="*/ 622 h 993"/>
                  <a:gd name="T108" fmla="*/ 267 w 630"/>
                  <a:gd name="T109" fmla="*/ 715 h 993"/>
                  <a:gd name="T110" fmla="*/ 304 w 630"/>
                  <a:gd name="T111" fmla="*/ 803 h 993"/>
                  <a:gd name="T112" fmla="*/ 400 w 630"/>
                  <a:gd name="T113" fmla="*/ 869 h 993"/>
                  <a:gd name="T114" fmla="*/ 516 w 630"/>
                  <a:gd name="T115" fmla="*/ 939 h 993"/>
                  <a:gd name="T116" fmla="*/ 540 w 630"/>
                  <a:gd name="T117" fmla="*/ 968 h 993"/>
                  <a:gd name="T118" fmla="*/ 574 w 630"/>
                  <a:gd name="T119" fmla="*/ 993 h 993"/>
                  <a:gd name="T120" fmla="*/ 596 w 630"/>
                  <a:gd name="T121" fmla="*/ 954 h 993"/>
                  <a:gd name="T122" fmla="*/ 601 w 630"/>
                  <a:gd name="T123" fmla="*/ 929 h 993"/>
                  <a:gd name="T124" fmla="*/ 630 w 630"/>
                  <a:gd name="T125" fmla="*/ 889 h 9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0" h="993">
                    <a:moveTo>
                      <a:pt x="622" y="880"/>
                    </a:moveTo>
                    <a:cubicBezTo>
                      <a:pt x="622" y="880"/>
                      <a:pt x="612" y="873"/>
                      <a:pt x="604" y="869"/>
                    </a:cubicBezTo>
                    <a:cubicBezTo>
                      <a:pt x="596" y="865"/>
                      <a:pt x="593" y="857"/>
                      <a:pt x="593" y="857"/>
                    </a:cubicBezTo>
                    <a:cubicBezTo>
                      <a:pt x="593" y="857"/>
                      <a:pt x="579" y="859"/>
                      <a:pt x="575" y="854"/>
                    </a:cubicBezTo>
                    <a:cubicBezTo>
                      <a:pt x="580" y="840"/>
                      <a:pt x="580" y="840"/>
                      <a:pt x="580" y="840"/>
                    </a:cubicBezTo>
                    <a:cubicBezTo>
                      <a:pt x="580" y="840"/>
                      <a:pt x="576" y="825"/>
                      <a:pt x="581" y="821"/>
                    </a:cubicBezTo>
                    <a:cubicBezTo>
                      <a:pt x="584" y="818"/>
                      <a:pt x="598" y="830"/>
                      <a:pt x="607" y="838"/>
                    </a:cubicBezTo>
                    <a:cubicBezTo>
                      <a:pt x="607" y="836"/>
                      <a:pt x="607" y="835"/>
                      <a:pt x="607" y="835"/>
                    </a:cubicBezTo>
                    <a:cubicBezTo>
                      <a:pt x="612" y="824"/>
                      <a:pt x="612" y="824"/>
                      <a:pt x="612" y="824"/>
                    </a:cubicBezTo>
                    <a:cubicBezTo>
                      <a:pt x="612" y="824"/>
                      <a:pt x="604" y="813"/>
                      <a:pt x="603" y="799"/>
                    </a:cubicBezTo>
                    <a:cubicBezTo>
                      <a:pt x="601" y="784"/>
                      <a:pt x="616" y="776"/>
                      <a:pt x="620" y="766"/>
                    </a:cubicBezTo>
                    <a:cubicBezTo>
                      <a:pt x="624" y="757"/>
                      <a:pt x="605" y="744"/>
                      <a:pt x="605" y="744"/>
                    </a:cubicBezTo>
                    <a:cubicBezTo>
                      <a:pt x="618" y="724"/>
                      <a:pt x="618" y="724"/>
                      <a:pt x="618" y="724"/>
                    </a:cubicBezTo>
                    <a:cubicBezTo>
                      <a:pt x="609" y="694"/>
                      <a:pt x="609" y="694"/>
                      <a:pt x="609" y="694"/>
                    </a:cubicBezTo>
                    <a:cubicBezTo>
                      <a:pt x="609" y="694"/>
                      <a:pt x="619" y="683"/>
                      <a:pt x="620" y="677"/>
                    </a:cubicBezTo>
                    <a:cubicBezTo>
                      <a:pt x="622" y="670"/>
                      <a:pt x="612" y="645"/>
                      <a:pt x="597" y="632"/>
                    </a:cubicBezTo>
                    <a:cubicBezTo>
                      <a:pt x="586" y="621"/>
                      <a:pt x="579" y="600"/>
                      <a:pt x="577" y="591"/>
                    </a:cubicBezTo>
                    <a:cubicBezTo>
                      <a:pt x="568" y="590"/>
                      <a:pt x="560" y="590"/>
                      <a:pt x="556" y="590"/>
                    </a:cubicBezTo>
                    <a:cubicBezTo>
                      <a:pt x="545" y="590"/>
                      <a:pt x="549" y="599"/>
                      <a:pt x="541" y="599"/>
                    </a:cubicBezTo>
                    <a:cubicBezTo>
                      <a:pt x="533" y="599"/>
                      <a:pt x="533" y="591"/>
                      <a:pt x="533" y="591"/>
                    </a:cubicBezTo>
                    <a:cubicBezTo>
                      <a:pt x="526" y="592"/>
                      <a:pt x="526" y="592"/>
                      <a:pt x="526" y="592"/>
                    </a:cubicBezTo>
                    <a:cubicBezTo>
                      <a:pt x="526" y="592"/>
                      <a:pt x="525" y="572"/>
                      <a:pt x="523" y="562"/>
                    </a:cubicBezTo>
                    <a:cubicBezTo>
                      <a:pt x="521" y="552"/>
                      <a:pt x="526" y="538"/>
                      <a:pt x="528" y="534"/>
                    </a:cubicBezTo>
                    <a:cubicBezTo>
                      <a:pt x="530" y="530"/>
                      <a:pt x="525" y="507"/>
                      <a:pt x="525" y="507"/>
                    </a:cubicBezTo>
                    <a:cubicBezTo>
                      <a:pt x="491" y="537"/>
                      <a:pt x="491" y="537"/>
                      <a:pt x="491" y="537"/>
                    </a:cubicBezTo>
                    <a:cubicBezTo>
                      <a:pt x="449" y="541"/>
                      <a:pt x="449" y="541"/>
                      <a:pt x="449" y="541"/>
                    </a:cubicBezTo>
                    <a:cubicBezTo>
                      <a:pt x="449" y="541"/>
                      <a:pt x="441" y="522"/>
                      <a:pt x="438" y="515"/>
                    </a:cubicBezTo>
                    <a:cubicBezTo>
                      <a:pt x="435" y="508"/>
                      <a:pt x="399" y="509"/>
                      <a:pt x="399" y="509"/>
                    </a:cubicBezTo>
                    <a:cubicBezTo>
                      <a:pt x="399" y="509"/>
                      <a:pt x="414" y="496"/>
                      <a:pt x="416" y="491"/>
                    </a:cubicBezTo>
                    <a:cubicBezTo>
                      <a:pt x="418" y="486"/>
                      <a:pt x="396" y="471"/>
                      <a:pt x="391" y="465"/>
                    </a:cubicBezTo>
                    <a:cubicBezTo>
                      <a:pt x="386" y="459"/>
                      <a:pt x="373" y="438"/>
                      <a:pt x="373" y="438"/>
                    </a:cubicBezTo>
                    <a:cubicBezTo>
                      <a:pt x="371" y="420"/>
                      <a:pt x="371" y="420"/>
                      <a:pt x="371" y="420"/>
                    </a:cubicBezTo>
                    <a:cubicBezTo>
                      <a:pt x="371" y="420"/>
                      <a:pt x="356" y="414"/>
                      <a:pt x="356" y="409"/>
                    </a:cubicBezTo>
                    <a:cubicBezTo>
                      <a:pt x="356" y="404"/>
                      <a:pt x="371" y="396"/>
                      <a:pt x="371" y="396"/>
                    </a:cubicBezTo>
                    <a:cubicBezTo>
                      <a:pt x="365" y="392"/>
                      <a:pt x="365" y="392"/>
                      <a:pt x="365" y="392"/>
                    </a:cubicBezTo>
                    <a:cubicBezTo>
                      <a:pt x="365" y="392"/>
                      <a:pt x="360" y="378"/>
                      <a:pt x="368" y="370"/>
                    </a:cubicBezTo>
                    <a:cubicBezTo>
                      <a:pt x="376" y="362"/>
                      <a:pt x="389" y="345"/>
                      <a:pt x="395" y="354"/>
                    </a:cubicBezTo>
                    <a:cubicBezTo>
                      <a:pt x="401" y="363"/>
                      <a:pt x="391" y="338"/>
                      <a:pt x="389" y="331"/>
                    </a:cubicBezTo>
                    <a:cubicBezTo>
                      <a:pt x="387" y="324"/>
                      <a:pt x="402" y="315"/>
                      <a:pt x="402" y="315"/>
                    </a:cubicBezTo>
                    <a:cubicBezTo>
                      <a:pt x="403" y="277"/>
                      <a:pt x="403" y="277"/>
                      <a:pt x="403" y="277"/>
                    </a:cubicBezTo>
                    <a:cubicBezTo>
                      <a:pt x="419" y="277"/>
                      <a:pt x="419" y="277"/>
                      <a:pt x="419" y="277"/>
                    </a:cubicBezTo>
                    <a:cubicBezTo>
                      <a:pt x="419" y="277"/>
                      <a:pt x="420" y="269"/>
                      <a:pt x="422" y="265"/>
                    </a:cubicBezTo>
                    <a:cubicBezTo>
                      <a:pt x="424" y="261"/>
                      <a:pt x="450" y="244"/>
                      <a:pt x="450" y="244"/>
                    </a:cubicBezTo>
                    <a:cubicBezTo>
                      <a:pt x="471" y="244"/>
                      <a:pt x="471" y="244"/>
                      <a:pt x="471" y="244"/>
                    </a:cubicBezTo>
                    <a:cubicBezTo>
                      <a:pt x="473" y="237"/>
                      <a:pt x="473" y="237"/>
                      <a:pt x="473" y="237"/>
                    </a:cubicBezTo>
                    <a:cubicBezTo>
                      <a:pt x="492" y="240"/>
                      <a:pt x="492" y="240"/>
                      <a:pt x="492" y="240"/>
                    </a:cubicBezTo>
                    <a:cubicBezTo>
                      <a:pt x="492" y="240"/>
                      <a:pt x="503" y="225"/>
                      <a:pt x="513" y="224"/>
                    </a:cubicBezTo>
                    <a:cubicBezTo>
                      <a:pt x="523" y="223"/>
                      <a:pt x="527" y="236"/>
                      <a:pt x="527" y="236"/>
                    </a:cubicBezTo>
                    <a:cubicBezTo>
                      <a:pt x="527" y="236"/>
                      <a:pt x="534" y="239"/>
                      <a:pt x="539" y="236"/>
                    </a:cubicBezTo>
                    <a:cubicBezTo>
                      <a:pt x="541" y="235"/>
                      <a:pt x="542" y="231"/>
                      <a:pt x="543" y="227"/>
                    </a:cubicBezTo>
                    <a:cubicBezTo>
                      <a:pt x="532" y="223"/>
                      <a:pt x="532" y="223"/>
                      <a:pt x="532" y="223"/>
                    </a:cubicBezTo>
                    <a:cubicBezTo>
                      <a:pt x="526" y="207"/>
                      <a:pt x="526" y="207"/>
                      <a:pt x="526" y="207"/>
                    </a:cubicBezTo>
                    <a:cubicBezTo>
                      <a:pt x="526" y="207"/>
                      <a:pt x="512" y="212"/>
                      <a:pt x="509" y="206"/>
                    </a:cubicBezTo>
                    <a:cubicBezTo>
                      <a:pt x="506" y="201"/>
                      <a:pt x="515" y="171"/>
                      <a:pt x="520" y="171"/>
                    </a:cubicBezTo>
                    <a:cubicBezTo>
                      <a:pt x="525" y="171"/>
                      <a:pt x="533" y="163"/>
                      <a:pt x="533" y="148"/>
                    </a:cubicBezTo>
                    <a:cubicBezTo>
                      <a:pt x="533" y="134"/>
                      <a:pt x="505" y="135"/>
                      <a:pt x="505" y="135"/>
                    </a:cubicBezTo>
                    <a:cubicBezTo>
                      <a:pt x="505" y="135"/>
                      <a:pt x="497" y="123"/>
                      <a:pt x="493" y="122"/>
                    </a:cubicBezTo>
                    <a:cubicBezTo>
                      <a:pt x="489" y="121"/>
                      <a:pt x="481" y="130"/>
                      <a:pt x="472" y="130"/>
                    </a:cubicBezTo>
                    <a:cubicBezTo>
                      <a:pt x="464" y="130"/>
                      <a:pt x="463" y="123"/>
                      <a:pt x="449" y="120"/>
                    </a:cubicBezTo>
                    <a:cubicBezTo>
                      <a:pt x="435" y="117"/>
                      <a:pt x="434" y="138"/>
                      <a:pt x="434" y="138"/>
                    </a:cubicBezTo>
                    <a:cubicBezTo>
                      <a:pt x="434" y="138"/>
                      <a:pt x="412" y="138"/>
                      <a:pt x="393" y="133"/>
                    </a:cubicBezTo>
                    <a:cubicBezTo>
                      <a:pt x="374" y="128"/>
                      <a:pt x="389" y="113"/>
                      <a:pt x="388" y="106"/>
                    </a:cubicBezTo>
                    <a:cubicBezTo>
                      <a:pt x="387" y="98"/>
                      <a:pt x="369" y="97"/>
                      <a:pt x="369" y="97"/>
                    </a:cubicBezTo>
                    <a:cubicBezTo>
                      <a:pt x="369" y="97"/>
                      <a:pt x="367" y="79"/>
                      <a:pt x="364" y="73"/>
                    </a:cubicBezTo>
                    <a:cubicBezTo>
                      <a:pt x="362" y="67"/>
                      <a:pt x="354" y="70"/>
                      <a:pt x="354" y="70"/>
                    </a:cubicBezTo>
                    <a:cubicBezTo>
                      <a:pt x="343" y="57"/>
                      <a:pt x="343" y="57"/>
                      <a:pt x="343" y="57"/>
                    </a:cubicBezTo>
                    <a:cubicBezTo>
                      <a:pt x="335" y="57"/>
                      <a:pt x="335" y="57"/>
                      <a:pt x="335" y="57"/>
                    </a:cubicBezTo>
                    <a:cubicBezTo>
                      <a:pt x="327" y="33"/>
                      <a:pt x="327" y="33"/>
                      <a:pt x="327" y="33"/>
                    </a:cubicBezTo>
                    <a:cubicBezTo>
                      <a:pt x="327" y="33"/>
                      <a:pt x="297" y="9"/>
                      <a:pt x="290" y="5"/>
                    </a:cubicBezTo>
                    <a:cubicBezTo>
                      <a:pt x="284" y="1"/>
                      <a:pt x="274" y="1"/>
                      <a:pt x="264" y="0"/>
                    </a:cubicBezTo>
                    <a:cubicBezTo>
                      <a:pt x="264" y="0"/>
                      <a:pt x="264" y="0"/>
                      <a:pt x="264" y="0"/>
                    </a:cubicBezTo>
                    <a:cubicBezTo>
                      <a:pt x="269" y="0"/>
                      <a:pt x="273" y="1"/>
                      <a:pt x="278" y="1"/>
                    </a:cubicBezTo>
                    <a:cubicBezTo>
                      <a:pt x="279" y="19"/>
                      <a:pt x="268" y="19"/>
                      <a:pt x="268" y="19"/>
                    </a:cubicBezTo>
                    <a:cubicBezTo>
                      <a:pt x="284" y="31"/>
                      <a:pt x="284" y="31"/>
                      <a:pt x="284" y="31"/>
                    </a:cubicBezTo>
                    <a:cubicBezTo>
                      <a:pt x="287" y="53"/>
                      <a:pt x="287" y="53"/>
                      <a:pt x="287" y="53"/>
                    </a:cubicBezTo>
                    <a:cubicBezTo>
                      <a:pt x="277" y="58"/>
                      <a:pt x="277" y="58"/>
                      <a:pt x="277" y="58"/>
                    </a:cubicBezTo>
                    <a:cubicBezTo>
                      <a:pt x="269" y="87"/>
                      <a:pt x="269" y="87"/>
                      <a:pt x="269" y="87"/>
                    </a:cubicBezTo>
                    <a:cubicBezTo>
                      <a:pt x="269" y="87"/>
                      <a:pt x="241" y="128"/>
                      <a:pt x="218" y="143"/>
                    </a:cubicBezTo>
                    <a:cubicBezTo>
                      <a:pt x="195" y="157"/>
                      <a:pt x="174" y="157"/>
                      <a:pt x="161" y="168"/>
                    </a:cubicBezTo>
                    <a:cubicBezTo>
                      <a:pt x="147" y="179"/>
                      <a:pt x="147" y="186"/>
                      <a:pt x="147" y="186"/>
                    </a:cubicBezTo>
                    <a:cubicBezTo>
                      <a:pt x="139" y="189"/>
                      <a:pt x="139" y="189"/>
                      <a:pt x="139" y="189"/>
                    </a:cubicBezTo>
                    <a:cubicBezTo>
                      <a:pt x="142" y="201"/>
                      <a:pt x="142" y="201"/>
                      <a:pt x="142" y="201"/>
                    </a:cubicBezTo>
                    <a:cubicBezTo>
                      <a:pt x="142" y="201"/>
                      <a:pt x="134" y="206"/>
                      <a:pt x="132" y="216"/>
                    </a:cubicBezTo>
                    <a:cubicBezTo>
                      <a:pt x="131" y="225"/>
                      <a:pt x="128" y="252"/>
                      <a:pt x="128" y="252"/>
                    </a:cubicBezTo>
                    <a:cubicBezTo>
                      <a:pt x="128" y="252"/>
                      <a:pt x="119" y="254"/>
                      <a:pt x="115" y="256"/>
                    </a:cubicBezTo>
                    <a:cubicBezTo>
                      <a:pt x="111" y="259"/>
                      <a:pt x="116" y="270"/>
                      <a:pt x="103" y="270"/>
                    </a:cubicBezTo>
                    <a:cubicBezTo>
                      <a:pt x="89" y="270"/>
                      <a:pt x="93" y="246"/>
                      <a:pt x="88" y="241"/>
                    </a:cubicBezTo>
                    <a:cubicBezTo>
                      <a:pt x="82" y="237"/>
                      <a:pt x="69" y="243"/>
                      <a:pt x="69" y="243"/>
                    </a:cubicBezTo>
                    <a:cubicBezTo>
                      <a:pt x="60" y="232"/>
                      <a:pt x="60" y="232"/>
                      <a:pt x="60" y="232"/>
                    </a:cubicBezTo>
                    <a:cubicBezTo>
                      <a:pt x="60" y="232"/>
                      <a:pt x="50" y="250"/>
                      <a:pt x="40" y="246"/>
                    </a:cubicBezTo>
                    <a:cubicBezTo>
                      <a:pt x="31" y="241"/>
                      <a:pt x="47" y="232"/>
                      <a:pt x="47" y="232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37" y="224"/>
                      <a:pt x="50" y="212"/>
                      <a:pt x="58" y="203"/>
                    </a:cubicBezTo>
                    <a:cubicBezTo>
                      <a:pt x="67" y="194"/>
                      <a:pt x="43" y="188"/>
                      <a:pt x="43" y="188"/>
                    </a:cubicBezTo>
                    <a:cubicBezTo>
                      <a:pt x="43" y="188"/>
                      <a:pt x="17" y="216"/>
                      <a:pt x="9" y="223"/>
                    </a:cubicBezTo>
                    <a:cubicBezTo>
                      <a:pt x="1" y="230"/>
                      <a:pt x="0" y="241"/>
                      <a:pt x="0" y="254"/>
                    </a:cubicBezTo>
                    <a:cubicBezTo>
                      <a:pt x="0" y="267"/>
                      <a:pt x="12" y="264"/>
                      <a:pt x="12" y="264"/>
                    </a:cubicBezTo>
                    <a:cubicBezTo>
                      <a:pt x="9" y="282"/>
                      <a:pt x="9" y="282"/>
                      <a:pt x="9" y="282"/>
                    </a:cubicBezTo>
                    <a:cubicBezTo>
                      <a:pt x="9" y="282"/>
                      <a:pt x="26" y="292"/>
                      <a:pt x="27" y="304"/>
                    </a:cubicBezTo>
                    <a:cubicBezTo>
                      <a:pt x="28" y="316"/>
                      <a:pt x="8" y="317"/>
                      <a:pt x="8" y="331"/>
                    </a:cubicBezTo>
                    <a:cubicBezTo>
                      <a:pt x="8" y="345"/>
                      <a:pt x="42" y="347"/>
                      <a:pt x="51" y="352"/>
                    </a:cubicBezTo>
                    <a:cubicBezTo>
                      <a:pt x="59" y="357"/>
                      <a:pt x="82" y="389"/>
                      <a:pt x="85" y="394"/>
                    </a:cubicBezTo>
                    <a:cubicBezTo>
                      <a:pt x="87" y="398"/>
                      <a:pt x="99" y="418"/>
                      <a:pt x="99" y="424"/>
                    </a:cubicBezTo>
                    <a:cubicBezTo>
                      <a:pt x="99" y="430"/>
                      <a:pt x="123" y="456"/>
                      <a:pt x="126" y="462"/>
                    </a:cubicBezTo>
                    <a:cubicBezTo>
                      <a:pt x="130" y="468"/>
                      <a:pt x="164" y="522"/>
                      <a:pt x="164" y="522"/>
                    </a:cubicBezTo>
                    <a:cubicBezTo>
                      <a:pt x="169" y="547"/>
                      <a:pt x="169" y="547"/>
                      <a:pt x="169" y="547"/>
                    </a:cubicBezTo>
                    <a:cubicBezTo>
                      <a:pt x="169" y="547"/>
                      <a:pt x="197" y="602"/>
                      <a:pt x="197" y="609"/>
                    </a:cubicBezTo>
                    <a:cubicBezTo>
                      <a:pt x="197" y="616"/>
                      <a:pt x="205" y="616"/>
                      <a:pt x="214" y="622"/>
                    </a:cubicBezTo>
                    <a:cubicBezTo>
                      <a:pt x="222" y="628"/>
                      <a:pt x="218" y="635"/>
                      <a:pt x="220" y="647"/>
                    </a:cubicBezTo>
                    <a:cubicBezTo>
                      <a:pt x="221" y="658"/>
                      <a:pt x="255" y="699"/>
                      <a:pt x="267" y="715"/>
                    </a:cubicBezTo>
                    <a:cubicBezTo>
                      <a:pt x="279" y="732"/>
                      <a:pt x="270" y="754"/>
                      <a:pt x="270" y="762"/>
                    </a:cubicBezTo>
                    <a:cubicBezTo>
                      <a:pt x="270" y="771"/>
                      <a:pt x="293" y="796"/>
                      <a:pt x="304" y="803"/>
                    </a:cubicBezTo>
                    <a:cubicBezTo>
                      <a:pt x="314" y="810"/>
                      <a:pt x="324" y="826"/>
                      <a:pt x="332" y="835"/>
                    </a:cubicBezTo>
                    <a:cubicBezTo>
                      <a:pt x="340" y="843"/>
                      <a:pt x="386" y="861"/>
                      <a:pt x="400" y="869"/>
                    </a:cubicBezTo>
                    <a:cubicBezTo>
                      <a:pt x="415" y="877"/>
                      <a:pt x="442" y="883"/>
                      <a:pt x="463" y="901"/>
                    </a:cubicBezTo>
                    <a:cubicBezTo>
                      <a:pt x="484" y="919"/>
                      <a:pt x="516" y="939"/>
                      <a:pt x="516" y="939"/>
                    </a:cubicBezTo>
                    <a:cubicBezTo>
                      <a:pt x="522" y="954"/>
                      <a:pt x="522" y="954"/>
                      <a:pt x="522" y="954"/>
                    </a:cubicBezTo>
                    <a:cubicBezTo>
                      <a:pt x="522" y="954"/>
                      <a:pt x="533" y="962"/>
                      <a:pt x="540" y="968"/>
                    </a:cubicBezTo>
                    <a:cubicBezTo>
                      <a:pt x="547" y="974"/>
                      <a:pt x="574" y="992"/>
                      <a:pt x="574" y="992"/>
                    </a:cubicBezTo>
                    <a:cubicBezTo>
                      <a:pt x="574" y="993"/>
                      <a:pt x="574" y="993"/>
                      <a:pt x="574" y="993"/>
                    </a:cubicBezTo>
                    <a:cubicBezTo>
                      <a:pt x="580" y="989"/>
                      <a:pt x="589" y="983"/>
                      <a:pt x="596" y="977"/>
                    </a:cubicBezTo>
                    <a:cubicBezTo>
                      <a:pt x="608" y="968"/>
                      <a:pt x="596" y="954"/>
                      <a:pt x="596" y="954"/>
                    </a:cubicBezTo>
                    <a:cubicBezTo>
                      <a:pt x="608" y="946"/>
                      <a:pt x="608" y="946"/>
                      <a:pt x="608" y="946"/>
                    </a:cubicBezTo>
                    <a:cubicBezTo>
                      <a:pt x="601" y="929"/>
                      <a:pt x="601" y="929"/>
                      <a:pt x="601" y="929"/>
                    </a:cubicBezTo>
                    <a:cubicBezTo>
                      <a:pt x="601" y="929"/>
                      <a:pt x="611" y="919"/>
                      <a:pt x="620" y="912"/>
                    </a:cubicBezTo>
                    <a:cubicBezTo>
                      <a:pt x="626" y="908"/>
                      <a:pt x="629" y="897"/>
                      <a:pt x="630" y="889"/>
                    </a:cubicBezTo>
                    <a:lnTo>
                      <a:pt x="622" y="88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Freeform 342">
                <a:extLst>
                  <a:ext uri="{FF2B5EF4-FFF2-40B4-BE49-F238E27FC236}">
                    <a16:creationId xmlns:a16="http://schemas.microsoft.com/office/drawing/2014/main" id="{9406CE19-C963-5DF4-6CF5-D5F35424665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4235" y="-8761"/>
                <a:ext cx="1427" cy="1682"/>
              </a:xfrm>
              <a:custGeom>
                <a:avLst/>
                <a:gdLst>
                  <a:gd name="T0" fmla="*/ 1 w 604"/>
                  <a:gd name="T1" fmla="*/ 70 h 712"/>
                  <a:gd name="T2" fmla="*/ 599 w 604"/>
                  <a:gd name="T3" fmla="*/ 500 h 712"/>
                  <a:gd name="T4" fmla="*/ 584 w 604"/>
                  <a:gd name="T5" fmla="*/ 421 h 712"/>
                  <a:gd name="T6" fmla="*/ 561 w 604"/>
                  <a:gd name="T7" fmla="*/ 361 h 712"/>
                  <a:gd name="T8" fmla="*/ 468 w 604"/>
                  <a:gd name="T9" fmla="*/ 314 h 712"/>
                  <a:gd name="T10" fmla="*/ 463 w 604"/>
                  <a:gd name="T11" fmla="*/ 290 h 712"/>
                  <a:gd name="T12" fmla="*/ 450 w 604"/>
                  <a:gd name="T13" fmla="*/ 250 h 712"/>
                  <a:gd name="T14" fmla="*/ 418 w 604"/>
                  <a:gd name="T15" fmla="*/ 209 h 712"/>
                  <a:gd name="T16" fmla="*/ 367 w 604"/>
                  <a:gd name="T17" fmla="*/ 190 h 712"/>
                  <a:gd name="T18" fmla="*/ 320 w 604"/>
                  <a:gd name="T19" fmla="*/ 163 h 712"/>
                  <a:gd name="T20" fmla="*/ 290 w 604"/>
                  <a:gd name="T21" fmla="*/ 152 h 712"/>
                  <a:gd name="T22" fmla="*/ 258 w 604"/>
                  <a:gd name="T23" fmla="*/ 153 h 712"/>
                  <a:gd name="T24" fmla="*/ 230 w 604"/>
                  <a:gd name="T25" fmla="*/ 130 h 712"/>
                  <a:gd name="T26" fmla="*/ 210 w 604"/>
                  <a:gd name="T27" fmla="*/ 97 h 712"/>
                  <a:gd name="T28" fmla="*/ 200 w 604"/>
                  <a:gd name="T29" fmla="*/ 52 h 712"/>
                  <a:gd name="T30" fmla="*/ 211 w 604"/>
                  <a:gd name="T31" fmla="*/ 4 h 712"/>
                  <a:gd name="T32" fmla="*/ 183 w 604"/>
                  <a:gd name="T33" fmla="*/ 6 h 712"/>
                  <a:gd name="T34" fmla="*/ 151 w 604"/>
                  <a:gd name="T35" fmla="*/ 13 h 712"/>
                  <a:gd name="T36" fmla="*/ 104 w 604"/>
                  <a:gd name="T37" fmla="*/ 38 h 712"/>
                  <a:gd name="T38" fmla="*/ 76 w 604"/>
                  <a:gd name="T39" fmla="*/ 57 h 712"/>
                  <a:gd name="T40" fmla="*/ 50 w 604"/>
                  <a:gd name="T41" fmla="*/ 81 h 712"/>
                  <a:gd name="T42" fmla="*/ 9 w 604"/>
                  <a:gd name="T43" fmla="*/ 71 h 712"/>
                  <a:gd name="T44" fmla="*/ 52 w 604"/>
                  <a:gd name="T45" fmla="*/ 157 h 712"/>
                  <a:gd name="T46" fmla="*/ 50 w 604"/>
                  <a:gd name="T47" fmla="*/ 204 h 712"/>
                  <a:gd name="T48" fmla="*/ 52 w 604"/>
                  <a:gd name="T49" fmla="*/ 246 h 712"/>
                  <a:gd name="T50" fmla="*/ 44 w 604"/>
                  <a:gd name="T51" fmla="*/ 304 h 712"/>
                  <a:gd name="T52" fmla="*/ 39 w 604"/>
                  <a:gd name="T53" fmla="*/ 318 h 712"/>
                  <a:gd name="T54" fmla="*/ 62 w 604"/>
                  <a:gd name="T55" fmla="*/ 339 h 712"/>
                  <a:gd name="T56" fmla="*/ 76 w 604"/>
                  <a:gd name="T57" fmla="*/ 359 h 712"/>
                  <a:gd name="T58" fmla="*/ 62 w 604"/>
                  <a:gd name="T59" fmla="*/ 369 h 712"/>
                  <a:gd name="T60" fmla="*/ 33 w 604"/>
                  <a:gd name="T61" fmla="*/ 409 h 712"/>
                  <a:gd name="T62" fmla="*/ 39 w 604"/>
                  <a:gd name="T63" fmla="*/ 427 h 712"/>
                  <a:gd name="T64" fmla="*/ 64 w 604"/>
                  <a:gd name="T65" fmla="*/ 449 h 712"/>
                  <a:gd name="T66" fmla="*/ 105 w 604"/>
                  <a:gd name="T67" fmla="*/ 525 h 712"/>
                  <a:gd name="T68" fmla="*/ 104 w 604"/>
                  <a:gd name="T69" fmla="*/ 554 h 712"/>
                  <a:gd name="T70" fmla="*/ 102 w 604"/>
                  <a:gd name="T71" fmla="*/ 588 h 712"/>
                  <a:gd name="T72" fmla="*/ 134 w 604"/>
                  <a:gd name="T73" fmla="*/ 627 h 712"/>
                  <a:gd name="T74" fmla="*/ 147 w 604"/>
                  <a:gd name="T75" fmla="*/ 684 h 712"/>
                  <a:gd name="T76" fmla="*/ 188 w 604"/>
                  <a:gd name="T77" fmla="*/ 708 h 712"/>
                  <a:gd name="T78" fmla="*/ 199 w 604"/>
                  <a:gd name="T79" fmla="*/ 691 h 712"/>
                  <a:gd name="T80" fmla="*/ 214 w 604"/>
                  <a:gd name="T81" fmla="*/ 674 h 712"/>
                  <a:gd name="T82" fmla="*/ 241 w 604"/>
                  <a:gd name="T83" fmla="*/ 670 h 712"/>
                  <a:gd name="T84" fmla="*/ 318 w 604"/>
                  <a:gd name="T85" fmla="*/ 707 h 712"/>
                  <a:gd name="T86" fmla="*/ 374 w 604"/>
                  <a:gd name="T87" fmla="*/ 664 h 712"/>
                  <a:gd name="T88" fmla="*/ 403 w 604"/>
                  <a:gd name="T89" fmla="*/ 607 h 712"/>
                  <a:gd name="T90" fmla="*/ 413 w 604"/>
                  <a:gd name="T91" fmla="*/ 558 h 712"/>
                  <a:gd name="T92" fmla="*/ 486 w 604"/>
                  <a:gd name="T93" fmla="*/ 527 h 712"/>
                  <a:gd name="T94" fmla="*/ 574 w 604"/>
                  <a:gd name="T95" fmla="*/ 546 h 712"/>
                  <a:gd name="T96" fmla="*/ 602 w 604"/>
                  <a:gd name="T97" fmla="*/ 555 h 712"/>
                  <a:gd name="T98" fmla="*/ 603 w 604"/>
                  <a:gd name="T99" fmla="*/ 508 h 7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04" h="712">
                    <a:moveTo>
                      <a:pt x="0" y="70"/>
                    </a:moveTo>
                    <a:cubicBezTo>
                      <a:pt x="1" y="70"/>
                      <a:pt x="1" y="70"/>
                      <a:pt x="1" y="70"/>
                    </a:cubicBezTo>
                    <a:cubicBezTo>
                      <a:pt x="1" y="70"/>
                      <a:pt x="1" y="70"/>
                      <a:pt x="0" y="70"/>
                    </a:cubicBezTo>
                    <a:close/>
                    <a:moveTo>
                      <a:pt x="599" y="500"/>
                    </a:moveTo>
                    <a:cubicBezTo>
                      <a:pt x="599" y="500"/>
                      <a:pt x="604" y="474"/>
                      <a:pt x="604" y="460"/>
                    </a:cubicBezTo>
                    <a:cubicBezTo>
                      <a:pt x="604" y="446"/>
                      <a:pt x="595" y="428"/>
                      <a:pt x="584" y="421"/>
                    </a:cubicBezTo>
                    <a:cubicBezTo>
                      <a:pt x="573" y="414"/>
                      <a:pt x="564" y="413"/>
                      <a:pt x="557" y="404"/>
                    </a:cubicBezTo>
                    <a:cubicBezTo>
                      <a:pt x="550" y="395"/>
                      <a:pt x="561" y="361"/>
                      <a:pt x="561" y="361"/>
                    </a:cubicBezTo>
                    <a:cubicBezTo>
                      <a:pt x="561" y="361"/>
                      <a:pt x="484" y="363"/>
                      <a:pt x="471" y="354"/>
                    </a:cubicBezTo>
                    <a:cubicBezTo>
                      <a:pt x="458" y="345"/>
                      <a:pt x="468" y="314"/>
                      <a:pt x="468" y="314"/>
                    </a:cubicBezTo>
                    <a:cubicBezTo>
                      <a:pt x="468" y="314"/>
                      <a:pt x="452" y="300"/>
                      <a:pt x="450" y="294"/>
                    </a:cubicBezTo>
                    <a:cubicBezTo>
                      <a:pt x="448" y="288"/>
                      <a:pt x="463" y="290"/>
                      <a:pt x="463" y="290"/>
                    </a:cubicBezTo>
                    <a:cubicBezTo>
                      <a:pt x="461" y="269"/>
                      <a:pt x="461" y="269"/>
                      <a:pt x="461" y="269"/>
                    </a:cubicBezTo>
                    <a:cubicBezTo>
                      <a:pt x="461" y="269"/>
                      <a:pt x="454" y="257"/>
                      <a:pt x="450" y="250"/>
                    </a:cubicBezTo>
                    <a:cubicBezTo>
                      <a:pt x="446" y="243"/>
                      <a:pt x="451" y="240"/>
                      <a:pt x="450" y="230"/>
                    </a:cubicBezTo>
                    <a:cubicBezTo>
                      <a:pt x="449" y="220"/>
                      <a:pt x="429" y="211"/>
                      <a:pt x="418" y="209"/>
                    </a:cubicBezTo>
                    <a:cubicBezTo>
                      <a:pt x="407" y="207"/>
                      <a:pt x="396" y="212"/>
                      <a:pt x="386" y="211"/>
                    </a:cubicBezTo>
                    <a:cubicBezTo>
                      <a:pt x="376" y="210"/>
                      <a:pt x="367" y="190"/>
                      <a:pt x="367" y="190"/>
                    </a:cubicBezTo>
                    <a:cubicBezTo>
                      <a:pt x="367" y="190"/>
                      <a:pt x="351" y="189"/>
                      <a:pt x="340" y="184"/>
                    </a:cubicBezTo>
                    <a:cubicBezTo>
                      <a:pt x="329" y="179"/>
                      <a:pt x="321" y="167"/>
                      <a:pt x="320" y="163"/>
                    </a:cubicBezTo>
                    <a:cubicBezTo>
                      <a:pt x="319" y="159"/>
                      <a:pt x="312" y="166"/>
                      <a:pt x="304" y="166"/>
                    </a:cubicBezTo>
                    <a:cubicBezTo>
                      <a:pt x="296" y="166"/>
                      <a:pt x="290" y="152"/>
                      <a:pt x="290" y="152"/>
                    </a:cubicBezTo>
                    <a:cubicBezTo>
                      <a:pt x="290" y="152"/>
                      <a:pt x="280" y="159"/>
                      <a:pt x="276" y="158"/>
                    </a:cubicBezTo>
                    <a:cubicBezTo>
                      <a:pt x="272" y="157"/>
                      <a:pt x="268" y="157"/>
                      <a:pt x="258" y="153"/>
                    </a:cubicBezTo>
                    <a:cubicBezTo>
                      <a:pt x="248" y="149"/>
                      <a:pt x="252" y="138"/>
                      <a:pt x="249" y="133"/>
                    </a:cubicBezTo>
                    <a:cubicBezTo>
                      <a:pt x="246" y="128"/>
                      <a:pt x="230" y="130"/>
                      <a:pt x="230" y="130"/>
                    </a:cubicBezTo>
                    <a:cubicBezTo>
                      <a:pt x="224" y="110"/>
                      <a:pt x="224" y="110"/>
                      <a:pt x="224" y="110"/>
                    </a:cubicBezTo>
                    <a:cubicBezTo>
                      <a:pt x="224" y="110"/>
                      <a:pt x="217" y="106"/>
                      <a:pt x="210" y="97"/>
                    </a:cubicBezTo>
                    <a:cubicBezTo>
                      <a:pt x="203" y="88"/>
                      <a:pt x="210" y="82"/>
                      <a:pt x="210" y="73"/>
                    </a:cubicBezTo>
                    <a:cubicBezTo>
                      <a:pt x="210" y="64"/>
                      <a:pt x="201" y="56"/>
                      <a:pt x="200" y="52"/>
                    </a:cubicBezTo>
                    <a:cubicBezTo>
                      <a:pt x="199" y="48"/>
                      <a:pt x="207" y="35"/>
                      <a:pt x="207" y="35"/>
                    </a:cubicBezTo>
                    <a:cubicBezTo>
                      <a:pt x="207" y="35"/>
                      <a:pt x="215" y="8"/>
                      <a:pt x="211" y="4"/>
                    </a:cubicBezTo>
                    <a:cubicBezTo>
                      <a:pt x="207" y="0"/>
                      <a:pt x="194" y="8"/>
                      <a:pt x="193" y="12"/>
                    </a:cubicBezTo>
                    <a:cubicBezTo>
                      <a:pt x="192" y="16"/>
                      <a:pt x="183" y="6"/>
                      <a:pt x="183" y="6"/>
                    </a:cubicBezTo>
                    <a:cubicBezTo>
                      <a:pt x="174" y="14"/>
                      <a:pt x="174" y="14"/>
                      <a:pt x="174" y="14"/>
                    </a:cubicBezTo>
                    <a:cubicBezTo>
                      <a:pt x="174" y="14"/>
                      <a:pt x="164" y="13"/>
                      <a:pt x="151" y="13"/>
                    </a:cubicBezTo>
                    <a:cubicBezTo>
                      <a:pt x="138" y="13"/>
                      <a:pt x="128" y="39"/>
                      <a:pt x="128" y="39"/>
                    </a:cubicBezTo>
                    <a:cubicBezTo>
                      <a:pt x="104" y="38"/>
                      <a:pt x="104" y="38"/>
                      <a:pt x="104" y="38"/>
                    </a:cubicBezTo>
                    <a:cubicBezTo>
                      <a:pt x="100" y="56"/>
                      <a:pt x="100" y="56"/>
                      <a:pt x="100" y="56"/>
                    </a:cubicBezTo>
                    <a:cubicBezTo>
                      <a:pt x="76" y="57"/>
                      <a:pt x="76" y="57"/>
                      <a:pt x="76" y="57"/>
                    </a:cubicBezTo>
                    <a:cubicBezTo>
                      <a:pt x="71" y="69"/>
                      <a:pt x="71" y="69"/>
                      <a:pt x="71" y="69"/>
                    </a:cubicBezTo>
                    <a:cubicBezTo>
                      <a:pt x="71" y="69"/>
                      <a:pt x="63" y="78"/>
                      <a:pt x="50" y="81"/>
                    </a:cubicBezTo>
                    <a:cubicBezTo>
                      <a:pt x="37" y="84"/>
                      <a:pt x="34" y="73"/>
                      <a:pt x="34" y="73"/>
                    </a:cubicBezTo>
                    <a:cubicBezTo>
                      <a:pt x="34" y="73"/>
                      <a:pt x="21" y="72"/>
                      <a:pt x="9" y="71"/>
                    </a:cubicBezTo>
                    <a:cubicBezTo>
                      <a:pt x="11" y="80"/>
                      <a:pt x="18" y="101"/>
                      <a:pt x="29" y="112"/>
                    </a:cubicBezTo>
                    <a:cubicBezTo>
                      <a:pt x="44" y="125"/>
                      <a:pt x="54" y="150"/>
                      <a:pt x="52" y="157"/>
                    </a:cubicBezTo>
                    <a:cubicBezTo>
                      <a:pt x="51" y="163"/>
                      <a:pt x="41" y="174"/>
                      <a:pt x="41" y="174"/>
                    </a:cubicBezTo>
                    <a:cubicBezTo>
                      <a:pt x="50" y="204"/>
                      <a:pt x="50" y="204"/>
                      <a:pt x="50" y="204"/>
                    </a:cubicBezTo>
                    <a:cubicBezTo>
                      <a:pt x="37" y="224"/>
                      <a:pt x="37" y="224"/>
                      <a:pt x="37" y="224"/>
                    </a:cubicBezTo>
                    <a:cubicBezTo>
                      <a:pt x="37" y="224"/>
                      <a:pt x="56" y="237"/>
                      <a:pt x="52" y="246"/>
                    </a:cubicBezTo>
                    <a:cubicBezTo>
                      <a:pt x="48" y="256"/>
                      <a:pt x="33" y="264"/>
                      <a:pt x="35" y="279"/>
                    </a:cubicBezTo>
                    <a:cubicBezTo>
                      <a:pt x="36" y="293"/>
                      <a:pt x="44" y="304"/>
                      <a:pt x="44" y="304"/>
                    </a:cubicBezTo>
                    <a:cubicBezTo>
                      <a:pt x="39" y="315"/>
                      <a:pt x="39" y="315"/>
                      <a:pt x="39" y="315"/>
                    </a:cubicBezTo>
                    <a:cubicBezTo>
                      <a:pt x="39" y="315"/>
                      <a:pt x="39" y="316"/>
                      <a:pt x="39" y="318"/>
                    </a:cubicBezTo>
                    <a:cubicBezTo>
                      <a:pt x="44" y="322"/>
                      <a:pt x="47" y="326"/>
                      <a:pt x="47" y="326"/>
                    </a:cubicBezTo>
                    <a:cubicBezTo>
                      <a:pt x="62" y="339"/>
                      <a:pt x="62" y="339"/>
                      <a:pt x="62" y="339"/>
                    </a:cubicBezTo>
                    <a:cubicBezTo>
                      <a:pt x="63" y="351"/>
                      <a:pt x="63" y="351"/>
                      <a:pt x="63" y="351"/>
                    </a:cubicBezTo>
                    <a:cubicBezTo>
                      <a:pt x="76" y="359"/>
                      <a:pt x="76" y="359"/>
                      <a:pt x="76" y="359"/>
                    </a:cubicBezTo>
                    <a:cubicBezTo>
                      <a:pt x="68" y="376"/>
                      <a:pt x="68" y="376"/>
                      <a:pt x="68" y="376"/>
                    </a:cubicBezTo>
                    <a:cubicBezTo>
                      <a:pt x="62" y="369"/>
                      <a:pt x="62" y="369"/>
                      <a:pt x="62" y="369"/>
                    </a:cubicBezTo>
                    <a:cubicBezTo>
                      <a:pt x="61" y="377"/>
                      <a:pt x="58" y="388"/>
                      <a:pt x="52" y="392"/>
                    </a:cubicBezTo>
                    <a:cubicBezTo>
                      <a:pt x="43" y="399"/>
                      <a:pt x="33" y="409"/>
                      <a:pt x="33" y="409"/>
                    </a:cubicBezTo>
                    <a:cubicBezTo>
                      <a:pt x="40" y="426"/>
                      <a:pt x="40" y="426"/>
                      <a:pt x="40" y="426"/>
                    </a:cubicBezTo>
                    <a:cubicBezTo>
                      <a:pt x="39" y="427"/>
                      <a:pt x="39" y="427"/>
                      <a:pt x="39" y="427"/>
                    </a:cubicBezTo>
                    <a:cubicBezTo>
                      <a:pt x="50" y="449"/>
                      <a:pt x="50" y="449"/>
                      <a:pt x="50" y="449"/>
                    </a:cubicBezTo>
                    <a:cubicBezTo>
                      <a:pt x="64" y="449"/>
                      <a:pt x="64" y="449"/>
                      <a:pt x="64" y="449"/>
                    </a:cubicBezTo>
                    <a:cubicBezTo>
                      <a:pt x="73" y="501"/>
                      <a:pt x="73" y="501"/>
                      <a:pt x="73" y="501"/>
                    </a:cubicBezTo>
                    <a:cubicBezTo>
                      <a:pt x="73" y="501"/>
                      <a:pt x="109" y="513"/>
                      <a:pt x="105" y="525"/>
                    </a:cubicBezTo>
                    <a:cubicBezTo>
                      <a:pt x="101" y="537"/>
                      <a:pt x="93" y="543"/>
                      <a:pt x="93" y="543"/>
                    </a:cubicBezTo>
                    <a:cubicBezTo>
                      <a:pt x="104" y="554"/>
                      <a:pt x="104" y="554"/>
                      <a:pt x="104" y="554"/>
                    </a:cubicBezTo>
                    <a:cubicBezTo>
                      <a:pt x="104" y="554"/>
                      <a:pt x="89" y="566"/>
                      <a:pt x="93" y="575"/>
                    </a:cubicBezTo>
                    <a:cubicBezTo>
                      <a:pt x="97" y="585"/>
                      <a:pt x="102" y="588"/>
                      <a:pt x="102" y="588"/>
                    </a:cubicBezTo>
                    <a:cubicBezTo>
                      <a:pt x="102" y="605"/>
                      <a:pt x="102" y="605"/>
                      <a:pt x="102" y="605"/>
                    </a:cubicBezTo>
                    <a:cubicBezTo>
                      <a:pt x="102" y="605"/>
                      <a:pt x="131" y="616"/>
                      <a:pt x="134" y="627"/>
                    </a:cubicBezTo>
                    <a:cubicBezTo>
                      <a:pt x="136" y="638"/>
                      <a:pt x="134" y="668"/>
                      <a:pt x="134" y="668"/>
                    </a:cubicBezTo>
                    <a:cubicBezTo>
                      <a:pt x="147" y="684"/>
                      <a:pt x="147" y="684"/>
                      <a:pt x="147" y="684"/>
                    </a:cubicBezTo>
                    <a:cubicBezTo>
                      <a:pt x="147" y="684"/>
                      <a:pt x="146" y="710"/>
                      <a:pt x="158" y="711"/>
                    </a:cubicBezTo>
                    <a:cubicBezTo>
                      <a:pt x="170" y="712"/>
                      <a:pt x="188" y="708"/>
                      <a:pt x="188" y="708"/>
                    </a:cubicBezTo>
                    <a:cubicBezTo>
                      <a:pt x="188" y="689"/>
                      <a:pt x="188" y="689"/>
                      <a:pt x="188" y="689"/>
                    </a:cubicBezTo>
                    <a:cubicBezTo>
                      <a:pt x="199" y="691"/>
                      <a:pt x="199" y="691"/>
                      <a:pt x="199" y="691"/>
                    </a:cubicBezTo>
                    <a:cubicBezTo>
                      <a:pt x="199" y="677"/>
                      <a:pt x="199" y="677"/>
                      <a:pt x="199" y="677"/>
                    </a:cubicBezTo>
                    <a:cubicBezTo>
                      <a:pt x="214" y="674"/>
                      <a:pt x="214" y="674"/>
                      <a:pt x="214" y="674"/>
                    </a:cubicBezTo>
                    <a:cubicBezTo>
                      <a:pt x="222" y="657"/>
                      <a:pt x="222" y="657"/>
                      <a:pt x="222" y="657"/>
                    </a:cubicBezTo>
                    <a:cubicBezTo>
                      <a:pt x="222" y="657"/>
                      <a:pt x="227" y="666"/>
                      <a:pt x="241" y="670"/>
                    </a:cubicBezTo>
                    <a:cubicBezTo>
                      <a:pt x="254" y="674"/>
                      <a:pt x="296" y="673"/>
                      <a:pt x="296" y="673"/>
                    </a:cubicBezTo>
                    <a:cubicBezTo>
                      <a:pt x="318" y="707"/>
                      <a:pt x="318" y="707"/>
                      <a:pt x="318" y="707"/>
                    </a:cubicBezTo>
                    <a:cubicBezTo>
                      <a:pt x="323" y="670"/>
                      <a:pt x="323" y="670"/>
                      <a:pt x="323" y="670"/>
                    </a:cubicBezTo>
                    <a:cubicBezTo>
                      <a:pt x="374" y="664"/>
                      <a:pt x="374" y="664"/>
                      <a:pt x="374" y="664"/>
                    </a:cubicBezTo>
                    <a:cubicBezTo>
                      <a:pt x="397" y="681"/>
                      <a:pt x="397" y="681"/>
                      <a:pt x="397" y="681"/>
                    </a:cubicBezTo>
                    <a:cubicBezTo>
                      <a:pt x="397" y="681"/>
                      <a:pt x="405" y="613"/>
                      <a:pt x="403" y="607"/>
                    </a:cubicBezTo>
                    <a:cubicBezTo>
                      <a:pt x="402" y="600"/>
                      <a:pt x="387" y="578"/>
                      <a:pt x="394" y="574"/>
                    </a:cubicBezTo>
                    <a:cubicBezTo>
                      <a:pt x="401" y="570"/>
                      <a:pt x="413" y="558"/>
                      <a:pt x="413" y="558"/>
                    </a:cubicBezTo>
                    <a:cubicBezTo>
                      <a:pt x="417" y="539"/>
                      <a:pt x="417" y="539"/>
                      <a:pt x="417" y="539"/>
                    </a:cubicBezTo>
                    <a:cubicBezTo>
                      <a:pt x="486" y="527"/>
                      <a:pt x="486" y="527"/>
                      <a:pt x="486" y="527"/>
                    </a:cubicBezTo>
                    <a:cubicBezTo>
                      <a:pt x="539" y="518"/>
                      <a:pt x="539" y="518"/>
                      <a:pt x="539" y="518"/>
                    </a:cubicBezTo>
                    <a:cubicBezTo>
                      <a:pt x="574" y="546"/>
                      <a:pt x="574" y="546"/>
                      <a:pt x="574" y="546"/>
                    </a:cubicBezTo>
                    <a:cubicBezTo>
                      <a:pt x="587" y="569"/>
                      <a:pt x="587" y="569"/>
                      <a:pt x="587" y="569"/>
                    </a:cubicBezTo>
                    <a:cubicBezTo>
                      <a:pt x="587" y="563"/>
                      <a:pt x="602" y="555"/>
                      <a:pt x="602" y="555"/>
                    </a:cubicBezTo>
                    <a:cubicBezTo>
                      <a:pt x="602" y="555"/>
                      <a:pt x="590" y="545"/>
                      <a:pt x="588" y="540"/>
                    </a:cubicBezTo>
                    <a:cubicBezTo>
                      <a:pt x="586" y="535"/>
                      <a:pt x="603" y="508"/>
                      <a:pt x="603" y="508"/>
                    </a:cubicBezTo>
                    <a:lnTo>
                      <a:pt x="599" y="50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Freeform 343">
                <a:extLst>
                  <a:ext uri="{FF2B5EF4-FFF2-40B4-BE49-F238E27FC236}">
                    <a16:creationId xmlns:a16="http://schemas.microsoft.com/office/drawing/2014/main" id="{87183D22-9D2B-B19D-9332-879CDE81E4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16" y="-15753"/>
                <a:ext cx="1885" cy="1056"/>
              </a:xfrm>
              <a:custGeom>
                <a:avLst/>
                <a:gdLst>
                  <a:gd name="T0" fmla="*/ 764 w 798"/>
                  <a:gd name="T1" fmla="*/ 243 h 447"/>
                  <a:gd name="T2" fmla="*/ 745 w 798"/>
                  <a:gd name="T3" fmla="*/ 230 h 447"/>
                  <a:gd name="T4" fmla="*/ 721 w 798"/>
                  <a:gd name="T5" fmla="*/ 212 h 447"/>
                  <a:gd name="T6" fmla="*/ 712 w 798"/>
                  <a:gd name="T7" fmla="*/ 222 h 447"/>
                  <a:gd name="T8" fmla="*/ 689 w 798"/>
                  <a:gd name="T9" fmla="*/ 229 h 447"/>
                  <a:gd name="T10" fmla="*/ 660 w 798"/>
                  <a:gd name="T11" fmla="*/ 212 h 447"/>
                  <a:gd name="T12" fmla="*/ 690 w 798"/>
                  <a:gd name="T13" fmla="*/ 175 h 447"/>
                  <a:gd name="T14" fmla="*/ 653 w 798"/>
                  <a:gd name="T15" fmla="*/ 185 h 447"/>
                  <a:gd name="T16" fmla="*/ 623 w 798"/>
                  <a:gd name="T17" fmla="*/ 208 h 447"/>
                  <a:gd name="T18" fmla="*/ 596 w 798"/>
                  <a:gd name="T19" fmla="*/ 236 h 447"/>
                  <a:gd name="T20" fmla="*/ 573 w 798"/>
                  <a:gd name="T21" fmla="*/ 259 h 447"/>
                  <a:gd name="T22" fmla="*/ 509 w 798"/>
                  <a:gd name="T23" fmla="*/ 228 h 447"/>
                  <a:gd name="T24" fmla="*/ 469 w 798"/>
                  <a:gd name="T25" fmla="*/ 188 h 447"/>
                  <a:gd name="T26" fmla="*/ 441 w 798"/>
                  <a:gd name="T27" fmla="*/ 136 h 447"/>
                  <a:gd name="T28" fmla="*/ 379 w 798"/>
                  <a:gd name="T29" fmla="*/ 105 h 447"/>
                  <a:gd name="T30" fmla="*/ 272 w 798"/>
                  <a:gd name="T31" fmla="*/ 108 h 447"/>
                  <a:gd name="T32" fmla="*/ 177 w 798"/>
                  <a:gd name="T33" fmla="*/ 38 h 447"/>
                  <a:gd name="T34" fmla="*/ 174 w 798"/>
                  <a:gd name="T35" fmla="*/ 75 h 447"/>
                  <a:gd name="T36" fmla="*/ 149 w 798"/>
                  <a:gd name="T37" fmla="*/ 55 h 447"/>
                  <a:gd name="T38" fmla="*/ 145 w 798"/>
                  <a:gd name="T39" fmla="*/ 23 h 447"/>
                  <a:gd name="T40" fmla="*/ 106 w 798"/>
                  <a:gd name="T41" fmla="*/ 20 h 447"/>
                  <a:gd name="T42" fmla="*/ 116 w 798"/>
                  <a:gd name="T43" fmla="*/ 45 h 447"/>
                  <a:gd name="T44" fmla="*/ 92 w 798"/>
                  <a:gd name="T45" fmla="*/ 37 h 447"/>
                  <a:gd name="T46" fmla="*/ 103 w 798"/>
                  <a:gd name="T47" fmla="*/ 3 h 447"/>
                  <a:gd name="T48" fmla="*/ 0 w 798"/>
                  <a:gd name="T49" fmla="*/ 31 h 447"/>
                  <a:gd name="T50" fmla="*/ 37 w 798"/>
                  <a:gd name="T51" fmla="*/ 217 h 447"/>
                  <a:gd name="T52" fmla="*/ 92 w 798"/>
                  <a:gd name="T53" fmla="*/ 224 h 447"/>
                  <a:gd name="T54" fmla="*/ 112 w 798"/>
                  <a:gd name="T55" fmla="*/ 175 h 447"/>
                  <a:gd name="T56" fmla="*/ 139 w 798"/>
                  <a:gd name="T57" fmla="*/ 169 h 447"/>
                  <a:gd name="T58" fmla="*/ 139 w 798"/>
                  <a:gd name="T59" fmla="*/ 152 h 447"/>
                  <a:gd name="T60" fmla="*/ 155 w 798"/>
                  <a:gd name="T61" fmla="*/ 161 h 447"/>
                  <a:gd name="T62" fmla="*/ 169 w 798"/>
                  <a:gd name="T63" fmla="*/ 168 h 447"/>
                  <a:gd name="T64" fmla="*/ 201 w 798"/>
                  <a:gd name="T65" fmla="*/ 173 h 447"/>
                  <a:gd name="T66" fmla="*/ 219 w 798"/>
                  <a:gd name="T67" fmla="*/ 197 h 447"/>
                  <a:gd name="T68" fmla="*/ 243 w 798"/>
                  <a:gd name="T69" fmla="*/ 227 h 447"/>
                  <a:gd name="T70" fmla="*/ 279 w 798"/>
                  <a:gd name="T71" fmla="*/ 225 h 447"/>
                  <a:gd name="T72" fmla="*/ 312 w 798"/>
                  <a:gd name="T73" fmla="*/ 256 h 447"/>
                  <a:gd name="T74" fmla="*/ 336 w 798"/>
                  <a:gd name="T75" fmla="*/ 293 h 447"/>
                  <a:gd name="T76" fmla="*/ 381 w 798"/>
                  <a:gd name="T77" fmla="*/ 319 h 447"/>
                  <a:gd name="T78" fmla="*/ 417 w 798"/>
                  <a:gd name="T79" fmla="*/ 348 h 447"/>
                  <a:gd name="T80" fmla="*/ 444 w 798"/>
                  <a:gd name="T81" fmla="*/ 357 h 447"/>
                  <a:gd name="T82" fmla="*/ 476 w 798"/>
                  <a:gd name="T83" fmla="*/ 376 h 447"/>
                  <a:gd name="T84" fmla="*/ 516 w 798"/>
                  <a:gd name="T85" fmla="*/ 387 h 447"/>
                  <a:gd name="T86" fmla="*/ 548 w 798"/>
                  <a:gd name="T87" fmla="*/ 425 h 447"/>
                  <a:gd name="T88" fmla="*/ 563 w 798"/>
                  <a:gd name="T89" fmla="*/ 437 h 447"/>
                  <a:gd name="T90" fmla="*/ 580 w 798"/>
                  <a:gd name="T91" fmla="*/ 445 h 447"/>
                  <a:gd name="T92" fmla="*/ 596 w 798"/>
                  <a:gd name="T93" fmla="*/ 440 h 447"/>
                  <a:gd name="T94" fmla="*/ 603 w 798"/>
                  <a:gd name="T95" fmla="*/ 445 h 447"/>
                  <a:gd name="T96" fmla="*/ 622 w 798"/>
                  <a:gd name="T97" fmla="*/ 397 h 447"/>
                  <a:gd name="T98" fmla="*/ 603 w 798"/>
                  <a:gd name="T99" fmla="*/ 353 h 447"/>
                  <a:gd name="T100" fmla="*/ 575 w 798"/>
                  <a:gd name="T101" fmla="*/ 339 h 447"/>
                  <a:gd name="T102" fmla="*/ 567 w 798"/>
                  <a:gd name="T103" fmla="*/ 321 h 447"/>
                  <a:gd name="T104" fmla="*/ 610 w 798"/>
                  <a:gd name="T105" fmla="*/ 305 h 447"/>
                  <a:gd name="T106" fmla="*/ 607 w 798"/>
                  <a:gd name="T107" fmla="*/ 282 h 447"/>
                  <a:gd name="T108" fmla="*/ 626 w 798"/>
                  <a:gd name="T109" fmla="*/ 264 h 447"/>
                  <a:gd name="T110" fmla="*/ 652 w 798"/>
                  <a:gd name="T111" fmla="*/ 260 h 447"/>
                  <a:gd name="T112" fmla="*/ 694 w 798"/>
                  <a:gd name="T113" fmla="*/ 251 h 447"/>
                  <a:gd name="T114" fmla="*/ 701 w 798"/>
                  <a:gd name="T115" fmla="*/ 283 h 447"/>
                  <a:gd name="T116" fmla="*/ 741 w 798"/>
                  <a:gd name="T117" fmla="*/ 286 h 447"/>
                  <a:gd name="T118" fmla="*/ 766 w 798"/>
                  <a:gd name="T119" fmla="*/ 271 h 447"/>
                  <a:gd name="T120" fmla="*/ 788 w 798"/>
                  <a:gd name="T121" fmla="*/ 254 h 4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98" h="447">
                    <a:moveTo>
                      <a:pt x="769" y="248"/>
                    </a:moveTo>
                    <a:cubicBezTo>
                      <a:pt x="764" y="243"/>
                      <a:pt x="764" y="243"/>
                      <a:pt x="764" y="243"/>
                    </a:cubicBezTo>
                    <a:cubicBezTo>
                      <a:pt x="751" y="241"/>
                      <a:pt x="751" y="241"/>
                      <a:pt x="751" y="241"/>
                    </a:cubicBezTo>
                    <a:cubicBezTo>
                      <a:pt x="745" y="230"/>
                      <a:pt x="745" y="230"/>
                      <a:pt x="745" y="230"/>
                    </a:cubicBezTo>
                    <a:cubicBezTo>
                      <a:pt x="732" y="230"/>
                      <a:pt x="732" y="230"/>
                      <a:pt x="732" y="230"/>
                    </a:cubicBezTo>
                    <a:cubicBezTo>
                      <a:pt x="721" y="212"/>
                      <a:pt x="721" y="212"/>
                      <a:pt x="721" y="212"/>
                    </a:cubicBezTo>
                    <a:cubicBezTo>
                      <a:pt x="721" y="222"/>
                      <a:pt x="721" y="222"/>
                      <a:pt x="721" y="222"/>
                    </a:cubicBezTo>
                    <a:cubicBezTo>
                      <a:pt x="712" y="222"/>
                      <a:pt x="712" y="222"/>
                      <a:pt x="712" y="222"/>
                    </a:cubicBezTo>
                    <a:cubicBezTo>
                      <a:pt x="713" y="231"/>
                      <a:pt x="713" y="231"/>
                      <a:pt x="713" y="231"/>
                    </a:cubicBezTo>
                    <a:cubicBezTo>
                      <a:pt x="713" y="231"/>
                      <a:pt x="694" y="233"/>
                      <a:pt x="689" y="229"/>
                    </a:cubicBezTo>
                    <a:cubicBezTo>
                      <a:pt x="684" y="225"/>
                      <a:pt x="683" y="220"/>
                      <a:pt x="683" y="220"/>
                    </a:cubicBezTo>
                    <a:cubicBezTo>
                      <a:pt x="660" y="212"/>
                      <a:pt x="660" y="212"/>
                      <a:pt x="660" y="212"/>
                    </a:cubicBezTo>
                    <a:cubicBezTo>
                      <a:pt x="660" y="212"/>
                      <a:pt x="696" y="183"/>
                      <a:pt x="694" y="178"/>
                    </a:cubicBezTo>
                    <a:cubicBezTo>
                      <a:pt x="693" y="177"/>
                      <a:pt x="692" y="176"/>
                      <a:pt x="690" y="175"/>
                    </a:cubicBezTo>
                    <a:cubicBezTo>
                      <a:pt x="671" y="184"/>
                      <a:pt x="671" y="184"/>
                      <a:pt x="671" y="184"/>
                    </a:cubicBezTo>
                    <a:cubicBezTo>
                      <a:pt x="653" y="185"/>
                      <a:pt x="653" y="185"/>
                      <a:pt x="653" y="185"/>
                    </a:cubicBezTo>
                    <a:cubicBezTo>
                      <a:pt x="645" y="203"/>
                      <a:pt x="645" y="203"/>
                      <a:pt x="645" y="203"/>
                    </a:cubicBezTo>
                    <a:cubicBezTo>
                      <a:pt x="645" y="203"/>
                      <a:pt x="633" y="205"/>
                      <a:pt x="623" y="208"/>
                    </a:cubicBezTo>
                    <a:cubicBezTo>
                      <a:pt x="612" y="211"/>
                      <a:pt x="613" y="229"/>
                      <a:pt x="613" y="229"/>
                    </a:cubicBezTo>
                    <a:cubicBezTo>
                      <a:pt x="613" y="229"/>
                      <a:pt x="605" y="229"/>
                      <a:pt x="596" y="236"/>
                    </a:cubicBezTo>
                    <a:cubicBezTo>
                      <a:pt x="587" y="243"/>
                      <a:pt x="595" y="267"/>
                      <a:pt x="595" y="267"/>
                    </a:cubicBezTo>
                    <a:cubicBezTo>
                      <a:pt x="595" y="267"/>
                      <a:pt x="584" y="261"/>
                      <a:pt x="573" y="259"/>
                    </a:cubicBezTo>
                    <a:cubicBezTo>
                      <a:pt x="563" y="256"/>
                      <a:pt x="580" y="243"/>
                      <a:pt x="573" y="233"/>
                    </a:cubicBezTo>
                    <a:cubicBezTo>
                      <a:pt x="567" y="224"/>
                      <a:pt x="520" y="233"/>
                      <a:pt x="509" y="228"/>
                    </a:cubicBezTo>
                    <a:cubicBezTo>
                      <a:pt x="499" y="223"/>
                      <a:pt x="497" y="199"/>
                      <a:pt x="488" y="188"/>
                    </a:cubicBezTo>
                    <a:cubicBezTo>
                      <a:pt x="479" y="177"/>
                      <a:pt x="479" y="191"/>
                      <a:pt x="469" y="188"/>
                    </a:cubicBezTo>
                    <a:cubicBezTo>
                      <a:pt x="460" y="185"/>
                      <a:pt x="467" y="137"/>
                      <a:pt x="461" y="136"/>
                    </a:cubicBezTo>
                    <a:cubicBezTo>
                      <a:pt x="456" y="135"/>
                      <a:pt x="441" y="136"/>
                      <a:pt x="441" y="136"/>
                    </a:cubicBezTo>
                    <a:cubicBezTo>
                      <a:pt x="441" y="136"/>
                      <a:pt x="411" y="93"/>
                      <a:pt x="404" y="93"/>
                    </a:cubicBezTo>
                    <a:cubicBezTo>
                      <a:pt x="397" y="93"/>
                      <a:pt x="379" y="105"/>
                      <a:pt x="379" y="105"/>
                    </a:cubicBezTo>
                    <a:cubicBezTo>
                      <a:pt x="379" y="105"/>
                      <a:pt x="341" y="101"/>
                      <a:pt x="325" y="101"/>
                    </a:cubicBezTo>
                    <a:cubicBezTo>
                      <a:pt x="309" y="101"/>
                      <a:pt x="272" y="108"/>
                      <a:pt x="272" y="108"/>
                    </a:cubicBezTo>
                    <a:cubicBezTo>
                      <a:pt x="223" y="60"/>
                      <a:pt x="223" y="60"/>
                      <a:pt x="223" y="60"/>
                    </a:cubicBezTo>
                    <a:cubicBezTo>
                      <a:pt x="177" y="38"/>
                      <a:pt x="177" y="38"/>
                      <a:pt x="177" y="38"/>
                    </a:cubicBezTo>
                    <a:cubicBezTo>
                      <a:pt x="181" y="47"/>
                      <a:pt x="186" y="56"/>
                      <a:pt x="183" y="61"/>
                    </a:cubicBezTo>
                    <a:cubicBezTo>
                      <a:pt x="178" y="70"/>
                      <a:pt x="174" y="75"/>
                      <a:pt x="174" y="75"/>
                    </a:cubicBezTo>
                    <a:cubicBezTo>
                      <a:pt x="174" y="75"/>
                      <a:pt x="162" y="76"/>
                      <a:pt x="154" y="70"/>
                    </a:cubicBezTo>
                    <a:cubicBezTo>
                      <a:pt x="146" y="64"/>
                      <a:pt x="149" y="55"/>
                      <a:pt x="149" y="55"/>
                    </a:cubicBezTo>
                    <a:cubicBezTo>
                      <a:pt x="142" y="36"/>
                      <a:pt x="142" y="36"/>
                      <a:pt x="142" y="36"/>
                    </a:cubicBezTo>
                    <a:cubicBezTo>
                      <a:pt x="145" y="23"/>
                      <a:pt x="145" y="23"/>
                      <a:pt x="145" y="23"/>
                    </a:cubicBezTo>
                    <a:cubicBezTo>
                      <a:pt x="112" y="7"/>
                      <a:pt x="112" y="7"/>
                      <a:pt x="112" y="7"/>
                    </a:cubicBezTo>
                    <a:cubicBezTo>
                      <a:pt x="106" y="20"/>
                      <a:pt x="106" y="20"/>
                      <a:pt x="106" y="20"/>
                    </a:cubicBezTo>
                    <a:cubicBezTo>
                      <a:pt x="106" y="20"/>
                      <a:pt x="119" y="28"/>
                      <a:pt x="119" y="37"/>
                    </a:cubicBezTo>
                    <a:cubicBezTo>
                      <a:pt x="119" y="46"/>
                      <a:pt x="116" y="45"/>
                      <a:pt x="116" y="45"/>
                    </a:cubicBezTo>
                    <a:cubicBezTo>
                      <a:pt x="116" y="45"/>
                      <a:pt x="117" y="55"/>
                      <a:pt x="106" y="57"/>
                    </a:cubicBezTo>
                    <a:cubicBezTo>
                      <a:pt x="95" y="59"/>
                      <a:pt x="98" y="39"/>
                      <a:pt x="92" y="37"/>
                    </a:cubicBezTo>
                    <a:cubicBezTo>
                      <a:pt x="86" y="35"/>
                      <a:pt x="99" y="21"/>
                      <a:pt x="99" y="21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35" y="218"/>
                      <a:pt x="35" y="218"/>
                      <a:pt x="35" y="218"/>
                    </a:cubicBezTo>
                    <a:cubicBezTo>
                      <a:pt x="36" y="218"/>
                      <a:pt x="36" y="217"/>
                      <a:pt x="37" y="217"/>
                    </a:cubicBezTo>
                    <a:cubicBezTo>
                      <a:pt x="44" y="217"/>
                      <a:pt x="48" y="224"/>
                      <a:pt x="48" y="224"/>
                    </a:cubicBezTo>
                    <a:cubicBezTo>
                      <a:pt x="92" y="224"/>
                      <a:pt x="92" y="224"/>
                      <a:pt x="92" y="224"/>
                    </a:cubicBezTo>
                    <a:cubicBezTo>
                      <a:pt x="92" y="224"/>
                      <a:pt x="77" y="208"/>
                      <a:pt x="79" y="195"/>
                    </a:cubicBezTo>
                    <a:cubicBezTo>
                      <a:pt x="80" y="181"/>
                      <a:pt x="112" y="175"/>
                      <a:pt x="112" y="175"/>
                    </a:cubicBezTo>
                    <a:cubicBezTo>
                      <a:pt x="112" y="175"/>
                      <a:pt x="112" y="164"/>
                      <a:pt x="116" y="163"/>
                    </a:cubicBezTo>
                    <a:cubicBezTo>
                      <a:pt x="120" y="161"/>
                      <a:pt x="139" y="169"/>
                      <a:pt x="139" y="169"/>
                    </a:cubicBezTo>
                    <a:cubicBezTo>
                      <a:pt x="119" y="151"/>
                      <a:pt x="119" y="151"/>
                      <a:pt x="119" y="151"/>
                    </a:cubicBezTo>
                    <a:cubicBezTo>
                      <a:pt x="139" y="152"/>
                      <a:pt x="139" y="152"/>
                      <a:pt x="139" y="152"/>
                    </a:cubicBezTo>
                    <a:cubicBezTo>
                      <a:pt x="143" y="145"/>
                      <a:pt x="143" y="145"/>
                      <a:pt x="143" y="145"/>
                    </a:cubicBezTo>
                    <a:cubicBezTo>
                      <a:pt x="155" y="161"/>
                      <a:pt x="155" y="161"/>
                      <a:pt x="155" y="161"/>
                    </a:cubicBezTo>
                    <a:cubicBezTo>
                      <a:pt x="171" y="160"/>
                      <a:pt x="171" y="160"/>
                      <a:pt x="171" y="160"/>
                    </a:cubicBezTo>
                    <a:cubicBezTo>
                      <a:pt x="169" y="168"/>
                      <a:pt x="169" y="168"/>
                      <a:pt x="169" y="168"/>
                    </a:cubicBezTo>
                    <a:cubicBezTo>
                      <a:pt x="179" y="172"/>
                      <a:pt x="179" y="172"/>
                      <a:pt x="179" y="172"/>
                    </a:cubicBezTo>
                    <a:cubicBezTo>
                      <a:pt x="179" y="172"/>
                      <a:pt x="192" y="169"/>
                      <a:pt x="201" y="173"/>
                    </a:cubicBezTo>
                    <a:cubicBezTo>
                      <a:pt x="211" y="177"/>
                      <a:pt x="209" y="192"/>
                      <a:pt x="209" y="192"/>
                    </a:cubicBezTo>
                    <a:cubicBezTo>
                      <a:pt x="219" y="197"/>
                      <a:pt x="219" y="197"/>
                      <a:pt x="219" y="197"/>
                    </a:cubicBezTo>
                    <a:cubicBezTo>
                      <a:pt x="219" y="197"/>
                      <a:pt x="207" y="209"/>
                      <a:pt x="212" y="219"/>
                    </a:cubicBezTo>
                    <a:cubicBezTo>
                      <a:pt x="217" y="228"/>
                      <a:pt x="243" y="227"/>
                      <a:pt x="243" y="227"/>
                    </a:cubicBezTo>
                    <a:cubicBezTo>
                      <a:pt x="279" y="231"/>
                      <a:pt x="279" y="231"/>
                      <a:pt x="279" y="231"/>
                    </a:cubicBezTo>
                    <a:cubicBezTo>
                      <a:pt x="279" y="225"/>
                      <a:pt x="279" y="225"/>
                      <a:pt x="279" y="225"/>
                    </a:cubicBezTo>
                    <a:cubicBezTo>
                      <a:pt x="303" y="237"/>
                      <a:pt x="303" y="237"/>
                      <a:pt x="303" y="237"/>
                    </a:cubicBezTo>
                    <a:cubicBezTo>
                      <a:pt x="312" y="256"/>
                      <a:pt x="312" y="256"/>
                      <a:pt x="312" y="256"/>
                    </a:cubicBezTo>
                    <a:cubicBezTo>
                      <a:pt x="325" y="271"/>
                      <a:pt x="325" y="271"/>
                      <a:pt x="325" y="271"/>
                    </a:cubicBezTo>
                    <a:cubicBezTo>
                      <a:pt x="325" y="271"/>
                      <a:pt x="333" y="283"/>
                      <a:pt x="336" y="293"/>
                    </a:cubicBezTo>
                    <a:cubicBezTo>
                      <a:pt x="339" y="304"/>
                      <a:pt x="351" y="309"/>
                      <a:pt x="357" y="312"/>
                    </a:cubicBezTo>
                    <a:cubicBezTo>
                      <a:pt x="364" y="315"/>
                      <a:pt x="377" y="317"/>
                      <a:pt x="381" y="319"/>
                    </a:cubicBezTo>
                    <a:cubicBezTo>
                      <a:pt x="385" y="320"/>
                      <a:pt x="397" y="336"/>
                      <a:pt x="397" y="336"/>
                    </a:cubicBezTo>
                    <a:cubicBezTo>
                      <a:pt x="417" y="348"/>
                      <a:pt x="417" y="348"/>
                      <a:pt x="417" y="348"/>
                    </a:cubicBezTo>
                    <a:cubicBezTo>
                      <a:pt x="435" y="349"/>
                      <a:pt x="435" y="349"/>
                      <a:pt x="435" y="349"/>
                    </a:cubicBezTo>
                    <a:cubicBezTo>
                      <a:pt x="444" y="357"/>
                      <a:pt x="444" y="357"/>
                      <a:pt x="444" y="357"/>
                    </a:cubicBezTo>
                    <a:cubicBezTo>
                      <a:pt x="455" y="360"/>
                      <a:pt x="455" y="360"/>
                      <a:pt x="455" y="360"/>
                    </a:cubicBezTo>
                    <a:cubicBezTo>
                      <a:pt x="455" y="360"/>
                      <a:pt x="469" y="371"/>
                      <a:pt x="476" y="376"/>
                    </a:cubicBezTo>
                    <a:cubicBezTo>
                      <a:pt x="483" y="381"/>
                      <a:pt x="501" y="389"/>
                      <a:pt x="501" y="389"/>
                    </a:cubicBezTo>
                    <a:cubicBezTo>
                      <a:pt x="516" y="387"/>
                      <a:pt x="516" y="387"/>
                      <a:pt x="516" y="387"/>
                    </a:cubicBezTo>
                    <a:cubicBezTo>
                      <a:pt x="549" y="405"/>
                      <a:pt x="549" y="405"/>
                      <a:pt x="549" y="405"/>
                    </a:cubicBezTo>
                    <a:cubicBezTo>
                      <a:pt x="549" y="405"/>
                      <a:pt x="537" y="417"/>
                      <a:pt x="548" y="425"/>
                    </a:cubicBezTo>
                    <a:cubicBezTo>
                      <a:pt x="554" y="430"/>
                      <a:pt x="555" y="434"/>
                      <a:pt x="555" y="437"/>
                    </a:cubicBezTo>
                    <a:cubicBezTo>
                      <a:pt x="563" y="437"/>
                      <a:pt x="563" y="437"/>
                      <a:pt x="563" y="437"/>
                    </a:cubicBezTo>
                    <a:cubicBezTo>
                      <a:pt x="571" y="431"/>
                      <a:pt x="571" y="431"/>
                      <a:pt x="571" y="431"/>
                    </a:cubicBezTo>
                    <a:cubicBezTo>
                      <a:pt x="580" y="445"/>
                      <a:pt x="580" y="445"/>
                      <a:pt x="580" y="445"/>
                    </a:cubicBezTo>
                    <a:cubicBezTo>
                      <a:pt x="591" y="440"/>
                      <a:pt x="591" y="440"/>
                      <a:pt x="591" y="440"/>
                    </a:cubicBezTo>
                    <a:cubicBezTo>
                      <a:pt x="596" y="440"/>
                      <a:pt x="596" y="440"/>
                      <a:pt x="596" y="440"/>
                    </a:cubicBezTo>
                    <a:cubicBezTo>
                      <a:pt x="596" y="440"/>
                      <a:pt x="600" y="443"/>
                      <a:pt x="605" y="447"/>
                    </a:cubicBezTo>
                    <a:cubicBezTo>
                      <a:pt x="604" y="446"/>
                      <a:pt x="603" y="446"/>
                      <a:pt x="603" y="445"/>
                    </a:cubicBezTo>
                    <a:cubicBezTo>
                      <a:pt x="602" y="439"/>
                      <a:pt x="601" y="430"/>
                      <a:pt x="605" y="426"/>
                    </a:cubicBezTo>
                    <a:cubicBezTo>
                      <a:pt x="612" y="418"/>
                      <a:pt x="622" y="408"/>
                      <a:pt x="622" y="397"/>
                    </a:cubicBezTo>
                    <a:cubicBezTo>
                      <a:pt x="622" y="386"/>
                      <a:pt x="609" y="387"/>
                      <a:pt x="603" y="377"/>
                    </a:cubicBezTo>
                    <a:cubicBezTo>
                      <a:pt x="597" y="367"/>
                      <a:pt x="608" y="358"/>
                      <a:pt x="603" y="353"/>
                    </a:cubicBezTo>
                    <a:cubicBezTo>
                      <a:pt x="598" y="348"/>
                      <a:pt x="582" y="347"/>
                      <a:pt x="582" y="347"/>
                    </a:cubicBezTo>
                    <a:cubicBezTo>
                      <a:pt x="575" y="339"/>
                      <a:pt x="575" y="339"/>
                      <a:pt x="575" y="339"/>
                    </a:cubicBezTo>
                    <a:cubicBezTo>
                      <a:pt x="561" y="336"/>
                      <a:pt x="561" y="336"/>
                      <a:pt x="561" y="336"/>
                    </a:cubicBezTo>
                    <a:cubicBezTo>
                      <a:pt x="561" y="336"/>
                      <a:pt x="561" y="326"/>
                      <a:pt x="567" y="321"/>
                    </a:cubicBezTo>
                    <a:cubicBezTo>
                      <a:pt x="573" y="316"/>
                      <a:pt x="592" y="328"/>
                      <a:pt x="607" y="319"/>
                    </a:cubicBezTo>
                    <a:cubicBezTo>
                      <a:pt x="622" y="310"/>
                      <a:pt x="610" y="305"/>
                      <a:pt x="610" y="305"/>
                    </a:cubicBezTo>
                    <a:cubicBezTo>
                      <a:pt x="620" y="296"/>
                      <a:pt x="620" y="296"/>
                      <a:pt x="620" y="296"/>
                    </a:cubicBezTo>
                    <a:cubicBezTo>
                      <a:pt x="607" y="282"/>
                      <a:pt x="607" y="282"/>
                      <a:pt x="607" y="282"/>
                    </a:cubicBezTo>
                    <a:cubicBezTo>
                      <a:pt x="607" y="282"/>
                      <a:pt x="626" y="287"/>
                      <a:pt x="632" y="281"/>
                    </a:cubicBezTo>
                    <a:cubicBezTo>
                      <a:pt x="638" y="275"/>
                      <a:pt x="625" y="268"/>
                      <a:pt x="626" y="264"/>
                    </a:cubicBezTo>
                    <a:cubicBezTo>
                      <a:pt x="627" y="260"/>
                      <a:pt x="629" y="251"/>
                      <a:pt x="635" y="251"/>
                    </a:cubicBezTo>
                    <a:cubicBezTo>
                      <a:pt x="641" y="251"/>
                      <a:pt x="644" y="265"/>
                      <a:pt x="652" y="260"/>
                    </a:cubicBezTo>
                    <a:cubicBezTo>
                      <a:pt x="660" y="255"/>
                      <a:pt x="671" y="243"/>
                      <a:pt x="675" y="241"/>
                    </a:cubicBezTo>
                    <a:cubicBezTo>
                      <a:pt x="679" y="239"/>
                      <a:pt x="694" y="251"/>
                      <a:pt x="694" y="251"/>
                    </a:cubicBezTo>
                    <a:cubicBezTo>
                      <a:pt x="678" y="272"/>
                      <a:pt x="678" y="272"/>
                      <a:pt x="678" y="272"/>
                    </a:cubicBezTo>
                    <a:cubicBezTo>
                      <a:pt x="678" y="272"/>
                      <a:pt x="698" y="278"/>
                      <a:pt x="701" y="283"/>
                    </a:cubicBezTo>
                    <a:cubicBezTo>
                      <a:pt x="708" y="280"/>
                      <a:pt x="717" y="277"/>
                      <a:pt x="721" y="276"/>
                    </a:cubicBezTo>
                    <a:cubicBezTo>
                      <a:pt x="728" y="274"/>
                      <a:pt x="732" y="290"/>
                      <a:pt x="741" y="286"/>
                    </a:cubicBezTo>
                    <a:cubicBezTo>
                      <a:pt x="750" y="282"/>
                      <a:pt x="752" y="273"/>
                      <a:pt x="752" y="273"/>
                    </a:cubicBezTo>
                    <a:cubicBezTo>
                      <a:pt x="766" y="271"/>
                      <a:pt x="766" y="271"/>
                      <a:pt x="766" y="271"/>
                    </a:cubicBezTo>
                    <a:cubicBezTo>
                      <a:pt x="766" y="265"/>
                      <a:pt x="766" y="265"/>
                      <a:pt x="766" y="265"/>
                    </a:cubicBezTo>
                    <a:cubicBezTo>
                      <a:pt x="766" y="265"/>
                      <a:pt x="778" y="266"/>
                      <a:pt x="788" y="254"/>
                    </a:cubicBezTo>
                    <a:cubicBezTo>
                      <a:pt x="798" y="242"/>
                      <a:pt x="769" y="248"/>
                      <a:pt x="769" y="248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Freeform 344">
                <a:extLst>
                  <a:ext uri="{FF2B5EF4-FFF2-40B4-BE49-F238E27FC236}">
                    <a16:creationId xmlns:a16="http://schemas.microsoft.com/office/drawing/2014/main" id="{6E64110E-00C8-EFBB-5FC2-5BB069924BB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739" y="-16960"/>
                <a:ext cx="3952" cy="1838"/>
              </a:xfrm>
              <a:custGeom>
                <a:avLst/>
                <a:gdLst>
                  <a:gd name="T0" fmla="*/ 545 w 1673"/>
                  <a:gd name="T1" fmla="*/ 518 h 778"/>
                  <a:gd name="T2" fmla="*/ 1655 w 1673"/>
                  <a:gd name="T3" fmla="*/ 327 h 778"/>
                  <a:gd name="T4" fmla="*/ 1625 w 1673"/>
                  <a:gd name="T5" fmla="*/ 304 h 778"/>
                  <a:gd name="T6" fmla="*/ 1481 w 1673"/>
                  <a:gd name="T7" fmla="*/ 226 h 778"/>
                  <a:gd name="T8" fmla="*/ 1372 w 1673"/>
                  <a:gd name="T9" fmla="*/ 207 h 778"/>
                  <a:gd name="T10" fmla="*/ 1126 w 1673"/>
                  <a:gd name="T11" fmla="*/ 70 h 778"/>
                  <a:gd name="T12" fmla="*/ 1085 w 1673"/>
                  <a:gd name="T13" fmla="*/ 76 h 778"/>
                  <a:gd name="T14" fmla="*/ 1016 w 1673"/>
                  <a:gd name="T15" fmla="*/ 98 h 778"/>
                  <a:gd name="T16" fmla="*/ 972 w 1673"/>
                  <a:gd name="T17" fmla="*/ 71 h 778"/>
                  <a:gd name="T18" fmla="*/ 909 w 1673"/>
                  <a:gd name="T19" fmla="*/ 36 h 778"/>
                  <a:gd name="T20" fmla="*/ 812 w 1673"/>
                  <a:gd name="T21" fmla="*/ 2 h 778"/>
                  <a:gd name="T22" fmla="*/ 674 w 1673"/>
                  <a:gd name="T23" fmla="*/ 52 h 778"/>
                  <a:gd name="T24" fmla="*/ 521 w 1673"/>
                  <a:gd name="T25" fmla="*/ 95 h 778"/>
                  <a:gd name="T26" fmla="*/ 534 w 1673"/>
                  <a:gd name="T27" fmla="*/ 123 h 778"/>
                  <a:gd name="T28" fmla="*/ 528 w 1673"/>
                  <a:gd name="T29" fmla="*/ 190 h 778"/>
                  <a:gd name="T30" fmla="*/ 486 w 1673"/>
                  <a:gd name="T31" fmla="*/ 244 h 778"/>
                  <a:gd name="T32" fmla="*/ 356 w 1673"/>
                  <a:gd name="T33" fmla="*/ 247 h 778"/>
                  <a:gd name="T34" fmla="*/ 282 w 1673"/>
                  <a:gd name="T35" fmla="*/ 216 h 778"/>
                  <a:gd name="T36" fmla="*/ 197 w 1673"/>
                  <a:gd name="T37" fmla="*/ 187 h 778"/>
                  <a:gd name="T38" fmla="*/ 86 w 1673"/>
                  <a:gd name="T39" fmla="*/ 224 h 778"/>
                  <a:gd name="T40" fmla="*/ 17 w 1673"/>
                  <a:gd name="T41" fmla="*/ 251 h 778"/>
                  <a:gd name="T42" fmla="*/ 8 w 1673"/>
                  <a:gd name="T43" fmla="*/ 322 h 778"/>
                  <a:gd name="T44" fmla="*/ 73 w 1673"/>
                  <a:gd name="T45" fmla="*/ 394 h 778"/>
                  <a:gd name="T46" fmla="*/ 136 w 1673"/>
                  <a:gd name="T47" fmla="*/ 460 h 778"/>
                  <a:gd name="T48" fmla="*/ 289 w 1673"/>
                  <a:gd name="T49" fmla="*/ 455 h 778"/>
                  <a:gd name="T50" fmla="*/ 352 w 1673"/>
                  <a:gd name="T51" fmla="*/ 524 h 778"/>
                  <a:gd name="T52" fmla="*/ 338 w 1673"/>
                  <a:gd name="T53" fmla="*/ 531 h 778"/>
                  <a:gd name="T54" fmla="*/ 218 w 1673"/>
                  <a:gd name="T55" fmla="*/ 544 h 778"/>
                  <a:gd name="T56" fmla="*/ 228 w 1673"/>
                  <a:gd name="T57" fmla="*/ 598 h 778"/>
                  <a:gd name="T58" fmla="*/ 274 w 1673"/>
                  <a:gd name="T59" fmla="*/ 654 h 778"/>
                  <a:gd name="T60" fmla="*/ 328 w 1673"/>
                  <a:gd name="T61" fmla="*/ 709 h 778"/>
                  <a:gd name="T62" fmla="*/ 408 w 1673"/>
                  <a:gd name="T63" fmla="*/ 690 h 778"/>
                  <a:gd name="T64" fmla="*/ 468 w 1673"/>
                  <a:gd name="T65" fmla="*/ 729 h 778"/>
                  <a:gd name="T66" fmla="*/ 536 w 1673"/>
                  <a:gd name="T67" fmla="*/ 513 h 778"/>
                  <a:gd name="T68" fmla="*/ 582 w 1673"/>
                  <a:gd name="T69" fmla="*/ 492 h 778"/>
                  <a:gd name="T70" fmla="*/ 604 w 1673"/>
                  <a:gd name="T71" fmla="*/ 479 h 778"/>
                  <a:gd name="T72" fmla="*/ 584 w 1673"/>
                  <a:gd name="T73" fmla="*/ 460 h 778"/>
                  <a:gd name="T74" fmla="*/ 636 w 1673"/>
                  <a:gd name="T75" fmla="*/ 455 h 778"/>
                  <a:gd name="T76" fmla="*/ 590 w 1673"/>
                  <a:gd name="T77" fmla="*/ 493 h 778"/>
                  <a:gd name="T78" fmla="*/ 610 w 1673"/>
                  <a:gd name="T79" fmla="*/ 549 h 778"/>
                  <a:gd name="T80" fmla="*/ 812 w 1673"/>
                  <a:gd name="T81" fmla="*/ 616 h 778"/>
                  <a:gd name="T82" fmla="*/ 902 w 1673"/>
                  <a:gd name="T83" fmla="*/ 699 h 778"/>
                  <a:gd name="T84" fmla="*/ 1006 w 1673"/>
                  <a:gd name="T85" fmla="*/ 770 h 778"/>
                  <a:gd name="T86" fmla="*/ 1056 w 1673"/>
                  <a:gd name="T87" fmla="*/ 719 h 778"/>
                  <a:gd name="T88" fmla="*/ 1123 w 1673"/>
                  <a:gd name="T89" fmla="*/ 686 h 778"/>
                  <a:gd name="T90" fmla="*/ 1208 w 1673"/>
                  <a:gd name="T91" fmla="*/ 672 h 778"/>
                  <a:gd name="T92" fmla="*/ 1264 w 1673"/>
                  <a:gd name="T93" fmla="*/ 647 h 778"/>
                  <a:gd name="T94" fmla="*/ 1402 w 1673"/>
                  <a:gd name="T95" fmla="*/ 651 h 778"/>
                  <a:gd name="T96" fmla="*/ 1471 w 1673"/>
                  <a:gd name="T97" fmla="*/ 676 h 778"/>
                  <a:gd name="T98" fmla="*/ 1503 w 1673"/>
                  <a:gd name="T99" fmla="*/ 659 h 778"/>
                  <a:gd name="T100" fmla="*/ 1484 w 1673"/>
                  <a:gd name="T101" fmla="*/ 587 h 778"/>
                  <a:gd name="T102" fmla="*/ 1516 w 1673"/>
                  <a:gd name="T103" fmla="*/ 518 h 778"/>
                  <a:gd name="T104" fmla="*/ 1541 w 1673"/>
                  <a:gd name="T105" fmla="*/ 513 h 778"/>
                  <a:gd name="T106" fmla="*/ 1614 w 1673"/>
                  <a:gd name="T107" fmla="*/ 434 h 778"/>
                  <a:gd name="T108" fmla="*/ 1641 w 1673"/>
                  <a:gd name="T109" fmla="*/ 397 h 778"/>
                  <a:gd name="T110" fmla="*/ 1385 w 1673"/>
                  <a:gd name="T111" fmla="*/ 465 h 778"/>
                  <a:gd name="T112" fmla="*/ 1320 w 1673"/>
                  <a:gd name="T113" fmla="*/ 467 h 778"/>
                  <a:gd name="T114" fmla="*/ 1246 w 1673"/>
                  <a:gd name="T115" fmla="*/ 460 h 778"/>
                  <a:gd name="T116" fmla="*/ 1195 w 1673"/>
                  <a:gd name="T117" fmla="*/ 489 h 778"/>
                  <a:gd name="T118" fmla="*/ 1200 w 1673"/>
                  <a:gd name="T119" fmla="*/ 542 h 778"/>
                  <a:gd name="T120" fmla="*/ 1193 w 1673"/>
                  <a:gd name="T121" fmla="*/ 448 h 778"/>
                  <a:gd name="T122" fmla="*/ 1306 w 1673"/>
                  <a:gd name="T123" fmla="*/ 458 h 778"/>
                  <a:gd name="T124" fmla="*/ 1385 w 1673"/>
                  <a:gd name="T125" fmla="*/ 465 h 7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73" h="778">
                    <a:moveTo>
                      <a:pt x="565" y="505"/>
                    </a:moveTo>
                    <a:cubicBezTo>
                      <a:pt x="558" y="500"/>
                      <a:pt x="557" y="497"/>
                      <a:pt x="557" y="497"/>
                    </a:cubicBezTo>
                    <a:cubicBezTo>
                      <a:pt x="548" y="511"/>
                      <a:pt x="548" y="511"/>
                      <a:pt x="548" y="511"/>
                    </a:cubicBezTo>
                    <a:cubicBezTo>
                      <a:pt x="545" y="518"/>
                      <a:pt x="545" y="518"/>
                      <a:pt x="545" y="518"/>
                    </a:cubicBezTo>
                    <a:cubicBezTo>
                      <a:pt x="578" y="534"/>
                      <a:pt x="578" y="534"/>
                      <a:pt x="578" y="534"/>
                    </a:cubicBezTo>
                    <a:cubicBezTo>
                      <a:pt x="580" y="525"/>
                      <a:pt x="580" y="525"/>
                      <a:pt x="580" y="525"/>
                    </a:cubicBezTo>
                    <a:cubicBezTo>
                      <a:pt x="580" y="525"/>
                      <a:pt x="572" y="510"/>
                      <a:pt x="565" y="505"/>
                    </a:cubicBezTo>
                    <a:close/>
                    <a:moveTo>
                      <a:pt x="1655" y="327"/>
                    </a:moveTo>
                    <a:cubicBezTo>
                      <a:pt x="1656" y="321"/>
                      <a:pt x="1666" y="322"/>
                      <a:pt x="1673" y="324"/>
                    </a:cubicBezTo>
                    <a:cubicBezTo>
                      <a:pt x="1649" y="298"/>
                      <a:pt x="1649" y="298"/>
                      <a:pt x="1649" y="298"/>
                    </a:cubicBezTo>
                    <a:cubicBezTo>
                      <a:pt x="1636" y="282"/>
                      <a:pt x="1636" y="282"/>
                      <a:pt x="1636" y="282"/>
                    </a:cubicBezTo>
                    <a:cubicBezTo>
                      <a:pt x="1625" y="304"/>
                      <a:pt x="1625" y="304"/>
                      <a:pt x="1625" y="304"/>
                    </a:cubicBezTo>
                    <a:cubicBezTo>
                      <a:pt x="1578" y="300"/>
                      <a:pt x="1578" y="300"/>
                      <a:pt x="1578" y="300"/>
                    </a:cubicBezTo>
                    <a:cubicBezTo>
                      <a:pt x="1578" y="300"/>
                      <a:pt x="1562" y="272"/>
                      <a:pt x="1561" y="268"/>
                    </a:cubicBezTo>
                    <a:cubicBezTo>
                      <a:pt x="1560" y="264"/>
                      <a:pt x="1525" y="259"/>
                      <a:pt x="1525" y="259"/>
                    </a:cubicBezTo>
                    <a:cubicBezTo>
                      <a:pt x="1525" y="259"/>
                      <a:pt x="1504" y="230"/>
                      <a:pt x="1481" y="226"/>
                    </a:cubicBezTo>
                    <a:cubicBezTo>
                      <a:pt x="1458" y="222"/>
                      <a:pt x="1442" y="243"/>
                      <a:pt x="1430" y="244"/>
                    </a:cubicBezTo>
                    <a:cubicBezTo>
                      <a:pt x="1418" y="246"/>
                      <a:pt x="1404" y="230"/>
                      <a:pt x="1404" y="230"/>
                    </a:cubicBezTo>
                    <a:cubicBezTo>
                      <a:pt x="1404" y="230"/>
                      <a:pt x="1386" y="228"/>
                      <a:pt x="1382" y="227"/>
                    </a:cubicBezTo>
                    <a:cubicBezTo>
                      <a:pt x="1378" y="226"/>
                      <a:pt x="1382" y="210"/>
                      <a:pt x="1372" y="207"/>
                    </a:cubicBezTo>
                    <a:cubicBezTo>
                      <a:pt x="1361" y="204"/>
                      <a:pt x="1365" y="234"/>
                      <a:pt x="1348" y="236"/>
                    </a:cubicBezTo>
                    <a:cubicBezTo>
                      <a:pt x="1330" y="239"/>
                      <a:pt x="1306" y="200"/>
                      <a:pt x="1292" y="187"/>
                    </a:cubicBezTo>
                    <a:cubicBezTo>
                      <a:pt x="1277" y="174"/>
                      <a:pt x="1205" y="107"/>
                      <a:pt x="1200" y="104"/>
                    </a:cubicBezTo>
                    <a:cubicBezTo>
                      <a:pt x="1194" y="102"/>
                      <a:pt x="1126" y="70"/>
                      <a:pt x="1126" y="70"/>
                    </a:cubicBezTo>
                    <a:cubicBezTo>
                      <a:pt x="1126" y="70"/>
                      <a:pt x="1146" y="58"/>
                      <a:pt x="1138" y="47"/>
                    </a:cubicBezTo>
                    <a:cubicBezTo>
                      <a:pt x="1130" y="36"/>
                      <a:pt x="1118" y="58"/>
                      <a:pt x="1118" y="58"/>
                    </a:cubicBezTo>
                    <a:cubicBezTo>
                      <a:pt x="1094" y="66"/>
                      <a:pt x="1094" y="66"/>
                      <a:pt x="1094" y="66"/>
                    </a:cubicBezTo>
                    <a:cubicBezTo>
                      <a:pt x="1085" y="76"/>
                      <a:pt x="1085" y="76"/>
                      <a:pt x="1085" y="76"/>
                    </a:cubicBezTo>
                    <a:cubicBezTo>
                      <a:pt x="1085" y="76"/>
                      <a:pt x="1077" y="78"/>
                      <a:pt x="1070" y="82"/>
                    </a:cubicBezTo>
                    <a:cubicBezTo>
                      <a:pt x="1064" y="86"/>
                      <a:pt x="1072" y="94"/>
                      <a:pt x="1064" y="100"/>
                    </a:cubicBezTo>
                    <a:cubicBezTo>
                      <a:pt x="1056" y="107"/>
                      <a:pt x="1041" y="91"/>
                      <a:pt x="1034" y="88"/>
                    </a:cubicBezTo>
                    <a:cubicBezTo>
                      <a:pt x="1028" y="86"/>
                      <a:pt x="1026" y="99"/>
                      <a:pt x="1016" y="98"/>
                    </a:cubicBezTo>
                    <a:cubicBezTo>
                      <a:pt x="1005" y="96"/>
                      <a:pt x="1026" y="80"/>
                      <a:pt x="1017" y="71"/>
                    </a:cubicBezTo>
                    <a:cubicBezTo>
                      <a:pt x="1008" y="62"/>
                      <a:pt x="1002" y="74"/>
                      <a:pt x="1002" y="74"/>
                    </a:cubicBezTo>
                    <a:cubicBezTo>
                      <a:pt x="985" y="63"/>
                      <a:pt x="985" y="63"/>
                      <a:pt x="985" y="63"/>
                    </a:cubicBezTo>
                    <a:cubicBezTo>
                      <a:pt x="972" y="71"/>
                      <a:pt x="972" y="71"/>
                      <a:pt x="972" y="71"/>
                    </a:cubicBezTo>
                    <a:cubicBezTo>
                      <a:pt x="953" y="50"/>
                      <a:pt x="953" y="50"/>
                      <a:pt x="953" y="50"/>
                    </a:cubicBezTo>
                    <a:cubicBezTo>
                      <a:pt x="946" y="60"/>
                      <a:pt x="946" y="60"/>
                      <a:pt x="946" y="60"/>
                    </a:cubicBezTo>
                    <a:cubicBezTo>
                      <a:pt x="946" y="60"/>
                      <a:pt x="918" y="64"/>
                      <a:pt x="913" y="64"/>
                    </a:cubicBezTo>
                    <a:cubicBezTo>
                      <a:pt x="908" y="64"/>
                      <a:pt x="909" y="43"/>
                      <a:pt x="909" y="36"/>
                    </a:cubicBezTo>
                    <a:cubicBezTo>
                      <a:pt x="909" y="30"/>
                      <a:pt x="897" y="30"/>
                      <a:pt x="897" y="30"/>
                    </a:cubicBezTo>
                    <a:cubicBezTo>
                      <a:pt x="897" y="30"/>
                      <a:pt x="892" y="12"/>
                      <a:pt x="884" y="7"/>
                    </a:cubicBezTo>
                    <a:cubicBezTo>
                      <a:pt x="876" y="2"/>
                      <a:pt x="869" y="11"/>
                      <a:pt x="864" y="11"/>
                    </a:cubicBezTo>
                    <a:cubicBezTo>
                      <a:pt x="858" y="11"/>
                      <a:pt x="845" y="0"/>
                      <a:pt x="812" y="2"/>
                    </a:cubicBezTo>
                    <a:cubicBezTo>
                      <a:pt x="778" y="3"/>
                      <a:pt x="781" y="23"/>
                      <a:pt x="781" y="23"/>
                    </a:cubicBezTo>
                    <a:cubicBezTo>
                      <a:pt x="781" y="23"/>
                      <a:pt x="761" y="30"/>
                      <a:pt x="740" y="35"/>
                    </a:cubicBezTo>
                    <a:cubicBezTo>
                      <a:pt x="718" y="40"/>
                      <a:pt x="690" y="36"/>
                      <a:pt x="682" y="36"/>
                    </a:cubicBezTo>
                    <a:cubicBezTo>
                      <a:pt x="674" y="36"/>
                      <a:pt x="674" y="52"/>
                      <a:pt x="674" y="52"/>
                    </a:cubicBezTo>
                    <a:cubicBezTo>
                      <a:pt x="632" y="52"/>
                      <a:pt x="632" y="52"/>
                      <a:pt x="632" y="52"/>
                    </a:cubicBezTo>
                    <a:cubicBezTo>
                      <a:pt x="628" y="64"/>
                      <a:pt x="628" y="64"/>
                      <a:pt x="628" y="64"/>
                    </a:cubicBezTo>
                    <a:cubicBezTo>
                      <a:pt x="628" y="64"/>
                      <a:pt x="596" y="63"/>
                      <a:pt x="550" y="70"/>
                    </a:cubicBezTo>
                    <a:cubicBezTo>
                      <a:pt x="505" y="76"/>
                      <a:pt x="521" y="95"/>
                      <a:pt x="521" y="95"/>
                    </a:cubicBezTo>
                    <a:cubicBezTo>
                      <a:pt x="540" y="96"/>
                      <a:pt x="540" y="96"/>
                      <a:pt x="540" y="96"/>
                    </a:cubicBezTo>
                    <a:cubicBezTo>
                      <a:pt x="529" y="108"/>
                      <a:pt x="529" y="108"/>
                      <a:pt x="529" y="108"/>
                    </a:cubicBezTo>
                    <a:cubicBezTo>
                      <a:pt x="529" y="108"/>
                      <a:pt x="572" y="116"/>
                      <a:pt x="572" y="123"/>
                    </a:cubicBezTo>
                    <a:cubicBezTo>
                      <a:pt x="572" y="130"/>
                      <a:pt x="534" y="123"/>
                      <a:pt x="534" y="123"/>
                    </a:cubicBezTo>
                    <a:cubicBezTo>
                      <a:pt x="528" y="134"/>
                      <a:pt x="528" y="134"/>
                      <a:pt x="528" y="134"/>
                    </a:cubicBezTo>
                    <a:cubicBezTo>
                      <a:pt x="528" y="134"/>
                      <a:pt x="541" y="151"/>
                      <a:pt x="540" y="158"/>
                    </a:cubicBezTo>
                    <a:cubicBezTo>
                      <a:pt x="538" y="164"/>
                      <a:pt x="505" y="170"/>
                      <a:pt x="505" y="170"/>
                    </a:cubicBezTo>
                    <a:cubicBezTo>
                      <a:pt x="528" y="190"/>
                      <a:pt x="528" y="190"/>
                      <a:pt x="528" y="190"/>
                    </a:cubicBezTo>
                    <a:cubicBezTo>
                      <a:pt x="528" y="190"/>
                      <a:pt x="578" y="187"/>
                      <a:pt x="582" y="226"/>
                    </a:cubicBezTo>
                    <a:cubicBezTo>
                      <a:pt x="586" y="264"/>
                      <a:pt x="526" y="234"/>
                      <a:pt x="526" y="234"/>
                    </a:cubicBezTo>
                    <a:cubicBezTo>
                      <a:pt x="520" y="250"/>
                      <a:pt x="520" y="250"/>
                      <a:pt x="520" y="250"/>
                    </a:cubicBezTo>
                    <a:cubicBezTo>
                      <a:pt x="520" y="250"/>
                      <a:pt x="497" y="246"/>
                      <a:pt x="486" y="244"/>
                    </a:cubicBezTo>
                    <a:cubicBezTo>
                      <a:pt x="476" y="243"/>
                      <a:pt x="464" y="222"/>
                      <a:pt x="456" y="220"/>
                    </a:cubicBezTo>
                    <a:cubicBezTo>
                      <a:pt x="448" y="219"/>
                      <a:pt x="437" y="228"/>
                      <a:pt x="421" y="232"/>
                    </a:cubicBezTo>
                    <a:cubicBezTo>
                      <a:pt x="405" y="236"/>
                      <a:pt x="394" y="220"/>
                      <a:pt x="385" y="222"/>
                    </a:cubicBezTo>
                    <a:cubicBezTo>
                      <a:pt x="376" y="223"/>
                      <a:pt x="358" y="243"/>
                      <a:pt x="356" y="247"/>
                    </a:cubicBezTo>
                    <a:cubicBezTo>
                      <a:pt x="353" y="251"/>
                      <a:pt x="312" y="220"/>
                      <a:pt x="301" y="223"/>
                    </a:cubicBezTo>
                    <a:cubicBezTo>
                      <a:pt x="290" y="226"/>
                      <a:pt x="313" y="243"/>
                      <a:pt x="305" y="250"/>
                    </a:cubicBezTo>
                    <a:cubicBezTo>
                      <a:pt x="297" y="256"/>
                      <a:pt x="289" y="236"/>
                      <a:pt x="289" y="236"/>
                    </a:cubicBezTo>
                    <a:cubicBezTo>
                      <a:pt x="282" y="216"/>
                      <a:pt x="282" y="216"/>
                      <a:pt x="282" y="216"/>
                    </a:cubicBezTo>
                    <a:cubicBezTo>
                      <a:pt x="258" y="218"/>
                      <a:pt x="258" y="218"/>
                      <a:pt x="258" y="218"/>
                    </a:cubicBezTo>
                    <a:cubicBezTo>
                      <a:pt x="258" y="218"/>
                      <a:pt x="256" y="206"/>
                      <a:pt x="252" y="202"/>
                    </a:cubicBezTo>
                    <a:cubicBezTo>
                      <a:pt x="248" y="198"/>
                      <a:pt x="224" y="203"/>
                      <a:pt x="214" y="202"/>
                    </a:cubicBezTo>
                    <a:cubicBezTo>
                      <a:pt x="205" y="200"/>
                      <a:pt x="204" y="187"/>
                      <a:pt x="197" y="187"/>
                    </a:cubicBezTo>
                    <a:cubicBezTo>
                      <a:pt x="190" y="187"/>
                      <a:pt x="177" y="200"/>
                      <a:pt x="161" y="200"/>
                    </a:cubicBezTo>
                    <a:cubicBezTo>
                      <a:pt x="145" y="200"/>
                      <a:pt x="153" y="187"/>
                      <a:pt x="130" y="188"/>
                    </a:cubicBezTo>
                    <a:cubicBezTo>
                      <a:pt x="108" y="190"/>
                      <a:pt x="130" y="198"/>
                      <a:pt x="122" y="208"/>
                    </a:cubicBezTo>
                    <a:cubicBezTo>
                      <a:pt x="114" y="219"/>
                      <a:pt x="86" y="224"/>
                      <a:pt x="86" y="224"/>
                    </a:cubicBezTo>
                    <a:cubicBezTo>
                      <a:pt x="86" y="239"/>
                      <a:pt x="86" y="239"/>
                      <a:pt x="86" y="239"/>
                    </a:cubicBezTo>
                    <a:cubicBezTo>
                      <a:pt x="68" y="248"/>
                      <a:pt x="68" y="248"/>
                      <a:pt x="68" y="248"/>
                    </a:cubicBezTo>
                    <a:cubicBezTo>
                      <a:pt x="68" y="248"/>
                      <a:pt x="86" y="263"/>
                      <a:pt x="72" y="278"/>
                    </a:cubicBezTo>
                    <a:cubicBezTo>
                      <a:pt x="57" y="292"/>
                      <a:pt x="29" y="250"/>
                      <a:pt x="17" y="251"/>
                    </a:cubicBezTo>
                    <a:cubicBezTo>
                      <a:pt x="5" y="252"/>
                      <a:pt x="13" y="271"/>
                      <a:pt x="13" y="279"/>
                    </a:cubicBezTo>
                    <a:cubicBezTo>
                      <a:pt x="13" y="287"/>
                      <a:pt x="0" y="284"/>
                      <a:pt x="0" y="284"/>
                    </a:cubicBezTo>
                    <a:cubicBezTo>
                      <a:pt x="2" y="308"/>
                      <a:pt x="2" y="308"/>
                      <a:pt x="2" y="308"/>
                    </a:cubicBezTo>
                    <a:cubicBezTo>
                      <a:pt x="2" y="308"/>
                      <a:pt x="8" y="314"/>
                      <a:pt x="8" y="322"/>
                    </a:cubicBezTo>
                    <a:cubicBezTo>
                      <a:pt x="8" y="330"/>
                      <a:pt x="0" y="342"/>
                      <a:pt x="0" y="358"/>
                    </a:cubicBezTo>
                    <a:cubicBezTo>
                      <a:pt x="0" y="374"/>
                      <a:pt x="10" y="364"/>
                      <a:pt x="22" y="370"/>
                    </a:cubicBezTo>
                    <a:cubicBezTo>
                      <a:pt x="34" y="375"/>
                      <a:pt x="20" y="390"/>
                      <a:pt x="32" y="395"/>
                    </a:cubicBezTo>
                    <a:cubicBezTo>
                      <a:pt x="44" y="400"/>
                      <a:pt x="68" y="391"/>
                      <a:pt x="73" y="394"/>
                    </a:cubicBezTo>
                    <a:cubicBezTo>
                      <a:pt x="78" y="396"/>
                      <a:pt x="117" y="436"/>
                      <a:pt x="117" y="444"/>
                    </a:cubicBezTo>
                    <a:cubicBezTo>
                      <a:pt x="117" y="452"/>
                      <a:pt x="94" y="443"/>
                      <a:pt x="94" y="451"/>
                    </a:cubicBezTo>
                    <a:cubicBezTo>
                      <a:pt x="94" y="459"/>
                      <a:pt x="129" y="470"/>
                      <a:pt x="129" y="470"/>
                    </a:cubicBezTo>
                    <a:cubicBezTo>
                      <a:pt x="136" y="460"/>
                      <a:pt x="136" y="460"/>
                      <a:pt x="136" y="460"/>
                    </a:cubicBezTo>
                    <a:cubicBezTo>
                      <a:pt x="136" y="460"/>
                      <a:pt x="145" y="462"/>
                      <a:pt x="152" y="455"/>
                    </a:cubicBezTo>
                    <a:cubicBezTo>
                      <a:pt x="158" y="448"/>
                      <a:pt x="208" y="427"/>
                      <a:pt x="214" y="430"/>
                    </a:cubicBezTo>
                    <a:cubicBezTo>
                      <a:pt x="221" y="432"/>
                      <a:pt x="242" y="448"/>
                      <a:pt x="252" y="448"/>
                    </a:cubicBezTo>
                    <a:cubicBezTo>
                      <a:pt x="261" y="448"/>
                      <a:pt x="269" y="430"/>
                      <a:pt x="289" y="455"/>
                    </a:cubicBezTo>
                    <a:cubicBezTo>
                      <a:pt x="309" y="480"/>
                      <a:pt x="293" y="488"/>
                      <a:pt x="290" y="496"/>
                    </a:cubicBezTo>
                    <a:cubicBezTo>
                      <a:pt x="288" y="504"/>
                      <a:pt x="309" y="520"/>
                      <a:pt x="316" y="523"/>
                    </a:cubicBezTo>
                    <a:cubicBezTo>
                      <a:pt x="322" y="526"/>
                      <a:pt x="333" y="511"/>
                      <a:pt x="341" y="507"/>
                    </a:cubicBezTo>
                    <a:cubicBezTo>
                      <a:pt x="349" y="503"/>
                      <a:pt x="352" y="516"/>
                      <a:pt x="352" y="524"/>
                    </a:cubicBezTo>
                    <a:cubicBezTo>
                      <a:pt x="352" y="532"/>
                      <a:pt x="364" y="542"/>
                      <a:pt x="364" y="542"/>
                    </a:cubicBezTo>
                    <a:cubicBezTo>
                      <a:pt x="337" y="543"/>
                      <a:pt x="337" y="543"/>
                      <a:pt x="337" y="543"/>
                    </a:cubicBezTo>
                    <a:cubicBezTo>
                      <a:pt x="337" y="543"/>
                      <a:pt x="338" y="563"/>
                      <a:pt x="325" y="554"/>
                    </a:cubicBezTo>
                    <a:cubicBezTo>
                      <a:pt x="312" y="544"/>
                      <a:pt x="338" y="531"/>
                      <a:pt x="338" y="531"/>
                    </a:cubicBezTo>
                    <a:cubicBezTo>
                      <a:pt x="338" y="531"/>
                      <a:pt x="290" y="528"/>
                      <a:pt x="282" y="526"/>
                    </a:cubicBezTo>
                    <a:cubicBezTo>
                      <a:pt x="274" y="523"/>
                      <a:pt x="232" y="515"/>
                      <a:pt x="232" y="515"/>
                    </a:cubicBezTo>
                    <a:cubicBezTo>
                      <a:pt x="240" y="538"/>
                      <a:pt x="240" y="538"/>
                      <a:pt x="240" y="538"/>
                    </a:cubicBezTo>
                    <a:cubicBezTo>
                      <a:pt x="240" y="538"/>
                      <a:pt x="224" y="531"/>
                      <a:pt x="218" y="544"/>
                    </a:cubicBezTo>
                    <a:cubicBezTo>
                      <a:pt x="213" y="558"/>
                      <a:pt x="249" y="559"/>
                      <a:pt x="248" y="567"/>
                    </a:cubicBezTo>
                    <a:cubicBezTo>
                      <a:pt x="246" y="575"/>
                      <a:pt x="198" y="550"/>
                      <a:pt x="193" y="562"/>
                    </a:cubicBezTo>
                    <a:cubicBezTo>
                      <a:pt x="188" y="574"/>
                      <a:pt x="221" y="582"/>
                      <a:pt x="221" y="582"/>
                    </a:cubicBezTo>
                    <a:cubicBezTo>
                      <a:pt x="221" y="582"/>
                      <a:pt x="221" y="590"/>
                      <a:pt x="228" y="598"/>
                    </a:cubicBezTo>
                    <a:cubicBezTo>
                      <a:pt x="234" y="606"/>
                      <a:pt x="248" y="622"/>
                      <a:pt x="248" y="622"/>
                    </a:cubicBezTo>
                    <a:cubicBezTo>
                      <a:pt x="246" y="636"/>
                      <a:pt x="246" y="636"/>
                      <a:pt x="246" y="636"/>
                    </a:cubicBezTo>
                    <a:cubicBezTo>
                      <a:pt x="269" y="639"/>
                      <a:pt x="269" y="639"/>
                      <a:pt x="269" y="639"/>
                    </a:cubicBezTo>
                    <a:cubicBezTo>
                      <a:pt x="274" y="654"/>
                      <a:pt x="274" y="654"/>
                      <a:pt x="274" y="654"/>
                    </a:cubicBezTo>
                    <a:cubicBezTo>
                      <a:pt x="274" y="654"/>
                      <a:pt x="309" y="654"/>
                      <a:pt x="320" y="664"/>
                    </a:cubicBezTo>
                    <a:cubicBezTo>
                      <a:pt x="330" y="675"/>
                      <a:pt x="308" y="686"/>
                      <a:pt x="306" y="696"/>
                    </a:cubicBezTo>
                    <a:cubicBezTo>
                      <a:pt x="305" y="707"/>
                      <a:pt x="316" y="708"/>
                      <a:pt x="316" y="708"/>
                    </a:cubicBezTo>
                    <a:cubicBezTo>
                      <a:pt x="317" y="704"/>
                      <a:pt x="323" y="707"/>
                      <a:pt x="328" y="709"/>
                    </a:cubicBezTo>
                    <a:cubicBezTo>
                      <a:pt x="330" y="703"/>
                      <a:pt x="336" y="683"/>
                      <a:pt x="344" y="682"/>
                    </a:cubicBezTo>
                    <a:cubicBezTo>
                      <a:pt x="349" y="681"/>
                      <a:pt x="357" y="682"/>
                      <a:pt x="363" y="683"/>
                    </a:cubicBezTo>
                    <a:cubicBezTo>
                      <a:pt x="364" y="681"/>
                      <a:pt x="364" y="679"/>
                      <a:pt x="365" y="678"/>
                    </a:cubicBezTo>
                    <a:cubicBezTo>
                      <a:pt x="368" y="674"/>
                      <a:pt x="400" y="686"/>
                      <a:pt x="408" y="690"/>
                    </a:cubicBezTo>
                    <a:cubicBezTo>
                      <a:pt x="416" y="694"/>
                      <a:pt x="426" y="707"/>
                      <a:pt x="426" y="707"/>
                    </a:cubicBezTo>
                    <a:cubicBezTo>
                      <a:pt x="426" y="707"/>
                      <a:pt x="444" y="732"/>
                      <a:pt x="454" y="738"/>
                    </a:cubicBezTo>
                    <a:cubicBezTo>
                      <a:pt x="463" y="742"/>
                      <a:pt x="464" y="732"/>
                      <a:pt x="468" y="729"/>
                    </a:cubicBezTo>
                    <a:cubicBezTo>
                      <a:pt x="468" y="729"/>
                      <a:pt x="468" y="729"/>
                      <a:pt x="468" y="729"/>
                    </a:cubicBezTo>
                    <a:cubicBezTo>
                      <a:pt x="433" y="542"/>
                      <a:pt x="433" y="542"/>
                      <a:pt x="433" y="542"/>
                    </a:cubicBezTo>
                    <a:cubicBezTo>
                      <a:pt x="529" y="511"/>
                      <a:pt x="529" y="511"/>
                      <a:pt x="529" y="511"/>
                    </a:cubicBezTo>
                    <a:cubicBezTo>
                      <a:pt x="536" y="514"/>
                      <a:pt x="536" y="514"/>
                      <a:pt x="536" y="514"/>
                    </a:cubicBezTo>
                    <a:cubicBezTo>
                      <a:pt x="536" y="513"/>
                      <a:pt x="536" y="513"/>
                      <a:pt x="536" y="513"/>
                    </a:cubicBezTo>
                    <a:cubicBezTo>
                      <a:pt x="536" y="513"/>
                      <a:pt x="540" y="501"/>
                      <a:pt x="541" y="491"/>
                    </a:cubicBezTo>
                    <a:cubicBezTo>
                      <a:pt x="542" y="481"/>
                      <a:pt x="561" y="486"/>
                      <a:pt x="561" y="486"/>
                    </a:cubicBezTo>
                    <a:cubicBezTo>
                      <a:pt x="566" y="501"/>
                      <a:pt x="566" y="501"/>
                      <a:pt x="566" y="501"/>
                    </a:cubicBezTo>
                    <a:cubicBezTo>
                      <a:pt x="566" y="501"/>
                      <a:pt x="580" y="495"/>
                      <a:pt x="582" y="492"/>
                    </a:cubicBezTo>
                    <a:cubicBezTo>
                      <a:pt x="584" y="489"/>
                      <a:pt x="568" y="471"/>
                      <a:pt x="568" y="471"/>
                    </a:cubicBezTo>
                    <a:cubicBezTo>
                      <a:pt x="578" y="471"/>
                      <a:pt x="578" y="471"/>
                      <a:pt x="578" y="471"/>
                    </a:cubicBezTo>
                    <a:cubicBezTo>
                      <a:pt x="587" y="480"/>
                      <a:pt x="587" y="480"/>
                      <a:pt x="587" y="480"/>
                    </a:cubicBezTo>
                    <a:cubicBezTo>
                      <a:pt x="604" y="479"/>
                      <a:pt x="604" y="479"/>
                      <a:pt x="604" y="479"/>
                    </a:cubicBezTo>
                    <a:cubicBezTo>
                      <a:pt x="604" y="479"/>
                      <a:pt x="618" y="483"/>
                      <a:pt x="621" y="479"/>
                    </a:cubicBezTo>
                    <a:cubicBezTo>
                      <a:pt x="624" y="475"/>
                      <a:pt x="619" y="471"/>
                      <a:pt x="615" y="471"/>
                    </a:cubicBezTo>
                    <a:cubicBezTo>
                      <a:pt x="611" y="471"/>
                      <a:pt x="603" y="466"/>
                      <a:pt x="603" y="466"/>
                    </a:cubicBezTo>
                    <a:cubicBezTo>
                      <a:pt x="603" y="466"/>
                      <a:pt x="587" y="470"/>
                      <a:pt x="584" y="460"/>
                    </a:cubicBezTo>
                    <a:cubicBezTo>
                      <a:pt x="581" y="450"/>
                      <a:pt x="604" y="452"/>
                      <a:pt x="604" y="452"/>
                    </a:cubicBezTo>
                    <a:cubicBezTo>
                      <a:pt x="613" y="444"/>
                      <a:pt x="613" y="444"/>
                      <a:pt x="613" y="444"/>
                    </a:cubicBezTo>
                    <a:cubicBezTo>
                      <a:pt x="613" y="444"/>
                      <a:pt x="625" y="461"/>
                      <a:pt x="628" y="461"/>
                    </a:cubicBezTo>
                    <a:cubicBezTo>
                      <a:pt x="631" y="461"/>
                      <a:pt x="636" y="455"/>
                      <a:pt x="636" y="455"/>
                    </a:cubicBezTo>
                    <a:cubicBezTo>
                      <a:pt x="636" y="455"/>
                      <a:pt x="645" y="465"/>
                      <a:pt x="642" y="471"/>
                    </a:cubicBezTo>
                    <a:cubicBezTo>
                      <a:pt x="639" y="477"/>
                      <a:pt x="625" y="481"/>
                      <a:pt x="625" y="481"/>
                    </a:cubicBezTo>
                    <a:cubicBezTo>
                      <a:pt x="625" y="481"/>
                      <a:pt x="617" y="488"/>
                      <a:pt x="613" y="492"/>
                    </a:cubicBezTo>
                    <a:cubicBezTo>
                      <a:pt x="609" y="496"/>
                      <a:pt x="593" y="491"/>
                      <a:pt x="590" y="493"/>
                    </a:cubicBezTo>
                    <a:cubicBezTo>
                      <a:pt x="587" y="495"/>
                      <a:pt x="587" y="506"/>
                      <a:pt x="587" y="506"/>
                    </a:cubicBezTo>
                    <a:cubicBezTo>
                      <a:pt x="587" y="506"/>
                      <a:pt x="602" y="512"/>
                      <a:pt x="606" y="513"/>
                    </a:cubicBezTo>
                    <a:cubicBezTo>
                      <a:pt x="610" y="514"/>
                      <a:pt x="613" y="523"/>
                      <a:pt x="607" y="532"/>
                    </a:cubicBezTo>
                    <a:cubicBezTo>
                      <a:pt x="604" y="536"/>
                      <a:pt x="607" y="542"/>
                      <a:pt x="610" y="549"/>
                    </a:cubicBezTo>
                    <a:cubicBezTo>
                      <a:pt x="656" y="571"/>
                      <a:pt x="656" y="571"/>
                      <a:pt x="656" y="571"/>
                    </a:cubicBezTo>
                    <a:cubicBezTo>
                      <a:pt x="705" y="619"/>
                      <a:pt x="705" y="619"/>
                      <a:pt x="705" y="619"/>
                    </a:cubicBezTo>
                    <a:cubicBezTo>
                      <a:pt x="705" y="619"/>
                      <a:pt x="742" y="612"/>
                      <a:pt x="758" y="612"/>
                    </a:cubicBezTo>
                    <a:cubicBezTo>
                      <a:pt x="774" y="612"/>
                      <a:pt x="812" y="616"/>
                      <a:pt x="812" y="616"/>
                    </a:cubicBezTo>
                    <a:cubicBezTo>
                      <a:pt x="812" y="616"/>
                      <a:pt x="830" y="604"/>
                      <a:pt x="837" y="604"/>
                    </a:cubicBezTo>
                    <a:cubicBezTo>
                      <a:pt x="844" y="604"/>
                      <a:pt x="874" y="647"/>
                      <a:pt x="874" y="647"/>
                    </a:cubicBezTo>
                    <a:cubicBezTo>
                      <a:pt x="874" y="647"/>
                      <a:pt x="889" y="646"/>
                      <a:pt x="894" y="647"/>
                    </a:cubicBezTo>
                    <a:cubicBezTo>
                      <a:pt x="900" y="648"/>
                      <a:pt x="893" y="696"/>
                      <a:pt x="902" y="699"/>
                    </a:cubicBezTo>
                    <a:cubicBezTo>
                      <a:pt x="912" y="702"/>
                      <a:pt x="912" y="688"/>
                      <a:pt x="921" y="699"/>
                    </a:cubicBezTo>
                    <a:cubicBezTo>
                      <a:pt x="930" y="710"/>
                      <a:pt x="932" y="734"/>
                      <a:pt x="942" y="739"/>
                    </a:cubicBezTo>
                    <a:cubicBezTo>
                      <a:pt x="953" y="744"/>
                      <a:pt x="1000" y="735"/>
                      <a:pt x="1006" y="744"/>
                    </a:cubicBezTo>
                    <a:cubicBezTo>
                      <a:pt x="1013" y="754"/>
                      <a:pt x="996" y="767"/>
                      <a:pt x="1006" y="770"/>
                    </a:cubicBezTo>
                    <a:cubicBezTo>
                      <a:pt x="1017" y="772"/>
                      <a:pt x="1028" y="778"/>
                      <a:pt x="1028" y="778"/>
                    </a:cubicBezTo>
                    <a:cubicBezTo>
                      <a:pt x="1028" y="778"/>
                      <a:pt x="1020" y="754"/>
                      <a:pt x="1029" y="747"/>
                    </a:cubicBezTo>
                    <a:cubicBezTo>
                      <a:pt x="1038" y="740"/>
                      <a:pt x="1046" y="740"/>
                      <a:pt x="1046" y="740"/>
                    </a:cubicBezTo>
                    <a:cubicBezTo>
                      <a:pt x="1046" y="740"/>
                      <a:pt x="1045" y="722"/>
                      <a:pt x="1056" y="719"/>
                    </a:cubicBezTo>
                    <a:cubicBezTo>
                      <a:pt x="1066" y="716"/>
                      <a:pt x="1078" y="714"/>
                      <a:pt x="1078" y="714"/>
                    </a:cubicBezTo>
                    <a:cubicBezTo>
                      <a:pt x="1086" y="696"/>
                      <a:pt x="1086" y="696"/>
                      <a:pt x="1086" y="696"/>
                    </a:cubicBezTo>
                    <a:cubicBezTo>
                      <a:pt x="1104" y="695"/>
                      <a:pt x="1104" y="695"/>
                      <a:pt x="1104" y="695"/>
                    </a:cubicBezTo>
                    <a:cubicBezTo>
                      <a:pt x="1123" y="686"/>
                      <a:pt x="1123" y="686"/>
                      <a:pt x="1123" y="686"/>
                    </a:cubicBezTo>
                    <a:cubicBezTo>
                      <a:pt x="1117" y="683"/>
                      <a:pt x="1107" y="683"/>
                      <a:pt x="1107" y="683"/>
                    </a:cubicBezTo>
                    <a:cubicBezTo>
                      <a:pt x="1107" y="683"/>
                      <a:pt x="1108" y="654"/>
                      <a:pt x="1131" y="653"/>
                    </a:cubicBezTo>
                    <a:cubicBezTo>
                      <a:pt x="1154" y="652"/>
                      <a:pt x="1185" y="672"/>
                      <a:pt x="1185" y="672"/>
                    </a:cubicBezTo>
                    <a:cubicBezTo>
                      <a:pt x="1208" y="672"/>
                      <a:pt x="1208" y="672"/>
                      <a:pt x="1208" y="672"/>
                    </a:cubicBezTo>
                    <a:cubicBezTo>
                      <a:pt x="1219" y="678"/>
                      <a:pt x="1219" y="678"/>
                      <a:pt x="1219" y="678"/>
                    </a:cubicBezTo>
                    <a:cubicBezTo>
                      <a:pt x="1219" y="678"/>
                      <a:pt x="1211" y="643"/>
                      <a:pt x="1214" y="640"/>
                    </a:cubicBezTo>
                    <a:cubicBezTo>
                      <a:pt x="1217" y="637"/>
                      <a:pt x="1230" y="635"/>
                      <a:pt x="1240" y="635"/>
                    </a:cubicBezTo>
                    <a:cubicBezTo>
                      <a:pt x="1250" y="635"/>
                      <a:pt x="1260" y="647"/>
                      <a:pt x="1264" y="647"/>
                    </a:cubicBezTo>
                    <a:cubicBezTo>
                      <a:pt x="1268" y="647"/>
                      <a:pt x="1296" y="653"/>
                      <a:pt x="1296" y="653"/>
                    </a:cubicBezTo>
                    <a:cubicBezTo>
                      <a:pt x="1308" y="649"/>
                      <a:pt x="1308" y="649"/>
                      <a:pt x="1308" y="649"/>
                    </a:cubicBezTo>
                    <a:cubicBezTo>
                      <a:pt x="1308" y="649"/>
                      <a:pt x="1356" y="649"/>
                      <a:pt x="1364" y="648"/>
                    </a:cubicBezTo>
                    <a:cubicBezTo>
                      <a:pt x="1372" y="647"/>
                      <a:pt x="1402" y="651"/>
                      <a:pt x="1402" y="651"/>
                    </a:cubicBezTo>
                    <a:cubicBezTo>
                      <a:pt x="1434" y="650"/>
                      <a:pt x="1434" y="650"/>
                      <a:pt x="1434" y="650"/>
                    </a:cubicBezTo>
                    <a:cubicBezTo>
                      <a:pt x="1442" y="658"/>
                      <a:pt x="1442" y="658"/>
                      <a:pt x="1442" y="658"/>
                    </a:cubicBezTo>
                    <a:cubicBezTo>
                      <a:pt x="1454" y="658"/>
                      <a:pt x="1454" y="658"/>
                      <a:pt x="1454" y="658"/>
                    </a:cubicBezTo>
                    <a:cubicBezTo>
                      <a:pt x="1471" y="676"/>
                      <a:pt x="1471" y="676"/>
                      <a:pt x="1471" y="676"/>
                    </a:cubicBezTo>
                    <a:cubicBezTo>
                      <a:pt x="1499" y="676"/>
                      <a:pt x="1499" y="676"/>
                      <a:pt x="1499" y="676"/>
                    </a:cubicBezTo>
                    <a:cubicBezTo>
                      <a:pt x="1513" y="681"/>
                      <a:pt x="1513" y="681"/>
                      <a:pt x="1513" y="681"/>
                    </a:cubicBezTo>
                    <a:cubicBezTo>
                      <a:pt x="1512" y="680"/>
                      <a:pt x="1512" y="680"/>
                      <a:pt x="1512" y="680"/>
                    </a:cubicBezTo>
                    <a:cubicBezTo>
                      <a:pt x="1507" y="675"/>
                      <a:pt x="1503" y="664"/>
                      <a:pt x="1503" y="659"/>
                    </a:cubicBezTo>
                    <a:cubicBezTo>
                      <a:pt x="1503" y="654"/>
                      <a:pt x="1517" y="656"/>
                      <a:pt x="1517" y="656"/>
                    </a:cubicBezTo>
                    <a:cubicBezTo>
                      <a:pt x="1517" y="656"/>
                      <a:pt x="1506" y="644"/>
                      <a:pt x="1506" y="641"/>
                    </a:cubicBezTo>
                    <a:cubicBezTo>
                      <a:pt x="1506" y="638"/>
                      <a:pt x="1522" y="641"/>
                      <a:pt x="1522" y="634"/>
                    </a:cubicBezTo>
                    <a:cubicBezTo>
                      <a:pt x="1522" y="627"/>
                      <a:pt x="1492" y="596"/>
                      <a:pt x="1484" y="587"/>
                    </a:cubicBezTo>
                    <a:cubicBezTo>
                      <a:pt x="1476" y="578"/>
                      <a:pt x="1476" y="552"/>
                      <a:pt x="1476" y="552"/>
                    </a:cubicBezTo>
                    <a:cubicBezTo>
                      <a:pt x="1476" y="552"/>
                      <a:pt x="1458" y="555"/>
                      <a:pt x="1451" y="546"/>
                    </a:cubicBezTo>
                    <a:cubicBezTo>
                      <a:pt x="1444" y="537"/>
                      <a:pt x="1475" y="530"/>
                      <a:pt x="1481" y="529"/>
                    </a:cubicBezTo>
                    <a:cubicBezTo>
                      <a:pt x="1487" y="528"/>
                      <a:pt x="1511" y="518"/>
                      <a:pt x="1516" y="518"/>
                    </a:cubicBezTo>
                    <a:cubicBezTo>
                      <a:pt x="1521" y="518"/>
                      <a:pt x="1530" y="532"/>
                      <a:pt x="1530" y="532"/>
                    </a:cubicBezTo>
                    <a:cubicBezTo>
                      <a:pt x="1543" y="525"/>
                      <a:pt x="1543" y="525"/>
                      <a:pt x="1543" y="525"/>
                    </a:cubicBezTo>
                    <a:cubicBezTo>
                      <a:pt x="1543" y="525"/>
                      <a:pt x="1550" y="539"/>
                      <a:pt x="1559" y="528"/>
                    </a:cubicBezTo>
                    <a:cubicBezTo>
                      <a:pt x="1568" y="517"/>
                      <a:pt x="1545" y="515"/>
                      <a:pt x="1541" y="513"/>
                    </a:cubicBezTo>
                    <a:cubicBezTo>
                      <a:pt x="1537" y="511"/>
                      <a:pt x="1541" y="459"/>
                      <a:pt x="1541" y="447"/>
                    </a:cubicBezTo>
                    <a:cubicBezTo>
                      <a:pt x="1541" y="435"/>
                      <a:pt x="1540" y="420"/>
                      <a:pt x="1546" y="420"/>
                    </a:cubicBezTo>
                    <a:cubicBezTo>
                      <a:pt x="1552" y="420"/>
                      <a:pt x="1577" y="432"/>
                      <a:pt x="1585" y="434"/>
                    </a:cubicBezTo>
                    <a:cubicBezTo>
                      <a:pt x="1593" y="436"/>
                      <a:pt x="1614" y="434"/>
                      <a:pt x="1614" y="434"/>
                    </a:cubicBezTo>
                    <a:cubicBezTo>
                      <a:pt x="1623" y="442"/>
                      <a:pt x="1623" y="442"/>
                      <a:pt x="1623" y="442"/>
                    </a:cubicBezTo>
                    <a:cubicBezTo>
                      <a:pt x="1634" y="430"/>
                      <a:pt x="1634" y="430"/>
                      <a:pt x="1634" y="430"/>
                    </a:cubicBezTo>
                    <a:cubicBezTo>
                      <a:pt x="1634" y="430"/>
                      <a:pt x="1642" y="431"/>
                      <a:pt x="1649" y="426"/>
                    </a:cubicBezTo>
                    <a:cubicBezTo>
                      <a:pt x="1656" y="421"/>
                      <a:pt x="1650" y="410"/>
                      <a:pt x="1641" y="397"/>
                    </a:cubicBezTo>
                    <a:cubicBezTo>
                      <a:pt x="1632" y="384"/>
                      <a:pt x="1622" y="375"/>
                      <a:pt x="1627" y="361"/>
                    </a:cubicBezTo>
                    <a:cubicBezTo>
                      <a:pt x="1632" y="347"/>
                      <a:pt x="1661" y="357"/>
                      <a:pt x="1667" y="348"/>
                    </a:cubicBezTo>
                    <a:cubicBezTo>
                      <a:pt x="1673" y="339"/>
                      <a:pt x="1654" y="336"/>
                      <a:pt x="1655" y="327"/>
                    </a:cubicBezTo>
                    <a:close/>
                    <a:moveTo>
                      <a:pt x="1385" y="465"/>
                    </a:moveTo>
                    <a:cubicBezTo>
                      <a:pt x="1380" y="470"/>
                      <a:pt x="1363" y="466"/>
                      <a:pt x="1363" y="466"/>
                    </a:cubicBezTo>
                    <a:cubicBezTo>
                      <a:pt x="1363" y="466"/>
                      <a:pt x="1361" y="472"/>
                      <a:pt x="1356" y="473"/>
                    </a:cubicBezTo>
                    <a:cubicBezTo>
                      <a:pt x="1351" y="474"/>
                      <a:pt x="1340" y="464"/>
                      <a:pt x="1340" y="464"/>
                    </a:cubicBezTo>
                    <a:cubicBezTo>
                      <a:pt x="1320" y="467"/>
                      <a:pt x="1320" y="467"/>
                      <a:pt x="1320" y="467"/>
                    </a:cubicBezTo>
                    <a:cubicBezTo>
                      <a:pt x="1299" y="463"/>
                      <a:pt x="1299" y="463"/>
                      <a:pt x="1299" y="463"/>
                    </a:cubicBezTo>
                    <a:cubicBezTo>
                      <a:pt x="1287" y="464"/>
                      <a:pt x="1287" y="464"/>
                      <a:pt x="1287" y="464"/>
                    </a:cubicBezTo>
                    <a:cubicBezTo>
                      <a:pt x="1270" y="459"/>
                      <a:pt x="1270" y="459"/>
                      <a:pt x="1270" y="459"/>
                    </a:cubicBezTo>
                    <a:cubicBezTo>
                      <a:pt x="1270" y="459"/>
                      <a:pt x="1259" y="460"/>
                      <a:pt x="1246" y="460"/>
                    </a:cubicBezTo>
                    <a:cubicBezTo>
                      <a:pt x="1233" y="460"/>
                      <a:pt x="1236" y="454"/>
                      <a:pt x="1236" y="454"/>
                    </a:cubicBezTo>
                    <a:cubicBezTo>
                      <a:pt x="1236" y="454"/>
                      <a:pt x="1228" y="462"/>
                      <a:pt x="1222" y="464"/>
                    </a:cubicBezTo>
                    <a:cubicBezTo>
                      <a:pt x="1216" y="466"/>
                      <a:pt x="1215" y="476"/>
                      <a:pt x="1209" y="484"/>
                    </a:cubicBezTo>
                    <a:cubicBezTo>
                      <a:pt x="1203" y="492"/>
                      <a:pt x="1195" y="489"/>
                      <a:pt x="1195" y="489"/>
                    </a:cubicBezTo>
                    <a:cubicBezTo>
                      <a:pt x="1199" y="507"/>
                      <a:pt x="1199" y="507"/>
                      <a:pt x="1199" y="507"/>
                    </a:cubicBezTo>
                    <a:cubicBezTo>
                      <a:pt x="1191" y="514"/>
                      <a:pt x="1191" y="514"/>
                      <a:pt x="1191" y="514"/>
                    </a:cubicBezTo>
                    <a:cubicBezTo>
                      <a:pt x="1201" y="525"/>
                      <a:pt x="1201" y="525"/>
                      <a:pt x="1201" y="525"/>
                    </a:cubicBezTo>
                    <a:cubicBezTo>
                      <a:pt x="1200" y="542"/>
                      <a:pt x="1200" y="542"/>
                      <a:pt x="1200" y="542"/>
                    </a:cubicBezTo>
                    <a:cubicBezTo>
                      <a:pt x="1196" y="541"/>
                      <a:pt x="1167" y="507"/>
                      <a:pt x="1167" y="507"/>
                    </a:cubicBezTo>
                    <a:cubicBezTo>
                      <a:pt x="1167" y="507"/>
                      <a:pt x="1163" y="492"/>
                      <a:pt x="1163" y="481"/>
                    </a:cubicBezTo>
                    <a:cubicBezTo>
                      <a:pt x="1163" y="470"/>
                      <a:pt x="1181" y="467"/>
                      <a:pt x="1185" y="466"/>
                    </a:cubicBezTo>
                    <a:cubicBezTo>
                      <a:pt x="1189" y="465"/>
                      <a:pt x="1187" y="454"/>
                      <a:pt x="1193" y="448"/>
                    </a:cubicBezTo>
                    <a:cubicBezTo>
                      <a:pt x="1199" y="442"/>
                      <a:pt x="1224" y="448"/>
                      <a:pt x="1228" y="448"/>
                    </a:cubicBezTo>
                    <a:cubicBezTo>
                      <a:pt x="1232" y="448"/>
                      <a:pt x="1240" y="442"/>
                      <a:pt x="1253" y="443"/>
                    </a:cubicBezTo>
                    <a:cubicBezTo>
                      <a:pt x="1266" y="444"/>
                      <a:pt x="1274" y="451"/>
                      <a:pt x="1281" y="452"/>
                    </a:cubicBezTo>
                    <a:cubicBezTo>
                      <a:pt x="1288" y="453"/>
                      <a:pt x="1293" y="456"/>
                      <a:pt x="1306" y="458"/>
                    </a:cubicBezTo>
                    <a:cubicBezTo>
                      <a:pt x="1319" y="460"/>
                      <a:pt x="1315" y="449"/>
                      <a:pt x="1328" y="449"/>
                    </a:cubicBezTo>
                    <a:cubicBezTo>
                      <a:pt x="1341" y="449"/>
                      <a:pt x="1360" y="454"/>
                      <a:pt x="1360" y="454"/>
                    </a:cubicBezTo>
                    <a:cubicBezTo>
                      <a:pt x="1360" y="454"/>
                      <a:pt x="1370" y="445"/>
                      <a:pt x="1384" y="443"/>
                    </a:cubicBezTo>
                    <a:cubicBezTo>
                      <a:pt x="1398" y="441"/>
                      <a:pt x="1390" y="460"/>
                      <a:pt x="1385" y="465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Freeform 345">
                <a:extLst>
                  <a:ext uri="{FF2B5EF4-FFF2-40B4-BE49-F238E27FC236}">
                    <a16:creationId xmlns:a16="http://schemas.microsoft.com/office/drawing/2014/main" id="{D56D8939-B110-21C3-FA54-FF180C2984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3116" y="-8652"/>
                <a:ext cx="1200" cy="2105"/>
              </a:xfrm>
              <a:custGeom>
                <a:avLst/>
                <a:gdLst>
                  <a:gd name="T0" fmla="*/ 507 w 508"/>
                  <a:gd name="T1" fmla="*/ 210 h 891"/>
                  <a:gd name="T2" fmla="*/ 499 w 508"/>
                  <a:gd name="T3" fmla="*/ 170 h 891"/>
                  <a:gd name="T4" fmla="*/ 502 w 508"/>
                  <a:gd name="T5" fmla="*/ 155 h 891"/>
                  <a:gd name="T6" fmla="*/ 503 w 508"/>
                  <a:gd name="T7" fmla="*/ 104 h 891"/>
                  <a:gd name="T8" fmla="*/ 505 w 508"/>
                  <a:gd name="T9" fmla="*/ 13 h 891"/>
                  <a:gd name="T10" fmla="*/ 497 w 508"/>
                  <a:gd name="T11" fmla="*/ 0 h 891"/>
                  <a:gd name="T12" fmla="*/ 425 w 508"/>
                  <a:gd name="T13" fmla="*/ 38 h 891"/>
                  <a:gd name="T14" fmla="*/ 393 w 508"/>
                  <a:gd name="T15" fmla="*/ 45 h 891"/>
                  <a:gd name="T16" fmla="*/ 354 w 508"/>
                  <a:gd name="T17" fmla="*/ 66 h 891"/>
                  <a:gd name="T18" fmla="*/ 325 w 508"/>
                  <a:gd name="T19" fmla="*/ 61 h 891"/>
                  <a:gd name="T20" fmla="*/ 279 w 508"/>
                  <a:gd name="T21" fmla="*/ 51 h 891"/>
                  <a:gd name="T22" fmla="*/ 237 w 508"/>
                  <a:gd name="T23" fmla="*/ 62 h 891"/>
                  <a:gd name="T24" fmla="*/ 224 w 508"/>
                  <a:gd name="T25" fmla="*/ 89 h 891"/>
                  <a:gd name="T26" fmla="*/ 228 w 508"/>
                  <a:gd name="T27" fmla="*/ 144 h 891"/>
                  <a:gd name="T28" fmla="*/ 235 w 508"/>
                  <a:gd name="T29" fmla="*/ 166 h 891"/>
                  <a:gd name="T30" fmla="*/ 281 w 508"/>
                  <a:gd name="T31" fmla="*/ 231 h 891"/>
                  <a:gd name="T32" fmla="*/ 268 w 508"/>
                  <a:gd name="T33" fmla="*/ 300 h 891"/>
                  <a:gd name="T34" fmla="*/ 246 w 508"/>
                  <a:gd name="T35" fmla="*/ 333 h 891"/>
                  <a:gd name="T36" fmla="*/ 234 w 508"/>
                  <a:gd name="T37" fmla="*/ 340 h 891"/>
                  <a:gd name="T38" fmla="*/ 202 w 508"/>
                  <a:gd name="T39" fmla="*/ 297 h 891"/>
                  <a:gd name="T40" fmla="*/ 208 w 508"/>
                  <a:gd name="T41" fmla="*/ 279 h 891"/>
                  <a:gd name="T42" fmla="*/ 210 w 508"/>
                  <a:gd name="T43" fmla="*/ 263 h 891"/>
                  <a:gd name="T44" fmla="*/ 208 w 508"/>
                  <a:gd name="T45" fmla="*/ 234 h 891"/>
                  <a:gd name="T46" fmla="*/ 189 w 508"/>
                  <a:gd name="T47" fmla="*/ 218 h 891"/>
                  <a:gd name="T48" fmla="*/ 148 w 508"/>
                  <a:gd name="T49" fmla="*/ 189 h 891"/>
                  <a:gd name="T50" fmla="*/ 43 w 508"/>
                  <a:gd name="T51" fmla="*/ 227 h 891"/>
                  <a:gd name="T52" fmla="*/ 5 w 508"/>
                  <a:gd name="T53" fmla="*/ 243 h 891"/>
                  <a:gd name="T54" fmla="*/ 17 w 508"/>
                  <a:gd name="T55" fmla="*/ 297 h 891"/>
                  <a:gd name="T56" fmla="*/ 64 w 508"/>
                  <a:gd name="T57" fmla="*/ 309 h 891"/>
                  <a:gd name="T58" fmla="*/ 89 w 508"/>
                  <a:gd name="T59" fmla="*/ 322 h 891"/>
                  <a:gd name="T60" fmla="*/ 120 w 508"/>
                  <a:gd name="T61" fmla="*/ 331 h 891"/>
                  <a:gd name="T62" fmla="*/ 129 w 508"/>
                  <a:gd name="T63" fmla="*/ 357 h 891"/>
                  <a:gd name="T64" fmla="*/ 131 w 508"/>
                  <a:gd name="T65" fmla="*/ 375 h 891"/>
                  <a:gd name="T66" fmla="*/ 129 w 508"/>
                  <a:gd name="T67" fmla="*/ 395 h 891"/>
                  <a:gd name="T68" fmla="*/ 131 w 508"/>
                  <a:gd name="T69" fmla="*/ 434 h 891"/>
                  <a:gd name="T70" fmla="*/ 117 w 508"/>
                  <a:gd name="T71" fmla="*/ 450 h 891"/>
                  <a:gd name="T72" fmla="*/ 117 w 508"/>
                  <a:gd name="T73" fmla="*/ 482 h 891"/>
                  <a:gd name="T74" fmla="*/ 125 w 508"/>
                  <a:gd name="T75" fmla="*/ 518 h 891"/>
                  <a:gd name="T76" fmla="*/ 105 w 508"/>
                  <a:gd name="T77" fmla="*/ 542 h 891"/>
                  <a:gd name="T78" fmla="*/ 96 w 508"/>
                  <a:gd name="T79" fmla="*/ 570 h 891"/>
                  <a:gd name="T80" fmla="*/ 95 w 508"/>
                  <a:gd name="T81" fmla="*/ 586 h 891"/>
                  <a:gd name="T82" fmla="*/ 57 w 508"/>
                  <a:gd name="T83" fmla="*/ 702 h 891"/>
                  <a:gd name="T84" fmla="*/ 78 w 508"/>
                  <a:gd name="T85" fmla="*/ 809 h 891"/>
                  <a:gd name="T86" fmla="*/ 76 w 508"/>
                  <a:gd name="T87" fmla="*/ 830 h 891"/>
                  <a:gd name="T88" fmla="*/ 83 w 508"/>
                  <a:gd name="T89" fmla="*/ 861 h 891"/>
                  <a:gd name="T90" fmla="*/ 98 w 508"/>
                  <a:gd name="T91" fmla="*/ 877 h 891"/>
                  <a:gd name="T92" fmla="*/ 115 w 508"/>
                  <a:gd name="T93" fmla="*/ 871 h 891"/>
                  <a:gd name="T94" fmla="*/ 109 w 508"/>
                  <a:gd name="T95" fmla="*/ 819 h 891"/>
                  <a:gd name="T96" fmla="*/ 242 w 508"/>
                  <a:gd name="T97" fmla="*/ 735 h 891"/>
                  <a:gd name="T98" fmla="*/ 230 w 508"/>
                  <a:gd name="T99" fmla="*/ 713 h 891"/>
                  <a:gd name="T100" fmla="*/ 241 w 508"/>
                  <a:gd name="T101" fmla="*/ 650 h 891"/>
                  <a:gd name="T102" fmla="*/ 246 w 508"/>
                  <a:gd name="T103" fmla="*/ 626 h 891"/>
                  <a:gd name="T104" fmla="*/ 238 w 508"/>
                  <a:gd name="T105" fmla="*/ 612 h 891"/>
                  <a:gd name="T106" fmla="*/ 225 w 508"/>
                  <a:gd name="T107" fmla="*/ 555 h 891"/>
                  <a:gd name="T108" fmla="*/ 222 w 508"/>
                  <a:gd name="T109" fmla="*/ 503 h 891"/>
                  <a:gd name="T110" fmla="*/ 267 w 508"/>
                  <a:gd name="T111" fmla="*/ 455 h 891"/>
                  <a:gd name="T112" fmla="*/ 312 w 508"/>
                  <a:gd name="T113" fmla="*/ 419 h 891"/>
                  <a:gd name="T114" fmla="*/ 417 w 508"/>
                  <a:gd name="T115" fmla="*/ 348 h 891"/>
                  <a:gd name="T116" fmla="*/ 458 w 508"/>
                  <a:gd name="T117" fmla="*/ 314 h 891"/>
                  <a:gd name="T118" fmla="*/ 498 w 508"/>
                  <a:gd name="T119" fmla="*/ 263 h 891"/>
                  <a:gd name="T120" fmla="*/ 508 w 508"/>
                  <a:gd name="T121" fmla="*/ 229 h 8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08" h="891">
                    <a:moveTo>
                      <a:pt x="508" y="229"/>
                    </a:moveTo>
                    <a:cubicBezTo>
                      <a:pt x="508" y="221"/>
                      <a:pt x="507" y="210"/>
                      <a:pt x="507" y="210"/>
                    </a:cubicBezTo>
                    <a:cubicBezTo>
                      <a:pt x="499" y="211"/>
                      <a:pt x="499" y="211"/>
                      <a:pt x="499" y="211"/>
                    </a:cubicBezTo>
                    <a:cubicBezTo>
                      <a:pt x="499" y="170"/>
                      <a:pt x="499" y="170"/>
                      <a:pt x="499" y="170"/>
                    </a:cubicBezTo>
                    <a:cubicBezTo>
                      <a:pt x="491" y="162"/>
                      <a:pt x="491" y="162"/>
                      <a:pt x="491" y="162"/>
                    </a:cubicBezTo>
                    <a:cubicBezTo>
                      <a:pt x="502" y="155"/>
                      <a:pt x="502" y="155"/>
                      <a:pt x="502" y="155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503" y="104"/>
                      <a:pt x="503" y="104"/>
                      <a:pt x="503" y="104"/>
                    </a:cubicBezTo>
                    <a:cubicBezTo>
                      <a:pt x="493" y="78"/>
                      <a:pt x="493" y="78"/>
                      <a:pt x="493" y="78"/>
                    </a:cubicBezTo>
                    <a:cubicBezTo>
                      <a:pt x="493" y="78"/>
                      <a:pt x="505" y="21"/>
                      <a:pt x="505" y="13"/>
                    </a:cubicBezTo>
                    <a:cubicBezTo>
                      <a:pt x="505" y="5"/>
                      <a:pt x="497" y="0"/>
                      <a:pt x="497" y="0"/>
                    </a:cubicBezTo>
                    <a:cubicBezTo>
                      <a:pt x="497" y="0"/>
                      <a:pt x="497" y="0"/>
                      <a:pt x="497" y="0"/>
                    </a:cubicBezTo>
                    <a:cubicBezTo>
                      <a:pt x="444" y="37"/>
                      <a:pt x="444" y="37"/>
                      <a:pt x="444" y="37"/>
                    </a:cubicBezTo>
                    <a:cubicBezTo>
                      <a:pt x="425" y="38"/>
                      <a:pt x="425" y="38"/>
                      <a:pt x="425" y="38"/>
                    </a:cubicBezTo>
                    <a:cubicBezTo>
                      <a:pt x="425" y="38"/>
                      <a:pt x="404" y="51"/>
                      <a:pt x="400" y="52"/>
                    </a:cubicBezTo>
                    <a:cubicBezTo>
                      <a:pt x="396" y="53"/>
                      <a:pt x="393" y="45"/>
                      <a:pt x="393" y="45"/>
                    </a:cubicBezTo>
                    <a:cubicBezTo>
                      <a:pt x="377" y="45"/>
                      <a:pt x="377" y="45"/>
                      <a:pt x="377" y="45"/>
                    </a:cubicBezTo>
                    <a:cubicBezTo>
                      <a:pt x="377" y="45"/>
                      <a:pt x="361" y="63"/>
                      <a:pt x="354" y="66"/>
                    </a:cubicBezTo>
                    <a:cubicBezTo>
                      <a:pt x="347" y="69"/>
                      <a:pt x="343" y="67"/>
                      <a:pt x="343" y="67"/>
                    </a:cubicBezTo>
                    <a:cubicBezTo>
                      <a:pt x="343" y="67"/>
                      <a:pt x="329" y="59"/>
                      <a:pt x="325" y="61"/>
                    </a:cubicBezTo>
                    <a:cubicBezTo>
                      <a:pt x="321" y="63"/>
                      <a:pt x="316" y="72"/>
                      <a:pt x="311" y="72"/>
                    </a:cubicBezTo>
                    <a:cubicBezTo>
                      <a:pt x="306" y="72"/>
                      <a:pt x="287" y="51"/>
                      <a:pt x="279" y="51"/>
                    </a:cubicBezTo>
                    <a:cubicBezTo>
                      <a:pt x="271" y="51"/>
                      <a:pt x="267" y="61"/>
                      <a:pt x="267" y="61"/>
                    </a:cubicBezTo>
                    <a:cubicBezTo>
                      <a:pt x="267" y="61"/>
                      <a:pt x="250" y="62"/>
                      <a:pt x="237" y="62"/>
                    </a:cubicBezTo>
                    <a:cubicBezTo>
                      <a:pt x="236" y="66"/>
                      <a:pt x="236" y="70"/>
                      <a:pt x="236" y="72"/>
                    </a:cubicBezTo>
                    <a:cubicBezTo>
                      <a:pt x="236" y="75"/>
                      <a:pt x="233" y="81"/>
                      <a:pt x="224" y="89"/>
                    </a:cubicBezTo>
                    <a:cubicBezTo>
                      <a:pt x="215" y="97"/>
                      <a:pt x="225" y="104"/>
                      <a:pt x="229" y="109"/>
                    </a:cubicBezTo>
                    <a:cubicBezTo>
                      <a:pt x="233" y="114"/>
                      <a:pt x="233" y="132"/>
                      <a:pt x="228" y="144"/>
                    </a:cubicBezTo>
                    <a:cubicBezTo>
                      <a:pt x="225" y="151"/>
                      <a:pt x="225" y="159"/>
                      <a:pt x="226" y="164"/>
                    </a:cubicBezTo>
                    <a:cubicBezTo>
                      <a:pt x="229" y="165"/>
                      <a:pt x="233" y="165"/>
                      <a:pt x="235" y="166"/>
                    </a:cubicBezTo>
                    <a:cubicBezTo>
                      <a:pt x="239" y="169"/>
                      <a:pt x="257" y="196"/>
                      <a:pt x="261" y="204"/>
                    </a:cubicBezTo>
                    <a:cubicBezTo>
                      <a:pt x="265" y="212"/>
                      <a:pt x="275" y="222"/>
                      <a:pt x="281" y="231"/>
                    </a:cubicBezTo>
                    <a:cubicBezTo>
                      <a:pt x="287" y="240"/>
                      <a:pt x="270" y="258"/>
                      <a:pt x="270" y="258"/>
                    </a:cubicBezTo>
                    <a:cubicBezTo>
                      <a:pt x="270" y="258"/>
                      <a:pt x="274" y="293"/>
                      <a:pt x="268" y="300"/>
                    </a:cubicBezTo>
                    <a:cubicBezTo>
                      <a:pt x="262" y="307"/>
                      <a:pt x="244" y="299"/>
                      <a:pt x="238" y="317"/>
                    </a:cubicBezTo>
                    <a:cubicBezTo>
                      <a:pt x="232" y="335"/>
                      <a:pt x="242" y="323"/>
                      <a:pt x="246" y="333"/>
                    </a:cubicBezTo>
                    <a:cubicBezTo>
                      <a:pt x="250" y="343"/>
                      <a:pt x="243" y="360"/>
                      <a:pt x="232" y="358"/>
                    </a:cubicBezTo>
                    <a:cubicBezTo>
                      <a:pt x="221" y="356"/>
                      <a:pt x="235" y="346"/>
                      <a:pt x="234" y="340"/>
                    </a:cubicBezTo>
                    <a:cubicBezTo>
                      <a:pt x="233" y="334"/>
                      <a:pt x="202" y="314"/>
                      <a:pt x="202" y="314"/>
                    </a:cubicBezTo>
                    <a:cubicBezTo>
                      <a:pt x="202" y="297"/>
                      <a:pt x="202" y="297"/>
                      <a:pt x="202" y="297"/>
                    </a:cubicBezTo>
                    <a:cubicBezTo>
                      <a:pt x="202" y="297"/>
                      <a:pt x="197" y="297"/>
                      <a:pt x="195" y="294"/>
                    </a:cubicBezTo>
                    <a:cubicBezTo>
                      <a:pt x="193" y="291"/>
                      <a:pt x="208" y="279"/>
                      <a:pt x="208" y="279"/>
                    </a:cubicBezTo>
                    <a:cubicBezTo>
                      <a:pt x="200" y="266"/>
                      <a:pt x="200" y="266"/>
                      <a:pt x="200" y="266"/>
                    </a:cubicBezTo>
                    <a:cubicBezTo>
                      <a:pt x="210" y="263"/>
                      <a:pt x="210" y="263"/>
                      <a:pt x="210" y="263"/>
                    </a:cubicBezTo>
                    <a:cubicBezTo>
                      <a:pt x="213" y="242"/>
                      <a:pt x="213" y="242"/>
                      <a:pt x="213" y="242"/>
                    </a:cubicBezTo>
                    <a:cubicBezTo>
                      <a:pt x="213" y="242"/>
                      <a:pt x="207" y="243"/>
                      <a:pt x="208" y="234"/>
                    </a:cubicBezTo>
                    <a:cubicBezTo>
                      <a:pt x="209" y="225"/>
                      <a:pt x="205" y="214"/>
                      <a:pt x="205" y="214"/>
                    </a:cubicBezTo>
                    <a:cubicBezTo>
                      <a:pt x="199" y="211"/>
                      <a:pt x="189" y="218"/>
                      <a:pt x="189" y="218"/>
                    </a:cubicBezTo>
                    <a:cubicBezTo>
                      <a:pt x="169" y="221"/>
                      <a:pt x="169" y="221"/>
                      <a:pt x="169" y="221"/>
                    </a:cubicBezTo>
                    <a:cubicBezTo>
                      <a:pt x="148" y="189"/>
                      <a:pt x="148" y="189"/>
                      <a:pt x="148" y="189"/>
                    </a:cubicBezTo>
                    <a:cubicBezTo>
                      <a:pt x="148" y="189"/>
                      <a:pt x="104" y="209"/>
                      <a:pt x="95" y="214"/>
                    </a:cubicBezTo>
                    <a:cubicBezTo>
                      <a:pt x="85" y="219"/>
                      <a:pt x="43" y="227"/>
                      <a:pt x="43" y="227"/>
                    </a:cubicBezTo>
                    <a:cubicBezTo>
                      <a:pt x="31" y="238"/>
                      <a:pt x="31" y="238"/>
                      <a:pt x="31" y="238"/>
                    </a:cubicBezTo>
                    <a:cubicBezTo>
                      <a:pt x="31" y="238"/>
                      <a:pt x="11" y="239"/>
                      <a:pt x="5" y="243"/>
                    </a:cubicBezTo>
                    <a:cubicBezTo>
                      <a:pt x="0" y="247"/>
                      <a:pt x="15" y="261"/>
                      <a:pt x="15" y="261"/>
                    </a:cubicBezTo>
                    <a:cubicBezTo>
                      <a:pt x="17" y="297"/>
                      <a:pt x="17" y="297"/>
                      <a:pt x="17" y="297"/>
                    </a:cubicBezTo>
                    <a:cubicBezTo>
                      <a:pt x="56" y="297"/>
                      <a:pt x="56" y="297"/>
                      <a:pt x="56" y="297"/>
                    </a:cubicBezTo>
                    <a:cubicBezTo>
                      <a:pt x="64" y="309"/>
                      <a:pt x="64" y="309"/>
                      <a:pt x="64" y="309"/>
                    </a:cubicBezTo>
                    <a:cubicBezTo>
                      <a:pt x="79" y="306"/>
                      <a:pt x="79" y="306"/>
                      <a:pt x="79" y="306"/>
                    </a:cubicBezTo>
                    <a:cubicBezTo>
                      <a:pt x="89" y="322"/>
                      <a:pt x="89" y="322"/>
                      <a:pt x="89" y="322"/>
                    </a:cubicBezTo>
                    <a:cubicBezTo>
                      <a:pt x="89" y="322"/>
                      <a:pt x="99" y="319"/>
                      <a:pt x="107" y="319"/>
                    </a:cubicBezTo>
                    <a:cubicBezTo>
                      <a:pt x="115" y="319"/>
                      <a:pt x="120" y="331"/>
                      <a:pt x="120" y="331"/>
                    </a:cubicBezTo>
                    <a:cubicBezTo>
                      <a:pt x="120" y="331"/>
                      <a:pt x="135" y="331"/>
                      <a:pt x="139" y="339"/>
                    </a:cubicBezTo>
                    <a:cubicBezTo>
                      <a:pt x="143" y="347"/>
                      <a:pt x="129" y="357"/>
                      <a:pt x="129" y="357"/>
                    </a:cubicBezTo>
                    <a:cubicBezTo>
                      <a:pt x="137" y="366"/>
                      <a:pt x="137" y="366"/>
                      <a:pt x="137" y="366"/>
                    </a:cubicBezTo>
                    <a:cubicBezTo>
                      <a:pt x="131" y="375"/>
                      <a:pt x="131" y="375"/>
                      <a:pt x="131" y="375"/>
                    </a:cubicBezTo>
                    <a:cubicBezTo>
                      <a:pt x="137" y="383"/>
                      <a:pt x="137" y="383"/>
                      <a:pt x="137" y="383"/>
                    </a:cubicBezTo>
                    <a:cubicBezTo>
                      <a:pt x="137" y="383"/>
                      <a:pt x="132" y="390"/>
                      <a:pt x="129" y="395"/>
                    </a:cubicBezTo>
                    <a:cubicBezTo>
                      <a:pt x="127" y="401"/>
                      <a:pt x="135" y="407"/>
                      <a:pt x="137" y="421"/>
                    </a:cubicBezTo>
                    <a:cubicBezTo>
                      <a:pt x="140" y="434"/>
                      <a:pt x="131" y="434"/>
                      <a:pt x="131" y="434"/>
                    </a:cubicBezTo>
                    <a:cubicBezTo>
                      <a:pt x="131" y="443"/>
                      <a:pt x="131" y="443"/>
                      <a:pt x="131" y="443"/>
                    </a:cubicBezTo>
                    <a:cubicBezTo>
                      <a:pt x="117" y="450"/>
                      <a:pt x="117" y="450"/>
                      <a:pt x="117" y="450"/>
                    </a:cubicBezTo>
                    <a:cubicBezTo>
                      <a:pt x="131" y="466"/>
                      <a:pt x="131" y="466"/>
                      <a:pt x="131" y="466"/>
                    </a:cubicBezTo>
                    <a:cubicBezTo>
                      <a:pt x="131" y="466"/>
                      <a:pt x="119" y="477"/>
                      <a:pt x="117" y="482"/>
                    </a:cubicBezTo>
                    <a:cubicBezTo>
                      <a:pt x="116" y="487"/>
                      <a:pt x="133" y="498"/>
                      <a:pt x="135" y="505"/>
                    </a:cubicBezTo>
                    <a:cubicBezTo>
                      <a:pt x="136" y="511"/>
                      <a:pt x="125" y="518"/>
                      <a:pt x="125" y="518"/>
                    </a:cubicBezTo>
                    <a:cubicBezTo>
                      <a:pt x="125" y="518"/>
                      <a:pt x="123" y="525"/>
                      <a:pt x="121" y="533"/>
                    </a:cubicBezTo>
                    <a:cubicBezTo>
                      <a:pt x="120" y="541"/>
                      <a:pt x="105" y="542"/>
                      <a:pt x="105" y="542"/>
                    </a:cubicBezTo>
                    <a:cubicBezTo>
                      <a:pt x="104" y="565"/>
                      <a:pt x="104" y="565"/>
                      <a:pt x="104" y="565"/>
                    </a:cubicBezTo>
                    <a:cubicBezTo>
                      <a:pt x="96" y="570"/>
                      <a:pt x="96" y="570"/>
                      <a:pt x="96" y="570"/>
                    </a:cubicBezTo>
                    <a:cubicBezTo>
                      <a:pt x="105" y="583"/>
                      <a:pt x="105" y="583"/>
                      <a:pt x="105" y="583"/>
                    </a:cubicBezTo>
                    <a:cubicBezTo>
                      <a:pt x="95" y="586"/>
                      <a:pt x="95" y="586"/>
                      <a:pt x="95" y="586"/>
                    </a:cubicBezTo>
                    <a:cubicBezTo>
                      <a:pt x="48" y="642"/>
                      <a:pt x="48" y="642"/>
                      <a:pt x="48" y="642"/>
                    </a:cubicBezTo>
                    <a:cubicBezTo>
                      <a:pt x="48" y="642"/>
                      <a:pt x="55" y="693"/>
                      <a:pt x="57" y="702"/>
                    </a:cubicBezTo>
                    <a:cubicBezTo>
                      <a:pt x="59" y="711"/>
                      <a:pt x="80" y="743"/>
                      <a:pt x="79" y="752"/>
                    </a:cubicBezTo>
                    <a:cubicBezTo>
                      <a:pt x="78" y="761"/>
                      <a:pt x="78" y="809"/>
                      <a:pt x="78" y="809"/>
                    </a:cubicBezTo>
                    <a:cubicBezTo>
                      <a:pt x="60" y="833"/>
                      <a:pt x="60" y="833"/>
                      <a:pt x="60" y="833"/>
                    </a:cubicBezTo>
                    <a:cubicBezTo>
                      <a:pt x="76" y="830"/>
                      <a:pt x="76" y="830"/>
                      <a:pt x="76" y="830"/>
                    </a:cubicBezTo>
                    <a:cubicBezTo>
                      <a:pt x="76" y="830"/>
                      <a:pt x="71" y="847"/>
                      <a:pt x="73" y="854"/>
                    </a:cubicBezTo>
                    <a:cubicBezTo>
                      <a:pt x="76" y="861"/>
                      <a:pt x="83" y="861"/>
                      <a:pt x="83" y="861"/>
                    </a:cubicBezTo>
                    <a:cubicBezTo>
                      <a:pt x="87" y="877"/>
                      <a:pt x="87" y="877"/>
                      <a:pt x="87" y="877"/>
                    </a:cubicBezTo>
                    <a:cubicBezTo>
                      <a:pt x="91" y="876"/>
                      <a:pt x="95" y="875"/>
                      <a:pt x="98" y="877"/>
                    </a:cubicBezTo>
                    <a:cubicBezTo>
                      <a:pt x="102" y="879"/>
                      <a:pt x="107" y="885"/>
                      <a:pt x="111" y="891"/>
                    </a:cubicBezTo>
                    <a:cubicBezTo>
                      <a:pt x="113" y="883"/>
                      <a:pt x="115" y="876"/>
                      <a:pt x="115" y="871"/>
                    </a:cubicBezTo>
                    <a:cubicBezTo>
                      <a:pt x="116" y="856"/>
                      <a:pt x="107" y="845"/>
                      <a:pt x="107" y="845"/>
                    </a:cubicBezTo>
                    <a:cubicBezTo>
                      <a:pt x="107" y="845"/>
                      <a:pt x="88" y="839"/>
                      <a:pt x="109" y="819"/>
                    </a:cubicBezTo>
                    <a:cubicBezTo>
                      <a:pt x="130" y="799"/>
                      <a:pt x="165" y="785"/>
                      <a:pt x="186" y="773"/>
                    </a:cubicBezTo>
                    <a:cubicBezTo>
                      <a:pt x="207" y="761"/>
                      <a:pt x="242" y="744"/>
                      <a:pt x="242" y="735"/>
                    </a:cubicBezTo>
                    <a:cubicBezTo>
                      <a:pt x="242" y="726"/>
                      <a:pt x="242" y="718"/>
                      <a:pt x="242" y="718"/>
                    </a:cubicBezTo>
                    <a:cubicBezTo>
                      <a:pt x="242" y="718"/>
                      <a:pt x="231" y="727"/>
                      <a:pt x="230" y="713"/>
                    </a:cubicBezTo>
                    <a:cubicBezTo>
                      <a:pt x="229" y="699"/>
                      <a:pt x="249" y="684"/>
                      <a:pt x="247" y="674"/>
                    </a:cubicBezTo>
                    <a:cubicBezTo>
                      <a:pt x="245" y="664"/>
                      <a:pt x="241" y="650"/>
                      <a:pt x="241" y="650"/>
                    </a:cubicBezTo>
                    <a:cubicBezTo>
                      <a:pt x="248" y="631"/>
                      <a:pt x="248" y="631"/>
                      <a:pt x="248" y="631"/>
                    </a:cubicBezTo>
                    <a:cubicBezTo>
                      <a:pt x="246" y="626"/>
                      <a:pt x="246" y="626"/>
                      <a:pt x="246" y="626"/>
                    </a:cubicBezTo>
                    <a:cubicBezTo>
                      <a:pt x="235" y="639"/>
                      <a:pt x="235" y="639"/>
                      <a:pt x="235" y="639"/>
                    </a:cubicBezTo>
                    <a:cubicBezTo>
                      <a:pt x="238" y="612"/>
                      <a:pt x="238" y="612"/>
                      <a:pt x="238" y="612"/>
                    </a:cubicBezTo>
                    <a:cubicBezTo>
                      <a:pt x="238" y="612"/>
                      <a:pt x="223" y="597"/>
                      <a:pt x="222" y="587"/>
                    </a:cubicBezTo>
                    <a:cubicBezTo>
                      <a:pt x="221" y="577"/>
                      <a:pt x="230" y="567"/>
                      <a:pt x="225" y="555"/>
                    </a:cubicBezTo>
                    <a:cubicBezTo>
                      <a:pt x="220" y="543"/>
                      <a:pt x="208" y="554"/>
                      <a:pt x="208" y="541"/>
                    </a:cubicBezTo>
                    <a:cubicBezTo>
                      <a:pt x="208" y="528"/>
                      <a:pt x="219" y="507"/>
                      <a:pt x="222" y="503"/>
                    </a:cubicBezTo>
                    <a:cubicBezTo>
                      <a:pt x="225" y="499"/>
                      <a:pt x="249" y="493"/>
                      <a:pt x="252" y="484"/>
                    </a:cubicBezTo>
                    <a:cubicBezTo>
                      <a:pt x="255" y="475"/>
                      <a:pt x="260" y="460"/>
                      <a:pt x="267" y="455"/>
                    </a:cubicBezTo>
                    <a:cubicBezTo>
                      <a:pt x="274" y="450"/>
                      <a:pt x="279" y="455"/>
                      <a:pt x="287" y="449"/>
                    </a:cubicBezTo>
                    <a:cubicBezTo>
                      <a:pt x="295" y="443"/>
                      <a:pt x="310" y="435"/>
                      <a:pt x="312" y="419"/>
                    </a:cubicBezTo>
                    <a:cubicBezTo>
                      <a:pt x="314" y="403"/>
                      <a:pt x="331" y="385"/>
                      <a:pt x="348" y="377"/>
                    </a:cubicBezTo>
                    <a:cubicBezTo>
                      <a:pt x="365" y="369"/>
                      <a:pt x="409" y="355"/>
                      <a:pt x="417" y="348"/>
                    </a:cubicBezTo>
                    <a:cubicBezTo>
                      <a:pt x="425" y="341"/>
                      <a:pt x="458" y="324"/>
                      <a:pt x="458" y="324"/>
                    </a:cubicBezTo>
                    <a:cubicBezTo>
                      <a:pt x="458" y="314"/>
                      <a:pt x="458" y="314"/>
                      <a:pt x="458" y="314"/>
                    </a:cubicBezTo>
                    <a:cubicBezTo>
                      <a:pt x="458" y="314"/>
                      <a:pt x="476" y="295"/>
                      <a:pt x="476" y="290"/>
                    </a:cubicBezTo>
                    <a:cubicBezTo>
                      <a:pt x="476" y="285"/>
                      <a:pt x="498" y="263"/>
                      <a:pt x="498" y="263"/>
                    </a:cubicBezTo>
                    <a:cubicBezTo>
                      <a:pt x="496" y="254"/>
                      <a:pt x="496" y="254"/>
                      <a:pt x="496" y="254"/>
                    </a:cubicBezTo>
                    <a:cubicBezTo>
                      <a:pt x="496" y="254"/>
                      <a:pt x="508" y="237"/>
                      <a:pt x="508" y="229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Freeform 346">
                <a:extLst>
                  <a:ext uri="{FF2B5EF4-FFF2-40B4-BE49-F238E27FC236}">
                    <a16:creationId xmlns:a16="http://schemas.microsoft.com/office/drawing/2014/main" id="{052A5431-FC99-02DA-50C4-8BF31B8011E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821" y="-8784"/>
                <a:ext cx="383" cy="982"/>
              </a:xfrm>
              <a:custGeom>
                <a:avLst/>
                <a:gdLst>
                  <a:gd name="T0" fmla="*/ 156 w 162"/>
                  <a:gd name="T1" fmla="*/ 287 h 416"/>
                  <a:gd name="T2" fmla="*/ 136 w 162"/>
                  <a:gd name="T3" fmla="*/ 260 h 416"/>
                  <a:gd name="T4" fmla="*/ 110 w 162"/>
                  <a:gd name="T5" fmla="*/ 222 h 416"/>
                  <a:gd name="T6" fmla="*/ 101 w 162"/>
                  <a:gd name="T7" fmla="*/ 220 h 416"/>
                  <a:gd name="T8" fmla="*/ 105 w 162"/>
                  <a:gd name="T9" fmla="*/ 229 h 416"/>
                  <a:gd name="T10" fmla="*/ 114 w 162"/>
                  <a:gd name="T11" fmla="*/ 237 h 416"/>
                  <a:gd name="T12" fmla="*/ 113 w 162"/>
                  <a:gd name="T13" fmla="*/ 264 h 416"/>
                  <a:gd name="T14" fmla="*/ 105 w 162"/>
                  <a:gd name="T15" fmla="*/ 253 h 416"/>
                  <a:gd name="T16" fmla="*/ 90 w 162"/>
                  <a:gd name="T17" fmla="*/ 257 h 416"/>
                  <a:gd name="T18" fmla="*/ 86 w 162"/>
                  <a:gd name="T19" fmla="*/ 234 h 416"/>
                  <a:gd name="T20" fmla="*/ 81 w 162"/>
                  <a:gd name="T21" fmla="*/ 220 h 416"/>
                  <a:gd name="T22" fmla="*/ 81 w 162"/>
                  <a:gd name="T23" fmla="*/ 195 h 416"/>
                  <a:gd name="T24" fmla="*/ 64 w 162"/>
                  <a:gd name="T25" fmla="*/ 171 h 416"/>
                  <a:gd name="T26" fmla="*/ 59 w 162"/>
                  <a:gd name="T27" fmla="*/ 154 h 416"/>
                  <a:gd name="T28" fmla="*/ 77 w 162"/>
                  <a:gd name="T29" fmla="*/ 126 h 416"/>
                  <a:gd name="T30" fmla="*/ 84 w 162"/>
                  <a:gd name="T31" fmla="*/ 108 h 416"/>
                  <a:gd name="T32" fmla="*/ 81 w 162"/>
                  <a:gd name="T33" fmla="*/ 90 h 416"/>
                  <a:gd name="T34" fmla="*/ 78 w 162"/>
                  <a:gd name="T35" fmla="*/ 51 h 416"/>
                  <a:gd name="T36" fmla="*/ 64 w 162"/>
                  <a:gd name="T37" fmla="*/ 37 h 416"/>
                  <a:gd name="T38" fmla="*/ 60 w 162"/>
                  <a:gd name="T39" fmla="*/ 10 h 416"/>
                  <a:gd name="T40" fmla="*/ 41 w 162"/>
                  <a:gd name="T41" fmla="*/ 10 h 416"/>
                  <a:gd name="T42" fmla="*/ 35 w 162"/>
                  <a:gd name="T43" fmla="*/ 0 h 416"/>
                  <a:gd name="T44" fmla="*/ 20 w 162"/>
                  <a:gd name="T45" fmla="*/ 1 h 416"/>
                  <a:gd name="T46" fmla="*/ 20 w 162"/>
                  <a:gd name="T47" fmla="*/ 9 h 416"/>
                  <a:gd name="T48" fmla="*/ 35 w 162"/>
                  <a:gd name="T49" fmla="*/ 16 h 416"/>
                  <a:gd name="T50" fmla="*/ 37 w 162"/>
                  <a:gd name="T51" fmla="*/ 42 h 416"/>
                  <a:gd name="T52" fmla="*/ 46 w 162"/>
                  <a:gd name="T53" fmla="*/ 41 h 416"/>
                  <a:gd name="T54" fmla="*/ 46 w 162"/>
                  <a:gd name="T55" fmla="*/ 54 h 416"/>
                  <a:gd name="T56" fmla="*/ 52 w 162"/>
                  <a:gd name="T57" fmla="*/ 64 h 416"/>
                  <a:gd name="T58" fmla="*/ 30 w 162"/>
                  <a:gd name="T59" fmla="*/ 75 h 416"/>
                  <a:gd name="T60" fmla="*/ 30 w 162"/>
                  <a:gd name="T61" fmla="*/ 86 h 416"/>
                  <a:gd name="T62" fmla="*/ 37 w 162"/>
                  <a:gd name="T63" fmla="*/ 92 h 416"/>
                  <a:gd name="T64" fmla="*/ 33 w 162"/>
                  <a:gd name="T65" fmla="*/ 105 h 416"/>
                  <a:gd name="T66" fmla="*/ 34 w 162"/>
                  <a:gd name="T67" fmla="*/ 153 h 416"/>
                  <a:gd name="T68" fmla="*/ 42 w 162"/>
                  <a:gd name="T69" fmla="*/ 157 h 416"/>
                  <a:gd name="T70" fmla="*/ 14 w 162"/>
                  <a:gd name="T71" fmla="*/ 175 h 416"/>
                  <a:gd name="T72" fmla="*/ 16 w 162"/>
                  <a:gd name="T73" fmla="*/ 200 h 416"/>
                  <a:gd name="T74" fmla="*/ 1 w 162"/>
                  <a:gd name="T75" fmla="*/ 226 h 416"/>
                  <a:gd name="T76" fmla="*/ 23 w 162"/>
                  <a:gd name="T77" fmla="*/ 245 h 416"/>
                  <a:gd name="T78" fmla="*/ 44 w 162"/>
                  <a:gd name="T79" fmla="*/ 277 h 416"/>
                  <a:gd name="T80" fmla="*/ 64 w 162"/>
                  <a:gd name="T81" fmla="*/ 274 h 416"/>
                  <a:gd name="T82" fmla="*/ 80 w 162"/>
                  <a:gd name="T83" fmla="*/ 270 h 416"/>
                  <a:gd name="T84" fmla="*/ 83 w 162"/>
                  <a:gd name="T85" fmla="*/ 290 h 416"/>
                  <a:gd name="T86" fmla="*/ 88 w 162"/>
                  <a:gd name="T87" fmla="*/ 298 h 416"/>
                  <a:gd name="T88" fmla="*/ 85 w 162"/>
                  <a:gd name="T89" fmla="*/ 319 h 416"/>
                  <a:gd name="T90" fmla="*/ 75 w 162"/>
                  <a:gd name="T91" fmla="*/ 322 h 416"/>
                  <a:gd name="T92" fmla="*/ 83 w 162"/>
                  <a:gd name="T93" fmla="*/ 335 h 416"/>
                  <a:gd name="T94" fmla="*/ 70 w 162"/>
                  <a:gd name="T95" fmla="*/ 350 h 416"/>
                  <a:gd name="T96" fmla="*/ 77 w 162"/>
                  <a:gd name="T97" fmla="*/ 353 h 416"/>
                  <a:gd name="T98" fmla="*/ 77 w 162"/>
                  <a:gd name="T99" fmla="*/ 370 h 416"/>
                  <a:gd name="T100" fmla="*/ 109 w 162"/>
                  <a:gd name="T101" fmla="*/ 396 h 416"/>
                  <a:gd name="T102" fmla="*/ 107 w 162"/>
                  <a:gd name="T103" fmla="*/ 414 h 416"/>
                  <a:gd name="T104" fmla="*/ 121 w 162"/>
                  <a:gd name="T105" fmla="*/ 389 h 416"/>
                  <a:gd name="T106" fmla="*/ 113 w 162"/>
                  <a:gd name="T107" fmla="*/ 373 h 416"/>
                  <a:gd name="T108" fmla="*/ 143 w 162"/>
                  <a:gd name="T109" fmla="*/ 356 h 416"/>
                  <a:gd name="T110" fmla="*/ 145 w 162"/>
                  <a:gd name="T111" fmla="*/ 314 h 416"/>
                  <a:gd name="T112" fmla="*/ 156 w 162"/>
                  <a:gd name="T113" fmla="*/ 287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62" h="416">
                    <a:moveTo>
                      <a:pt x="156" y="287"/>
                    </a:moveTo>
                    <a:cubicBezTo>
                      <a:pt x="150" y="278"/>
                      <a:pt x="140" y="268"/>
                      <a:pt x="136" y="260"/>
                    </a:cubicBezTo>
                    <a:cubicBezTo>
                      <a:pt x="132" y="252"/>
                      <a:pt x="114" y="225"/>
                      <a:pt x="110" y="222"/>
                    </a:cubicBezTo>
                    <a:cubicBezTo>
                      <a:pt x="108" y="221"/>
                      <a:pt x="104" y="221"/>
                      <a:pt x="101" y="220"/>
                    </a:cubicBezTo>
                    <a:cubicBezTo>
                      <a:pt x="101" y="225"/>
                      <a:pt x="103" y="228"/>
                      <a:pt x="105" y="229"/>
                    </a:cubicBezTo>
                    <a:cubicBezTo>
                      <a:pt x="110" y="231"/>
                      <a:pt x="114" y="237"/>
                      <a:pt x="114" y="237"/>
                    </a:cubicBezTo>
                    <a:cubicBezTo>
                      <a:pt x="114" y="237"/>
                      <a:pt x="119" y="262"/>
                      <a:pt x="113" y="264"/>
                    </a:cubicBezTo>
                    <a:cubicBezTo>
                      <a:pt x="107" y="266"/>
                      <a:pt x="105" y="253"/>
                      <a:pt x="105" y="253"/>
                    </a:cubicBezTo>
                    <a:cubicBezTo>
                      <a:pt x="105" y="253"/>
                      <a:pt x="93" y="259"/>
                      <a:pt x="90" y="257"/>
                    </a:cubicBezTo>
                    <a:cubicBezTo>
                      <a:pt x="87" y="255"/>
                      <a:pt x="87" y="241"/>
                      <a:pt x="86" y="234"/>
                    </a:cubicBezTo>
                    <a:cubicBezTo>
                      <a:pt x="85" y="227"/>
                      <a:pt x="83" y="224"/>
                      <a:pt x="81" y="220"/>
                    </a:cubicBezTo>
                    <a:cubicBezTo>
                      <a:pt x="79" y="216"/>
                      <a:pt x="81" y="203"/>
                      <a:pt x="81" y="195"/>
                    </a:cubicBezTo>
                    <a:cubicBezTo>
                      <a:pt x="81" y="187"/>
                      <a:pt x="76" y="181"/>
                      <a:pt x="64" y="171"/>
                    </a:cubicBezTo>
                    <a:cubicBezTo>
                      <a:pt x="52" y="161"/>
                      <a:pt x="61" y="163"/>
                      <a:pt x="59" y="154"/>
                    </a:cubicBezTo>
                    <a:cubicBezTo>
                      <a:pt x="57" y="145"/>
                      <a:pt x="67" y="137"/>
                      <a:pt x="77" y="126"/>
                    </a:cubicBezTo>
                    <a:cubicBezTo>
                      <a:pt x="87" y="115"/>
                      <a:pt x="83" y="113"/>
                      <a:pt x="84" y="108"/>
                    </a:cubicBezTo>
                    <a:cubicBezTo>
                      <a:pt x="85" y="103"/>
                      <a:pt x="81" y="98"/>
                      <a:pt x="81" y="90"/>
                    </a:cubicBezTo>
                    <a:cubicBezTo>
                      <a:pt x="81" y="82"/>
                      <a:pt x="79" y="67"/>
                      <a:pt x="78" y="51"/>
                    </a:cubicBezTo>
                    <a:cubicBezTo>
                      <a:pt x="77" y="35"/>
                      <a:pt x="75" y="44"/>
                      <a:pt x="64" y="37"/>
                    </a:cubicBezTo>
                    <a:cubicBezTo>
                      <a:pt x="53" y="30"/>
                      <a:pt x="61" y="21"/>
                      <a:pt x="60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20" y="9"/>
                      <a:pt x="20" y="9"/>
                      <a:pt x="20" y="9"/>
                    </a:cubicBezTo>
                    <a:cubicBezTo>
                      <a:pt x="20" y="9"/>
                      <a:pt x="34" y="9"/>
                      <a:pt x="35" y="16"/>
                    </a:cubicBezTo>
                    <a:cubicBezTo>
                      <a:pt x="36" y="23"/>
                      <a:pt x="34" y="42"/>
                      <a:pt x="37" y="42"/>
                    </a:cubicBezTo>
                    <a:cubicBezTo>
                      <a:pt x="40" y="42"/>
                      <a:pt x="46" y="41"/>
                      <a:pt x="46" y="41"/>
                    </a:cubicBezTo>
                    <a:cubicBezTo>
                      <a:pt x="46" y="54"/>
                      <a:pt x="46" y="54"/>
                      <a:pt x="46" y="54"/>
                    </a:cubicBezTo>
                    <a:cubicBezTo>
                      <a:pt x="46" y="54"/>
                      <a:pt x="58" y="57"/>
                      <a:pt x="52" y="64"/>
                    </a:cubicBezTo>
                    <a:cubicBezTo>
                      <a:pt x="46" y="71"/>
                      <a:pt x="30" y="75"/>
                      <a:pt x="30" y="75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7" y="92"/>
                      <a:pt x="37" y="92"/>
                      <a:pt x="37" y="92"/>
                    </a:cubicBezTo>
                    <a:cubicBezTo>
                      <a:pt x="33" y="105"/>
                      <a:pt x="33" y="105"/>
                      <a:pt x="33" y="105"/>
                    </a:cubicBezTo>
                    <a:cubicBezTo>
                      <a:pt x="34" y="153"/>
                      <a:pt x="34" y="153"/>
                      <a:pt x="34" y="153"/>
                    </a:cubicBezTo>
                    <a:cubicBezTo>
                      <a:pt x="34" y="153"/>
                      <a:pt x="45" y="150"/>
                      <a:pt x="42" y="157"/>
                    </a:cubicBezTo>
                    <a:cubicBezTo>
                      <a:pt x="39" y="164"/>
                      <a:pt x="14" y="175"/>
                      <a:pt x="14" y="175"/>
                    </a:cubicBezTo>
                    <a:cubicBezTo>
                      <a:pt x="16" y="200"/>
                      <a:pt x="16" y="200"/>
                      <a:pt x="16" y="200"/>
                    </a:cubicBezTo>
                    <a:cubicBezTo>
                      <a:pt x="16" y="200"/>
                      <a:pt x="0" y="223"/>
                      <a:pt x="1" y="226"/>
                    </a:cubicBezTo>
                    <a:cubicBezTo>
                      <a:pt x="2" y="229"/>
                      <a:pt x="23" y="245"/>
                      <a:pt x="23" y="245"/>
                    </a:cubicBezTo>
                    <a:cubicBezTo>
                      <a:pt x="44" y="277"/>
                      <a:pt x="44" y="277"/>
                      <a:pt x="44" y="277"/>
                    </a:cubicBezTo>
                    <a:cubicBezTo>
                      <a:pt x="64" y="274"/>
                      <a:pt x="64" y="274"/>
                      <a:pt x="64" y="274"/>
                    </a:cubicBezTo>
                    <a:cubicBezTo>
                      <a:pt x="64" y="274"/>
                      <a:pt x="74" y="267"/>
                      <a:pt x="80" y="270"/>
                    </a:cubicBezTo>
                    <a:cubicBezTo>
                      <a:pt x="80" y="270"/>
                      <a:pt x="84" y="281"/>
                      <a:pt x="83" y="290"/>
                    </a:cubicBezTo>
                    <a:cubicBezTo>
                      <a:pt x="82" y="299"/>
                      <a:pt x="88" y="298"/>
                      <a:pt x="88" y="298"/>
                    </a:cubicBezTo>
                    <a:cubicBezTo>
                      <a:pt x="85" y="319"/>
                      <a:pt x="85" y="319"/>
                      <a:pt x="85" y="319"/>
                    </a:cubicBezTo>
                    <a:cubicBezTo>
                      <a:pt x="75" y="322"/>
                      <a:pt x="75" y="322"/>
                      <a:pt x="75" y="322"/>
                    </a:cubicBezTo>
                    <a:cubicBezTo>
                      <a:pt x="83" y="335"/>
                      <a:pt x="83" y="335"/>
                      <a:pt x="83" y="335"/>
                    </a:cubicBezTo>
                    <a:cubicBezTo>
                      <a:pt x="83" y="335"/>
                      <a:pt x="68" y="347"/>
                      <a:pt x="70" y="350"/>
                    </a:cubicBezTo>
                    <a:cubicBezTo>
                      <a:pt x="72" y="353"/>
                      <a:pt x="77" y="353"/>
                      <a:pt x="77" y="353"/>
                    </a:cubicBezTo>
                    <a:cubicBezTo>
                      <a:pt x="77" y="370"/>
                      <a:pt x="77" y="370"/>
                      <a:pt x="77" y="370"/>
                    </a:cubicBezTo>
                    <a:cubicBezTo>
                      <a:pt x="77" y="370"/>
                      <a:pt x="108" y="390"/>
                      <a:pt x="109" y="396"/>
                    </a:cubicBezTo>
                    <a:cubicBezTo>
                      <a:pt x="110" y="402"/>
                      <a:pt x="96" y="412"/>
                      <a:pt x="107" y="414"/>
                    </a:cubicBezTo>
                    <a:cubicBezTo>
                      <a:pt x="118" y="416"/>
                      <a:pt x="125" y="399"/>
                      <a:pt x="121" y="389"/>
                    </a:cubicBezTo>
                    <a:cubicBezTo>
                      <a:pt x="117" y="379"/>
                      <a:pt x="107" y="391"/>
                      <a:pt x="113" y="373"/>
                    </a:cubicBezTo>
                    <a:cubicBezTo>
                      <a:pt x="119" y="355"/>
                      <a:pt x="137" y="363"/>
                      <a:pt x="143" y="356"/>
                    </a:cubicBezTo>
                    <a:cubicBezTo>
                      <a:pt x="149" y="349"/>
                      <a:pt x="145" y="314"/>
                      <a:pt x="145" y="314"/>
                    </a:cubicBezTo>
                    <a:cubicBezTo>
                      <a:pt x="145" y="314"/>
                      <a:pt x="162" y="296"/>
                      <a:pt x="156" y="287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0" name="Freeform 347">
                <a:extLst>
                  <a:ext uri="{FF2B5EF4-FFF2-40B4-BE49-F238E27FC236}">
                    <a16:creationId xmlns:a16="http://schemas.microsoft.com/office/drawing/2014/main" id="{6340EF42-FA82-294B-72EA-863D150A4A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014" y="-8945"/>
                <a:ext cx="1330" cy="1266"/>
              </a:xfrm>
              <a:custGeom>
                <a:avLst/>
                <a:gdLst>
                  <a:gd name="T0" fmla="*/ 551 w 563"/>
                  <a:gd name="T1" fmla="*/ 109 h 536"/>
                  <a:gd name="T2" fmla="*/ 540 w 563"/>
                  <a:gd name="T3" fmla="*/ 84 h 536"/>
                  <a:gd name="T4" fmla="*/ 525 w 563"/>
                  <a:gd name="T5" fmla="*/ 69 h 536"/>
                  <a:gd name="T6" fmla="*/ 502 w 563"/>
                  <a:gd name="T7" fmla="*/ 60 h 536"/>
                  <a:gd name="T8" fmla="*/ 485 w 563"/>
                  <a:gd name="T9" fmla="*/ 51 h 536"/>
                  <a:gd name="T10" fmla="*/ 461 w 563"/>
                  <a:gd name="T11" fmla="*/ 38 h 536"/>
                  <a:gd name="T12" fmla="*/ 436 w 563"/>
                  <a:gd name="T13" fmla="*/ 26 h 536"/>
                  <a:gd name="T14" fmla="*/ 419 w 563"/>
                  <a:gd name="T15" fmla="*/ 25 h 536"/>
                  <a:gd name="T16" fmla="*/ 402 w 563"/>
                  <a:gd name="T17" fmla="*/ 0 h 536"/>
                  <a:gd name="T18" fmla="*/ 333 w 563"/>
                  <a:gd name="T19" fmla="*/ 15 h 536"/>
                  <a:gd name="T20" fmla="*/ 306 w 563"/>
                  <a:gd name="T21" fmla="*/ 57 h 536"/>
                  <a:gd name="T22" fmla="*/ 320 w 563"/>
                  <a:gd name="T23" fmla="*/ 87 h 536"/>
                  <a:gd name="T24" fmla="*/ 304 w 563"/>
                  <a:gd name="T25" fmla="*/ 189 h 536"/>
                  <a:gd name="T26" fmla="*/ 351 w 563"/>
                  <a:gd name="T27" fmla="*/ 230 h 536"/>
                  <a:gd name="T28" fmla="*/ 364 w 563"/>
                  <a:gd name="T29" fmla="*/ 214 h 536"/>
                  <a:gd name="T30" fmla="*/ 367 w 563"/>
                  <a:gd name="T31" fmla="*/ 282 h 536"/>
                  <a:gd name="T32" fmla="*/ 344 w 563"/>
                  <a:gd name="T33" fmla="*/ 281 h 536"/>
                  <a:gd name="T34" fmla="*/ 324 w 563"/>
                  <a:gd name="T35" fmla="*/ 251 h 536"/>
                  <a:gd name="T36" fmla="*/ 305 w 563"/>
                  <a:gd name="T37" fmla="*/ 228 h 536"/>
                  <a:gd name="T38" fmla="*/ 282 w 563"/>
                  <a:gd name="T39" fmla="*/ 216 h 536"/>
                  <a:gd name="T40" fmla="*/ 267 w 563"/>
                  <a:gd name="T41" fmla="*/ 203 h 536"/>
                  <a:gd name="T42" fmla="*/ 246 w 563"/>
                  <a:gd name="T43" fmla="*/ 179 h 536"/>
                  <a:gd name="T44" fmla="*/ 165 w 563"/>
                  <a:gd name="T45" fmla="*/ 188 h 536"/>
                  <a:gd name="T46" fmla="*/ 128 w 563"/>
                  <a:gd name="T47" fmla="*/ 168 h 536"/>
                  <a:gd name="T48" fmla="*/ 117 w 563"/>
                  <a:gd name="T49" fmla="*/ 151 h 536"/>
                  <a:gd name="T50" fmla="*/ 101 w 563"/>
                  <a:gd name="T51" fmla="*/ 144 h 536"/>
                  <a:gd name="T52" fmla="*/ 107 w 563"/>
                  <a:gd name="T53" fmla="*/ 178 h 536"/>
                  <a:gd name="T54" fmla="*/ 98 w 563"/>
                  <a:gd name="T55" fmla="*/ 218 h 536"/>
                  <a:gd name="T56" fmla="*/ 93 w 563"/>
                  <a:gd name="T57" fmla="*/ 232 h 536"/>
                  <a:gd name="T58" fmla="*/ 84 w 563"/>
                  <a:gd name="T59" fmla="*/ 262 h 536"/>
                  <a:gd name="T60" fmla="*/ 0 w 563"/>
                  <a:gd name="T61" fmla="*/ 427 h 536"/>
                  <a:gd name="T62" fmla="*/ 6 w 563"/>
                  <a:gd name="T63" fmla="*/ 449 h 536"/>
                  <a:gd name="T64" fmla="*/ 79 w 563"/>
                  <a:gd name="T65" fmla="*/ 511 h 536"/>
                  <a:gd name="T66" fmla="*/ 108 w 563"/>
                  <a:gd name="T67" fmla="*/ 498 h 536"/>
                  <a:gd name="T68" fmla="*/ 138 w 563"/>
                  <a:gd name="T69" fmla="*/ 504 h 536"/>
                  <a:gd name="T70" fmla="*/ 177 w 563"/>
                  <a:gd name="T71" fmla="*/ 517 h 536"/>
                  <a:gd name="T72" fmla="*/ 202 w 563"/>
                  <a:gd name="T73" fmla="*/ 521 h 536"/>
                  <a:gd name="T74" fmla="*/ 267 w 563"/>
                  <a:gd name="T75" fmla="*/ 491 h 536"/>
                  <a:gd name="T76" fmla="*/ 323 w 563"/>
                  <a:gd name="T77" fmla="*/ 449 h 536"/>
                  <a:gd name="T78" fmla="*/ 356 w 563"/>
                  <a:gd name="T79" fmla="*/ 405 h 536"/>
                  <a:gd name="T80" fmla="*/ 395 w 563"/>
                  <a:gd name="T81" fmla="*/ 385 h 536"/>
                  <a:gd name="T82" fmla="*/ 411 w 563"/>
                  <a:gd name="T83" fmla="*/ 362 h 536"/>
                  <a:gd name="T84" fmla="*/ 475 w 563"/>
                  <a:gd name="T85" fmla="*/ 338 h 536"/>
                  <a:gd name="T86" fmla="*/ 506 w 563"/>
                  <a:gd name="T87" fmla="*/ 294 h 536"/>
                  <a:gd name="T88" fmla="*/ 519 w 563"/>
                  <a:gd name="T89" fmla="*/ 243 h 536"/>
                  <a:gd name="T90" fmla="*/ 539 w 563"/>
                  <a:gd name="T91" fmla="*/ 221 h 536"/>
                  <a:gd name="T92" fmla="*/ 542 w 563"/>
                  <a:gd name="T93" fmla="*/ 160 h 536"/>
                  <a:gd name="T94" fmla="*/ 535 w 563"/>
                  <a:gd name="T95" fmla="*/ 143 h 536"/>
                  <a:gd name="T96" fmla="*/ 551 w 563"/>
                  <a:gd name="T97" fmla="*/ 122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63" h="536">
                    <a:moveTo>
                      <a:pt x="551" y="122"/>
                    </a:moveTo>
                    <a:cubicBezTo>
                      <a:pt x="551" y="109"/>
                      <a:pt x="551" y="109"/>
                      <a:pt x="551" y="109"/>
                    </a:cubicBezTo>
                    <a:cubicBezTo>
                      <a:pt x="551" y="109"/>
                      <a:pt x="545" y="110"/>
                      <a:pt x="542" y="110"/>
                    </a:cubicBezTo>
                    <a:cubicBezTo>
                      <a:pt x="539" y="110"/>
                      <a:pt x="541" y="91"/>
                      <a:pt x="540" y="84"/>
                    </a:cubicBezTo>
                    <a:cubicBezTo>
                      <a:pt x="539" y="77"/>
                      <a:pt x="525" y="77"/>
                      <a:pt x="525" y="77"/>
                    </a:cubicBezTo>
                    <a:cubicBezTo>
                      <a:pt x="525" y="69"/>
                      <a:pt x="525" y="69"/>
                      <a:pt x="525" y="69"/>
                    </a:cubicBezTo>
                    <a:cubicBezTo>
                      <a:pt x="514" y="59"/>
                      <a:pt x="514" y="59"/>
                      <a:pt x="514" y="59"/>
                    </a:cubicBezTo>
                    <a:cubicBezTo>
                      <a:pt x="502" y="60"/>
                      <a:pt x="502" y="60"/>
                      <a:pt x="502" y="60"/>
                    </a:cubicBezTo>
                    <a:cubicBezTo>
                      <a:pt x="500" y="49"/>
                      <a:pt x="500" y="49"/>
                      <a:pt x="500" y="49"/>
                    </a:cubicBezTo>
                    <a:cubicBezTo>
                      <a:pt x="500" y="49"/>
                      <a:pt x="490" y="55"/>
                      <a:pt x="485" y="51"/>
                    </a:cubicBezTo>
                    <a:cubicBezTo>
                      <a:pt x="480" y="47"/>
                      <a:pt x="473" y="38"/>
                      <a:pt x="473" y="38"/>
                    </a:cubicBezTo>
                    <a:cubicBezTo>
                      <a:pt x="473" y="38"/>
                      <a:pt x="464" y="41"/>
                      <a:pt x="461" y="38"/>
                    </a:cubicBezTo>
                    <a:cubicBezTo>
                      <a:pt x="458" y="35"/>
                      <a:pt x="456" y="23"/>
                      <a:pt x="456" y="23"/>
                    </a:cubicBezTo>
                    <a:cubicBezTo>
                      <a:pt x="456" y="23"/>
                      <a:pt x="444" y="27"/>
                      <a:pt x="436" y="26"/>
                    </a:cubicBezTo>
                    <a:cubicBezTo>
                      <a:pt x="434" y="31"/>
                      <a:pt x="431" y="36"/>
                      <a:pt x="428" y="38"/>
                    </a:cubicBezTo>
                    <a:cubicBezTo>
                      <a:pt x="420" y="42"/>
                      <a:pt x="419" y="25"/>
                      <a:pt x="419" y="25"/>
                    </a:cubicBezTo>
                    <a:cubicBezTo>
                      <a:pt x="419" y="25"/>
                      <a:pt x="411" y="20"/>
                      <a:pt x="400" y="16"/>
                    </a:cubicBezTo>
                    <a:cubicBezTo>
                      <a:pt x="393" y="13"/>
                      <a:pt x="398" y="6"/>
                      <a:pt x="402" y="0"/>
                    </a:cubicBezTo>
                    <a:cubicBezTo>
                      <a:pt x="394" y="4"/>
                      <a:pt x="387" y="6"/>
                      <a:pt x="383" y="7"/>
                    </a:cubicBezTo>
                    <a:cubicBezTo>
                      <a:pt x="370" y="10"/>
                      <a:pt x="333" y="15"/>
                      <a:pt x="333" y="15"/>
                    </a:cubicBezTo>
                    <a:cubicBezTo>
                      <a:pt x="333" y="15"/>
                      <a:pt x="333" y="28"/>
                      <a:pt x="333" y="35"/>
                    </a:cubicBezTo>
                    <a:cubicBezTo>
                      <a:pt x="333" y="42"/>
                      <a:pt x="306" y="57"/>
                      <a:pt x="306" y="57"/>
                    </a:cubicBezTo>
                    <a:cubicBezTo>
                      <a:pt x="306" y="57"/>
                      <a:pt x="312" y="64"/>
                      <a:pt x="315" y="66"/>
                    </a:cubicBezTo>
                    <a:cubicBezTo>
                      <a:pt x="318" y="68"/>
                      <a:pt x="320" y="87"/>
                      <a:pt x="320" y="87"/>
                    </a:cubicBezTo>
                    <a:cubicBezTo>
                      <a:pt x="320" y="87"/>
                      <a:pt x="324" y="121"/>
                      <a:pt x="324" y="135"/>
                    </a:cubicBezTo>
                    <a:cubicBezTo>
                      <a:pt x="324" y="149"/>
                      <a:pt x="302" y="171"/>
                      <a:pt x="304" y="189"/>
                    </a:cubicBezTo>
                    <a:cubicBezTo>
                      <a:pt x="306" y="207"/>
                      <a:pt x="317" y="202"/>
                      <a:pt x="323" y="209"/>
                    </a:cubicBezTo>
                    <a:cubicBezTo>
                      <a:pt x="329" y="216"/>
                      <a:pt x="341" y="230"/>
                      <a:pt x="351" y="230"/>
                    </a:cubicBezTo>
                    <a:cubicBezTo>
                      <a:pt x="361" y="230"/>
                      <a:pt x="358" y="217"/>
                      <a:pt x="358" y="217"/>
                    </a:cubicBezTo>
                    <a:cubicBezTo>
                      <a:pt x="364" y="214"/>
                      <a:pt x="364" y="214"/>
                      <a:pt x="364" y="214"/>
                    </a:cubicBezTo>
                    <a:cubicBezTo>
                      <a:pt x="372" y="214"/>
                      <a:pt x="372" y="214"/>
                      <a:pt x="372" y="214"/>
                    </a:cubicBezTo>
                    <a:cubicBezTo>
                      <a:pt x="372" y="214"/>
                      <a:pt x="373" y="279"/>
                      <a:pt x="367" y="282"/>
                    </a:cubicBezTo>
                    <a:cubicBezTo>
                      <a:pt x="361" y="285"/>
                      <a:pt x="359" y="271"/>
                      <a:pt x="359" y="271"/>
                    </a:cubicBezTo>
                    <a:cubicBezTo>
                      <a:pt x="344" y="281"/>
                      <a:pt x="344" y="281"/>
                      <a:pt x="344" y="281"/>
                    </a:cubicBezTo>
                    <a:cubicBezTo>
                      <a:pt x="332" y="281"/>
                      <a:pt x="332" y="281"/>
                      <a:pt x="332" y="281"/>
                    </a:cubicBezTo>
                    <a:cubicBezTo>
                      <a:pt x="332" y="281"/>
                      <a:pt x="329" y="258"/>
                      <a:pt x="324" y="251"/>
                    </a:cubicBezTo>
                    <a:cubicBezTo>
                      <a:pt x="319" y="244"/>
                      <a:pt x="313" y="247"/>
                      <a:pt x="313" y="247"/>
                    </a:cubicBezTo>
                    <a:cubicBezTo>
                      <a:pt x="313" y="247"/>
                      <a:pt x="311" y="236"/>
                      <a:pt x="305" y="228"/>
                    </a:cubicBezTo>
                    <a:cubicBezTo>
                      <a:pt x="299" y="220"/>
                      <a:pt x="294" y="228"/>
                      <a:pt x="290" y="228"/>
                    </a:cubicBezTo>
                    <a:cubicBezTo>
                      <a:pt x="286" y="228"/>
                      <a:pt x="287" y="220"/>
                      <a:pt x="282" y="216"/>
                    </a:cubicBezTo>
                    <a:cubicBezTo>
                      <a:pt x="277" y="212"/>
                      <a:pt x="275" y="218"/>
                      <a:pt x="267" y="217"/>
                    </a:cubicBezTo>
                    <a:cubicBezTo>
                      <a:pt x="259" y="216"/>
                      <a:pt x="267" y="207"/>
                      <a:pt x="267" y="203"/>
                    </a:cubicBezTo>
                    <a:cubicBezTo>
                      <a:pt x="267" y="199"/>
                      <a:pt x="257" y="199"/>
                      <a:pt x="253" y="194"/>
                    </a:cubicBezTo>
                    <a:cubicBezTo>
                      <a:pt x="249" y="189"/>
                      <a:pt x="258" y="184"/>
                      <a:pt x="246" y="179"/>
                    </a:cubicBezTo>
                    <a:cubicBezTo>
                      <a:pt x="234" y="174"/>
                      <a:pt x="237" y="200"/>
                      <a:pt x="232" y="204"/>
                    </a:cubicBezTo>
                    <a:cubicBezTo>
                      <a:pt x="227" y="208"/>
                      <a:pt x="175" y="195"/>
                      <a:pt x="165" y="188"/>
                    </a:cubicBezTo>
                    <a:cubicBezTo>
                      <a:pt x="155" y="181"/>
                      <a:pt x="159" y="162"/>
                      <a:pt x="159" y="162"/>
                    </a:cubicBezTo>
                    <a:cubicBezTo>
                      <a:pt x="128" y="168"/>
                      <a:pt x="128" y="168"/>
                      <a:pt x="128" y="168"/>
                    </a:cubicBezTo>
                    <a:cubicBezTo>
                      <a:pt x="128" y="168"/>
                      <a:pt x="142" y="178"/>
                      <a:pt x="125" y="177"/>
                    </a:cubicBezTo>
                    <a:cubicBezTo>
                      <a:pt x="108" y="176"/>
                      <a:pt x="117" y="151"/>
                      <a:pt x="117" y="151"/>
                    </a:cubicBezTo>
                    <a:cubicBezTo>
                      <a:pt x="106" y="153"/>
                      <a:pt x="106" y="153"/>
                      <a:pt x="106" y="153"/>
                    </a:cubicBezTo>
                    <a:cubicBezTo>
                      <a:pt x="101" y="144"/>
                      <a:pt x="101" y="144"/>
                      <a:pt x="101" y="144"/>
                    </a:cubicBezTo>
                    <a:cubicBezTo>
                      <a:pt x="96" y="154"/>
                      <a:pt x="96" y="154"/>
                      <a:pt x="96" y="154"/>
                    </a:cubicBezTo>
                    <a:cubicBezTo>
                      <a:pt x="96" y="154"/>
                      <a:pt x="110" y="175"/>
                      <a:pt x="107" y="178"/>
                    </a:cubicBezTo>
                    <a:cubicBezTo>
                      <a:pt x="104" y="181"/>
                      <a:pt x="96" y="183"/>
                      <a:pt x="96" y="183"/>
                    </a:cubicBezTo>
                    <a:cubicBezTo>
                      <a:pt x="98" y="218"/>
                      <a:pt x="98" y="218"/>
                      <a:pt x="98" y="218"/>
                    </a:cubicBezTo>
                    <a:cubicBezTo>
                      <a:pt x="106" y="229"/>
                      <a:pt x="106" y="229"/>
                      <a:pt x="106" y="229"/>
                    </a:cubicBezTo>
                    <a:cubicBezTo>
                      <a:pt x="93" y="232"/>
                      <a:pt x="93" y="232"/>
                      <a:pt x="93" y="232"/>
                    </a:cubicBezTo>
                    <a:cubicBezTo>
                      <a:pt x="93" y="232"/>
                      <a:pt x="99" y="248"/>
                      <a:pt x="97" y="255"/>
                    </a:cubicBezTo>
                    <a:cubicBezTo>
                      <a:pt x="95" y="262"/>
                      <a:pt x="84" y="262"/>
                      <a:pt x="84" y="262"/>
                    </a:cubicBezTo>
                    <a:cubicBezTo>
                      <a:pt x="1" y="260"/>
                      <a:pt x="1" y="260"/>
                      <a:pt x="1" y="260"/>
                    </a:cubicBezTo>
                    <a:cubicBezTo>
                      <a:pt x="0" y="427"/>
                      <a:pt x="0" y="427"/>
                      <a:pt x="0" y="427"/>
                    </a:cubicBezTo>
                    <a:cubicBezTo>
                      <a:pt x="6" y="437"/>
                      <a:pt x="6" y="437"/>
                      <a:pt x="6" y="437"/>
                    </a:cubicBezTo>
                    <a:cubicBezTo>
                      <a:pt x="6" y="449"/>
                      <a:pt x="6" y="449"/>
                      <a:pt x="6" y="449"/>
                    </a:cubicBezTo>
                    <a:cubicBezTo>
                      <a:pt x="64" y="507"/>
                      <a:pt x="64" y="507"/>
                      <a:pt x="64" y="507"/>
                    </a:cubicBezTo>
                    <a:cubicBezTo>
                      <a:pt x="79" y="511"/>
                      <a:pt x="79" y="511"/>
                      <a:pt x="79" y="511"/>
                    </a:cubicBezTo>
                    <a:cubicBezTo>
                      <a:pt x="92" y="503"/>
                      <a:pt x="92" y="503"/>
                      <a:pt x="92" y="503"/>
                    </a:cubicBezTo>
                    <a:cubicBezTo>
                      <a:pt x="92" y="503"/>
                      <a:pt x="99" y="498"/>
                      <a:pt x="108" y="498"/>
                    </a:cubicBezTo>
                    <a:cubicBezTo>
                      <a:pt x="117" y="498"/>
                      <a:pt x="118" y="506"/>
                      <a:pt x="118" y="506"/>
                    </a:cubicBezTo>
                    <a:cubicBezTo>
                      <a:pt x="138" y="504"/>
                      <a:pt x="138" y="504"/>
                      <a:pt x="138" y="504"/>
                    </a:cubicBezTo>
                    <a:cubicBezTo>
                      <a:pt x="151" y="517"/>
                      <a:pt x="151" y="517"/>
                      <a:pt x="151" y="517"/>
                    </a:cubicBezTo>
                    <a:cubicBezTo>
                      <a:pt x="151" y="517"/>
                      <a:pt x="175" y="513"/>
                      <a:pt x="177" y="517"/>
                    </a:cubicBezTo>
                    <a:cubicBezTo>
                      <a:pt x="179" y="521"/>
                      <a:pt x="185" y="527"/>
                      <a:pt x="189" y="527"/>
                    </a:cubicBezTo>
                    <a:cubicBezTo>
                      <a:pt x="193" y="527"/>
                      <a:pt x="195" y="515"/>
                      <a:pt x="202" y="521"/>
                    </a:cubicBezTo>
                    <a:cubicBezTo>
                      <a:pt x="209" y="527"/>
                      <a:pt x="210" y="536"/>
                      <a:pt x="228" y="527"/>
                    </a:cubicBezTo>
                    <a:cubicBezTo>
                      <a:pt x="246" y="518"/>
                      <a:pt x="267" y="491"/>
                      <a:pt x="267" y="491"/>
                    </a:cubicBezTo>
                    <a:cubicBezTo>
                      <a:pt x="267" y="491"/>
                      <a:pt x="269" y="475"/>
                      <a:pt x="276" y="468"/>
                    </a:cubicBezTo>
                    <a:cubicBezTo>
                      <a:pt x="283" y="461"/>
                      <a:pt x="322" y="450"/>
                      <a:pt x="323" y="449"/>
                    </a:cubicBezTo>
                    <a:cubicBezTo>
                      <a:pt x="324" y="448"/>
                      <a:pt x="321" y="425"/>
                      <a:pt x="321" y="425"/>
                    </a:cubicBezTo>
                    <a:cubicBezTo>
                      <a:pt x="321" y="425"/>
                      <a:pt x="339" y="411"/>
                      <a:pt x="356" y="405"/>
                    </a:cubicBezTo>
                    <a:cubicBezTo>
                      <a:pt x="369" y="400"/>
                      <a:pt x="387" y="400"/>
                      <a:pt x="396" y="401"/>
                    </a:cubicBezTo>
                    <a:cubicBezTo>
                      <a:pt x="395" y="385"/>
                      <a:pt x="395" y="385"/>
                      <a:pt x="395" y="385"/>
                    </a:cubicBezTo>
                    <a:cubicBezTo>
                      <a:pt x="395" y="385"/>
                      <a:pt x="380" y="371"/>
                      <a:pt x="385" y="367"/>
                    </a:cubicBezTo>
                    <a:cubicBezTo>
                      <a:pt x="391" y="363"/>
                      <a:pt x="411" y="362"/>
                      <a:pt x="411" y="362"/>
                    </a:cubicBezTo>
                    <a:cubicBezTo>
                      <a:pt x="423" y="351"/>
                      <a:pt x="423" y="351"/>
                      <a:pt x="423" y="351"/>
                    </a:cubicBezTo>
                    <a:cubicBezTo>
                      <a:pt x="423" y="351"/>
                      <a:pt x="465" y="343"/>
                      <a:pt x="475" y="338"/>
                    </a:cubicBezTo>
                    <a:cubicBezTo>
                      <a:pt x="484" y="333"/>
                      <a:pt x="528" y="313"/>
                      <a:pt x="528" y="313"/>
                    </a:cubicBezTo>
                    <a:cubicBezTo>
                      <a:pt x="528" y="313"/>
                      <a:pt x="507" y="297"/>
                      <a:pt x="506" y="294"/>
                    </a:cubicBezTo>
                    <a:cubicBezTo>
                      <a:pt x="505" y="291"/>
                      <a:pt x="521" y="268"/>
                      <a:pt x="521" y="268"/>
                    </a:cubicBezTo>
                    <a:cubicBezTo>
                      <a:pt x="519" y="243"/>
                      <a:pt x="519" y="243"/>
                      <a:pt x="519" y="243"/>
                    </a:cubicBezTo>
                    <a:cubicBezTo>
                      <a:pt x="519" y="243"/>
                      <a:pt x="544" y="232"/>
                      <a:pt x="547" y="225"/>
                    </a:cubicBezTo>
                    <a:cubicBezTo>
                      <a:pt x="550" y="218"/>
                      <a:pt x="539" y="221"/>
                      <a:pt x="539" y="221"/>
                    </a:cubicBezTo>
                    <a:cubicBezTo>
                      <a:pt x="538" y="173"/>
                      <a:pt x="538" y="173"/>
                      <a:pt x="538" y="173"/>
                    </a:cubicBezTo>
                    <a:cubicBezTo>
                      <a:pt x="542" y="160"/>
                      <a:pt x="542" y="160"/>
                      <a:pt x="542" y="160"/>
                    </a:cubicBezTo>
                    <a:cubicBezTo>
                      <a:pt x="535" y="154"/>
                      <a:pt x="535" y="154"/>
                      <a:pt x="535" y="154"/>
                    </a:cubicBezTo>
                    <a:cubicBezTo>
                      <a:pt x="535" y="143"/>
                      <a:pt x="535" y="143"/>
                      <a:pt x="535" y="143"/>
                    </a:cubicBezTo>
                    <a:cubicBezTo>
                      <a:pt x="535" y="143"/>
                      <a:pt x="551" y="139"/>
                      <a:pt x="557" y="132"/>
                    </a:cubicBezTo>
                    <a:cubicBezTo>
                      <a:pt x="563" y="125"/>
                      <a:pt x="551" y="122"/>
                      <a:pt x="551" y="122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1" name="Freeform 348">
                <a:extLst>
                  <a:ext uri="{FF2B5EF4-FFF2-40B4-BE49-F238E27FC236}">
                    <a16:creationId xmlns:a16="http://schemas.microsoft.com/office/drawing/2014/main" id="{7AD7EBEA-A1D1-5569-25DA-D4E67D1949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089" y="-10672"/>
                <a:ext cx="2131" cy="2400"/>
              </a:xfrm>
              <a:custGeom>
                <a:avLst/>
                <a:gdLst>
                  <a:gd name="T0" fmla="*/ 838 w 902"/>
                  <a:gd name="T1" fmla="*/ 264 h 1016"/>
                  <a:gd name="T2" fmla="*/ 853 w 902"/>
                  <a:gd name="T3" fmla="*/ 230 h 1016"/>
                  <a:gd name="T4" fmla="*/ 890 w 902"/>
                  <a:gd name="T5" fmla="*/ 163 h 1016"/>
                  <a:gd name="T6" fmla="*/ 873 w 902"/>
                  <a:gd name="T7" fmla="*/ 127 h 1016"/>
                  <a:gd name="T8" fmla="*/ 869 w 902"/>
                  <a:gd name="T9" fmla="*/ 98 h 1016"/>
                  <a:gd name="T10" fmla="*/ 820 w 902"/>
                  <a:gd name="T11" fmla="*/ 39 h 1016"/>
                  <a:gd name="T12" fmla="*/ 765 w 902"/>
                  <a:gd name="T13" fmla="*/ 61 h 1016"/>
                  <a:gd name="T14" fmla="*/ 713 w 902"/>
                  <a:gd name="T15" fmla="*/ 13 h 1016"/>
                  <a:gd name="T16" fmla="*/ 659 w 902"/>
                  <a:gd name="T17" fmla="*/ 10 h 1016"/>
                  <a:gd name="T18" fmla="*/ 611 w 902"/>
                  <a:gd name="T19" fmla="*/ 23 h 1016"/>
                  <a:gd name="T20" fmla="*/ 560 w 902"/>
                  <a:gd name="T21" fmla="*/ 32 h 1016"/>
                  <a:gd name="T22" fmla="*/ 509 w 902"/>
                  <a:gd name="T23" fmla="*/ 30 h 1016"/>
                  <a:gd name="T24" fmla="*/ 462 w 902"/>
                  <a:gd name="T25" fmla="*/ 63 h 1016"/>
                  <a:gd name="T26" fmla="*/ 394 w 902"/>
                  <a:gd name="T27" fmla="*/ 53 h 1016"/>
                  <a:gd name="T28" fmla="*/ 346 w 902"/>
                  <a:gd name="T29" fmla="*/ 15 h 1016"/>
                  <a:gd name="T30" fmla="*/ 302 w 902"/>
                  <a:gd name="T31" fmla="*/ 72 h 1016"/>
                  <a:gd name="T32" fmla="*/ 301 w 902"/>
                  <a:gd name="T33" fmla="*/ 103 h 1016"/>
                  <a:gd name="T34" fmla="*/ 276 w 902"/>
                  <a:gd name="T35" fmla="*/ 217 h 1016"/>
                  <a:gd name="T36" fmla="*/ 262 w 902"/>
                  <a:gd name="T37" fmla="*/ 289 h 1016"/>
                  <a:gd name="T38" fmla="*/ 213 w 902"/>
                  <a:gd name="T39" fmla="*/ 359 h 1016"/>
                  <a:gd name="T40" fmla="*/ 187 w 902"/>
                  <a:gd name="T41" fmla="*/ 477 h 1016"/>
                  <a:gd name="T42" fmla="*/ 129 w 902"/>
                  <a:gd name="T43" fmla="*/ 540 h 1016"/>
                  <a:gd name="T44" fmla="*/ 83 w 902"/>
                  <a:gd name="T45" fmla="*/ 533 h 1016"/>
                  <a:gd name="T46" fmla="*/ 43 w 902"/>
                  <a:gd name="T47" fmla="*/ 537 h 1016"/>
                  <a:gd name="T48" fmla="*/ 9 w 902"/>
                  <a:gd name="T49" fmla="*/ 565 h 1016"/>
                  <a:gd name="T50" fmla="*/ 12 w 902"/>
                  <a:gd name="T51" fmla="*/ 617 h 1016"/>
                  <a:gd name="T52" fmla="*/ 57 w 902"/>
                  <a:gd name="T53" fmla="*/ 607 h 1016"/>
                  <a:gd name="T54" fmla="*/ 98 w 902"/>
                  <a:gd name="T55" fmla="*/ 611 h 1016"/>
                  <a:gd name="T56" fmla="*/ 153 w 902"/>
                  <a:gd name="T57" fmla="*/ 609 h 1016"/>
                  <a:gd name="T58" fmla="*/ 200 w 902"/>
                  <a:gd name="T59" fmla="*/ 608 h 1016"/>
                  <a:gd name="T60" fmla="*/ 223 w 902"/>
                  <a:gd name="T61" fmla="*/ 664 h 1016"/>
                  <a:gd name="T62" fmla="*/ 240 w 902"/>
                  <a:gd name="T63" fmla="*/ 709 h 1016"/>
                  <a:gd name="T64" fmla="*/ 270 w 902"/>
                  <a:gd name="T65" fmla="*/ 726 h 1016"/>
                  <a:gd name="T66" fmla="*/ 296 w 902"/>
                  <a:gd name="T67" fmla="*/ 724 h 1016"/>
                  <a:gd name="T68" fmla="*/ 337 w 902"/>
                  <a:gd name="T69" fmla="*/ 720 h 1016"/>
                  <a:gd name="T70" fmla="*/ 343 w 902"/>
                  <a:gd name="T71" fmla="*/ 672 h 1016"/>
                  <a:gd name="T72" fmla="*/ 391 w 902"/>
                  <a:gd name="T73" fmla="*/ 678 h 1016"/>
                  <a:gd name="T74" fmla="*/ 452 w 902"/>
                  <a:gd name="T75" fmla="*/ 703 h 1016"/>
                  <a:gd name="T76" fmla="*/ 461 w 902"/>
                  <a:gd name="T77" fmla="*/ 747 h 1016"/>
                  <a:gd name="T78" fmla="*/ 451 w 902"/>
                  <a:gd name="T79" fmla="*/ 799 h 1016"/>
                  <a:gd name="T80" fmla="*/ 471 w 902"/>
                  <a:gd name="T81" fmla="*/ 869 h 1016"/>
                  <a:gd name="T82" fmla="*/ 485 w 902"/>
                  <a:gd name="T83" fmla="*/ 886 h 1016"/>
                  <a:gd name="T84" fmla="*/ 526 w 902"/>
                  <a:gd name="T85" fmla="*/ 880 h 1016"/>
                  <a:gd name="T86" fmla="*/ 556 w 902"/>
                  <a:gd name="T87" fmla="*/ 875 h 1016"/>
                  <a:gd name="T88" fmla="*/ 580 w 902"/>
                  <a:gd name="T89" fmla="*/ 908 h 1016"/>
                  <a:gd name="T90" fmla="*/ 620 w 902"/>
                  <a:gd name="T91" fmla="*/ 919 h 1016"/>
                  <a:gd name="T92" fmla="*/ 708 w 902"/>
                  <a:gd name="T93" fmla="*/ 925 h 1016"/>
                  <a:gd name="T94" fmla="*/ 737 w 902"/>
                  <a:gd name="T95" fmla="*/ 947 h 1016"/>
                  <a:gd name="T96" fmla="*/ 768 w 902"/>
                  <a:gd name="T97" fmla="*/ 978 h 1016"/>
                  <a:gd name="T98" fmla="*/ 799 w 902"/>
                  <a:gd name="T99" fmla="*/ 1012 h 1016"/>
                  <a:gd name="T100" fmla="*/ 827 w 902"/>
                  <a:gd name="T101" fmla="*/ 945 h 1016"/>
                  <a:gd name="T102" fmla="*/ 806 w 902"/>
                  <a:gd name="T103" fmla="*/ 961 h 1016"/>
                  <a:gd name="T104" fmla="*/ 779 w 902"/>
                  <a:gd name="T105" fmla="*/ 866 h 1016"/>
                  <a:gd name="T106" fmla="*/ 761 w 902"/>
                  <a:gd name="T107" fmla="*/ 788 h 1016"/>
                  <a:gd name="T108" fmla="*/ 838 w 902"/>
                  <a:gd name="T109" fmla="*/ 738 h 1016"/>
                  <a:gd name="T110" fmla="*/ 850 w 902"/>
                  <a:gd name="T111" fmla="*/ 710 h 1016"/>
                  <a:gd name="T112" fmla="*/ 828 w 902"/>
                  <a:gd name="T113" fmla="*/ 658 h 1016"/>
                  <a:gd name="T114" fmla="*/ 810 w 902"/>
                  <a:gd name="T115" fmla="*/ 589 h 1016"/>
                  <a:gd name="T116" fmla="*/ 802 w 902"/>
                  <a:gd name="T117" fmla="*/ 502 h 1016"/>
                  <a:gd name="T118" fmla="*/ 816 w 902"/>
                  <a:gd name="T119" fmla="*/ 471 h 1016"/>
                  <a:gd name="T120" fmla="*/ 795 w 902"/>
                  <a:gd name="T121" fmla="*/ 434 h 1016"/>
                  <a:gd name="T122" fmla="*/ 799 w 902"/>
                  <a:gd name="T123" fmla="*/ 384 h 10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02" h="1016">
                    <a:moveTo>
                      <a:pt x="828" y="315"/>
                    </a:moveTo>
                    <a:cubicBezTo>
                      <a:pt x="828" y="295"/>
                      <a:pt x="828" y="295"/>
                      <a:pt x="828" y="295"/>
                    </a:cubicBezTo>
                    <a:cubicBezTo>
                      <a:pt x="838" y="264"/>
                      <a:pt x="838" y="264"/>
                      <a:pt x="838" y="264"/>
                    </a:cubicBezTo>
                    <a:cubicBezTo>
                      <a:pt x="840" y="247"/>
                      <a:pt x="840" y="247"/>
                      <a:pt x="840" y="247"/>
                    </a:cubicBezTo>
                    <a:cubicBezTo>
                      <a:pt x="853" y="239"/>
                      <a:pt x="853" y="239"/>
                      <a:pt x="853" y="239"/>
                    </a:cubicBezTo>
                    <a:cubicBezTo>
                      <a:pt x="853" y="230"/>
                      <a:pt x="853" y="230"/>
                      <a:pt x="853" y="230"/>
                    </a:cubicBezTo>
                    <a:cubicBezTo>
                      <a:pt x="869" y="222"/>
                      <a:pt x="869" y="222"/>
                      <a:pt x="869" y="222"/>
                    </a:cubicBezTo>
                    <a:cubicBezTo>
                      <a:pt x="869" y="222"/>
                      <a:pt x="902" y="182"/>
                      <a:pt x="902" y="174"/>
                    </a:cubicBezTo>
                    <a:cubicBezTo>
                      <a:pt x="902" y="166"/>
                      <a:pt x="890" y="163"/>
                      <a:pt x="890" y="163"/>
                    </a:cubicBezTo>
                    <a:cubicBezTo>
                      <a:pt x="890" y="163"/>
                      <a:pt x="879" y="164"/>
                      <a:pt x="876" y="158"/>
                    </a:cubicBezTo>
                    <a:cubicBezTo>
                      <a:pt x="873" y="153"/>
                      <a:pt x="882" y="142"/>
                      <a:pt x="883" y="137"/>
                    </a:cubicBezTo>
                    <a:cubicBezTo>
                      <a:pt x="884" y="131"/>
                      <a:pt x="873" y="127"/>
                      <a:pt x="873" y="127"/>
                    </a:cubicBezTo>
                    <a:cubicBezTo>
                      <a:pt x="886" y="113"/>
                      <a:pt x="886" y="113"/>
                      <a:pt x="886" y="113"/>
                    </a:cubicBezTo>
                    <a:cubicBezTo>
                      <a:pt x="880" y="100"/>
                      <a:pt x="880" y="100"/>
                      <a:pt x="880" y="100"/>
                    </a:cubicBezTo>
                    <a:cubicBezTo>
                      <a:pt x="869" y="98"/>
                      <a:pt x="869" y="98"/>
                      <a:pt x="869" y="98"/>
                    </a:cubicBezTo>
                    <a:cubicBezTo>
                      <a:pt x="866" y="84"/>
                      <a:pt x="866" y="84"/>
                      <a:pt x="866" y="84"/>
                    </a:cubicBezTo>
                    <a:cubicBezTo>
                      <a:pt x="866" y="84"/>
                      <a:pt x="847" y="80"/>
                      <a:pt x="839" y="68"/>
                    </a:cubicBezTo>
                    <a:cubicBezTo>
                      <a:pt x="831" y="56"/>
                      <a:pt x="827" y="39"/>
                      <a:pt x="820" y="39"/>
                    </a:cubicBezTo>
                    <a:cubicBezTo>
                      <a:pt x="813" y="39"/>
                      <a:pt x="814" y="57"/>
                      <a:pt x="803" y="57"/>
                    </a:cubicBezTo>
                    <a:cubicBezTo>
                      <a:pt x="792" y="57"/>
                      <a:pt x="791" y="45"/>
                      <a:pt x="782" y="45"/>
                    </a:cubicBezTo>
                    <a:cubicBezTo>
                      <a:pt x="773" y="45"/>
                      <a:pt x="765" y="61"/>
                      <a:pt x="765" y="61"/>
                    </a:cubicBezTo>
                    <a:cubicBezTo>
                      <a:pt x="734" y="46"/>
                      <a:pt x="734" y="46"/>
                      <a:pt x="734" y="46"/>
                    </a:cubicBezTo>
                    <a:cubicBezTo>
                      <a:pt x="734" y="32"/>
                      <a:pt x="734" y="32"/>
                      <a:pt x="734" y="32"/>
                    </a:cubicBezTo>
                    <a:cubicBezTo>
                      <a:pt x="713" y="13"/>
                      <a:pt x="713" y="13"/>
                      <a:pt x="713" y="13"/>
                    </a:cubicBezTo>
                    <a:cubicBezTo>
                      <a:pt x="709" y="5"/>
                      <a:pt x="709" y="5"/>
                      <a:pt x="709" y="5"/>
                    </a:cubicBezTo>
                    <a:cubicBezTo>
                      <a:pt x="709" y="5"/>
                      <a:pt x="705" y="16"/>
                      <a:pt x="685" y="21"/>
                    </a:cubicBezTo>
                    <a:cubicBezTo>
                      <a:pt x="665" y="26"/>
                      <a:pt x="659" y="10"/>
                      <a:pt x="659" y="10"/>
                    </a:cubicBezTo>
                    <a:cubicBezTo>
                      <a:pt x="638" y="13"/>
                      <a:pt x="638" y="13"/>
                      <a:pt x="638" y="13"/>
                    </a:cubicBezTo>
                    <a:cubicBezTo>
                      <a:pt x="638" y="13"/>
                      <a:pt x="630" y="0"/>
                      <a:pt x="623" y="1"/>
                    </a:cubicBezTo>
                    <a:cubicBezTo>
                      <a:pt x="616" y="2"/>
                      <a:pt x="611" y="23"/>
                      <a:pt x="611" y="23"/>
                    </a:cubicBezTo>
                    <a:cubicBezTo>
                      <a:pt x="611" y="23"/>
                      <a:pt x="593" y="28"/>
                      <a:pt x="589" y="28"/>
                    </a:cubicBezTo>
                    <a:cubicBezTo>
                      <a:pt x="585" y="28"/>
                      <a:pt x="576" y="18"/>
                      <a:pt x="576" y="18"/>
                    </a:cubicBezTo>
                    <a:cubicBezTo>
                      <a:pt x="560" y="32"/>
                      <a:pt x="560" y="32"/>
                      <a:pt x="560" y="32"/>
                    </a:cubicBezTo>
                    <a:cubicBezTo>
                      <a:pt x="548" y="32"/>
                      <a:pt x="548" y="32"/>
                      <a:pt x="548" y="32"/>
                    </a:cubicBezTo>
                    <a:cubicBezTo>
                      <a:pt x="548" y="32"/>
                      <a:pt x="535" y="41"/>
                      <a:pt x="529" y="46"/>
                    </a:cubicBezTo>
                    <a:cubicBezTo>
                      <a:pt x="523" y="51"/>
                      <a:pt x="509" y="30"/>
                      <a:pt x="509" y="30"/>
                    </a:cubicBezTo>
                    <a:cubicBezTo>
                      <a:pt x="509" y="30"/>
                      <a:pt x="502" y="43"/>
                      <a:pt x="495" y="46"/>
                    </a:cubicBezTo>
                    <a:cubicBezTo>
                      <a:pt x="488" y="49"/>
                      <a:pt x="493" y="63"/>
                      <a:pt x="484" y="70"/>
                    </a:cubicBezTo>
                    <a:cubicBezTo>
                      <a:pt x="475" y="77"/>
                      <a:pt x="462" y="63"/>
                      <a:pt x="462" y="63"/>
                    </a:cubicBezTo>
                    <a:cubicBezTo>
                      <a:pt x="462" y="63"/>
                      <a:pt x="444" y="63"/>
                      <a:pt x="434" y="64"/>
                    </a:cubicBezTo>
                    <a:cubicBezTo>
                      <a:pt x="424" y="65"/>
                      <a:pt x="418" y="53"/>
                      <a:pt x="418" y="53"/>
                    </a:cubicBezTo>
                    <a:cubicBezTo>
                      <a:pt x="418" y="53"/>
                      <a:pt x="409" y="53"/>
                      <a:pt x="394" y="53"/>
                    </a:cubicBezTo>
                    <a:cubicBezTo>
                      <a:pt x="379" y="53"/>
                      <a:pt x="391" y="38"/>
                      <a:pt x="388" y="34"/>
                    </a:cubicBezTo>
                    <a:cubicBezTo>
                      <a:pt x="385" y="30"/>
                      <a:pt x="372" y="32"/>
                      <a:pt x="372" y="32"/>
                    </a:cubicBezTo>
                    <a:cubicBezTo>
                      <a:pt x="372" y="32"/>
                      <a:pt x="375" y="17"/>
                      <a:pt x="346" y="15"/>
                    </a:cubicBezTo>
                    <a:cubicBezTo>
                      <a:pt x="317" y="13"/>
                      <a:pt x="327" y="32"/>
                      <a:pt x="317" y="46"/>
                    </a:cubicBezTo>
                    <a:cubicBezTo>
                      <a:pt x="307" y="60"/>
                      <a:pt x="308" y="49"/>
                      <a:pt x="300" y="59"/>
                    </a:cubicBezTo>
                    <a:cubicBezTo>
                      <a:pt x="292" y="69"/>
                      <a:pt x="302" y="72"/>
                      <a:pt x="302" y="72"/>
                    </a:cubicBezTo>
                    <a:cubicBezTo>
                      <a:pt x="302" y="82"/>
                      <a:pt x="302" y="82"/>
                      <a:pt x="302" y="82"/>
                    </a:cubicBezTo>
                    <a:cubicBezTo>
                      <a:pt x="292" y="96"/>
                      <a:pt x="292" y="96"/>
                      <a:pt x="292" y="96"/>
                    </a:cubicBezTo>
                    <a:cubicBezTo>
                      <a:pt x="301" y="103"/>
                      <a:pt x="301" y="103"/>
                      <a:pt x="301" y="103"/>
                    </a:cubicBezTo>
                    <a:cubicBezTo>
                      <a:pt x="301" y="103"/>
                      <a:pt x="301" y="114"/>
                      <a:pt x="301" y="122"/>
                    </a:cubicBezTo>
                    <a:cubicBezTo>
                      <a:pt x="301" y="130"/>
                      <a:pt x="286" y="159"/>
                      <a:pt x="277" y="169"/>
                    </a:cubicBezTo>
                    <a:cubicBezTo>
                      <a:pt x="268" y="179"/>
                      <a:pt x="275" y="206"/>
                      <a:pt x="276" y="217"/>
                    </a:cubicBezTo>
                    <a:cubicBezTo>
                      <a:pt x="277" y="228"/>
                      <a:pt x="267" y="236"/>
                      <a:pt x="265" y="244"/>
                    </a:cubicBezTo>
                    <a:cubicBezTo>
                      <a:pt x="263" y="252"/>
                      <a:pt x="272" y="259"/>
                      <a:pt x="272" y="270"/>
                    </a:cubicBezTo>
                    <a:cubicBezTo>
                      <a:pt x="272" y="281"/>
                      <a:pt x="262" y="289"/>
                      <a:pt x="262" y="289"/>
                    </a:cubicBezTo>
                    <a:cubicBezTo>
                      <a:pt x="259" y="321"/>
                      <a:pt x="259" y="321"/>
                      <a:pt x="259" y="321"/>
                    </a:cubicBezTo>
                    <a:cubicBezTo>
                      <a:pt x="259" y="321"/>
                      <a:pt x="253" y="336"/>
                      <a:pt x="243" y="343"/>
                    </a:cubicBezTo>
                    <a:cubicBezTo>
                      <a:pt x="233" y="350"/>
                      <a:pt x="220" y="356"/>
                      <a:pt x="213" y="359"/>
                    </a:cubicBezTo>
                    <a:cubicBezTo>
                      <a:pt x="206" y="362"/>
                      <a:pt x="206" y="385"/>
                      <a:pt x="205" y="394"/>
                    </a:cubicBezTo>
                    <a:cubicBezTo>
                      <a:pt x="204" y="403"/>
                      <a:pt x="186" y="410"/>
                      <a:pt x="186" y="410"/>
                    </a:cubicBezTo>
                    <a:cubicBezTo>
                      <a:pt x="187" y="477"/>
                      <a:pt x="187" y="477"/>
                      <a:pt x="187" y="477"/>
                    </a:cubicBezTo>
                    <a:cubicBezTo>
                      <a:pt x="170" y="507"/>
                      <a:pt x="170" y="507"/>
                      <a:pt x="170" y="507"/>
                    </a:cubicBezTo>
                    <a:cubicBezTo>
                      <a:pt x="170" y="507"/>
                      <a:pt x="160" y="510"/>
                      <a:pt x="154" y="510"/>
                    </a:cubicBezTo>
                    <a:cubicBezTo>
                      <a:pt x="148" y="510"/>
                      <a:pt x="136" y="531"/>
                      <a:pt x="129" y="540"/>
                    </a:cubicBezTo>
                    <a:cubicBezTo>
                      <a:pt x="122" y="549"/>
                      <a:pt x="119" y="554"/>
                      <a:pt x="104" y="554"/>
                    </a:cubicBezTo>
                    <a:cubicBezTo>
                      <a:pt x="89" y="554"/>
                      <a:pt x="107" y="531"/>
                      <a:pt x="100" y="524"/>
                    </a:cubicBezTo>
                    <a:cubicBezTo>
                      <a:pt x="93" y="517"/>
                      <a:pt x="83" y="533"/>
                      <a:pt x="83" y="533"/>
                    </a:cubicBezTo>
                    <a:cubicBezTo>
                      <a:pt x="70" y="532"/>
                      <a:pt x="70" y="532"/>
                      <a:pt x="70" y="532"/>
                    </a:cubicBezTo>
                    <a:cubicBezTo>
                      <a:pt x="70" y="532"/>
                      <a:pt x="71" y="548"/>
                      <a:pt x="59" y="553"/>
                    </a:cubicBezTo>
                    <a:cubicBezTo>
                      <a:pt x="47" y="558"/>
                      <a:pt x="43" y="537"/>
                      <a:pt x="43" y="537"/>
                    </a:cubicBezTo>
                    <a:cubicBezTo>
                      <a:pt x="36" y="540"/>
                      <a:pt x="36" y="540"/>
                      <a:pt x="36" y="540"/>
                    </a:cubicBezTo>
                    <a:cubicBezTo>
                      <a:pt x="33" y="548"/>
                      <a:pt x="33" y="548"/>
                      <a:pt x="33" y="548"/>
                    </a:cubicBezTo>
                    <a:cubicBezTo>
                      <a:pt x="9" y="565"/>
                      <a:pt x="9" y="565"/>
                      <a:pt x="9" y="565"/>
                    </a:cubicBezTo>
                    <a:cubicBezTo>
                      <a:pt x="9" y="565"/>
                      <a:pt x="21" y="591"/>
                      <a:pt x="13" y="595"/>
                    </a:cubicBezTo>
                    <a:cubicBezTo>
                      <a:pt x="10" y="597"/>
                      <a:pt x="5" y="599"/>
                      <a:pt x="0" y="602"/>
                    </a:cubicBezTo>
                    <a:cubicBezTo>
                      <a:pt x="4" y="605"/>
                      <a:pt x="11" y="612"/>
                      <a:pt x="12" y="617"/>
                    </a:cubicBezTo>
                    <a:cubicBezTo>
                      <a:pt x="35" y="607"/>
                      <a:pt x="35" y="607"/>
                      <a:pt x="35" y="607"/>
                    </a:cubicBezTo>
                    <a:cubicBezTo>
                      <a:pt x="52" y="609"/>
                      <a:pt x="52" y="609"/>
                      <a:pt x="52" y="609"/>
                    </a:cubicBezTo>
                    <a:cubicBezTo>
                      <a:pt x="57" y="607"/>
                      <a:pt x="57" y="607"/>
                      <a:pt x="57" y="607"/>
                    </a:cubicBezTo>
                    <a:cubicBezTo>
                      <a:pt x="65" y="609"/>
                      <a:pt x="65" y="609"/>
                      <a:pt x="65" y="609"/>
                    </a:cubicBezTo>
                    <a:cubicBezTo>
                      <a:pt x="80" y="605"/>
                      <a:pt x="80" y="605"/>
                      <a:pt x="80" y="605"/>
                    </a:cubicBezTo>
                    <a:cubicBezTo>
                      <a:pt x="80" y="605"/>
                      <a:pt x="91" y="612"/>
                      <a:pt x="98" y="611"/>
                    </a:cubicBezTo>
                    <a:cubicBezTo>
                      <a:pt x="105" y="610"/>
                      <a:pt x="123" y="607"/>
                      <a:pt x="123" y="607"/>
                    </a:cubicBezTo>
                    <a:cubicBezTo>
                      <a:pt x="123" y="607"/>
                      <a:pt x="136" y="609"/>
                      <a:pt x="141" y="609"/>
                    </a:cubicBezTo>
                    <a:cubicBezTo>
                      <a:pt x="146" y="609"/>
                      <a:pt x="153" y="609"/>
                      <a:pt x="153" y="609"/>
                    </a:cubicBezTo>
                    <a:cubicBezTo>
                      <a:pt x="163" y="606"/>
                      <a:pt x="163" y="606"/>
                      <a:pt x="163" y="606"/>
                    </a:cubicBezTo>
                    <a:cubicBezTo>
                      <a:pt x="177" y="607"/>
                      <a:pt x="177" y="607"/>
                      <a:pt x="177" y="607"/>
                    </a:cubicBezTo>
                    <a:cubicBezTo>
                      <a:pt x="177" y="607"/>
                      <a:pt x="195" y="599"/>
                      <a:pt x="200" y="608"/>
                    </a:cubicBezTo>
                    <a:cubicBezTo>
                      <a:pt x="205" y="617"/>
                      <a:pt x="211" y="621"/>
                      <a:pt x="211" y="621"/>
                    </a:cubicBezTo>
                    <a:cubicBezTo>
                      <a:pt x="212" y="651"/>
                      <a:pt x="212" y="651"/>
                      <a:pt x="212" y="651"/>
                    </a:cubicBezTo>
                    <a:cubicBezTo>
                      <a:pt x="212" y="651"/>
                      <a:pt x="222" y="658"/>
                      <a:pt x="223" y="664"/>
                    </a:cubicBezTo>
                    <a:cubicBezTo>
                      <a:pt x="224" y="670"/>
                      <a:pt x="222" y="686"/>
                      <a:pt x="222" y="686"/>
                    </a:cubicBezTo>
                    <a:cubicBezTo>
                      <a:pt x="222" y="686"/>
                      <a:pt x="228" y="689"/>
                      <a:pt x="233" y="695"/>
                    </a:cubicBezTo>
                    <a:cubicBezTo>
                      <a:pt x="238" y="701"/>
                      <a:pt x="240" y="709"/>
                      <a:pt x="240" y="709"/>
                    </a:cubicBezTo>
                    <a:cubicBezTo>
                      <a:pt x="246" y="717"/>
                      <a:pt x="246" y="717"/>
                      <a:pt x="246" y="717"/>
                    </a:cubicBezTo>
                    <a:cubicBezTo>
                      <a:pt x="249" y="727"/>
                      <a:pt x="249" y="727"/>
                      <a:pt x="249" y="727"/>
                    </a:cubicBezTo>
                    <a:cubicBezTo>
                      <a:pt x="270" y="726"/>
                      <a:pt x="270" y="726"/>
                      <a:pt x="270" y="726"/>
                    </a:cubicBezTo>
                    <a:cubicBezTo>
                      <a:pt x="277" y="731"/>
                      <a:pt x="277" y="731"/>
                      <a:pt x="277" y="731"/>
                    </a:cubicBezTo>
                    <a:cubicBezTo>
                      <a:pt x="281" y="724"/>
                      <a:pt x="281" y="724"/>
                      <a:pt x="281" y="724"/>
                    </a:cubicBezTo>
                    <a:cubicBezTo>
                      <a:pt x="296" y="724"/>
                      <a:pt x="296" y="724"/>
                      <a:pt x="296" y="724"/>
                    </a:cubicBezTo>
                    <a:cubicBezTo>
                      <a:pt x="303" y="718"/>
                      <a:pt x="303" y="718"/>
                      <a:pt x="303" y="718"/>
                    </a:cubicBezTo>
                    <a:cubicBezTo>
                      <a:pt x="307" y="723"/>
                      <a:pt x="307" y="723"/>
                      <a:pt x="307" y="723"/>
                    </a:cubicBezTo>
                    <a:cubicBezTo>
                      <a:pt x="337" y="720"/>
                      <a:pt x="337" y="720"/>
                      <a:pt x="337" y="720"/>
                    </a:cubicBezTo>
                    <a:cubicBezTo>
                      <a:pt x="337" y="720"/>
                      <a:pt x="336" y="706"/>
                      <a:pt x="339" y="702"/>
                    </a:cubicBezTo>
                    <a:cubicBezTo>
                      <a:pt x="342" y="698"/>
                      <a:pt x="349" y="698"/>
                      <a:pt x="349" y="693"/>
                    </a:cubicBezTo>
                    <a:cubicBezTo>
                      <a:pt x="349" y="688"/>
                      <a:pt x="338" y="676"/>
                      <a:pt x="343" y="672"/>
                    </a:cubicBezTo>
                    <a:cubicBezTo>
                      <a:pt x="348" y="668"/>
                      <a:pt x="377" y="671"/>
                      <a:pt x="377" y="671"/>
                    </a:cubicBezTo>
                    <a:cubicBezTo>
                      <a:pt x="377" y="671"/>
                      <a:pt x="377" y="663"/>
                      <a:pt x="386" y="666"/>
                    </a:cubicBezTo>
                    <a:cubicBezTo>
                      <a:pt x="395" y="669"/>
                      <a:pt x="391" y="678"/>
                      <a:pt x="391" y="678"/>
                    </a:cubicBezTo>
                    <a:cubicBezTo>
                      <a:pt x="392" y="686"/>
                      <a:pt x="392" y="686"/>
                      <a:pt x="392" y="686"/>
                    </a:cubicBezTo>
                    <a:cubicBezTo>
                      <a:pt x="452" y="685"/>
                      <a:pt x="452" y="685"/>
                      <a:pt x="452" y="685"/>
                    </a:cubicBezTo>
                    <a:cubicBezTo>
                      <a:pt x="452" y="703"/>
                      <a:pt x="452" y="703"/>
                      <a:pt x="452" y="703"/>
                    </a:cubicBezTo>
                    <a:cubicBezTo>
                      <a:pt x="445" y="713"/>
                      <a:pt x="445" y="713"/>
                      <a:pt x="445" y="713"/>
                    </a:cubicBezTo>
                    <a:cubicBezTo>
                      <a:pt x="448" y="727"/>
                      <a:pt x="448" y="727"/>
                      <a:pt x="448" y="727"/>
                    </a:cubicBezTo>
                    <a:cubicBezTo>
                      <a:pt x="448" y="727"/>
                      <a:pt x="461" y="740"/>
                      <a:pt x="461" y="747"/>
                    </a:cubicBezTo>
                    <a:cubicBezTo>
                      <a:pt x="461" y="754"/>
                      <a:pt x="453" y="763"/>
                      <a:pt x="453" y="763"/>
                    </a:cubicBezTo>
                    <a:cubicBezTo>
                      <a:pt x="456" y="779"/>
                      <a:pt x="456" y="779"/>
                      <a:pt x="456" y="779"/>
                    </a:cubicBezTo>
                    <a:cubicBezTo>
                      <a:pt x="456" y="779"/>
                      <a:pt x="451" y="791"/>
                      <a:pt x="451" y="799"/>
                    </a:cubicBezTo>
                    <a:cubicBezTo>
                      <a:pt x="451" y="807"/>
                      <a:pt x="457" y="815"/>
                      <a:pt x="464" y="822"/>
                    </a:cubicBezTo>
                    <a:cubicBezTo>
                      <a:pt x="471" y="829"/>
                      <a:pt x="475" y="847"/>
                      <a:pt x="475" y="847"/>
                    </a:cubicBezTo>
                    <a:cubicBezTo>
                      <a:pt x="475" y="847"/>
                      <a:pt x="474" y="862"/>
                      <a:pt x="471" y="869"/>
                    </a:cubicBezTo>
                    <a:cubicBezTo>
                      <a:pt x="468" y="876"/>
                      <a:pt x="465" y="888"/>
                      <a:pt x="468" y="892"/>
                    </a:cubicBezTo>
                    <a:cubicBezTo>
                      <a:pt x="471" y="896"/>
                      <a:pt x="479" y="898"/>
                      <a:pt x="479" y="898"/>
                    </a:cubicBezTo>
                    <a:cubicBezTo>
                      <a:pt x="485" y="886"/>
                      <a:pt x="485" y="886"/>
                      <a:pt x="485" y="886"/>
                    </a:cubicBezTo>
                    <a:cubicBezTo>
                      <a:pt x="503" y="890"/>
                      <a:pt x="503" y="890"/>
                      <a:pt x="503" y="890"/>
                    </a:cubicBezTo>
                    <a:cubicBezTo>
                      <a:pt x="519" y="885"/>
                      <a:pt x="519" y="885"/>
                      <a:pt x="519" y="885"/>
                    </a:cubicBezTo>
                    <a:cubicBezTo>
                      <a:pt x="519" y="885"/>
                      <a:pt x="519" y="880"/>
                      <a:pt x="526" y="880"/>
                    </a:cubicBezTo>
                    <a:cubicBezTo>
                      <a:pt x="533" y="880"/>
                      <a:pt x="537" y="887"/>
                      <a:pt x="537" y="887"/>
                    </a:cubicBezTo>
                    <a:cubicBezTo>
                      <a:pt x="551" y="885"/>
                      <a:pt x="551" y="885"/>
                      <a:pt x="551" y="885"/>
                    </a:cubicBezTo>
                    <a:cubicBezTo>
                      <a:pt x="556" y="875"/>
                      <a:pt x="556" y="875"/>
                      <a:pt x="556" y="875"/>
                    </a:cubicBezTo>
                    <a:cubicBezTo>
                      <a:pt x="561" y="884"/>
                      <a:pt x="561" y="884"/>
                      <a:pt x="561" y="884"/>
                    </a:cubicBezTo>
                    <a:cubicBezTo>
                      <a:pt x="572" y="882"/>
                      <a:pt x="572" y="882"/>
                      <a:pt x="572" y="882"/>
                    </a:cubicBezTo>
                    <a:cubicBezTo>
                      <a:pt x="572" y="882"/>
                      <a:pt x="563" y="907"/>
                      <a:pt x="580" y="908"/>
                    </a:cubicBezTo>
                    <a:cubicBezTo>
                      <a:pt x="597" y="909"/>
                      <a:pt x="583" y="899"/>
                      <a:pt x="583" y="899"/>
                    </a:cubicBezTo>
                    <a:cubicBezTo>
                      <a:pt x="614" y="893"/>
                      <a:pt x="614" y="893"/>
                      <a:pt x="614" y="893"/>
                    </a:cubicBezTo>
                    <a:cubicBezTo>
                      <a:pt x="614" y="893"/>
                      <a:pt x="610" y="912"/>
                      <a:pt x="620" y="919"/>
                    </a:cubicBezTo>
                    <a:cubicBezTo>
                      <a:pt x="630" y="926"/>
                      <a:pt x="682" y="939"/>
                      <a:pt x="687" y="935"/>
                    </a:cubicBezTo>
                    <a:cubicBezTo>
                      <a:pt x="692" y="931"/>
                      <a:pt x="689" y="905"/>
                      <a:pt x="701" y="910"/>
                    </a:cubicBezTo>
                    <a:cubicBezTo>
                      <a:pt x="713" y="915"/>
                      <a:pt x="704" y="920"/>
                      <a:pt x="708" y="925"/>
                    </a:cubicBezTo>
                    <a:cubicBezTo>
                      <a:pt x="712" y="930"/>
                      <a:pt x="722" y="930"/>
                      <a:pt x="722" y="934"/>
                    </a:cubicBezTo>
                    <a:cubicBezTo>
                      <a:pt x="722" y="938"/>
                      <a:pt x="714" y="947"/>
                      <a:pt x="722" y="948"/>
                    </a:cubicBezTo>
                    <a:cubicBezTo>
                      <a:pt x="730" y="949"/>
                      <a:pt x="732" y="943"/>
                      <a:pt x="737" y="947"/>
                    </a:cubicBezTo>
                    <a:cubicBezTo>
                      <a:pt x="742" y="951"/>
                      <a:pt x="741" y="959"/>
                      <a:pt x="745" y="959"/>
                    </a:cubicBezTo>
                    <a:cubicBezTo>
                      <a:pt x="749" y="959"/>
                      <a:pt x="754" y="951"/>
                      <a:pt x="760" y="959"/>
                    </a:cubicBezTo>
                    <a:cubicBezTo>
                      <a:pt x="766" y="967"/>
                      <a:pt x="768" y="978"/>
                      <a:pt x="768" y="978"/>
                    </a:cubicBezTo>
                    <a:cubicBezTo>
                      <a:pt x="768" y="978"/>
                      <a:pt x="774" y="975"/>
                      <a:pt x="779" y="982"/>
                    </a:cubicBezTo>
                    <a:cubicBezTo>
                      <a:pt x="784" y="989"/>
                      <a:pt x="787" y="1012"/>
                      <a:pt x="787" y="1012"/>
                    </a:cubicBezTo>
                    <a:cubicBezTo>
                      <a:pt x="799" y="1012"/>
                      <a:pt x="799" y="1012"/>
                      <a:pt x="799" y="1012"/>
                    </a:cubicBezTo>
                    <a:cubicBezTo>
                      <a:pt x="814" y="1002"/>
                      <a:pt x="814" y="1002"/>
                      <a:pt x="814" y="1002"/>
                    </a:cubicBezTo>
                    <a:cubicBezTo>
                      <a:pt x="814" y="1002"/>
                      <a:pt x="816" y="1016"/>
                      <a:pt x="822" y="1013"/>
                    </a:cubicBezTo>
                    <a:cubicBezTo>
                      <a:pt x="828" y="1010"/>
                      <a:pt x="827" y="945"/>
                      <a:pt x="827" y="945"/>
                    </a:cubicBezTo>
                    <a:cubicBezTo>
                      <a:pt x="819" y="945"/>
                      <a:pt x="819" y="945"/>
                      <a:pt x="819" y="945"/>
                    </a:cubicBezTo>
                    <a:cubicBezTo>
                      <a:pt x="813" y="948"/>
                      <a:pt x="813" y="948"/>
                      <a:pt x="813" y="948"/>
                    </a:cubicBezTo>
                    <a:cubicBezTo>
                      <a:pt x="813" y="948"/>
                      <a:pt x="816" y="961"/>
                      <a:pt x="806" y="961"/>
                    </a:cubicBezTo>
                    <a:cubicBezTo>
                      <a:pt x="796" y="961"/>
                      <a:pt x="784" y="947"/>
                      <a:pt x="778" y="940"/>
                    </a:cubicBezTo>
                    <a:cubicBezTo>
                      <a:pt x="772" y="933"/>
                      <a:pt x="761" y="938"/>
                      <a:pt x="759" y="920"/>
                    </a:cubicBezTo>
                    <a:cubicBezTo>
                      <a:pt x="757" y="902"/>
                      <a:pt x="779" y="880"/>
                      <a:pt x="779" y="866"/>
                    </a:cubicBezTo>
                    <a:cubicBezTo>
                      <a:pt x="779" y="852"/>
                      <a:pt x="775" y="818"/>
                      <a:pt x="775" y="818"/>
                    </a:cubicBezTo>
                    <a:cubicBezTo>
                      <a:pt x="775" y="818"/>
                      <a:pt x="773" y="799"/>
                      <a:pt x="770" y="797"/>
                    </a:cubicBezTo>
                    <a:cubicBezTo>
                      <a:pt x="767" y="795"/>
                      <a:pt x="761" y="788"/>
                      <a:pt x="761" y="788"/>
                    </a:cubicBezTo>
                    <a:cubicBezTo>
                      <a:pt x="761" y="788"/>
                      <a:pt x="788" y="773"/>
                      <a:pt x="788" y="766"/>
                    </a:cubicBezTo>
                    <a:cubicBezTo>
                      <a:pt x="788" y="759"/>
                      <a:pt x="788" y="746"/>
                      <a:pt x="788" y="746"/>
                    </a:cubicBezTo>
                    <a:cubicBezTo>
                      <a:pt x="788" y="746"/>
                      <a:pt x="825" y="741"/>
                      <a:pt x="838" y="738"/>
                    </a:cubicBezTo>
                    <a:cubicBezTo>
                      <a:pt x="842" y="737"/>
                      <a:pt x="849" y="735"/>
                      <a:pt x="857" y="731"/>
                    </a:cubicBezTo>
                    <a:cubicBezTo>
                      <a:pt x="860" y="728"/>
                      <a:pt x="862" y="726"/>
                      <a:pt x="862" y="726"/>
                    </a:cubicBezTo>
                    <a:cubicBezTo>
                      <a:pt x="862" y="726"/>
                      <a:pt x="855" y="714"/>
                      <a:pt x="850" y="710"/>
                    </a:cubicBezTo>
                    <a:cubicBezTo>
                      <a:pt x="846" y="706"/>
                      <a:pt x="849" y="688"/>
                      <a:pt x="849" y="681"/>
                    </a:cubicBezTo>
                    <a:cubicBezTo>
                      <a:pt x="849" y="674"/>
                      <a:pt x="837" y="678"/>
                      <a:pt x="834" y="677"/>
                    </a:cubicBezTo>
                    <a:cubicBezTo>
                      <a:pt x="831" y="676"/>
                      <a:pt x="828" y="666"/>
                      <a:pt x="828" y="658"/>
                    </a:cubicBezTo>
                    <a:cubicBezTo>
                      <a:pt x="828" y="650"/>
                      <a:pt x="819" y="649"/>
                      <a:pt x="812" y="642"/>
                    </a:cubicBezTo>
                    <a:cubicBezTo>
                      <a:pt x="805" y="635"/>
                      <a:pt x="803" y="618"/>
                      <a:pt x="804" y="612"/>
                    </a:cubicBezTo>
                    <a:cubicBezTo>
                      <a:pt x="805" y="606"/>
                      <a:pt x="810" y="596"/>
                      <a:pt x="810" y="589"/>
                    </a:cubicBezTo>
                    <a:cubicBezTo>
                      <a:pt x="810" y="582"/>
                      <a:pt x="800" y="582"/>
                      <a:pt x="796" y="572"/>
                    </a:cubicBezTo>
                    <a:cubicBezTo>
                      <a:pt x="792" y="562"/>
                      <a:pt x="796" y="550"/>
                      <a:pt x="797" y="538"/>
                    </a:cubicBezTo>
                    <a:cubicBezTo>
                      <a:pt x="798" y="526"/>
                      <a:pt x="799" y="515"/>
                      <a:pt x="802" y="502"/>
                    </a:cubicBezTo>
                    <a:cubicBezTo>
                      <a:pt x="804" y="494"/>
                      <a:pt x="810" y="495"/>
                      <a:pt x="814" y="498"/>
                    </a:cubicBezTo>
                    <a:cubicBezTo>
                      <a:pt x="814" y="496"/>
                      <a:pt x="814" y="494"/>
                      <a:pt x="814" y="494"/>
                    </a:cubicBezTo>
                    <a:cubicBezTo>
                      <a:pt x="814" y="494"/>
                      <a:pt x="816" y="480"/>
                      <a:pt x="816" y="471"/>
                    </a:cubicBezTo>
                    <a:cubicBezTo>
                      <a:pt x="816" y="462"/>
                      <a:pt x="801" y="454"/>
                      <a:pt x="801" y="454"/>
                    </a:cubicBezTo>
                    <a:cubicBezTo>
                      <a:pt x="795" y="434"/>
                      <a:pt x="795" y="434"/>
                      <a:pt x="795" y="434"/>
                    </a:cubicBezTo>
                    <a:cubicBezTo>
                      <a:pt x="795" y="434"/>
                      <a:pt x="795" y="434"/>
                      <a:pt x="795" y="434"/>
                    </a:cubicBezTo>
                    <a:cubicBezTo>
                      <a:pt x="791" y="433"/>
                      <a:pt x="787" y="432"/>
                      <a:pt x="786" y="428"/>
                    </a:cubicBezTo>
                    <a:cubicBezTo>
                      <a:pt x="782" y="420"/>
                      <a:pt x="804" y="410"/>
                      <a:pt x="806" y="406"/>
                    </a:cubicBezTo>
                    <a:cubicBezTo>
                      <a:pt x="807" y="403"/>
                      <a:pt x="797" y="392"/>
                      <a:pt x="799" y="384"/>
                    </a:cubicBezTo>
                    <a:cubicBezTo>
                      <a:pt x="800" y="376"/>
                      <a:pt x="824" y="365"/>
                      <a:pt x="824" y="365"/>
                    </a:cubicBezTo>
                    <a:lnTo>
                      <a:pt x="828" y="315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2" name="Freeform 349">
                <a:extLst>
                  <a:ext uri="{FF2B5EF4-FFF2-40B4-BE49-F238E27FC236}">
                    <a16:creationId xmlns:a16="http://schemas.microsoft.com/office/drawing/2014/main" id="{E2C27CF3-8AE1-6AE8-0228-82AA1A40E0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3211" y="-9675"/>
                <a:ext cx="206" cy="265"/>
              </a:xfrm>
              <a:custGeom>
                <a:avLst/>
                <a:gdLst>
                  <a:gd name="T0" fmla="*/ 21 w 87"/>
                  <a:gd name="T1" fmla="*/ 49 h 112"/>
                  <a:gd name="T2" fmla="*/ 19 w 87"/>
                  <a:gd name="T3" fmla="*/ 72 h 112"/>
                  <a:gd name="T4" fmla="*/ 25 w 87"/>
                  <a:gd name="T5" fmla="*/ 112 h 112"/>
                  <a:gd name="T6" fmla="*/ 45 w 87"/>
                  <a:gd name="T7" fmla="*/ 103 h 112"/>
                  <a:gd name="T8" fmla="*/ 61 w 87"/>
                  <a:gd name="T9" fmla="*/ 68 h 112"/>
                  <a:gd name="T10" fmla="*/ 80 w 87"/>
                  <a:gd name="T11" fmla="*/ 56 h 112"/>
                  <a:gd name="T12" fmla="*/ 78 w 87"/>
                  <a:gd name="T13" fmla="*/ 47 h 112"/>
                  <a:gd name="T14" fmla="*/ 86 w 87"/>
                  <a:gd name="T15" fmla="*/ 44 h 112"/>
                  <a:gd name="T16" fmla="*/ 87 w 87"/>
                  <a:gd name="T17" fmla="*/ 33 h 112"/>
                  <a:gd name="T18" fmla="*/ 65 w 87"/>
                  <a:gd name="T19" fmla="*/ 23 h 112"/>
                  <a:gd name="T20" fmla="*/ 71 w 87"/>
                  <a:gd name="T21" fmla="*/ 0 h 112"/>
                  <a:gd name="T22" fmla="*/ 77 w 87"/>
                  <a:gd name="T23" fmla="*/ 0 h 112"/>
                  <a:gd name="T24" fmla="*/ 74 w 87"/>
                  <a:gd name="T25" fmla="*/ 0 h 112"/>
                  <a:gd name="T26" fmla="*/ 44 w 87"/>
                  <a:gd name="T27" fmla="*/ 0 h 112"/>
                  <a:gd name="T28" fmla="*/ 39 w 87"/>
                  <a:gd name="T29" fmla="*/ 17 h 112"/>
                  <a:gd name="T30" fmla="*/ 22 w 87"/>
                  <a:gd name="T31" fmla="*/ 24 h 112"/>
                  <a:gd name="T32" fmla="*/ 9 w 87"/>
                  <a:gd name="T33" fmla="*/ 11 h 112"/>
                  <a:gd name="T34" fmla="*/ 0 w 87"/>
                  <a:gd name="T35" fmla="*/ 12 h 112"/>
                  <a:gd name="T36" fmla="*/ 6 w 87"/>
                  <a:gd name="T37" fmla="*/ 32 h 112"/>
                  <a:gd name="T38" fmla="*/ 21 w 87"/>
                  <a:gd name="T39" fmla="*/ 4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7" h="112">
                    <a:moveTo>
                      <a:pt x="21" y="49"/>
                    </a:moveTo>
                    <a:cubicBezTo>
                      <a:pt x="21" y="58"/>
                      <a:pt x="19" y="72"/>
                      <a:pt x="19" y="72"/>
                    </a:cubicBezTo>
                    <a:cubicBezTo>
                      <a:pt x="19" y="72"/>
                      <a:pt x="19" y="99"/>
                      <a:pt x="25" y="112"/>
                    </a:cubicBezTo>
                    <a:cubicBezTo>
                      <a:pt x="29" y="112"/>
                      <a:pt x="35" y="110"/>
                      <a:pt x="45" y="103"/>
                    </a:cubicBezTo>
                    <a:cubicBezTo>
                      <a:pt x="61" y="91"/>
                      <a:pt x="54" y="81"/>
                      <a:pt x="61" y="68"/>
                    </a:cubicBezTo>
                    <a:cubicBezTo>
                      <a:pt x="68" y="55"/>
                      <a:pt x="80" y="56"/>
                      <a:pt x="80" y="56"/>
                    </a:cubicBezTo>
                    <a:cubicBezTo>
                      <a:pt x="78" y="47"/>
                      <a:pt x="78" y="47"/>
                      <a:pt x="78" y="47"/>
                    </a:cubicBezTo>
                    <a:cubicBezTo>
                      <a:pt x="86" y="44"/>
                      <a:pt x="86" y="44"/>
                      <a:pt x="86" y="44"/>
                    </a:cubicBezTo>
                    <a:cubicBezTo>
                      <a:pt x="87" y="33"/>
                      <a:pt x="87" y="33"/>
                      <a:pt x="87" y="33"/>
                    </a:cubicBezTo>
                    <a:cubicBezTo>
                      <a:pt x="87" y="33"/>
                      <a:pt x="63" y="32"/>
                      <a:pt x="65" y="23"/>
                    </a:cubicBezTo>
                    <a:cubicBezTo>
                      <a:pt x="67" y="14"/>
                      <a:pt x="71" y="0"/>
                      <a:pt x="71" y="0"/>
                    </a:cubicBezTo>
                    <a:cubicBezTo>
                      <a:pt x="71" y="0"/>
                      <a:pt x="74" y="0"/>
                      <a:pt x="77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39" y="17"/>
                      <a:pt x="39" y="17"/>
                      <a:pt x="39" y="17"/>
                    </a:cubicBezTo>
                    <a:cubicBezTo>
                      <a:pt x="39" y="17"/>
                      <a:pt x="26" y="24"/>
                      <a:pt x="22" y="24"/>
                    </a:cubicBezTo>
                    <a:cubicBezTo>
                      <a:pt x="18" y="24"/>
                      <a:pt x="9" y="11"/>
                      <a:pt x="9" y="11"/>
                    </a:cubicBezTo>
                    <a:cubicBezTo>
                      <a:pt x="9" y="11"/>
                      <a:pt x="5" y="12"/>
                      <a:pt x="0" y="12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" y="32"/>
                      <a:pt x="21" y="40"/>
                      <a:pt x="21" y="49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3" name="Freeform 350">
                <a:extLst>
                  <a:ext uri="{FF2B5EF4-FFF2-40B4-BE49-F238E27FC236}">
                    <a16:creationId xmlns:a16="http://schemas.microsoft.com/office/drawing/2014/main" id="{03D0E549-8571-0471-BEF0-C6002BB0703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3147" y="-9850"/>
                <a:ext cx="1205" cy="1368"/>
              </a:xfrm>
              <a:custGeom>
                <a:avLst/>
                <a:gdLst>
                  <a:gd name="T0" fmla="*/ 477 w 510"/>
                  <a:gd name="T1" fmla="*/ 478 h 579"/>
                  <a:gd name="T2" fmla="*/ 458 w 510"/>
                  <a:gd name="T3" fmla="*/ 405 h 579"/>
                  <a:gd name="T4" fmla="*/ 456 w 510"/>
                  <a:gd name="T5" fmla="*/ 360 h 579"/>
                  <a:gd name="T6" fmla="*/ 436 w 510"/>
                  <a:gd name="T7" fmla="*/ 290 h 579"/>
                  <a:gd name="T8" fmla="*/ 455 w 510"/>
                  <a:gd name="T9" fmla="*/ 198 h 579"/>
                  <a:gd name="T10" fmla="*/ 391 w 510"/>
                  <a:gd name="T11" fmla="*/ 118 h 579"/>
                  <a:gd name="T12" fmla="*/ 216 w 510"/>
                  <a:gd name="T13" fmla="*/ 1 h 579"/>
                  <a:gd name="T14" fmla="*/ 206 w 510"/>
                  <a:gd name="T15" fmla="*/ 1 h 579"/>
                  <a:gd name="T16" fmla="*/ 194 w 510"/>
                  <a:gd name="T17" fmla="*/ 31 h 579"/>
                  <a:gd name="T18" fmla="*/ 206 w 510"/>
                  <a:gd name="T19" fmla="*/ 59 h 579"/>
                  <a:gd name="T20" fmla="*/ 162 w 510"/>
                  <a:gd name="T21" fmla="*/ 71 h 579"/>
                  <a:gd name="T22" fmla="*/ 161 w 510"/>
                  <a:gd name="T23" fmla="*/ 99 h 579"/>
                  <a:gd name="T24" fmla="*/ 150 w 510"/>
                  <a:gd name="T25" fmla="*/ 73 h 579"/>
                  <a:gd name="T26" fmla="*/ 123 w 510"/>
                  <a:gd name="T27" fmla="*/ 66 h 579"/>
                  <a:gd name="T28" fmla="*/ 104 w 510"/>
                  <a:gd name="T29" fmla="*/ 80 h 579"/>
                  <a:gd name="T30" fmla="*/ 112 w 510"/>
                  <a:gd name="T31" fmla="*/ 2 h 579"/>
                  <a:gd name="T32" fmla="*/ 51 w 510"/>
                  <a:gd name="T33" fmla="*/ 0 h 579"/>
                  <a:gd name="T34" fmla="*/ 60 w 510"/>
                  <a:gd name="T35" fmla="*/ 31 h 579"/>
                  <a:gd name="T36" fmla="*/ 64 w 510"/>
                  <a:gd name="T37" fmla="*/ 64 h 579"/>
                  <a:gd name="T38" fmla="*/ 38 w 510"/>
                  <a:gd name="T39" fmla="*/ 97 h 579"/>
                  <a:gd name="T40" fmla="*/ 59 w 510"/>
                  <a:gd name="T41" fmla="*/ 118 h 579"/>
                  <a:gd name="T42" fmla="*/ 53 w 510"/>
                  <a:gd name="T43" fmla="*/ 130 h 579"/>
                  <a:gd name="T44" fmla="*/ 18 w 510"/>
                  <a:gd name="T45" fmla="*/ 177 h 579"/>
                  <a:gd name="T46" fmla="*/ 0 w 510"/>
                  <a:gd name="T47" fmla="*/ 194 h 579"/>
                  <a:gd name="T48" fmla="*/ 8 w 510"/>
                  <a:gd name="T49" fmla="*/ 226 h 579"/>
                  <a:gd name="T50" fmla="*/ 9 w 510"/>
                  <a:gd name="T51" fmla="*/ 279 h 579"/>
                  <a:gd name="T52" fmla="*/ 51 w 510"/>
                  <a:gd name="T53" fmla="*/ 322 h 579"/>
                  <a:gd name="T54" fmla="*/ 56 w 510"/>
                  <a:gd name="T55" fmla="*/ 370 h 579"/>
                  <a:gd name="T56" fmla="*/ 69 w 510"/>
                  <a:gd name="T57" fmla="*/ 409 h 579"/>
                  <a:gd name="T58" fmla="*/ 94 w 510"/>
                  <a:gd name="T59" fmla="*/ 421 h 579"/>
                  <a:gd name="T60" fmla="*/ 118 w 510"/>
                  <a:gd name="T61" fmla="*/ 434 h 579"/>
                  <a:gd name="T62" fmla="*/ 135 w 510"/>
                  <a:gd name="T63" fmla="*/ 443 h 579"/>
                  <a:gd name="T64" fmla="*/ 158 w 510"/>
                  <a:gd name="T65" fmla="*/ 452 h 579"/>
                  <a:gd name="T66" fmla="*/ 179 w 510"/>
                  <a:gd name="T67" fmla="*/ 461 h 579"/>
                  <a:gd name="T68" fmla="*/ 212 w 510"/>
                  <a:gd name="T69" fmla="*/ 453 h 579"/>
                  <a:gd name="T70" fmla="*/ 232 w 510"/>
                  <a:gd name="T71" fmla="*/ 514 h 579"/>
                  <a:gd name="T72" fmla="*/ 231 w 510"/>
                  <a:gd name="T73" fmla="*/ 539 h 579"/>
                  <a:gd name="T74" fmla="*/ 249 w 510"/>
                  <a:gd name="T75" fmla="*/ 569 h 579"/>
                  <a:gd name="T76" fmla="*/ 292 w 510"/>
                  <a:gd name="T77" fmla="*/ 558 h 579"/>
                  <a:gd name="T78" fmla="*/ 338 w 510"/>
                  <a:gd name="T79" fmla="*/ 568 h 579"/>
                  <a:gd name="T80" fmla="*/ 367 w 510"/>
                  <a:gd name="T81" fmla="*/ 573 h 579"/>
                  <a:gd name="T82" fmla="*/ 406 w 510"/>
                  <a:gd name="T83" fmla="*/ 552 h 579"/>
                  <a:gd name="T84" fmla="*/ 438 w 510"/>
                  <a:gd name="T85" fmla="*/ 545 h 579"/>
                  <a:gd name="T86" fmla="*/ 510 w 510"/>
                  <a:gd name="T87" fmla="*/ 507 h 579"/>
                  <a:gd name="T88" fmla="*/ 481 w 510"/>
                  <a:gd name="T89" fmla="*/ 237 h 579"/>
                  <a:gd name="T90" fmla="*/ 481 w 510"/>
                  <a:gd name="T91" fmla="*/ 237 h 579"/>
                  <a:gd name="T92" fmla="*/ 478 w 510"/>
                  <a:gd name="T93" fmla="*/ 294 h 579"/>
                  <a:gd name="T94" fmla="*/ 458 w 510"/>
                  <a:gd name="T95" fmla="*/ 251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10" h="579">
                    <a:moveTo>
                      <a:pt x="507" y="496"/>
                    </a:moveTo>
                    <a:cubicBezTo>
                      <a:pt x="507" y="496"/>
                      <a:pt x="479" y="489"/>
                      <a:pt x="477" y="478"/>
                    </a:cubicBezTo>
                    <a:cubicBezTo>
                      <a:pt x="475" y="467"/>
                      <a:pt x="473" y="436"/>
                      <a:pt x="473" y="436"/>
                    </a:cubicBezTo>
                    <a:cubicBezTo>
                      <a:pt x="458" y="405"/>
                      <a:pt x="458" y="405"/>
                      <a:pt x="458" y="405"/>
                    </a:cubicBezTo>
                    <a:cubicBezTo>
                      <a:pt x="467" y="374"/>
                      <a:pt x="467" y="374"/>
                      <a:pt x="467" y="374"/>
                    </a:cubicBezTo>
                    <a:cubicBezTo>
                      <a:pt x="456" y="360"/>
                      <a:pt x="456" y="360"/>
                      <a:pt x="456" y="360"/>
                    </a:cubicBezTo>
                    <a:cubicBezTo>
                      <a:pt x="456" y="360"/>
                      <a:pt x="476" y="325"/>
                      <a:pt x="471" y="317"/>
                    </a:cubicBezTo>
                    <a:cubicBezTo>
                      <a:pt x="466" y="309"/>
                      <a:pt x="439" y="302"/>
                      <a:pt x="436" y="290"/>
                    </a:cubicBezTo>
                    <a:cubicBezTo>
                      <a:pt x="433" y="278"/>
                      <a:pt x="450" y="239"/>
                      <a:pt x="451" y="232"/>
                    </a:cubicBezTo>
                    <a:cubicBezTo>
                      <a:pt x="452" y="226"/>
                      <a:pt x="454" y="203"/>
                      <a:pt x="455" y="198"/>
                    </a:cubicBezTo>
                    <a:cubicBezTo>
                      <a:pt x="380" y="128"/>
                      <a:pt x="380" y="128"/>
                      <a:pt x="380" y="128"/>
                    </a:cubicBezTo>
                    <a:cubicBezTo>
                      <a:pt x="380" y="128"/>
                      <a:pt x="388" y="122"/>
                      <a:pt x="391" y="118"/>
                    </a:cubicBezTo>
                    <a:cubicBezTo>
                      <a:pt x="394" y="114"/>
                      <a:pt x="382" y="105"/>
                      <a:pt x="382" y="105"/>
                    </a:cubicBezTo>
                    <a:cubicBezTo>
                      <a:pt x="216" y="1"/>
                      <a:pt x="216" y="1"/>
                      <a:pt x="216" y="1"/>
                    </a:cubicBezTo>
                    <a:cubicBezTo>
                      <a:pt x="206" y="1"/>
                      <a:pt x="206" y="1"/>
                      <a:pt x="206" y="1"/>
                    </a:cubicBezTo>
                    <a:cubicBezTo>
                      <a:pt x="206" y="1"/>
                      <a:pt x="206" y="1"/>
                      <a:pt x="206" y="1"/>
                    </a:cubicBezTo>
                    <a:cubicBezTo>
                      <a:pt x="206" y="10"/>
                      <a:pt x="209" y="24"/>
                      <a:pt x="209" y="24"/>
                    </a:cubicBezTo>
                    <a:cubicBezTo>
                      <a:pt x="194" y="31"/>
                      <a:pt x="194" y="31"/>
                      <a:pt x="194" y="31"/>
                    </a:cubicBezTo>
                    <a:cubicBezTo>
                      <a:pt x="194" y="31"/>
                      <a:pt x="181" y="40"/>
                      <a:pt x="176" y="55"/>
                    </a:cubicBezTo>
                    <a:cubicBezTo>
                      <a:pt x="171" y="70"/>
                      <a:pt x="206" y="59"/>
                      <a:pt x="206" y="59"/>
                    </a:cubicBezTo>
                    <a:cubicBezTo>
                      <a:pt x="206" y="59"/>
                      <a:pt x="187" y="75"/>
                      <a:pt x="181" y="78"/>
                    </a:cubicBezTo>
                    <a:cubicBezTo>
                      <a:pt x="175" y="81"/>
                      <a:pt x="171" y="72"/>
                      <a:pt x="162" y="71"/>
                    </a:cubicBezTo>
                    <a:cubicBezTo>
                      <a:pt x="153" y="70"/>
                      <a:pt x="154" y="89"/>
                      <a:pt x="154" y="89"/>
                    </a:cubicBezTo>
                    <a:cubicBezTo>
                      <a:pt x="161" y="99"/>
                      <a:pt x="161" y="99"/>
                      <a:pt x="161" y="99"/>
                    </a:cubicBezTo>
                    <a:cubicBezTo>
                      <a:pt x="161" y="99"/>
                      <a:pt x="158" y="100"/>
                      <a:pt x="148" y="99"/>
                    </a:cubicBezTo>
                    <a:cubicBezTo>
                      <a:pt x="138" y="98"/>
                      <a:pt x="150" y="73"/>
                      <a:pt x="150" y="73"/>
                    </a:cubicBezTo>
                    <a:cubicBezTo>
                      <a:pt x="138" y="78"/>
                      <a:pt x="138" y="78"/>
                      <a:pt x="138" y="78"/>
                    </a:cubicBezTo>
                    <a:cubicBezTo>
                      <a:pt x="138" y="78"/>
                      <a:pt x="130" y="66"/>
                      <a:pt x="123" y="66"/>
                    </a:cubicBezTo>
                    <a:cubicBezTo>
                      <a:pt x="113" y="66"/>
                      <a:pt x="114" y="92"/>
                      <a:pt x="109" y="92"/>
                    </a:cubicBezTo>
                    <a:cubicBezTo>
                      <a:pt x="104" y="92"/>
                      <a:pt x="104" y="80"/>
                      <a:pt x="104" y="80"/>
                    </a:cubicBezTo>
                    <a:cubicBezTo>
                      <a:pt x="104" y="80"/>
                      <a:pt x="99" y="54"/>
                      <a:pt x="101" y="40"/>
                    </a:cubicBezTo>
                    <a:cubicBezTo>
                      <a:pt x="103" y="26"/>
                      <a:pt x="111" y="8"/>
                      <a:pt x="112" y="2"/>
                    </a:cubicBezTo>
                    <a:cubicBezTo>
                      <a:pt x="112" y="1"/>
                      <a:pt x="112" y="1"/>
                      <a:pt x="112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46" y="13"/>
                      <a:pt x="46" y="13"/>
                      <a:pt x="46" y="13"/>
                    </a:cubicBezTo>
                    <a:cubicBezTo>
                      <a:pt x="46" y="13"/>
                      <a:pt x="56" y="23"/>
                      <a:pt x="60" y="31"/>
                    </a:cubicBezTo>
                    <a:cubicBezTo>
                      <a:pt x="64" y="39"/>
                      <a:pt x="58" y="44"/>
                      <a:pt x="58" y="44"/>
                    </a:cubicBezTo>
                    <a:cubicBezTo>
                      <a:pt x="58" y="44"/>
                      <a:pt x="64" y="52"/>
                      <a:pt x="64" y="64"/>
                    </a:cubicBezTo>
                    <a:cubicBezTo>
                      <a:pt x="64" y="76"/>
                      <a:pt x="44" y="74"/>
                      <a:pt x="44" y="74"/>
                    </a:cubicBezTo>
                    <a:cubicBezTo>
                      <a:pt x="44" y="74"/>
                      <a:pt x="40" y="88"/>
                      <a:pt x="38" y="97"/>
                    </a:cubicBezTo>
                    <a:cubicBezTo>
                      <a:pt x="36" y="106"/>
                      <a:pt x="60" y="107"/>
                      <a:pt x="60" y="107"/>
                    </a:cubicBezTo>
                    <a:cubicBezTo>
                      <a:pt x="59" y="118"/>
                      <a:pt x="59" y="118"/>
                      <a:pt x="59" y="118"/>
                    </a:cubicBezTo>
                    <a:cubicBezTo>
                      <a:pt x="51" y="121"/>
                      <a:pt x="51" y="121"/>
                      <a:pt x="51" y="121"/>
                    </a:cubicBezTo>
                    <a:cubicBezTo>
                      <a:pt x="53" y="130"/>
                      <a:pt x="53" y="130"/>
                      <a:pt x="53" y="130"/>
                    </a:cubicBezTo>
                    <a:cubicBezTo>
                      <a:pt x="53" y="130"/>
                      <a:pt x="41" y="129"/>
                      <a:pt x="34" y="142"/>
                    </a:cubicBezTo>
                    <a:cubicBezTo>
                      <a:pt x="27" y="155"/>
                      <a:pt x="34" y="165"/>
                      <a:pt x="18" y="177"/>
                    </a:cubicBezTo>
                    <a:cubicBezTo>
                      <a:pt x="11" y="182"/>
                      <a:pt x="6" y="184"/>
                      <a:pt x="2" y="185"/>
                    </a:cubicBezTo>
                    <a:cubicBezTo>
                      <a:pt x="0" y="194"/>
                      <a:pt x="0" y="194"/>
                      <a:pt x="0" y="194"/>
                    </a:cubicBezTo>
                    <a:cubicBezTo>
                      <a:pt x="0" y="194"/>
                      <a:pt x="6" y="205"/>
                      <a:pt x="9" y="209"/>
                    </a:cubicBezTo>
                    <a:cubicBezTo>
                      <a:pt x="12" y="213"/>
                      <a:pt x="8" y="226"/>
                      <a:pt x="8" y="226"/>
                    </a:cubicBezTo>
                    <a:cubicBezTo>
                      <a:pt x="8" y="226"/>
                      <a:pt x="19" y="256"/>
                      <a:pt x="15" y="261"/>
                    </a:cubicBezTo>
                    <a:cubicBezTo>
                      <a:pt x="11" y="266"/>
                      <a:pt x="8" y="269"/>
                      <a:pt x="9" y="279"/>
                    </a:cubicBezTo>
                    <a:cubicBezTo>
                      <a:pt x="10" y="289"/>
                      <a:pt x="18" y="294"/>
                      <a:pt x="24" y="296"/>
                    </a:cubicBezTo>
                    <a:cubicBezTo>
                      <a:pt x="30" y="298"/>
                      <a:pt x="47" y="316"/>
                      <a:pt x="51" y="322"/>
                    </a:cubicBezTo>
                    <a:cubicBezTo>
                      <a:pt x="55" y="328"/>
                      <a:pt x="51" y="337"/>
                      <a:pt x="49" y="345"/>
                    </a:cubicBezTo>
                    <a:cubicBezTo>
                      <a:pt x="47" y="353"/>
                      <a:pt x="56" y="370"/>
                      <a:pt x="56" y="370"/>
                    </a:cubicBezTo>
                    <a:cubicBezTo>
                      <a:pt x="74" y="394"/>
                      <a:pt x="74" y="394"/>
                      <a:pt x="74" y="394"/>
                    </a:cubicBezTo>
                    <a:cubicBezTo>
                      <a:pt x="74" y="394"/>
                      <a:pt x="72" y="401"/>
                      <a:pt x="69" y="409"/>
                    </a:cubicBezTo>
                    <a:cubicBezTo>
                      <a:pt x="77" y="410"/>
                      <a:pt x="89" y="406"/>
                      <a:pt x="89" y="406"/>
                    </a:cubicBezTo>
                    <a:cubicBezTo>
                      <a:pt x="89" y="406"/>
                      <a:pt x="91" y="418"/>
                      <a:pt x="94" y="421"/>
                    </a:cubicBezTo>
                    <a:cubicBezTo>
                      <a:pt x="97" y="424"/>
                      <a:pt x="106" y="421"/>
                      <a:pt x="106" y="421"/>
                    </a:cubicBezTo>
                    <a:cubicBezTo>
                      <a:pt x="106" y="421"/>
                      <a:pt x="113" y="430"/>
                      <a:pt x="118" y="434"/>
                    </a:cubicBezTo>
                    <a:cubicBezTo>
                      <a:pt x="123" y="438"/>
                      <a:pt x="133" y="432"/>
                      <a:pt x="133" y="432"/>
                    </a:cubicBezTo>
                    <a:cubicBezTo>
                      <a:pt x="135" y="443"/>
                      <a:pt x="135" y="443"/>
                      <a:pt x="135" y="443"/>
                    </a:cubicBezTo>
                    <a:cubicBezTo>
                      <a:pt x="147" y="442"/>
                      <a:pt x="147" y="442"/>
                      <a:pt x="147" y="442"/>
                    </a:cubicBezTo>
                    <a:cubicBezTo>
                      <a:pt x="158" y="452"/>
                      <a:pt x="158" y="452"/>
                      <a:pt x="158" y="452"/>
                    </a:cubicBezTo>
                    <a:cubicBezTo>
                      <a:pt x="173" y="451"/>
                      <a:pt x="173" y="451"/>
                      <a:pt x="173" y="451"/>
                    </a:cubicBezTo>
                    <a:cubicBezTo>
                      <a:pt x="179" y="461"/>
                      <a:pt x="179" y="461"/>
                      <a:pt x="179" y="461"/>
                    </a:cubicBezTo>
                    <a:cubicBezTo>
                      <a:pt x="198" y="461"/>
                      <a:pt x="198" y="461"/>
                      <a:pt x="198" y="461"/>
                    </a:cubicBezTo>
                    <a:cubicBezTo>
                      <a:pt x="198" y="461"/>
                      <a:pt x="202" y="448"/>
                      <a:pt x="212" y="453"/>
                    </a:cubicBezTo>
                    <a:cubicBezTo>
                      <a:pt x="222" y="458"/>
                      <a:pt x="230" y="479"/>
                      <a:pt x="230" y="479"/>
                    </a:cubicBezTo>
                    <a:cubicBezTo>
                      <a:pt x="232" y="514"/>
                      <a:pt x="232" y="514"/>
                      <a:pt x="232" y="514"/>
                    </a:cubicBezTo>
                    <a:cubicBezTo>
                      <a:pt x="232" y="514"/>
                      <a:pt x="237" y="515"/>
                      <a:pt x="237" y="522"/>
                    </a:cubicBezTo>
                    <a:cubicBezTo>
                      <a:pt x="237" y="529"/>
                      <a:pt x="234" y="531"/>
                      <a:pt x="231" y="539"/>
                    </a:cubicBezTo>
                    <a:cubicBezTo>
                      <a:pt x="228" y="547"/>
                      <a:pt x="250" y="557"/>
                      <a:pt x="250" y="557"/>
                    </a:cubicBezTo>
                    <a:cubicBezTo>
                      <a:pt x="249" y="569"/>
                      <a:pt x="249" y="569"/>
                      <a:pt x="249" y="569"/>
                    </a:cubicBezTo>
                    <a:cubicBezTo>
                      <a:pt x="262" y="569"/>
                      <a:pt x="280" y="568"/>
                      <a:pt x="280" y="568"/>
                    </a:cubicBezTo>
                    <a:cubicBezTo>
                      <a:pt x="280" y="568"/>
                      <a:pt x="284" y="558"/>
                      <a:pt x="292" y="558"/>
                    </a:cubicBezTo>
                    <a:cubicBezTo>
                      <a:pt x="300" y="558"/>
                      <a:pt x="319" y="579"/>
                      <a:pt x="324" y="579"/>
                    </a:cubicBezTo>
                    <a:cubicBezTo>
                      <a:pt x="329" y="579"/>
                      <a:pt x="334" y="570"/>
                      <a:pt x="338" y="568"/>
                    </a:cubicBezTo>
                    <a:cubicBezTo>
                      <a:pt x="342" y="566"/>
                      <a:pt x="356" y="574"/>
                      <a:pt x="356" y="574"/>
                    </a:cubicBezTo>
                    <a:cubicBezTo>
                      <a:pt x="356" y="574"/>
                      <a:pt x="360" y="576"/>
                      <a:pt x="367" y="573"/>
                    </a:cubicBezTo>
                    <a:cubicBezTo>
                      <a:pt x="374" y="570"/>
                      <a:pt x="390" y="552"/>
                      <a:pt x="390" y="552"/>
                    </a:cubicBezTo>
                    <a:cubicBezTo>
                      <a:pt x="406" y="552"/>
                      <a:pt x="406" y="552"/>
                      <a:pt x="406" y="552"/>
                    </a:cubicBezTo>
                    <a:cubicBezTo>
                      <a:pt x="406" y="552"/>
                      <a:pt x="409" y="560"/>
                      <a:pt x="413" y="559"/>
                    </a:cubicBezTo>
                    <a:cubicBezTo>
                      <a:pt x="417" y="558"/>
                      <a:pt x="438" y="545"/>
                      <a:pt x="438" y="545"/>
                    </a:cubicBezTo>
                    <a:cubicBezTo>
                      <a:pt x="457" y="544"/>
                      <a:pt x="457" y="544"/>
                      <a:pt x="457" y="544"/>
                    </a:cubicBezTo>
                    <a:cubicBezTo>
                      <a:pt x="510" y="507"/>
                      <a:pt x="510" y="507"/>
                      <a:pt x="510" y="507"/>
                    </a:cubicBezTo>
                    <a:lnTo>
                      <a:pt x="507" y="496"/>
                    </a:lnTo>
                    <a:close/>
                    <a:moveTo>
                      <a:pt x="481" y="237"/>
                    </a:moveTo>
                    <a:cubicBezTo>
                      <a:pt x="497" y="235"/>
                      <a:pt x="483" y="196"/>
                      <a:pt x="476" y="204"/>
                    </a:cubicBezTo>
                    <a:cubicBezTo>
                      <a:pt x="468" y="212"/>
                      <a:pt x="468" y="239"/>
                      <a:pt x="481" y="237"/>
                    </a:cubicBezTo>
                    <a:close/>
                    <a:moveTo>
                      <a:pt x="452" y="278"/>
                    </a:moveTo>
                    <a:cubicBezTo>
                      <a:pt x="452" y="278"/>
                      <a:pt x="468" y="296"/>
                      <a:pt x="478" y="294"/>
                    </a:cubicBezTo>
                    <a:cubicBezTo>
                      <a:pt x="487" y="292"/>
                      <a:pt x="470" y="272"/>
                      <a:pt x="470" y="272"/>
                    </a:cubicBezTo>
                    <a:cubicBezTo>
                      <a:pt x="470" y="272"/>
                      <a:pt x="474" y="251"/>
                      <a:pt x="458" y="251"/>
                    </a:cubicBezTo>
                    <a:cubicBezTo>
                      <a:pt x="442" y="251"/>
                      <a:pt x="452" y="278"/>
                      <a:pt x="452" y="278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4" name="Freeform 351">
                <a:extLst>
                  <a:ext uri="{FF2B5EF4-FFF2-40B4-BE49-F238E27FC236}">
                    <a16:creationId xmlns:a16="http://schemas.microsoft.com/office/drawing/2014/main" id="{0F8E5984-4F38-FCEB-4075-1AEAF2FC487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3142" y="-10516"/>
                <a:ext cx="628" cy="742"/>
              </a:xfrm>
              <a:custGeom>
                <a:avLst/>
                <a:gdLst>
                  <a:gd name="T0" fmla="*/ 204 w 266"/>
                  <a:gd name="T1" fmla="*/ 283 h 314"/>
                  <a:gd name="T2" fmla="*/ 214 w 266"/>
                  <a:gd name="T3" fmla="*/ 283 h 314"/>
                  <a:gd name="T4" fmla="*/ 215 w 266"/>
                  <a:gd name="T5" fmla="*/ 282 h 314"/>
                  <a:gd name="T6" fmla="*/ 204 w 266"/>
                  <a:gd name="T7" fmla="*/ 283 h 314"/>
                  <a:gd name="T8" fmla="*/ 262 w 266"/>
                  <a:gd name="T9" fmla="*/ 127 h 314"/>
                  <a:gd name="T10" fmla="*/ 246 w 266"/>
                  <a:gd name="T11" fmla="*/ 97 h 314"/>
                  <a:gd name="T12" fmla="*/ 255 w 266"/>
                  <a:gd name="T13" fmla="*/ 87 h 314"/>
                  <a:gd name="T14" fmla="*/ 234 w 266"/>
                  <a:gd name="T15" fmla="*/ 62 h 314"/>
                  <a:gd name="T16" fmla="*/ 235 w 266"/>
                  <a:gd name="T17" fmla="*/ 57 h 314"/>
                  <a:gd name="T18" fmla="*/ 226 w 266"/>
                  <a:gd name="T19" fmla="*/ 42 h 314"/>
                  <a:gd name="T20" fmla="*/ 228 w 266"/>
                  <a:gd name="T21" fmla="*/ 27 h 314"/>
                  <a:gd name="T22" fmla="*/ 215 w 266"/>
                  <a:gd name="T23" fmla="*/ 22 h 314"/>
                  <a:gd name="T24" fmla="*/ 208 w 266"/>
                  <a:gd name="T25" fmla="*/ 0 h 314"/>
                  <a:gd name="T26" fmla="*/ 200 w 266"/>
                  <a:gd name="T27" fmla="*/ 0 h 314"/>
                  <a:gd name="T28" fmla="*/ 178 w 266"/>
                  <a:gd name="T29" fmla="*/ 25 h 314"/>
                  <a:gd name="T30" fmla="*/ 161 w 266"/>
                  <a:gd name="T31" fmla="*/ 17 h 314"/>
                  <a:gd name="T32" fmla="*/ 149 w 266"/>
                  <a:gd name="T33" fmla="*/ 25 h 314"/>
                  <a:gd name="T34" fmla="*/ 133 w 266"/>
                  <a:gd name="T35" fmla="*/ 24 h 314"/>
                  <a:gd name="T36" fmla="*/ 120 w 266"/>
                  <a:gd name="T37" fmla="*/ 39 h 314"/>
                  <a:gd name="T38" fmla="*/ 106 w 266"/>
                  <a:gd name="T39" fmla="*/ 21 h 314"/>
                  <a:gd name="T40" fmla="*/ 99 w 266"/>
                  <a:gd name="T41" fmla="*/ 22 h 314"/>
                  <a:gd name="T42" fmla="*/ 92 w 266"/>
                  <a:gd name="T43" fmla="*/ 29 h 314"/>
                  <a:gd name="T44" fmla="*/ 72 w 266"/>
                  <a:gd name="T45" fmla="*/ 21 h 314"/>
                  <a:gd name="T46" fmla="*/ 56 w 266"/>
                  <a:gd name="T47" fmla="*/ 34 h 314"/>
                  <a:gd name="T48" fmla="*/ 62 w 266"/>
                  <a:gd name="T49" fmla="*/ 47 h 314"/>
                  <a:gd name="T50" fmla="*/ 49 w 266"/>
                  <a:gd name="T51" fmla="*/ 61 h 314"/>
                  <a:gd name="T52" fmla="*/ 59 w 266"/>
                  <a:gd name="T53" fmla="*/ 71 h 314"/>
                  <a:gd name="T54" fmla="*/ 52 w 266"/>
                  <a:gd name="T55" fmla="*/ 92 h 314"/>
                  <a:gd name="T56" fmla="*/ 66 w 266"/>
                  <a:gd name="T57" fmla="*/ 97 h 314"/>
                  <a:gd name="T58" fmla="*/ 78 w 266"/>
                  <a:gd name="T59" fmla="*/ 108 h 314"/>
                  <a:gd name="T60" fmla="*/ 45 w 266"/>
                  <a:gd name="T61" fmla="*/ 156 h 314"/>
                  <a:gd name="T62" fmla="*/ 29 w 266"/>
                  <a:gd name="T63" fmla="*/ 164 h 314"/>
                  <a:gd name="T64" fmla="*/ 29 w 266"/>
                  <a:gd name="T65" fmla="*/ 173 h 314"/>
                  <a:gd name="T66" fmla="*/ 16 w 266"/>
                  <a:gd name="T67" fmla="*/ 181 h 314"/>
                  <a:gd name="T68" fmla="*/ 14 w 266"/>
                  <a:gd name="T69" fmla="*/ 198 h 314"/>
                  <a:gd name="T70" fmla="*/ 4 w 266"/>
                  <a:gd name="T71" fmla="*/ 229 h 314"/>
                  <a:gd name="T72" fmla="*/ 4 w 266"/>
                  <a:gd name="T73" fmla="*/ 249 h 314"/>
                  <a:gd name="T74" fmla="*/ 0 w 266"/>
                  <a:gd name="T75" fmla="*/ 299 h 314"/>
                  <a:gd name="T76" fmla="*/ 10 w 266"/>
                  <a:gd name="T77" fmla="*/ 299 h 314"/>
                  <a:gd name="T78" fmla="*/ 22 w 266"/>
                  <a:gd name="T79" fmla="*/ 307 h 314"/>
                  <a:gd name="T80" fmla="*/ 33 w 266"/>
                  <a:gd name="T81" fmla="*/ 283 h 314"/>
                  <a:gd name="T82" fmla="*/ 49 w 266"/>
                  <a:gd name="T83" fmla="*/ 282 h 314"/>
                  <a:gd name="T84" fmla="*/ 110 w 266"/>
                  <a:gd name="T85" fmla="*/ 282 h 314"/>
                  <a:gd name="T86" fmla="*/ 102 w 266"/>
                  <a:gd name="T87" fmla="*/ 265 h 314"/>
                  <a:gd name="T88" fmla="*/ 111 w 266"/>
                  <a:gd name="T89" fmla="*/ 246 h 314"/>
                  <a:gd name="T90" fmla="*/ 118 w 266"/>
                  <a:gd name="T91" fmla="*/ 223 h 314"/>
                  <a:gd name="T92" fmla="*/ 160 w 266"/>
                  <a:gd name="T93" fmla="*/ 216 h 314"/>
                  <a:gd name="T94" fmla="*/ 176 w 266"/>
                  <a:gd name="T95" fmla="*/ 202 h 314"/>
                  <a:gd name="T96" fmla="*/ 182 w 266"/>
                  <a:gd name="T97" fmla="*/ 219 h 314"/>
                  <a:gd name="T98" fmla="*/ 200 w 266"/>
                  <a:gd name="T99" fmla="*/ 215 h 314"/>
                  <a:gd name="T100" fmla="*/ 207 w 266"/>
                  <a:gd name="T101" fmla="*/ 217 h 314"/>
                  <a:gd name="T102" fmla="*/ 207 w 266"/>
                  <a:gd name="T103" fmla="*/ 219 h 314"/>
                  <a:gd name="T104" fmla="*/ 218 w 266"/>
                  <a:gd name="T105" fmla="*/ 201 h 314"/>
                  <a:gd name="T106" fmla="*/ 219 w 266"/>
                  <a:gd name="T107" fmla="*/ 190 h 314"/>
                  <a:gd name="T108" fmla="*/ 231 w 266"/>
                  <a:gd name="T109" fmla="*/ 179 h 314"/>
                  <a:gd name="T110" fmla="*/ 234 w 266"/>
                  <a:gd name="T111" fmla="*/ 164 h 314"/>
                  <a:gd name="T112" fmla="*/ 247 w 266"/>
                  <a:gd name="T113" fmla="*/ 160 h 314"/>
                  <a:gd name="T114" fmla="*/ 251 w 266"/>
                  <a:gd name="T115" fmla="*/ 145 h 314"/>
                  <a:gd name="T116" fmla="*/ 262 w 266"/>
                  <a:gd name="T117" fmla="*/ 127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6" h="314">
                    <a:moveTo>
                      <a:pt x="204" y="283"/>
                    </a:moveTo>
                    <a:cubicBezTo>
                      <a:pt x="214" y="283"/>
                      <a:pt x="214" y="283"/>
                      <a:pt x="214" y="283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09" y="282"/>
                      <a:pt x="204" y="282"/>
                      <a:pt x="204" y="283"/>
                    </a:cubicBezTo>
                    <a:close/>
                    <a:moveTo>
                      <a:pt x="262" y="127"/>
                    </a:moveTo>
                    <a:cubicBezTo>
                      <a:pt x="258" y="121"/>
                      <a:pt x="245" y="102"/>
                      <a:pt x="246" y="97"/>
                    </a:cubicBezTo>
                    <a:cubicBezTo>
                      <a:pt x="247" y="92"/>
                      <a:pt x="255" y="87"/>
                      <a:pt x="255" y="87"/>
                    </a:cubicBezTo>
                    <a:cubicBezTo>
                      <a:pt x="234" y="62"/>
                      <a:pt x="234" y="62"/>
                      <a:pt x="234" y="62"/>
                    </a:cubicBezTo>
                    <a:cubicBezTo>
                      <a:pt x="235" y="57"/>
                      <a:pt x="235" y="57"/>
                      <a:pt x="235" y="57"/>
                    </a:cubicBezTo>
                    <a:cubicBezTo>
                      <a:pt x="235" y="57"/>
                      <a:pt x="224" y="48"/>
                      <a:pt x="226" y="42"/>
                    </a:cubicBezTo>
                    <a:cubicBezTo>
                      <a:pt x="228" y="36"/>
                      <a:pt x="228" y="27"/>
                      <a:pt x="228" y="27"/>
                    </a:cubicBezTo>
                    <a:cubicBezTo>
                      <a:pt x="228" y="27"/>
                      <a:pt x="215" y="35"/>
                      <a:pt x="215" y="22"/>
                    </a:cubicBezTo>
                    <a:cubicBezTo>
                      <a:pt x="215" y="9"/>
                      <a:pt x="208" y="0"/>
                      <a:pt x="208" y="0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200" y="0"/>
                      <a:pt x="191" y="27"/>
                      <a:pt x="178" y="25"/>
                    </a:cubicBezTo>
                    <a:cubicBezTo>
                      <a:pt x="165" y="23"/>
                      <a:pt x="166" y="17"/>
                      <a:pt x="161" y="17"/>
                    </a:cubicBezTo>
                    <a:cubicBezTo>
                      <a:pt x="156" y="17"/>
                      <a:pt x="149" y="25"/>
                      <a:pt x="149" y="25"/>
                    </a:cubicBezTo>
                    <a:cubicBezTo>
                      <a:pt x="133" y="24"/>
                      <a:pt x="133" y="24"/>
                      <a:pt x="133" y="24"/>
                    </a:cubicBezTo>
                    <a:cubicBezTo>
                      <a:pt x="120" y="39"/>
                      <a:pt x="120" y="39"/>
                      <a:pt x="120" y="39"/>
                    </a:cubicBezTo>
                    <a:cubicBezTo>
                      <a:pt x="106" y="21"/>
                      <a:pt x="106" y="21"/>
                      <a:pt x="106" y="21"/>
                    </a:cubicBezTo>
                    <a:cubicBezTo>
                      <a:pt x="99" y="22"/>
                      <a:pt x="99" y="22"/>
                      <a:pt x="99" y="22"/>
                    </a:cubicBezTo>
                    <a:cubicBezTo>
                      <a:pt x="99" y="22"/>
                      <a:pt x="98" y="30"/>
                      <a:pt x="92" y="29"/>
                    </a:cubicBezTo>
                    <a:cubicBezTo>
                      <a:pt x="86" y="28"/>
                      <a:pt x="77" y="21"/>
                      <a:pt x="72" y="21"/>
                    </a:cubicBezTo>
                    <a:cubicBezTo>
                      <a:pt x="67" y="21"/>
                      <a:pt x="56" y="34"/>
                      <a:pt x="56" y="34"/>
                    </a:cubicBezTo>
                    <a:cubicBezTo>
                      <a:pt x="62" y="47"/>
                      <a:pt x="62" y="47"/>
                      <a:pt x="62" y="47"/>
                    </a:cubicBezTo>
                    <a:cubicBezTo>
                      <a:pt x="49" y="61"/>
                      <a:pt x="49" y="61"/>
                      <a:pt x="49" y="61"/>
                    </a:cubicBezTo>
                    <a:cubicBezTo>
                      <a:pt x="49" y="61"/>
                      <a:pt x="60" y="65"/>
                      <a:pt x="59" y="71"/>
                    </a:cubicBezTo>
                    <a:cubicBezTo>
                      <a:pt x="58" y="76"/>
                      <a:pt x="49" y="87"/>
                      <a:pt x="52" y="92"/>
                    </a:cubicBezTo>
                    <a:cubicBezTo>
                      <a:pt x="55" y="98"/>
                      <a:pt x="66" y="97"/>
                      <a:pt x="66" y="97"/>
                    </a:cubicBezTo>
                    <a:cubicBezTo>
                      <a:pt x="66" y="97"/>
                      <a:pt x="78" y="100"/>
                      <a:pt x="78" y="108"/>
                    </a:cubicBezTo>
                    <a:cubicBezTo>
                      <a:pt x="78" y="116"/>
                      <a:pt x="45" y="156"/>
                      <a:pt x="45" y="156"/>
                    </a:cubicBezTo>
                    <a:cubicBezTo>
                      <a:pt x="29" y="164"/>
                      <a:pt x="29" y="164"/>
                      <a:pt x="29" y="164"/>
                    </a:cubicBezTo>
                    <a:cubicBezTo>
                      <a:pt x="29" y="173"/>
                      <a:pt x="29" y="173"/>
                      <a:pt x="29" y="173"/>
                    </a:cubicBezTo>
                    <a:cubicBezTo>
                      <a:pt x="16" y="181"/>
                      <a:pt x="16" y="181"/>
                      <a:pt x="16" y="181"/>
                    </a:cubicBezTo>
                    <a:cubicBezTo>
                      <a:pt x="14" y="198"/>
                      <a:pt x="14" y="198"/>
                      <a:pt x="14" y="198"/>
                    </a:cubicBezTo>
                    <a:cubicBezTo>
                      <a:pt x="4" y="229"/>
                      <a:pt x="4" y="229"/>
                      <a:pt x="4" y="229"/>
                    </a:cubicBezTo>
                    <a:cubicBezTo>
                      <a:pt x="4" y="249"/>
                      <a:pt x="4" y="249"/>
                      <a:pt x="4" y="249"/>
                    </a:cubicBezTo>
                    <a:cubicBezTo>
                      <a:pt x="0" y="299"/>
                      <a:pt x="0" y="299"/>
                      <a:pt x="0" y="299"/>
                    </a:cubicBezTo>
                    <a:cubicBezTo>
                      <a:pt x="10" y="299"/>
                      <a:pt x="10" y="299"/>
                      <a:pt x="10" y="299"/>
                    </a:cubicBezTo>
                    <a:cubicBezTo>
                      <a:pt x="10" y="299"/>
                      <a:pt x="16" y="314"/>
                      <a:pt x="22" y="307"/>
                    </a:cubicBezTo>
                    <a:cubicBezTo>
                      <a:pt x="29" y="299"/>
                      <a:pt x="33" y="283"/>
                      <a:pt x="33" y="283"/>
                    </a:cubicBezTo>
                    <a:cubicBezTo>
                      <a:pt x="49" y="282"/>
                      <a:pt x="49" y="282"/>
                      <a:pt x="49" y="282"/>
                    </a:cubicBezTo>
                    <a:cubicBezTo>
                      <a:pt x="110" y="282"/>
                      <a:pt x="110" y="282"/>
                      <a:pt x="110" y="282"/>
                    </a:cubicBezTo>
                    <a:cubicBezTo>
                      <a:pt x="110" y="277"/>
                      <a:pt x="104" y="271"/>
                      <a:pt x="102" y="265"/>
                    </a:cubicBezTo>
                    <a:cubicBezTo>
                      <a:pt x="100" y="258"/>
                      <a:pt x="107" y="250"/>
                      <a:pt x="111" y="246"/>
                    </a:cubicBezTo>
                    <a:cubicBezTo>
                      <a:pt x="115" y="242"/>
                      <a:pt x="109" y="230"/>
                      <a:pt x="118" y="223"/>
                    </a:cubicBezTo>
                    <a:cubicBezTo>
                      <a:pt x="127" y="216"/>
                      <a:pt x="157" y="218"/>
                      <a:pt x="160" y="216"/>
                    </a:cubicBezTo>
                    <a:cubicBezTo>
                      <a:pt x="163" y="214"/>
                      <a:pt x="170" y="202"/>
                      <a:pt x="176" y="202"/>
                    </a:cubicBezTo>
                    <a:cubicBezTo>
                      <a:pt x="182" y="202"/>
                      <a:pt x="182" y="219"/>
                      <a:pt x="182" y="219"/>
                    </a:cubicBezTo>
                    <a:cubicBezTo>
                      <a:pt x="182" y="219"/>
                      <a:pt x="189" y="212"/>
                      <a:pt x="200" y="215"/>
                    </a:cubicBezTo>
                    <a:cubicBezTo>
                      <a:pt x="202" y="215"/>
                      <a:pt x="204" y="216"/>
                      <a:pt x="207" y="217"/>
                    </a:cubicBezTo>
                    <a:cubicBezTo>
                      <a:pt x="207" y="218"/>
                      <a:pt x="207" y="218"/>
                      <a:pt x="207" y="219"/>
                    </a:cubicBezTo>
                    <a:cubicBezTo>
                      <a:pt x="207" y="208"/>
                      <a:pt x="218" y="201"/>
                      <a:pt x="218" y="201"/>
                    </a:cubicBezTo>
                    <a:cubicBezTo>
                      <a:pt x="219" y="190"/>
                      <a:pt x="219" y="190"/>
                      <a:pt x="219" y="190"/>
                    </a:cubicBezTo>
                    <a:cubicBezTo>
                      <a:pt x="231" y="179"/>
                      <a:pt x="231" y="179"/>
                      <a:pt x="231" y="179"/>
                    </a:cubicBezTo>
                    <a:cubicBezTo>
                      <a:pt x="231" y="179"/>
                      <a:pt x="227" y="170"/>
                      <a:pt x="234" y="164"/>
                    </a:cubicBezTo>
                    <a:cubicBezTo>
                      <a:pt x="241" y="158"/>
                      <a:pt x="247" y="160"/>
                      <a:pt x="247" y="160"/>
                    </a:cubicBezTo>
                    <a:cubicBezTo>
                      <a:pt x="251" y="145"/>
                      <a:pt x="251" y="145"/>
                      <a:pt x="251" y="145"/>
                    </a:cubicBezTo>
                    <a:cubicBezTo>
                      <a:pt x="251" y="145"/>
                      <a:pt x="266" y="133"/>
                      <a:pt x="262" y="127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5" name="Freeform 352">
                <a:extLst>
                  <a:ext uri="{FF2B5EF4-FFF2-40B4-BE49-F238E27FC236}">
                    <a16:creationId xmlns:a16="http://schemas.microsoft.com/office/drawing/2014/main" id="{4487A70A-4166-66D8-5C61-D1BEB80068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658" y="-10584"/>
                <a:ext cx="893" cy="1202"/>
              </a:xfrm>
              <a:custGeom>
                <a:avLst/>
                <a:gdLst>
                  <a:gd name="T0" fmla="*/ 337 w 378"/>
                  <a:gd name="T1" fmla="*/ 100 h 509"/>
                  <a:gd name="T2" fmla="*/ 358 w 378"/>
                  <a:gd name="T3" fmla="*/ 79 h 509"/>
                  <a:gd name="T4" fmla="*/ 378 w 378"/>
                  <a:gd name="T5" fmla="*/ 43 h 509"/>
                  <a:gd name="T6" fmla="*/ 362 w 378"/>
                  <a:gd name="T7" fmla="*/ 37 h 509"/>
                  <a:gd name="T8" fmla="*/ 358 w 378"/>
                  <a:gd name="T9" fmla="*/ 41 h 509"/>
                  <a:gd name="T10" fmla="*/ 340 w 378"/>
                  <a:gd name="T11" fmla="*/ 40 h 509"/>
                  <a:gd name="T12" fmla="*/ 324 w 378"/>
                  <a:gd name="T13" fmla="*/ 23 h 509"/>
                  <a:gd name="T14" fmla="*/ 312 w 378"/>
                  <a:gd name="T15" fmla="*/ 32 h 509"/>
                  <a:gd name="T16" fmla="*/ 283 w 378"/>
                  <a:gd name="T17" fmla="*/ 46 h 509"/>
                  <a:gd name="T18" fmla="*/ 278 w 378"/>
                  <a:gd name="T19" fmla="*/ 56 h 509"/>
                  <a:gd name="T20" fmla="*/ 265 w 378"/>
                  <a:gd name="T21" fmla="*/ 70 h 509"/>
                  <a:gd name="T22" fmla="*/ 234 w 378"/>
                  <a:gd name="T23" fmla="*/ 61 h 509"/>
                  <a:gd name="T24" fmla="*/ 194 w 378"/>
                  <a:gd name="T25" fmla="*/ 57 h 509"/>
                  <a:gd name="T26" fmla="*/ 143 w 378"/>
                  <a:gd name="T27" fmla="*/ 17 h 509"/>
                  <a:gd name="T28" fmla="*/ 96 w 378"/>
                  <a:gd name="T29" fmla="*/ 15 h 509"/>
                  <a:gd name="T30" fmla="*/ 90 w 378"/>
                  <a:gd name="T31" fmla="*/ 0 h 509"/>
                  <a:gd name="T32" fmla="*/ 77 w 378"/>
                  <a:gd name="T33" fmla="*/ 8 h 509"/>
                  <a:gd name="T34" fmla="*/ 17 w 378"/>
                  <a:gd name="T35" fmla="*/ 9 h 509"/>
                  <a:gd name="T36" fmla="*/ 3 w 378"/>
                  <a:gd name="T37" fmla="*/ 29 h 509"/>
                  <a:gd name="T38" fmla="*/ 10 w 378"/>
                  <a:gd name="T39" fmla="*/ 51 h 509"/>
                  <a:gd name="T40" fmla="*/ 23 w 378"/>
                  <a:gd name="T41" fmla="*/ 56 h 509"/>
                  <a:gd name="T42" fmla="*/ 21 w 378"/>
                  <a:gd name="T43" fmla="*/ 71 h 509"/>
                  <a:gd name="T44" fmla="*/ 30 w 378"/>
                  <a:gd name="T45" fmla="*/ 86 h 509"/>
                  <a:gd name="T46" fmla="*/ 29 w 378"/>
                  <a:gd name="T47" fmla="*/ 91 h 509"/>
                  <a:gd name="T48" fmla="*/ 50 w 378"/>
                  <a:gd name="T49" fmla="*/ 116 h 509"/>
                  <a:gd name="T50" fmla="*/ 41 w 378"/>
                  <a:gd name="T51" fmla="*/ 126 h 509"/>
                  <a:gd name="T52" fmla="*/ 57 w 378"/>
                  <a:gd name="T53" fmla="*/ 156 h 509"/>
                  <a:gd name="T54" fmla="*/ 46 w 378"/>
                  <a:gd name="T55" fmla="*/ 174 h 509"/>
                  <a:gd name="T56" fmla="*/ 42 w 378"/>
                  <a:gd name="T57" fmla="*/ 189 h 509"/>
                  <a:gd name="T58" fmla="*/ 29 w 378"/>
                  <a:gd name="T59" fmla="*/ 193 h 509"/>
                  <a:gd name="T60" fmla="*/ 26 w 378"/>
                  <a:gd name="T61" fmla="*/ 208 h 509"/>
                  <a:gd name="T62" fmla="*/ 14 w 378"/>
                  <a:gd name="T63" fmla="*/ 219 h 509"/>
                  <a:gd name="T64" fmla="*/ 13 w 378"/>
                  <a:gd name="T65" fmla="*/ 230 h 509"/>
                  <a:gd name="T66" fmla="*/ 2 w 378"/>
                  <a:gd name="T67" fmla="*/ 248 h 509"/>
                  <a:gd name="T68" fmla="*/ 18 w 378"/>
                  <a:gd name="T69" fmla="*/ 270 h 509"/>
                  <a:gd name="T70" fmla="*/ 25 w 378"/>
                  <a:gd name="T71" fmla="*/ 262 h 509"/>
                  <a:gd name="T72" fmla="*/ 39 w 378"/>
                  <a:gd name="T73" fmla="*/ 261 h 509"/>
                  <a:gd name="T74" fmla="*/ 42 w 378"/>
                  <a:gd name="T75" fmla="*/ 273 h 509"/>
                  <a:gd name="T76" fmla="*/ 33 w 378"/>
                  <a:gd name="T77" fmla="*/ 275 h 509"/>
                  <a:gd name="T78" fmla="*/ 23 w 378"/>
                  <a:gd name="T79" fmla="*/ 283 h 509"/>
                  <a:gd name="T80" fmla="*/ 9 w 378"/>
                  <a:gd name="T81" fmla="*/ 283 h 509"/>
                  <a:gd name="T82" fmla="*/ 13 w 378"/>
                  <a:gd name="T83" fmla="*/ 302 h 509"/>
                  <a:gd name="T84" fmla="*/ 9 w 378"/>
                  <a:gd name="T85" fmla="*/ 312 h 509"/>
                  <a:gd name="T86" fmla="*/ 175 w 378"/>
                  <a:gd name="T87" fmla="*/ 416 h 509"/>
                  <a:gd name="T88" fmla="*/ 184 w 378"/>
                  <a:gd name="T89" fmla="*/ 429 h 509"/>
                  <a:gd name="T90" fmla="*/ 173 w 378"/>
                  <a:gd name="T91" fmla="*/ 439 h 509"/>
                  <a:gd name="T92" fmla="*/ 248 w 378"/>
                  <a:gd name="T93" fmla="*/ 509 h 509"/>
                  <a:gd name="T94" fmla="*/ 248 w 378"/>
                  <a:gd name="T95" fmla="*/ 508 h 509"/>
                  <a:gd name="T96" fmla="*/ 261 w 378"/>
                  <a:gd name="T97" fmla="*/ 505 h 509"/>
                  <a:gd name="T98" fmla="*/ 281 w 378"/>
                  <a:gd name="T99" fmla="*/ 463 h 509"/>
                  <a:gd name="T100" fmla="*/ 279 w 378"/>
                  <a:gd name="T101" fmla="*/ 441 h 509"/>
                  <a:gd name="T102" fmla="*/ 299 w 378"/>
                  <a:gd name="T103" fmla="*/ 424 h 509"/>
                  <a:gd name="T104" fmla="*/ 301 w 378"/>
                  <a:gd name="T105" fmla="*/ 398 h 509"/>
                  <a:gd name="T106" fmla="*/ 324 w 378"/>
                  <a:gd name="T107" fmla="*/ 388 h 509"/>
                  <a:gd name="T108" fmla="*/ 328 w 378"/>
                  <a:gd name="T109" fmla="*/ 361 h 509"/>
                  <a:gd name="T110" fmla="*/ 360 w 378"/>
                  <a:gd name="T111" fmla="*/ 351 h 509"/>
                  <a:gd name="T112" fmla="*/ 364 w 378"/>
                  <a:gd name="T113" fmla="*/ 343 h 509"/>
                  <a:gd name="T114" fmla="*/ 336 w 378"/>
                  <a:gd name="T115" fmla="*/ 303 h 509"/>
                  <a:gd name="T116" fmla="*/ 337 w 378"/>
                  <a:gd name="T117" fmla="*/ 100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78" h="509">
                    <a:moveTo>
                      <a:pt x="337" y="100"/>
                    </a:moveTo>
                    <a:cubicBezTo>
                      <a:pt x="337" y="100"/>
                      <a:pt x="351" y="87"/>
                      <a:pt x="358" y="79"/>
                    </a:cubicBezTo>
                    <a:cubicBezTo>
                      <a:pt x="365" y="71"/>
                      <a:pt x="378" y="43"/>
                      <a:pt x="378" y="43"/>
                    </a:cubicBezTo>
                    <a:cubicBezTo>
                      <a:pt x="362" y="37"/>
                      <a:pt x="362" y="37"/>
                      <a:pt x="362" y="37"/>
                    </a:cubicBezTo>
                    <a:cubicBezTo>
                      <a:pt x="358" y="41"/>
                      <a:pt x="358" y="41"/>
                      <a:pt x="358" y="41"/>
                    </a:cubicBezTo>
                    <a:cubicBezTo>
                      <a:pt x="340" y="40"/>
                      <a:pt x="340" y="40"/>
                      <a:pt x="340" y="40"/>
                    </a:cubicBezTo>
                    <a:cubicBezTo>
                      <a:pt x="324" y="23"/>
                      <a:pt x="324" y="23"/>
                      <a:pt x="324" y="23"/>
                    </a:cubicBezTo>
                    <a:cubicBezTo>
                      <a:pt x="312" y="32"/>
                      <a:pt x="312" y="32"/>
                      <a:pt x="312" y="32"/>
                    </a:cubicBezTo>
                    <a:cubicBezTo>
                      <a:pt x="312" y="32"/>
                      <a:pt x="290" y="40"/>
                      <a:pt x="283" y="46"/>
                    </a:cubicBezTo>
                    <a:cubicBezTo>
                      <a:pt x="276" y="52"/>
                      <a:pt x="278" y="56"/>
                      <a:pt x="278" y="56"/>
                    </a:cubicBezTo>
                    <a:cubicBezTo>
                      <a:pt x="265" y="70"/>
                      <a:pt x="265" y="70"/>
                      <a:pt x="265" y="70"/>
                    </a:cubicBezTo>
                    <a:cubicBezTo>
                      <a:pt x="265" y="70"/>
                      <a:pt x="247" y="63"/>
                      <a:pt x="234" y="61"/>
                    </a:cubicBezTo>
                    <a:cubicBezTo>
                      <a:pt x="221" y="59"/>
                      <a:pt x="194" y="57"/>
                      <a:pt x="194" y="57"/>
                    </a:cubicBezTo>
                    <a:cubicBezTo>
                      <a:pt x="143" y="17"/>
                      <a:pt x="143" y="17"/>
                      <a:pt x="143" y="17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77" y="8"/>
                      <a:pt x="77" y="8"/>
                      <a:pt x="77" y="8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29"/>
                      <a:pt x="10" y="38"/>
                      <a:pt x="10" y="51"/>
                    </a:cubicBezTo>
                    <a:cubicBezTo>
                      <a:pt x="10" y="64"/>
                      <a:pt x="23" y="56"/>
                      <a:pt x="23" y="56"/>
                    </a:cubicBezTo>
                    <a:cubicBezTo>
                      <a:pt x="23" y="56"/>
                      <a:pt x="23" y="65"/>
                      <a:pt x="21" y="71"/>
                    </a:cubicBezTo>
                    <a:cubicBezTo>
                      <a:pt x="19" y="77"/>
                      <a:pt x="30" y="86"/>
                      <a:pt x="30" y="86"/>
                    </a:cubicBezTo>
                    <a:cubicBezTo>
                      <a:pt x="29" y="91"/>
                      <a:pt x="29" y="91"/>
                      <a:pt x="29" y="91"/>
                    </a:cubicBezTo>
                    <a:cubicBezTo>
                      <a:pt x="50" y="116"/>
                      <a:pt x="50" y="116"/>
                      <a:pt x="50" y="116"/>
                    </a:cubicBezTo>
                    <a:cubicBezTo>
                      <a:pt x="50" y="116"/>
                      <a:pt x="42" y="121"/>
                      <a:pt x="41" y="126"/>
                    </a:cubicBezTo>
                    <a:cubicBezTo>
                      <a:pt x="40" y="131"/>
                      <a:pt x="53" y="150"/>
                      <a:pt x="57" y="156"/>
                    </a:cubicBezTo>
                    <a:cubicBezTo>
                      <a:pt x="61" y="162"/>
                      <a:pt x="46" y="174"/>
                      <a:pt x="46" y="174"/>
                    </a:cubicBezTo>
                    <a:cubicBezTo>
                      <a:pt x="42" y="189"/>
                      <a:pt x="42" y="189"/>
                      <a:pt x="42" y="189"/>
                    </a:cubicBezTo>
                    <a:cubicBezTo>
                      <a:pt x="42" y="189"/>
                      <a:pt x="36" y="187"/>
                      <a:pt x="29" y="193"/>
                    </a:cubicBezTo>
                    <a:cubicBezTo>
                      <a:pt x="22" y="199"/>
                      <a:pt x="26" y="208"/>
                      <a:pt x="26" y="208"/>
                    </a:cubicBezTo>
                    <a:cubicBezTo>
                      <a:pt x="14" y="219"/>
                      <a:pt x="14" y="219"/>
                      <a:pt x="14" y="219"/>
                    </a:cubicBezTo>
                    <a:cubicBezTo>
                      <a:pt x="13" y="230"/>
                      <a:pt x="13" y="230"/>
                      <a:pt x="13" y="230"/>
                    </a:cubicBezTo>
                    <a:cubicBezTo>
                      <a:pt x="13" y="230"/>
                      <a:pt x="2" y="237"/>
                      <a:pt x="2" y="248"/>
                    </a:cubicBezTo>
                    <a:cubicBezTo>
                      <a:pt x="2" y="259"/>
                      <a:pt x="11" y="269"/>
                      <a:pt x="18" y="270"/>
                    </a:cubicBezTo>
                    <a:cubicBezTo>
                      <a:pt x="25" y="271"/>
                      <a:pt x="25" y="262"/>
                      <a:pt x="25" y="262"/>
                    </a:cubicBezTo>
                    <a:cubicBezTo>
                      <a:pt x="39" y="261"/>
                      <a:pt x="39" y="261"/>
                      <a:pt x="39" y="261"/>
                    </a:cubicBezTo>
                    <a:cubicBezTo>
                      <a:pt x="42" y="273"/>
                      <a:pt x="42" y="273"/>
                      <a:pt x="42" y="273"/>
                    </a:cubicBezTo>
                    <a:cubicBezTo>
                      <a:pt x="33" y="275"/>
                      <a:pt x="33" y="275"/>
                      <a:pt x="33" y="275"/>
                    </a:cubicBezTo>
                    <a:cubicBezTo>
                      <a:pt x="23" y="283"/>
                      <a:pt x="23" y="283"/>
                      <a:pt x="23" y="283"/>
                    </a:cubicBezTo>
                    <a:cubicBezTo>
                      <a:pt x="23" y="283"/>
                      <a:pt x="18" y="273"/>
                      <a:pt x="9" y="283"/>
                    </a:cubicBezTo>
                    <a:cubicBezTo>
                      <a:pt x="0" y="293"/>
                      <a:pt x="13" y="302"/>
                      <a:pt x="13" y="302"/>
                    </a:cubicBezTo>
                    <a:cubicBezTo>
                      <a:pt x="9" y="312"/>
                      <a:pt x="9" y="312"/>
                      <a:pt x="9" y="312"/>
                    </a:cubicBezTo>
                    <a:cubicBezTo>
                      <a:pt x="175" y="416"/>
                      <a:pt x="175" y="416"/>
                      <a:pt x="175" y="416"/>
                    </a:cubicBezTo>
                    <a:cubicBezTo>
                      <a:pt x="175" y="416"/>
                      <a:pt x="187" y="425"/>
                      <a:pt x="184" y="429"/>
                    </a:cubicBezTo>
                    <a:cubicBezTo>
                      <a:pt x="181" y="433"/>
                      <a:pt x="173" y="439"/>
                      <a:pt x="173" y="439"/>
                    </a:cubicBezTo>
                    <a:cubicBezTo>
                      <a:pt x="248" y="509"/>
                      <a:pt x="248" y="509"/>
                      <a:pt x="248" y="509"/>
                    </a:cubicBezTo>
                    <a:cubicBezTo>
                      <a:pt x="248" y="508"/>
                      <a:pt x="248" y="508"/>
                      <a:pt x="248" y="508"/>
                    </a:cubicBezTo>
                    <a:cubicBezTo>
                      <a:pt x="261" y="505"/>
                      <a:pt x="261" y="505"/>
                      <a:pt x="261" y="505"/>
                    </a:cubicBezTo>
                    <a:cubicBezTo>
                      <a:pt x="281" y="463"/>
                      <a:pt x="281" y="463"/>
                      <a:pt x="281" y="463"/>
                    </a:cubicBezTo>
                    <a:cubicBezTo>
                      <a:pt x="281" y="463"/>
                      <a:pt x="279" y="448"/>
                      <a:pt x="279" y="441"/>
                    </a:cubicBezTo>
                    <a:cubicBezTo>
                      <a:pt x="279" y="434"/>
                      <a:pt x="300" y="434"/>
                      <a:pt x="299" y="424"/>
                    </a:cubicBezTo>
                    <a:cubicBezTo>
                      <a:pt x="298" y="414"/>
                      <a:pt x="293" y="401"/>
                      <a:pt x="301" y="398"/>
                    </a:cubicBezTo>
                    <a:cubicBezTo>
                      <a:pt x="309" y="395"/>
                      <a:pt x="324" y="388"/>
                      <a:pt x="324" y="388"/>
                    </a:cubicBezTo>
                    <a:cubicBezTo>
                      <a:pt x="328" y="361"/>
                      <a:pt x="328" y="361"/>
                      <a:pt x="328" y="361"/>
                    </a:cubicBezTo>
                    <a:cubicBezTo>
                      <a:pt x="328" y="361"/>
                      <a:pt x="352" y="366"/>
                      <a:pt x="360" y="351"/>
                    </a:cubicBezTo>
                    <a:cubicBezTo>
                      <a:pt x="361" y="349"/>
                      <a:pt x="362" y="346"/>
                      <a:pt x="364" y="343"/>
                    </a:cubicBezTo>
                    <a:cubicBezTo>
                      <a:pt x="336" y="303"/>
                      <a:pt x="336" y="303"/>
                      <a:pt x="336" y="303"/>
                    </a:cubicBezTo>
                    <a:lnTo>
                      <a:pt x="337" y="10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6" name="Freeform 353">
                <a:extLst>
                  <a:ext uri="{FF2B5EF4-FFF2-40B4-BE49-F238E27FC236}">
                    <a16:creationId xmlns:a16="http://schemas.microsoft.com/office/drawing/2014/main" id="{AF699297-AD5D-0CCF-F3D9-3C78D8677BF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6210" y="-11870"/>
                <a:ext cx="520" cy="527"/>
              </a:xfrm>
              <a:custGeom>
                <a:avLst/>
                <a:gdLst>
                  <a:gd name="T0" fmla="*/ 128 w 220"/>
                  <a:gd name="T1" fmla="*/ 204 h 223"/>
                  <a:gd name="T2" fmla="*/ 128 w 220"/>
                  <a:gd name="T3" fmla="*/ 204 h 223"/>
                  <a:gd name="T4" fmla="*/ 128 w 220"/>
                  <a:gd name="T5" fmla="*/ 204 h 223"/>
                  <a:gd name="T6" fmla="*/ 128 w 220"/>
                  <a:gd name="T7" fmla="*/ 204 h 223"/>
                  <a:gd name="T8" fmla="*/ 218 w 220"/>
                  <a:gd name="T9" fmla="*/ 15 h 223"/>
                  <a:gd name="T10" fmla="*/ 211 w 220"/>
                  <a:gd name="T11" fmla="*/ 1 h 223"/>
                  <a:gd name="T12" fmla="*/ 192 w 220"/>
                  <a:gd name="T13" fmla="*/ 2 h 223"/>
                  <a:gd name="T14" fmla="*/ 181 w 220"/>
                  <a:gd name="T15" fmla="*/ 2 h 223"/>
                  <a:gd name="T16" fmla="*/ 168 w 220"/>
                  <a:gd name="T17" fmla="*/ 12 h 223"/>
                  <a:gd name="T18" fmla="*/ 143 w 220"/>
                  <a:gd name="T19" fmla="*/ 1 h 223"/>
                  <a:gd name="T20" fmla="*/ 133 w 220"/>
                  <a:gd name="T21" fmla="*/ 20 h 223"/>
                  <a:gd name="T22" fmla="*/ 120 w 220"/>
                  <a:gd name="T23" fmla="*/ 21 h 223"/>
                  <a:gd name="T24" fmla="*/ 119 w 220"/>
                  <a:gd name="T25" fmla="*/ 31 h 223"/>
                  <a:gd name="T26" fmla="*/ 92 w 220"/>
                  <a:gd name="T27" fmla="*/ 54 h 223"/>
                  <a:gd name="T28" fmla="*/ 78 w 220"/>
                  <a:gd name="T29" fmla="*/ 45 h 223"/>
                  <a:gd name="T30" fmla="*/ 65 w 220"/>
                  <a:gd name="T31" fmla="*/ 59 h 223"/>
                  <a:gd name="T32" fmla="*/ 45 w 220"/>
                  <a:gd name="T33" fmla="*/ 58 h 223"/>
                  <a:gd name="T34" fmla="*/ 44 w 220"/>
                  <a:gd name="T35" fmla="*/ 85 h 223"/>
                  <a:gd name="T36" fmla="*/ 35 w 220"/>
                  <a:gd name="T37" fmla="*/ 87 h 223"/>
                  <a:gd name="T38" fmla="*/ 33 w 220"/>
                  <a:gd name="T39" fmla="*/ 98 h 223"/>
                  <a:gd name="T40" fmla="*/ 19 w 220"/>
                  <a:gd name="T41" fmla="*/ 102 h 223"/>
                  <a:gd name="T42" fmla="*/ 0 w 220"/>
                  <a:gd name="T43" fmla="*/ 102 h 223"/>
                  <a:gd name="T44" fmla="*/ 32 w 220"/>
                  <a:gd name="T45" fmla="*/ 136 h 223"/>
                  <a:gd name="T46" fmla="*/ 50 w 220"/>
                  <a:gd name="T47" fmla="*/ 175 h 223"/>
                  <a:gd name="T48" fmla="*/ 80 w 220"/>
                  <a:gd name="T49" fmla="*/ 199 h 223"/>
                  <a:gd name="T50" fmla="*/ 92 w 220"/>
                  <a:gd name="T51" fmla="*/ 198 h 223"/>
                  <a:gd name="T52" fmla="*/ 92 w 220"/>
                  <a:gd name="T53" fmla="*/ 197 h 223"/>
                  <a:gd name="T54" fmla="*/ 81 w 220"/>
                  <a:gd name="T55" fmla="*/ 187 h 223"/>
                  <a:gd name="T56" fmla="*/ 95 w 220"/>
                  <a:gd name="T57" fmla="*/ 181 h 223"/>
                  <a:gd name="T58" fmla="*/ 90 w 220"/>
                  <a:gd name="T59" fmla="*/ 175 h 223"/>
                  <a:gd name="T60" fmla="*/ 79 w 220"/>
                  <a:gd name="T61" fmla="*/ 177 h 223"/>
                  <a:gd name="T62" fmla="*/ 79 w 220"/>
                  <a:gd name="T63" fmla="*/ 149 h 223"/>
                  <a:gd name="T64" fmla="*/ 123 w 220"/>
                  <a:gd name="T65" fmla="*/ 185 h 223"/>
                  <a:gd name="T66" fmla="*/ 128 w 220"/>
                  <a:gd name="T67" fmla="*/ 204 h 223"/>
                  <a:gd name="T68" fmla="*/ 132 w 220"/>
                  <a:gd name="T69" fmla="*/ 204 h 223"/>
                  <a:gd name="T70" fmla="*/ 150 w 220"/>
                  <a:gd name="T71" fmla="*/ 211 h 223"/>
                  <a:gd name="T72" fmla="*/ 162 w 220"/>
                  <a:gd name="T73" fmla="*/ 223 h 223"/>
                  <a:gd name="T74" fmla="*/ 183 w 220"/>
                  <a:gd name="T75" fmla="*/ 220 h 223"/>
                  <a:gd name="T76" fmla="*/ 170 w 220"/>
                  <a:gd name="T77" fmla="*/ 192 h 223"/>
                  <a:gd name="T78" fmla="*/ 182 w 220"/>
                  <a:gd name="T79" fmla="*/ 172 h 223"/>
                  <a:gd name="T80" fmla="*/ 177 w 220"/>
                  <a:gd name="T81" fmla="*/ 151 h 223"/>
                  <a:gd name="T82" fmla="*/ 181 w 220"/>
                  <a:gd name="T83" fmla="*/ 119 h 223"/>
                  <a:gd name="T84" fmla="*/ 191 w 220"/>
                  <a:gd name="T85" fmla="*/ 131 h 223"/>
                  <a:gd name="T86" fmla="*/ 194 w 220"/>
                  <a:gd name="T87" fmla="*/ 74 h 223"/>
                  <a:gd name="T88" fmla="*/ 209 w 220"/>
                  <a:gd name="T89" fmla="*/ 44 h 223"/>
                  <a:gd name="T90" fmla="*/ 218 w 220"/>
                  <a:gd name="T91" fmla="*/ 15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0" h="223">
                    <a:moveTo>
                      <a:pt x="128" y="204"/>
                    </a:moveTo>
                    <a:cubicBezTo>
                      <a:pt x="128" y="204"/>
                      <a:pt x="128" y="204"/>
                      <a:pt x="128" y="204"/>
                    </a:cubicBezTo>
                    <a:cubicBezTo>
                      <a:pt x="128" y="204"/>
                      <a:pt x="128" y="204"/>
                      <a:pt x="128" y="204"/>
                    </a:cubicBezTo>
                    <a:cubicBezTo>
                      <a:pt x="128" y="204"/>
                      <a:pt x="128" y="204"/>
                      <a:pt x="128" y="204"/>
                    </a:cubicBezTo>
                    <a:close/>
                    <a:moveTo>
                      <a:pt x="218" y="15"/>
                    </a:moveTo>
                    <a:cubicBezTo>
                      <a:pt x="216" y="10"/>
                      <a:pt x="210" y="5"/>
                      <a:pt x="211" y="1"/>
                    </a:cubicBezTo>
                    <a:cubicBezTo>
                      <a:pt x="192" y="2"/>
                      <a:pt x="192" y="2"/>
                      <a:pt x="192" y="2"/>
                    </a:cubicBezTo>
                    <a:cubicBezTo>
                      <a:pt x="192" y="2"/>
                      <a:pt x="185" y="2"/>
                      <a:pt x="181" y="2"/>
                    </a:cubicBezTo>
                    <a:cubicBezTo>
                      <a:pt x="177" y="2"/>
                      <a:pt x="178" y="11"/>
                      <a:pt x="168" y="12"/>
                    </a:cubicBezTo>
                    <a:cubicBezTo>
                      <a:pt x="158" y="13"/>
                      <a:pt x="152" y="2"/>
                      <a:pt x="143" y="1"/>
                    </a:cubicBezTo>
                    <a:cubicBezTo>
                      <a:pt x="134" y="0"/>
                      <a:pt x="133" y="20"/>
                      <a:pt x="133" y="20"/>
                    </a:cubicBezTo>
                    <a:cubicBezTo>
                      <a:pt x="120" y="21"/>
                      <a:pt x="120" y="21"/>
                      <a:pt x="120" y="21"/>
                    </a:cubicBezTo>
                    <a:cubicBezTo>
                      <a:pt x="119" y="31"/>
                      <a:pt x="119" y="31"/>
                      <a:pt x="119" y="31"/>
                    </a:cubicBezTo>
                    <a:cubicBezTo>
                      <a:pt x="119" y="31"/>
                      <a:pt x="107" y="54"/>
                      <a:pt x="92" y="54"/>
                    </a:cubicBezTo>
                    <a:cubicBezTo>
                      <a:pt x="77" y="54"/>
                      <a:pt x="86" y="46"/>
                      <a:pt x="78" y="45"/>
                    </a:cubicBezTo>
                    <a:cubicBezTo>
                      <a:pt x="70" y="44"/>
                      <a:pt x="65" y="59"/>
                      <a:pt x="65" y="59"/>
                    </a:cubicBezTo>
                    <a:cubicBezTo>
                      <a:pt x="65" y="59"/>
                      <a:pt x="60" y="58"/>
                      <a:pt x="45" y="58"/>
                    </a:cubicBezTo>
                    <a:cubicBezTo>
                      <a:pt x="30" y="58"/>
                      <a:pt x="44" y="85"/>
                      <a:pt x="44" y="85"/>
                    </a:cubicBezTo>
                    <a:cubicBezTo>
                      <a:pt x="35" y="87"/>
                      <a:pt x="35" y="87"/>
                      <a:pt x="35" y="87"/>
                    </a:cubicBezTo>
                    <a:cubicBezTo>
                      <a:pt x="35" y="87"/>
                      <a:pt x="39" y="96"/>
                      <a:pt x="33" y="98"/>
                    </a:cubicBezTo>
                    <a:cubicBezTo>
                      <a:pt x="27" y="100"/>
                      <a:pt x="19" y="102"/>
                      <a:pt x="19" y="102"/>
                    </a:cubicBezTo>
                    <a:cubicBezTo>
                      <a:pt x="0" y="102"/>
                      <a:pt x="0" y="102"/>
                      <a:pt x="0" y="102"/>
                    </a:cubicBezTo>
                    <a:cubicBezTo>
                      <a:pt x="32" y="136"/>
                      <a:pt x="32" y="136"/>
                      <a:pt x="32" y="136"/>
                    </a:cubicBezTo>
                    <a:cubicBezTo>
                      <a:pt x="32" y="136"/>
                      <a:pt x="40" y="167"/>
                      <a:pt x="50" y="175"/>
                    </a:cubicBezTo>
                    <a:cubicBezTo>
                      <a:pt x="59" y="182"/>
                      <a:pt x="77" y="196"/>
                      <a:pt x="80" y="199"/>
                    </a:cubicBezTo>
                    <a:cubicBezTo>
                      <a:pt x="83" y="198"/>
                      <a:pt x="89" y="197"/>
                      <a:pt x="92" y="198"/>
                    </a:cubicBezTo>
                    <a:cubicBezTo>
                      <a:pt x="92" y="197"/>
                      <a:pt x="92" y="197"/>
                      <a:pt x="92" y="197"/>
                    </a:cubicBezTo>
                    <a:cubicBezTo>
                      <a:pt x="89" y="195"/>
                      <a:pt x="78" y="191"/>
                      <a:pt x="81" y="187"/>
                    </a:cubicBezTo>
                    <a:cubicBezTo>
                      <a:pt x="84" y="183"/>
                      <a:pt x="99" y="188"/>
                      <a:pt x="95" y="181"/>
                    </a:cubicBezTo>
                    <a:cubicBezTo>
                      <a:pt x="91" y="175"/>
                      <a:pt x="90" y="175"/>
                      <a:pt x="90" y="175"/>
                    </a:cubicBezTo>
                    <a:cubicBezTo>
                      <a:pt x="90" y="175"/>
                      <a:pt x="79" y="179"/>
                      <a:pt x="79" y="177"/>
                    </a:cubicBezTo>
                    <a:cubicBezTo>
                      <a:pt x="78" y="175"/>
                      <a:pt x="72" y="147"/>
                      <a:pt x="79" y="149"/>
                    </a:cubicBezTo>
                    <a:cubicBezTo>
                      <a:pt x="86" y="151"/>
                      <a:pt x="119" y="177"/>
                      <a:pt x="123" y="185"/>
                    </a:cubicBezTo>
                    <a:cubicBezTo>
                      <a:pt x="126" y="189"/>
                      <a:pt x="127" y="197"/>
                      <a:pt x="128" y="204"/>
                    </a:cubicBezTo>
                    <a:cubicBezTo>
                      <a:pt x="129" y="204"/>
                      <a:pt x="131" y="204"/>
                      <a:pt x="132" y="204"/>
                    </a:cubicBezTo>
                    <a:cubicBezTo>
                      <a:pt x="145" y="205"/>
                      <a:pt x="150" y="211"/>
                      <a:pt x="150" y="211"/>
                    </a:cubicBezTo>
                    <a:cubicBezTo>
                      <a:pt x="150" y="211"/>
                      <a:pt x="150" y="223"/>
                      <a:pt x="162" y="223"/>
                    </a:cubicBezTo>
                    <a:cubicBezTo>
                      <a:pt x="168" y="223"/>
                      <a:pt x="176" y="222"/>
                      <a:pt x="183" y="220"/>
                    </a:cubicBezTo>
                    <a:cubicBezTo>
                      <a:pt x="180" y="218"/>
                      <a:pt x="170" y="205"/>
                      <a:pt x="170" y="192"/>
                    </a:cubicBezTo>
                    <a:cubicBezTo>
                      <a:pt x="170" y="177"/>
                      <a:pt x="182" y="181"/>
                      <a:pt x="182" y="172"/>
                    </a:cubicBezTo>
                    <a:cubicBezTo>
                      <a:pt x="182" y="163"/>
                      <a:pt x="177" y="151"/>
                      <a:pt x="177" y="151"/>
                    </a:cubicBezTo>
                    <a:cubicBezTo>
                      <a:pt x="181" y="119"/>
                      <a:pt x="181" y="119"/>
                      <a:pt x="181" y="119"/>
                    </a:cubicBezTo>
                    <a:cubicBezTo>
                      <a:pt x="191" y="131"/>
                      <a:pt x="191" y="131"/>
                      <a:pt x="191" y="131"/>
                    </a:cubicBezTo>
                    <a:cubicBezTo>
                      <a:pt x="194" y="74"/>
                      <a:pt x="194" y="74"/>
                      <a:pt x="194" y="74"/>
                    </a:cubicBezTo>
                    <a:cubicBezTo>
                      <a:pt x="194" y="74"/>
                      <a:pt x="200" y="53"/>
                      <a:pt x="209" y="44"/>
                    </a:cubicBezTo>
                    <a:cubicBezTo>
                      <a:pt x="218" y="35"/>
                      <a:pt x="220" y="20"/>
                      <a:pt x="218" y="15"/>
                    </a:cubicBez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7" name="Freeform 354">
                <a:extLst>
                  <a:ext uri="{FF2B5EF4-FFF2-40B4-BE49-F238E27FC236}">
                    <a16:creationId xmlns:a16="http://schemas.microsoft.com/office/drawing/2014/main" id="{9BBC1790-D7BE-EB0C-F442-B3DC1FEB733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6066" y="-11404"/>
                <a:ext cx="383" cy="359"/>
              </a:xfrm>
              <a:custGeom>
                <a:avLst/>
                <a:gdLst>
                  <a:gd name="T0" fmla="*/ 146 w 162"/>
                  <a:gd name="T1" fmla="*/ 133 h 152"/>
                  <a:gd name="T2" fmla="*/ 159 w 162"/>
                  <a:gd name="T3" fmla="*/ 122 h 152"/>
                  <a:gd name="T4" fmla="*/ 145 w 162"/>
                  <a:gd name="T5" fmla="*/ 115 h 152"/>
                  <a:gd name="T6" fmla="*/ 145 w 162"/>
                  <a:gd name="T7" fmla="*/ 93 h 152"/>
                  <a:gd name="T8" fmla="*/ 162 w 162"/>
                  <a:gd name="T9" fmla="*/ 87 h 152"/>
                  <a:gd name="T10" fmla="*/ 140 w 162"/>
                  <a:gd name="T11" fmla="*/ 66 h 152"/>
                  <a:gd name="T12" fmla="*/ 124 w 162"/>
                  <a:gd name="T13" fmla="*/ 39 h 152"/>
                  <a:gd name="T14" fmla="*/ 122 w 162"/>
                  <a:gd name="T15" fmla="*/ 24 h 152"/>
                  <a:gd name="T16" fmla="*/ 122 w 162"/>
                  <a:gd name="T17" fmla="*/ 23 h 152"/>
                  <a:gd name="T18" fmla="*/ 122 w 162"/>
                  <a:gd name="T19" fmla="*/ 23 h 152"/>
                  <a:gd name="T20" fmla="*/ 101 w 162"/>
                  <a:gd name="T21" fmla="*/ 26 h 152"/>
                  <a:gd name="T22" fmla="*/ 89 w 162"/>
                  <a:gd name="T23" fmla="*/ 14 h 152"/>
                  <a:gd name="T24" fmla="*/ 71 w 162"/>
                  <a:gd name="T25" fmla="*/ 7 h 152"/>
                  <a:gd name="T26" fmla="*/ 59 w 162"/>
                  <a:gd name="T27" fmla="*/ 12 h 152"/>
                  <a:gd name="T28" fmla="*/ 33 w 162"/>
                  <a:gd name="T29" fmla="*/ 1 h 152"/>
                  <a:gd name="T30" fmla="*/ 19 w 162"/>
                  <a:gd name="T31" fmla="*/ 2 h 152"/>
                  <a:gd name="T32" fmla="*/ 19 w 162"/>
                  <a:gd name="T33" fmla="*/ 2 h 152"/>
                  <a:gd name="T34" fmla="*/ 10 w 162"/>
                  <a:gd name="T35" fmla="*/ 19 h 152"/>
                  <a:gd name="T36" fmla="*/ 20 w 162"/>
                  <a:gd name="T37" fmla="*/ 32 h 152"/>
                  <a:gd name="T38" fmla="*/ 9 w 162"/>
                  <a:gd name="T39" fmla="*/ 60 h 152"/>
                  <a:gd name="T40" fmla="*/ 33 w 162"/>
                  <a:gd name="T41" fmla="*/ 72 h 152"/>
                  <a:gd name="T42" fmla="*/ 53 w 162"/>
                  <a:gd name="T43" fmla="*/ 85 h 152"/>
                  <a:gd name="T44" fmla="*/ 51 w 162"/>
                  <a:gd name="T45" fmla="*/ 67 h 152"/>
                  <a:gd name="T46" fmla="*/ 33 w 162"/>
                  <a:gd name="T47" fmla="*/ 49 h 152"/>
                  <a:gd name="T48" fmla="*/ 67 w 162"/>
                  <a:gd name="T49" fmla="*/ 70 h 152"/>
                  <a:gd name="T50" fmla="*/ 68 w 162"/>
                  <a:gd name="T51" fmla="*/ 89 h 152"/>
                  <a:gd name="T52" fmla="*/ 95 w 162"/>
                  <a:gd name="T53" fmla="*/ 94 h 152"/>
                  <a:gd name="T54" fmla="*/ 108 w 162"/>
                  <a:gd name="T55" fmla="*/ 121 h 152"/>
                  <a:gd name="T56" fmla="*/ 108 w 162"/>
                  <a:gd name="T57" fmla="*/ 138 h 152"/>
                  <a:gd name="T58" fmla="*/ 131 w 162"/>
                  <a:gd name="T59" fmla="*/ 150 h 152"/>
                  <a:gd name="T60" fmla="*/ 122 w 162"/>
                  <a:gd name="T61" fmla="*/ 133 h 152"/>
                  <a:gd name="T62" fmla="*/ 141 w 162"/>
                  <a:gd name="T63" fmla="*/ 152 h 152"/>
                  <a:gd name="T64" fmla="*/ 145 w 162"/>
                  <a:gd name="T65" fmla="*/ 147 h 152"/>
                  <a:gd name="T66" fmla="*/ 146 w 162"/>
                  <a:gd name="T67" fmla="*/ 133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62" h="152">
                    <a:moveTo>
                      <a:pt x="146" y="133"/>
                    </a:moveTo>
                    <a:cubicBezTo>
                      <a:pt x="146" y="133"/>
                      <a:pt x="159" y="127"/>
                      <a:pt x="159" y="122"/>
                    </a:cubicBezTo>
                    <a:cubicBezTo>
                      <a:pt x="159" y="117"/>
                      <a:pt x="145" y="115"/>
                      <a:pt x="145" y="115"/>
                    </a:cubicBezTo>
                    <a:cubicBezTo>
                      <a:pt x="145" y="115"/>
                      <a:pt x="135" y="96"/>
                      <a:pt x="145" y="93"/>
                    </a:cubicBezTo>
                    <a:cubicBezTo>
                      <a:pt x="151" y="91"/>
                      <a:pt x="158" y="88"/>
                      <a:pt x="162" y="87"/>
                    </a:cubicBezTo>
                    <a:cubicBezTo>
                      <a:pt x="154" y="82"/>
                      <a:pt x="143" y="75"/>
                      <a:pt x="140" y="66"/>
                    </a:cubicBezTo>
                    <a:cubicBezTo>
                      <a:pt x="136" y="53"/>
                      <a:pt x="124" y="39"/>
                      <a:pt x="124" y="39"/>
                    </a:cubicBezTo>
                    <a:cubicBezTo>
                      <a:pt x="122" y="24"/>
                      <a:pt x="122" y="24"/>
                      <a:pt x="122" y="24"/>
                    </a:cubicBezTo>
                    <a:cubicBezTo>
                      <a:pt x="122" y="24"/>
                      <a:pt x="122" y="24"/>
                      <a:pt x="122" y="23"/>
                    </a:cubicBezTo>
                    <a:cubicBezTo>
                      <a:pt x="122" y="23"/>
                      <a:pt x="122" y="23"/>
                      <a:pt x="122" y="23"/>
                    </a:cubicBezTo>
                    <a:cubicBezTo>
                      <a:pt x="115" y="25"/>
                      <a:pt x="107" y="26"/>
                      <a:pt x="101" y="26"/>
                    </a:cubicBezTo>
                    <a:cubicBezTo>
                      <a:pt x="89" y="26"/>
                      <a:pt x="89" y="14"/>
                      <a:pt x="89" y="14"/>
                    </a:cubicBezTo>
                    <a:cubicBezTo>
                      <a:pt x="89" y="14"/>
                      <a:pt x="84" y="8"/>
                      <a:pt x="71" y="7"/>
                    </a:cubicBezTo>
                    <a:cubicBezTo>
                      <a:pt x="58" y="6"/>
                      <a:pt x="59" y="12"/>
                      <a:pt x="59" y="12"/>
                    </a:cubicBezTo>
                    <a:cubicBezTo>
                      <a:pt x="59" y="12"/>
                      <a:pt x="39" y="3"/>
                      <a:pt x="33" y="1"/>
                    </a:cubicBezTo>
                    <a:cubicBezTo>
                      <a:pt x="29" y="0"/>
                      <a:pt x="23" y="1"/>
                      <a:pt x="19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9"/>
                      <a:pt x="26" y="28"/>
                      <a:pt x="20" y="32"/>
                    </a:cubicBezTo>
                    <a:cubicBezTo>
                      <a:pt x="14" y="36"/>
                      <a:pt x="0" y="46"/>
                      <a:pt x="9" y="60"/>
                    </a:cubicBezTo>
                    <a:cubicBezTo>
                      <a:pt x="18" y="74"/>
                      <a:pt x="33" y="72"/>
                      <a:pt x="33" y="72"/>
                    </a:cubicBezTo>
                    <a:cubicBezTo>
                      <a:pt x="33" y="72"/>
                      <a:pt x="50" y="92"/>
                      <a:pt x="53" y="85"/>
                    </a:cubicBezTo>
                    <a:cubicBezTo>
                      <a:pt x="56" y="78"/>
                      <a:pt x="51" y="67"/>
                      <a:pt x="51" y="67"/>
                    </a:cubicBezTo>
                    <a:cubicBezTo>
                      <a:pt x="51" y="67"/>
                      <a:pt x="24" y="49"/>
                      <a:pt x="33" y="49"/>
                    </a:cubicBezTo>
                    <a:cubicBezTo>
                      <a:pt x="42" y="49"/>
                      <a:pt x="67" y="70"/>
                      <a:pt x="67" y="70"/>
                    </a:cubicBezTo>
                    <a:cubicBezTo>
                      <a:pt x="67" y="70"/>
                      <a:pt x="64" y="89"/>
                      <a:pt x="68" y="89"/>
                    </a:cubicBezTo>
                    <a:cubicBezTo>
                      <a:pt x="72" y="89"/>
                      <a:pt x="95" y="94"/>
                      <a:pt x="95" y="94"/>
                    </a:cubicBezTo>
                    <a:cubicBezTo>
                      <a:pt x="108" y="121"/>
                      <a:pt x="108" y="121"/>
                      <a:pt x="108" y="121"/>
                    </a:cubicBezTo>
                    <a:cubicBezTo>
                      <a:pt x="108" y="121"/>
                      <a:pt x="99" y="129"/>
                      <a:pt x="108" y="138"/>
                    </a:cubicBezTo>
                    <a:cubicBezTo>
                      <a:pt x="117" y="147"/>
                      <a:pt x="131" y="150"/>
                      <a:pt x="131" y="150"/>
                    </a:cubicBezTo>
                    <a:cubicBezTo>
                      <a:pt x="122" y="133"/>
                      <a:pt x="122" y="133"/>
                      <a:pt x="122" y="133"/>
                    </a:cubicBezTo>
                    <a:cubicBezTo>
                      <a:pt x="141" y="152"/>
                      <a:pt x="141" y="152"/>
                      <a:pt x="141" y="152"/>
                    </a:cubicBezTo>
                    <a:cubicBezTo>
                      <a:pt x="145" y="147"/>
                      <a:pt x="145" y="147"/>
                      <a:pt x="145" y="147"/>
                    </a:cubicBezTo>
                    <a:lnTo>
                      <a:pt x="146" y="13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8" name="Freeform 355">
                <a:extLst>
                  <a:ext uri="{FF2B5EF4-FFF2-40B4-BE49-F238E27FC236}">
                    <a16:creationId xmlns:a16="http://schemas.microsoft.com/office/drawing/2014/main" id="{BEEE6BC0-E9D0-03EA-947E-1D1A69012A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496" y="-15510"/>
                <a:ext cx="189" cy="213"/>
              </a:xfrm>
              <a:custGeom>
                <a:avLst/>
                <a:gdLst>
                  <a:gd name="T0" fmla="*/ 79 w 80"/>
                  <a:gd name="T1" fmla="*/ 27 h 90"/>
                  <a:gd name="T2" fmla="*/ 73 w 80"/>
                  <a:gd name="T3" fmla="*/ 31 h 90"/>
                  <a:gd name="T4" fmla="*/ 65 w 80"/>
                  <a:gd name="T5" fmla="*/ 17 h 90"/>
                  <a:gd name="T6" fmla="*/ 56 w 80"/>
                  <a:gd name="T7" fmla="*/ 10 h 90"/>
                  <a:gd name="T8" fmla="*/ 46 w 80"/>
                  <a:gd name="T9" fmla="*/ 0 h 90"/>
                  <a:gd name="T10" fmla="*/ 29 w 80"/>
                  <a:gd name="T11" fmla="*/ 0 h 90"/>
                  <a:gd name="T12" fmla="*/ 29 w 80"/>
                  <a:gd name="T13" fmla="*/ 15 h 90"/>
                  <a:gd name="T14" fmla="*/ 18 w 80"/>
                  <a:gd name="T15" fmla="*/ 14 h 90"/>
                  <a:gd name="T16" fmla="*/ 9 w 80"/>
                  <a:gd name="T17" fmla="*/ 29 h 90"/>
                  <a:gd name="T18" fmla="*/ 4 w 80"/>
                  <a:gd name="T19" fmla="*/ 29 h 90"/>
                  <a:gd name="T20" fmla="*/ 3 w 80"/>
                  <a:gd name="T21" fmla="*/ 39 h 90"/>
                  <a:gd name="T22" fmla="*/ 17 w 80"/>
                  <a:gd name="T23" fmla="*/ 48 h 90"/>
                  <a:gd name="T24" fmla="*/ 4 w 80"/>
                  <a:gd name="T25" fmla="*/ 64 h 90"/>
                  <a:gd name="T26" fmla="*/ 6 w 80"/>
                  <a:gd name="T27" fmla="*/ 65 h 90"/>
                  <a:gd name="T28" fmla="*/ 24 w 80"/>
                  <a:gd name="T29" fmla="*/ 62 h 90"/>
                  <a:gd name="T30" fmla="*/ 24 w 80"/>
                  <a:gd name="T31" fmla="*/ 74 h 90"/>
                  <a:gd name="T32" fmla="*/ 41 w 80"/>
                  <a:gd name="T33" fmla="*/ 90 h 90"/>
                  <a:gd name="T34" fmla="*/ 48 w 80"/>
                  <a:gd name="T35" fmla="*/ 81 h 90"/>
                  <a:gd name="T36" fmla="*/ 46 w 80"/>
                  <a:gd name="T37" fmla="*/ 71 h 90"/>
                  <a:gd name="T38" fmla="*/ 40 w 80"/>
                  <a:gd name="T39" fmla="*/ 74 h 90"/>
                  <a:gd name="T40" fmla="*/ 31 w 80"/>
                  <a:gd name="T41" fmla="*/ 68 h 90"/>
                  <a:gd name="T42" fmla="*/ 46 w 80"/>
                  <a:gd name="T43" fmla="*/ 68 h 90"/>
                  <a:gd name="T44" fmla="*/ 52 w 80"/>
                  <a:gd name="T45" fmla="*/ 63 h 90"/>
                  <a:gd name="T46" fmla="*/ 54 w 80"/>
                  <a:gd name="T47" fmla="*/ 49 h 90"/>
                  <a:gd name="T48" fmla="*/ 72 w 80"/>
                  <a:gd name="T49" fmla="*/ 59 h 90"/>
                  <a:gd name="T50" fmla="*/ 78 w 80"/>
                  <a:gd name="T51" fmla="*/ 53 h 90"/>
                  <a:gd name="T52" fmla="*/ 80 w 80"/>
                  <a:gd name="T53" fmla="*/ 56 h 90"/>
                  <a:gd name="T54" fmla="*/ 79 w 80"/>
                  <a:gd name="T55" fmla="*/ 27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90">
                    <a:moveTo>
                      <a:pt x="79" y="27"/>
                    </a:moveTo>
                    <a:cubicBezTo>
                      <a:pt x="73" y="31"/>
                      <a:pt x="73" y="31"/>
                      <a:pt x="73" y="31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39" y="2"/>
                      <a:pt x="29" y="0"/>
                      <a:pt x="29" y="0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5"/>
                      <a:pt x="21" y="10"/>
                      <a:pt x="18" y="14"/>
                    </a:cubicBezTo>
                    <a:cubicBezTo>
                      <a:pt x="15" y="18"/>
                      <a:pt x="9" y="29"/>
                      <a:pt x="9" y="29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4" y="29"/>
                      <a:pt x="0" y="36"/>
                      <a:pt x="3" y="39"/>
                    </a:cubicBezTo>
                    <a:cubicBezTo>
                      <a:pt x="6" y="42"/>
                      <a:pt x="17" y="48"/>
                      <a:pt x="17" y="48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5" y="65"/>
                      <a:pt x="6" y="65"/>
                      <a:pt x="6" y="65"/>
                    </a:cubicBezTo>
                    <a:cubicBezTo>
                      <a:pt x="13" y="67"/>
                      <a:pt x="24" y="62"/>
                      <a:pt x="24" y="62"/>
                    </a:cubicBezTo>
                    <a:cubicBezTo>
                      <a:pt x="24" y="74"/>
                      <a:pt x="24" y="74"/>
                      <a:pt x="24" y="74"/>
                    </a:cubicBezTo>
                    <a:cubicBezTo>
                      <a:pt x="41" y="90"/>
                      <a:pt x="41" y="90"/>
                      <a:pt x="41" y="90"/>
                    </a:cubicBezTo>
                    <a:cubicBezTo>
                      <a:pt x="48" y="81"/>
                      <a:pt x="48" y="81"/>
                      <a:pt x="48" y="81"/>
                    </a:cubicBezTo>
                    <a:cubicBezTo>
                      <a:pt x="46" y="71"/>
                      <a:pt x="46" y="71"/>
                      <a:pt x="46" y="71"/>
                    </a:cubicBezTo>
                    <a:cubicBezTo>
                      <a:pt x="40" y="74"/>
                      <a:pt x="40" y="74"/>
                      <a:pt x="40" y="74"/>
                    </a:cubicBezTo>
                    <a:cubicBezTo>
                      <a:pt x="31" y="68"/>
                      <a:pt x="31" y="68"/>
                      <a:pt x="31" y="68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52" y="63"/>
                      <a:pt x="52" y="63"/>
                      <a:pt x="52" y="63"/>
                    </a:cubicBezTo>
                    <a:cubicBezTo>
                      <a:pt x="54" y="49"/>
                      <a:pt x="54" y="49"/>
                      <a:pt x="54" y="49"/>
                    </a:cubicBezTo>
                    <a:cubicBezTo>
                      <a:pt x="72" y="59"/>
                      <a:pt x="72" y="59"/>
                      <a:pt x="72" y="59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80" y="56"/>
                      <a:pt x="80" y="56"/>
                      <a:pt x="80" y="56"/>
                    </a:cubicBezTo>
                    <a:lnTo>
                      <a:pt x="79" y="2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9" name="Freeform 356">
                <a:extLst>
                  <a:ext uri="{FF2B5EF4-FFF2-40B4-BE49-F238E27FC236}">
                    <a16:creationId xmlns:a16="http://schemas.microsoft.com/office/drawing/2014/main" id="{7836163E-25AF-428C-1ABB-ACEAEE55671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4460" y="-15848"/>
                <a:ext cx="437" cy="551"/>
              </a:xfrm>
              <a:custGeom>
                <a:avLst/>
                <a:gdLst>
                  <a:gd name="T0" fmla="*/ 167 w 185"/>
                  <a:gd name="T1" fmla="*/ 152 h 233"/>
                  <a:gd name="T2" fmla="*/ 160 w 185"/>
                  <a:gd name="T3" fmla="*/ 140 h 233"/>
                  <a:gd name="T4" fmla="*/ 166 w 185"/>
                  <a:gd name="T5" fmla="*/ 120 h 233"/>
                  <a:gd name="T6" fmla="*/ 161 w 185"/>
                  <a:gd name="T7" fmla="*/ 102 h 233"/>
                  <a:gd name="T8" fmla="*/ 171 w 185"/>
                  <a:gd name="T9" fmla="*/ 88 h 233"/>
                  <a:gd name="T10" fmla="*/ 139 w 185"/>
                  <a:gd name="T11" fmla="*/ 91 h 233"/>
                  <a:gd name="T12" fmla="*/ 117 w 185"/>
                  <a:gd name="T13" fmla="*/ 82 h 233"/>
                  <a:gd name="T14" fmla="*/ 115 w 185"/>
                  <a:gd name="T15" fmla="*/ 56 h 233"/>
                  <a:gd name="T16" fmla="*/ 91 w 185"/>
                  <a:gd name="T17" fmla="*/ 48 h 233"/>
                  <a:gd name="T18" fmla="*/ 77 w 185"/>
                  <a:gd name="T19" fmla="*/ 27 h 233"/>
                  <a:gd name="T20" fmla="*/ 48 w 185"/>
                  <a:gd name="T21" fmla="*/ 6 h 233"/>
                  <a:gd name="T22" fmla="*/ 18 w 185"/>
                  <a:gd name="T23" fmla="*/ 17 h 233"/>
                  <a:gd name="T24" fmla="*/ 0 w 185"/>
                  <a:gd name="T25" fmla="*/ 21 h 233"/>
                  <a:gd name="T26" fmla="*/ 6 w 185"/>
                  <a:gd name="T27" fmla="*/ 40 h 233"/>
                  <a:gd name="T28" fmla="*/ 8 w 185"/>
                  <a:gd name="T29" fmla="*/ 53 h 233"/>
                  <a:gd name="T30" fmla="*/ 12 w 185"/>
                  <a:gd name="T31" fmla="*/ 65 h 233"/>
                  <a:gd name="T32" fmla="*/ 5 w 185"/>
                  <a:gd name="T33" fmla="*/ 72 h 233"/>
                  <a:gd name="T34" fmla="*/ 27 w 185"/>
                  <a:gd name="T35" fmla="*/ 76 h 233"/>
                  <a:gd name="T36" fmla="*/ 15 w 185"/>
                  <a:gd name="T37" fmla="*/ 106 h 233"/>
                  <a:gd name="T38" fmla="*/ 37 w 185"/>
                  <a:gd name="T39" fmla="*/ 118 h 233"/>
                  <a:gd name="T40" fmla="*/ 35 w 185"/>
                  <a:gd name="T41" fmla="*/ 140 h 233"/>
                  <a:gd name="T42" fmla="*/ 41 w 185"/>
                  <a:gd name="T43" fmla="*/ 153 h 233"/>
                  <a:gd name="T44" fmla="*/ 58 w 185"/>
                  <a:gd name="T45" fmla="*/ 174 h 233"/>
                  <a:gd name="T46" fmla="*/ 65 w 185"/>
                  <a:gd name="T47" fmla="*/ 199 h 233"/>
                  <a:gd name="T48" fmla="*/ 71 w 185"/>
                  <a:gd name="T49" fmla="*/ 211 h 233"/>
                  <a:gd name="T50" fmla="*/ 84 w 185"/>
                  <a:gd name="T51" fmla="*/ 221 h 233"/>
                  <a:gd name="T52" fmla="*/ 95 w 185"/>
                  <a:gd name="T53" fmla="*/ 229 h 233"/>
                  <a:gd name="T54" fmla="*/ 112 w 185"/>
                  <a:gd name="T55" fmla="*/ 221 h 233"/>
                  <a:gd name="T56" fmla="*/ 128 w 185"/>
                  <a:gd name="T57" fmla="*/ 213 h 233"/>
                  <a:gd name="T58" fmla="*/ 158 w 185"/>
                  <a:gd name="T59" fmla="*/ 207 h 233"/>
                  <a:gd name="T60" fmla="*/ 165 w 185"/>
                  <a:gd name="T61" fmla="*/ 192 h 233"/>
                  <a:gd name="T62" fmla="*/ 177 w 185"/>
                  <a:gd name="T63" fmla="*/ 180 h 233"/>
                  <a:gd name="T64" fmla="*/ 180 w 185"/>
                  <a:gd name="T65" fmla="*/ 159 h 233"/>
                  <a:gd name="T66" fmla="*/ 27 w 185"/>
                  <a:gd name="T67" fmla="*/ 144 h 233"/>
                  <a:gd name="T68" fmla="*/ 24 w 185"/>
                  <a:gd name="T69" fmla="*/ 144 h 233"/>
                  <a:gd name="T70" fmla="*/ 24 w 185"/>
                  <a:gd name="T71" fmla="*/ 144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85" h="233">
                    <a:moveTo>
                      <a:pt x="180" y="159"/>
                    </a:moveTo>
                    <a:cubicBezTo>
                      <a:pt x="167" y="152"/>
                      <a:pt x="167" y="152"/>
                      <a:pt x="167" y="152"/>
                    </a:cubicBezTo>
                    <a:cubicBezTo>
                      <a:pt x="169" y="145"/>
                      <a:pt x="169" y="145"/>
                      <a:pt x="169" y="145"/>
                    </a:cubicBezTo>
                    <a:cubicBezTo>
                      <a:pt x="160" y="140"/>
                      <a:pt x="160" y="140"/>
                      <a:pt x="160" y="140"/>
                    </a:cubicBezTo>
                    <a:cubicBezTo>
                      <a:pt x="157" y="128"/>
                      <a:pt x="157" y="128"/>
                      <a:pt x="157" y="128"/>
                    </a:cubicBezTo>
                    <a:cubicBezTo>
                      <a:pt x="166" y="120"/>
                      <a:pt x="166" y="120"/>
                      <a:pt x="166" y="120"/>
                    </a:cubicBezTo>
                    <a:cubicBezTo>
                      <a:pt x="168" y="106"/>
                      <a:pt x="168" y="106"/>
                      <a:pt x="168" y="106"/>
                    </a:cubicBezTo>
                    <a:cubicBezTo>
                      <a:pt x="161" y="102"/>
                      <a:pt x="161" y="102"/>
                      <a:pt x="161" y="102"/>
                    </a:cubicBezTo>
                    <a:cubicBezTo>
                      <a:pt x="168" y="94"/>
                      <a:pt x="168" y="94"/>
                      <a:pt x="168" y="94"/>
                    </a:cubicBezTo>
                    <a:cubicBezTo>
                      <a:pt x="171" y="88"/>
                      <a:pt x="171" y="88"/>
                      <a:pt x="171" y="88"/>
                    </a:cubicBezTo>
                    <a:cubicBezTo>
                      <a:pt x="155" y="84"/>
                      <a:pt x="155" y="84"/>
                      <a:pt x="155" y="84"/>
                    </a:cubicBezTo>
                    <a:cubicBezTo>
                      <a:pt x="139" y="91"/>
                      <a:pt x="139" y="91"/>
                      <a:pt x="139" y="91"/>
                    </a:cubicBezTo>
                    <a:cubicBezTo>
                      <a:pt x="133" y="84"/>
                      <a:pt x="133" y="84"/>
                      <a:pt x="133" y="84"/>
                    </a:cubicBezTo>
                    <a:cubicBezTo>
                      <a:pt x="117" y="82"/>
                      <a:pt x="117" y="82"/>
                      <a:pt x="117" y="82"/>
                    </a:cubicBezTo>
                    <a:cubicBezTo>
                      <a:pt x="112" y="71"/>
                      <a:pt x="112" y="71"/>
                      <a:pt x="112" y="71"/>
                    </a:cubicBezTo>
                    <a:cubicBezTo>
                      <a:pt x="112" y="71"/>
                      <a:pt x="117" y="62"/>
                      <a:pt x="115" y="56"/>
                    </a:cubicBezTo>
                    <a:cubicBezTo>
                      <a:pt x="113" y="50"/>
                      <a:pt x="101" y="49"/>
                      <a:pt x="99" y="54"/>
                    </a:cubicBezTo>
                    <a:cubicBezTo>
                      <a:pt x="97" y="59"/>
                      <a:pt x="91" y="48"/>
                      <a:pt x="91" y="48"/>
                    </a:cubicBezTo>
                    <a:cubicBezTo>
                      <a:pt x="83" y="25"/>
                      <a:pt x="83" y="25"/>
                      <a:pt x="83" y="25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62" y="13"/>
                      <a:pt x="62" y="13"/>
                      <a:pt x="62" y="13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8" y="6"/>
                      <a:pt x="33" y="0"/>
                      <a:pt x="30" y="6"/>
                    </a:cubicBezTo>
                    <a:cubicBezTo>
                      <a:pt x="27" y="12"/>
                      <a:pt x="18" y="17"/>
                      <a:pt x="18" y="17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22"/>
                      <a:pt x="2" y="22"/>
                      <a:pt x="2" y="22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11" y="41"/>
                      <a:pt x="11" y="41"/>
                      <a:pt x="11" y="41"/>
                    </a:cubicBezTo>
                    <a:cubicBezTo>
                      <a:pt x="8" y="53"/>
                      <a:pt x="8" y="53"/>
                      <a:pt x="8" y="53"/>
                    </a:cubicBezTo>
                    <a:cubicBezTo>
                      <a:pt x="8" y="53"/>
                      <a:pt x="24" y="56"/>
                      <a:pt x="25" y="59"/>
                    </a:cubicBezTo>
                    <a:cubicBezTo>
                      <a:pt x="26" y="62"/>
                      <a:pt x="12" y="65"/>
                      <a:pt x="12" y="65"/>
                    </a:cubicBezTo>
                    <a:cubicBezTo>
                      <a:pt x="10" y="72"/>
                      <a:pt x="10" y="72"/>
                      <a:pt x="10" y="72"/>
                    </a:cubicBezTo>
                    <a:cubicBezTo>
                      <a:pt x="5" y="72"/>
                      <a:pt x="5" y="72"/>
                      <a:pt x="5" y="72"/>
                    </a:cubicBezTo>
                    <a:cubicBezTo>
                      <a:pt x="8" y="77"/>
                      <a:pt x="8" y="77"/>
                      <a:pt x="8" y="77"/>
                    </a:cubicBezTo>
                    <a:cubicBezTo>
                      <a:pt x="8" y="77"/>
                      <a:pt x="27" y="71"/>
                      <a:pt x="27" y="76"/>
                    </a:cubicBezTo>
                    <a:cubicBezTo>
                      <a:pt x="27" y="81"/>
                      <a:pt x="15" y="95"/>
                      <a:pt x="15" y="95"/>
                    </a:cubicBezTo>
                    <a:cubicBezTo>
                      <a:pt x="15" y="106"/>
                      <a:pt x="15" y="106"/>
                      <a:pt x="15" y="106"/>
                    </a:cubicBezTo>
                    <a:cubicBezTo>
                      <a:pt x="15" y="106"/>
                      <a:pt x="19" y="103"/>
                      <a:pt x="26" y="105"/>
                    </a:cubicBezTo>
                    <a:cubicBezTo>
                      <a:pt x="33" y="107"/>
                      <a:pt x="37" y="118"/>
                      <a:pt x="37" y="118"/>
                    </a:cubicBezTo>
                    <a:cubicBezTo>
                      <a:pt x="23" y="120"/>
                      <a:pt x="23" y="120"/>
                      <a:pt x="23" y="120"/>
                    </a:cubicBezTo>
                    <a:cubicBezTo>
                      <a:pt x="23" y="120"/>
                      <a:pt x="37" y="133"/>
                      <a:pt x="35" y="140"/>
                    </a:cubicBezTo>
                    <a:cubicBezTo>
                      <a:pt x="34" y="142"/>
                      <a:pt x="33" y="143"/>
                      <a:pt x="31" y="143"/>
                    </a:cubicBezTo>
                    <a:cubicBezTo>
                      <a:pt x="41" y="153"/>
                      <a:pt x="41" y="153"/>
                      <a:pt x="41" y="153"/>
                    </a:cubicBezTo>
                    <a:cubicBezTo>
                      <a:pt x="50" y="160"/>
                      <a:pt x="50" y="160"/>
                      <a:pt x="50" y="160"/>
                    </a:cubicBezTo>
                    <a:cubicBezTo>
                      <a:pt x="58" y="174"/>
                      <a:pt x="58" y="174"/>
                      <a:pt x="58" y="174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99"/>
                      <a:pt x="65" y="199"/>
                      <a:pt x="65" y="199"/>
                    </a:cubicBezTo>
                    <a:cubicBezTo>
                      <a:pt x="63" y="196"/>
                      <a:pt x="63" y="196"/>
                      <a:pt x="63" y="196"/>
                    </a:cubicBezTo>
                    <a:cubicBezTo>
                      <a:pt x="71" y="211"/>
                      <a:pt x="71" y="211"/>
                      <a:pt x="71" y="211"/>
                    </a:cubicBezTo>
                    <a:cubicBezTo>
                      <a:pt x="80" y="211"/>
                      <a:pt x="80" y="211"/>
                      <a:pt x="80" y="211"/>
                    </a:cubicBezTo>
                    <a:cubicBezTo>
                      <a:pt x="84" y="221"/>
                      <a:pt x="84" y="221"/>
                      <a:pt x="84" y="221"/>
                    </a:cubicBezTo>
                    <a:cubicBezTo>
                      <a:pt x="84" y="233"/>
                      <a:pt x="84" y="233"/>
                      <a:pt x="84" y="233"/>
                    </a:cubicBezTo>
                    <a:cubicBezTo>
                      <a:pt x="95" y="229"/>
                      <a:pt x="95" y="229"/>
                      <a:pt x="95" y="229"/>
                    </a:cubicBezTo>
                    <a:cubicBezTo>
                      <a:pt x="100" y="221"/>
                      <a:pt x="100" y="221"/>
                      <a:pt x="100" y="221"/>
                    </a:cubicBezTo>
                    <a:cubicBezTo>
                      <a:pt x="100" y="221"/>
                      <a:pt x="105" y="221"/>
                      <a:pt x="112" y="221"/>
                    </a:cubicBezTo>
                    <a:cubicBezTo>
                      <a:pt x="119" y="221"/>
                      <a:pt x="115" y="213"/>
                      <a:pt x="115" y="213"/>
                    </a:cubicBezTo>
                    <a:cubicBezTo>
                      <a:pt x="128" y="213"/>
                      <a:pt x="128" y="213"/>
                      <a:pt x="128" y="213"/>
                    </a:cubicBezTo>
                    <a:cubicBezTo>
                      <a:pt x="132" y="209"/>
                      <a:pt x="132" y="209"/>
                      <a:pt x="132" y="209"/>
                    </a:cubicBezTo>
                    <a:cubicBezTo>
                      <a:pt x="158" y="207"/>
                      <a:pt x="158" y="207"/>
                      <a:pt x="158" y="207"/>
                    </a:cubicBezTo>
                    <a:cubicBezTo>
                      <a:pt x="158" y="207"/>
                      <a:pt x="166" y="206"/>
                      <a:pt x="167" y="203"/>
                    </a:cubicBezTo>
                    <a:cubicBezTo>
                      <a:pt x="168" y="200"/>
                      <a:pt x="165" y="192"/>
                      <a:pt x="165" y="192"/>
                    </a:cubicBezTo>
                    <a:cubicBezTo>
                      <a:pt x="165" y="192"/>
                      <a:pt x="162" y="185"/>
                      <a:pt x="164" y="181"/>
                    </a:cubicBezTo>
                    <a:cubicBezTo>
                      <a:pt x="166" y="177"/>
                      <a:pt x="177" y="180"/>
                      <a:pt x="177" y="180"/>
                    </a:cubicBezTo>
                    <a:cubicBezTo>
                      <a:pt x="177" y="180"/>
                      <a:pt x="181" y="173"/>
                      <a:pt x="183" y="169"/>
                    </a:cubicBezTo>
                    <a:cubicBezTo>
                      <a:pt x="185" y="165"/>
                      <a:pt x="180" y="159"/>
                      <a:pt x="180" y="159"/>
                    </a:cubicBezTo>
                    <a:close/>
                    <a:moveTo>
                      <a:pt x="24" y="144"/>
                    </a:moveTo>
                    <a:cubicBezTo>
                      <a:pt x="25" y="144"/>
                      <a:pt x="26" y="144"/>
                      <a:pt x="27" y="144"/>
                    </a:cubicBezTo>
                    <a:cubicBezTo>
                      <a:pt x="26" y="144"/>
                      <a:pt x="25" y="144"/>
                      <a:pt x="24" y="144"/>
                    </a:cubicBezTo>
                    <a:close/>
                    <a:moveTo>
                      <a:pt x="24" y="144"/>
                    </a:moveTo>
                    <a:cubicBezTo>
                      <a:pt x="22" y="144"/>
                      <a:pt x="19" y="144"/>
                      <a:pt x="18" y="143"/>
                    </a:cubicBezTo>
                    <a:cubicBezTo>
                      <a:pt x="19" y="144"/>
                      <a:pt x="22" y="144"/>
                      <a:pt x="24" y="144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0" name="Freeform 357">
                <a:extLst>
                  <a:ext uri="{FF2B5EF4-FFF2-40B4-BE49-F238E27FC236}">
                    <a16:creationId xmlns:a16="http://schemas.microsoft.com/office/drawing/2014/main" id="{F5829BA7-8AD2-7B2B-7789-36B4F3F9BDE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22397" y="-18756"/>
                <a:ext cx="4840" cy="2093"/>
              </a:xfrm>
              <a:custGeom>
                <a:avLst/>
                <a:gdLst>
                  <a:gd name="T0" fmla="*/ 1650 w 2049"/>
                  <a:gd name="T1" fmla="*/ 628 h 886"/>
                  <a:gd name="T2" fmla="*/ 1600 w 2049"/>
                  <a:gd name="T3" fmla="*/ 619 h 886"/>
                  <a:gd name="T4" fmla="*/ 1594 w 2049"/>
                  <a:gd name="T5" fmla="*/ 717 h 886"/>
                  <a:gd name="T6" fmla="*/ 1594 w 2049"/>
                  <a:gd name="T7" fmla="*/ 777 h 886"/>
                  <a:gd name="T8" fmla="*/ 1677 w 2049"/>
                  <a:gd name="T9" fmla="*/ 696 h 886"/>
                  <a:gd name="T10" fmla="*/ 1691 w 2049"/>
                  <a:gd name="T11" fmla="*/ 558 h 886"/>
                  <a:gd name="T12" fmla="*/ 1597 w 2049"/>
                  <a:gd name="T13" fmla="*/ 572 h 886"/>
                  <a:gd name="T14" fmla="*/ 1561 w 2049"/>
                  <a:gd name="T15" fmla="*/ 513 h 886"/>
                  <a:gd name="T16" fmla="*/ 2008 w 2049"/>
                  <a:gd name="T17" fmla="*/ 53 h 886"/>
                  <a:gd name="T18" fmla="*/ 1735 w 2049"/>
                  <a:gd name="T19" fmla="*/ 24 h 886"/>
                  <a:gd name="T20" fmla="*/ 1622 w 2049"/>
                  <a:gd name="T21" fmla="*/ 0 h 886"/>
                  <a:gd name="T22" fmla="*/ 1141 w 2049"/>
                  <a:gd name="T23" fmla="*/ 107 h 886"/>
                  <a:gd name="T24" fmla="*/ 1138 w 2049"/>
                  <a:gd name="T25" fmla="*/ 211 h 886"/>
                  <a:gd name="T26" fmla="*/ 1051 w 2049"/>
                  <a:gd name="T27" fmla="*/ 238 h 886"/>
                  <a:gd name="T28" fmla="*/ 837 w 2049"/>
                  <a:gd name="T29" fmla="*/ 261 h 886"/>
                  <a:gd name="T30" fmla="*/ 939 w 2049"/>
                  <a:gd name="T31" fmla="*/ 316 h 886"/>
                  <a:gd name="T32" fmla="*/ 1037 w 2049"/>
                  <a:gd name="T33" fmla="*/ 311 h 886"/>
                  <a:gd name="T34" fmla="*/ 898 w 2049"/>
                  <a:gd name="T35" fmla="*/ 357 h 886"/>
                  <a:gd name="T36" fmla="*/ 745 w 2049"/>
                  <a:gd name="T37" fmla="*/ 404 h 886"/>
                  <a:gd name="T38" fmla="*/ 643 w 2049"/>
                  <a:gd name="T39" fmla="*/ 462 h 886"/>
                  <a:gd name="T40" fmla="*/ 689 w 2049"/>
                  <a:gd name="T41" fmla="*/ 491 h 886"/>
                  <a:gd name="T42" fmla="*/ 619 w 2049"/>
                  <a:gd name="T43" fmla="*/ 510 h 886"/>
                  <a:gd name="T44" fmla="*/ 678 w 2049"/>
                  <a:gd name="T45" fmla="*/ 554 h 886"/>
                  <a:gd name="T46" fmla="*/ 694 w 2049"/>
                  <a:gd name="T47" fmla="*/ 576 h 886"/>
                  <a:gd name="T48" fmla="*/ 785 w 2049"/>
                  <a:gd name="T49" fmla="*/ 580 h 886"/>
                  <a:gd name="T50" fmla="*/ 815 w 2049"/>
                  <a:gd name="T51" fmla="*/ 598 h 886"/>
                  <a:gd name="T52" fmla="*/ 697 w 2049"/>
                  <a:gd name="T53" fmla="*/ 654 h 886"/>
                  <a:gd name="T54" fmla="*/ 491 w 2049"/>
                  <a:gd name="T55" fmla="*/ 747 h 886"/>
                  <a:gd name="T56" fmla="*/ 385 w 2049"/>
                  <a:gd name="T57" fmla="*/ 763 h 886"/>
                  <a:gd name="T58" fmla="*/ 373 w 2049"/>
                  <a:gd name="T59" fmla="*/ 783 h 886"/>
                  <a:gd name="T60" fmla="*/ 514 w 2049"/>
                  <a:gd name="T61" fmla="*/ 746 h 886"/>
                  <a:gd name="T62" fmla="*/ 653 w 2049"/>
                  <a:gd name="T63" fmla="*/ 697 h 886"/>
                  <a:gd name="T64" fmla="*/ 841 w 2049"/>
                  <a:gd name="T65" fmla="*/ 628 h 886"/>
                  <a:gd name="T66" fmla="*/ 1015 w 2049"/>
                  <a:gd name="T67" fmla="*/ 545 h 886"/>
                  <a:gd name="T68" fmla="*/ 1234 w 2049"/>
                  <a:gd name="T69" fmla="*/ 485 h 886"/>
                  <a:gd name="T70" fmla="*/ 1075 w 2049"/>
                  <a:gd name="T71" fmla="*/ 536 h 886"/>
                  <a:gd name="T72" fmla="*/ 1211 w 2049"/>
                  <a:gd name="T73" fmla="*/ 530 h 886"/>
                  <a:gd name="T74" fmla="*/ 1336 w 2049"/>
                  <a:gd name="T75" fmla="*/ 492 h 886"/>
                  <a:gd name="T76" fmla="*/ 1472 w 2049"/>
                  <a:gd name="T77" fmla="*/ 532 h 886"/>
                  <a:gd name="T78" fmla="*/ 1541 w 2049"/>
                  <a:gd name="T79" fmla="*/ 573 h 886"/>
                  <a:gd name="T80" fmla="*/ 1630 w 2049"/>
                  <a:gd name="T81" fmla="*/ 585 h 886"/>
                  <a:gd name="T82" fmla="*/ 1679 w 2049"/>
                  <a:gd name="T83" fmla="*/ 607 h 886"/>
                  <a:gd name="T84" fmla="*/ 1636 w 2049"/>
                  <a:gd name="T85" fmla="*/ 670 h 886"/>
                  <a:gd name="T86" fmla="*/ 1660 w 2049"/>
                  <a:gd name="T87" fmla="*/ 733 h 886"/>
                  <a:gd name="T88" fmla="*/ 1623 w 2049"/>
                  <a:gd name="T89" fmla="*/ 785 h 886"/>
                  <a:gd name="T90" fmla="*/ 1707 w 2049"/>
                  <a:gd name="T91" fmla="*/ 721 h 886"/>
                  <a:gd name="T92" fmla="*/ 1598 w 2049"/>
                  <a:gd name="T93" fmla="*/ 704 h 886"/>
                  <a:gd name="T94" fmla="*/ 1546 w 2049"/>
                  <a:gd name="T95" fmla="*/ 720 h 886"/>
                  <a:gd name="T96" fmla="*/ 510 w 2049"/>
                  <a:gd name="T97" fmla="*/ 517 h 886"/>
                  <a:gd name="T98" fmla="*/ 76 w 2049"/>
                  <a:gd name="T99" fmla="*/ 849 h 886"/>
                  <a:gd name="T100" fmla="*/ 859 w 2049"/>
                  <a:gd name="T101" fmla="*/ 663 h 886"/>
                  <a:gd name="T102" fmla="*/ 881 w 2049"/>
                  <a:gd name="T103" fmla="*/ 664 h 886"/>
                  <a:gd name="T104" fmla="*/ 908 w 2049"/>
                  <a:gd name="T105" fmla="*/ 635 h 886"/>
                  <a:gd name="T106" fmla="*/ 1646 w 2049"/>
                  <a:gd name="T107" fmla="*/ 762 h 886"/>
                  <a:gd name="T108" fmla="*/ 923 w 2049"/>
                  <a:gd name="T109" fmla="*/ 630 h 886"/>
                  <a:gd name="T110" fmla="*/ 290 w 2049"/>
                  <a:gd name="T111" fmla="*/ 788 h 886"/>
                  <a:gd name="T112" fmla="*/ 221 w 2049"/>
                  <a:gd name="T113" fmla="*/ 814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49" h="886">
                    <a:moveTo>
                      <a:pt x="1636" y="622"/>
                    </a:moveTo>
                    <a:cubicBezTo>
                      <a:pt x="1628" y="629"/>
                      <a:pt x="1614" y="645"/>
                      <a:pt x="1614" y="645"/>
                    </a:cubicBezTo>
                    <a:cubicBezTo>
                      <a:pt x="1602" y="669"/>
                      <a:pt x="1602" y="669"/>
                      <a:pt x="1602" y="669"/>
                    </a:cubicBezTo>
                    <a:cubicBezTo>
                      <a:pt x="1602" y="669"/>
                      <a:pt x="1623" y="665"/>
                      <a:pt x="1633" y="656"/>
                    </a:cubicBezTo>
                    <a:cubicBezTo>
                      <a:pt x="1643" y="647"/>
                      <a:pt x="1640" y="638"/>
                      <a:pt x="1640" y="638"/>
                    </a:cubicBezTo>
                    <a:cubicBezTo>
                      <a:pt x="1650" y="628"/>
                      <a:pt x="1650" y="628"/>
                      <a:pt x="1650" y="628"/>
                    </a:cubicBezTo>
                    <a:cubicBezTo>
                      <a:pt x="1650" y="628"/>
                      <a:pt x="1644" y="615"/>
                      <a:pt x="1636" y="622"/>
                    </a:cubicBezTo>
                    <a:close/>
                    <a:moveTo>
                      <a:pt x="1600" y="619"/>
                    </a:moveTo>
                    <a:cubicBezTo>
                      <a:pt x="1600" y="619"/>
                      <a:pt x="1575" y="626"/>
                      <a:pt x="1576" y="633"/>
                    </a:cubicBezTo>
                    <a:cubicBezTo>
                      <a:pt x="1577" y="640"/>
                      <a:pt x="1586" y="650"/>
                      <a:pt x="1586" y="650"/>
                    </a:cubicBezTo>
                    <a:cubicBezTo>
                      <a:pt x="1597" y="654"/>
                      <a:pt x="1614" y="646"/>
                      <a:pt x="1614" y="636"/>
                    </a:cubicBezTo>
                    <a:cubicBezTo>
                      <a:pt x="1614" y="626"/>
                      <a:pt x="1600" y="619"/>
                      <a:pt x="1600" y="619"/>
                    </a:cubicBezTo>
                    <a:close/>
                    <a:moveTo>
                      <a:pt x="1544" y="792"/>
                    </a:moveTo>
                    <a:cubicBezTo>
                      <a:pt x="1553" y="793"/>
                      <a:pt x="1553" y="793"/>
                      <a:pt x="1553" y="793"/>
                    </a:cubicBezTo>
                    <a:cubicBezTo>
                      <a:pt x="1559" y="768"/>
                      <a:pt x="1559" y="768"/>
                      <a:pt x="1559" y="768"/>
                    </a:cubicBezTo>
                    <a:cubicBezTo>
                      <a:pt x="1548" y="773"/>
                      <a:pt x="1548" y="773"/>
                      <a:pt x="1548" y="773"/>
                    </a:cubicBezTo>
                    <a:lnTo>
                      <a:pt x="1544" y="792"/>
                    </a:lnTo>
                    <a:close/>
                    <a:moveTo>
                      <a:pt x="1594" y="717"/>
                    </a:moveTo>
                    <a:cubicBezTo>
                      <a:pt x="1581" y="726"/>
                      <a:pt x="1581" y="726"/>
                      <a:pt x="1581" y="726"/>
                    </a:cubicBezTo>
                    <a:cubicBezTo>
                      <a:pt x="1581" y="726"/>
                      <a:pt x="1587" y="732"/>
                      <a:pt x="1591" y="733"/>
                    </a:cubicBezTo>
                    <a:cubicBezTo>
                      <a:pt x="1595" y="734"/>
                      <a:pt x="1577" y="743"/>
                      <a:pt x="1573" y="745"/>
                    </a:cubicBezTo>
                    <a:cubicBezTo>
                      <a:pt x="1569" y="747"/>
                      <a:pt x="1563" y="758"/>
                      <a:pt x="1568" y="767"/>
                    </a:cubicBezTo>
                    <a:cubicBezTo>
                      <a:pt x="1573" y="776"/>
                      <a:pt x="1572" y="794"/>
                      <a:pt x="1572" y="794"/>
                    </a:cubicBezTo>
                    <a:cubicBezTo>
                      <a:pt x="1572" y="794"/>
                      <a:pt x="1586" y="786"/>
                      <a:pt x="1594" y="777"/>
                    </a:cubicBezTo>
                    <a:cubicBezTo>
                      <a:pt x="1602" y="768"/>
                      <a:pt x="1590" y="756"/>
                      <a:pt x="1590" y="756"/>
                    </a:cubicBezTo>
                    <a:cubicBezTo>
                      <a:pt x="1590" y="756"/>
                      <a:pt x="1600" y="755"/>
                      <a:pt x="1609" y="745"/>
                    </a:cubicBezTo>
                    <a:cubicBezTo>
                      <a:pt x="1618" y="735"/>
                      <a:pt x="1594" y="717"/>
                      <a:pt x="1594" y="717"/>
                    </a:cubicBezTo>
                    <a:close/>
                    <a:moveTo>
                      <a:pt x="1707" y="721"/>
                    </a:moveTo>
                    <a:cubicBezTo>
                      <a:pt x="1707" y="721"/>
                      <a:pt x="1700" y="719"/>
                      <a:pt x="1700" y="714"/>
                    </a:cubicBezTo>
                    <a:cubicBezTo>
                      <a:pt x="1700" y="710"/>
                      <a:pt x="1672" y="709"/>
                      <a:pt x="1677" y="696"/>
                    </a:cubicBezTo>
                    <a:cubicBezTo>
                      <a:pt x="1682" y="683"/>
                      <a:pt x="1688" y="666"/>
                      <a:pt x="1688" y="666"/>
                    </a:cubicBezTo>
                    <a:cubicBezTo>
                      <a:pt x="1688" y="642"/>
                      <a:pt x="1688" y="642"/>
                      <a:pt x="1688" y="642"/>
                    </a:cubicBezTo>
                    <a:cubicBezTo>
                      <a:pt x="1688" y="642"/>
                      <a:pt x="1705" y="623"/>
                      <a:pt x="1698" y="606"/>
                    </a:cubicBezTo>
                    <a:cubicBezTo>
                      <a:pt x="1692" y="588"/>
                      <a:pt x="1685" y="586"/>
                      <a:pt x="1685" y="586"/>
                    </a:cubicBezTo>
                    <a:cubicBezTo>
                      <a:pt x="1691" y="575"/>
                      <a:pt x="1691" y="575"/>
                      <a:pt x="1691" y="575"/>
                    </a:cubicBezTo>
                    <a:cubicBezTo>
                      <a:pt x="1691" y="558"/>
                      <a:pt x="1691" y="558"/>
                      <a:pt x="1691" y="558"/>
                    </a:cubicBezTo>
                    <a:cubicBezTo>
                      <a:pt x="1691" y="558"/>
                      <a:pt x="1718" y="548"/>
                      <a:pt x="1699" y="542"/>
                    </a:cubicBezTo>
                    <a:cubicBezTo>
                      <a:pt x="1681" y="537"/>
                      <a:pt x="1653" y="547"/>
                      <a:pt x="1653" y="547"/>
                    </a:cubicBezTo>
                    <a:cubicBezTo>
                      <a:pt x="1651" y="555"/>
                      <a:pt x="1651" y="555"/>
                      <a:pt x="1651" y="555"/>
                    </a:cubicBezTo>
                    <a:cubicBezTo>
                      <a:pt x="1639" y="555"/>
                      <a:pt x="1639" y="555"/>
                      <a:pt x="1639" y="555"/>
                    </a:cubicBezTo>
                    <a:cubicBezTo>
                      <a:pt x="1639" y="555"/>
                      <a:pt x="1633" y="565"/>
                      <a:pt x="1625" y="565"/>
                    </a:cubicBezTo>
                    <a:cubicBezTo>
                      <a:pt x="1618" y="565"/>
                      <a:pt x="1597" y="572"/>
                      <a:pt x="1597" y="572"/>
                    </a:cubicBezTo>
                    <a:cubicBezTo>
                      <a:pt x="1597" y="572"/>
                      <a:pt x="1581" y="585"/>
                      <a:pt x="1575" y="585"/>
                    </a:cubicBezTo>
                    <a:cubicBezTo>
                      <a:pt x="1570" y="585"/>
                      <a:pt x="1589" y="566"/>
                      <a:pt x="1589" y="566"/>
                    </a:cubicBezTo>
                    <a:cubicBezTo>
                      <a:pt x="1589" y="566"/>
                      <a:pt x="1570" y="558"/>
                      <a:pt x="1570" y="547"/>
                    </a:cubicBezTo>
                    <a:cubicBezTo>
                      <a:pt x="1570" y="537"/>
                      <a:pt x="1570" y="528"/>
                      <a:pt x="1570" y="528"/>
                    </a:cubicBezTo>
                    <a:cubicBezTo>
                      <a:pt x="1585" y="513"/>
                      <a:pt x="1585" y="513"/>
                      <a:pt x="1585" y="513"/>
                    </a:cubicBezTo>
                    <a:cubicBezTo>
                      <a:pt x="1561" y="513"/>
                      <a:pt x="1561" y="513"/>
                      <a:pt x="1561" y="513"/>
                    </a:cubicBezTo>
                    <a:cubicBezTo>
                      <a:pt x="1561" y="513"/>
                      <a:pt x="1552" y="518"/>
                      <a:pt x="1549" y="518"/>
                    </a:cubicBezTo>
                    <a:cubicBezTo>
                      <a:pt x="1549" y="518"/>
                      <a:pt x="1520" y="524"/>
                      <a:pt x="1514" y="518"/>
                    </a:cubicBezTo>
                    <a:cubicBezTo>
                      <a:pt x="1508" y="512"/>
                      <a:pt x="1534" y="498"/>
                      <a:pt x="1534" y="498"/>
                    </a:cubicBezTo>
                    <a:cubicBezTo>
                      <a:pt x="2049" y="74"/>
                      <a:pt x="2049" y="74"/>
                      <a:pt x="2049" y="74"/>
                    </a:cubicBezTo>
                    <a:cubicBezTo>
                      <a:pt x="2037" y="74"/>
                      <a:pt x="2037" y="74"/>
                      <a:pt x="2037" y="74"/>
                    </a:cubicBezTo>
                    <a:cubicBezTo>
                      <a:pt x="2037" y="74"/>
                      <a:pt x="2034" y="51"/>
                      <a:pt x="2008" y="53"/>
                    </a:cubicBezTo>
                    <a:cubicBezTo>
                      <a:pt x="1982" y="55"/>
                      <a:pt x="1951" y="64"/>
                      <a:pt x="1947" y="64"/>
                    </a:cubicBezTo>
                    <a:cubicBezTo>
                      <a:pt x="1943" y="64"/>
                      <a:pt x="1916" y="50"/>
                      <a:pt x="1912" y="48"/>
                    </a:cubicBezTo>
                    <a:cubicBezTo>
                      <a:pt x="1908" y="46"/>
                      <a:pt x="1858" y="47"/>
                      <a:pt x="1858" y="47"/>
                    </a:cubicBezTo>
                    <a:cubicBezTo>
                      <a:pt x="1858" y="47"/>
                      <a:pt x="1842" y="39"/>
                      <a:pt x="1824" y="37"/>
                    </a:cubicBezTo>
                    <a:cubicBezTo>
                      <a:pt x="1806" y="35"/>
                      <a:pt x="1735" y="38"/>
                      <a:pt x="1732" y="38"/>
                    </a:cubicBezTo>
                    <a:cubicBezTo>
                      <a:pt x="1729" y="38"/>
                      <a:pt x="1735" y="24"/>
                      <a:pt x="1735" y="24"/>
                    </a:cubicBezTo>
                    <a:cubicBezTo>
                      <a:pt x="1735" y="24"/>
                      <a:pt x="1699" y="19"/>
                      <a:pt x="1694" y="18"/>
                    </a:cubicBezTo>
                    <a:cubicBezTo>
                      <a:pt x="1689" y="17"/>
                      <a:pt x="1656" y="24"/>
                      <a:pt x="1656" y="24"/>
                    </a:cubicBezTo>
                    <a:cubicBezTo>
                      <a:pt x="1676" y="2"/>
                      <a:pt x="1676" y="2"/>
                      <a:pt x="1676" y="2"/>
                    </a:cubicBezTo>
                    <a:cubicBezTo>
                      <a:pt x="1621" y="24"/>
                      <a:pt x="1621" y="24"/>
                      <a:pt x="1621" y="24"/>
                    </a:cubicBezTo>
                    <a:cubicBezTo>
                      <a:pt x="1642" y="2"/>
                      <a:pt x="1642" y="2"/>
                      <a:pt x="1642" y="2"/>
                    </a:cubicBezTo>
                    <a:cubicBezTo>
                      <a:pt x="1622" y="0"/>
                      <a:pt x="1622" y="0"/>
                      <a:pt x="1622" y="0"/>
                    </a:cubicBezTo>
                    <a:cubicBezTo>
                      <a:pt x="1622" y="0"/>
                      <a:pt x="1591" y="22"/>
                      <a:pt x="1561" y="22"/>
                    </a:cubicBezTo>
                    <a:cubicBezTo>
                      <a:pt x="1531" y="22"/>
                      <a:pt x="1485" y="16"/>
                      <a:pt x="1477" y="24"/>
                    </a:cubicBezTo>
                    <a:cubicBezTo>
                      <a:pt x="1469" y="32"/>
                      <a:pt x="1439" y="39"/>
                      <a:pt x="1439" y="39"/>
                    </a:cubicBezTo>
                    <a:cubicBezTo>
                      <a:pt x="1439" y="39"/>
                      <a:pt x="1390" y="39"/>
                      <a:pt x="1364" y="42"/>
                    </a:cubicBezTo>
                    <a:cubicBezTo>
                      <a:pt x="1338" y="45"/>
                      <a:pt x="1277" y="91"/>
                      <a:pt x="1235" y="97"/>
                    </a:cubicBezTo>
                    <a:cubicBezTo>
                      <a:pt x="1193" y="103"/>
                      <a:pt x="1141" y="107"/>
                      <a:pt x="1141" y="107"/>
                    </a:cubicBezTo>
                    <a:cubicBezTo>
                      <a:pt x="1141" y="107"/>
                      <a:pt x="1078" y="128"/>
                      <a:pt x="1081" y="133"/>
                    </a:cubicBezTo>
                    <a:cubicBezTo>
                      <a:pt x="1084" y="138"/>
                      <a:pt x="1105" y="149"/>
                      <a:pt x="1105" y="149"/>
                    </a:cubicBezTo>
                    <a:cubicBezTo>
                      <a:pt x="1105" y="149"/>
                      <a:pt x="1118" y="172"/>
                      <a:pt x="1112" y="175"/>
                    </a:cubicBezTo>
                    <a:cubicBezTo>
                      <a:pt x="1106" y="178"/>
                      <a:pt x="1097" y="187"/>
                      <a:pt x="1097" y="187"/>
                    </a:cubicBezTo>
                    <a:cubicBezTo>
                      <a:pt x="1157" y="188"/>
                      <a:pt x="1157" y="188"/>
                      <a:pt x="1157" y="188"/>
                    </a:cubicBezTo>
                    <a:cubicBezTo>
                      <a:pt x="1138" y="211"/>
                      <a:pt x="1138" y="211"/>
                      <a:pt x="1138" y="211"/>
                    </a:cubicBezTo>
                    <a:cubicBezTo>
                      <a:pt x="1182" y="213"/>
                      <a:pt x="1182" y="213"/>
                      <a:pt x="1182" y="213"/>
                    </a:cubicBezTo>
                    <a:cubicBezTo>
                      <a:pt x="1175" y="225"/>
                      <a:pt x="1175" y="225"/>
                      <a:pt x="1175" y="225"/>
                    </a:cubicBezTo>
                    <a:cubicBezTo>
                      <a:pt x="1139" y="224"/>
                      <a:pt x="1139" y="224"/>
                      <a:pt x="1139" y="224"/>
                    </a:cubicBezTo>
                    <a:cubicBezTo>
                      <a:pt x="1132" y="232"/>
                      <a:pt x="1132" y="232"/>
                      <a:pt x="1132" y="232"/>
                    </a:cubicBezTo>
                    <a:cubicBezTo>
                      <a:pt x="1110" y="232"/>
                      <a:pt x="1110" y="232"/>
                      <a:pt x="1110" y="232"/>
                    </a:cubicBezTo>
                    <a:cubicBezTo>
                      <a:pt x="1110" y="232"/>
                      <a:pt x="1076" y="238"/>
                      <a:pt x="1051" y="238"/>
                    </a:cubicBezTo>
                    <a:cubicBezTo>
                      <a:pt x="1026" y="238"/>
                      <a:pt x="1031" y="228"/>
                      <a:pt x="1045" y="223"/>
                    </a:cubicBezTo>
                    <a:cubicBezTo>
                      <a:pt x="1059" y="218"/>
                      <a:pt x="1017" y="215"/>
                      <a:pt x="1017" y="215"/>
                    </a:cubicBezTo>
                    <a:cubicBezTo>
                      <a:pt x="1017" y="215"/>
                      <a:pt x="969" y="213"/>
                      <a:pt x="967" y="221"/>
                    </a:cubicBezTo>
                    <a:cubicBezTo>
                      <a:pt x="965" y="229"/>
                      <a:pt x="969" y="234"/>
                      <a:pt x="969" y="234"/>
                    </a:cubicBezTo>
                    <a:cubicBezTo>
                      <a:pt x="969" y="234"/>
                      <a:pt x="934" y="236"/>
                      <a:pt x="911" y="239"/>
                    </a:cubicBezTo>
                    <a:cubicBezTo>
                      <a:pt x="888" y="242"/>
                      <a:pt x="820" y="255"/>
                      <a:pt x="837" y="261"/>
                    </a:cubicBezTo>
                    <a:cubicBezTo>
                      <a:pt x="854" y="267"/>
                      <a:pt x="877" y="270"/>
                      <a:pt x="877" y="270"/>
                    </a:cubicBezTo>
                    <a:cubicBezTo>
                      <a:pt x="848" y="280"/>
                      <a:pt x="848" y="280"/>
                      <a:pt x="848" y="280"/>
                    </a:cubicBezTo>
                    <a:cubicBezTo>
                      <a:pt x="840" y="307"/>
                      <a:pt x="840" y="307"/>
                      <a:pt x="840" y="307"/>
                    </a:cubicBezTo>
                    <a:cubicBezTo>
                      <a:pt x="840" y="307"/>
                      <a:pt x="864" y="311"/>
                      <a:pt x="880" y="311"/>
                    </a:cubicBezTo>
                    <a:cubicBezTo>
                      <a:pt x="896" y="311"/>
                      <a:pt x="910" y="308"/>
                      <a:pt x="910" y="308"/>
                    </a:cubicBezTo>
                    <a:cubicBezTo>
                      <a:pt x="939" y="316"/>
                      <a:pt x="939" y="316"/>
                      <a:pt x="939" y="316"/>
                    </a:cubicBezTo>
                    <a:cubicBezTo>
                      <a:pt x="948" y="304"/>
                      <a:pt x="948" y="304"/>
                      <a:pt x="948" y="304"/>
                    </a:cubicBezTo>
                    <a:cubicBezTo>
                      <a:pt x="957" y="315"/>
                      <a:pt x="957" y="315"/>
                      <a:pt x="957" y="315"/>
                    </a:cubicBezTo>
                    <a:cubicBezTo>
                      <a:pt x="957" y="315"/>
                      <a:pt x="989" y="297"/>
                      <a:pt x="994" y="297"/>
                    </a:cubicBezTo>
                    <a:cubicBezTo>
                      <a:pt x="999" y="297"/>
                      <a:pt x="1007" y="303"/>
                      <a:pt x="1017" y="299"/>
                    </a:cubicBezTo>
                    <a:cubicBezTo>
                      <a:pt x="1027" y="295"/>
                      <a:pt x="1045" y="281"/>
                      <a:pt x="1046" y="290"/>
                    </a:cubicBezTo>
                    <a:cubicBezTo>
                      <a:pt x="1047" y="299"/>
                      <a:pt x="1037" y="311"/>
                      <a:pt x="1037" y="311"/>
                    </a:cubicBezTo>
                    <a:cubicBezTo>
                      <a:pt x="999" y="312"/>
                      <a:pt x="999" y="312"/>
                      <a:pt x="999" y="312"/>
                    </a:cubicBezTo>
                    <a:cubicBezTo>
                      <a:pt x="1004" y="333"/>
                      <a:pt x="1004" y="333"/>
                      <a:pt x="1004" y="333"/>
                    </a:cubicBezTo>
                    <a:cubicBezTo>
                      <a:pt x="1004" y="333"/>
                      <a:pt x="976" y="360"/>
                      <a:pt x="958" y="361"/>
                    </a:cubicBezTo>
                    <a:cubicBezTo>
                      <a:pt x="940" y="362"/>
                      <a:pt x="920" y="362"/>
                      <a:pt x="920" y="362"/>
                    </a:cubicBezTo>
                    <a:cubicBezTo>
                      <a:pt x="910" y="350"/>
                      <a:pt x="910" y="350"/>
                      <a:pt x="910" y="350"/>
                    </a:cubicBezTo>
                    <a:cubicBezTo>
                      <a:pt x="898" y="357"/>
                      <a:pt x="898" y="357"/>
                      <a:pt x="898" y="357"/>
                    </a:cubicBezTo>
                    <a:cubicBezTo>
                      <a:pt x="898" y="365"/>
                      <a:pt x="898" y="365"/>
                      <a:pt x="898" y="365"/>
                    </a:cubicBezTo>
                    <a:cubicBezTo>
                      <a:pt x="898" y="365"/>
                      <a:pt x="857" y="389"/>
                      <a:pt x="844" y="381"/>
                    </a:cubicBezTo>
                    <a:cubicBezTo>
                      <a:pt x="831" y="373"/>
                      <a:pt x="824" y="371"/>
                      <a:pt x="824" y="371"/>
                    </a:cubicBezTo>
                    <a:cubicBezTo>
                      <a:pt x="762" y="406"/>
                      <a:pt x="762" y="406"/>
                      <a:pt x="762" y="406"/>
                    </a:cubicBezTo>
                    <a:cubicBezTo>
                      <a:pt x="748" y="418"/>
                      <a:pt x="748" y="418"/>
                      <a:pt x="748" y="418"/>
                    </a:cubicBezTo>
                    <a:cubicBezTo>
                      <a:pt x="745" y="404"/>
                      <a:pt x="745" y="404"/>
                      <a:pt x="745" y="404"/>
                    </a:cubicBezTo>
                    <a:cubicBezTo>
                      <a:pt x="745" y="404"/>
                      <a:pt x="720" y="415"/>
                      <a:pt x="706" y="420"/>
                    </a:cubicBezTo>
                    <a:cubicBezTo>
                      <a:pt x="692" y="425"/>
                      <a:pt x="682" y="440"/>
                      <a:pt x="682" y="440"/>
                    </a:cubicBezTo>
                    <a:cubicBezTo>
                      <a:pt x="662" y="434"/>
                      <a:pt x="662" y="434"/>
                      <a:pt x="662" y="434"/>
                    </a:cubicBezTo>
                    <a:cubicBezTo>
                      <a:pt x="662" y="447"/>
                      <a:pt x="662" y="447"/>
                      <a:pt x="662" y="447"/>
                    </a:cubicBezTo>
                    <a:cubicBezTo>
                      <a:pt x="662" y="447"/>
                      <a:pt x="649" y="441"/>
                      <a:pt x="646" y="447"/>
                    </a:cubicBezTo>
                    <a:cubicBezTo>
                      <a:pt x="643" y="453"/>
                      <a:pt x="643" y="462"/>
                      <a:pt x="643" y="462"/>
                    </a:cubicBezTo>
                    <a:cubicBezTo>
                      <a:pt x="636" y="471"/>
                      <a:pt x="636" y="471"/>
                      <a:pt x="636" y="471"/>
                    </a:cubicBezTo>
                    <a:cubicBezTo>
                      <a:pt x="676" y="457"/>
                      <a:pt x="676" y="457"/>
                      <a:pt x="676" y="457"/>
                    </a:cubicBezTo>
                    <a:cubicBezTo>
                      <a:pt x="661" y="469"/>
                      <a:pt x="661" y="469"/>
                      <a:pt x="661" y="469"/>
                    </a:cubicBezTo>
                    <a:cubicBezTo>
                      <a:pt x="661" y="475"/>
                      <a:pt x="661" y="475"/>
                      <a:pt x="661" y="475"/>
                    </a:cubicBezTo>
                    <a:cubicBezTo>
                      <a:pt x="648" y="483"/>
                      <a:pt x="648" y="483"/>
                      <a:pt x="648" y="483"/>
                    </a:cubicBezTo>
                    <a:cubicBezTo>
                      <a:pt x="648" y="483"/>
                      <a:pt x="698" y="482"/>
                      <a:pt x="689" y="491"/>
                    </a:cubicBezTo>
                    <a:cubicBezTo>
                      <a:pt x="680" y="500"/>
                      <a:pt x="658" y="498"/>
                      <a:pt x="658" y="498"/>
                    </a:cubicBezTo>
                    <a:cubicBezTo>
                      <a:pt x="641" y="502"/>
                      <a:pt x="641" y="502"/>
                      <a:pt x="641" y="502"/>
                    </a:cubicBezTo>
                    <a:cubicBezTo>
                      <a:pt x="649" y="494"/>
                      <a:pt x="649" y="494"/>
                      <a:pt x="649" y="494"/>
                    </a:cubicBezTo>
                    <a:cubicBezTo>
                      <a:pt x="640" y="489"/>
                      <a:pt x="640" y="489"/>
                      <a:pt x="640" y="489"/>
                    </a:cubicBezTo>
                    <a:cubicBezTo>
                      <a:pt x="640" y="489"/>
                      <a:pt x="611" y="500"/>
                      <a:pt x="612" y="503"/>
                    </a:cubicBezTo>
                    <a:cubicBezTo>
                      <a:pt x="613" y="506"/>
                      <a:pt x="619" y="510"/>
                      <a:pt x="619" y="510"/>
                    </a:cubicBezTo>
                    <a:cubicBezTo>
                      <a:pt x="619" y="510"/>
                      <a:pt x="608" y="537"/>
                      <a:pt x="612" y="538"/>
                    </a:cubicBezTo>
                    <a:cubicBezTo>
                      <a:pt x="616" y="539"/>
                      <a:pt x="659" y="536"/>
                      <a:pt x="659" y="536"/>
                    </a:cubicBezTo>
                    <a:cubicBezTo>
                      <a:pt x="691" y="518"/>
                      <a:pt x="691" y="518"/>
                      <a:pt x="691" y="518"/>
                    </a:cubicBezTo>
                    <a:cubicBezTo>
                      <a:pt x="738" y="499"/>
                      <a:pt x="738" y="499"/>
                      <a:pt x="738" y="499"/>
                    </a:cubicBezTo>
                    <a:cubicBezTo>
                      <a:pt x="738" y="499"/>
                      <a:pt x="694" y="520"/>
                      <a:pt x="689" y="528"/>
                    </a:cubicBezTo>
                    <a:cubicBezTo>
                      <a:pt x="684" y="536"/>
                      <a:pt x="685" y="552"/>
                      <a:pt x="678" y="554"/>
                    </a:cubicBezTo>
                    <a:cubicBezTo>
                      <a:pt x="671" y="556"/>
                      <a:pt x="659" y="549"/>
                      <a:pt x="653" y="558"/>
                    </a:cubicBezTo>
                    <a:cubicBezTo>
                      <a:pt x="647" y="567"/>
                      <a:pt x="643" y="577"/>
                      <a:pt x="638" y="582"/>
                    </a:cubicBezTo>
                    <a:cubicBezTo>
                      <a:pt x="633" y="587"/>
                      <a:pt x="618" y="596"/>
                      <a:pt x="618" y="596"/>
                    </a:cubicBezTo>
                    <a:cubicBezTo>
                      <a:pt x="654" y="592"/>
                      <a:pt x="654" y="592"/>
                      <a:pt x="654" y="592"/>
                    </a:cubicBezTo>
                    <a:cubicBezTo>
                      <a:pt x="647" y="604"/>
                      <a:pt x="647" y="604"/>
                      <a:pt x="647" y="604"/>
                    </a:cubicBezTo>
                    <a:cubicBezTo>
                      <a:pt x="647" y="604"/>
                      <a:pt x="677" y="573"/>
                      <a:pt x="694" y="576"/>
                    </a:cubicBezTo>
                    <a:cubicBezTo>
                      <a:pt x="711" y="579"/>
                      <a:pt x="702" y="584"/>
                      <a:pt x="702" y="584"/>
                    </a:cubicBezTo>
                    <a:cubicBezTo>
                      <a:pt x="718" y="582"/>
                      <a:pt x="718" y="582"/>
                      <a:pt x="718" y="582"/>
                    </a:cubicBezTo>
                    <a:cubicBezTo>
                      <a:pt x="718" y="582"/>
                      <a:pt x="705" y="607"/>
                      <a:pt x="719" y="607"/>
                    </a:cubicBezTo>
                    <a:cubicBezTo>
                      <a:pt x="733" y="607"/>
                      <a:pt x="750" y="585"/>
                      <a:pt x="750" y="585"/>
                    </a:cubicBezTo>
                    <a:cubicBezTo>
                      <a:pt x="778" y="572"/>
                      <a:pt x="778" y="572"/>
                      <a:pt x="778" y="572"/>
                    </a:cubicBezTo>
                    <a:cubicBezTo>
                      <a:pt x="785" y="580"/>
                      <a:pt x="785" y="580"/>
                      <a:pt x="785" y="580"/>
                    </a:cubicBezTo>
                    <a:cubicBezTo>
                      <a:pt x="765" y="582"/>
                      <a:pt x="765" y="582"/>
                      <a:pt x="765" y="582"/>
                    </a:cubicBezTo>
                    <a:cubicBezTo>
                      <a:pt x="765" y="582"/>
                      <a:pt x="751" y="596"/>
                      <a:pt x="762" y="596"/>
                    </a:cubicBezTo>
                    <a:cubicBezTo>
                      <a:pt x="773" y="596"/>
                      <a:pt x="819" y="583"/>
                      <a:pt x="819" y="583"/>
                    </a:cubicBezTo>
                    <a:cubicBezTo>
                      <a:pt x="847" y="571"/>
                      <a:pt x="847" y="571"/>
                      <a:pt x="847" y="571"/>
                    </a:cubicBezTo>
                    <a:cubicBezTo>
                      <a:pt x="815" y="588"/>
                      <a:pt x="815" y="588"/>
                      <a:pt x="815" y="588"/>
                    </a:cubicBezTo>
                    <a:cubicBezTo>
                      <a:pt x="815" y="598"/>
                      <a:pt x="815" y="598"/>
                      <a:pt x="815" y="598"/>
                    </a:cubicBezTo>
                    <a:cubicBezTo>
                      <a:pt x="815" y="598"/>
                      <a:pt x="797" y="599"/>
                      <a:pt x="786" y="603"/>
                    </a:cubicBezTo>
                    <a:cubicBezTo>
                      <a:pt x="775" y="607"/>
                      <a:pt x="767" y="620"/>
                      <a:pt x="767" y="620"/>
                    </a:cubicBezTo>
                    <a:cubicBezTo>
                      <a:pt x="747" y="622"/>
                      <a:pt x="747" y="622"/>
                      <a:pt x="747" y="622"/>
                    </a:cubicBezTo>
                    <a:cubicBezTo>
                      <a:pt x="723" y="642"/>
                      <a:pt x="723" y="642"/>
                      <a:pt x="723" y="642"/>
                    </a:cubicBezTo>
                    <a:cubicBezTo>
                      <a:pt x="724" y="651"/>
                      <a:pt x="724" y="651"/>
                      <a:pt x="724" y="651"/>
                    </a:cubicBezTo>
                    <a:cubicBezTo>
                      <a:pt x="697" y="654"/>
                      <a:pt x="697" y="654"/>
                      <a:pt x="697" y="654"/>
                    </a:cubicBezTo>
                    <a:cubicBezTo>
                      <a:pt x="697" y="654"/>
                      <a:pt x="652" y="663"/>
                      <a:pt x="647" y="670"/>
                    </a:cubicBezTo>
                    <a:cubicBezTo>
                      <a:pt x="642" y="677"/>
                      <a:pt x="645" y="691"/>
                      <a:pt x="636" y="691"/>
                    </a:cubicBezTo>
                    <a:cubicBezTo>
                      <a:pt x="627" y="691"/>
                      <a:pt x="600" y="691"/>
                      <a:pt x="584" y="693"/>
                    </a:cubicBezTo>
                    <a:cubicBezTo>
                      <a:pt x="568" y="695"/>
                      <a:pt x="515" y="734"/>
                      <a:pt x="515" y="734"/>
                    </a:cubicBezTo>
                    <a:cubicBezTo>
                      <a:pt x="500" y="737"/>
                      <a:pt x="500" y="737"/>
                      <a:pt x="500" y="737"/>
                    </a:cubicBezTo>
                    <a:cubicBezTo>
                      <a:pt x="491" y="747"/>
                      <a:pt x="491" y="747"/>
                      <a:pt x="491" y="747"/>
                    </a:cubicBezTo>
                    <a:cubicBezTo>
                      <a:pt x="490" y="736"/>
                      <a:pt x="490" y="736"/>
                      <a:pt x="490" y="736"/>
                    </a:cubicBezTo>
                    <a:cubicBezTo>
                      <a:pt x="490" y="736"/>
                      <a:pt x="458" y="732"/>
                      <a:pt x="447" y="738"/>
                    </a:cubicBezTo>
                    <a:cubicBezTo>
                      <a:pt x="436" y="744"/>
                      <a:pt x="412" y="754"/>
                      <a:pt x="412" y="754"/>
                    </a:cubicBezTo>
                    <a:cubicBezTo>
                      <a:pt x="403" y="752"/>
                      <a:pt x="403" y="752"/>
                      <a:pt x="403" y="752"/>
                    </a:cubicBezTo>
                    <a:cubicBezTo>
                      <a:pt x="404" y="760"/>
                      <a:pt x="404" y="760"/>
                      <a:pt x="404" y="760"/>
                    </a:cubicBezTo>
                    <a:cubicBezTo>
                      <a:pt x="385" y="763"/>
                      <a:pt x="385" y="763"/>
                      <a:pt x="385" y="763"/>
                    </a:cubicBezTo>
                    <a:cubicBezTo>
                      <a:pt x="378" y="769"/>
                      <a:pt x="378" y="769"/>
                      <a:pt x="378" y="769"/>
                    </a:cubicBezTo>
                    <a:cubicBezTo>
                      <a:pt x="362" y="767"/>
                      <a:pt x="362" y="767"/>
                      <a:pt x="362" y="767"/>
                    </a:cubicBezTo>
                    <a:cubicBezTo>
                      <a:pt x="345" y="782"/>
                      <a:pt x="345" y="782"/>
                      <a:pt x="345" y="782"/>
                    </a:cubicBezTo>
                    <a:cubicBezTo>
                      <a:pt x="350" y="788"/>
                      <a:pt x="350" y="788"/>
                      <a:pt x="350" y="788"/>
                    </a:cubicBezTo>
                    <a:cubicBezTo>
                      <a:pt x="360" y="776"/>
                      <a:pt x="360" y="776"/>
                      <a:pt x="360" y="776"/>
                    </a:cubicBezTo>
                    <a:cubicBezTo>
                      <a:pt x="373" y="783"/>
                      <a:pt x="373" y="783"/>
                      <a:pt x="373" y="783"/>
                    </a:cubicBezTo>
                    <a:cubicBezTo>
                      <a:pt x="387" y="771"/>
                      <a:pt x="387" y="771"/>
                      <a:pt x="387" y="771"/>
                    </a:cubicBezTo>
                    <a:cubicBezTo>
                      <a:pt x="388" y="779"/>
                      <a:pt x="388" y="779"/>
                      <a:pt x="388" y="779"/>
                    </a:cubicBezTo>
                    <a:cubicBezTo>
                      <a:pt x="388" y="779"/>
                      <a:pt x="409" y="778"/>
                      <a:pt x="417" y="771"/>
                    </a:cubicBezTo>
                    <a:cubicBezTo>
                      <a:pt x="425" y="764"/>
                      <a:pt x="441" y="750"/>
                      <a:pt x="450" y="748"/>
                    </a:cubicBezTo>
                    <a:cubicBezTo>
                      <a:pt x="459" y="746"/>
                      <a:pt x="451" y="762"/>
                      <a:pt x="464" y="762"/>
                    </a:cubicBezTo>
                    <a:cubicBezTo>
                      <a:pt x="477" y="762"/>
                      <a:pt x="514" y="746"/>
                      <a:pt x="514" y="746"/>
                    </a:cubicBezTo>
                    <a:cubicBezTo>
                      <a:pt x="536" y="752"/>
                      <a:pt x="536" y="752"/>
                      <a:pt x="536" y="752"/>
                    </a:cubicBezTo>
                    <a:cubicBezTo>
                      <a:pt x="548" y="740"/>
                      <a:pt x="548" y="740"/>
                      <a:pt x="548" y="740"/>
                    </a:cubicBezTo>
                    <a:cubicBezTo>
                      <a:pt x="548" y="740"/>
                      <a:pt x="585" y="738"/>
                      <a:pt x="596" y="729"/>
                    </a:cubicBezTo>
                    <a:cubicBezTo>
                      <a:pt x="607" y="720"/>
                      <a:pt x="619" y="706"/>
                      <a:pt x="628" y="705"/>
                    </a:cubicBezTo>
                    <a:cubicBezTo>
                      <a:pt x="637" y="704"/>
                      <a:pt x="649" y="704"/>
                      <a:pt x="649" y="704"/>
                    </a:cubicBezTo>
                    <a:cubicBezTo>
                      <a:pt x="653" y="697"/>
                      <a:pt x="653" y="697"/>
                      <a:pt x="653" y="697"/>
                    </a:cubicBezTo>
                    <a:cubicBezTo>
                      <a:pt x="677" y="697"/>
                      <a:pt x="677" y="697"/>
                      <a:pt x="677" y="697"/>
                    </a:cubicBezTo>
                    <a:cubicBezTo>
                      <a:pt x="684" y="691"/>
                      <a:pt x="684" y="691"/>
                      <a:pt x="684" y="691"/>
                    </a:cubicBezTo>
                    <a:cubicBezTo>
                      <a:pt x="684" y="691"/>
                      <a:pt x="717" y="684"/>
                      <a:pt x="732" y="677"/>
                    </a:cubicBezTo>
                    <a:cubicBezTo>
                      <a:pt x="747" y="670"/>
                      <a:pt x="762" y="656"/>
                      <a:pt x="762" y="656"/>
                    </a:cubicBezTo>
                    <a:cubicBezTo>
                      <a:pt x="803" y="650"/>
                      <a:pt x="803" y="650"/>
                      <a:pt x="803" y="650"/>
                    </a:cubicBezTo>
                    <a:cubicBezTo>
                      <a:pt x="841" y="628"/>
                      <a:pt x="841" y="628"/>
                      <a:pt x="841" y="628"/>
                    </a:cubicBezTo>
                    <a:cubicBezTo>
                      <a:pt x="841" y="628"/>
                      <a:pt x="885" y="627"/>
                      <a:pt x="892" y="620"/>
                    </a:cubicBezTo>
                    <a:cubicBezTo>
                      <a:pt x="899" y="613"/>
                      <a:pt x="912" y="601"/>
                      <a:pt x="912" y="601"/>
                    </a:cubicBezTo>
                    <a:cubicBezTo>
                      <a:pt x="912" y="601"/>
                      <a:pt x="954" y="594"/>
                      <a:pt x="958" y="586"/>
                    </a:cubicBezTo>
                    <a:cubicBezTo>
                      <a:pt x="962" y="578"/>
                      <a:pt x="947" y="578"/>
                      <a:pt x="947" y="578"/>
                    </a:cubicBezTo>
                    <a:cubicBezTo>
                      <a:pt x="947" y="578"/>
                      <a:pt x="970" y="562"/>
                      <a:pt x="979" y="557"/>
                    </a:cubicBezTo>
                    <a:cubicBezTo>
                      <a:pt x="988" y="552"/>
                      <a:pt x="1015" y="545"/>
                      <a:pt x="1015" y="545"/>
                    </a:cubicBezTo>
                    <a:cubicBezTo>
                      <a:pt x="1066" y="526"/>
                      <a:pt x="1066" y="526"/>
                      <a:pt x="1066" y="526"/>
                    </a:cubicBezTo>
                    <a:cubicBezTo>
                      <a:pt x="1060" y="513"/>
                      <a:pt x="1060" y="513"/>
                      <a:pt x="1060" y="513"/>
                    </a:cubicBezTo>
                    <a:cubicBezTo>
                      <a:pt x="1060" y="513"/>
                      <a:pt x="1083" y="519"/>
                      <a:pt x="1090" y="514"/>
                    </a:cubicBezTo>
                    <a:cubicBezTo>
                      <a:pt x="1097" y="509"/>
                      <a:pt x="1130" y="494"/>
                      <a:pt x="1130" y="494"/>
                    </a:cubicBezTo>
                    <a:cubicBezTo>
                      <a:pt x="1130" y="494"/>
                      <a:pt x="1188" y="470"/>
                      <a:pt x="1196" y="467"/>
                    </a:cubicBezTo>
                    <a:cubicBezTo>
                      <a:pt x="1204" y="464"/>
                      <a:pt x="1234" y="485"/>
                      <a:pt x="1234" y="485"/>
                    </a:cubicBezTo>
                    <a:cubicBezTo>
                      <a:pt x="1210" y="485"/>
                      <a:pt x="1210" y="485"/>
                      <a:pt x="1210" y="485"/>
                    </a:cubicBezTo>
                    <a:cubicBezTo>
                      <a:pt x="1197" y="477"/>
                      <a:pt x="1197" y="477"/>
                      <a:pt x="1197" y="477"/>
                    </a:cubicBezTo>
                    <a:cubicBezTo>
                      <a:pt x="1174" y="493"/>
                      <a:pt x="1174" y="493"/>
                      <a:pt x="1174" y="493"/>
                    </a:cubicBezTo>
                    <a:cubicBezTo>
                      <a:pt x="1151" y="493"/>
                      <a:pt x="1151" y="493"/>
                      <a:pt x="1151" y="493"/>
                    </a:cubicBezTo>
                    <a:cubicBezTo>
                      <a:pt x="1151" y="493"/>
                      <a:pt x="1128" y="515"/>
                      <a:pt x="1119" y="518"/>
                    </a:cubicBezTo>
                    <a:cubicBezTo>
                      <a:pt x="1110" y="521"/>
                      <a:pt x="1071" y="527"/>
                      <a:pt x="1075" y="536"/>
                    </a:cubicBezTo>
                    <a:cubicBezTo>
                      <a:pt x="1079" y="545"/>
                      <a:pt x="1099" y="544"/>
                      <a:pt x="1099" y="544"/>
                    </a:cubicBezTo>
                    <a:cubicBezTo>
                      <a:pt x="1099" y="544"/>
                      <a:pt x="1079" y="552"/>
                      <a:pt x="1075" y="552"/>
                    </a:cubicBezTo>
                    <a:cubicBezTo>
                      <a:pt x="1071" y="552"/>
                      <a:pt x="1042" y="551"/>
                      <a:pt x="1042" y="557"/>
                    </a:cubicBezTo>
                    <a:cubicBezTo>
                      <a:pt x="1042" y="563"/>
                      <a:pt x="1045" y="576"/>
                      <a:pt x="1065" y="568"/>
                    </a:cubicBezTo>
                    <a:cubicBezTo>
                      <a:pt x="1085" y="560"/>
                      <a:pt x="1129" y="536"/>
                      <a:pt x="1147" y="532"/>
                    </a:cubicBezTo>
                    <a:cubicBezTo>
                      <a:pt x="1165" y="528"/>
                      <a:pt x="1197" y="537"/>
                      <a:pt x="1211" y="530"/>
                    </a:cubicBezTo>
                    <a:cubicBezTo>
                      <a:pt x="1225" y="523"/>
                      <a:pt x="1247" y="502"/>
                      <a:pt x="1247" y="502"/>
                    </a:cubicBezTo>
                    <a:cubicBezTo>
                      <a:pt x="1245" y="492"/>
                      <a:pt x="1245" y="492"/>
                      <a:pt x="1245" y="492"/>
                    </a:cubicBezTo>
                    <a:cubicBezTo>
                      <a:pt x="1245" y="492"/>
                      <a:pt x="1299" y="471"/>
                      <a:pt x="1309" y="472"/>
                    </a:cubicBezTo>
                    <a:cubicBezTo>
                      <a:pt x="1319" y="473"/>
                      <a:pt x="1322" y="483"/>
                      <a:pt x="1322" y="483"/>
                    </a:cubicBezTo>
                    <a:cubicBezTo>
                      <a:pt x="1364" y="470"/>
                      <a:pt x="1364" y="470"/>
                      <a:pt x="1364" y="470"/>
                    </a:cubicBezTo>
                    <a:cubicBezTo>
                      <a:pt x="1336" y="492"/>
                      <a:pt x="1336" y="492"/>
                      <a:pt x="1336" y="492"/>
                    </a:cubicBezTo>
                    <a:cubicBezTo>
                      <a:pt x="1350" y="498"/>
                      <a:pt x="1350" y="498"/>
                      <a:pt x="1350" y="498"/>
                    </a:cubicBezTo>
                    <a:cubicBezTo>
                      <a:pt x="1350" y="498"/>
                      <a:pt x="1346" y="510"/>
                      <a:pt x="1350" y="510"/>
                    </a:cubicBezTo>
                    <a:cubicBezTo>
                      <a:pt x="1354" y="510"/>
                      <a:pt x="1395" y="485"/>
                      <a:pt x="1395" y="485"/>
                    </a:cubicBezTo>
                    <a:cubicBezTo>
                      <a:pt x="1395" y="485"/>
                      <a:pt x="1356" y="515"/>
                      <a:pt x="1367" y="520"/>
                    </a:cubicBezTo>
                    <a:cubicBezTo>
                      <a:pt x="1378" y="525"/>
                      <a:pt x="1406" y="526"/>
                      <a:pt x="1406" y="526"/>
                    </a:cubicBezTo>
                    <a:cubicBezTo>
                      <a:pt x="1472" y="532"/>
                      <a:pt x="1472" y="532"/>
                      <a:pt x="1472" y="532"/>
                    </a:cubicBezTo>
                    <a:cubicBezTo>
                      <a:pt x="1493" y="519"/>
                      <a:pt x="1493" y="519"/>
                      <a:pt x="1493" y="519"/>
                    </a:cubicBezTo>
                    <a:cubicBezTo>
                      <a:pt x="1493" y="519"/>
                      <a:pt x="1480" y="541"/>
                      <a:pt x="1491" y="542"/>
                    </a:cubicBezTo>
                    <a:cubicBezTo>
                      <a:pt x="1502" y="543"/>
                      <a:pt x="1534" y="541"/>
                      <a:pt x="1534" y="541"/>
                    </a:cubicBezTo>
                    <a:cubicBezTo>
                      <a:pt x="1556" y="535"/>
                      <a:pt x="1556" y="535"/>
                      <a:pt x="1556" y="535"/>
                    </a:cubicBezTo>
                    <a:cubicBezTo>
                      <a:pt x="1556" y="535"/>
                      <a:pt x="1517" y="549"/>
                      <a:pt x="1520" y="557"/>
                    </a:cubicBezTo>
                    <a:cubicBezTo>
                      <a:pt x="1523" y="565"/>
                      <a:pt x="1541" y="573"/>
                      <a:pt x="1541" y="573"/>
                    </a:cubicBezTo>
                    <a:cubicBezTo>
                      <a:pt x="1541" y="573"/>
                      <a:pt x="1539" y="609"/>
                      <a:pt x="1551" y="609"/>
                    </a:cubicBezTo>
                    <a:cubicBezTo>
                      <a:pt x="1563" y="609"/>
                      <a:pt x="1594" y="606"/>
                      <a:pt x="1594" y="606"/>
                    </a:cubicBezTo>
                    <a:cubicBezTo>
                      <a:pt x="1587" y="585"/>
                      <a:pt x="1587" y="585"/>
                      <a:pt x="1587" y="585"/>
                    </a:cubicBezTo>
                    <a:cubicBezTo>
                      <a:pt x="1601" y="580"/>
                      <a:pt x="1601" y="580"/>
                      <a:pt x="1601" y="580"/>
                    </a:cubicBezTo>
                    <a:cubicBezTo>
                      <a:pt x="1610" y="591"/>
                      <a:pt x="1610" y="591"/>
                      <a:pt x="1610" y="591"/>
                    </a:cubicBezTo>
                    <a:cubicBezTo>
                      <a:pt x="1630" y="585"/>
                      <a:pt x="1630" y="585"/>
                      <a:pt x="1630" y="585"/>
                    </a:cubicBezTo>
                    <a:cubicBezTo>
                      <a:pt x="1630" y="585"/>
                      <a:pt x="1610" y="608"/>
                      <a:pt x="1621" y="612"/>
                    </a:cubicBezTo>
                    <a:cubicBezTo>
                      <a:pt x="1632" y="616"/>
                      <a:pt x="1650" y="586"/>
                      <a:pt x="1650" y="586"/>
                    </a:cubicBezTo>
                    <a:cubicBezTo>
                      <a:pt x="1670" y="557"/>
                      <a:pt x="1670" y="557"/>
                      <a:pt x="1670" y="557"/>
                    </a:cubicBezTo>
                    <a:cubicBezTo>
                      <a:pt x="1652" y="599"/>
                      <a:pt x="1652" y="599"/>
                      <a:pt x="1652" y="599"/>
                    </a:cubicBezTo>
                    <a:cubicBezTo>
                      <a:pt x="1656" y="615"/>
                      <a:pt x="1656" y="615"/>
                      <a:pt x="1656" y="615"/>
                    </a:cubicBezTo>
                    <a:cubicBezTo>
                      <a:pt x="1679" y="607"/>
                      <a:pt x="1679" y="607"/>
                      <a:pt x="1679" y="607"/>
                    </a:cubicBezTo>
                    <a:cubicBezTo>
                      <a:pt x="1664" y="623"/>
                      <a:pt x="1664" y="623"/>
                      <a:pt x="1664" y="623"/>
                    </a:cubicBezTo>
                    <a:cubicBezTo>
                      <a:pt x="1681" y="638"/>
                      <a:pt x="1681" y="638"/>
                      <a:pt x="1681" y="638"/>
                    </a:cubicBezTo>
                    <a:cubicBezTo>
                      <a:pt x="1669" y="635"/>
                      <a:pt x="1669" y="635"/>
                      <a:pt x="1669" y="635"/>
                    </a:cubicBezTo>
                    <a:cubicBezTo>
                      <a:pt x="1667" y="647"/>
                      <a:pt x="1667" y="647"/>
                      <a:pt x="1667" y="647"/>
                    </a:cubicBezTo>
                    <a:cubicBezTo>
                      <a:pt x="1648" y="660"/>
                      <a:pt x="1648" y="660"/>
                      <a:pt x="1648" y="660"/>
                    </a:cubicBezTo>
                    <a:cubicBezTo>
                      <a:pt x="1636" y="670"/>
                      <a:pt x="1636" y="670"/>
                      <a:pt x="1636" y="670"/>
                    </a:cubicBezTo>
                    <a:cubicBezTo>
                      <a:pt x="1657" y="681"/>
                      <a:pt x="1657" y="681"/>
                      <a:pt x="1657" y="681"/>
                    </a:cubicBezTo>
                    <a:cubicBezTo>
                      <a:pt x="1654" y="702"/>
                      <a:pt x="1654" y="702"/>
                      <a:pt x="1654" y="702"/>
                    </a:cubicBezTo>
                    <a:cubicBezTo>
                      <a:pt x="1642" y="714"/>
                      <a:pt x="1642" y="714"/>
                      <a:pt x="1642" y="714"/>
                    </a:cubicBezTo>
                    <a:cubicBezTo>
                      <a:pt x="1654" y="719"/>
                      <a:pt x="1654" y="719"/>
                      <a:pt x="1654" y="719"/>
                    </a:cubicBezTo>
                    <a:cubicBezTo>
                      <a:pt x="1639" y="733"/>
                      <a:pt x="1639" y="733"/>
                      <a:pt x="1639" y="733"/>
                    </a:cubicBezTo>
                    <a:cubicBezTo>
                      <a:pt x="1660" y="733"/>
                      <a:pt x="1660" y="733"/>
                      <a:pt x="1660" y="733"/>
                    </a:cubicBezTo>
                    <a:cubicBezTo>
                      <a:pt x="1685" y="724"/>
                      <a:pt x="1685" y="724"/>
                      <a:pt x="1685" y="724"/>
                    </a:cubicBezTo>
                    <a:cubicBezTo>
                      <a:pt x="1663" y="750"/>
                      <a:pt x="1663" y="750"/>
                      <a:pt x="1663" y="750"/>
                    </a:cubicBezTo>
                    <a:cubicBezTo>
                      <a:pt x="1652" y="760"/>
                      <a:pt x="1652" y="760"/>
                      <a:pt x="1652" y="760"/>
                    </a:cubicBezTo>
                    <a:cubicBezTo>
                      <a:pt x="1667" y="765"/>
                      <a:pt x="1667" y="765"/>
                      <a:pt x="1667" y="765"/>
                    </a:cubicBezTo>
                    <a:cubicBezTo>
                      <a:pt x="1637" y="777"/>
                      <a:pt x="1637" y="777"/>
                      <a:pt x="1637" y="777"/>
                    </a:cubicBezTo>
                    <a:cubicBezTo>
                      <a:pt x="1623" y="785"/>
                      <a:pt x="1623" y="785"/>
                      <a:pt x="1623" y="785"/>
                    </a:cubicBezTo>
                    <a:cubicBezTo>
                      <a:pt x="1637" y="791"/>
                      <a:pt x="1637" y="791"/>
                      <a:pt x="1637" y="791"/>
                    </a:cubicBezTo>
                    <a:cubicBezTo>
                      <a:pt x="1637" y="791"/>
                      <a:pt x="1636" y="794"/>
                      <a:pt x="1634" y="798"/>
                    </a:cubicBezTo>
                    <a:cubicBezTo>
                      <a:pt x="1655" y="788"/>
                      <a:pt x="1676" y="777"/>
                      <a:pt x="1680" y="773"/>
                    </a:cubicBezTo>
                    <a:cubicBezTo>
                      <a:pt x="1690" y="763"/>
                      <a:pt x="1690" y="747"/>
                      <a:pt x="1690" y="747"/>
                    </a:cubicBezTo>
                    <a:cubicBezTo>
                      <a:pt x="1690" y="747"/>
                      <a:pt x="1717" y="736"/>
                      <a:pt x="1717" y="728"/>
                    </a:cubicBezTo>
                    <a:cubicBezTo>
                      <a:pt x="1717" y="720"/>
                      <a:pt x="1707" y="721"/>
                      <a:pt x="1707" y="721"/>
                    </a:cubicBezTo>
                    <a:close/>
                    <a:moveTo>
                      <a:pt x="1598" y="704"/>
                    </a:moveTo>
                    <a:cubicBezTo>
                      <a:pt x="1604" y="718"/>
                      <a:pt x="1624" y="696"/>
                      <a:pt x="1624" y="696"/>
                    </a:cubicBezTo>
                    <a:cubicBezTo>
                      <a:pt x="1639" y="692"/>
                      <a:pt x="1639" y="692"/>
                      <a:pt x="1639" y="692"/>
                    </a:cubicBezTo>
                    <a:cubicBezTo>
                      <a:pt x="1638" y="682"/>
                      <a:pt x="1638" y="682"/>
                      <a:pt x="1638" y="682"/>
                    </a:cubicBezTo>
                    <a:cubicBezTo>
                      <a:pt x="1620" y="679"/>
                      <a:pt x="1620" y="679"/>
                      <a:pt x="1620" y="679"/>
                    </a:cubicBezTo>
                    <a:cubicBezTo>
                      <a:pt x="1620" y="679"/>
                      <a:pt x="1595" y="697"/>
                      <a:pt x="1598" y="704"/>
                    </a:cubicBezTo>
                    <a:close/>
                    <a:moveTo>
                      <a:pt x="1583" y="656"/>
                    </a:moveTo>
                    <a:cubicBezTo>
                      <a:pt x="1576" y="653"/>
                      <a:pt x="1559" y="664"/>
                      <a:pt x="1558" y="670"/>
                    </a:cubicBezTo>
                    <a:cubicBezTo>
                      <a:pt x="1557" y="676"/>
                      <a:pt x="1550" y="689"/>
                      <a:pt x="1550" y="689"/>
                    </a:cubicBezTo>
                    <a:cubicBezTo>
                      <a:pt x="1549" y="698"/>
                      <a:pt x="1549" y="698"/>
                      <a:pt x="1549" y="698"/>
                    </a:cubicBezTo>
                    <a:cubicBezTo>
                      <a:pt x="1549" y="698"/>
                      <a:pt x="1541" y="702"/>
                      <a:pt x="1540" y="709"/>
                    </a:cubicBezTo>
                    <a:cubicBezTo>
                      <a:pt x="1539" y="716"/>
                      <a:pt x="1546" y="720"/>
                      <a:pt x="1546" y="720"/>
                    </a:cubicBezTo>
                    <a:cubicBezTo>
                      <a:pt x="1546" y="720"/>
                      <a:pt x="1559" y="700"/>
                      <a:pt x="1576" y="687"/>
                    </a:cubicBezTo>
                    <a:cubicBezTo>
                      <a:pt x="1593" y="674"/>
                      <a:pt x="1590" y="659"/>
                      <a:pt x="1583" y="656"/>
                    </a:cubicBezTo>
                    <a:close/>
                    <a:moveTo>
                      <a:pt x="525" y="542"/>
                    </a:moveTo>
                    <a:cubicBezTo>
                      <a:pt x="547" y="540"/>
                      <a:pt x="594" y="519"/>
                      <a:pt x="578" y="515"/>
                    </a:cubicBezTo>
                    <a:cubicBezTo>
                      <a:pt x="561" y="510"/>
                      <a:pt x="539" y="507"/>
                      <a:pt x="533" y="513"/>
                    </a:cubicBezTo>
                    <a:cubicBezTo>
                      <a:pt x="527" y="519"/>
                      <a:pt x="514" y="506"/>
                      <a:pt x="510" y="517"/>
                    </a:cubicBezTo>
                    <a:cubicBezTo>
                      <a:pt x="507" y="528"/>
                      <a:pt x="513" y="543"/>
                      <a:pt x="525" y="542"/>
                    </a:cubicBezTo>
                    <a:close/>
                    <a:moveTo>
                      <a:pt x="0" y="886"/>
                    </a:moveTo>
                    <a:cubicBezTo>
                      <a:pt x="41" y="880"/>
                      <a:pt x="41" y="880"/>
                      <a:pt x="41" y="880"/>
                    </a:cubicBezTo>
                    <a:cubicBezTo>
                      <a:pt x="49" y="869"/>
                      <a:pt x="49" y="869"/>
                      <a:pt x="49" y="869"/>
                    </a:cubicBezTo>
                    <a:cubicBezTo>
                      <a:pt x="90" y="863"/>
                      <a:pt x="90" y="863"/>
                      <a:pt x="90" y="863"/>
                    </a:cubicBezTo>
                    <a:cubicBezTo>
                      <a:pt x="76" y="849"/>
                      <a:pt x="76" y="849"/>
                      <a:pt x="76" y="849"/>
                    </a:cubicBezTo>
                    <a:lnTo>
                      <a:pt x="0" y="886"/>
                    </a:lnTo>
                    <a:close/>
                    <a:moveTo>
                      <a:pt x="908" y="635"/>
                    </a:moveTo>
                    <a:cubicBezTo>
                      <a:pt x="905" y="636"/>
                      <a:pt x="892" y="641"/>
                      <a:pt x="892" y="641"/>
                    </a:cubicBezTo>
                    <a:cubicBezTo>
                      <a:pt x="892" y="641"/>
                      <a:pt x="884" y="634"/>
                      <a:pt x="879" y="635"/>
                    </a:cubicBezTo>
                    <a:cubicBezTo>
                      <a:pt x="874" y="636"/>
                      <a:pt x="875" y="651"/>
                      <a:pt x="875" y="651"/>
                    </a:cubicBezTo>
                    <a:cubicBezTo>
                      <a:pt x="859" y="663"/>
                      <a:pt x="859" y="663"/>
                      <a:pt x="859" y="663"/>
                    </a:cubicBezTo>
                    <a:cubicBezTo>
                      <a:pt x="859" y="646"/>
                      <a:pt x="859" y="646"/>
                      <a:pt x="859" y="646"/>
                    </a:cubicBezTo>
                    <a:cubicBezTo>
                      <a:pt x="859" y="646"/>
                      <a:pt x="845" y="641"/>
                      <a:pt x="831" y="654"/>
                    </a:cubicBezTo>
                    <a:cubicBezTo>
                      <a:pt x="831" y="654"/>
                      <a:pt x="814" y="665"/>
                      <a:pt x="811" y="672"/>
                    </a:cubicBezTo>
                    <a:cubicBezTo>
                      <a:pt x="809" y="680"/>
                      <a:pt x="831" y="681"/>
                      <a:pt x="831" y="681"/>
                    </a:cubicBezTo>
                    <a:cubicBezTo>
                      <a:pt x="831" y="681"/>
                      <a:pt x="861" y="681"/>
                      <a:pt x="872" y="676"/>
                    </a:cubicBezTo>
                    <a:cubicBezTo>
                      <a:pt x="884" y="671"/>
                      <a:pt x="881" y="664"/>
                      <a:pt x="881" y="664"/>
                    </a:cubicBezTo>
                    <a:cubicBezTo>
                      <a:pt x="899" y="661"/>
                      <a:pt x="899" y="661"/>
                      <a:pt x="899" y="661"/>
                    </a:cubicBezTo>
                    <a:cubicBezTo>
                      <a:pt x="900" y="655"/>
                      <a:pt x="900" y="655"/>
                      <a:pt x="900" y="655"/>
                    </a:cubicBezTo>
                    <a:cubicBezTo>
                      <a:pt x="925" y="654"/>
                      <a:pt x="925" y="654"/>
                      <a:pt x="925" y="654"/>
                    </a:cubicBezTo>
                    <a:cubicBezTo>
                      <a:pt x="931" y="638"/>
                      <a:pt x="931" y="638"/>
                      <a:pt x="931" y="638"/>
                    </a:cubicBezTo>
                    <a:cubicBezTo>
                      <a:pt x="920" y="640"/>
                      <a:pt x="920" y="640"/>
                      <a:pt x="920" y="640"/>
                    </a:cubicBezTo>
                    <a:cubicBezTo>
                      <a:pt x="920" y="640"/>
                      <a:pt x="912" y="634"/>
                      <a:pt x="908" y="635"/>
                    </a:cubicBezTo>
                    <a:close/>
                    <a:moveTo>
                      <a:pt x="107" y="860"/>
                    </a:moveTo>
                    <a:cubicBezTo>
                      <a:pt x="135" y="859"/>
                      <a:pt x="135" y="859"/>
                      <a:pt x="135" y="859"/>
                    </a:cubicBezTo>
                    <a:cubicBezTo>
                      <a:pt x="161" y="840"/>
                      <a:pt x="161" y="840"/>
                      <a:pt x="161" y="840"/>
                    </a:cubicBezTo>
                    <a:cubicBezTo>
                      <a:pt x="152" y="829"/>
                      <a:pt x="152" y="829"/>
                      <a:pt x="152" y="829"/>
                    </a:cubicBezTo>
                    <a:lnTo>
                      <a:pt x="107" y="860"/>
                    </a:lnTo>
                    <a:close/>
                    <a:moveTo>
                      <a:pt x="1646" y="762"/>
                    </a:moveTo>
                    <a:cubicBezTo>
                      <a:pt x="1652" y="749"/>
                      <a:pt x="1637" y="734"/>
                      <a:pt x="1627" y="744"/>
                    </a:cubicBezTo>
                    <a:cubicBezTo>
                      <a:pt x="1617" y="754"/>
                      <a:pt x="1611" y="784"/>
                      <a:pt x="1611" y="784"/>
                    </a:cubicBezTo>
                    <a:cubicBezTo>
                      <a:pt x="1611" y="784"/>
                      <a:pt x="1624" y="773"/>
                      <a:pt x="1629" y="773"/>
                    </a:cubicBezTo>
                    <a:cubicBezTo>
                      <a:pt x="1634" y="773"/>
                      <a:pt x="1640" y="775"/>
                      <a:pt x="1646" y="762"/>
                    </a:cubicBezTo>
                    <a:close/>
                    <a:moveTo>
                      <a:pt x="953" y="609"/>
                    </a:moveTo>
                    <a:cubicBezTo>
                      <a:pt x="940" y="618"/>
                      <a:pt x="916" y="623"/>
                      <a:pt x="923" y="630"/>
                    </a:cubicBezTo>
                    <a:cubicBezTo>
                      <a:pt x="934" y="641"/>
                      <a:pt x="959" y="629"/>
                      <a:pt x="959" y="629"/>
                    </a:cubicBezTo>
                    <a:cubicBezTo>
                      <a:pt x="966" y="620"/>
                      <a:pt x="966" y="620"/>
                      <a:pt x="966" y="620"/>
                    </a:cubicBezTo>
                    <a:cubicBezTo>
                      <a:pt x="966" y="620"/>
                      <a:pt x="982" y="624"/>
                      <a:pt x="979" y="618"/>
                    </a:cubicBezTo>
                    <a:cubicBezTo>
                      <a:pt x="977" y="612"/>
                      <a:pt x="967" y="600"/>
                      <a:pt x="953" y="609"/>
                    </a:cubicBezTo>
                    <a:close/>
                    <a:moveTo>
                      <a:pt x="331" y="777"/>
                    </a:moveTo>
                    <a:cubicBezTo>
                      <a:pt x="319" y="777"/>
                      <a:pt x="290" y="788"/>
                      <a:pt x="290" y="788"/>
                    </a:cubicBezTo>
                    <a:cubicBezTo>
                      <a:pt x="290" y="788"/>
                      <a:pt x="253" y="802"/>
                      <a:pt x="254" y="809"/>
                    </a:cubicBezTo>
                    <a:cubicBezTo>
                      <a:pt x="256" y="818"/>
                      <a:pt x="270" y="812"/>
                      <a:pt x="289" y="806"/>
                    </a:cubicBezTo>
                    <a:cubicBezTo>
                      <a:pt x="308" y="799"/>
                      <a:pt x="328" y="809"/>
                      <a:pt x="335" y="803"/>
                    </a:cubicBezTo>
                    <a:cubicBezTo>
                      <a:pt x="342" y="797"/>
                      <a:pt x="344" y="777"/>
                      <a:pt x="331" y="777"/>
                    </a:cubicBezTo>
                    <a:close/>
                    <a:moveTo>
                      <a:pt x="219" y="828"/>
                    </a:moveTo>
                    <a:cubicBezTo>
                      <a:pt x="221" y="814"/>
                      <a:pt x="221" y="814"/>
                      <a:pt x="221" y="814"/>
                    </a:cubicBezTo>
                    <a:cubicBezTo>
                      <a:pt x="184" y="829"/>
                      <a:pt x="184" y="829"/>
                      <a:pt x="184" y="829"/>
                    </a:cubicBezTo>
                    <a:lnTo>
                      <a:pt x="219" y="82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1" name="Freeform 358">
                <a:extLst>
                  <a:ext uri="{FF2B5EF4-FFF2-40B4-BE49-F238E27FC236}">
                    <a16:creationId xmlns:a16="http://schemas.microsoft.com/office/drawing/2014/main" id="{F142F06B-DECA-67F8-7E9D-1A9680C6BD5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19227" y="-16252"/>
                <a:ext cx="6163" cy="3081"/>
              </a:xfrm>
              <a:custGeom>
                <a:avLst/>
                <a:gdLst>
                  <a:gd name="T0" fmla="*/ 2480 w 2609"/>
                  <a:gd name="T1" fmla="*/ 201 h 1304"/>
                  <a:gd name="T2" fmla="*/ 2188 w 2609"/>
                  <a:gd name="T3" fmla="*/ 278 h 1304"/>
                  <a:gd name="T4" fmla="*/ 2132 w 2609"/>
                  <a:gd name="T5" fmla="*/ 324 h 1304"/>
                  <a:gd name="T6" fmla="*/ 2049 w 2609"/>
                  <a:gd name="T7" fmla="*/ 357 h 1304"/>
                  <a:gd name="T8" fmla="*/ 1824 w 2609"/>
                  <a:gd name="T9" fmla="*/ 413 h 1304"/>
                  <a:gd name="T10" fmla="*/ 1906 w 2609"/>
                  <a:gd name="T11" fmla="*/ 294 h 1304"/>
                  <a:gd name="T12" fmla="*/ 1888 w 2609"/>
                  <a:gd name="T13" fmla="*/ 211 h 1304"/>
                  <a:gd name="T14" fmla="*/ 1909 w 2609"/>
                  <a:gd name="T15" fmla="*/ 159 h 1304"/>
                  <a:gd name="T16" fmla="*/ 1821 w 2609"/>
                  <a:gd name="T17" fmla="*/ 151 h 1304"/>
                  <a:gd name="T18" fmla="*/ 1700 w 2609"/>
                  <a:gd name="T19" fmla="*/ 142 h 1304"/>
                  <a:gd name="T20" fmla="*/ 1667 w 2609"/>
                  <a:gd name="T21" fmla="*/ 101 h 1304"/>
                  <a:gd name="T22" fmla="*/ 1627 w 2609"/>
                  <a:gd name="T23" fmla="*/ 67 h 1304"/>
                  <a:gd name="T24" fmla="*/ 1510 w 2609"/>
                  <a:gd name="T25" fmla="*/ 35 h 1304"/>
                  <a:gd name="T26" fmla="*/ 292 w 2609"/>
                  <a:gd name="T27" fmla="*/ 130 h 1304"/>
                  <a:gd name="T28" fmla="*/ 255 w 2609"/>
                  <a:gd name="T29" fmla="*/ 78 h 1304"/>
                  <a:gd name="T30" fmla="*/ 250 w 2609"/>
                  <a:gd name="T31" fmla="*/ 177 h 1304"/>
                  <a:gd name="T32" fmla="*/ 66 w 2609"/>
                  <a:gd name="T33" fmla="*/ 387 h 1304"/>
                  <a:gd name="T34" fmla="*/ 29 w 2609"/>
                  <a:gd name="T35" fmla="*/ 605 h 1304"/>
                  <a:gd name="T36" fmla="*/ 20 w 2609"/>
                  <a:gd name="T37" fmla="*/ 688 h 1304"/>
                  <a:gd name="T38" fmla="*/ 108 w 2609"/>
                  <a:gd name="T39" fmla="*/ 822 h 1304"/>
                  <a:gd name="T40" fmla="*/ 380 w 2609"/>
                  <a:gd name="T41" fmla="*/ 973 h 1304"/>
                  <a:gd name="T42" fmla="*/ 625 w 2609"/>
                  <a:gd name="T43" fmla="*/ 975 h 1304"/>
                  <a:gd name="T44" fmla="*/ 756 w 2609"/>
                  <a:gd name="T45" fmla="*/ 1047 h 1304"/>
                  <a:gd name="T46" fmla="*/ 851 w 2609"/>
                  <a:gd name="T47" fmla="*/ 1169 h 1304"/>
                  <a:gd name="T48" fmla="*/ 914 w 2609"/>
                  <a:gd name="T49" fmla="*/ 1254 h 1304"/>
                  <a:gd name="T50" fmla="*/ 950 w 2609"/>
                  <a:gd name="T51" fmla="*/ 1180 h 1304"/>
                  <a:gd name="T52" fmla="*/ 999 w 2609"/>
                  <a:gd name="T53" fmla="*/ 1128 h 1304"/>
                  <a:gd name="T54" fmla="*/ 1143 w 2609"/>
                  <a:gd name="T55" fmla="*/ 1040 h 1304"/>
                  <a:gd name="T56" fmla="*/ 1288 w 2609"/>
                  <a:gd name="T57" fmla="*/ 1079 h 1304"/>
                  <a:gd name="T58" fmla="*/ 1354 w 2609"/>
                  <a:gd name="T59" fmla="*/ 1087 h 1304"/>
                  <a:gd name="T60" fmla="*/ 1365 w 2609"/>
                  <a:gd name="T61" fmla="*/ 1024 h 1304"/>
                  <a:gd name="T62" fmla="*/ 1487 w 2609"/>
                  <a:gd name="T63" fmla="*/ 1024 h 1304"/>
                  <a:gd name="T64" fmla="*/ 1616 w 2609"/>
                  <a:gd name="T65" fmla="*/ 1079 h 1304"/>
                  <a:gd name="T66" fmla="*/ 1634 w 2609"/>
                  <a:gd name="T67" fmla="*/ 1212 h 1304"/>
                  <a:gd name="T68" fmla="*/ 1681 w 2609"/>
                  <a:gd name="T69" fmla="*/ 1304 h 1304"/>
                  <a:gd name="T70" fmla="*/ 1730 w 2609"/>
                  <a:gd name="T71" fmla="*/ 1112 h 1304"/>
                  <a:gd name="T72" fmla="*/ 1780 w 2609"/>
                  <a:gd name="T73" fmla="*/ 919 h 1304"/>
                  <a:gd name="T74" fmla="*/ 1864 w 2609"/>
                  <a:gd name="T75" fmla="*/ 859 h 1304"/>
                  <a:gd name="T76" fmla="*/ 2013 w 2609"/>
                  <a:gd name="T77" fmla="*/ 773 h 1304"/>
                  <a:gd name="T78" fmla="*/ 2015 w 2609"/>
                  <a:gd name="T79" fmla="*/ 726 h 1304"/>
                  <a:gd name="T80" fmla="*/ 2016 w 2609"/>
                  <a:gd name="T81" fmla="*/ 647 h 1304"/>
                  <a:gd name="T82" fmla="*/ 2025 w 2609"/>
                  <a:gd name="T83" fmla="*/ 586 h 1304"/>
                  <a:gd name="T84" fmla="*/ 2077 w 2609"/>
                  <a:gd name="T85" fmla="*/ 596 h 1304"/>
                  <a:gd name="T86" fmla="*/ 2136 w 2609"/>
                  <a:gd name="T87" fmla="*/ 513 h 1304"/>
                  <a:gd name="T88" fmla="*/ 2240 w 2609"/>
                  <a:gd name="T89" fmla="*/ 475 h 1304"/>
                  <a:gd name="T90" fmla="*/ 2355 w 2609"/>
                  <a:gd name="T91" fmla="*/ 411 h 1304"/>
                  <a:gd name="T92" fmla="*/ 2409 w 2609"/>
                  <a:gd name="T93" fmla="*/ 388 h 1304"/>
                  <a:gd name="T94" fmla="*/ 2423 w 2609"/>
                  <a:gd name="T95" fmla="*/ 324 h 1304"/>
                  <a:gd name="T96" fmla="*/ 2556 w 2609"/>
                  <a:gd name="T97" fmla="*/ 260 h 1304"/>
                  <a:gd name="T98" fmla="*/ 2582 w 2609"/>
                  <a:gd name="T99" fmla="*/ 202 h 1304"/>
                  <a:gd name="T100" fmla="*/ 1784 w 2609"/>
                  <a:gd name="T101" fmla="*/ 255 h 1304"/>
                  <a:gd name="T102" fmla="*/ 1734 w 2609"/>
                  <a:gd name="T103" fmla="*/ 342 h 1304"/>
                  <a:gd name="T104" fmla="*/ 1687 w 2609"/>
                  <a:gd name="T105" fmla="*/ 307 h 1304"/>
                  <a:gd name="T106" fmla="*/ 1772 w 2609"/>
                  <a:gd name="T107" fmla="*/ 194 h 1304"/>
                  <a:gd name="T108" fmla="*/ 1862 w 2609"/>
                  <a:gd name="T109" fmla="*/ 199 h 1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609" h="1304">
                    <a:moveTo>
                      <a:pt x="2570" y="119"/>
                    </a:moveTo>
                    <a:cubicBezTo>
                      <a:pt x="2558" y="119"/>
                      <a:pt x="2567" y="110"/>
                      <a:pt x="2554" y="110"/>
                    </a:cubicBezTo>
                    <a:cubicBezTo>
                      <a:pt x="2541" y="110"/>
                      <a:pt x="2530" y="131"/>
                      <a:pt x="2530" y="131"/>
                    </a:cubicBezTo>
                    <a:cubicBezTo>
                      <a:pt x="2503" y="150"/>
                      <a:pt x="2503" y="150"/>
                      <a:pt x="2503" y="150"/>
                    </a:cubicBezTo>
                    <a:cubicBezTo>
                      <a:pt x="2503" y="164"/>
                      <a:pt x="2503" y="164"/>
                      <a:pt x="2503" y="164"/>
                    </a:cubicBezTo>
                    <a:cubicBezTo>
                      <a:pt x="2503" y="164"/>
                      <a:pt x="2495" y="172"/>
                      <a:pt x="2489" y="172"/>
                    </a:cubicBezTo>
                    <a:cubicBezTo>
                      <a:pt x="2483" y="172"/>
                      <a:pt x="2480" y="194"/>
                      <a:pt x="2480" y="201"/>
                    </a:cubicBezTo>
                    <a:cubicBezTo>
                      <a:pt x="2480" y="208"/>
                      <a:pt x="2473" y="201"/>
                      <a:pt x="2463" y="201"/>
                    </a:cubicBezTo>
                    <a:cubicBezTo>
                      <a:pt x="2454" y="201"/>
                      <a:pt x="2443" y="222"/>
                      <a:pt x="2443" y="222"/>
                    </a:cubicBezTo>
                    <a:cubicBezTo>
                      <a:pt x="2443" y="222"/>
                      <a:pt x="2435" y="223"/>
                      <a:pt x="2423" y="223"/>
                    </a:cubicBezTo>
                    <a:cubicBezTo>
                      <a:pt x="2411" y="223"/>
                      <a:pt x="2411" y="238"/>
                      <a:pt x="2411" y="238"/>
                    </a:cubicBezTo>
                    <a:cubicBezTo>
                      <a:pt x="2411" y="238"/>
                      <a:pt x="2280" y="238"/>
                      <a:pt x="2263" y="238"/>
                    </a:cubicBezTo>
                    <a:cubicBezTo>
                      <a:pt x="2246" y="238"/>
                      <a:pt x="2212" y="276"/>
                      <a:pt x="2204" y="276"/>
                    </a:cubicBezTo>
                    <a:cubicBezTo>
                      <a:pt x="2196" y="276"/>
                      <a:pt x="2194" y="278"/>
                      <a:pt x="2188" y="278"/>
                    </a:cubicBezTo>
                    <a:cubicBezTo>
                      <a:pt x="2187" y="278"/>
                      <a:pt x="2185" y="279"/>
                      <a:pt x="2183" y="280"/>
                    </a:cubicBezTo>
                    <a:cubicBezTo>
                      <a:pt x="2188" y="285"/>
                      <a:pt x="2189" y="291"/>
                      <a:pt x="2189" y="291"/>
                    </a:cubicBezTo>
                    <a:cubicBezTo>
                      <a:pt x="2189" y="291"/>
                      <a:pt x="2188" y="299"/>
                      <a:pt x="2181" y="305"/>
                    </a:cubicBezTo>
                    <a:cubicBezTo>
                      <a:pt x="2174" y="311"/>
                      <a:pt x="2174" y="321"/>
                      <a:pt x="2174" y="321"/>
                    </a:cubicBezTo>
                    <a:cubicBezTo>
                      <a:pt x="2162" y="320"/>
                      <a:pt x="2162" y="320"/>
                      <a:pt x="2162" y="320"/>
                    </a:cubicBezTo>
                    <a:cubicBezTo>
                      <a:pt x="2162" y="320"/>
                      <a:pt x="2162" y="324"/>
                      <a:pt x="2150" y="329"/>
                    </a:cubicBezTo>
                    <a:cubicBezTo>
                      <a:pt x="2138" y="334"/>
                      <a:pt x="2132" y="324"/>
                      <a:pt x="2132" y="324"/>
                    </a:cubicBezTo>
                    <a:cubicBezTo>
                      <a:pt x="2132" y="324"/>
                      <a:pt x="2127" y="332"/>
                      <a:pt x="2114" y="333"/>
                    </a:cubicBezTo>
                    <a:cubicBezTo>
                      <a:pt x="2101" y="334"/>
                      <a:pt x="2097" y="324"/>
                      <a:pt x="2088" y="323"/>
                    </a:cubicBezTo>
                    <a:cubicBezTo>
                      <a:pt x="2079" y="322"/>
                      <a:pt x="2072" y="330"/>
                      <a:pt x="2051" y="335"/>
                    </a:cubicBezTo>
                    <a:cubicBezTo>
                      <a:pt x="2050" y="335"/>
                      <a:pt x="2048" y="336"/>
                      <a:pt x="2047" y="336"/>
                    </a:cubicBezTo>
                    <a:cubicBezTo>
                      <a:pt x="2048" y="340"/>
                      <a:pt x="2048" y="344"/>
                      <a:pt x="2046" y="350"/>
                    </a:cubicBezTo>
                    <a:cubicBezTo>
                      <a:pt x="2045" y="352"/>
                      <a:pt x="2043" y="354"/>
                      <a:pt x="2040" y="357"/>
                    </a:cubicBezTo>
                    <a:cubicBezTo>
                      <a:pt x="2049" y="357"/>
                      <a:pt x="2049" y="357"/>
                      <a:pt x="2049" y="357"/>
                    </a:cubicBezTo>
                    <a:cubicBezTo>
                      <a:pt x="2049" y="357"/>
                      <a:pt x="1969" y="398"/>
                      <a:pt x="1961" y="401"/>
                    </a:cubicBezTo>
                    <a:cubicBezTo>
                      <a:pt x="1953" y="404"/>
                      <a:pt x="1945" y="407"/>
                      <a:pt x="1925" y="412"/>
                    </a:cubicBezTo>
                    <a:cubicBezTo>
                      <a:pt x="1905" y="417"/>
                      <a:pt x="1897" y="423"/>
                      <a:pt x="1890" y="426"/>
                    </a:cubicBezTo>
                    <a:cubicBezTo>
                      <a:pt x="1883" y="429"/>
                      <a:pt x="1871" y="427"/>
                      <a:pt x="1871" y="427"/>
                    </a:cubicBezTo>
                    <a:cubicBezTo>
                      <a:pt x="1871" y="427"/>
                      <a:pt x="1871" y="432"/>
                      <a:pt x="1859" y="433"/>
                    </a:cubicBezTo>
                    <a:cubicBezTo>
                      <a:pt x="1847" y="434"/>
                      <a:pt x="1846" y="423"/>
                      <a:pt x="1846" y="423"/>
                    </a:cubicBezTo>
                    <a:cubicBezTo>
                      <a:pt x="1846" y="423"/>
                      <a:pt x="1824" y="420"/>
                      <a:pt x="1824" y="413"/>
                    </a:cubicBezTo>
                    <a:cubicBezTo>
                      <a:pt x="1824" y="413"/>
                      <a:pt x="1837" y="407"/>
                      <a:pt x="1848" y="402"/>
                    </a:cubicBezTo>
                    <a:cubicBezTo>
                      <a:pt x="1847" y="401"/>
                      <a:pt x="1847" y="400"/>
                      <a:pt x="1846" y="400"/>
                    </a:cubicBezTo>
                    <a:cubicBezTo>
                      <a:pt x="1836" y="390"/>
                      <a:pt x="1881" y="368"/>
                      <a:pt x="1889" y="368"/>
                    </a:cubicBezTo>
                    <a:cubicBezTo>
                      <a:pt x="1897" y="368"/>
                      <a:pt x="1895" y="347"/>
                      <a:pt x="1895" y="347"/>
                    </a:cubicBezTo>
                    <a:cubicBezTo>
                      <a:pt x="1895" y="347"/>
                      <a:pt x="1898" y="343"/>
                      <a:pt x="1902" y="338"/>
                    </a:cubicBezTo>
                    <a:cubicBezTo>
                      <a:pt x="1902" y="337"/>
                      <a:pt x="1901" y="337"/>
                      <a:pt x="1901" y="337"/>
                    </a:cubicBezTo>
                    <a:cubicBezTo>
                      <a:pt x="1895" y="331"/>
                      <a:pt x="1908" y="302"/>
                      <a:pt x="1906" y="294"/>
                    </a:cubicBezTo>
                    <a:cubicBezTo>
                      <a:pt x="1904" y="286"/>
                      <a:pt x="1890" y="293"/>
                      <a:pt x="1884" y="298"/>
                    </a:cubicBezTo>
                    <a:cubicBezTo>
                      <a:pt x="1878" y="303"/>
                      <a:pt x="1850" y="321"/>
                      <a:pt x="1848" y="308"/>
                    </a:cubicBezTo>
                    <a:cubicBezTo>
                      <a:pt x="1847" y="302"/>
                      <a:pt x="1871" y="288"/>
                      <a:pt x="1874" y="283"/>
                    </a:cubicBezTo>
                    <a:cubicBezTo>
                      <a:pt x="1877" y="278"/>
                      <a:pt x="1888" y="275"/>
                      <a:pt x="1897" y="269"/>
                    </a:cubicBezTo>
                    <a:cubicBezTo>
                      <a:pt x="1906" y="263"/>
                      <a:pt x="1898" y="240"/>
                      <a:pt x="1898" y="240"/>
                    </a:cubicBezTo>
                    <a:cubicBezTo>
                      <a:pt x="1898" y="240"/>
                      <a:pt x="1901" y="245"/>
                      <a:pt x="1909" y="228"/>
                    </a:cubicBezTo>
                    <a:cubicBezTo>
                      <a:pt x="1917" y="211"/>
                      <a:pt x="1897" y="218"/>
                      <a:pt x="1888" y="211"/>
                    </a:cubicBezTo>
                    <a:cubicBezTo>
                      <a:pt x="1879" y="204"/>
                      <a:pt x="1879" y="198"/>
                      <a:pt x="1879" y="198"/>
                    </a:cubicBezTo>
                    <a:cubicBezTo>
                      <a:pt x="1879" y="198"/>
                      <a:pt x="1876" y="205"/>
                      <a:pt x="1871" y="200"/>
                    </a:cubicBezTo>
                    <a:cubicBezTo>
                      <a:pt x="1866" y="195"/>
                      <a:pt x="1872" y="185"/>
                      <a:pt x="1872" y="185"/>
                    </a:cubicBezTo>
                    <a:cubicBezTo>
                      <a:pt x="1896" y="189"/>
                      <a:pt x="1896" y="189"/>
                      <a:pt x="1896" y="189"/>
                    </a:cubicBezTo>
                    <a:cubicBezTo>
                      <a:pt x="1896" y="189"/>
                      <a:pt x="1900" y="186"/>
                      <a:pt x="1897" y="178"/>
                    </a:cubicBezTo>
                    <a:cubicBezTo>
                      <a:pt x="1896" y="174"/>
                      <a:pt x="1900" y="174"/>
                      <a:pt x="1905" y="174"/>
                    </a:cubicBezTo>
                    <a:cubicBezTo>
                      <a:pt x="1909" y="159"/>
                      <a:pt x="1909" y="159"/>
                      <a:pt x="1909" y="159"/>
                    </a:cubicBezTo>
                    <a:cubicBezTo>
                      <a:pt x="1896" y="159"/>
                      <a:pt x="1896" y="159"/>
                      <a:pt x="1896" y="159"/>
                    </a:cubicBezTo>
                    <a:cubicBezTo>
                      <a:pt x="1894" y="167"/>
                      <a:pt x="1894" y="167"/>
                      <a:pt x="1894" y="167"/>
                    </a:cubicBezTo>
                    <a:cubicBezTo>
                      <a:pt x="1878" y="161"/>
                      <a:pt x="1878" y="161"/>
                      <a:pt x="1878" y="161"/>
                    </a:cubicBezTo>
                    <a:cubicBezTo>
                      <a:pt x="1877" y="147"/>
                      <a:pt x="1877" y="147"/>
                      <a:pt x="1877" y="147"/>
                    </a:cubicBezTo>
                    <a:cubicBezTo>
                      <a:pt x="1868" y="149"/>
                      <a:pt x="1868" y="149"/>
                      <a:pt x="1868" y="149"/>
                    </a:cubicBezTo>
                    <a:cubicBezTo>
                      <a:pt x="1857" y="154"/>
                      <a:pt x="1857" y="154"/>
                      <a:pt x="1857" y="154"/>
                    </a:cubicBezTo>
                    <a:cubicBezTo>
                      <a:pt x="1821" y="151"/>
                      <a:pt x="1821" y="151"/>
                      <a:pt x="1821" y="151"/>
                    </a:cubicBezTo>
                    <a:cubicBezTo>
                      <a:pt x="1821" y="151"/>
                      <a:pt x="1808" y="162"/>
                      <a:pt x="1787" y="160"/>
                    </a:cubicBezTo>
                    <a:cubicBezTo>
                      <a:pt x="1766" y="158"/>
                      <a:pt x="1771" y="144"/>
                      <a:pt x="1767" y="139"/>
                    </a:cubicBezTo>
                    <a:cubicBezTo>
                      <a:pt x="1763" y="134"/>
                      <a:pt x="1743" y="145"/>
                      <a:pt x="1740" y="136"/>
                    </a:cubicBezTo>
                    <a:cubicBezTo>
                      <a:pt x="1777" y="115"/>
                      <a:pt x="1777" y="115"/>
                      <a:pt x="1777" y="115"/>
                    </a:cubicBezTo>
                    <a:cubicBezTo>
                      <a:pt x="1777" y="115"/>
                      <a:pt x="1772" y="110"/>
                      <a:pt x="1765" y="110"/>
                    </a:cubicBezTo>
                    <a:cubicBezTo>
                      <a:pt x="1758" y="110"/>
                      <a:pt x="1744" y="122"/>
                      <a:pt x="1740" y="123"/>
                    </a:cubicBezTo>
                    <a:cubicBezTo>
                      <a:pt x="1736" y="124"/>
                      <a:pt x="1714" y="137"/>
                      <a:pt x="1700" y="142"/>
                    </a:cubicBezTo>
                    <a:cubicBezTo>
                      <a:pt x="1686" y="147"/>
                      <a:pt x="1670" y="144"/>
                      <a:pt x="1670" y="144"/>
                    </a:cubicBezTo>
                    <a:cubicBezTo>
                      <a:pt x="1664" y="153"/>
                      <a:pt x="1664" y="153"/>
                      <a:pt x="1664" y="153"/>
                    </a:cubicBezTo>
                    <a:cubicBezTo>
                      <a:pt x="1664" y="153"/>
                      <a:pt x="1640" y="155"/>
                      <a:pt x="1631" y="154"/>
                    </a:cubicBezTo>
                    <a:cubicBezTo>
                      <a:pt x="1622" y="153"/>
                      <a:pt x="1646" y="136"/>
                      <a:pt x="1646" y="136"/>
                    </a:cubicBezTo>
                    <a:cubicBezTo>
                      <a:pt x="1646" y="136"/>
                      <a:pt x="1636" y="140"/>
                      <a:pt x="1617" y="141"/>
                    </a:cubicBezTo>
                    <a:cubicBezTo>
                      <a:pt x="1598" y="142"/>
                      <a:pt x="1596" y="154"/>
                      <a:pt x="1579" y="148"/>
                    </a:cubicBezTo>
                    <a:cubicBezTo>
                      <a:pt x="1562" y="142"/>
                      <a:pt x="1655" y="109"/>
                      <a:pt x="1667" y="101"/>
                    </a:cubicBezTo>
                    <a:cubicBezTo>
                      <a:pt x="1679" y="93"/>
                      <a:pt x="1694" y="90"/>
                      <a:pt x="1713" y="86"/>
                    </a:cubicBezTo>
                    <a:cubicBezTo>
                      <a:pt x="1718" y="85"/>
                      <a:pt x="1722" y="83"/>
                      <a:pt x="1726" y="80"/>
                    </a:cubicBezTo>
                    <a:cubicBezTo>
                      <a:pt x="1698" y="80"/>
                      <a:pt x="1701" y="74"/>
                      <a:pt x="1701" y="74"/>
                    </a:cubicBezTo>
                    <a:cubicBezTo>
                      <a:pt x="1671" y="75"/>
                      <a:pt x="1671" y="75"/>
                      <a:pt x="1671" y="75"/>
                    </a:cubicBezTo>
                    <a:cubicBezTo>
                      <a:pt x="1671" y="65"/>
                      <a:pt x="1671" y="65"/>
                      <a:pt x="1671" y="65"/>
                    </a:cubicBezTo>
                    <a:cubicBezTo>
                      <a:pt x="1671" y="65"/>
                      <a:pt x="1655" y="76"/>
                      <a:pt x="1649" y="82"/>
                    </a:cubicBezTo>
                    <a:cubicBezTo>
                      <a:pt x="1643" y="88"/>
                      <a:pt x="1630" y="64"/>
                      <a:pt x="1627" y="67"/>
                    </a:cubicBezTo>
                    <a:cubicBezTo>
                      <a:pt x="1624" y="70"/>
                      <a:pt x="1617" y="67"/>
                      <a:pt x="1611" y="67"/>
                    </a:cubicBezTo>
                    <a:cubicBezTo>
                      <a:pt x="1605" y="67"/>
                      <a:pt x="1602" y="47"/>
                      <a:pt x="1589" y="47"/>
                    </a:cubicBezTo>
                    <a:cubicBezTo>
                      <a:pt x="1576" y="47"/>
                      <a:pt x="1578" y="59"/>
                      <a:pt x="1570" y="59"/>
                    </a:cubicBezTo>
                    <a:cubicBezTo>
                      <a:pt x="1562" y="59"/>
                      <a:pt x="1555" y="49"/>
                      <a:pt x="1555" y="49"/>
                    </a:cubicBezTo>
                    <a:cubicBezTo>
                      <a:pt x="1555" y="49"/>
                      <a:pt x="1536" y="48"/>
                      <a:pt x="1528" y="40"/>
                    </a:cubicBezTo>
                    <a:cubicBezTo>
                      <a:pt x="1519" y="31"/>
                      <a:pt x="1544" y="21"/>
                      <a:pt x="1534" y="11"/>
                    </a:cubicBezTo>
                    <a:cubicBezTo>
                      <a:pt x="1524" y="0"/>
                      <a:pt x="1510" y="35"/>
                      <a:pt x="1510" y="35"/>
                    </a:cubicBezTo>
                    <a:cubicBezTo>
                      <a:pt x="368" y="35"/>
                      <a:pt x="368" y="35"/>
                      <a:pt x="368" y="35"/>
                    </a:cubicBezTo>
                    <a:cubicBezTo>
                      <a:pt x="367" y="42"/>
                      <a:pt x="365" y="48"/>
                      <a:pt x="364" y="50"/>
                    </a:cubicBezTo>
                    <a:cubicBezTo>
                      <a:pt x="360" y="56"/>
                      <a:pt x="359" y="80"/>
                      <a:pt x="359" y="80"/>
                    </a:cubicBezTo>
                    <a:cubicBezTo>
                      <a:pt x="337" y="92"/>
                      <a:pt x="337" y="92"/>
                      <a:pt x="337" y="92"/>
                    </a:cubicBezTo>
                    <a:cubicBezTo>
                      <a:pt x="335" y="104"/>
                      <a:pt x="335" y="104"/>
                      <a:pt x="335" y="104"/>
                    </a:cubicBezTo>
                    <a:cubicBezTo>
                      <a:pt x="324" y="119"/>
                      <a:pt x="324" y="119"/>
                      <a:pt x="324" y="119"/>
                    </a:cubicBezTo>
                    <a:cubicBezTo>
                      <a:pt x="292" y="130"/>
                      <a:pt x="292" y="130"/>
                      <a:pt x="292" y="130"/>
                    </a:cubicBezTo>
                    <a:cubicBezTo>
                      <a:pt x="315" y="117"/>
                      <a:pt x="315" y="117"/>
                      <a:pt x="315" y="117"/>
                    </a:cubicBezTo>
                    <a:cubicBezTo>
                      <a:pt x="300" y="115"/>
                      <a:pt x="300" y="115"/>
                      <a:pt x="300" y="115"/>
                    </a:cubicBezTo>
                    <a:cubicBezTo>
                      <a:pt x="300" y="115"/>
                      <a:pt x="314" y="95"/>
                      <a:pt x="318" y="92"/>
                    </a:cubicBezTo>
                    <a:cubicBezTo>
                      <a:pt x="322" y="89"/>
                      <a:pt x="342" y="75"/>
                      <a:pt x="332" y="75"/>
                    </a:cubicBezTo>
                    <a:cubicBezTo>
                      <a:pt x="322" y="75"/>
                      <a:pt x="313" y="77"/>
                      <a:pt x="303" y="76"/>
                    </a:cubicBezTo>
                    <a:cubicBezTo>
                      <a:pt x="293" y="75"/>
                      <a:pt x="284" y="57"/>
                      <a:pt x="275" y="61"/>
                    </a:cubicBezTo>
                    <a:cubicBezTo>
                      <a:pt x="266" y="65"/>
                      <a:pt x="257" y="57"/>
                      <a:pt x="255" y="78"/>
                    </a:cubicBezTo>
                    <a:cubicBezTo>
                      <a:pt x="253" y="99"/>
                      <a:pt x="255" y="111"/>
                      <a:pt x="252" y="113"/>
                    </a:cubicBezTo>
                    <a:cubicBezTo>
                      <a:pt x="249" y="115"/>
                      <a:pt x="239" y="130"/>
                      <a:pt x="239" y="130"/>
                    </a:cubicBezTo>
                    <a:cubicBezTo>
                      <a:pt x="257" y="134"/>
                      <a:pt x="257" y="134"/>
                      <a:pt x="257" y="134"/>
                    </a:cubicBezTo>
                    <a:cubicBezTo>
                      <a:pt x="238" y="137"/>
                      <a:pt x="238" y="137"/>
                      <a:pt x="238" y="137"/>
                    </a:cubicBezTo>
                    <a:cubicBezTo>
                      <a:pt x="241" y="148"/>
                      <a:pt x="241" y="148"/>
                      <a:pt x="241" y="148"/>
                    </a:cubicBezTo>
                    <a:cubicBezTo>
                      <a:pt x="230" y="165"/>
                      <a:pt x="230" y="165"/>
                      <a:pt x="230" y="165"/>
                    </a:cubicBezTo>
                    <a:cubicBezTo>
                      <a:pt x="230" y="165"/>
                      <a:pt x="251" y="173"/>
                      <a:pt x="250" y="177"/>
                    </a:cubicBezTo>
                    <a:cubicBezTo>
                      <a:pt x="249" y="181"/>
                      <a:pt x="218" y="175"/>
                      <a:pt x="218" y="175"/>
                    </a:cubicBezTo>
                    <a:cubicBezTo>
                      <a:pt x="218" y="175"/>
                      <a:pt x="179" y="235"/>
                      <a:pt x="169" y="247"/>
                    </a:cubicBezTo>
                    <a:cubicBezTo>
                      <a:pt x="159" y="259"/>
                      <a:pt x="112" y="315"/>
                      <a:pt x="112" y="315"/>
                    </a:cubicBezTo>
                    <a:cubicBezTo>
                      <a:pt x="114" y="330"/>
                      <a:pt x="114" y="330"/>
                      <a:pt x="114" y="330"/>
                    </a:cubicBezTo>
                    <a:cubicBezTo>
                      <a:pt x="114" y="330"/>
                      <a:pt x="101" y="332"/>
                      <a:pt x="90" y="344"/>
                    </a:cubicBezTo>
                    <a:cubicBezTo>
                      <a:pt x="79" y="356"/>
                      <a:pt x="79" y="374"/>
                      <a:pt x="79" y="374"/>
                    </a:cubicBezTo>
                    <a:cubicBezTo>
                      <a:pt x="66" y="387"/>
                      <a:pt x="66" y="387"/>
                      <a:pt x="66" y="387"/>
                    </a:cubicBezTo>
                    <a:cubicBezTo>
                      <a:pt x="63" y="421"/>
                      <a:pt x="63" y="421"/>
                      <a:pt x="63" y="421"/>
                    </a:cubicBezTo>
                    <a:cubicBezTo>
                      <a:pt x="63" y="421"/>
                      <a:pt x="39" y="453"/>
                      <a:pt x="33" y="459"/>
                    </a:cubicBezTo>
                    <a:cubicBezTo>
                      <a:pt x="27" y="465"/>
                      <a:pt x="6" y="477"/>
                      <a:pt x="8" y="488"/>
                    </a:cubicBezTo>
                    <a:cubicBezTo>
                      <a:pt x="10" y="499"/>
                      <a:pt x="26" y="506"/>
                      <a:pt x="23" y="516"/>
                    </a:cubicBezTo>
                    <a:cubicBezTo>
                      <a:pt x="20" y="526"/>
                      <a:pt x="0" y="550"/>
                      <a:pt x="0" y="562"/>
                    </a:cubicBezTo>
                    <a:cubicBezTo>
                      <a:pt x="0" y="574"/>
                      <a:pt x="13" y="615"/>
                      <a:pt x="13" y="615"/>
                    </a:cubicBezTo>
                    <a:cubicBezTo>
                      <a:pt x="29" y="605"/>
                      <a:pt x="29" y="605"/>
                      <a:pt x="29" y="605"/>
                    </a:cubicBezTo>
                    <a:cubicBezTo>
                      <a:pt x="74" y="609"/>
                      <a:pt x="74" y="609"/>
                      <a:pt x="74" y="609"/>
                    </a:cubicBezTo>
                    <a:cubicBezTo>
                      <a:pt x="74" y="609"/>
                      <a:pt x="36" y="609"/>
                      <a:pt x="33" y="615"/>
                    </a:cubicBezTo>
                    <a:cubicBezTo>
                      <a:pt x="30" y="621"/>
                      <a:pt x="31" y="635"/>
                      <a:pt x="31" y="635"/>
                    </a:cubicBezTo>
                    <a:cubicBezTo>
                      <a:pt x="31" y="635"/>
                      <a:pt x="20" y="620"/>
                      <a:pt x="16" y="626"/>
                    </a:cubicBezTo>
                    <a:cubicBezTo>
                      <a:pt x="12" y="632"/>
                      <a:pt x="2" y="651"/>
                      <a:pt x="7" y="659"/>
                    </a:cubicBezTo>
                    <a:cubicBezTo>
                      <a:pt x="12" y="667"/>
                      <a:pt x="25" y="667"/>
                      <a:pt x="25" y="667"/>
                    </a:cubicBezTo>
                    <a:cubicBezTo>
                      <a:pt x="25" y="667"/>
                      <a:pt x="23" y="688"/>
                      <a:pt x="20" y="688"/>
                    </a:cubicBezTo>
                    <a:cubicBezTo>
                      <a:pt x="17" y="688"/>
                      <a:pt x="7" y="700"/>
                      <a:pt x="7" y="709"/>
                    </a:cubicBezTo>
                    <a:cubicBezTo>
                      <a:pt x="7" y="718"/>
                      <a:pt x="20" y="733"/>
                      <a:pt x="20" y="733"/>
                    </a:cubicBezTo>
                    <a:cubicBezTo>
                      <a:pt x="20" y="733"/>
                      <a:pt x="40" y="763"/>
                      <a:pt x="39" y="770"/>
                    </a:cubicBezTo>
                    <a:cubicBezTo>
                      <a:pt x="38" y="777"/>
                      <a:pt x="16" y="799"/>
                      <a:pt x="28" y="803"/>
                    </a:cubicBezTo>
                    <a:cubicBezTo>
                      <a:pt x="40" y="807"/>
                      <a:pt x="65" y="807"/>
                      <a:pt x="65" y="807"/>
                    </a:cubicBezTo>
                    <a:cubicBezTo>
                      <a:pt x="65" y="807"/>
                      <a:pt x="67" y="828"/>
                      <a:pt x="79" y="828"/>
                    </a:cubicBezTo>
                    <a:cubicBezTo>
                      <a:pt x="91" y="828"/>
                      <a:pt x="108" y="822"/>
                      <a:pt x="108" y="822"/>
                    </a:cubicBezTo>
                    <a:cubicBezTo>
                      <a:pt x="111" y="841"/>
                      <a:pt x="111" y="841"/>
                      <a:pt x="111" y="841"/>
                    </a:cubicBezTo>
                    <a:cubicBezTo>
                      <a:pt x="111" y="841"/>
                      <a:pt x="143" y="852"/>
                      <a:pt x="143" y="867"/>
                    </a:cubicBezTo>
                    <a:cubicBezTo>
                      <a:pt x="143" y="875"/>
                      <a:pt x="140" y="889"/>
                      <a:pt x="138" y="901"/>
                    </a:cubicBezTo>
                    <a:cubicBezTo>
                      <a:pt x="141" y="903"/>
                      <a:pt x="141" y="903"/>
                      <a:pt x="141" y="903"/>
                    </a:cubicBezTo>
                    <a:cubicBezTo>
                      <a:pt x="240" y="899"/>
                      <a:pt x="240" y="899"/>
                      <a:pt x="240" y="899"/>
                    </a:cubicBezTo>
                    <a:cubicBezTo>
                      <a:pt x="230" y="909"/>
                      <a:pt x="240" y="909"/>
                      <a:pt x="240" y="909"/>
                    </a:cubicBezTo>
                    <a:cubicBezTo>
                      <a:pt x="380" y="973"/>
                      <a:pt x="380" y="973"/>
                      <a:pt x="380" y="973"/>
                    </a:cubicBezTo>
                    <a:cubicBezTo>
                      <a:pt x="512" y="971"/>
                      <a:pt x="512" y="971"/>
                      <a:pt x="512" y="971"/>
                    </a:cubicBezTo>
                    <a:cubicBezTo>
                      <a:pt x="512" y="971"/>
                      <a:pt x="512" y="971"/>
                      <a:pt x="516" y="968"/>
                    </a:cubicBezTo>
                    <a:cubicBezTo>
                      <a:pt x="519" y="964"/>
                      <a:pt x="517" y="960"/>
                      <a:pt x="517" y="954"/>
                    </a:cubicBezTo>
                    <a:cubicBezTo>
                      <a:pt x="517" y="948"/>
                      <a:pt x="524" y="944"/>
                      <a:pt x="524" y="944"/>
                    </a:cubicBezTo>
                    <a:cubicBezTo>
                      <a:pt x="597" y="944"/>
                      <a:pt x="597" y="944"/>
                      <a:pt x="597" y="944"/>
                    </a:cubicBezTo>
                    <a:cubicBezTo>
                      <a:pt x="612" y="959"/>
                      <a:pt x="607" y="967"/>
                      <a:pt x="607" y="967"/>
                    </a:cubicBezTo>
                    <a:cubicBezTo>
                      <a:pt x="625" y="975"/>
                      <a:pt x="625" y="975"/>
                      <a:pt x="625" y="975"/>
                    </a:cubicBezTo>
                    <a:cubicBezTo>
                      <a:pt x="631" y="996"/>
                      <a:pt x="631" y="996"/>
                      <a:pt x="631" y="996"/>
                    </a:cubicBezTo>
                    <a:cubicBezTo>
                      <a:pt x="631" y="996"/>
                      <a:pt x="642" y="997"/>
                      <a:pt x="653" y="1008"/>
                    </a:cubicBezTo>
                    <a:cubicBezTo>
                      <a:pt x="663" y="1018"/>
                      <a:pt x="653" y="1060"/>
                      <a:pt x="653" y="1060"/>
                    </a:cubicBezTo>
                    <a:cubicBezTo>
                      <a:pt x="653" y="1060"/>
                      <a:pt x="684" y="1094"/>
                      <a:pt x="703" y="1094"/>
                    </a:cubicBezTo>
                    <a:cubicBezTo>
                      <a:pt x="722" y="1094"/>
                      <a:pt x="735" y="1060"/>
                      <a:pt x="739" y="1056"/>
                    </a:cubicBezTo>
                    <a:cubicBezTo>
                      <a:pt x="743" y="1052"/>
                      <a:pt x="755" y="1053"/>
                      <a:pt x="755" y="1053"/>
                    </a:cubicBezTo>
                    <a:cubicBezTo>
                      <a:pt x="756" y="1047"/>
                      <a:pt x="756" y="1047"/>
                      <a:pt x="756" y="1047"/>
                    </a:cubicBezTo>
                    <a:cubicBezTo>
                      <a:pt x="766" y="1052"/>
                      <a:pt x="766" y="1052"/>
                      <a:pt x="766" y="1052"/>
                    </a:cubicBezTo>
                    <a:cubicBezTo>
                      <a:pt x="795" y="1053"/>
                      <a:pt x="795" y="1053"/>
                      <a:pt x="795" y="1053"/>
                    </a:cubicBezTo>
                    <a:cubicBezTo>
                      <a:pt x="795" y="1053"/>
                      <a:pt x="815" y="1084"/>
                      <a:pt x="823" y="1092"/>
                    </a:cubicBezTo>
                    <a:cubicBezTo>
                      <a:pt x="831" y="1100"/>
                      <a:pt x="823" y="1115"/>
                      <a:pt x="823" y="1124"/>
                    </a:cubicBezTo>
                    <a:cubicBezTo>
                      <a:pt x="823" y="1133"/>
                      <a:pt x="834" y="1140"/>
                      <a:pt x="834" y="1140"/>
                    </a:cubicBezTo>
                    <a:cubicBezTo>
                      <a:pt x="834" y="1140"/>
                      <a:pt x="835" y="1146"/>
                      <a:pt x="835" y="1153"/>
                    </a:cubicBezTo>
                    <a:cubicBezTo>
                      <a:pt x="835" y="1161"/>
                      <a:pt x="844" y="1162"/>
                      <a:pt x="851" y="1169"/>
                    </a:cubicBezTo>
                    <a:cubicBezTo>
                      <a:pt x="858" y="1176"/>
                      <a:pt x="848" y="1179"/>
                      <a:pt x="848" y="1179"/>
                    </a:cubicBezTo>
                    <a:cubicBezTo>
                      <a:pt x="848" y="1206"/>
                      <a:pt x="848" y="1206"/>
                      <a:pt x="848" y="1206"/>
                    </a:cubicBezTo>
                    <a:cubicBezTo>
                      <a:pt x="856" y="1212"/>
                      <a:pt x="856" y="1212"/>
                      <a:pt x="856" y="1212"/>
                    </a:cubicBezTo>
                    <a:cubicBezTo>
                      <a:pt x="856" y="1212"/>
                      <a:pt x="854" y="1220"/>
                      <a:pt x="854" y="1231"/>
                    </a:cubicBezTo>
                    <a:cubicBezTo>
                      <a:pt x="854" y="1242"/>
                      <a:pt x="884" y="1243"/>
                      <a:pt x="884" y="1243"/>
                    </a:cubicBezTo>
                    <a:cubicBezTo>
                      <a:pt x="890" y="1254"/>
                      <a:pt x="890" y="1254"/>
                      <a:pt x="890" y="1254"/>
                    </a:cubicBezTo>
                    <a:cubicBezTo>
                      <a:pt x="890" y="1254"/>
                      <a:pt x="909" y="1254"/>
                      <a:pt x="914" y="1254"/>
                    </a:cubicBezTo>
                    <a:cubicBezTo>
                      <a:pt x="919" y="1254"/>
                      <a:pt x="917" y="1264"/>
                      <a:pt x="928" y="1264"/>
                    </a:cubicBezTo>
                    <a:cubicBezTo>
                      <a:pt x="933" y="1264"/>
                      <a:pt x="937" y="1263"/>
                      <a:pt x="940" y="1262"/>
                    </a:cubicBezTo>
                    <a:cubicBezTo>
                      <a:pt x="930" y="1213"/>
                      <a:pt x="930" y="1213"/>
                      <a:pt x="930" y="1213"/>
                    </a:cubicBezTo>
                    <a:cubicBezTo>
                      <a:pt x="942" y="1202"/>
                      <a:pt x="942" y="1202"/>
                      <a:pt x="942" y="1202"/>
                    </a:cubicBezTo>
                    <a:cubicBezTo>
                      <a:pt x="929" y="1193"/>
                      <a:pt x="929" y="1193"/>
                      <a:pt x="929" y="1193"/>
                    </a:cubicBezTo>
                    <a:cubicBezTo>
                      <a:pt x="929" y="1180"/>
                      <a:pt x="929" y="1180"/>
                      <a:pt x="929" y="1180"/>
                    </a:cubicBezTo>
                    <a:cubicBezTo>
                      <a:pt x="929" y="1180"/>
                      <a:pt x="947" y="1192"/>
                      <a:pt x="950" y="1180"/>
                    </a:cubicBezTo>
                    <a:cubicBezTo>
                      <a:pt x="953" y="1168"/>
                      <a:pt x="950" y="1159"/>
                      <a:pt x="950" y="1159"/>
                    </a:cubicBezTo>
                    <a:cubicBezTo>
                      <a:pt x="966" y="1157"/>
                      <a:pt x="966" y="1157"/>
                      <a:pt x="966" y="1157"/>
                    </a:cubicBezTo>
                    <a:cubicBezTo>
                      <a:pt x="971" y="1139"/>
                      <a:pt x="971" y="1139"/>
                      <a:pt x="971" y="1139"/>
                    </a:cubicBezTo>
                    <a:cubicBezTo>
                      <a:pt x="981" y="1144"/>
                      <a:pt x="981" y="1144"/>
                      <a:pt x="981" y="1144"/>
                    </a:cubicBezTo>
                    <a:cubicBezTo>
                      <a:pt x="994" y="1137"/>
                      <a:pt x="994" y="1137"/>
                      <a:pt x="994" y="1137"/>
                    </a:cubicBezTo>
                    <a:cubicBezTo>
                      <a:pt x="989" y="1121"/>
                      <a:pt x="989" y="1121"/>
                      <a:pt x="989" y="1121"/>
                    </a:cubicBezTo>
                    <a:cubicBezTo>
                      <a:pt x="999" y="1128"/>
                      <a:pt x="999" y="1128"/>
                      <a:pt x="999" y="1128"/>
                    </a:cubicBezTo>
                    <a:cubicBezTo>
                      <a:pt x="999" y="1128"/>
                      <a:pt x="1003" y="1106"/>
                      <a:pt x="1009" y="1110"/>
                    </a:cubicBezTo>
                    <a:cubicBezTo>
                      <a:pt x="1015" y="1114"/>
                      <a:pt x="1016" y="1125"/>
                      <a:pt x="1022" y="1122"/>
                    </a:cubicBezTo>
                    <a:cubicBezTo>
                      <a:pt x="1028" y="1119"/>
                      <a:pt x="1056" y="1111"/>
                      <a:pt x="1064" y="1103"/>
                    </a:cubicBezTo>
                    <a:cubicBezTo>
                      <a:pt x="1072" y="1095"/>
                      <a:pt x="1086" y="1076"/>
                      <a:pt x="1086" y="1076"/>
                    </a:cubicBezTo>
                    <a:cubicBezTo>
                      <a:pt x="1086" y="1076"/>
                      <a:pt x="1078" y="1053"/>
                      <a:pt x="1088" y="1052"/>
                    </a:cubicBezTo>
                    <a:cubicBezTo>
                      <a:pt x="1098" y="1051"/>
                      <a:pt x="1109" y="1075"/>
                      <a:pt x="1121" y="1068"/>
                    </a:cubicBezTo>
                    <a:cubicBezTo>
                      <a:pt x="1133" y="1061"/>
                      <a:pt x="1137" y="1033"/>
                      <a:pt x="1143" y="1040"/>
                    </a:cubicBezTo>
                    <a:cubicBezTo>
                      <a:pt x="1149" y="1047"/>
                      <a:pt x="1152" y="1053"/>
                      <a:pt x="1157" y="1053"/>
                    </a:cubicBezTo>
                    <a:cubicBezTo>
                      <a:pt x="1162" y="1053"/>
                      <a:pt x="1173" y="1037"/>
                      <a:pt x="1173" y="1037"/>
                    </a:cubicBezTo>
                    <a:cubicBezTo>
                      <a:pt x="1173" y="1037"/>
                      <a:pt x="1192" y="1068"/>
                      <a:pt x="1206" y="1066"/>
                    </a:cubicBezTo>
                    <a:cubicBezTo>
                      <a:pt x="1220" y="1064"/>
                      <a:pt x="1222" y="1033"/>
                      <a:pt x="1238" y="1049"/>
                    </a:cubicBezTo>
                    <a:cubicBezTo>
                      <a:pt x="1254" y="1065"/>
                      <a:pt x="1246" y="1083"/>
                      <a:pt x="1256" y="1083"/>
                    </a:cubicBezTo>
                    <a:cubicBezTo>
                      <a:pt x="1266" y="1083"/>
                      <a:pt x="1282" y="1090"/>
                      <a:pt x="1282" y="1090"/>
                    </a:cubicBezTo>
                    <a:cubicBezTo>
                      <a:pt x="1282" y="1090"/>
                      <a:pt x="1281" y="1074"/>
                      <a:pt x="1288" y="1079"/>
                    </a:cubicBezTo>
                    <a:cubicBezTo>
                      <a:pt x="1295" y="1084"/>
                      <a:pt x="1303" y="1103"/>
                      <a:pt x="1308" y="1091"/>
                    </a:cubicBezTo>
                    <a:cubicBezTo>
                      <a:pt x="1313" y="1079"/>
                      <a:pt x="1306" y="1064"/>
                      <a:pt x="1306" y="1064"/>
                    </a:cubicBezTo>
                    <a:cubicBezTo>
                      <a:pt x="1320" y="1069"/>
                      <a:pt x="1320" y="1069"/>
                      <a:pt x="1320" y="1069"/>
                    </a:cubicBezTo>
                    <a:cubicBezTo>
                      <a:pt x="1325" y="1080"/>
                      <a:pt x="1325" y="1080"/>
                      <a:pt x="1325" y="1080"/>
                    </a:cubicBezTo>
                    <a:cubicBezTo>
                      <a:pt x="1335" y="1083"/>
                      <a:pt x="1335" y="1083"/>
                      <a:pt x="1335" y="1083"/>
                    </a:cubicBezTo>
                    <a:cubicBezTo>
                      <a:pt x="1335" y="1092"/>
                      <a:pt x="1335" y="1092"/>
                      <a:pt x="1335" y="1092"/>
                    </a:cubicBezTo>
                    <a:cubicBezTo>
                      <a:pt x="1335" y="1092"/>
                      <a:pt x="1359" y="1099"/>
                      <a:pt x="1354" y="1087"/>
                    </a:cubicBezTo>
                    <a:cubicBezTo>
                      <a:pt x="1349" y="1075"/>
                      <a:pt x="1335" y="1070"/>
                      <a:pt x="1335" y="1070"/>
                    </a:cubicBezTo>
                    <a:cubicBezTo>
                      <a:pt x="1329" y="1060"/>
                      <a:pt x="1329" y="1060"/>
                      <a:pt x="1329" y="1060"/>
                    </a:cubicBezTo>
                    <a:cubicBezTo>
                      <a:pt x="1329" y="1060"/>
                      <a:pt x="1349" y="1057"/>
                      <a:pt x="1347" y="1049"/>
                    </a:cubicBezTo>
                    <a:cubicBezTo>
                      <a:pt x="1345" y="1041"/>
                      <a:pt x="1343" y="1039"/>
                      <a:pt x="1334" y="1040"/>
                    </a:cubicBezTo>
                    <a:cubicBezTo>
                      <a:pt x="1325" y="1041"/>
                      <a:pt x="1298" y="1044"/>
                      <a:pt x="1307" y="1030"/>
                    </a:cubicBezTo>
                    <a:cubicBezTo>
                      <a:pt x="1316" y="1016"/>
                      <a:pt x="1325" y="1027"/>
                      <a:pt x="1336" y="1030"/>
                    </a:cubicBezTo>
                    <a:cubicBezTo>
                      <a:pt x="1347" y="1033"/>
                      <a:pt x="1355" y="1031"/>
                      <a:pt x="1365" y="1024"/>
                    </a:cubicBezTo>
                    <a:cubicBezTo>
                      <a:pt x="1375" y="1017"/>
                      <a:pt x="1386" y="1017"/>
                      <a:pt x="1386" y="1017"/>
                    </a:cubicBezTo>
                    <a:cubicBezTo>
                      <a:pt x="1387" y="1021"/>
                      <a:pt x="1387" y="1021"/>
                      <a:pt x="1387" y="1021"/>
                    </a:cubicBezTo>
                    <a:cubicBezTo>
                      <a:pt x="1387" y="1021"/>
                      <a:pt x="1417" y="1021"/>
                      <a:pt x="1417" y="1014"/>
                    </a:cubicBezTo>
                    <a:cubicBezTo>
                      <a:pt x="1417" y="1007"/>
                      <a:pt x="1423" y="992"/>
                      <a:pt x="1426" y="997"/>
                    </a:cubicBezTo>
                    <a:cubicBezTo>
                      <a:pt x="1429" y="1002"/>
                      <a:pt x="1429" y="1024"/>
                      <a:pt x="1429" y="1024"/>
                    </a:cubicBezTo>
                    <a:cubicBezTo>
                      <a:pt x="1429" y="1024"/>
                      <a:pt x="1462" y="1012"/>
                      <a:pt x="1471" y="1013"/>
                    </a:cubicBezTo>
                    <a:cubicBezTo>
                      <a:pt x="1480" y="1014"/>
                      <a:pt x="1487" y="1024"/>
                      <a:pt x="1487" y="1024"/>
                    </a:cubicBezTo>
                    <a:cubicBezTo>
                      <a:pt x="1487" y="1024"/>
                      <a:pt x="1484" y="1008"/>
                      <a:pt x="1494" y="1012"/>
                    </a:cubicBezTo>
                    <a:cubicBezTo>
                      <a:pt x="1504" y="1016"/>
                      <a:pt x="1504" y="1030"/>
                      <a:pt x="1504" y="1030"/>
                    </a:cubicBezTo>
                    <a:cubicBezTo>
                      <a:pt x="1524" y="1025"/>
                      <a:pt x="1524" y="1025"/>
                      <a:pt x="1524" y="1025"/>
                    </a:cubicBezTo>
                    <a:cubicBezTo>
                      <a:pt x="1520" y="1033"/>
                      <a:pt x="1520" y="1033"/>
                      <a:pt x="1520" y="1033"/>
                    </a:cubicBezTo>
                    <a:cubicBezTo>
                      <a:pt x="1520" y="1033"/>
                      <a:pt x="1521" y="1065"/>
                      <a:pt x="1539" y="1061"/>
                    </a:cubicBezTo>
                    <a:cubicBezTo>
                      <a:pt x="1557" y="1057"/>
                      <a:pt x="1570" y="1031"/>
                      <a:pt x="1588" y="1035"/>
                    </a:cubicBezTo>
                    <a:cubicBezTo>
                      <a:pt x="1606" y="1039"/>
                      <a:pt x="1607" y="1073"/>
                      <a:pt x="1616" y="1079"/>
                    </a:cubicBezTo>
                    <a:cubicBezTo>
                      <a:pt x="1625" y="1085"/>
                      <a:pt x="1643" y="1085"/>
                      <a:pt x="1643" y="1085"/>
                    </a:cubicBezTo>
                    <a:cubicBezTo>
                      <a:pt x="1640" y="1111"/>
                      <a:pt x="1640" y="1111"/>
                      <a:pt x="1640" y="1111"/>
                    </a:cubicBezTo>
                    <a:cubicBezTo>
                      <a:pt x="1640" y="1111"/>
                      <a:pt x="1621" y="1139"/>
                      <a:pt x="1623" y="1147"/>
                    </a:cubicBezTo>
                    <a:cubicBezTo>
                      <a:pt x="1625" y="1155"/>
                      <a:pt x="1635" y="1156"/>
                      <a:pt x="1635" y="1156"/>
                    </a:cubicBezTo>
                    <a:cubicBezTo>
                      <a:pt x="1640" y="1166"/>
                      <a:pt x="1640" y="1166"/>
                      <a:pt x="1640" y="1166"/>
                    </a:cubicBezTo>
                    <a:cubicBezTo>
                      <a:pt x="1621" y="1179"/>
                      <a:pt x="1621" y="1179"/>
                      <a:pt x="1621" y="1179"/>
                    </a:cubicBezTo>
                    <a:cubicBezTo>
                      <a:pt x="1634" y="1212"/>
                      <a:pt x="1634" y="1212"/>
                      <a:pt x="1634" y="1212"/>
                    </a:cubicBezTo>
                    <a:cubicBezTo>
                      <a:pt x="1634" y="1212"/>
                      <a:pt x="1649" y="1193"/>
                      <a:pt x="1650" y="1199"/>
                    </a:cubicBezTo>
                    <a:cubicBezTo>
                      <a:pt x="1651" y="1205"/>
                      <a:pt x="1639" y="1230"/>
                      <a:pt x="1639" y="1230"/>
                    </a:cubicBezTo>
                    <a:cubicBezTo>
                      <a:pt x="1649" y="1227"/>
                      <a:pt x="1649" y="1227"/>
                      <a:pt x="1649" y="1227"/>
                    </a:cubicBezTo>
                    <a:cubicBezTo>
                      <a:pt x="1652" y="1259"/>
                      <a:pt x="1652" y="1259"/>
                      <a:pt x="1652" y="1259"/>
                    </a:cubicBezTo>
                    <a:cubicBezTo>
                      <a:pt x="1652" y="1259"/>
                      <a:pt x="1669" y="1259"/>
                      <a:pt x="1669" y="1265"/>
                    </a:cubicBezTo>
                    <a:cubicBezTo>
                      <a:pt x="1669" y="1271"/>
                      <a:pt x="1666" y="1287"/>
                      <a:pt x="1666" y="1287"/>
                    </a:cubicBezTo>
                    <a:cubicBezTo>
                      <a:pt x="1681" y="1304"/>
                      <a:pt x="1681" y="1304"/>
                      <a:pt x="1681" y="1304"/>
                    </a:cubicBezTo>
                    <a:cubicBezTo>
                      <a:pt x="1681" y="1304"/>
                      <a:pt x="1705" y="1298"/>
                      <a:pt x="1707" y="1291"/>
                    </a:cubicBezTo>
                    <a:cubicBezTo>
                      <a:pt x="1709" y="1284"/>
                      <a:pt x="1711" y="1271"/>
                      <a:pt x="1711" y="1271"/>
                    </a:cubicBezTo>
                    <a:cubicBezTo>
                      <a:pt x="1723" y="1271"/>
                      <a:pt x="1723" y="1271"/>
                      <a:pt x="1723" y="1271"/>
                    </a:cubicBezTo>
                    <a:cubicBezTo>
                      <a:pt x="1723" y="1271"/>
                      <a:pt x="1722" y="1250"/>
                      <a:pt x="1729" y="1240"/>
                    </a:cubicBezTo>
                    <a:cubicBezTo>
                      <a:pt x="1736" y="1230"/>
                      <a:pt x="1740" y="1213"/>
                      <a:pt x="1737" y="1203"/>
                    </a:cubicBezTo>
                    <a:cubicBezTo>
                      <a:pt x="1734" y="1193"/>
                      <a:pt x="1724" y="1160"/>
                      <a:pt x="1724" y="1151"/>
                    </a:cubicBezTo>
                    <a:cubicBezTo>
                      <a:pt x="1724" y="1142"/>
                      <a:pt x="1730" y="1128"/>
                      <a:pt x="1730" y="1112"/>
                    </a:cubicBezTo>
                    <a:cubicBezTo>
                      <a:pt x="1730" y="1096"/>
                      <a:pt x="1710" y="1070"/>
                      <a:pt x="1714" y="1056"/>
                    </a:cubicBezTo>
                    <a:cubicBezTo>
                      <a:pt x="1718" y="1042"/>
                      <a:pt x="1710" y="1002"/>
                      <a:pt x="1722" y="987"/>
                    </a:cubicBezTo>
                    <a:cubicBezTo>
                      <a:pt x="1734" y="972"/>
                      <a:pt x="1742" y="948"/>
                      <a:pt x="1742" y="948"/>
                    </a:cubicBezTo>
                    <a:cubicBezTo>
                      <a:pt x="1752" y="942"/>
                      <a:pt x="1752" y="942"/>
                      <a:pt x="1752" y="942"/>
                    </a:cubicBezTo>
                    <a:cubicBezTo>
                      <a:pt x="1765" y="929"/>
                      <a:pt x="1765" y="929"/>
                      <a:pt x="1765" y="929"/>
                    </a:cubicBezTo>
                    <a:cubicBezTo>
                      <a:pt x="1771" y="913"/>
                      <a:pt x="1771" y="913"/>
                      <a:pt x="1771" y="913"/>
                    </a:cubicBezTo>
                    <a:cubicBezTo>
                      <a:pt x="1780" y="919"/>
                      <a:pt x="1780" y="919"/>
                      <a:pt x="1780" y="919"/>
                    </a:cubicBezTo>
                    <a:cubicBezTo>
                      <a:pt x="1783" y="905"/>
                      <a:pt x="1783" y="905"/>
                      <a:pt x="1783" y="905"/>
                    </a:cubicBezTo>
                    <a:cubicBezTo>
                      <a:pt x="1783" y="905"/>
                      <a:pt x="1813" y="909"/>
                      <a:pt x="1818" y="903"/>
                    </a:cubicBezTo>
                    <a:cubicBezTo>
                      <a:pt x="1823" y="897"/>
                      <a:pt x="1819" y="886"/>
                      <a:pt x="1819" y="886"/>
                    </a:cubicBezTo>
                    <a:cubicBezTo>
                      <a:pt x="1832" y="887"/>
                      <a:pt x="1832" y="887"/>
                      <a:pt x="1832" y="887"/>
                    </a:cubicBezTo>
                    <a:cubicBezTo>
                      <a:pt x="1836" y="881"/>
                      <a:pt x="1836" y="881"/>
                      <a:pt x="1836" y="881"/>
                    </a:cubicBezTo>
                    <a:cubicBezTo>
                      <a:pt x="1847" y="880"/>
                      <a:pt x="1847" y="880"/>
                      <a:pt x="1847" y="880"/>
                    </a:cubicBezTo>
                    <a:cubicBezTo>
                      <a:pt x="1864" y="859"/>
                      <a:pt x="1864" y="859"/>
                      <a:pt x="1864" y="859"/>
                    </a:cubicBezTo>
                    <a:cubicBezTo>
                      <a:pt x="1864" y="859"/>
                      <a:pt x="1868" y="839"/>
                      <a:pt x="1887" y="834"/>
                    </a:cubicBezTo>
                    <a:cubicBezTo>
                      <a:pt x="1906" y="829"/>
                      <a:pt x="1917" y="840"/>
                      <a:pt x="1926" y="831"/>
                    </a:cubicBezTo>
                    <a:cubicBezTo>
                      <a:pt x="1935" y="822"/>
                      <a:pt x="1941" y="805"/>
                      <a:pt x="1941" y="805"/>
                    </a:cubicBezTo>
                    <a:cubicBezTo>
                      <a:pt x="1951" y="807"/>
                      <a:pt x="1951" y="807"/>
                      <a:pt x="1951" y="807"/>
                    </a:cubicBezTo>
                    <a:cubicBezTo>
                      <a:pt x="1956" y="792"/>
                      <a:pt x="1956" y="792"/>
                      <a:pt x="1956" y="792"/>
                    </a:cubicBezTo>
                    <a:cubicBezTo>
                      <a:pt x="2010" y="789"/>
                      <a:pt x="2010" y="789"/>
                      <a:pt x="2010" y="789"/>
                    </a:cubicBezTo>
                    <a:cubicBezTo>
                      <a:pt x="2013" y="773"/>
                      <a:pt x="2013" y="773"/>
                      <a:pt x="2013" y="773"/>
                    </a:cubicBezTo>
                    <a:cubicBezTo>
                      <a:pt x="1988" y="775"/>
                      <a:pt x="1988" y="775"/>
                      <a:pt x="1988" y="775"/>
                    </a:cubicBezTo>
                    <a:cubicBezTo>
                      <a:pt x="1988" y="775"/>
                      <a:pt x="2002" y="770"/>
                      <a:pt x="2001" y="763"/>
                    </a:cubicBezTo>
                    <a:cubicBezTo>
                      <a:pt x="2000" y="756"/>
                      <a:pt x="1990" y="749"/>
                      <a:pt x="1990" y="749"/>
                    </a:cubicBezTo>
                    <a:cubicBezTo>
                      <a:pt x="2013" y="745"/>
                      <a:pt x="2013" y="745"/>
                      <a:pt x="2013" y="745"/>
                    </a:cubicBezTo>
                    <a:cubicBezTo>
                      <a:pt x="2029" y="751"/>
                      <a:pt x="2029" y="751"/>
                      <a:pt x="2029" y="751"/>
                    </a:cubicBezTo>
                    <a:cubicBezTo>
                      <a:pt x="2052" y="727"/>
                      <a:pt x="2052" y="727"/>
                      <a:pt x="2052" y="727"/>
                    </a:cubicBezTo>
                    <a:cubicBezTo>
                      <a:pt x="2015" y="726"/>
                      <a:pt x="2015" y="726"/>
                      <a:pt x="2015" y="726"/>
                    </a:cubicBezTo>
                    <a:cubicBezTo>
                      <a:pt x="2013" y="709"/>
                      <a:pt x="2013" y="709"/>
                      <a:pt x="2013" y="709"/>
                    </a:cubicBezTo>
                    <a:cubicBezTo>
                      <a:pt x="2022" y="718"/>
                      <a:pt x="2022" y="718"/>
                      <a:pt x="2022" y="718"/>
                    </a:cubicBezTo>
                    <a:cubicBezTo>
                      <a:pt x="2052" y="707"/>
                      <a:pt x="2052" y="707"/>
                      <a:pt x="2052" y="707"/>
                    </a:cubicBezTo>
                    <a:cubicBezTo>
                      <a:pt x="2055" y="668"/>
                      <a:pt x="2055" y="668"/>
                      <a:pt x="2055" y="668"/>
                    </a:cubicBezTo>
                    <a:cubicBezTo>
                      <a:pt x="2036" y="676"/>
                      <a:pt x="2036" y="676"/>
                      <a:pt x="2036" y="676"/>
                    </a:cubicBezTo>
                    <a:cubicBezTo>
                      <a:pt x="2032" y="658"/>
                      <a:pt x="2032" y="658"/>
                      <a:pt x="2032" y="658"/>
                    </a:cubicBezTo>
                    <a:cubicBezTo>
                      <a:pt x="2016" y="647"/>
                      <a:pt x="2016" y="647"/>
                      <a:pt x="2016" y="647"/>
                    </a:cubicBezTo>
                    <a:cubicBezTo>
                      <a:pt x="2045" y="662"/>
                      <a:pt x="2045" y="662"/>
                      <a:pt x="2045" y="662"/>
                    </a:cubicBezTo>
                    <a:cubicBezTo>
                      <a:pt x="2052" y="656"/>
                      <a:pt x="2052" y="656"/>
                      <a:pt x="2052" y="656"/>
                    </a:cubicBezTo>
                    <a:cubicBezTo>
                      <a:pt x="2039" y="646"/>
                      <a:pt x="2039" y="646"/>
                      <a:pt x="2039" y="646"/>
                    </a:cubicBezTo>
                    <a:cubicBezTo>
                      <a:pt x="2057" y="646"/>
                      <a:pt x="2057" y="646"/>
                      <a:pt x="2057" y="646"/>
                    </a:cubicBezTo>
                    <a:cubicBezTo>
                      <a:pt x="2057" y="646"/>
                      <a:pt x="2035" y="617"/>
                      <a:pt x="2035" y="610"/>
                    </a:cubicBezTo>
                    <a:cubicBezTo>
                      <a:pt x="2035" y="603"/>
                      <a:pt x="2040" y="600"/>
                      <a:pt x="2040" y="600"/>
                    </a:cubicBezTo>
                    <a:cubicBezTo>
                      <a:pt x="2040" y="600"/>
                      <a:pt x="2023" y="589"/>
                      <a:pt x="2025" y="586"/>
                    </a:cubicBezTo>
                    <a:cubicBezTo>
                      <a:pt x="2027" y="583"/>
                      <a:pt x="2046" y="571"/>
                      <a:pt x="2046" y="571"/>
                    </a:cubicBezTo>
                    <a:cubicBezTo>
                      <a:pt x="2041" y="589"/>
                      <a:pt x="2041" y="589"/>
                      <a:pt x="2041" y="589"/>
                    </a:cubicBezTo>
                    <a:cubicBezTo>
                      <a:pt x="2062" y="606"/>
                      <a:pt x="2062" y="606"/>
                      <a:pt x="2062" y="606"/>
                    </a:cubicBezTo>
                    <a:cubicBezTo>
                      <a:pt x="2062" y="606"/>
                      <a:pt x="2070" y="582"/>
                      <a:pt x="2070" y="569"/>
                    </a:cubicBezTo>
                    <a:cubicBezTo>
                      <a:pt x="2070" y="556"/>
                      <a:pt x="2108" y="525"/>
                      <a:pt x="2107" y="533"/>
                    </a:cubicBezTo>
                    <a:cubicBezTo>
                      <a:pt x="2106" y="541"/>
                      <a:pt x="2083" y="574"/>
                      <a:pt x="2083" y="574"/>
                    </a:cubicBezTo>
                    <a:cubicBezTo>
                      <a:pt x="2077" y="596"/>
                      <a:pt x="2077" y="596"/>
                      <a:pt x="2077" y="596"/>
                    </a:cubicBezTo>
                    <a:cubicBezTo>
                      <a:pt x="2090" y="597"/>
                      <a:pt x="2090" y="597"/>
                      <a:pt x="2090" y="597"/>
                    </a:cubicBezTo>
                    <a:cubicBezTo>
                      <a:pt x="2090" y="597"/>
                      <a:pt x="2087" y="619"/>
                      <a:pt x="2082" y="623"/>
                    </a:cubicBezTo>
                    <a:cubicBezTo>
                      <a:pt x="2077" y="627"/>
                      <a:pt x="2059" y="661"/>
                      <a:pt x="2066" y="661"/>
                    </a:cubicBezTo>
                    <a:cubicBezTo>
                      <a:pt x="2073" y="661"/>
                      <a:pt x="2083" y="637"/>
                      <a:pt x="2089" y="632"/>
                    </a:cubicBezTo>
                    <a:cubicBezTo>
                      <a:pt x="2095" y="627"/>
                      <a:pt x="2125" y="611"/>
                      <a:pt x="2127" y="598"/>
                    </a:cubicBezTo>
                    <a:cubicBezTo>
                      <a:pt x="2129" y="585"/>
                      <a:pt x="2125" y="564"/>
                      <a:pt x="2125" y="553"/>
                    </a:cubicBezTo>
                    <a:cubicBezTo>
                      <a:pt x="2125" y="542"/>
                      <a:pt x="2129" y="516"/>
                      <a:pt x="2136" y="513"/>
                    </a:cubicBezTo>
                    <a:cubicBezTo>
                      <a:pt x="2143" y="510"/>
                      <a:pt x="2138" y="515"/>
                      <a:pt x="2135" y="528"/>
                    </a:cubicBezTo>
                    <a:cubicBezTo>
                      <a:pt x="2132" y="541"/>
                      <a:pt x="2144" y="545"/>
                      <a:pt x="2144" y="545"/>
                    </a:cubicBezTo>
                    <a:cubicBezTo>
                      <a:pt x="2144" y="545"/>
                      <a:pt x="2138" y="570"/>
                      <a:pt x="2141" y="570"/>
                    </a:cubicBezTo>
                    <a:cubicBezTo>
                      <a:pt x="2144" y="570"/>
                      <a:pt x="2175" y="531"/>
                      <a:pt x="2185" y="521"/>
                    </a:cubicBezTo>
                    <a:cubicBezTo>
                      <a:pt x="2195" y="511"/>
                      <a:pt x="2217" y="495"/>
                      <a:pt x="2214" y="491"/>
                    </a:cubicBezTo>
                    <a:cubicBezTo>
                      <a:pt x="2211" y="487"/>
                      <a:pt x="2202" y="490"/>
                      <a:pt x="2202" y="480"/>
                    </a:cubicBezTo>
                    <a:cubicBezTo>
                      <a:pt x="2202" y="470"/>
                      <a:pt x="2220" y="475"/>
                      <a:pt x="2240" y="475"/>
                    </a:cubicBezTo>
                    <a:cubicBezTo>
                      <a:pt x="2260" y="475"/>
                      <a:pt x="2306" y="453"/>
                      <a:pt x="2306" y="453"/>
                    </a:cubicBezTo>
                    <a:cubicBezTo>
                      <a:pt x="2293" y="447"/>
                      <a:pt x="2293" y="447"/>
                      <a:pt x="2293" y="447"/>
                    </a:cubicBezTo>
                    <a:cubicBezTo>
                      <a:pt x="2293" y="447"/>
                      <a:pt x="2269" y="458"/>
                      <a:pt x="2257" y="459"/>
                    </a:cubicBezTo>
                    <a:cubicBezTo>
                      <a:pt x="2245" y="460"/>
                      <a:pt x="2225" y="468"/>
                      <a:pt x="2228" y="455"/>
                    </a:cubicBezTo>
                    <a:cubicBezTo>
                      <a:pt x="2231" y="442"/>
                      <a:pt x="2266" y="439"/>
                      <a:pt x="2266" y="439"/>
                    </a:cubicBezTo>
                    <a:cubicBezTo>
                      <a:pt x="2326" y="438"/>
                      <a:pt x="2326" y="438"/>
                      <a:pt x="2326" y="438"/>
                    </a:cubicBezTo>
                    <a:cubicBezTo>
                      <a:pt x="2355" y="411"/>
                      <a:pt x="2355" y="411"/>
                      <a:pt x="2355" y="411"/>
                    </a:cubicBezTo>
                    <a:cubicBezTo>
                      <a:pt x="2361" y="421"/>
                      <a:pt x="2361" y="421"/>
                      <a:pt x="2361" y="421"/>
                    </a:cubicBezTo>
                    <a:cubicBezTo>
                      <a:pt x="2379" y="412"/>
                      <a:pt x="2379" y="412"/>
                      <a:pt x="2379" y="412"/>
                    </a:cubicBezTo>
                    <a:cubicBezTo>
                      <a:pt x="2377" y="435"/>
                      <a:pt x="2377" y="435"/>
                      <a:pt x="2377" y="435"/>
                    </a:cubicBezTo>
                    <a:cubicBezTo>
                      <a:pt x="2397" y="422"/>
                      <a:pt x="2397" y="422"/>
                      <a:pt x="2397" y="422"/>
                    </a:cubicBezTo>
                    <a:cubicBezTo>
                      <a:pt x="2413" y="418"/>
                      <a:pt x="2413" y="418"/>
                      <a:pt x="2413" y="418"/>
                    </a:cubicBezTo>
                    <a:cubicBezTo>
                      <a:pt x="2418" y="396"/>
                      <a:pt x="2418" y="396"/>
                      <a:pt x="2418" y="396"/>
                    </a:cubicBezTo>
                    <a:cubicBezTo>
                      <a:pt x="2409" y="388"/>
                      <a:pt x="2409" y="388"/>
                      <a:pt x="2409" y="388"/>
                    </a:cubicBezTo>
                    <a:cubicBezTo>
                      <a:pt x="2407" y="407"/>
                      <a:pt x="2407" y="407"/>
                      <a:pt x="2407" y="407"/>
                    </a:cubicBezTo>
                    <a:cubicBezTo>
                      <a:pt x="2391" y="410"/>
                      <a:pt x="2391" y="410"/>
                      <a:pt x="2391" y="410"/>
                    </a:cubicBezTo>
                    <a:cubicBezTo>
                      <a:pt x="2391" y="391"/>
                      <a:pt x="2391" y="391"/>
                      <a:pt x="2391" y="391"/>
                    </a:cubicBezTo>
                    <a:cubicBezTo>
                      <a:pt x="2378" y="377"/>
                      <a:pt x="2378" y="377"/>
                      <a:pt x="2378" y="377"/>
                    </a:cubicBezTo>
                    <a:cubicBezTo>
                      <a:pt x="2394" y="369"/>
                      <a:pt x="2394" y="369"/>
                      <a:pt x="2394" y="369"/>
                    </a:cubicBezTo>
                    <a:cubicBezTo>
                      <a:pt x="2398" y="346"/>
                      <a:pt x="2398" y="346"/>
                      <a:pt x="2398" y="346"/>
                    </a:cubicBezTo>
                    <a:cubicBezTo>
                      <a:pt x="2398" y="346"/>
                      <a:pt x="2413" y="329"/>
                      <a:pt x="2423" y="324"/>
                    </a:cubicBezTo>
                    <a:cubicBezTo>
                      <a:pt x="2433" y="319"/>
                      <a:pt x="2438" y="301"/>
                      <a:pt x="2438" y="301"/>
                    </a:cubicBezTo>
                    <a:cubicBezTo>
                      <a:pt x="2457" y="306"/>
                      <a:pt x="2457" y="306"/>
                      <a:pt x="2457" y="306"/>
                    </a:cubicBezTo>
                    <a:cubicBezTo>
                      <a:pt x="2467" y="291"/>
                      <a:pt x="2467" y="291"/>
                      <a:pt x="2467" y="291"/>
                    </a:cubicBezTo>
                    <a:cubicBezTo>
                      <a:pt x="2467" y="291"/>
                      <a:pt x="2470" y="302"/>
                      <a:pt x="2479" y="296"/>
                    </a:cubicBezTo>
                    <a:cubicBezTo>
                      <a:pt x="2488" y="290"/>
                      <a:pt x="2515" y="266"/>
                      <a:pt x="2515" y="266"/>
                    </a:cubicBezTo>
                    <a:cubicBezTo>
                      <a:pt x="2516" y="284"/>
                      <a:pt x="2516" y="284"/>
                      <a:pt x="2516" y="284"/>
                    </a:cubicBezTo>
                    <a:cubicBezTo>
                      <a:pt x="2516" y="284"/>
                      <a:pt x="2547" y="265"/>
                      <a:pt x="2556" y="260"/>
                    </a:cubicBezTo>
                    <a:cubicBezTo>
                      <a:pt x="2565" y="255"/>
                      <a:pt x="2597" y="254"/>
                      <a:pt x="2597" y="254"/>
                    </a:cubicBezTo>
                    <a:cubicBezTo>
                      <a:pt x="2597" y="232"/>
                      <a:pt x="2597" y="232"/>
                      <a:pt x="2597" y="232"/>
                    </a:cubicBezTo>
                    <a:cubicBezTo>
                      <a:pt x="2597" y="232"/>
                      <a:pt x="2598" y="232"/>
                      <a:pt x="2598" y="233"/>
                    </a:cubicBezTo>
                    <a:cubicBezTo>
                      <a:pt x="2597" y="229"/>
                      <a:pt x="2597" y="229"/>
                      <a:pt x="2597" y="229"/>
                    </a:cubicBezTo>
                    <a:cubicBezTo>
                      <a:pt x="2597" y="229"/>
                      <a:pt x="2589" y="232"/>
                      <a:pt x="2584" y="227"/>
                    </a:cubicBezTo>
                    <a:cubicBezTo>
                      <a:pt x="2579" y="222"/>
                      <a:pt x="2593" y="209"/>
                      <a:pt x="2593" y="209"/>
                    </a:cubicBezTo>
                    <a:cubicBezTo>
                      <a:pt x="2593" y="209"/>
                      <a:pt x="2585" y="205"/>
                      <a:pt x="2582" y="202"/>
                    </a:cubicBezTo>
                    <a:cubicBezTo>
                      <a:pt x="2579" y="199"/>
                      <a:pt x="2609" y="142"/>
                      <a:pt x="2609" y="125"/>
                    </a:cubicBezTo>
                    <a:cubicBezTo>
                      <a:pt x="2609" y="108"/>
                      <a:pt x="2582" y="119"/>
                      <a:pt x="2570" y="119"/>
                    </a:cubicBezTo>
                    <a:close/>
                    <a:moveTo>
                      <a:pt x="1811" y="252"/>
                    </a:moveTo>
                    <a:cubicBezTo>
                      <a:pt x="1797" y="252"/>
                      <a:pt x="1817" y="235"/>
                      <a:pt x="1810" y="232"/>
                    </a:cubicBezTo>
                    <a:cubicBezTo>
                      <a:pt x="1803" y="229"/>
                      <a:pt x="1793" y="242"/>
                      <a:pt x="1793" y="242"/>
                    </a:cubicBezTo>
                    <a:cubicBezTo>
                      <a:pt x="1788" y="244"/>
                      <a:pt x="1788" y="244"/>
                      <a:pt x="1788" y="244"/>
                    </a:cubicBezTo>
                    <a:cubicBezTo>
                      <a:pt x="1784" y="255"/>
                      <a:pt x="1784" y="255"/>
                      <a:pt x="1784" y="255"/>
                    </a:cubicBezTo>
                    <a:cubicBezTo>
                      <a:pt x="1773" y="251"/>
                      <a:pt x="1773" y="251"/>
                      <a:pt x="1773" y="251"/>
                    </a:cubicBezTo>
                    <a:cubicBezTo>
                      <a:pt x="1773" y="251"/>
                      <a:pt x="1773" y="262"/>
                      <a:pt x="1770" y="269"/>
                    </a:cubicBezTo>
                    <a:cubicBezTo>
                      <a:pt x="1767" y="276"/>
                      <a:pt x="1757" y="279"/>
                      <a:pt x="1752" y="284"/>
                    </a:cubicBezTo>
                    <a:cubicBezTo>
                      <a:pt x="1747" y="289"/>
                      <a:pt x="1753" y="297"/>
                      <a:pt x="1753" y="297"/>
                    </a:cubicBezTo>
                    <a:cubicBezTo>
                      <a:pt x="1753" y="297"/>
                      <a:pt x="1749" y="297"/>
                      <a:pt x="1736" y="311"/>
                    </a:cubicBezTo>
                    <a:cubicBezTo>
                      <a:pt x="1723" y="325"/>
                      <a:pt x="1741" y="325"/>
                      <a:pt x="1741" y="333"/>
                    </a:cubicBezTo>
                    <a:cubicBezTo>
                      <a:pt x="1741" y="341"/>
                      <a:pt x="1734" y="342"/>
                      <a:pt x="1734" y="342"/>
                    </a:cubicBezTo>
                    <a:cubicBezTo>
                      <a:pt x="1734" y="342"/>
                      <a:pt x="1742" y="346"/>
                      <a:pt x="1719" y="378"/>
                    </a:cubicBezTo>
                    <a:cubicBezTo>
                      <a:pt x="1696" y="410"/>
                      <a:pt x="1651" y="420"/>
                      <a:pt x="1651" y="420"/>
                    </a:cubicBezTo>
                    <a:cubicBezTo>
                      <a:pt x="1654" y="400"/>
                      <a:pt x="1654" y="400"/>
                      <a:pt x="1654" y="400"/>
                    </a:cubicBezTo>
                    <a:cubicBezTo>
                      <a:pt x="1654" y="400"/>
                      <a:pt x="1650" y="393"/>
                      <a:pt x="1648" y="389"/>
                    </a:cubicBezTo>
                    <a:cubicBezTo>
                      <a:pt x="1646" y="385"/>
                      <a:pt x="1663" y="365"/>
                      <a:pt x="1665" y="358"/>
                    </a:cubicBezTo>
                    <a:cubicBezTo>
                      <a:pt x="1667" y="351"/>
                      <a:pt x="1661" y="350"/>
                      <a:pt x="1663" y="338"/>
                    </a:cubicBezTo>
                    <a:cubicBezTo>
                      <a:pt x="1665" y="326"/>
                      <a:pt x="1687" y="307"/>
                      <a:pt x="1687" y="307"/>
                    </a:cubicBezTo>
                    <a:cubicBezTo>
                      <a:pt x="1687" y="298"/>
                      <a:pt x="1687" y="298"/>
                      <a:pt x="1687" y="298"/>
                    </a:cubicBezTo>
                    <a:cubicBezTo>
                      <a:pt x="1687" y="298"/>
                      <a:pt x="1708" y="283"/>
                      <a:pt x="1711" y="277"/>
                    </a:cubicBezTo>
                    <a:cubicBezTo>
                      <a:pt x="1714" y="271"/>
                      <a:pt x="1746" y="240"/>
                      <a:pt x="1746" y="240"/>
                    </a:cubicBezTo>
                    <a:cubicBezTo>
                      <a:pt x="1725" y="246"/>
                      <a:pt x="1725" y="246"/>
                      <a:pt x="1725" y="246"/>
                    </a:cubicBezTo>
                    <a:cubicBezTo>
                      <a:pt x="1725" y="246"/>
                      <a:pt x="1702" y="265"/>
                      <a:pt x="1698" y="260"/>
                    </a:cubicBezTo>
                    <a:cubicBezTo>
                      <a:pt x="1694" y="255"/>
                      <a:pt x="1734" y="231"/>
                      <a:pt x="1739" y="223"/>
                    </a:cubicBezTo>
                    <a:cubicBezTo>
                      <a:pt x="1744" y="215"/>
                      <a:pt x="1772" y="194"/>
                      <a:pt x="1772" y="194"/>
                    </a:cubicBezTo>
                    <a:cubicBezTo>
                      <a:pt x="1777" y="200"/>
                      <a:pt x="1777" y="200"/>
                      <a:pt x="1777" y="200"/>
                    </a:cubicBezTo>
                    <a:cubicBezTo>
                      <a:pt x="1787" y="194"/>
                      <a:pt x="1787" y="194"/>
                      <a:pt x="1787" y="194"/>
                    </a:cubicBezTo>
                    <a:cubicBezTo>
                      <a:pt x="1787" y="194"/>
                      <a:pt x="1782" y="203"/>
                      <a:pt x="1792" y="202"/>
                    </a:cubicBezTo>
                    <a:cubicBezTo>
                      <a:pt x="1802" y="201"/>
                      <a:pt x="1799" y="187"/>
                      <a:pt x="1799" y="187"/>
                    </a:cubicBezTo>
                    <a:cubicBezTo>
                      <a:pt x="1815" y="192"/>
                      <a:pt x="1815" y="192"/>
                      <a:pt x="1815" y="192"/>
                    </a:cubicBezTo>
                    <a:cubicBezTo>
                      <a:pt x="1815" y="192"/>
                      <a:pt x="1837" y="181"/>
                      <a:pt x="1847" y="184"/>
                    </a:cubicBezTo>
                    <a:cubicBezTo>
                      <a:pt x="1857" y="187"/>
                      <a:pt x="1862" y="199"/>
                      <a:pt x="1862" y="199"/>
                    </a:cubicBezTo>
                    <a:cubicBezTo>
                      <a:pt x="1845" y="205"/>
                      <a:pt x="1845" y="205"/>
                      <a:pt x="1845" y="205"/>
                    </a:cubicBezTo>
                    <a:cubicBezTo>
                      <a:pt x="1847" y="222"/>
                      <a:pt x="1847" y="222"/>
                      <a:pt x="1847" y="222"/>
                    </a:cubicBezTo>
                    <a:cubicBezTo>
                      <a:pt x="1847" y="222"/>
                      <a:pt x="1835" y="220"/>
                      <a:pt x="1828" y="220"/>
                    </a:cubicBezTo>
                    <a:cubicBezTo>
                      <a:pt x="1821" y="220"/>
                      <a:pt x="1824" y="237"/>
                      <a:pt x="1824" y="237"/>
                    </a:cubicBezTo>
                    <a:cubicBezTo>
                      <a:pt x="1824" y="237"/>
                      <a:pt x="1825" y="252"/>
                      <a:pt x="1811" y="252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2" name="Freeform 359">
                <a:extLst>
                  <a:ext uri="{FF2B5EF4-FFF2-40B4-BE49-F238E27FC236}">
                    <a16:creationId xmlns:a16="http://schemas.microsoft.com/office/drawing/2014/main" id="{84429D51-A217-4376-101D-08BBFB8CE18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9662" y="-15009"/>
                <a:ext cx="645" cy="345"/>
              </a:xfrm>
              <a:custGeom>
                <a:avLst/>
                <a:gdLst>
                  <a:gd name="T0" fmla="*/ 11 w 273"/>
                  <a:gd name="T1" fmla="*/ 2 h 146"/>
                  <a:gd name="T2" fmla="*/ 6 w 273"/>
                  <a:gd name="T3" fmla="*/ 13 h 146"/>
                  <a:gd name="T4" fmla="*/ 11 w 273"/>
                  <a:gd name="T5" fmla="*/ 2 h 146"/>
                  <a:gd name="T6" fmla="*/ 115 w 273"/>
                  <a:gd name="T7" fmla="*/ 57 h 146"/>
                  <a:gd name="T8" fmla="*/ 142 w 273"/>
                  <a:gd name="T9" fmla="*/ 62 h 146"/>
                  <a:gd name="T10" fmla="*/ 129 w 273"/>
                  <a:gd name="T11" fmla="*/ 52 h 146"/>
                  <a:gd name="T12" fmla="*/ 119 w 273"/>
                  <a:gd name="T13" fmla="*/ 52 h 146"/>
                  <a:gd name="T14" fmla="*/ 115 w 273"/>
                  <a:gd name="T15" fmla="*/ 57 h 146"/>
                  <a:gd name="T16" fmla="*/ 190 w 273"/>
                  <a:gd name="T17" fmla="*/ 47 h 146"/>
                  <a:gd name="T18" fmla="*/ 180 w 273"/>
                  <a:gd name="T19" fmla="*/ 38 h 146"/>
                  <a:gd name="T20" fmla="*/ 169 w 273"/>
                  <a:gd name="T21" fmla="*/ 43 h 146"/>
                  <a:gd name="T22" fmla="*/ 190 w 273"/>
                  <a:gd name="T23" fmla="*/ 47 h 146"/>
                  <a:gd name="T24" fmla="*/ 249 w 273"/>
                  <a:gd name="T25" fmla="*/ 100 h 146"/>
                  <a:gd name="T26" fmla="*/ 266 w 273"/>
                  <a:gd name="T27" fmla="*/ 93 h 146"/>
                  <a:gd name="T28" fmla="*/ 249 w 273"/>
                  <a:gd name="T29" fmla="*/ 90 h 146"/>
                  <a:gd name="T30" fmla="*/ 232 w 273"/>
                  <a:gd name="T31" fmla="*/ 87 h 146"/>
                  <a:gd name="T32" fmla="*/ 249 w 273"/>
                  <a:gd name="T33" fmla="*/ 100 h 146"/>
                  <a:gd name="T34" fmla="*/ 260 w 273"/>
                  <a:gd name="T35" fmla="*/ 145 h 146"/>
                  <a:gd name="T36" fmla="*/ 260 w 273"/>
                  <a:gd name="T37" fmla="*/ 131 h 146"/>
                  <a:gd name="T38" fmla="*/ 260 w 273"/>
                  <a:gd name="T39" fmla="*/ 145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3" h="146">
                    <a:moveTo>
                      <a:pt x="11" y="2"/>
                    </a:moveTo>
                    <a:cubicBezTo>
                      <a:pt x="15" y="4"/>
                      <a:pt x="12" y="16"/>
                      <a:pt x="6" y="13"/>
                    </a:cubicBezTo>
                    <a:cubicBezTo>
                      <a:pt x="0" y="11"/>
                      <a:pt x="6" y="0"/>
                      <a:pt x="11" y="2"/>
                    </a:cubicBezTo>
                    <a:close/>
                    <a:moveTo>
                      <a:pt x="115" y="57"/>
                    </a:moveTo>
                    <a:cubicBezTo>
                      <a:pt x="121" y="68"/>
                      <a:pt x="142" y="62"/>
                      <a:pt x="142" y="62"/>
                    </a:cubicBezTo>
                    <a:cubicBezTo>
                      <a:pt x="129" y="52"/>
                      <a:pt x="129" y="52"/>
                      <a:pt x="129" y="52"/>
                    </a:cubicBezTo>
                    <a:cubicBezTo>
                      <a:pt x="119" y="52"/>
                      <a:pt x="119" y="52"/>
                      <a:pt x="119" y="52"/>
                    </a:cubicBezTo>
                    <a:lnTo>
                      <a:pt x="115" y="57"/>
                    </a:lnTo>
                    <a:close/>
                    <a:moveTo>
                      <a:pt x="190" y="47"/>
                    </a:moveTo>
                    <a:cubicBezTo>
                      <a:pt x="190" y="47"/>
                      <a:pt x="185" y="39"/>
                      <a:pt x="180" y="38"/>
                    </a:cubicBezTo>
                    <a:cubicBezTo>
                      <a:pt x="175" y="36"/>
                      <a:pt x="169" y="43"/>
                      <a:pt x="169" y="43"/>
                    </a:cubicBezTo>
                    <a:cubicBezTo>
                      <a:pt x="181" y="57"/>
                      <a:pt x="190" y="47"/>
                      <a:pt x="190" y="47"/>
                    </a:cubicBezTo>
                    <a:close/>
                    <a:moveTo>
                      <a:pt x="249" y="100"/>
                    </a:moveTo>
                    <a:cubicBezTo>
                      <a:pt x="256" y="101"/>
                      <a:pt x="267" y="100"/>
                      <a:pt x="266" y="93"/>
                    </a:cubicBezTo>
                    <a:cubicBezTo>
                      <a:pt x="265" y="86"/>
                      <a:pt x="253" y="90"/>
                      <a:pt x="249" y="90"/>
                    </a:cubicBezTo>
                    <a:cubicBezTo>
                      <a:pt x="245" y="91"/>
                      <a:pt x="232" y="87"/>
                      <a:pt x="232" y="87"/>
                    </a:cubicBezTo>
                    <a:cubicBezTo>
                      <a:pt x="226" y="96"/>
                      <a:pt x="241" y="99"/>
                      <a:pt x="249" y="100"/>
                    </a:cubicBezTo>
                    <a:close/>
                    <a:moveTo>
                      <a:pt x="260" y="145"/>
                    </a:moveTo>
                    <a:cubicBezTo>
                      <a:pt x="273" y="146"/>
                      <a:pt x="260" y="131"/>
                      <a:pt x="260" y="131"/>
                    </a:cubicBezTo>
                    <a:cubicBezTo>
                      <a:pt x="259" y="129"/>
                      <a:pt x="248" y="144"/>
                      <a:pt x="260" y="145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3" name="Freeform 360">
                <a:extLst>
                  <a:ext uri="{FF2B5EF4-FFF2-40B4-BE49-F238E27FC236}">
                    <a16:creationId xmlns:a16="http://schemas.microsoft.com/office/drawing/2014/main" id="{9B11907A-D95A-B3F7-5450-64E9D500A6E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51" y="-10925"/>
                <a:ext cx="1089" cy="839"/>
              </a:xfrm>
              <a:custGeom>
                <a:avLst/>
                <a:gdLst>
                  <a:gd name="T0" fmla="*/ 444 w 461"/>
                  <a:gd name="T1" fmla="*/ 131 h 355"/>
                  <a:gd name="T2" fmla="*/ 461 w 461"/>
                  <a:gd name="T3" fmla="*/ 111 h 355"/>
                  <a:gd name="T4" fmla="*/ 444 w 461"/>
                  <a:gd name="T5" fmla="*/ 105 h 355"/>
                  <a:gd name="T6" fmla="*/ 433 w 461"/>
                  <a:gd name="T7" fmla="*/ 88 h 355"/>
                  <a:gd name="T8" fmla="*/ 393 w 461"/>
                  <a:gd name="T9" fmla="*/ 77 h 355"/>
                  <a:gd name="T10" fmla="*/ 380 w 461"/>
                  <a:gd name="T11" fmla="*/ 46 h 355"/>
                  <a:gd name="T12" fmla="*/ 354 w 461"/>
                  <a:gd name="T13" fmla="*/ 42 h 355"/>
                  <a:gd name="T14" fmla="*/ 343 w 461"/>
                  <a:gd name="T15" fmla="*/ 1 h 355"/>
                  <a:gd name="T16" fmla="*/ 339 w 461"/>
                  <a:gd name="T17" fmla="*/ 14 h 355"/>
                  <a:gd name="T18" fmla="*/ 329 w 461"/>
                  <a:gd name="T19" fmla="*/ 0 h 355"/>
                  <a:gd name="T20" fmla="*/ 323 w 461"/>
                  <a:gd name="T21" fmla="*/ 41 h 355"/>
                  <a:gd name="T22" fmla="*/ 301 w 461"/>
                  <a:gd name="T23" fmla="*/ 50 h 355"/>
                  <a:gd name="T24" fmla="*/ 293 w 461"/>
                  <a:gd name="T25" fmla="*/ 77 h 355"/>
                  <a:gd name="T26" fmla="*/ 276 w 461"/>
                  <a:gd name="T27" fmla="*/ 83 h 355"/>
                  <a:gd name="T28" fmla="*/ 283 w 461"/>
                  <a:gd name="T29" fmla="*/ 107 h 355"/>
                  <a:gd name="T30" fmla="*/ 243 w 461"/>
                  <a:gd name="T31" fmla="*/ 101 h 355"/>
                  <a:gd name="T32" fmla="*/ 236 w 461"/>
                  <a:gd name="T33" fmla="*/ 102 h 355"/>
                  <a:gd name="T34" fmla="*/ 266 w 461"/>
                  <a:gd name="T35" fmla="*/ 177 h 355"/>
                  <a:gd name="T36" fmla="*/ 255 w 461"/>
                  <a:gd name="T37" fmla="*/ 171 h 355"/>
                  <a:gd name="T38" fmla="*/ 242 w 461"/>
                  <a:gd name="T39" fmla="*/ 151 h 355"/>
                  <a:gd name="T40" fmla="*/ 242 w 461"/>
                  <a:gd name="T41" fmla="*/ 183 h 355"/>
                  <a:gd name="T42" fmla="*/ 231 w 461"/>
                  <a:gd name="T43" fmla="*/ 191 h 355"/>
                  <a:gd name="T44" fmla="*/ 214 w 461"/>
                  <a:gd name="T45" fmla="*/ 166 h 355"/>
                  <a:gd name="T46" fmla="*/ 206 w 461"/>
                  <a:gd name="T47" fmla="*/ 160 h 355"/>
                  <a:gd name="T48" fmla="*/ 200 w 461"/>
                  <a:gd name="T49" fmla="*/ 166 h 355"/>
                  <a:gd name="T50" fmla="*/ 176 w 461"/>
                  <a:gd name="T51" fmla="*/ 213 h 355"/>
                  <a:gd name="T52" fmla="*/ 110 w 461"/>
                  <a:gd name="T53" fmla="*/ 235 h 355"/>
                  <a:gd name="T54" fmla="*/ 69 w 461"/>
                  <a:gd name="T55" fmla="*/ 262 h 355"/>
                  <a:gd name="T56" fmla="*/ 60 w 461"/>
                  <a:gd name="T57" fmla="*/ 285 h 355"/>
                  <a:gd name="T58" fmla="*/ 65 w 461"/>
                  <a:gd name="T59" fmla="*/ 317 h 355"/>
                  <a:gd name="T60" fmla="*/ 23 w 461"/>
                  <a:gd name="T61" fmla="*/ 305 h 355"/>
                  <a:gd name="T62" fmla="*/ 0 w 461"/>
                  <a:gd name="T63" fmla="*/ 322 h 355"/>
                  <a:gd name="T64" fmla="*/ 0 w 461"/>
                  <a:gd name="T65" fmla="*/ 322 h 355"/>
                  <a:gd name="T66" fmla="*/ 9 w 461"/>
                  <a:gd name="T67" fmla="*/ 338 h 355"/>
                  <a:gd name="T68" fmla="*/ 43 w 461"/>
                  <a:gd name="T69" fmla="*/ 352 h 355"/>
                  <a:gd name="T70" fmla="*/ 61 w 461"/>
                  <a:gd name="T71" fmla="*/ 342 h 355"/>
                  <a:gd name="T72" fmla="*/ 98 w 461"/>
                  <a:gd name="T73" fmla="*/ 345 h 355"/>
                  <a:gd name="T74" fmla="*/ 121 w 461"/>
                  <a:gd name="T75" fmla="*/ 318 h 355"/>
                  <a:gd name="T76" fmla="*/ 150 w 461"/>
                  <a:gd name="T77" fmla="*/ 318 h 355"/>
                  <a:gd name="T78" fmla="*/ 182 w 461"/>
                  <a:gd name="T79" fmla="*/ 335 h 355"/>
                  <a:gd name="T80" fmla="*/ 203 w 461"/>
                  <a:gd name="T81" fmla="*/ 322 h 355"/>
                  <a:gd name="T82" fmla="*/ 219 w 461"/>
                  <a:gd name="T83" fmla="*/ 322 h 355"/>
                  <a:gd name="T84" fmla="*/ 236 w 461"/>
                  <a:gd name="T85" fmla="*/ 299 h 355"/>
                  <a:gd name="T86" fmla="*/ 235 w 461"/>
                  <a:gd name="T87" fmla="*/ 287 h 355"/>
                  <a:gd name="T88" fmla="*/ 257 w 461"/>
                  <a:gd name="T89" fmla="*/ 268 h 355"/>
                  <a:gd name="T90" fmla="*/ 252 w 461"/>
                  <a:gd name="T91" fmla="*/ 243 h 355"/>
                  <a:gd name="T92" fmla="*/ 265 w 461"/>
                  <a:gd name="T93" fmla="*/ 235 h 355"/>
                  <a:gd name="T94" fmla="*/ 275 w 461"/>
                  <a:gd name="T95" fmla="*/ 204 h 355"/>
                  <a:gd name="T96" fmla="*/ 284 w 461"/>
                  <a:gd name="T97" fmla="*/ 165 h 355"/>
                  <a:gd name="T98" fmla="*/ 344 w 461"/>
                  <a:gd name="T99" fmla="*/ 166 h 355"/>
                  <a:gd name="T100" fmla="*/ 375 w 461"/>
                  <a:gd name="T101" fmla="*/ 190 h 355"/>
                  <a:gd name="T102" fmla="*/ 374 w 461"/>
                  <a:gd name="T103" fmla="*/ 189 h 355"/>
                  <a:gd name="T104" fmla="*/ 387 w 461"/>
                  <a:gd name="T105" fmla="*/ 186 h 355"/>
                  <a:gd name="T106" fmla="*/ 378 w 461"/>
                  <a:gd name="T107" fmla="*/ 144 h 355"/>
                  <a:gd name="T108" fmla="*/ 402 w 461"/>
                  <a:gd name="T109" fmla="*/ 162 h 355"/>
                  <a:gd name="T110" fmla="*/ 427 w 461"/>
                  <a:gd name="T111" fmla="*/ 160 h 355"/>
                  <a:gd name="T112" fmla="*/ 408 w 461"/>
                  <a:gd name="T113" fmla="*/ 126 h 355"/>
                  <a:gd name="T114" fmla="*/ 444 w 461"/>
                  <a:gd name="T115" fmla="*/ 131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61" h="355">
                    <a:moveTo>
                      <a:pt x="444" y="131"/>
                    </a:moveTo>
                    <a:cubicBezTo>
                      <a:pt x="461" y="111"/>
                      <a:pt x="461" y="111"/>
                      <a:pt x="461" y="111"/>
                    </a:cubicBezTo>
                    <a:cubicBezTo>
                      <a:pt x="444" y="105"/>
                      <a:pt x="444" y="105"/>
                      <a:pt x="444" y="105"/>
                    </a:cubicBezTo>
                    <a:cubicBezTo>
                      <a:pt x="444" y="105"/>
                      <a:pt x="441" y="93"/>
                      <a:pt x="433" y="88"/>
                    </a:cubicBezTo>
                    <a:cubicBezTo>
                      <a:pt x="425" y="82"/>
                      <a:pt x="393" y="77"/>
                      <a:pt x="393" y="77"/>
                    </a:cubicBezTo>
                    <a:cubicBezTo>
                      <a:pt x="393" y="77"/>
                      <a:pt x="392" y="58"/>
                      <a:pt x="380" y="46"/>
                    </a:cubicBezTo>
                    <a:cubicBezTo>
                      <a:pt x="367" y="33"/>
                      <a:pt x="354" y="42"/>
                      <a:pt x="354" y="42"/>
                    </a:cubicBezTo>
                    <a:cubicBezTo>
                      <a:pt x="343" y="1"/>
                      <a:pt x="343" y="1"/>
                      <a:pt x="343" y="1"/>
                    </a:cubicBezTo>
                    <a:cubicBezTo>
                      <a:pt x="339" y="14"/>
                      <a:pt x="339" y="14"/>
                      <a:pt x="339" y="14"/>
                    </a:cubicBezTo>
                    <a:cubicBezTo>
                      <a:pt x="329" y="0"/>
                      <a:pt x="329" y="0"/>
                      <a:pt x="329" y="0"/>
                    </a:cubicBezTo>
                    <a:cubicBezTo>
                      <a:pt x="323" y="41"/>
                      <a:pt x="323" y="41"/>
                      <a:pt x="323" y="41"/>
                    </a:cubicBezTo>
                    <a:cubicBezTo>
                      <a:pt x="323" y="41"/>
                      <a:pt x="308" y="45"/>
                      <a:pt x="301" y="50"/>
                    </a:cubicBezTo>
                    <a:cubicBezTo>
                      <a:pt x="294" y="55"/>
                      <a:pt x="293" y="77"/>
                      <a:pt x="293" y="77"/>
                    </a:cubicBezTo>
                    <a:cubicBezTo>
                      <a:pt x="276" y="83"/>
                      <a:pt x="276" y="83"/>
                      <a:pt x="276" y="83"/>
                    </a:cubicBezTo>
                    <a:cubicBezTo>
                      <a:pt x="283" y="107"/>
                      <a:pt x="283" y="107"/>
                      <a:pt x="283" y="107"/>
                    </a:cubicBezTo>
                    <a:cubicBezTo>
                      <a:pt x="283" y="107"/>
                      <a:pt x="259" y="104"/>
                      <a:pt x="243" y="101"/>
                    </a:cubicBezTo>
                    <a:cubicBezTo>
                      <a:pt x="241" y="100"/>
                      <a:pt x="238" y="101"/>
                      <a:pt x="236" y="102"/>
                    </a:cubicBezTo>
                    <a:cubicBezTo>
                      <a:pt x="259" y="120"/>
                      <a:pt x="266" y="177"/>
                      <a:pt x="266" y="177"/>
                    </a:cubicBezTo>
                    <a:cubicBezTo>
                      <a:pt x="255" y="171"/>
                      <a:pt x="255" y="171"/>
                      <a:pt x="255" y="171"/>
                    </a:cubicBezTo>
                    <a:cubicBezTo>
                      <a:pt x="242" y="151"/>
                      <a:pt x="242" y="151"/>
                      <a:pt x="242" y="151"/>
                    </a:cubicBezTo>
                    <a:cubicBezTo>
                      <a:pt x="242" y="151"/>
                      <a:pt x="243" y="175"/>
                      <a:pt x="242" y="183"/>
                    </a:cubicBezTo>
                    <a:cubicBezTo>
                      <a:pt x="241" y="190"/>
                      <a:pt x="231" y="191"/>
                      <a:pt x="231" y="191"/>
                    </a:cubicBezTo>
                    <a:cubicBezTo>
                      <a:pt x="214" y="166"/>
                      <a:pt x="214" y="166"/>
                      <a:pt x="214" y="166"/>
                    </a:cubicBezTo>
                    <a:cubicBezTo>
                      <a:pt x="206" y="160"/>
                      <a:pt x="206" y="160"/>
                      <a:pt x="206" y="160"/>
                    </a:cubicBezTo>
                    <a:cubicBezTo>
                      <a:pt x="200" y="166"/>
                      <a:pt x="200" y="166"/>
                      <a:pt x="200" y="166"/>
                    </a:cubicBezTo>
                    <a:cubicBezTo>
                      <a:pt x="200" y="166"/>
                      <a:pt x="192" y="201"/>
                      <a:pt x="176" y="213"/>
                    </a:cubicBezTo>
                    <a:cubicBezTo>
                      <a:pt x="160" y="224"/>
                      <a:pt x="119" y="232"/>
                      <a:pt x="110" y="235"/>
                    </a:cubicBezTo>
                    <a:cubicBezTo>
                      <a:pt x="101" y="237"/>
                      <a:pt x="69" y="262"/>
                      <a:pt x="69" y="262"/>
                    </a:cubicBezTo>
                    <a:cubicBezTo>
                      <a:pt x="60" y="285"/>
                      <a:pt x="60" y="285"/>
                      <a:pt x="60" y="285"/>
                    </a:cubicBezTo>
                    <a:cubicBezTo>
                      <a:pt x="60" y="285"/>
                      <a:pt x="84" y="303"/>
                      <a:pt x="65" y="317"/>
                    </a:cubicBezTo>
                    <a:cubicBezTo>
                      <a:pt x="47" y="331"/>
                      <a:pt x="34" y="308"/>
                      <a:pt x="23" y="305"/>
                    </a:cubicBezTo>
                    <a:cubicBezTo>
                      <a:pt x="13" y="303"/>
                      <a:pt x="0" y="322"/>
                      <a:pt x="0" y="322"/>
                    </a:cubicBezTo>
                    <a:cubicBezTo>
                      <a:pt x="0" y="322"/>
                      <a:pt x="0" y="322"/>
                      <a:pt x="0" y="322"/>
                    </a:cubicBezTo>
                    <a:cubicBezTo>
                      <a:pt x="3" y="328"/>
                      <a:pt x="5" y="334"/>
                      <a:pt x="9" y="338"/>
                    </a:cubicBezTo>
                    <a:cubicBezTo>
                      <a:pt x="17" y="347"/>
                      <a:pt x="39" y="355"/>
                      <a:pt x="43" y="352"/>
                    </a:cubicBezTo>
                    <a:cubicBezTo>
                      <a:pt x="47" y="350"/>
                      <a:pt x="46" y="342"/>
                      <a:pt x="61" y="342"/>
                    </a:cubicBezTo>
                    <a:cubicBezTo>
                      <a:pt x="75" y="342"/>
                      <a:pt x="88" y="351"/>
                      <a:pt x="98" y="345"/>
                    </a:cubicBezTo>
                    <a:cubicBezTo>
                      <a:pt x="108" y="339"/>
                      <a:pt x="121" y="318"/>
                      <a:pt x="121" y="318"/>
                    </a:cubicBezTo>
                    <a:cubicBezTo>
                      <a:pt x="121" y="318"/>
                      <a:pt x="146" y="315"/>
                      <a:pt x="150" y="318"/>
                    </a:cubicBezTo>
                    <a:cubicBezTo>
                      <a:pt x="154" y="320"/>
                      <a:pt x="179" y="336"/>
                      <a:pt x="182" y="335"/>
                    </a:cubicBezTo>
                    <a:cubicBezTo>
                      <a:pt x="185" y="335"/>
                      <a:pt x="203" y="322"/>
                      <a:pt x="203" y="322"/>
                    </a:cubicBezTo>
                    <a:cubicBezTo>
                      <a:pt x="219" y="322"/>
                      <a:pt x="219" y="322"/>
                      <a:pt x="219" y="322"/>
                    </a:cubicBezTo>
                    <a:cubicBezTo>
                      <a:pt x="236" y="299"/>
                      <a:pt x="236" y="299"/>
                      <a:pt x="236" y="299"/>
                    </a:cubicBezTo>
                    <a:cubicBezTo>
                      <a:pt x="235" y="287"/>
                      <a:pt x="235" y="287"/>
                      <a:pt x="235" y="287"/>
                    </a:cubicBezTo>
                    <a:cubicBezTo>
                      <a:pt x="257" y="268"/>
                      <a:pt x="257" y="268"/>
                      <a:pt x="257" y="268"/>
                    </a:cubicBezTo>
                    <a:cubicBezTo>
                      <a:pt x="257" y="268"/>
                      <a:pt x="245" y="252"/>
                      <a:pt x="252" y="243"/>
                    </a:cubicBezTo>
                    <a:cubicBezTo>
                      <a:pt x="258" y="234"/>
                      <a:pt x="265" y="235"/>
                      <a:pt x="265" y="235"/>
                    </a:cubicBezTo>
                    <a:cubicBezTo>
                      <a:pt x="265" y="235"/>
                      <a:pt x="274" y="220"/>
                      <a:pt x="275" y="204"/>
                    </a:cubicBezTo>
                    <a:cubicBezTo>
                      <a:pt x="277" y="188"/>
                      <a:pt x="270" y="166"/>
                      <a:pt x="284" y="165"/>
                    </a:cubicBezTo>
                    <a:cubicBezTo>
                      <a:pt x="299" y="164"/>
                      <a:pt x="340" y="165"/>
                      <a:pt x="344" y="166"/>
                    </a:cubicBezTo>
                    <a:cubicBezTo>
                      <a:pt x="348" y="166"/>
                      <a:pt x="367" y="183"/>
                      <a:pt x="375" y="190"/>
                    </a:cubicBezTo>
                    <a:cubicBezTo>
                      <a:pt x="374" y="189"/>
                      <a:pt x="374" y="189"/>
                      <a:pt x="374" y="189"/>
                    </a:cubicBezTo>
                    <a:cubicBezTo>
                      <a:pt x="387" y="186"/>
                      <a:pt x="387" y="186"/>
                      <a:pt x="387" y="186"/>
                    </a:cubicBezTo>
                    <a:cubicBezTo>
                      <a:pt x="378" y="144"/>
                      <a:pt x="378" y="144"/>
                      <a:pt x="378" y="144"/>
                    </a:cubicBezTo>
                    <a:cubicBezTo>
                      <a:pt x="378" y="144"/>
                      <a:pt x="393" y="160"/>
                      <a:pt x="402" y="162"/>
                    </a:cubicBezTo>
                    <a:cubicBezTo>
                      <a:pt x="412" y="163"/>
                      <a:pt x="427" y="160"/>
                      <a:pt x="427" y="160"/>
                    </a:cubicBezTo>
                    <a:cubicBezTo>
                      <a:pt x="427" y="160"/>
                      <a:pt x="402" y="136"/>
                      <a:pt x="408" y="126"/>
                    </a:cubicBezTo>
                    <a:cubicBezTo>
                      <a:pt x="413" y="115"/>
                      <a:pt x="444" y="131"/>
                      <a:pt x="444" y="13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4" name="Freeform 361">
                <a:extLst>
                  <a:ext uri="{FF2B5EF4-FFF2-40B4-BE49-F238E27FC236}">
                    <a16:creationId xmlns:a16="http://schemas.microsoft.com/office/drawing/2014/main" id="{7E4B3B4D-65E1-74FE-5414-80B0BE623A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37" y="-10684"/>
                <a:ext cx="142" cy="211"/>
              </a:xfrm>
              <a:custGeom>
                <a:avLst/>
                <a:gdLst>
                  <a:gd name="T0" fmla="*/ 25 w 60"/>
                  <a:gd name="T1" fmla="*/ 89 h 89"/>
                  <a:gd name="T2" fmla="*/ 36 w 60"/>
                  <a:gd name="T3" fmla="*/ 81 h 89"/>
                  <a:gd name="T4" fmla="*/ 36 w 60"/>
                  <a:gd name="T5" fmla="*/ 49 h 89"/>
                  <a:gd name="T6" fmla="*/ 49 w 60"/>
                  <a:gd name="T7" fmla="*/ 69 h 89"/>
                  <a:gd name="T8" fmla="*/ 60 w 60"/>
                  <a:gd name="T9" fmla="*/ 75 h 89"/>
                  <a:gd name="T10" fmla="*/ 30 w 60"/>
                  <a:gd name="T11" fmla="*/ 0 h 89"/>
                  <a:gd name="T12" fmla="*/ 21 w 60"/>
                  <a:gd name="T13" fmla="*/ 34 h 89"/>
                  <a:gd name="T14" fmla="*/ 0 w 60"/>
                  <a:gd name="T15" fmla="*/ 58 h 89"/>
                  <a:gd name="T16" fmla="*/ 8 w 60"/>
                  <a:gd name="T17" fmla="*/ 64 h 89"/>
                  <a:gd name="T18" fmla="*/ 25 w 60"/>
                  <a:gd name="T19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89">
                    <a:moveTo>
                      <a:pt x="25" y="89"/>
                    </a:moveTo>
                    <a:cubicBezTo>
                      <a:pt x="25" y="89"/>
                      <a:pt x="35" y="88"/>
                      <a:pt x="36" y="81"/>
                    </a:cubicBezTo>
                    <a:cubicBezTo>
                      <a:pt x="37" y="73"/>
                      <a:pt x="36" y="49"/>
                      <a:pt x="36" y="49"/>
                    </a:cubicBezTo>
                    <a:cubicBezTo>
                      <a:pt x="49" y="69"/>
                      <a:pt x="49" y="69"/>
                      <a:pt x="49" y="69"/>
                    </a:cubicBezTo>
                    <a:cubicBezTo>
                      <a:pt x="60" y="75"/>
                      <a:pt x="60" y="75"/>
                      <a:pt x="60" y="75"/>
                    </a:cubicBezTo>
                    <a:cubicBezTo>
                      <a:pt x="60" y="75"/>
                      <a:pt x="53" y="18"/>
                      <a:pt x="30" y="0"/>
                    </a:cubicBezTo>
                    <a:cubicBezTo>
                      <a:pt x="22" y="8"/>
                      <a:pt x="21" y="34"/>
                      <a:pt x="21" y="34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8" y="64"/>
                      <a:pt x="8" y="64"/>
                      <a:pt x="8" y="64"/>
                    </a:cubicBezTo>
                    <a:lnTo>
                      <a:pt x="25" y="8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tx2">
                    <a:lumMod val="7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930EE7D2-2886-102D-4AA0-9D6A8F190C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0803" r="44412" b="34492"/>
            <a:stretch/>
          </p:blipFill>
          <p:spPr>
            <a:xfrm>
              <a:off x="2602830" y="4069184"/>
              <a:ext cx="117557" cy="225453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846A94AF-F5B0-3D6E-1BB9-EB76BF509857}"/>
              </a:ext>
            </a:extLst>
          </p:cNvPr>
          <p:cNvGrpSpPr/>
          <p:nvPr/>
        </p:nvGrpSpPr>
        <p:grpSpPr>
          <a:xfrm>
            <a:off x="7078620" y="5191835"/>
            <a:ext cx="4016830" cy="523220"/>
            <a:chOff x="5656543" y="5482059"/>
            <a:chExt cx="4016830" cy="523220"/>
          </a:xfrm>
        </p:grpSpPr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37C925FC-1FCB-4205-CAAF-75681FA10710}"/>
                </a:ext>
              </a:extLst>
            </p:cNvPr>
            <p:cNvGrpSpPr/>
            <p:nvPr/>
          </p:nvGrpSpPr>
          <p:grpSpPr>
            <a:xfrm>
              <a:off x="5656543" y="5482059"/>
              <a:ext cx="2260504" cy="307777"/>
              <a:chOff x="6659044" y="4029017"/>
              <a:chExt cx="2260504" cy="307777"/>
            </a:xfrm>
          </p:grpSpPr>
          <p:sp>
            <p:nvSpPr>
              <p:cNvPr id="188" name="TextBox 187">
                <a:extLst>
                  <a:ext uri="{FF2B5EF4-FFF2-40B4-BE49-F238E27FC236}">
                    <a16:creationId xmlns:a16="http://schemas.microsoft.com/office/drawing/2014/main" id="{7BA3AD1B-85AC-AC93-9C54-CE79E11D2A9C}"/>
                  </a:ext>
                </a:extLst>
              </p:cNvPr>
              <p:cNvSpPr txBox="1"/>
              <p:nvPr/>
            </p:nvSpPr>
            <p:spPr>
              <a:xfrm>
                <a:off x="6864827" y="4029017"/>
                <a:ext cx="1848938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400" dirty="0">
                    <a:solidFill>
                      <a:schemeClr val="bg1"/>
                    </a:solidFill>
                    <a:effectLst/>
                    <a:latin typeface="EYInterstate Light" panose="020005060000000200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Член </a:t>
                </a:r>
                <a:r>
                  <a:rPr lang="en-US" sz="1400" dirty="0">
                    <a:solidFill>
                      <a:schemeClr val="bg1"/>
                    </a:solidFill>
                    <a:effectLst/>
                    <a:latin typeface="EYInterstate Light" panose="020005060000000200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IOSCO</a:t>
                </a:r>
              </a:p>
            </p:txBody>
          </p:sp>
          <p:sp>
            <p:nvSpPr>
              <p:cNvPr id="189" name="Rectangle 188">
                <a:extLst>
                  <a:ext uri="{FF2B5EF4-FFF2-40B4-BE49-F238E27FC236}">
                    <a16:creationId xmlns:a16="http://schemas.microsoft.com/office/drawing/2014/main" id="{EEF2D3F2-31AE-542B-A2E8-CE02963F68C4}"/>
                  </a:ext>
                </a:extLst>
              </p:cNvPr>
              <p:cNvSpPr/>
              <p:nvPr/>
            </p:nvSpPr>
            <p:spPr>
              <a:xfrm>
                <a:off x="8711516" y="4118273"/>
                <a:ext cx="208032" cy="125098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FB8C0FA2-3CA7-C65A-1DC5-24981886D3AD}"/>
                  </a:ext>
                </a:extLst>
              </p:cNvPr>
              <p:cNvSpPr/>
              <p:nvPr/>
            </p:nvSpPr>
            <p:spPr>
              <a:xfrm>
                <a:off x="6659044" y="4121842"/>
                <a:ext cx="208032" cy="125098"/>
              </a:xfrm>
              <a:prstGeom prst="rect">
                <a:avLst/>
              </a:prstGeom>
              <a:solidFill>
                <a:srgbClr val="FFE6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257EDC58-7FEB-48F2-D59C-804D961C6ADF}"/>
                </a:ext>
              </a:extLst>
            </p:cNvPr>
            <p:cNvSpPr txBox="1"/>
            <p:nvPr/>
          </p:nvSpPr>
          <p:spPr>
            <a:xfrm>
              <a:off x="7898313" y="5482059"/>
              <a:ext cx="177506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400" dirty="0">
                  <a:solidFill>
                    <a:schemeClr val="bg1"/>
                  </a:solidFill>
                  <a:latin typeface="EYInterstate Light" panose="02000506000000020004" pitchFamily="2" charset="0"/>
                  <a:cs typeface="Arial" panose="020B0604020202020204" pitchFamily="34" charset="0"/>
                </a:rPr>
                <a:t>Не является членом </a:t>
              </a:r>
              <a:r>
                <a:rPr lang="en-US" sz="1400" dirty="0">
                  <a:solidFill>
                    <a:schemeClr val="bg1"/>
                  </a:solidFill>
                  <a:latin typeface="EYInterstate Light" panose="02000506000000020004" pitchFamily="2" charset="0"/>
                  <a:cs typeface="Arial" panose="020B0604020202020204" pitchFamily="34" charset="0"/>
                </a:rPr>
                <a:t>IOSCO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66290B75-6DD2-4984-214A-74C9E6D88702}"/>
              </a:ext>
            </a:extLst>
          </p:cNvPr>
          <p:cNvGrpSpPr/>
          <p:nvPr/>
        </p:nvGrpSpPr>
        <p:grpSpPr>
          <a:xfrm>
            <a:off x="795987" y="4926456"/>
            <a:ext cx="5428432" cy="1110782"/>
            <a:chOff x="7298786" y="3646176"/>
            <a:chExt cx="4289641" cy="1956909"/>
          </a:xfrm>
        </p:grpSpPr>
        <p:sp>
          <p:nvSpPr>
            <p:cNvPr id="192" name="Freeform 30">
              <a:extLst>
                <a:ext uri="{FF2B5EF4-FFF2-40B4-BE49-F238E27FC236}">
                  <a16:creationId xmlns:a16="http://schemas.microsoft.com/office/drawing/2014/main" id="{A8100372-BB17-E7E7-37D8-68EB6DDBB80E}"/>
                </a:ext>
              </a:extLst>
            </p:cNvPr>
            <p:cNvSpPr/>
            <p:nvPr/>
          </p:nvSpPr>
          <p:spPr>
            <a:xfrm rot="10800000">
              <a:off x="7298786" y="3646176"/>
              <a:ext cx="4289641" cy="1956909"/>
            </a:xfrm>
            <a:custGeom>
              <a:avLst/>
              <a:gdLst>
                <a:gd name="connsiteX0" fmla="*/ 4238387 w 4257675"/>
                <a:gd name="connsiteY0" fmla="*/ 0 h 3092804"/>
                <a:gd name="connsiteX1" fmla="*/ 4257675 w 4257675"/>
                <a:gd name="connsiteY1" fmla="*/ 0 h 3092804"/>
                <a:gd name="connsiteX2" fmla="*/ 4257675 w 4257675"/>
                <a:gd name="connsiteY2" fmla="*/ 3092804 h 3092804"/>
                <a:gd name="connsiteX3" fmla="*/ 0 w 4257675"/>
                <a:gd name="connsiteY3" fmla="*/ 3092804 h 3092804"/>
                <a:gd name="connsiteX4" fmla="*/ 0 w 4257675"/>
                <a:gd name="connsiteY4" fmla="*/ 747342 h 3092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7675" h="3092804">
                  <a:moveTo>
                    <a:pt x="4238387" y="0"/>
                  </a:moveTo>
                  <a:lnTo>
                    <a:pt x="4257675" y="0"/>
                  </a:lnTo>
                  <a:lnTo>
                    <a:pt x="4257675" y="3092804"/>
                  </a:lnTo>
                  <a:lnTo>
                    <a:pt x="0" y="3092804"/>
                  </a:lnTo>
                  <a:lnTo>
                    <a:pt x="0" y="747342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br>
                <a:rPr lang="en-IN" sz="2000" b="1" dirty="0">
                  <a:solidFill>
                    <a:srgbClr val="2E2E38"/>
                  </a:solidFill>
                  <a:latin typeface="EYInterstate Light" panose="02000506000000020004" pitchFamily="2" charset="0"/>
                </a:rPr>
              </a:br>
              <a:br>
                <a:rPr lang="en-IN" sz="2000" b="1" dirty="0">
                  <a:solidFill>
                    <a:srgbClr val="2E2E38"/>
                  </a:solidFill>
                  <a:latin typeface="EYInterstate Light" panose="02000506000000020004" pitchFamily="2" charset="0"/>
                </a:rPr>
              </a:br>
              <a:endParaRPr lang="de-DE" sz="2000" dirty="0">
                <a:solidFill>
                  <a:schemeClr val="tx1"/>
                </a:solidFill>
              </a:endParaRPr>
            </a:p>
          </p:txBody>
        </p:sp>
        <p:sp>
          <p:nvSpPr>
            <p:cNvPr id="193" name="Content Placeholder 2">
              <a:extLst>
                <a:ext uri="{FF2B5EF4-FFF2-40B4-BE49-F238E27FC236}">
                  <a16:creationId xmlns:a16="http://schemas.microsoft.com/office/drawing/2014/main" id="{B3ADF6DD-8AA6-5E20-9EDF-0A60AB1BE9FD}"/>
                </a:ext>
              </a:extLst>
            </p:cNvPr>
            <p:cNvSpPr txBox="1">
              <a:spLocks/>
            </p:cNvSpPr>
            <p:nvPr/>
          </p:nvSpPr>
          <p:spPr>
            <a:xfrm>
              <a:off x="7401505" y="3882638"/>
              <a:ext cx="4044515" cy="1301026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356616" indent="-356616" algn="l" defTabSz="914400" rtl="0" eaLnBrk="1" latinLnBrk="0" hangingPunct="1">
                <a:spcBef>
                  <a:spcPct val="20000"/>
                </a:spcBef>
                <a:buClr>
                  <a:schemeClr val="tx2"/>
                </a:buClr>
                <a:buSzPct val="110000"/>
                <a:buFont typeface="EYInterstate Light" panose="02000506000000020004" pitchFamily="2" charset="0"/>
                <a:buChar char="•"/>
                <a:defRPr sz="2000" kern="1200">
                  <a:solidFill>
                    <a:schemeClr val="bg1"/>
                  </a:solidFill>
                  <a:latin typeface="EYInterstate Light" panose="02000506000000020004" pitchFamily="2" charset="0"/>
                  <a:ea typeface="+mn-ea"/>
                  <a:cs typeface="+mn-cs"/>
                </a:defRPr>
              </a:lvl1pPr>
              <a:lvl2pPr marL="713232" indent="-356616" algn="l" defTabSz="914400" rtl="0" eaLnBrk="1" latinLnBrk="0" hangingPunct="1">
                <a:spcBef>
                  <a:spcPct val="20000"/>
                </a:spcBef>
                <a:buClr>
                  <a:schemeClr val="tx2"/>
                </a:buClr>
                <a:buSzPct val="110000"/>
                <a:buFont typeface="EYInterstate Light" panose="02000506000000020004" pitchFamily="2" charset="0"/>
                <a:buChar char="•"/>
                <a:defRPr sz="1800" kern="1200">
                  <a:solidFill>
                    <a:schemeClr val="bg1"/>
                  </a:solidFill>
                  <a:latin typeface="EYInterstate Light" panose="02000506000000020004" pitchFamily="2" charset="0"/>
                  <a:ea typeface="+mn-ea"/>
                  <a:cs typeface="+mn-cs"/>
                </a:defRPr>
              </a:lvl2pPr>
              <a:lvl3pPr marL="1069848" indent="-356616" algn="l" defTabSz="914400" rtl="0" eaLnBrk="1" latinLnBrk="0" hangingPunct="1">
                <a:spcBef>
                  <a:spcPct val="20000"/>
                </a:spcBef>
                <a:buClr>
                  <a:schemeClr val="tx2"/>
                </a:buClr>
                <a:buSzPct val="110000"/>
                <a:buFont typeface="EYInterstate Light" panose="02000506000000020004" pitchFamily="2" charset="0"/>
                <a:buChar char="•"/>
                <a:defRPr sz="1600" kern="1200">
                  <a:solidFill>
                    <a:schemeClr val="bg1"/>
                  </a:solidFill>
                  <a:latin typeface="EYInterstate Light" panose="02000506000000020004" pitchFamily="2" charset="0"/>
                  <a:ea typeface="+mn-ea"/>
                  <a:cs typeface="+mn-cs"/>
                </a:defRPr>
              </a:lvl3pPr>
              <a:lvl4pPr marL="1426464" indent="-356616" algn="l" defTabSz="914400" rtl="0" eaLnBrk="1" latinLnBrk="0" hangingPunct="1">
                <a:spcBef>
                  <a:spcPct val="20000"/>
                </a:spcBef>
                <a:buClr>
                  <a:schemeClr val="tx2"/>
                </a:buClr>
                <a:buSzPct val="110000"/>
                <a:buFont typeface="EYInterstate Light" panose="02000506000000020004" pitchFamily="2" charset="0"/>
                <a:buChar char="•"/>
                <a:defRPr sz="1400" kern="1200">
                  <a:solidFill>
                    <a:schemeClr val="bg1"/>
                  </a:solidFill>
                  <a:latin typeface="EYInterstate Light" panose="02000506000000020004" pitchFamily="2" charset="0"/>
                  <a:ea typeface="+mn-ea"/>
                  <a:cs typeface="+mn-cs"/>
                </a:defRPr>
              </a:lvl4pPr>
              <a:lvl5pPr marL="1783080" indent="-356616" algn="l" defTabSz="914400" rtl="0" eaLnBrk="1" latinLnBrk="0" hangingPunct="1">
                <a:spcBef>
                  <a:spcPct val="20000"/>
                </a:spcBef>
                <a:buClr>
                  <a:schemeClr val="tx2"/>
                </a:buClr>
                <a:buSzPct val="110000"/>
                <a:buFont typeface="EYInterstate Light" panose="02000506000000020004" pitchFamily="2" charset="0"/>
                <a:buChar char="•"/>
                <a:defRPr sz="1200" kern="1200">
                  <a:solidFill>
                    <a:schemeClr val="bg1"/>
                  </a:solidFill>
                  <a:latin typeface="EYInterstate Light" panose="02000506000000020004" pitchFamily="2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ru-RU" b="1" dirty="0">
                  <a:solidFill>
                    <a:schemeClr val="tx1"/>
                  </a:solidFill>
                </a:rPr>
                <a:t>Ключевые мировые рынки поддерживают применение МСФО S1/S2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5483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1BE043-C0CC-E0C9-2911-BE56890AC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 </a:t>
            </a:r>
            <a:r>
              <a:rPr lang="ru-RU" dirty="0"/>
              <a:t>поддерживают внедрение МСФО S1/S2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3A9EBE9-A498-ED08-9347-4CA4C6A3B6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F502FB-569A-4DDF-B3BB-6DA966FA8F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4587D6-0078-FFFD-6C35-FD53DEE6BA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11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D0B2DF3-E17C-5DF2-1CFB-33929EB5CDB6}"/>
              </a:ext>
            </a:extLst>
          </p:cNvPr>
          <p:cNvSpPr txBox="1">
            <a:spLocks/>
          </p:cNvSpPr>
          <p:nvPr/>
        </p:nvSpPr>
        <p:spPr>
          <a:xfrm>
            <a:off x="610001" y="1006568"/>
            <a:ext cx="4739687" cy="4947920"/>
          </a:xfrm>
          <a:prstGeom prst="rect">
            <a:avLst/>
          </a:prstGeom>
        </p:spPr>
        <p:txBody>
          <a:bodyPr/>
          <a:lstStyle>
            <a:lvl1pPr marL="252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Font typeface="Wingdings" pitchFamily="2" charset="2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ru-RU" sz="1600" dirty="0"/>
              <a:t>Глобальная инициатива «Принципы ответственного инвестирования» </a:t>
            </a:r>
            <a:r>
              <a:rPr lang="en-US" sz="1600" dirty="0"/>
              <a:t>(PRI) </a:t>
            </a:r>
            <a:r>
              <a:rPr lang="ru-RU" sz="1600" dirty="0"/>
              <a:t>призывает государства сделать МСФО </a:t>
            </a:r>
            <a:r>
              <a:rPr lang="en-US" sz="1600" dirty="0"/>
              <a:t>S1/S2 </a:t>
            </a:r>
            <a:r>
              <a:rPr lang="ru-RU" sz="1600" dirty="0"/>
              <a:t>обязательными</a:t>
            </a:r>
            <a:r>
              <a:rPr lang="ru-RU" sz="1600" u="sng" dirty="0"/>
              <a:t> в период 2024-2025 гг.</a:t>
            </a:r>
            <a:r>
              <a:rPr lang="ru-RU" sz="1600" dirty="0"/>
              <a:t> </a:t>
            </a:r>
          </a:p>
          <a:p>
            <a:pPr>
              <a:spcBef>
                <a:spcPts val="1200"/>
              </a:spcBef>
            </a:pPr>
            <a:r>
              <a:rPr lang="ru-RU" sz="1600" dirty="0"/>
              <a:t>Инвестиционные и пенсионные фонды, управляющие активами, страховые компании и другие участники финансовых и инвестиционных рынков из почти 100 стран мира, среди которых и АО «</a:t>
            </a:r>
            <a:r>
              <a:rPr lang="en-US" sz="1600" dirty="0"/>
              <a:t>Qazaqstan Investment Corporation»</a:t>
            </a:r>
            <a:r>
              <a:rPr lang="ru-RU" sz="1600" dirty="0"/>
              <a:t>, являются членами PRI.</a:t>
            </a:r>
          </a:p>
          <a:p>
            <a:pPr lvl="1">
              <a:spcBef>
                <a:spcPts val="1200"/>
              </a:spcBef>
            </a:pPr>
            <a:r>
              <a:rPr lang="en-US" sz="1400" dirty="0"/>
              <a:t>PRI </a:t>
            </a:r>
            <a:r>
              <a:rPr lang="ru-RU" sz="1400" dirty="0"/>
              <a:t>легли в основу Концепции инвестиционной политики Республики Казахстан до 2026 года и Политики устойчивого развития </a:t>
            </a:r>
            <a:r>
              <a:rPr lang="en-US" sz="1400" dirty="0"/>
              <a:t>KASE</a:t>
            </a:r>
            <a:r>
              <a:rPr lang="ru-RU" sz="1400" dirty="0"/>
              <a:t>.</a:t>
            </a:r>
            <a:endParaRPr lang="en-US" sz="1400" dirty="0"/>
          </a:p>
        </p:txBody>
      </p:sp>
      <p:grpSp>
        <p:nvGrpSpPr>
          <p:cNvPr id="7" name="Group 362">
            <a:extLst>
              <a:ext uri="{FF2B5EF4-FFF2-40B4-BE49-F238E27FC236}">
                <a16:creationId xmlns:a16="http://schemas.microsoft.com/office/drawing/2014/main" id="{A058F52D-6675-1063-90D6-51C791EE102E}"/>
              </a:ext>
            </a:extLst>
          </p:cNvPr>
          <p:cNvGrpSpPr>
            <a:grpSpLocks/>
          </p:cNvGrpSpPr>
          <p:nvPr/>
        </p:nvGrpSpPr>
        <p:grpSpPr bwMode="gray">
          <a:xfrm>
            <a:off x="4789668" y="1722695"/>
            <a:ext cx="7164754" cy="3690468"/>
            <a:chOff x="-22397" y="-19887"/>
            <a:chExt cx="34671" cy="16911"/>
          </a:xfrm>
          <a:solidFill>
            <a:schemeClr val="tx2"/>
          </a:solidFill>
          <a:effectLst>
            <a:outerShdw blurRad="127000" dist="25400" dir="2700000" algn="tl" rotWithShape="0">
              <a:prstClr val="black">
                <a:alpha val="30000"/>
              </a:prstClr>
            </a:outerShdw>
          </a:effectLst>
        </p:grpSpPr>
        <p:sp>
          <p:nvSpPr>
            <p:cNvPr id="8" name="Freeform 188">
              <a:extLst>
                <a:ext uri="{FF2B5EF4-FFF2-40B4-BE49-F238E27FC236}">
                  <a16:creationId xmlns:a16="http://schemas.microsoft.com/office/drawing/2014/main" id="{74A2BAF3-275E-A9E9-B318-02D73667811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758" y="-8428"/>
              <a:ext cx="966" cy="1763"/>
            </a:xfrm>
            <a:custGeom>
              <a:avLst/>
              <a:gdLst>
                <a:gd name="T0" fmla="*/ 88 w 409"/>
                <a:gd name="T1" fmla="*/ 219 h 746"/>
                <a:gd name="T2" fmla="*/ 104 w 409"/>
                <a:gd name="T3" fmla="*/ 214 h 746"/>
                <a:gd name="T4" fmla="*/ 134 w 409"/>
                <a:gd name="T5" fmla="*/ 218 h 746"/>
                <a:gd name="T6" fmla="*/ 134 w 409"/>
                <a:gd name="T7" fmla="*/ 202 h 746"/>
                <a:gd name="T8" fmla="*/ 173 w 409"/>
                <a:gd name="T9" fmla="*/ 207 h 746"/>
                <a:gd name="T10" fmla="*/ 186 w 409"/>
                <a:gd name="T11" fmla="*/ 188 h 746"/>
                <a:gd name="T12" fmla="*/ 216 w 409"/>
                <a:gd name="T13" fmla="*/ 193 h 746"/>
                <a:gd name="T14" fmla="*/ 214 w 409"/>
                <a:gd name="T15" fmla="*/ 172 h 746"/>
                <a:gd name="T16" fmla="*/ 223 w 409"/>
                <a:gd name="T17" fmla="*/ 150 h 746"/>
                <a:gd name="T18" fmla="*/ 225 w 409"/>
                <a:gd name="T19" fmla="*/ 172 h 746"/>
                <a:gd name="T20" fmla="*/ 230 w 409"/>
                <a:gd name="T21" fmla="*/ 186 h 746"/>
                <a:gd name="T22" fmla="*/ 239 w 409"/>
                <a:gd name="T23" fmla="*/ 159 h 746"/>
                <a:gd name="T24" fmla="*/ 244 w 409"/>
                <a:gd name="T25" fmla="*/ 124 h 746"/>
                <a:gd name="T26" fmla="*/ 255 w 409"/>
                <a:gd name="T27" fmla="*/ 138 h 746"/>
                <a:gd name="T28" fmla="*/ 269 w 409"/>
                <a:gd name="T29" fmla="*/ 126 h 746"/>
                <a:gd name="T30" fmla="*/ 271 w 409"/>
                <a:gd name="T31" fmla="*/ 88 h 746"/>
                <a:gd name="T32" fmla="*/ 288 w 409"/>
                <a:gd name="T33" fmla="*/ 88 h 746"/>
                <a:gd name="T34" fmla="*/ 312 w 409"/>
                <a:gd name="T35" fmla="*/ 62 h 746"/>
                <a:gd name="T36" fmla="*/ 315 w 409"/>
                <a:gd name="T37" fmla="*/ 26 h 746"/>
                <a:gd name="T38" fmla="*/ 336 w 409"/>
                <a:gd name="T39" fmla="*/ 0 h 746"/>
                <a:gd name="T40" fmla="*/ 372 w 409"/>
                <a:gd name="T41" fmla="*/ 41 h 746"/>
                <a:gd name="T42" fmla="*/ 372 w 409"/>
                <a:gd name="T43" fmla="*/ 56 h 746"/>
                <a:gd name="T44" fmla="*/ 395 w 409"/>
                <a:gd name="T45" fmla="*/ 110 h 746"/>
                <a:gd name="T46" fmla="*/ 382 w 409"/>
                <a:gd name="T47" fmla="*/ 143 h 746"/>
                <a:gd name="T48" fmla="*/ 402 w 409"/>
                <a:gd name="T49" fmla="*/ 193 h 746"/>
                <a:gd name="T50" fmla="*/ 375 w 409"/>
                <a:gd name="T51" fmla="*/ 188 h 746"/>
                <a:gd name="T52" fmla="*/ 354 w 409"/>
                <a:gd name="T53" fmla="*/ 193 h 746"/>
                <a:gd name="T54" fmla="*/ 358 w 409"/>
                <a:gd name="T55" fmla="*/ 221 h 746"/>
                <a:gd name="T56" fmla="*/ 333 w 409"/>
                <a:gd name="T57" fmla="*/ 259 h 746"/>
                <a:gd name="T58" fmla="*/ 338 w 409"/>
                <a:gd name="T59" fmla="*/ 312 h 746"/>
                <a:gd name="T60" fmla="*/ 267 w 409"/>
                <a:gd name="T61" fmla="*/ 478 h 746"/>
                <a:gd name="T62" fmla="*/ 211 w 409"/>
                <a:gd name="T63" fmla="*/ 609 h 746"/>
                <a:gd name="T64" fmla="*/ 189 w 409"/>
                <a:gd name="T65" fmla="*/ 676 h 746"/>
                <a:gd name="T66" fmla="*/ 149 w 409"/>
                <a:gd name="T67" fmla="*/ 712 h 746"/>
                <a:gd name="T68" fmla="*/ 133 w 409"/>
                <a:gd name="T69" fmla="*/ 710 h 746"/>
                <a:gd name="T70" fmla="*/ 60 w 409"/>
                <a:gd name="T71" fmla="*/ 717 h 746"/>
                <a:gd name="T72" fmla="*/ 28 w 409"/>
                <a:gd name="T73" fmla="*/ 675 h 746"/>
                <a:gd name="T74" fmla="*/ 41 w 409"/>
                <a:gd name="T75" fmla="*/ 659 h 746"/>
                <a:gd name="T76" fmla="*/ 5 w 409"/>
                <a:gd name="T77" fmla="*/ 556 h 746"/>
                <a:gd name="T78" fmla="*/ 39 w 409"/>
                <a:gd name="T79" fmla="*/ 473 h 746"/>
                <a:gd name="T80" fmla="*/ 79 w 409"/>
                <a:gd name="T81" fmla="*/ 436 h 746"/>
                <a:gd name="T82" fmla="*/ 71 w 409"/>
                <a:gd name="T83" fmla="*/ 349 h 746"/>
                <a:gd name="T84" fmla="*/ 67 w 409"/>
                <a:gd name="T85" fmla="*/ 271 h 746"/>
                <a:gd name="T86" fmla="*/ 94 w 409"/>
                <a:gd name="T87" fmla="*/ 239 h 746"/>
                <a:gd name="T88" fmla="*/ 88 w 409"/>
                <a:gd name="T89" fmla="*/ 219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9" h="746">
                  <a:moveTo>
                    <a:pt x="88" y="219"/>
                  </a:moveTo>
                  <a:cubicBezTo>
                    <a:pt x="104" y="214"/>
                    <a:pt x="104" y="214"/>
                    <a:pt x="104" y="214"/>
                  </a:cubicBezTo>
                  <a:cubicBezTo>
                    <a:pt x="134" y="218"/>
                    <a:pt x="134" y="218"/>
                    <a:pt x="134" y="218"/>
                  </a:cubicBezTo>
                  <a:cubicBezTo>
                    <a:pt x="134" y="202"/>
                    <a:pt x="134" y="202"/>
                    <a:pt x="134" y="202"/>
                  </a:cubicBezTo>
                  <a:cubicBezTo>
                    <a:pt x="173" y="207"/>
                    <a:pt x="173" y="207"/>
                    <a:pt x="173" y="207"/>
                  </a:cubicBezTo>
                  <a:cubicBezTo>
                    <a:pt x="186" y="188"/>
                    <a:pt x="186" y="188"/>
                    <a:pt x="186" y="188"/>
                  </a:cubicBezTo>
                  <a:cubicBezTo>
                    <a:pt x="216" y="193"/>
                    <a:pt x="216" y="193"/>
                    <a:pt x="216" y="193"/>
                  </a:cubicBezTo>
                  <a:cubicBezTo>
                    <a:pt x="214" y="172"/>
                    <a:pt x="214" y="172"/>
                    <a:pt x="214" y="172"/>
                  </a:cubicBezTo>
                  <a:cubicBezTo>
                    <a:pt x="223" y="150"/>
                    <a:pt x="223" y="150"/>
                    <a:pt x="223" y="150"/>
                  </a:cubicBezTo>
                  <a:cubicBezTo>
                    <a:pt x="225" y="172"/>
                    <a:pt x="225" y="172"/>
                    <a:pt x="225" y="172"/>
                  </a:cubicBezTo>
                  <a:cubicBezTo>
                    <a:pt x="230" y="186"/>
                    <a:pt x="230" y="186"/>
                    <a:pt x="230" y="186"/>
                  </a:cubicBezTo>
                  <a:cubicBezTo>
                    <a:pt x="239" y="159"/>
                    <a:pt x="239" y="159"/>
                    <a:pt x="239" y="159"/>
                  </a:cubicBezTo>
                  <a:cubicBezTo>
                    <a:pt x="239" y="159"/>
                    <a:pt x="237" y="129"/>
                    <a:pt x="244" y="124"/>
                  </a:cubicBezTo>
                  <a:cubicBezTo>
                    <a:pt x="251" y="118"/>
                    <a:pt x="255" y="138"/>
                    <a:pt x="255" y="138"/>
                  </a:cubicBezTo>
                  <a:cubicBezTo>
                    <a:pt x="255" y="138"/>
                    <a:pt x="260" y="136"/>
                    <a:pt x="269" y="126"/>
                  </a:cubicBezTo>
                  <a:cubicBezTo>
                    <a:pt x="278" y="115"/>
                    <a:pt x="264" y="95"/>
                    <a:pt x="271" y="88"/>
                  </a:cubicBezTo>
                  <a:cubicBezTo>
                    <a:pt x="278" y="81"/>
                    <a:pt x="288" y="88"/>
                    <a:pt x="288" y="88"/>
                  </a:cubicBezTo>
                  <a:cubicBezTo>
                    <a:pt x="288" y="88"/>
                    <a:pt x="306" y="74"/>
                    <a:pt x="312" y="62"/>
                  </a:cubicBezTo>
                  <a:cubicBezTo>
                    <a:pt x="317" y="49"/>
                    <a:pt x="315" y="26"/>
                    <a:pt x="315" y="26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372" y="41"/>
                    <a:pt x="372" y="41"/>
                    <a:pt x="372" y="41"/>
                  </a:cubicBezTo>
                  <a:cubicBezTo>
                    <a:pt x="372" y="41"/>
                    <a:pt x="372" y="51"/>
                    <a:pt x="372" y="56"/>
                  </a:cubicBezTo>
                  <a:cubicBezTo>
                    <a:pt x="372" y="62"/>
                    <a:pt x="395" y="110"/>
                    <a:pt x="395" y="110"/>
                  </a:cubicBezTo>
                  <a:cubicBezTo>
                    <a:pt x="382" y="143"/>
                    <a:pt x="382" y="143"/>
                    <a:pt x="382" y="143"/>
                  </a:cubicBezTo>
                  <a:cubicBezTo>
                    <a:pt x="382" y="143"/>
                    <a:pt x="409" y="188"/>
                    <a:pt x="402" y="193"/>
                  </a:cubicBezTo>
                  <a:cubicBezTo>
                    <a:pt x="395" y="198"/>
                    <a:pt x="375" y="188"/>
                    <a:pt x="375" y="188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8" y="221"/>
                    <a:pt x="358" y="221"/>
                    <a:pt x="358" y="221"/>
                  </a:cubicBezTo>
                  <a:cubicBezTo>
                    <a:pt x="358" y="221"/>
                    <a:pt x="335" y="245"/>
                    <a:pt x="333" y="259"/>
                  </a:cubicBezTo>
                  <a:cubicBezTo>
                    <a:pt x="331" y="273"/>
                    <a:pt x="345" y="287"/>
                    <a:pt x="338" y="312"/>
                  </a:cubicBezTo>
                  <a:cubicBezTo>
                    <a:pt x="331" y="336"/>
                    <a:pt x="306" y="409"/>
                    <a:pt x="267" y="478"/>
                  </a:cubicBezTo>
                  <a:cubicBezTo>
                    <a:pt x="228" y="547"/>
                    <a:pt x="211" y="609"/>
                    <a:pt x="211" y="609"/>
                  </a:cubicBezTo>
                  <a:cubicBezTo>
                    <a:pt x="211" y="609"/>
                    <a:pt x="214" y="653"/>
                    <a:pt x="189" y="676"/>
                  </a:cubicBezTo>
                  <a:cubicBezTo>
                    <a:pt x="165" y="699"/>
                    <a:pt x="156" y="708"/>
                    <a:pt x="149" y="712"/>
                  </a:cubicBezTo>
                  <a:cubicBezTo>
                    <a:pt x="141" y="715"/>
                    <a:pt x="133" y="710"/>
                    <a:pt x="133" y="710"/>
                  </a:cubicBezTo>
                  <a:cubicBezTo>
                    <a:pt x="133" y="710"/>
                    <a:pt x="90" y="746"/>
                    <a:pt x="60" y="717"/>
                  </a:cubicBezTo>
                  <a:cubicBezTo>
                    <a:pt x="30" y="689"/>
                    <a:pt x="28" y="675"/>
                    <a:pt x="28" y="675"/>
                  </a:cubicBezTo>
                  <a:cubicBezTo>
                    <a:pt x="41" y="659"/>
                    <a:pt x="41" y="659"/>
                    <a:pt x="41" y="659"/>
                  </a:cubicBezTo>
                  <a:cubicBezTo>
                    <a:pt x="41" y="659"/>
                    <a:pt x="10" y="622"/>
                    <a:pt x="5" y="556"/>
                  </a:cubicBezTo>
                  <a:cubicBezTo>
                    <a:pt x="0" y="490"/>
                    <a:pt x="23" y="492"/>
                    <a:pt x="39" y="473"/>
                  </a:cubicBezTo>
                  <a:cubicBezTo>
                    <a:pt x="55" y="453"/>
                    <a:pt x="79" y="436"/>
                    <a:pt x="79" y="436"/>
                  </a:cubicBezTo>
                  <a:cubicBezTo>
                    <a:pt x="79" y="436"/>
                    <a:pt x="72" y="370"/>
                    <a:pt x="71" y="349"/>
                  </a:cubicBezTo>
                  <a:cubicBezTo>
                    <a:pt x="69" y="327"/>
                    <a:pt x="53" y="283"/>
                    <a:pt x="67" y="271"/>
                  </a:cubicBezTo>
                  <a:cubicBezTo>
                    <a:pt x="81" y="259"/>
                    <a:pt x="94" y="239"/>
                    <a:pt x="94" y="239"/>
                  </a:cubicBezTo>
                  <a:lnTo>
                    <a:pt x="88" y="21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9" name="Freeform 189">
              <a:extLst>
                <a:ext uri="{FF2B5EF4-FFF2-40B4-BE49-F238E27FC236}">
                  <a16:creationId xmlns:a16="http://schemas.microsoft.com/office/drawing/2014/main" id="{161508EC-DA24-060F-EC38-CBA9453F58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5766" y="-12935"/>
              <a:ext cx="1165" cy="437"/>
            </a:xfrm>
            <a:custGeom>
              <a:avLst/>
              <a:gdLst>
                <a:gd name="T0" fmla="*/ 475 w 493"/>
                <a:gd name="T1" fmla="*/ 151 h 185"/>
                <a:gd name="T2" fmla="*/ 445 w 493"/>
                <a:gd name="T3" fmla="*/ 148 h 185"/>
                <a:gd name="T4" fmla="*/ 434 w 493"/>
                <a:gd name="T5" fmla="*/ 129 h 185"/>
                <a:gd name="T6" fmla="*/ 399 w 493"/>
                <a:gd name="T7" fmla="*/ 128 h 185"/>
                <a:gd name="T8" fmla="*/ 416 w 493"/>
                <a:gd name="T9" fmla="*/ 114 h 185"/>
                <a:gd name="T10" fmla="*/ 378 w 493"/>
                <a:gd name="T11" fmla="*/ 106 h 185"/>
                <a:gd name="T12" fmla="*/ 349 w 493"/>
                <a:gd name="T13" fmla="*/ 96 h 185"/>
                <a:gd name="T14" fmla="*/ 351 w 493"/>
                <a:gd name="T15" fmla="*/ 79 h 185"/>
                <a:gd name="T16" fmla="*/ 338 w 493"/>
                <a:gd name="T17" fmla="*/ 77 h 185"/>
                <a:gd name="T18" fmla="*/ 290 w 493"/>
                <a:gd name="T19" fmla="*/ 45 h 185"/>
                <a:gd name="T20" fmla="*/ 300 w 493"/>
                <a:gd name="T21" fmla="*/ 64 h 185"/>
                <a:gd name="T22" fmla="*/ 255 w 493"/>
                <a:gd name="T23" fmla="*/ 42 h 185"/>
                <a:gd name="T24" fmla="*/ 220 w 493"/>
                <a:gd name="T25" fmla="*/ 12 h 185"/>
                <a:gd name="T26" fmla="*/ 180 w 493"/>
                <a:gd name="T27" fmla="*/ 12 h 185"/>
                <a:gd name="T28" fmla="*/ 118 w 493"/>
                <a:gd name="T29" fmla="*/ 0 h 185"/>
                <a:gd name="T30" fmla="*/ 48 w 493"/>
                <a:gd name="T31" fmla="*/ 26 h 185"/>
                <a:gd name="T32" fmla="*/ 0 w 493"/>
                <a:gd name="T33" fmla="*/ 51 h 185"/>
                <a:gd name="T34" fmla="*/ 51 w 493"/>
                <a:gd name="T35" fmla="*/ 49 h 185"/>
                <a:gd name="T36" fmla="*/ 51 w 493"/>
                <a:gd name="T37" fmla="*/ 39 h 185"/>
                <a:gd name="T38" fmla="*/ 102 w 493"/>
                <a:gd name="T39" fmla="*/ 36 h 185"/>
                <a:gd name="T40" fmla="*/ 115 w 493"/>
                <a:gd name="T41" fmla="*/ 29 h 185"/>
                <a:gd name="T42" fmla="*/ 150 w 493"/>
                <a:gd name="T43" fmla="*/ 34 h 185"/>
                <a:gd name="T44" fmla="*/ 126 w 493"/>
                <a:gd name="T45" fmla="*/ 46 h 185"/>
                <a:gd name="T46" fmla="*/ 137 w 493"/>
                <a:gd name="T47" fmla="*/ 54 h 185"/>
                <a:gd name="T48" fmla="*/ 172 w 493"/>
                <a:gd name="T49" fmla="*/ 66 h 185"/>
                <a:gd name="T50" fmla="*/ 188 w 493"/>
                <a:gd name="T51" fmla="*/ 61 h 185"/>
                <a:gd name="T52" fmla="*/ 220 w 493"/>
                <a:gd name="T53" fmla="*/ 81 h 185"/>
                <a:gd name="T54" fmla="*/ 268 w 493"/>
                <a:gd name="T55" fmla="*/ 79 h 185"/>
                <a:gd name="T56" fmla="*/ 263 w 493"/>
                <a:gd name="T57" fmla="*/ 96 h 185"/>
                <a:gd name="T58" fmla="*/ 303 w 493"/>
                <a:gd name="T59" fmla="*/ 113 h 185"/>
                <a:gd name="T60" fmla="*/ 319 w 493"/>
                <a:gd name="T61" fmla="*/ 136 h 185"/>
                <a:gd name="T62" fmla="*/ 335 w 493"/>
                <a:gd name="T63" fmla="*/ 150 h 185"/>
                <a:gd name="T64" fmla="*/ 316 w 493"/>
                <a:gd name="T65" fmla="*/ 172 h 185"/>
                <a:gd name="T66" fmla="*/ 356 w 493"/>
                <a:gd name="T67" fmla="*/ 163 h 185"/>
                <a:gd name="T68" fmla="*/ 367 w 493"/>
                <a:gd name="T69" fmla="*/ 168 h 185"/>
                <a:gd name="T70" fmla="*/ 375 w 493"/>
                <a:gd name="T71" fmla="*/ 180 h 185"/>
                <a:gd name="T72" fmla="*/ 426 w 493"/>
                <a:gd name="T73" fmla="*/ 178 h 185"/>
                <a:gd name="T74" fmla="*/ 493 w 493"/>
                <a:gd name="T75" fmla="*/ 163 h 185"/>
                <a:gd name="T76" fmla="*/ 475 w 493"/>
                <a:gd name="T77" fmla="*/ 151 h 185"/>
                <a:gd name="T78" fmla="*/ 78 w 493"/>
                <a:gd name="T79" fmla="*/ 84 h 185"/>
                <a:gd name="T80" fmla="*/ 104 w 493"/>
                <a:gd name="T81" fmla="*/ 84 h 185"/>
                <a:gd name="T82" fmla="*/ 78 w 493"/>
                <a:gd name="T83" fmla="*/ 84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3" h="185">
                  <a:moveTo>
                    <a:pt x="475" y="151"/>
                  </a:moveTo>
                  <a:cubicBezTo>
                    <a:pt x="456" y="148"/>
                    <a:pt x="445" y="148"/>
                    <a:pt x="445" y="148"/>
                  </a:cubicBezTo>
                  <a:cubicBezTo>
                    <a:pt x="445" y="148"/>
                    <a:pt x="453" y="131"/>
                    <a:pt x="434" y="129"/>
                  </a:cubicBezTo>
                  <a:cubicBezTo>
                    <a:pt x="416" y="126"/>
                    <a:pt x="399" y="128"/>
                    <a:pt x="399" y="128"/>
                  </a:cubicBezTo>
                  <a:cubicBezTo>
                    <a:pt x="416" y="114"/>
                    <a:pt x="416" y="114"/>
                    <a:pt x="416" y="114"/>
                  </a:cubicBezTo>
                  <a:cubicBezTo>
                    <a:pt x="416" y="114"/>
                    <a:pt x="386" y="106"/>
                    <a:pt x="378" y="106"/>
                  </a:cubicBezTo>
                  <a:cubicBezTo>
                    <a:pt x="370" y="106"/>
                    <a:pt x="349" y="96"/>
                    <a:pt x="349" y="96"/>
                  </a:cubicBezTo>
                  <a:cubicBezTo>
                    <a:pt x="349" y="96"/>
                    <a:pt x="359" y="79"/>
                    <a:pt x="351" y="79"/>
                  </a:cubicBezTo>
                  <a:cubicBezTo>
                    <a:pt x="343" y="79"/>
                    <a:pt x="338" y="77"/>
                    <a:pt x="338" y="77"/>
                  </a:cubicBezTo>
                  <a:cubicBezTo>
                    <a:pt x="338" y="77"/>
                    <a:pt x="298" y="37"/>
                    <a:pt x="290" y="45"/>
                  </a:cubicBezTo>
                  <a:cubicBezTo>
                    <a:pt x="282" y="52"/>
                    <a:pt x="300" y="64"/>
                    <a:pt x="300" y="64"/>
                  </a:cubicBezTo>
                  <a:cubicBezTo>
                    <a:pt x="255" y="42"/>
                    <a:pt x="255" y="42"/>
                    <a:pt x="255" y="42"/>
                  </a:cubicBezTo>
                  <a:cubicBezTo>
                    <a:pt x="255" y="42"/>
                    <a:pt x="231" y="17"/>
                    <a:pt x="220" y="12"/>
                  </a:cubicBezTo>
                  <a:cubicBezTo>
                    <a:pt x="209" y="7"/>
                    <a:pt x="180" y="12"/>
                    <a:pt x="180" y="12"/>
                  </a:cubicBezTo>
                  <a:cubicBezTo>
                    <a:pt x="180" y="12"/>
                    <a:pt x="156" y="0"/>
                    <a:pt x="118" y="0"/>
                  </a:cubicBezTo>
                  <a:cubicBezTo>
                    <a:pt x="81" y="0"/>
                    <a:pt x="64" y="12"/>
                    <a:pt x="48" y="26"/>
                  </a:cubicBezTo>
                  <a:cubicBezTo>
                    <a:pt x="32" y="41"/>
                    <a:pt x="0" y="51"/>
                    <a:pt x="0" y="51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15" y="29"/>
                    <a:pt x="115" y="29"/>
                    <a:pt x="115" y="29"/>
                  </a:cubicBezTo>
                  <a:cubicBezTo>
                    <a:pt x="115" y="29"/>
                    <a:pt x="142" y="27"/>
                    <a:pt x="150" y="34"/>
                  </a:cubicBezTo>
                  <a:cubicBezTo>
                    <a:pt x="158" y="42"/>
                    <a:pt x="126" y="46"/>
                    <a:pt x="126" y="46"/>
                  </a:cubicBezTo>
                  <a:cubicBezTo>
                    <a:pt x="137" y="54"/>
                    <a:pt x="137" y="54"/>
                    <a:pt x="137" y="54"/>
                  </a:cubicBezTo>
                  <a:cubicBezTo>
                    <a:pt x="137" y="54"/>
                    <a:pt x="155" y="61"/>
                    <a:pt x="172" y="66"/>
                  </a:cubicBezTo>
                  <a:cubicBezTo>
                    <a:pt x="188" y="71"/>
                    <a:pt x="188" y="61"/>
                    <a:pt x="188" y="61"/>
                  </a:cubicBezTo>
                  <a:cubicBezTo>
                    <a:pt x="188" y="61"/>
                    <a:pt x="204" y="74"/>
                    <a:pt x="220" y="81"/>
                  </a:cubicBezTo>
                  <a:cubicBezTo>
                    <a:pt x="236" y="89"/>
                    <a:pt x="268" y="79"/>
                    <a:pt x="268" y="79"/>
                  </a:cubicBezTo>
                  <a:cubicBezTo>
                    <a:pt x="263" y="96"/>
                    <a:pt x="263" y="96"/>
                    <a:pt x="263" y="96"/>
                  </a:cubicBezTo>
                  <a:cubicBezTo>
                    <a:pt x="303" y="113"/>
                    <a:pt x="303" y="113"/>
                    <a:pt x="303" y="113"/>
                  </a:cubicBezTo>
                  <a:cubicBezTo>
                    <a:pt x="319" y="136"/>
                    <a:pt x="319" y="136"/>
                    <a:pt x="319" y="136"/>
                  </a:cubicBezTo>
                  <a:cubicBezTo>
                    <a:pt x="319" y="136"/>
                    <a:pt x="335" y="143"/>
                    <a:pt x="335" y="150"/>
                  </a:cubicBezTo>
                  <a:cubicBezTo>
                    <a:pt x="335" y="158"/>
                    <a:pt x="308" y="165"/>
                    <a:pt x="316" y="172"/>
                  </a:cubicBezTo>
                  <a:cubicBezTo>
                    <a:pt x="324" y="180"/>
                    <a:pt x="348" y="163"/>
                    <a:pt x="356" y="163"/>
                  </a:cubicBezTo>
                  <a:cubicBezTo>
                    <a:pt x="364" y="163"/>
                    <a:pt x="381" y="165"/>
                    <a:pt x="367" y="168"/>
                  </a:cubicBezTo>
                  <a:cubicBezTo>
                    <a:pt x="354" y="170"/>
                    <a:pt x="375" y="180"/>
                    <a:pt x="375" y="180"/>
                  </a:cubicBezTo>
                  <a:cubicBezTo>
                    <a:pt x="375" y="180"/>
                    <a:pt x="397" y="185"/>
                    <a:pt x="426" y="178"/>
                  </a:cubicBezTo>
                  <a:cubicBezTo>
                    <a:pt x="456" y="170"/>
                    <a:pt x="493" y="163"/>
                    <a:pt x="493" y="163"/>
                  </a:cubicBezTo>
                  <a:cubicBezTo>
                    <a:pt x="493" y="163"/>
                    <a:pt x="493" y="153"/>
                    <a:pt x="475" y="151"/>
                  </a:cubicBezTo>
                  <a:close/>
                  <a:moveTo>
                    <a:pt x="78" y="84"/>
                  </a:moveTo>
                  <a:cubicBezTo>
                    <a:pt x="75" y="97"/>
                    <a:pt x="102" y="99"/>
                    <a:pt x="104" y="84"/>
                  </a:cubicBezTo>
                  <a:cubicBezTo>
                    <a:pt x="107" y="70"/>
                    <a:pt x="78" y="84"/>
                    <a:pt x="78" y="8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190">
              <a:extLst>
                <a:ext uri="{FF2B5EF4-FFF2-40B4-BE49-F238E27FC236}">
                  <a16:creationId xmlns:a16="http://schemas.microsoft.com/office/drawing/2014/main" id="{FB962D95-7B98-B9E5-725B-962DCD26BEBB}"/>
                </a:ext>
              </a:extLst>
            </p:cNvPr>
            <p:cNvSpPr>
              <a:spLocks/>
            </p:cNvSpPr>
            <p:nvPr/>
          </p:nvSpPr>
          <p:spPr bwMode="gray">
            <a:xfrm>
              <a:off x="-15126" y="-12330"/>
              <a:ext cx="255" cy="99"/>
            </a:xfrm>
            <a:custGeom>
              <a:avLst/>
              <a:gdLst>
                <a:gd name="T0" fmla="*/ 72 w 108"/>
                <a:gd name="T1" fmla="*/ 42 h 42"/>
                <a:gd name="T2" fmla="*/ 79 w 108"/>
                <a:gd name="T3" fmla="*/ 28 h 42"/>
                <a:gd name="T4" fmla="*/ 108 w 108"/>
                <a:gd name="T5" fmla="*/ 34 h 42"/>
                <a:gd name="T6" fmla="*/ 85 w 108"/>
                <a:gd name="T7" fmla="*/ 9 h 42"/>
                <a:gd name="T8" fmla="*/ 48 w 108"/>
                <a:gd name="T9" fmla="*/ 6 h 42"/>
                <a:gd name="T10" fmla="*/ 19 w 108"/>
                <a:gd name="T11" fmla="*/ 4 h 42"/>
                <a:gd name="T12" fmla="*/ 0 w 108"/>
                <a:gd name="T13" fmla="*/ 9 h 42"/>
                <a:gd name="T14" fmla="*/ 17 w 108"/>
                <a:gd name="T15" fmla="*/ 26 h 42"/>
                <a:gd name="T16" fmla="*/ 43 w 108"/>
                <a:gd name="T17" fmla="*/ 32 h 42"/>
                <a:gd name="T18" fmla="*/ 54 w 108"/>
                <a:gd name="T19" fmla="*/ 38 h 42"/>
                <a:gd name="T20" fmla="*/ 72 w 108"/>
                <a:gd name="T2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8" h="42">
                  <a:moveTo>
                    <a:pt x="72" y="42"/>
                  </a:moveTo>
                  <a:cubicBezTo>
                    <a:pt x="79" y="28"/>
                    <a:pt x="79" y="28"/>
                    <a:pt x="79" y="28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95" y="9"/>
                    <a:pt x="85" y="9"/>
                  </a:cubicBezTo>
                  <a:cubicBezTo>
                    <a:pt x="75" y="9"/>
                    <a:pt x="58" y="7"/>
                    <a:pt x="48" y="6"/>
                  </a:cubicBezTo>
                  <a:cubicBezTo>
                    <a:pt x="37" y="4"/>
                    <a:pt x="27" y="0"/>
                    <a:pt x="19" y="4"/>
                  </a:cubicBezTo>
                  <a:cubicBezTo>
                    <a:pt x="11" y="7"/>
                    <a:pt x="0" y="9"/>
                    <a:pt x="0" y="9"/>
                  </a:cubicBezTo>
                  <a:cubicBezTo>
                    <a:pt x="0" y="9"/>
                    <a:pt x="8" y="20"/>
                    <a:pt x="17" y="26"/>
                  </a:cubicBezTo>
                  <a:cubicBezTo>
                    <a:pt x="25" y="32"/>
                    <a:pt x="43" y="32"/>
                    <a:pt x="43" y="32"/>
                  </a:cubicBezTo>
                  <a:cubicBezTo>
                    <a:pt x="54" y="38"/>
                    <a:pt x="54" y="38"/>
                    <a:pt x="54" y="38"/>
                  </a:cubicBezTo>
                  <a:lnTo>
                    <a:pt x="72" y="4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191">
              <a:extLst>
                <a:ext uri="{FF2B5EF4-FFF2-40B4-BE49-F238E27FC236}">
                  <a16:creationId xmlns:a16="http://schemas.microsoft.com/office/drawing/2014/main" id="{F0A71D8E-F421-5D45-E23F-BB1B7FE66F86}"/>
                </a:ext>
              </a:extLst>
            </p:cNvPr>
            <p:cNvSpPr>
              <a:spLocks/>
            </p:cNvSpPr>
            <p:nvPr/>
          </p:nvSpPr>
          <p:spPr bwMode="gray">
            <a:xfrm>
              <a:off x="-13871" y="-12323"/>
              <a:ext cx="229" cy="94"/>
            </a:xfrm>
            <a:custGeom>
              <a:avLst/>
              <a:gdLst>
                <a:gd name="T0" fmla="*/ 60 w 97"/>
                <a:gd name="T1" fmla="*/ 9 h 40"/>
                <a:gd name="T2" fmla="*/ 15 w 97"/>
                <a:gd name="T3" fmla="*/ 0 h 40"/>
                <a:gd name="T4" fmla="*/ 2 w 97"/>
                <a:gd name="T5" fmla="*/ 32 h 40"/>
                <a:gd name="T6" fmla="*/ 27 w 97"/>
                <a:gd name="T7" fmla="*/ 40 h 40"/>
                <a:gd name="T8" fmla="*/ 33 w 97"/>
                <a:gd name="T9" fmla="*/ 34 h 40"/>
                <a:gd name="T10" fmla="*/ 64 w 97"/>
                <a:gd name="T11" fmla="*/ 34 h 40"/>
                <a:gd name="T12" fmla="*/ 95 w 97"/>
                <a:gd name="T13" fmla="*/ 10 h 40"/>
                <a:gd name="T14" fmla="*/ 60 w 97"/>
                <a:gd name="T15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40">
                  <a:moveTo>
                    <a:pt x="60" y="9"/>
                  </a:moveTo>
                  <a:cubicBezTo>
                    <a:pt x="52" y="9"/>
                    <a:pt x="29" y="0"/>
                    <a:pt x="15" y="0"/>
                  </a:cubicBezTo>
                  <a:cubicBezTo>
                    <a:pt x="0" y="0"/>
                    <a:pt x="2" y="32"/>
                    <a:pt x="2" y="32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48" y="36"/>
                    <a:pt x="64" y="34"/>
                  </a:cubicBezTo>
                  <a:cubicBezTo>
                    <a:pt x="81" y="32"/>
                    <a:pt x="97" y="17"/>
                    <a:pt x="95" y="10"/>
                  </a:cubicBezTo>
                  <a:cubicBezTo>
                    <a:pt x="93" y="2"/>
                    <a:pt x="68" y="10"/>
                    <a:pt x="60" y="9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192">
              <a:extLst>
                <a:ext uri="{FF2B5EF4-FFF2-40B4-BE49-F238E27FC236}">
                  <a16:creationId xmlns:a16="http://schemas.microsoft.com/office/drawing/2014/main" id="{6A5F5076-CBD1-10D2-C16D-F5213261999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2206" y="-16495"/>
              <a:ext cx="687" cy="614"/>
            </a:xfrm>
            <a:custGeom>
              <a:avLst/>
              <a:gdLst>
                <a:gd name="T0" fmla="*/ 180 w 291"/>
                <a:gd name="T1" fmla="*/ 17 h 260"/>
                <a:gd name="T2" fmla="*/ 226 w 291"/>
                <a:gd name="T3" fmla="*/ 5 h 260"/>
                <a:gd name="T4" fmla="*/ 229 w 291"/>
                <a:gd name="T5" fmla="*/ 20 h 260"/>
                <a:gd name="T6" fmla="*/ 215 w 291"/>
                <a:gd name="T7" fmla="*/ 29 h 260"/>
                <a:gd name="T8" fmla="*/ 198 w 291"/>
                <a:gd name="T9" fmla="*/ 60 h 260"/>
                <a:gd name="T10" fmla="*/ 171 w 291"/>
                <a:gd name="T11" fmla="*/ 72 h 260"/>
                <a:gd name="T12" fmla="*/ 147 w 291"/>
                <a:gd name="T13" fmla="*/ 101 h 260"/>
                <a:gd name="T14" fmla="*/ 145 w 291"/>
                <a:gd name="T15" fmla="*/ 119 h 260"/>
                <a:gd name="T16" fmla="*/ 162 w 291"/>
                <a:gd name="T17" fmla="*/ 106 h 260"/>
                <a:gd name="T18" fmla="*/ 180 w 291"/>
                <a:gd name="T19" fmla="*/ 76 h 260"/>
                <a:gd name="T20" fmla="*/ 194 w 291"/>
                <a:gd name="T21" fmla="*/ 88 h 260"/>
                <a:gd name="T22" fmla="*/ 210 w 291"/>
                <a:gd name="T23" fmla="*/ 94 h 260"/>
                <a:gd name="T24" fmla="*/ 202 w 291"/>
                <a:gd name="T25" fmla="*/ 115 h 260"/>
                <a:gd name="T26" fmla="*/ 222 w 291"/>
                <a:gd name="T27" fmla="*/ 113 h 260"/>
                <a:gd name="T28" fmla="*/ 228 w 291"/>
                <a:gd name="T29" fmla="*/ 132 h 260"/>
                <a:gd name="T30" fmla="*/ 262 w 291"/>
                <a:gd name="T31" fmla="*/ 111 h 260"/>
                <a:gd name="T32" fmla="*/ 275 w 291"/>
                <a:gd name="T33" fmla="*/ 120 h 260"/>
                <a:gd name="T34" fmla="*/ 256 w 291"/>
                <a:gd name="T35" fmla="*/ 138 h 260"/>
                <a:gd name="T36" fmla="*/ 280 w 291"/>
                <a:gd name="T37" fmla="*/ 144 h 260"/>
                <a:gd name="T38" fmla="*/ 242 w 291"/>
                <a:gd name="T39" fmla="*/ 197 h 260"/>
                <a:gd name="T40" fmla="*/ 266 w 291"/>
                <a:gd name="T41" fmla="*/ 198 h 260"/>
                <a:gd name="T42" fmla="*/ 244 w 291"/>
                <a:gd name="T43" fmla="*/ 212 h 260"/>
                <a:gd name="T44" fmla="*/ 264 w 291"/>
                <a:gd name="T45" fmla="*/ 213 h 260"/>
                <a:gd name="T46" fmla="*/ 286 w 291"/>
                <a:gd name="T47" fmla="*/ 204 h 260"/>
                <a:gd name="T48" fmla="*/ 291 w 291"/>
                <a:gd name="T49" fmla="*/ 219 h 260"/>
                <a:gd name="T50" fmla="*/ 244 w 291"/>
                <a:gd name="T51" fmla="*/ 260 h 260"/>
                <a:gd name="T52" fmla="*/ 216 w 291"/>
                <a:gd name="T53" fmla="*/ 256 h 260"/>
                <a:gd name="T54" fmla="*/ 232 w 291"/>
                <a:gd name="T55" fmla="*/ 240 h 260"/>
                <a:gd name="T56" fmla="*/ 210 w 291"/>
                <a:gd name="T57" fmla="*/ 242 h 260"/>
                <a:gd name="T58" fmla="*/ 205 w 291"/>
                <a:gd name="T59" fmla="*/ 237 h 260"/>
                <a:gd name="T60" fmla="*/ 158 w 291"/>
                <a:gd name="T61" fmla="*/ 243 h 260"/>
                <a:gd name="T62" fmla="*/ 133 w 291"/>
                <a:gd name="T63" fmla="*/ 239 h 260"/>
                <a:gd name="T64" fmla="*/ 131 w 291"/>
                <a:gd name="T65" fmla="*/ 236 h 260"/>
                <a:gd name="T66" fmla="*/ 159 w 291"/>
                <a:gd name="T67" fmla="*/ 228 h 260"/>
                <a:gd name="T68" fmla="*/ 152 w 291"/>
                <a:gd name="T69" fmla="*/ 217 h 260"/>
                <a:gd name="T70" fmla="*/ 64 w 291"/>
                <a:gd name="T71" fmla="*/ 199 h 260"/>
                <a:gd name="T72" fmla="*/ 12 w 291"/>
                <a:gd name="T73" fmla="*/ 201 h 260"/>
                <a:gd name="T74" fmla="*/ 34 w 291"/>
                <a:gd name="T75" fmla="*/ 186 h 260"/>
                <a:gd name="T76" fmla="*/ 8 w 291"/>
                <a:gd name="T77" fmla="*/ 176 h 260"/>
                <a:gd name="T78" fmla="*/ 50 w 291"/>
                <a:gd name="T79" fmla="*/ 153 h 260"/>
                <a:gd name="T80" fmla="*/ 106 w 291"/>
                <a:gd name="T81" fmla="*/ 101 h 260"/>
                <a:gd name="T82" fmla="*/ 143 w 291"/>
                <a:gd name="T83" fmla="*/ 65 h 260"/>
                <a:gd name="T84" fmla="*/ 180 w 291"/>
                <a:gd name="T85" fmla="*/ 17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1" h="260">
                  <a:moveTo>
                    <a:pt x="180" y="17"/>
                  </a:moveTo>
                  <a:cubicBezTo>
                    <a:pt x="180" y="17"/>
                    <a:pt x="209" y="0"/>
                    <a:pt x="226" y="5"/>
                  </a:cubicBezTo>
                  <a:cubicBezTo>
                    <a:pt x="244" y="10"/>
                    <a:pt x="229" y="20"/>
                    <a:pt x="229" y="20"/>
                  </a:cubicBezTo>
                  <a:cubicBezTo>
                    <a:pt x="215" y="29"/>
                    <a:pt x="215" y="29"/>
                    <a:pt x="215" y="29"/>
                  </a:cubicBezTo>
                  <a:cubicBezTo>
                    <a:pt x="215" y="29"/>
                    <a:pt x="210" y="49"/>
                    <a:pt x="198" y="60"/>
                  </a:cubicBezTo>
                  <a:cubicBezTo>
                    <a:pt x="186" y="71"/>
                    <a:pt x="171" y="72"/>
                    <a:pt x="171" y="72"/>
                  </a:cubicBezTo>
                  <a:cubicBezTo>
                    <a:pt x="147" y="101"/>
                    <a:pt x="147" y="101"/>
                    <a:pt x="147" y="101"/>
                  </a:cubicBezTo>
                  <a:cubicBezTo>
                    <a:pt x="145" y="119"/>
                    <a:pt x="145" y="119"/>
                    <a:pt x="145" y="119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80" y="76"/>
                    <a:pt x="180" y="76"/>
                    <a:pt x="180" y="76"/>
                  </a:cubicBezTo>
                  <a:cubicBezTo>
                    <a:pt x="194" y="88"/>
                    <a:pt x="194" y="88"/>
                    <a:pt x="194" y="88"/>
                  </a:cubicBezTo>
                  <a:cubicBezTo>
                    <a:pt x="210" y="94"/>
                    <a:pt x="210" y="94"/>
                    <a:pt x="210" y="94"/>
                  </a:cubicBezTo>
                  <a:cubicBezTo>
                    <a:pt x="202" y="115"/>
                    <a:pt x="202" y="115"/>
                    <a:pt x="202" y="115"/>
                  </a:cubicBezTo>
                  <a:cubicBezTo>
                    <a:pt x="222" y="113"/>
                    <a:pt x="222" y="113"/>
                    <a:pt x="222" y="113"/>
                  </a:cubicBezTo>
                  <a:cubicBezTo>
                    <a:pt x="228" y="132"/>
                    <a:pt x="228" y="132"/>
                    <a:pt x="228" y="132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75" y="120"/>
                    <a:pt x="275" y="120"/>
                    <a:pt x="275" y="120"/>
                  </a:cubicBezTo>
                  <a:cubicBezTo>
                    <a:pt x="275" y="120"/>
                    <a:pt x="265" y="135"/>
                    <a:pt x="256" y="138"/>
                  </a:cubicBezTo>
                  <a:cubicBezTo>
                    <a:pt x="248" y="141"/>
                    <a:pt x="274" y="144"/>
                    <a:pt x="280" y="144"/>
                  </a:cubicBezTo>
                  <a:cubicBezTo>
                    <a:pt x="286" y="145"/>
                    <a:pt x="242" y="197"/>
                    <a:pt x="242" y="197"/>
                  </a:cubicBezTo>
                  <a:cubicBezTo>
                    <a:pt x="266" y="198"/>
                    <a:pt x="266" y="198"/>
                    <a:pt x="266" y="198"/>
                  </a:cubicBezTo>
                  <a:cubicBezTo>
                    <a:pt x="244" y="212"/>
                    <a:pt x="244" y="212"/>
                    <a:pt x="244" y="212"/>
                  </a:cubicBezTo>
                  <a:cubicBezTo>
                    <a:pt x="264" y="213"/>
                    <a:pt x="264" y="213"/>
                    <a:pt x="264" y="213"/>
                  </a:cubicBezTo>
                  <a:cubicBezTo>
                    <a:pt x="286" y="204"/>
                    <a:pt x="286" y="204"/>
                    <a:pt x="286" y="204"/>
                  </a:cubicBezTo>
                  <a:cubicBezTo>
                    <a:pt x="291" y="219"/>
                    <a:pt x="291" y="219"/>
                    <a:pt x="291" y="219"/>
                  </a:cubicBezTo>
                  <a:cubicBezTo>
                    <a:pt x="244" y="260"/>
                    <a:pt x="244" y="260"/>
                    <a:pt x="244" y="260"/>
                  </a:cubicBezTo>
                  <a:cubicBezTo>
                    <a:pt x="216" y="256"/>
                    <a:pt x="216" y="256"/>
                    <a:pt x="216" y="256"/>
                  </a:cubicBezTo>
                  <a:cubicBezTo>
                    <a:pt x="232" y="240"/>
                    <a:pt x="232" y="240"/>
                    <a:pt x="232" y="240"/>
                  </a:cubicBezTo>
                  <a:cubicBezTo>
                    <a:pt x="210" y="242"/>
                    <a:pt x="210" y="242"/>
                    <a:pt x="210" y="242"/>
                  </a:cubicBezTo>
                  <a:cubicBezTo>
                    <a:pt x="205" y="237"/>
                    <a:pt x="205" y="237"/>
                    <a:pt x="205" y="237"/>
                  </a:cubicBezTo>
                  <a:cubicBezTo>
                    <a:pt x="158" y="243"/>
                    <a:pt x="158" y="243"/>
                    <a:pt x="158" y="243"/>
                  </a:cubicBezTo>
                  <a:cubicBezTo>
                    <a:pt x="133" y="239"/>
                    <a:pt x="133" y="239"/>
                    <a:pt x="133" y="239"/>
                  </a:cubicBezTo>
                  <a:cubicBezTo>
                    <a:pt x="131" y="236"/>
                    <a:pt x="131" y="236"/>
                    <a:pt x="131" y="23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59" y="228"/>
                    <a:pt x="168" y="217"/>
                    <a:pt x="152" y="217"/>
                  </a:cubicBezTo>
                  <a:cubicBezTo>
                    <a:pt x="136" y="216"/>
                    <a:pt x="64" y="199"/>
                    <a:pt x="64" y="199"/>
                  </a:cubicBezTo>
                  <a:cubicBezTo>
                    <a:pt x="64" y="199"/>
                    <a:pt x="24" y="213"/>
                    <a:pt x="12" y="201"/>
                  </a:cubicBezTo>
                  <a:cubicBezTo>
                    <a:pt x="0" y="189"/>
                    <a:pt x="34" y="186"/>
                    <a:pt x="34" y="186"/>
                  </a:cubicBezTo>
                  <a:cubicBezTo>
                    <a:pt x="34" y="186"/>
                    <a:pt x="6" y="183"/>
                    <a:pt x="8" y="176"/>
                  </a:cubicBezTo>
                  <a:cubicBezTo>
                    <a:pt x="10" y="170"/>
                    <a:pt x="50" y="153"/>
                    <a:pt x="50" y="153"/>
                  </a:cubicBezTo>
                  <a:cubicBezTo>
                    <a:pt x="106" y="101"/>
                    <a:pt x="106" y="101"/>
                    <a:pt x="106" y="101"/>
                  </a:cubicBezTo>
                  <a:cubicBezTo>
                    <a:pt x="143" y="65"/>
                    <a:pt x="143" y="65"/>
                    <a:pt x="143" y="65"/>
                  </a:cubicBezTo>
                  <a:lnTo>
                    <a:pt x="180" y="17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193">
              <a:extLst>
                <a:ext uri="{FF2B5EF4-FFF2-40B4-BE49-F238E27FC236}">
                  <a16:creationId xmlns:a16="http://schemas.microsoft.com/office/drawing/2014/main" id="{0B6FA90B-D630-7DC0-C94F-2A09AE0010A4}"/>
                </a:ext>
              </a:extLst>
            </p:cNvPr>
            <p:cNvSpPr>
              <a:spLocks/>
            </p:cNvSpPr>
            <p:nvPr/>
          </p:nvSpPr>
          <p:spPr bwMode="gray">
            <a:xfrm>
              <a:off x="-16489" y="-11818"/>
              <a:ext cx="277" cy="175"/>
            </a:xfrm>
            <a:custGeom>
              <a:avLst/>
              <a:gdLst>
                <a:gd name="T0" fmla="*/ 116 w 117"/>
                <a:gd name="T1" fmla="*/ 57 h 74"/>
                <a:gd name="T2" fmla="*/ 115 w 117"/>
                <a:gd name="T3" fmla="*/ 28 h 74"/>
                <a:gd name="T4" fmla="*/ 100 w 117"/>
                <a:gd name="T5" fmla="*/ 26 h 74"/>
                <a:gd name="T6" fmla="*/ 84 w 117"/>
                <a:gd name="T7" fmla="*/ 32 h 74"/>
                <a:gd name="T8" fmla="*/ 76 w 117"/>
                <a:gd name="T9" fmla="*/ 16 h 74"/>
                <a:gd name="T10" fmla="*/ 61 w 117"/>
                <a:gd name="T11" fmla="*/ 16 h 74"/>
                <a:gd name="T12" fmla="*/ 48 w 117"/>
                <a:gd name="T13" fmla="*/ 0 h 74"/>
                <a:gd name="T14" fmla="*/ 33 w 117"/>
                <a:gd name="T15" fmla="*/ 4 h 74"/>
                <a:gd name="T16" fmla="*/ 32 w 117"/>
                <a:gd name="T17" fmla="*/ 12 h 74"/>
                <a:gd name="T18" fmla="*/ 19 w 117"/>
                <a:gd name="T19" fmla="*/ 24 h 74"/>
                <a:gd name="T20" fmla="*/ 0 w 117"/>
                <a:gd name="T21" fmla="*/ 39 h 74"/>
                <a:gd name="T22" fmla="*/ 20 w 117"/>
                <a:gd name="T23" fmla="*/ 52 h 74"/>
                <a:gd name="T24" fmla="*/ 48 w 117"/>
                <a:gd name="T25" fmla="*/ 53 h 74"/>
                <a:gd name="T26" fmla="*/ 64 w 117"/>
                <a:gd name="T27" fmla="*/ 66 h 74"/>
                <a:gd name="T28" fmla="*/ 86 w 117"/>
                <a:gd name="T29" fmla="*/ 64 h 74"/>
                <a:gd name="T30" fmla="*/ 98 w 117"/>
                <a:gd name="T31" fmla="*/ 74 h 74"/>
                <a:gd name="T32" fmla="*/ 110 w 117"/>
                <a:gd name="T33" fmla="*/ 55 h 74"/>
                <a:gd name="T34" fmla="*/ 117 w 117"/>
                <a:gd name="T35" fmla="*/ 57 h 74"/>
                <a:gd name="T36" fmla="*/ 116 w 117"/>
                <a:gd name="T37" fmla="*/ 5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7" h="74">
                  <a:moveTo>
                    <a:pt x="116" y="57"/>
                  </a:moveTo>
                  <a:cubicBezTo>
                    <a:pt x="115" y="28"/>
                    <a:pt x="115" y="28"/>
                    <a:pt x="115" y="28"/>
                  </a:cubicBezTo>
                  <a:cubicBezTo>
                    <a:pt x="115" y="28"/>
                    <a:pt x="105" y="27"/>
                    <a:pt x="100" y="26"/>
                  </a:cubicBezTo>
                  <a:cubicBezTo>
                    <a:pt x="95" y="25"/>
                    <a:pt x="93" y="30"/>
                    <a:pt x="84" y="32"/>
                  </a:cubicBezTo>
                  <a:cubicBezTo>
                    <a:pt x="75" y="34"/>
                    <a:pt x="76" y="16"/>
                    <a:pt x="76" y="16"/>
                  </a:cubicBezTo>
                  <a:cubicBezTo>
                    <a:pt x="76" y="16"/>
                    <a:pt x="70" y="16"/>
                    <a:pt x="61" y="16"/>
                  </a:cubicBezTo>
                  <a:cubicBezTo>
                    <a:pt x="54" y="16"/>
                    <a:pt x="50" y="5"/>
                    <a:pt x="48" y="0"/>
                  </a:cubicBezTo>
                  <a:cubicBezTo>
                    <a:pt x="41" y="3"/>
                    <a:pt x="33" y="4"/>
                    <a:pt x="33" y="4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27" y="22"/>
                    <a:pt x="19" y="24"/>
                  </a:cubicBezTo>
                  <a:cubicBezTo>
                    <a:pt x="13" y="25"/>
                    <a:pt x="5" y="34"/>
                    <a:pt x="0" y="39"/>
                  </a:cubicBezTo>
                  <a:cubicBezTo>
                    <a:pt x="7" y="44"/>
                    <a:pt x="16" y="50"/>
                    <a:pt x="20" y="52"/>
                  </a:cubicBezTo>
                  <a:cubicBezTo>
                    <a:pt x="28" y="55"/>
                    <a:pt x="48" y="53"/>
                    <a:pt x="48" y="53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17" y="57"/>
                    <a:pt x="117" y="57"/>
                    <a:pt x="117" y="57"/>
                  </a:cubicBezTo>
                  <a:lnTo>
                    <a:pt x="116" y="57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94">
              <a:extLst>
                <a:ext uri="{FF2B5EF4-FFF2-40B4-BE49-F238E27FC236}">
                  <a16:creationId xmlns:a16="http://schemas.microsoft.com/office/drawing/2014/main" id="{B3A58F89-2F8E-2501-C946-E1845F3345E3}"/>
                </a:ext>
              </a:extLst>
            </p:cNvPr>
            <p:cNvSpPr>
              <a:spLocks/>
            </p:cNvSpPr>
            <p:nvPr/>
          </p:nvSpPr>
          <p:spPr bwMode="gray">
            <a:xfrm>
              <a:off x="-16347" y="-12333"/>
              <a:ext cx="170" cy="331"/>
            </a:xfrm>
            <a:custGeom>
              <a:avLst/>
              <a:gdLst>
                <a:gd name="T0" fmla="*/ 72 w 72"/>
                <a:gd name="T1" fmla="*/ 22 h 140"/>
                <a:gd name="T2" fmla="*/ 54 w 72"/>
                <a:gd name="T3" fmla="*/ 11 h 140"/>
                <a:gd name="T4" fmla="*/ 51 w 72"/>
                <a:gd name="T5" fmla="*/ 0 h 140"/>
                <a:gd name="T6" fmla="*/ 33 w 72"/>
                <a:gd name="T7" fmla="*/ 33 h 140"/>
                <a:gd name="T8" fmla="*/ 23 w 72"/>
                <a:gd name="T9" fmla="*/ 26 h 140"/>
                <a:gd name="T10" fmla="*/ 16 w 72"/>
                <a:gd name="T11" fmla="*/ 36 h 140"/>
                <a:gd name="T12" fmla="*/ 0 w 72"/>
                <a:gd name="T13" fmla="*/ 140 h 140"/>
                <a:gd name="T14" fmla="*/ 18 w 72"/>
                <a:gd name="T15" fmla="*/ 140 h 140"/>
                <a:gd name="T16" fmla="*/ 28 w 72"/>
                <a:gd name="T17" fmla="*/ 114 h 140"/>
                <a:gd name="T18" fmla="*/ 39 w 72"/>
                <a:gd name="T19" fmla="*/ 118 h 140"/>
                <a:gd name="T20" fmla="*/ 55 w 72"/>
                <a:gd name="T21" fmla="*/ 93 h 140"/>
                <a:gd name="T22" fmla="*/ 55 w 72"/>
                <a:gd name="T23" fmla="*/ 60 h 140"/>
                <a:gd name="T24" fmla="*/ 72 w 72"/>
                <a:gd name="T25" fmla="*/ 2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0">
                  <a:moveTo>
                    <a:pt x="72" y="22"/>
                  </a:moveTo>
                  <a:cubicBezTo>
                    <a:pt x="72" y="17"/>
                    <a:pt x="54" y="11"/>
                    <a:pt x="54" y="11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44" y="32"/>
                    <a:pt x="33" y="33"/>
                  </a:cubicBezTo>
                  <a:cubicBezTo>
                    <a:pt x="22" y="34"/>
                    <a:pt x="28" y="26"/>
                    <a:pt x="23" y="26"/>
                  </a:cubicBezTo>
                  <a:cubicBezTo>
                    <a:pt x="18" y="26"/>
                    <a:pt x="16" y="36"/>
                    <a:pt x="16" y="36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55" y="104"/>
                    <a:pt x="55" y="93"/>
                  </a:cubicBezTo>
                  <a:cubicBezTo>
                    <a:pt x="55" y="82"/>
                    <a:pt x="51" y="70"/>
                    <a:pt x="55" y="60"/>
                  </a:cubicBezTo>
                  <a:cubicBezTo>
                    <a:pt x="59" y="50"/>
                    <a:pt x="72" y="27"/>
                    <a:pt x="72" y="2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95">
              <a:extLst>
                <a:ext uri="{FF2B5EF4-FFF2-40B4-BE49-F238E27FC236}">
                  <a16:creationId xmlns:a16="http://schemas.microsoft.com/office/drawing/2014/main" id="{C72442B8-3733-817A-C21D-8D232B0537E4}"/>
                </a:ext>
              </a:extLst>
            </p:cNvPr>
            <p:cNvSpPr>
              <a:spLocks/>
            </p:cNvSpPr>
            <p:nvPr/>
          </p:nvSpPr>
          <p:spPr bwMode="gray">
            <a:xfrm>
              <a:off x="-16706" y="-12250"/>
              <a:ext cx="470" cy="525"/>
            </a:xfrm>
            <a:custGeom>
              <a:avLst/>
              <a:gdLst>
                <a:gd name="T0" fmla="*/ 190 w 199"/>
                <a:gd name="T1" fmla="*/ 103 h 222"/>
                <a:gd name="T2" fmla="*/ 179 w 199"/>
                <a:gd name="T3" fmla="*/ 110 h 222"/>
                <a:gd name="T4" fmla="*/ 170 w 199"/>
                <a:gd name="T5" fmla="*/ 105 h 222"/>
                <a:gd name="T6" fmla="*/ 152 w 199"/>
                <a:gd name="T7" fmla="*/ 105 h 222"/>
                <a:gd name="T8" fmla="*/ 168 w 199"/>
                <a:gd name="T9" fmla="*/ 1 h 222"/>
                <a:gd name="T10" fmla="*/ 81 w 199"/>
                <a:gd name="T11" fmla="*/ 0 h 222"/>
                <a:gd name="T12" fmla="*/ 82 w 199"/>
                <a:gd name="T13" fmla="*/ 30 h 222"/>
                <a:gd name="T14" fmla="*/ 54 w 199"/>
                <a:gd name="T15" fmla="*/ 34 h 222"/>
                <a:gd name="T16" fmla="*/ 64 w 199"/>
                <a:gd name="T17" fmla="*/ 38 h 222"/>
                <a:gd name="T18" fmla="*/ 75 w 199"/>
                <a:gd name="T19" fmla="*/ 56 h 222"/>
                <a:gd name="T20" fmla="*/ 87 w 199"/>
                <a:gd name="T21" fmla="*/ 57 h 222"/>
                <a:gd name="T22" fmla="*/ 91 w 199"/>
                <a:gd name="T23" fmla="*/ 73 h 222"/>
                <a:gd name="T24" fmla="*/ 103 w 199"/>
                <a:gd name="T25" fmla="*/ 79 h 222"/>
                <a:gd name="T26" fmla="*/ 94 w 199"/>
                <a:gd name="T27" fmla="*/ 86 h 222"/>
                <a:gd name="T28" fmla="*/ 94 w 199"/>
                <a:gd name="T29" fmla="*/ 97 h 222"/>
                <a:gd name="T30" fmla="*/ 35 w 199"/>
                <a:gd name="T31" fmla="*/ 96 h 222"/>
                <a:gd name="T32" fmla="*/ 14 w 199"/>
                <a:gd name="T33" fmla="*/ 127 h 222"/>
                <a:gd name="T34" fmla="*/ 14 w 199"/>
                <a:gd name="T35" fmla="*/ 165 h 222"/>
                <a:gd name="T36" fmla="*/ 0 w 199"/>
                <a:gd name="T37" fmla="*/ 179 h 222"/>
                <a:gd name="T38" fmla="*/ 14 w 199"/>
                <a:gd name="T39" fmla="*/ 192 h 222"/>
                <a:gd name="T40" fmla="*/ 47 w 199"/>
                <a:gd name="T41" fmla="*/ 213 h 222"/>
                <a:gd name="T42" fmla="*/ 80 w 199"/>
                <a:gd name="T43" fmla="*/ 213 h 222"/>
                <a:gd name="T44" fmla="*/ 92 w 199"/>
                <a:gd name="T45" fmla="*/ 222 h 222"/>
                <a:gd name="T46" fmla="*/ 111 w 199"/>
                <a:gd name="T47" fmla="*/ 207 h 222"/>
                <a:gd name="T48" fmla="*/ 124 w 199"/>
                <a:gd name="T49" fmla="*/ 195 h 222"/>
                <a:gd name="T50" fmla="*/ 125 w 199"/>
                <a:gd name="T51" fmla="*/ 187 h 222"/>
                <a:gd name="T52" fmla="*/ 149 w 199"/>
                <a:gd name="T53" fmla="*/ 176 h 222"/>
                <a:gd name="T54" fmla="*/ 151 w 199"/>
                <a:gd name="T55" fmla="*/ 155 h 222"/>
                <a:gd name="T56" fmla="*/ 179 w 199"/>
                <a:gd name="T57" fmla="*/ 131 h 222"/>
                <a:gd name="T58" fmla="*/ 199 w 199"/>
                <a:gd name="T59" fmla="*/ 112 h 222"/>
                <a:gd name="T60" fmla="*/ 190 w 199"/>
                <a:gd name="T61" fmla="*/ 103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9" h="222">
                  <a:moveTo>
                    <a:pt x="190" y="103"/>
                  </a:moveTo>
                  <a:cubicBezTo>
                    <a:pt x="179" y="110"/>
                    <a:pt x="179" y="110"/>
                    <a:pt x="179" y="110"/>
                  </a:cubicBezTo>
                  <a:cubicBezTo>
                    <a:pt x="170" y="105"/>
                    <a:pt x="170" y="105"/>
                    <a:pt x="170" y="105"/>
                  </a:cubicBezTo>
                  <a:cubicBezTo>
                    <a:pt x="152" y="105"/>
                    <a:pt x="152" y="105"/>
                    <a:pt x="152" y="105"/>
                  </a:cubicBezTo>
                  <a:cubicBezTo>
                    <a:pt x="168" y="1"/>
                    <a:pt x="168" y="1"/>
                    <a:pt x="168" y="1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4" y="24"/>
                    <a:pt x="82" y="30"/>
                  </a:cubicBezTo>
                  <a:cubicBezTo>
                    <a:pt x="80" y="36"/>
                    <a:pt x="54" y="34"/>
                    <a:pt x="54" y="34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5" y="54"/>
                    <a:pt x="75" y="56"/>
                  </a:cubicBezTo>
                  <a:cubicBezTo>
                    <a:pt x="85" y="58"/>
                    <a:pt x="87" y="57"/>
                    <a:pt x="87" y="57"/>
                  </a:cubicBezTo>
                  <a:cubicBezTo>
                    <a:pt x="91" y="73"/>
                    <a:pt x="91" y="73"/>
                    <a:pt x="91" y="73"/>
                  </a:cubicBezTo>
                  <a:cubicBezTo>
                    <a:pt x="91" y="73"/>
                    <a:pt x="103" y="69"/>
                    <a:pt x="103" y="79"/>
                  </a:cubicBezTo>
                  <a:cubicBezTo>
                    <a:pt x="103" y="89"/>
                    <a:pt x="94" y="86"/>
                    <a:pt x="94" y="86"/>
                  </a:cubicBezTo>
                  <a:cubicBezTo>
                    <a:pt x="94" y="97"/>
                    <a:pt x="94" y="97"/>
                    <a:pt x="94" y="97"/>
                  </a:cubicBezTo>
                  <a:cubicBezTo>
                    <a:pt x="35" y="96"/>
                    <a:pt x="35" y="96"/>
                    <a:pt x="35" y="96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49"/>
                    <a:pt x="14" y="165"/>
                  </a:cubicBezTo>
                  <a:cubicBezTo>
                    <a:pt x="14" y="181"/>
                    <a:pt x="0" y="179"/>
                    <a:pt x="0" y="179"/>
                  </a:cubicBezTo>
                  <a:cubicBezTo>
                    <a:pt x="3" y="185"/>
                    <a:pt x="7" y="189"/>
                    <a:pt x="14" y="192"/>
                  </a:cubicBezTo>
                  <a:cubicBezTo>
                    <a:pt x="33" y="199"/>
                    <a:pt x="36" y="209"/>
                    <a:pt x="47" y="213"/>
                  </a:cubicBezTo>
                  <a:cubicBezTo>
                    <a:pt x="58" y="217"/>
                    <a:pt x="80" y="213"/>
                    <a:pt x="80" y="213"/>
                  </a:cubicBezTo>
                  <a:cubicBezTo>
                    <a:pt x="80" y="213"/>
                    <a:pt x="86" y="217"/>
                    <a:pt x="92" y="222"/>
                  </a:cubicBezTo>
                  <a:cubicBezTo>
                    <a:pt x="97" y="217"/>
                    <a:pt x="105" y="208"/>
                    <a:pt x="111" y="207"/>
                  </a:cubicBezTo>
                  <a:cubicBezTo>
                    <a:pt x="119" y="205"/>
                    <a:pt x="124" y="195"/>
                    <a:pt x="124" y="195"/>
                  </a:cubicBezTo>
                  <a:cubicBezTo>
                    <a:pt x="125" y="187"/>
                    <a:pt x="125" y="187"/>
                    <a:pt x="125" y="187"/>
                  </a:cubicBezTo>
                  <a:cubicBezTo>
                    <a:pt x="125" y="187"/>
                    <a:pt x="146" y="185"/>
                    <a:pt x="149" y="176"/>
                  </a:cubicBezTo>
                  <a:cubicBezTo>
                    <a:pt x="152" y="167"/>
                    <a:pt x="151" y="155"/>
                    <a:pt x="151" y="155"/>
                  </a:cubicBezTo>
                  <a:cubicBezTo>
                    <a:pt x="151" y="155"/>
                    <a:pt x="164" y="139"/>
                    <a:pt x="179" y="131"/>
                  </a:cubicBezTo>
                  <a:cubicBezTo>
                    <a:pt x="194" y="123"/>
                    <a:pt x="199" y="112"/>
                    <a:pt x="199" y="112"/>
                  </a:cubicBezTo>
                  <a:lnTo>
                    <a:pt x="190" y="103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96">
              <a:extLst>
                <a:ext uri="{FF2B5EF4-FFF2-40B4-BE49-F238E27FC236}">
                  <a16:creationId xmlns:a16="http://schemas.microsoft.com/office/drawing/2014/main" id="{3746D652-092F-611F-8F49-E6503A166C07}"/>
                </a:ext>
              </a:extLst>
            </p:cNvPr>
            <p:cNvSpPr>
              <a:spLocks/>
            </p:cNvSpPr>
            <p:nvPr/>
          </p:nvSpPr>
          <p:spPr bwMode="gray">
            <a:xfrm>
              <a:off x="-18910" y="-14128"/>
              <a:ext cx="2946" cy="2306"/>
            </a:xfrm>
            <a:custGeom>
              <a:avLst/>
              <a:gdLst>
                <a:gd name="T0" fmla="*/ 968 w 1247"/>
                <a:gd name="T1" fmla="*/ 891 h 976"/>
                <a:gd name="T2" fmla="*/ 1036 w 1247"/>
                <a:gd name="T3" fmla="*/ 874 h 976"/>
                <a:gd name="T4" fmla="*/ 1008 w 1247"/>
                <a:gd name="T5" fmla="*/ 851 h 976"/>
                <a:gd name="T6" fmla="*/ 1015 w 1247"/>
                <a:gd name="T7" fmla="*/ 825 h 976"/>
                <a:gd name="T8" fmla="*/ 1108 w 1247"/>
                <a:gd name="T9" fmla="*/ 786 h 976"/>
                <a:gd name="T10" fmla="*/ 1139 w 1247"/>
                <a:gd name="T11" fmla="*/ 771 h 976"/>
                <a:gd name="T12" fmla="*/ 1162 w 1247"/>
                <a:gd name="T13" fmla="*/ 767 h 976"/>
                <a:gd name="T14" fmla="*/ 1182 w 1247"/>
                <a:gd name="T15" fmla="*/ 717 h 976"/>
                <a:gd name="T16" fmla="*/ 1184 w 1247"/>
                <a:gd name="T17" fmla="*/ 701 h 976"/>
                <a:gd name="T18" fmla="*/ 1234 w 1247"/>
                <a:gd name="T19" fmla="*/ 632 h 976"/>
                <a:gd name="T20" fmla="*/ 1172 w 1247"/>
                <a:gd name="T21" fmla="*/ 594 h 976"/>
                <a:gd name="T22" fmla="*/ 1060 w 1247"/>
                <a:gd name="T23" fmla="*/ 655 h 976"/>
                <a:gd name="T24" fmla="*/ 1043 w 1247"/>
                <a:gd name="T25" fmla="*/ 716 h 976"/>
                <a:gd name="T26" fmla="*/ 974 w 1247"/>
                <a:gd name="T27" fmla="*/ 749 h 976"/>
                <a:gd name="T28" fmla="*/ 836 w 1247"/>
                <a:gd name="T29" fmla="*/ 753 h 976"/>
                <a:gd name="T30" fmla="*/ 777 w 1247"/>
                <a:gd name="T31" fmla="*/ 708 h 976"/>
                <a:gd name="T32" fmla="*/ 750 w 1247"/>
                <a:gd name="T33" fmla="*/ 616 h 976"/>
                <a:gd name="T34" fmla="*/ 752 w 1247"/>
                <a:gd name="T35" fmla="*/ 507 h 976"/>
                <a:gd name="T36" fmla="*/ 768 w 1247"/>
                <a:gd name="T37" fmla="*/ 434 h 976"/>
                <a:gd name="T38" fmla="*/ 806 w 1247"/>
                <a:gd name="T39" fmla="*/ 364 h 976"/>
                <a:gd name="T40" fmla="*/ 780 w 1247"/>
                <a:gd name="T41" fmla="*/ 355 h 976"/>
                <a:gd name="T42" fmla="*/ 720 w 1247"/>
                <a:gd name="T43" fmla="*/ 332 h 976"/>
                <a:gd name="T44" fmla="*/ 714 w 1247"/>
                <a:gd name="T45" fmla="*/ 280 h 976"/>
                <a:gd name="T46" fmla="*/ 700 w 1247"/>
                <a:gd name="T47" fmla="*/ 241 h 976"/>
                <a:gd name="T48" fmla="*/ 661 w 1247"/>
                <a:gd name="T49" fmla="*/ 154 h 976"/>
                <a:gd name="T50" fmla="*/ 621 w 1247"/>
                <a:gd name="T51" fmla="*/ 154 h 976"/>
                <a:gd name="T52" fmla="*/ 519 w 1247"/>
                <a:gd name="T53" fmla="*/ 161 h 976"/>
                <a:gd name="T54" fmla="*/ 491 w 1247"/>
                <a:gd name="T55" fmla="*/ 76 h 976"/>
                <a:gd name="T56" fmla="*/ 390 w 1247"/>
                <a:gd name="T57" fmla="*/ 45 h 976"/>
                <a:gd name="T58" fmla="*/ 378 w 1247"/>
                <a:gd name="T59" fmla="*/ 72 h 976"/>
                <a:gd name="T60" fmla="*/ 106 w 1247"/>
                <a:gd name="T61" fmla="*/ 0 h 976"/>
                <a:gd name="T62" fmla="*/ 0 w 1247"/>
                <a:gd name="T63" fmla="*/ 25 h 976"/>
                <a:gd name="T64" fmla="*/ 10 w 1247"/>
                <a:gd name="T65" fmla="*/ 76 h 976"/>
                <a:gd name="T66" fmla="*/ 5 w 1247"/>
                <a:gd name="T67" fmla="*/ 117 h 976"/>
                <a:gd name="T68" fmla="*/ 42 w 1247"/>
                <a:gd name="T69" fmla="*/ 176 h 976"/>
                <a:gd name="T70" fmla="*/ 58 w 1247"/>
                <a:gd name="T71" fmla="*/ 267 h 976"/>
                <a:gd name="T72" fmla="*/ 7 w 1247"/>
                <a:gd name="T73" fmla="*/ 261 h 976"/>
                <a:gd name="T74" fmla="*/ 43 w 1247"/>
                <a:gd name="T75" fmla="*/ 296 h 976"/>
                <a:gd name="T76" fmla="*/ 91 w 1247"/>
                <a:gd name="T77" fmla="*/ 337 h 976"/>
                <a:gd name="T78" fmla="*/ 142 w 1247"/>
                <a:gd name="T79" fmla="*/ 459 h 976"/>
                <a:gd name="T80" fmla="*/ 210 w 1247"/>
                <a:gd name="T81" fmla="*/ 506 h 976"/>
                <a:gd name="T82" fmla="*/ 172 w 1247"/>
                <a:gd name="T83" fmla="*/ 452 h 976"/>
                <a:gd name="T84" fmla="*/ 162 w 1247"/>
                <a:gd name="T85" fmla="*/ 387 h 976"/>
                <a:gd name="T86" fmla="*/ 131 w 1247"/>
                <a:gd name="T87" fmla="*/ 319 h 976"/>
                <a:gd name="T88" fmla="*/ 116 w 1247"/>
                <a:gd name="T89" fmla="*/ 227 h 976"/>
                <a:gd name="T90" fmla="*/ 66 w 1247"/>
                <a:gd name="T91" fmla="*/ 128 h 976"/>
                <a:gd name="T92" fmla="*/ 84 w 1247"/>
                <a:gd name="T93" fmla="*/ 42 h 976"/>
                <a:gd name="T94" fmla="*/ 138 w 1247"/>
                <a:gd name="T95" fmla="*/ 73 h 976"/>
                <a:gd name="T96" fmla="*/ 160 w 1247"/>
                <a:gd name="T97" fmla="*/ 180 h 976"/>
                <a:gd name="T98" fmla="*/ 208 w 1247"/>
                <a:gd name="T99" fmla="*/ 284 h 976"/>
                <a:gd name="T100" fmla="*/ 257 w 1247"/>
                <a:gd name="T101" fmla="*/ 318 h 976"/>
                <a:gd name="T102" fmla="*/ 255 w 1247"/>
                <a:gd name="T103" fmla="*/ 375 h 976"/>
                <a:gd name="T104" fmla="*/ 294 w 1247"/>
                <a:gd name="T105" fmla="*/ 418 h 976"/>
                <a:gd name="T106" fmla="*/ 313 w 1247"/>
                <a:gd name="T107" fmla="*/ 456 h 976"/>
                <a:gd name="T108" fmla="*/ 371 w 1247"/>
                <a:gd name="T109" fmla="*/ 575 h 976"/>
                <a:gd name="T110" fmla="*/ 375 w 1247"/>
                <a:gd name="T111" fmla="*/ 645 h 976"/>
                <a:gd name="T112" fmla="*/ 423 w 1247"/>
                <a:gd name="T113" fmla="*/ 740 h 976"/>
                <a:gd name="T114" fmla="*/ 556 w 1247"/>
                <a:gd name="T115" fmla="*/ 838 h 976"/>
                <a:gd name="T116" fmla="*/ 677 w 1247"/>
                <a:gd name="T117" fmla="*/ 899 h 976"/>
                <a:gd name="T118" fmla="*/ 840 w 1247"/>
                <a:gd name="T119" fmla="*/ 878 h 976"/>
                <a:gd name="T120" fmla="*/ 947 w 1247"/>
                <a:gd name="T121" fmla="*/ 960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47" h="976">
                  <a:moveTo>
                    <a:pt x="947" y="960"/>
                  </a:moveTo>
                  <a:cubicBezTo>
                    <a:pt x="947" y="944"/>
                    <a:pt x="947" y="922"/>
                    <a:pt x="947" y="922"/>
                  </a:cubicBezTo>
                  <a:cubicBezTo>
                    <a:pt x="968" y="891"/>
                    <a:pt x="968" y="891"/>
                    <a:pt x="968" y="891"/>
                  </a:cubicBezTo>
                  <a:cubicBezTo>
                    <a:pt x="1027" y="892"/>
                    <a:pt x="1027" y="892"/>
                    <a:pt x="1027" y="892"/>
                  </a:cubicBezTo>
                  <a:cubicBezTo>
                    <a:pt x="1027" y="881"/>
                    <a:pt x="1027" y="881"/>
                    <a:pt x="1027" y="881"/>
                  </a:cubicBezTo>
                  <a:cubicBezTo>
                    <a:pt x="1027" y="881"/>
                    <a:pt x="1036" y="884"/>
                    <a:pt x="1036" y="874"/>
                  </a:cubicBezTo>
                  <a:cubicBezTo>
                    <a:pt x="1036" y="864"/>
                    <a:pt x="1024" y="868"/>
                    <a:pt x="1024" y="868"/>
                  </a:cubicBezTo>
                  <a:cubicBezTo>
                    <a:pt x="1020" y="852"/>
                    <a:pt x="1020" y="852"/>
                    <a:pt x="1020" y="852"/>
                  </a:cubicBezTo>
                  <a:cubicBezTo>
                    <a:pt x="1020" y="852"/>
                    <a:pt x="1018" y="853"/>
                    <a:pt x="1008" y="851"/>
                  </a:cubicBezTo>
                  <a:cubicBezTo>
                    <a:pt x="998" y="849"/>
                    <a:pt x="997" y="833"/>
                    <a:pt x="997" y="833"/>
                  </a:cubicBezTo>
                  <a:cubicBezTo>
                    <a:pt x="987" y="829"/>
                    <a:pt x="987" y="829"/>
                    <a:pt x="987" y="829"/>
                  </a:cubicBezTo>
                  <a:cubicBezTo>
                    <a:pt x="987" y="829"/>
                    <a:pt x="1013" y="831"/>
                    <a:pt x="1015" y="825"/>
                  </a:cubicBezTo>
                  <a:cubicBezTo>
                    <a:pt x="1017" y="819"/>
                    <a:pt x="1014" y="795"/>
                    <a:pt x="1014" y="795"/>
                  </a:cubicBezTo>
                  <a:cubicBezTo>
                    <a:pt x="1101" y="796"/>
                    <a:pt x="1101" y="796"/>
                    <a:pt x="1101" y="796"/>
                  </a:cubicBezTo>
                  <a:cubicBezTo>
                    <a:pt x="1101" y="796"/>
                    <a:pt x="1103" y="786"/>
                    <a:pt x="1108" y="786"/>
                  </a:cubicBezTo>
                  <a:cubicBezTo>
                    <a:pt x="1113" y="786"/>
                    <a:pt x="1107" y="794"/>
                    <a:pt x="1118" y="793"/>
                  </a:cubicBezTo>
                  <a:cubicBezTo>
                    <a:pt x="1129" y="792"/>
                    <a:pt x="1136" y="760"/>
                    <a:pt x="1136" y="760"/>
                  </a:cubicBezTo>
                  <a:cubicBezTo>
                    <a:pt x="1139" y="771"/>
                    <a:pt x="1139" y="771"/>
                    <a:pt x="1139" y="771"/>
                  </a:cubicBezTo>
                  <a:cubicBezTo>
                    <a:pt x="1150" y="761"/>
                    <a:pt x="1150" y="761"/>
                    <a:pt x="1150" y="761"/>
                  </a:cubicBezTo>
                  <a:cubicBezTo>
                    <a:pt x="1164" y="745"/>
                    <a:pt x="1164" y="745"/>
                    <a:pt x="1164" y="745"/>
                  </a:cubicBezTo>
                  <a:cubicBezTo>
                    <a:pt x="1164" y="745"/>
                    <a:pt x="1158" y="764"/>
                    <a:pt x="1162" y="767"/>
                  </a:cubicBezTo>
                  <a:cubicBezTo>
                    <a:pt x="1166" y="770"/>
                    <a:pt x="1173" y="770"/>
                    <a:pt x="1173" y="770"/>
                  </a:cubicBezTo>
                  <a:cubicBezTo>
                    <a:pt x="1188" y="725"/>
                    <a:pt x="1188" y="725"/>
                    <a:pt x="1188" y="725"/>
                  </a:cubicBezTo>
                  <a:cubicBezTo>
                    <a:pt x="1182" y="717"/>
                    <a:pt x="1182" y="717"/>
                    <a:pt x="1182" y="717"/>
                  </a:cubicBezTo>
                  <a:cubicBezTo>
                    <a:pt x="1195" y="713"/>
                    <a:pt x="1195" y="713"/>
                    <a:pt x="1195" y="713"/>
                  </a:cubicBezTo>
                  <a:cubicBezTo>
                    <a:pt x="1196" y="705"/>
                    <a:pt x="1196" y="705"/>
                    <a:pt x="1196" y="705"/>
                  </a:cubicBezTo>
                  <a:cubicBezTo>
                    <a:pt x="1184" y="701"/>
                    <a:pt x="1184" y="701"/>
                    <a:pt x="1184" y="701"/>
                  </a:cubicBezTo>
                  <a:cubicBezTo>
                    <a:pt x="1196" y="688"/>
                    <a:pt x="1196" y="688"/>
                    <a:pt x="1196" y="688"/>
                  </a:cubicBezTo>
                  <a:cubicBezTo>
                    <a:pt x="1200" y="672"/>
                    <a:pt x="1200" y="672"/>
                    <a:pt x="1200" y="672"/>
                  </a:cubicBezTo>
                  <a:cubicBezTo>
                    <a:pt x="1200" y="672"/>
                    <a:pt x="1230" y="641"/>
                    <a:pt x="1234" y="632"/>
                  </a:cubicBezTo>
                  <a:cubicBezTo>
                    <a:pt x="1238" y="623"/>
                    <a:pt x="1247" y="600"/>
                    <a:pt x="1236" y="597"/>
                  </a:cubicBezTo>
                  <a:cubicBezTo>
                    <a:pt x="1225" y="594"/>
                    <a:pt x="1203" y="601"/>
                    <a:pt x="1203" y="601"/>
                  </a:cubicBezTo>
                  <a:cubicBezTo>
                    <a:pt x="1203" y="601"/>
                    <a:pt x="1179" y="594"/>
                    <a:pt x="1172" y="594"/>
                  </a:cubicBezTo>
                  <a:cubicBezTo>
                    <a:pt x="1165" y="594"/>
                    <a:pt x="1137" y="602"/>
                    <a:pt x="1123" y="606"/>
                  </a:cubicBezTo>
                  <a:cubicBezTo>
                    <a:pt x="1109" y="610"/>
                    <a:pt x="1084" y="606"/>
                    <a:pt x="1078" y="612"/>
                  </a:cubicBezTo>
                  <a:cubicBezTo>
                    <a:pt x="1072" y="618"/>
                    <a:pt x="1061" y="639"/>
                    <a:pt x="1060" y="655"/>
                  </a:cubicBezTo>
                  <a:cubicBezTo>
                    <a:pt x="1059" y="671"/>
                    <a:pt x="1059" y="686"/>
                    <a:pt x="1059" y="686"/>
                  </a:cubicBezTo>
                  <a:cubicBezTo>
                    <a:pt x="1049" y="690"/>
                    <a:pt x="1049" y="690"/>
                    <a:pt x="1049" y="690"/>
                  </a:cubicBezTo>
                  <a:cubicBezTo>
                    <a:pt x="1049" y="690"/>
                    <a:pt x="1049" y="710"/>
                    <a:pt x="1043" y="716"/>
                  </a:cubicBezTo>
                  <a:cubicBezTo>
                    <a:pt x="1037" y="722"/>
                    <a:pt x="1016" y="728"/>
                    <a:pt x="1011" y="737"/>
                  </a:cubicBezTo>
                  <a:cubicBezTo>
                    <a:pt x="1006" y="746"/>
                    <a:pt x="1009" y="765"/>
                    <a:pt x="996" y="766"/>
                  </a:cubicBezTo>
                  <a:cubicBezTo>
                    <a:pt x="983" y="767"/>
                    <a:pt x="990" y="749"/>
                    <a:pt x="974" y="749"/>
                  </a:cubicBezTo>
                  <a:cubicBezTo>
                    <a:pt x="958" y="749"/>
                    <a:pt x="932" y="761"/>
                    <a:pt x="912" y="761"/>
                  </a:cubicBezTo>
                  <a:cubicBezTo>
                    <a:pt x="892" y="761"/>
                    <a:pt x="864" y="784"/>
                    <a:pt x="855" y="780"/>
                  </a:cubicBezTo>
                  <a:cubicBezTo>
                    <a:pt x="846" y="776"/>
                    <a:pt x="847" y="755"/>
                    <a:pt x="836" y="753"/>
                  </a:cubicBezTo>
                  <a:cubicBezTo>
                    <a:pt x="825" y="751"/>
                    <a:pt x="797" y="748"/>
                    <a:pt x="797" y="748"/>
                  </a:cubicBezTo>
                  <a:cubicBezTo>
                    <a:pt x="797" y="748"/>
                    <a:pt x="795" y="731"/>
                    <a:pt x="790" y="724"/>
                  </a:cubicBezTo>
                  <a:cubicBezTo>
                    <a:pt x="785" y="717"/>
                    <a:pt x="777" y="708"/>
                    <a:pt x="777" y="708"/>
                  </a:cubicBezTo>
                  <a:cubicBezTo>
                    <a:pt x="777" y="685"/>
                    <a:pt x="777" y="685"/>
                    <a:pt x="777" y="685"/>
                  </a:cubicBezTo>
                  <a:cubicBezTo>
                    <a:pt x="751" y="644"/>
                    <a:pt x="751" y="644"/>
                    <a:pt x="751" y="644"/>
                  </a:cubicBezTo>
                  <a:cubicBezTo>
                    <a:pt x="750" y="616"/>
                    <a:pt x="750" y="616"/>
                    <a:pt x="750" y="616"/>
                  </a:cubicBezTo>
                  <a:cubicBezTo>
                    <a:pt x="739" y="596"/>
                    <a:pt x="739" y="596"/>
                    <a:pt x="739" y="596"/>
                  </a:cubicBezTo>
                  <a:cubicBezTo>
                    <a:pt x="736" y="539"/>
                    <a:pt x="736" y="539"/>
                    <a:pt x="736" y="539"/>
                  </a:cubicBezTo>
                  <a:cubicBezTo>
                    <a:pt x="736" y="539"/>
                    <a:pt x="752" y="518"/>
                    <a:pt x="752" y="507"/>
                  </a:cubicBezTo>
                  <a:cubicBezTo>
                    <a:pt x="752" y="496"/>
                    <a:pt x="754" y="466"/>
                    <a:pt x="754" y="466"/>
                  </a:cubicBezTo>
                  <a:cubicBezTo>
                    <a:pt x="752" y="439"/>
                    <a:pt x="752" y="439"/>
                    <a:pt x="752" y="439"/>
                  </a:cubicBezTo>
                  <a:cubicBezTo>
                    <a:pt x="768" y="434"/>
                    <a:pt x="768" y="434"/>
                    <a:pt x="768" y="434"/>
                  </a:cubicBezTo>
                  <a:cubicBezTo>
                    <a:pt x="768" y="434"/>
                    <a:pt x="767" y="394"/>
                    <a:pt x="775" y="392"/>
                  </a:cubicBezTo>
                  <a:cubicBezTo>
                    <a:pt x="783" y="390"/>
                    <a:pt x="791" y="401"/>
                    <a:pt x="793" y="392"/>
                  </a:cubicBezTo>
                  <a:cubicBezTo>
                    <a:pt x="795" y="383"/>
                    <a:pt x="806" y="364"/>
                    <a:pt x="806" y="364"/>
                  </a:cubicBezTo>
                  <a:cubicBezTo>
                    <a:pt x="806" y="363"/>
                    <a:pt x="806" y="363"/>
                    <a:pt x="806" y="363"/>
                  </a:cubicBezTo>
                  <a:cubicBezTo>
                    <a:pt x="803" y="364"/>
                    <a:pt x="799" y="365"/>
                    <a:pt x="794" y="365"/>
                  </a:cubicBezTo>
                  <a:cubicBezTo>
                    <a:pt x="783" y="365"/>
                    <a:pt x="785" y="355"/>
                    <a:pt x="780" y="355"/>
                  </a:cubicBezTo>
                  <a:cubicBezTo>
                    <a:pt x="775" y="355"/>
                    <a:pt x="756" y="355"/>
                    <a:pt x="756" y="355"/>
                  </a:cubicBezTo>
                  <a:cubicBezTo>
                    <a:pt x="750" y="344"/>
                    <a:pt x="750" y="344"/>
                    <a:pt x="750" y="344"/>
                  </a:cubicBezTo>
                  <a:cubicBezTo>
                    <a:pt x="750" y="344"/>
                    <a:pt x="720" y="343"/>
                    <a:pt x="720" y="332"/>
                  </a:cubicBezTo>
                  <a:cubicBezTo>
                    <a:pt x="720" y="321"/>
                    <a:pt x="722" y="313"/>
                    <a:pt x="722" y="313"/>
                  </a:cubicBezTo>
                  <a:cubicBezTo>
                    <a:pt x="714" y="307"/>
                    <a:pt x="714" y="307"/>
                    <a:pt x="714" y="307"/>
                  </a:cubicBezTo>
                  <a:cubicBezTo>
                    <a:pt x="714" y="280"/>
                    <a:pt x="714" y="280"/>
                    <a:pt x="714" y="280"/>
                  </a:cubicBezTo>
                  <a:cubicBezTo>
                    <a:pt x="714" y="280"/>
                    <a:pt x="724" y="277"/>
                    <a:pt x="717" y="270"/>
                  </a:cubicBezTo>
                  <a:cubicBezTo>
                    <a:pt x="710" y="263"/>
                    <a:pt x="701" y="262"/>
                    <a:pt x="701" y="254"/>
                  </a:cubicBezTo>
                  <a:cubicBezTo>
                    <a:pt x="701" y="247"/>
                    <a:pt x="700" y="241"/>
                    <a:pt x="700" y="241"/>
                  </a:cubicBezTo>
                  <a:cubicBezTo>
                    <a:pt x="700" y="241"/>
                    <a:pt x="689" y="234"/>
                    <a:pt x="689" y="225"/>
                  </a:cubicBezTo>
                  <a:cubicBezTo>
                    <a:pt x="689" y="216"/>
                    <a:pt x="697" y="201"/>
                    <a:pt x="689" y="193"/>
                  </a:cubicBezTo>
                  <a:cubicBezTo>
                    <a:pt x="681" y="185"/>
                    <a:pt x="661" y="154"/>
                    <a:pt x="661" y="154"/>
                  </a:cubicBezTo>
                  <a:cubicBezTo>
                    <a:pt x="632" y="153"/>
                    <a:pt x="632" y="153"/>
                    <a:pt x="632" y="153"/>
                  </a:cubicBezTo>
                  <a:cubicBezTo>
                    <a:pt x="622" y="148"/>
                    <a:pt x="622" y="148"/>
                    <a:pt x="622" y="148"/>
                  </a:cubicBezTo>
                  <a:cubicBezTo>
                    <a:pt x="621" y="154"/>
                    <a:pt x="621" y="154"/>
                    <a:pt x="621" y="154"/>
                  </a:cubicBezTo>
                  <a:cubicBezTo>
                    <a:pt x="621" y="154"/>
                    <a:pt x="609" y="153"/>
                    <a:pt x="605" y="157"/>
                  </a:cubicBezTo>
                  <a:cubicBezTo>
                    <a:pt x="601" y="161"/>
                    <a:pt x="588" y="195"/>
                    <a:pt x="569" y="195"/>
                  </a:cubicBezTo>
                  <a:cubicBezTo>
                    <a:pt x="550" y="195"/>
                    <a:pt x="519" y="161"/>
                    <a:pt x="519" y="161"/>
                  </a:cubicBezTo>
                  <a:cubicBezTo>
                    <a:pt x="519" y="161"/>
                    <a:pt x="529" y="119"/>
                    <a:pt x="519" y="109"/>
                  </a:cubicBezTo>
                  <a:cubicBezTo>
                    <a:pt x="508" y="98"/>
                    <a:pt x="497" y="97"/>
                    <a:pt x="497" y="97"/>
                  </a:cubicBezTo>
                  <a:cubicBezTo>
                    <a:pt x="491" y="76"/>
                    <a:pt x="491" y="76"/>
                    <a:pt x="491" y="76"/>
                  </a:cubicBezTo>
                  <a:cubicBezTo>
                    <a:pt x="473" y="68"/>
                    <a:pt x="473" y="68"/>
                    <a:pt x="473" y="68"/>
                  </a:cubicBezTo>
                  <a:cubicBezTo>
                    <a:pt x="473" y="68"/>
                    <a:pt x="478" y="60"/>
                    <a:pt x="463" y="45"/>
                  </a:cubicBezTo>
                  <a:cubicBezTo>
                    <a:pt x="390" y="45"/>
                    <a:pt x="390" y="45"/>
                    <a:pt x="390" y="45"/>
                  </a:cubicBezTo>
                  <a:cubicBezTo>
                    <a:pt x="390" y="45"/>
                    <a:pt x="383" y="49"/>
                    <a:pt x="383" y="55"/>
                  </a:cubicBezTo>
                  <a:cubicBezTo>
                    <a:pt x="383" y="61"/>
                    <a:pt x="385" y="65"/>
                    <a:pt x="382" y="69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246" y="74"/>
                    <a:pt x="246" y="74"/>
                    <a:pt x="246" y="74"/>
                  </a:cubicBezTo>
                  <a:cubicBezTo>
                    <a:pt x="106" y="10"/>
                    <a:pt x="106" y="10"/>
                    <a:pt x="106" y="10"/>
                  </a:cubicBezTo>
                  <a:cubicBezTo>
                    <a:pt x="106" y="10"/>
                    <a:pt x="96" y="10"/>
                    <a:pt x="106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2" y="12"/>
                    <a:pt x="0" y="20"/>
                    <a:pt x="0" y="25"/>
                  </a:cubicBezTo>
                  <a:cubicBezTo>
                    <a:pt x="0" y="36"/>
                    <a:pt x="13" y="54"/>
                    <a:pt x="13" y="54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4" y="121"/>
                    <a:pt x="11" y="162"/>
                    <a:pt x="20" y="171"/>
                  </a:cubicBezTo>
                  <a:cubicBezTo>
                    <a:pt x="29" y="180"/>
                    <a:pt x="42" y="176"/>
                    <a:pt x="42" y="176"/>
                  </a:cubicBezTo>
                  <a:cubicBezTo>
                    <a:pt x="42" y="176"/>
                    <a:pt x="66" y="219"/>
                    <a:pt x="66" y="227"/>
                  </a:cubicBezTo>
                  <a:cubicBezTo>
                    <a:pt x="66" y="235"/>
                    <a:pt x="47" y="260"/>
                    <a:pt x="47" y="260"/>
                  </a:cubicBezTo>
                  <a:cubicBezTo>
                    <a:pt x="58" y="267"/>
                    <a:pt x="58" y="267"/>
                    <a:pt x="58" y="267"/>
                  </a:cubicBezTo>
                  <a:cubicBezTo>
                    <a:pt x="50" y="276"/>
                    <a:pt x="50" y="276"/>
                    <a:pt x="50" y="276"/>
                  </a:cubicBezTo>
                  <a:cubicBezTo>
                    <a:pt x="41" y="264"/>
                    <a:pt x="41" y="264"/>
                    <a:pt x="41" y="264"/>
                  </a:cubicBezTo>
                  <a:cubicBezTo>
                    <a:pt x="7" y="261"/>
                    <a:pt x="7" y="261"/>
                    <a:pt x="7" y="261"/>
                  </a:cubicBezTo>
                  <a:cubicBezTo>
                    <a:pt x="23" y="279"/>
                    <a:pt x="23" y="279"/>
                    <a:pt x="23" y="279"/>
                  </a:cubicBezTo>
                  <a:cubicBezTo>
                    <a:pt x="29" y="295"/>
                    <a:pt x="29" y="295"/>
                    <a:pt x="29" y="295"/>
                  </a:cubicBezTo>
                  <a:cubicBezTo>
                    <a:pt x="43" y="296"/>
                    <a:pt x="43" y="296"/>
                    <a:pt x="43" y="296"/>
                  </a:cubicBezTo>
                  <a:cubicBezTo>
                    <a:pt x="43" y="296"/>
                    <a:pt x="60" y="319"/>
                    <a:pt x="65" y="317"/>
                  </a:cubicBezTo>
                  <a:cubicBezTo>
                    <a:pt x="70" y="315"/>
                    <a:pt x="85" y="305"/>
                    <a:pt x="85" y="305"/>
                  </a:cubicBezTo>
                  <a:cubicBezTo>
                    <a:pt x="85" y="305"/>
                    <a:pt x="84" y="328"/>
                    <a:pt x="91" y="337"/>
                  </a:cubicBezTo>
                  <a:cubicBezTo>
                    <a:pt x="98" y="346"/>
                    <a:pt x="113" y="358"/>
                    <a:pt x="113" y="368"/>
                  </a:cubicBezTo>
                  <a:cubicBezTo>
                    <a:pt x="113" y="378"/>
                    <a:pt x="96" y="398"/>
                    <a:pt x="102" y="412"/>
                  </a:cubicBezTo>
                  <a:cubicBezTo>
                    <a:pt x="108" y="426"/>
                    <a:pt x="128" y="442"/>
                    <a:pt x="142" y="459"/>
                  </a:cubicBezTo>
                  <a:cubicBezTo>
                    <a:pt x="156" y="476"/>
                    <a:pt x="175" y="497"/>
                    <a:pt x="175" y="497"/>
                  </a:cubicBezTo>
                  <a:cubicBezTo>
                    <a:pt x="175" y="497"/>
                    <a:pt x="162" y="524"/>
                    <a:pt x="178" y="525"/>
                  </a:cubicBezTo>
                  <a:cubicBezTo>
                    <a:pt x="194" y="526"/>
                    <a:pt x="210" y="506"/>
                    <a:pt x="210" y="506"/>
                  </a:cubicBezTo>
                  <a:cubicBezTo>
                    <a:pt x="206" y="493"/>
                    <a:pt x="206" y="493"/>
                    <a:pt x="206" y="493"/>
                  </a:cubicBezTo>
                  <a:cubicBezTo>
                    <a:pt x="206" y="493"/>
                    <a:pt x="198" y="457"/>
                    <a:pt x="190" y="453"/>
                  </a:cubicBezTo>
                  <a:cubicBezTo>
                    <a:pt x="182" y="449"/>
                    <a:pt x="172" y="452"/>
                    <a:pt x="172" y="452"/>
                  </a:cubicBezTo>
                  <a:cubicBezTo>
                    <a:pt x="160" y="435"/>
                    <a:pt x="160" y="435"/>
                    <a:pt x="160" y="435"/>
                  </a:cubicBezTo>
                  <a:cubicBezTo>
                    <a:pt x="160" y="435"/>
                    <a:pt x="164" y="422"/>
                    <a:pt x="162" y="414"/>
                  </a:cubicBezTo>
                  <a:cubicBezTo>
                    <a:pt x="160" y="406"/>
                    <a:pt x="162" y="387"/>
                    <a:pt x="162" y="387"/>
                  </a:cubicBezTo>
                  <a:cubicBezTo>
                    <a:pt x="150" y="365"/>
                    <a:pt x="150" y="365"/>
                    <a:pt x="150" y="365"/>
                  </a:cubicBezTo>
                  <a:cubicBezTo>
                    <a:pt x="150" y="365"/>
                    <a:pt x="160" y="341"/>
                    <a:pt x="156" y="329"/>
                  </a:cubicBezTo>
                  <a:cubicBezTo>
                    <a:pt x="152" y="317"/>
                    <a:pt x="131" y="319"/>
                    <a:pt x="131" y="319"/>
                  </a:cubicBezTo>
                  <a:cubicBezTo>
                    <a:pt x="131" y="288"/>
                    <a:pt x="131" y="288"/>
                    <a:pt x="131" y="288"/>
                  </a:cubicBezTo>
                  <a:cubicBezTo>
                    <a:pt x="114" y="267"/>
                    <a:pt x="114" y="267"/>
                    <a:pt x="114" y="267"/>
                  </a:cubicBezTo>
                  <a:cubicBezTo>
                    <a:pt x="116" y="227"/>
                    <a:pt x="116" y="227"/>
                    <a:pt x="116" y="227"/>
                  </a:cubicBezTo>
                  <a:cubicBezTo>
                    <a:pt x="116" y="227"/>
                    <a:pt x="102" y="207"/>
                    <a:pt x="97" y="201"/>
                  </a:cubicBezTo>
                  <a:cubicBezTo>
                    <a:pt x="92" y="195"/>
                    <a:pt x="89" y="170"/>
                    <a:pt x="89" y="170"/>
                  </a:cubicBezTo>
                  <a:cubicBezTo>
                    <a:pt x="89" y="170"/>
                    <a:pt x="63" y="132"/>
                    <a:pt x="66" y="128"/>
                  </a:cubicBezTo>
                  <a:cubicBezTo>
                    <a:pt x="69" y="124"/>
                    <a:pt x="79" y="107"/>
                    <a:pt x="75" y="95"/>
                  </a:cubicBezTo>
                  <a:cubicBezTo>
                    <a:pt x="71" y="83"/>
                    <a:pt x="85" y="67"/>
                    <a:pt x="85" y="67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104" y="62"/>
                    <a:pt x="113" y="62"/>
                  </a:cubicBezTo>
                  <a:cubicBezTo>
                    <a:pt x="122" y="62"/>
                    <a:pt x="134" y="58"/>
                    <a:pt x="134" y="58"/>
                  </a:cubicBezTo>
                  <a:cubicBezTo>
                    <a:pt x="134" y="58"/>
                    <a:pt x="131" y="69"/>
                    <a:pt x="138" y="73"/>
                  </a:cubicBezTo>
                  <a:cubicBezTo>
                    <a:pt x="145" y="77"/>
                    <a:pt x="155" y="77"/>
                    <a:pt x="155" y="77"/>
                  </a:cubicBezTo>
                  <a:cubicBezTo>
                    <a:pt x="155" y="77"/>
                    <a:pt x="152" y="88"/>
                    <a:pt x="152" y="106"/>
                  </a:cubicBezTo>
                  <a:cubicBezTo>
                    <a:pt x="152" y="124"/>
                    <a:pt x="160" y="180"/>
                    <a:pt x="160" y="180"/>
                  </a:cubicBezTo>
                  <a:cubicBezTo>
                    <a:pt x="160" y="180"/>
                    <a:pt x="181" y="255"/>
                    <a:pt x="189" y="257"/>
                  </a:cubicBezTo>
                  <a:cubicBezTo>
                    <a:pt x="197" y="259"/>
                    <a:pt x="217" y="257"/>
                    <a:pt x="217" y="257"/>
                  </a:cubicBezTo>
                  <a:cubicBezTo>
                    <a:pt x="217" y="257"/>
                    <a:pt x="199" y="268"/>
                    <a:pt x="208" y="284"/>
                  </a:cubicBezTo>
                  <a:cubicBezTo>
                    <a:pt x="217" y="300"/>
                    <a:pt x="234" y="302"/>
                    <a:pt x="234" y="302"/>
                  </a:cubicBezTo>
                  <a:cubicBezTo>
                    <a:pt x="236" y="317"/>
                    <a:pt x="236" y="317"/>
                    <a:pt x="236" y="317"/>
                  </a:cubicBezTo>
                  <a:cubicBezTo>
                    <a:pt x="257" y="318"/>
                    <a:pt x="257" y="318"/>
                    <a:pt x="257" y="318"/>
                  </a:cubicBezTo>
                  <a:cubicBezTo>
                    <a:pt x="260" y="346"/>
                    <a:pt x="260" y="346"/>
                    <a:pt x="260" y="346"/>
                  </a:cubicBezTo>
                  <a:cubicBezTo>
                    <a:pt x="260" y="346"/>
                    <a:pt x="228" y="359"/>
                    <a:pt x="238" y="374"/>
                  </a:cubicBezTo>
                  <a:cubicBezTo>
                    <a:pt x="248" y="389"/>
                    <a:pt x="255" y="375"/>
                    <a:pt x="255" y="375"/>
                  </a:cubicBezTo>
                  <a:cubicBezTo>
                    <a:pt x="255" y="375"/>
                    <a:pt x="264" y="395"/>
                    <a:pt x="270" y="397"/>
                  </a:cubicBezTo>
                  <a:cubicBezTo>
                    <a:pt x="276" y="399"/>
                    <a:pt x="294" y="401"/>
                    <a:pt x="294" y="404"/>
                  </a:cubicBezTo>
                  <a:cubicBezTo>
                    <a:pt x="294" y="407"/>
                    <a:pt x="294" y="418"/>
                    <a:pt x="294" y="418"/>
                  </a:cubicBezTo>
                  <a:cubicBezTo>
                    <a:pt x="294" y="418"/>
                    <a:pt x="279" y="437"/>
                    <a:pt x="290" y="438"/>
                  </a:cubicBezTo>
                  <a:cubicBezTo>
                    <a:pt x="301" y="439"/>
                    <a:pt x="313" y="437"/>
                    <a:pt x="313" y="437"/>
                  </a:cubicBezTo>
                  <a:cubicBezTo>
                    <a:pt x="313" y="456"/>
                    <a:pt x="313" y="456"/>
                    <a:pt x="313" y="456"/>
                  </a:cubicBezTo>
                  <a:cubicBezTo>
                    <a:pt x="313" y="456"/>
                    <a:pt x="335" y="481"/>
                    <a:pt x="345" y="495"/>
                  </a:cubicBezTo>
                  <a:cubicBezTo>
                    <a:pt x="355" y="509"/>
                    <a:pt x="373" y="538"/>
                    <a:pt x="373" y="547"/>
                  </a:cubicBezTo>
                  <a:cubicBezTo>
                    <a:pt x="373" y="556"/>
                    <a:pt x="370" y="562"/>
                    <a:pt x="371" y="575"/>
                  </a:cubicBezTo>
                  <a:cubicBezTo>
                    <a:pt x="372" y="588"/>
                    <a:pt x="386" y="595"/>
                    <a:pt x="384" y="606"/>
                  </a:cubicBezTo>
                  <a:cubicBezTo>
                    <a:pt x="382" y="617"/>
                    <a:pt x="364" y="625"/>
                    <a:pt x="364" y="632"/>
                  </a:cubicBezTo>
                  <a:cubicBezTo>
                    <a:pt x="364" y="639"/>
                    <a:pt x="375" y="645"/>
                    <a:pt x="375" y="645"/>
                  </a:cubicBezTo>
                  <a:cubicBezTo>
                    <a:pt x="375" y="645"/>
                    <a:pt x="351" y="642"/>
                    <a:pt x="351" y="659"/>
                  </a:cubicBezTo>
                  <a:cubicBezTo>
                    <a:pt x="351" y="676"/>
                    <a:pt x="350" y="717"/>
                    <a:pt x="373" y="719"/>
                  </a:cubicBezTo>
                  <a:cubicBezTo>
                    <a:pt x="396" y="721"/>
                    <a:pt x="416" y="727"/>
                    <a:pt x="423" y="740"/>
                  </a:cubicBezTo>
                  <a:cubicBezTo>
                    <a:pt x="430" y="753"/>
                    <a:pt x="437" y="779"/>
                    <a:pt x="453" y="781"/>
                  </a:cubicBezTo>
                  <a:cubicBezTo>
                    <a:pt x="469" y="783"/>
                    <a:pt x="496" y="777"/>
                    <a:pt x="507" y="788"/>
                  </a:cubicBezTo>
                  <a:cubicBezTo>
                    <a:pt x="518" y="799"/>
                    <a:pt x="525" y="825"/>
                    <a:pt x="556" y="838"/>
                  </a:cubicBezTo>
                  <a:cubicBezTo>
                    <a:pt x="587" y="851"/>
                    <a:pt x="632" y="851"/>
                    <a:pt x="639" y="861"/>
                  </a:cubicBezTo>
                  <a:cubicBezTo>
                    <a:pt x="646" y="871"/>
                    <a:pt x="649" y="881"/>
                    <a:pt x="659" y="881"/>
                  </a:cubicBezTo>
                  <a:cubicBezTo>
                    <a:pt x="669" y="881"/>
                    <a:pt x="677" y="899"/>
                    <a:pt x="677" y="899"/>
                  </a:cubicBezTo>
                  <a:cubicBezTo>
                    <a:pt x="677" y="899"/>
                    <a:pt x="720" y="894"/>
                    <a:pt x="722" y="897"/>
                  </a:cubicBezTo>
                  <a:cubicBezTo>
                    <a:pt x="724" y="900"/>
                    <a:pt x="731" y="921"/>
                    <a:pt x="745" y="917"/>
                  </a:cubicBezTo>
                  <a:cubicBezTo>
                    <a:pt x="759" y="913"/>
                    <a:pt x="829" y="875"/>
                    <a:pt x="840" y="878"/>
                  </a:cubicBezTo>
                  <a:cubicBezTo>
                    <a:pt x="851" y="881"/>
                    <a:pt x="921" y="938"/>
                    <a:pt x="924" y="946"/>
                  </a:cubicBezTo>
                  <a:cubicBezTo>
                    <a:pt x="926" y="951"/>
                    <a:pt x="927" y="964"/>
                    <a:pt x="933" y="974"/>
                  </a:cubicBezTo>
                  <a:cubicBezTo>
                    <a:pt x="933" y="974"/>
                    <a:pt x="947" y="976"/>
                    <a:pt x="947" y="96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97">
              <a:extLst>
                <a:ext uri="{FF2B5EF4-FFF2-40B4-BE49-F238E27FC236}">
                  <a16:creationId xmlns:a16="http://schemas.microsoft.com/office/drawing/2014/main" id="{FE4DCEA3-D96E-1DF3-62B4-6997FD551804}"/>
                </a:ext>
              </a:extLst>
            </p:cNvPr>
            <p:cNvSpPr>
              <a:spLocks/>
            </p:cNvSpPr>
            <p:nvPr/>
          </p:nvSpPr>
          <p:spPr bwMode="gray">
            <a:xfrm>
              <a:off x="-16375" y="-12021"/>
              <a:ext cx="699" cy="392"/>
            </a:xfrm>
            <a:custGeom>
              <a:avLst/>
              <a:gdLst>
                <a:gd name="T0" fmla="*/ 103 w 296"/>
                <a:gd name="T1" fmla="*/ 162 h 166"/>
                <a:gd name="T2" fmla="*/ 105 w 296"/>
                <a:gd name="T3" fmla="*/ 151 h 166"/>
                <a:gd name="T4" fmla="*/ 114 w 296"/>
                <a:gd name="T5" fmla="*/ 149 h 166"/>
                <a:gd name="T6" fmla="*/ 115 w 296"/>
                <a:gd name="T7" fmla="*/ 122 h 166"/>
                <a:gd name="T8" fmla="*/ 135 w 296"/>
                <a:gd name="T9" fmla="*/ 123 h 166"/>
                <a:gd name="T10" fmla="*/ 148 w 296"/>
                <a:gd name="T11" fmla="*/ 109 h 166"/>
                <a:gd name="T12" fmla="*/ 162 w 296"/>
                <a:gd name="T13" fmla="*/ 118 h 166"/>
                <a:gd name="T14" fmla="*/ 189 w 296"/>
                <a:gd name="T15" fmla="*/ 95 h 166"/>
                <a:gd name="T16" fmla="*/ 190 w 296"/>
                <a:gd name="T17" fmla="*/ 85 h 166"/>
                <a:gd name="T18" fmla="*/ 203 w 296"/>
                <a:gd name="T19" fmla="*/ 84 h 166"/>
                <a:gd name="T20" fmla="*/ 213 w 296"/>
                <a:gd name="T21" fmla="*/ 65 h 166"/>
                <a:gd name="T22" fmla="*/ 238 w 296"/>
                <a:gd name="T23" fmla="*/ 76 h 166"/>
                <a:gd name="T24" fmla="*/ 251 w 296"/>
                <a:gd name="T25" fmla="*/ 66 h 166"/>
                <a:gd name="T26" fmla="*/ 262 w 296"/>
                <a:gd name="T27" fmla="*/ 66 h 166"/>
                <a:gd name="T28" fmla="*/ 281 w 296"/>
                <a:gd name="T29" fmla="*/ 65 h 166"/>
                <a:gd name="T30" fmla="*/ 294 w 296"/>
                <a:gd name="T31" fmla="*/ 55 h 166"/>
                <a:gd name="T32" fmla="*/ 283 w 296"/>
                <a:gd name="T33" fmla="*/ 41 h 166"/>
                <a:gd name="T34" fmla="*/ 268 w 296"/>
                <a:gd name="T35" fmla="*/ 35 h 166"/>
                <a:gd name="T36" fmla="*/ 248 w 296"/>
                <a:gd name="T37" fmla="*/ 18 h 166"/>
                <a:gd name="T38" fmla="*/ 230 w 296"/>
                <a:gd name="T39" fmla="*/ 13 h 166"/>
                <a:gd name="T40" fmla="*/ 214 w 296"/>
                <a:gd name="T41" fmla="*/ 1 h 166"/>
                <a:gd name="T42" fmla="*/ 192 w 296"/>
                <a:gd name="T43" fmla="*/ 9 h 166"/>
                <a:gd name="T44" fmla="*/ 171 w 296"/>
                <a:gd name="T45" fmla="*/ 0 h 166"/>
                <a:gd name="T46" fmla="*/ 148 w 296"/>
                <a:gd name="T47" fmla="*/ 18 h 166"/>
                <a:gd name="T48" fmla="*/ 125 w 296"/>
                <a:gd name="T49" fmla="*/ 17 h 166"/>
                <a:gd name="T50" fmla="*/ 109 w 296"/>
                <a:gd name="T51" fmla="*/ 11 h 166"/>
                <a:gd name="T52" fmla="*/ 89 w 296"/>
                <a:gd name="T53" fmla="*/ 16 h 166"/>
                <a:gd name="T54" fmla="*/ 81 w 296"/>
                <a:gd name="T55" fmla="*/ 2 h 166"/>
                <a:gd name="T56" fmla="*/ 59 w 296"/>
                <a:gd name="T57" fmla="*/ 15 h 166"/>
                <a:gd name="T58" fmla="*/ 39 w 296"/>
                <a:gd name="T59" fmla="*/ 34 h 166"/>
                <a:gd name="T60" fmla="*/ 11 w 296"/>
                <a:gd name="T61" fmla="*/ 58 h 166"/>
                <a:gd name="T62" fmla="*/ 9 w 296"/>
                <a:gd name="T63" fmla="*/ 79 h 166"/>
                <a:gd name="T64" fmla="*/ 0 w 296"/>
                <a:gd name="T65" fmla="*/ 86 h 166"/>
                <a:gd name="T66" fmla="*/ 13 w 296"/>
                <a:gd name="T67" fmla="*/ 102 h 166"/>
                <a:gd name="T68" fmla="*/ 28 w 296"/>
                <a:gd name="T69" fmla="*/ 102 h 166"/>
                <a:gd name="T70" fmla="*/ 36 w 296"/>
                <a:gd name="T71" fmla="*/ 118 h 166"/>
                <a:gd name="T72" fmla="*/ 52 w 296"/>
                <a:gd name="T73" fmla="*/ 112 h 166"/>
                <a:gd name="T74" fmla="*/ 67 w 296"/>
                <a:gd name="T75" fmla="*/ 114 h 166"/>
                <a:gd name="T76" fmla="*/ 68 w 296"/>
                <a:gd name="T77" fmla="*/ 143 h 166"/>
                <a:gd name="T78" fmla="*/ 85 w 296"/>
                <a:gd name="T79" fmla="*/ 148 h 166"/>
                <a:gd name="T80" fmla="*/ 89 w 296"/>
                <a:gd name="T81" fmla="*/ 166 h 166"/>
                <a:gd name="T82" fmla="*/ 103 w 296"/>
                <a:gd name="T83" fmla="*/ 16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96" h="166">
                  <a:moveTo>
                    <a:pt x="103" y="162"/>
                  </a:moveTo>
                  <a:cubicBezTo>
                    <a:pt x="109" y="160"/>
                    <a:pt x="105" y="151"/>
                    <a:pt x="105" y="151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100" y="122"/>
                    <a:pt x="115" y="122"/>
                  </a:cubicBezTo>
                  <a:cubicBezTo>
                    <a:pt x="130" y="122"/>
                    <a:pt x="135" y="123"/>
                    <a:pt x="135" y="123"/>
                  </a:cubicBezTo>
                  <a:cubicBezTo>
                    <a:pt x="135" y="123"/>
                    <a:pt x="140" y="108"/>
                    <a:pt x="148" y="109"/>
                  </a:cubicBezTo>
                  <a:cubicBezTo>
                    <a:pt x="156" y="110"/>
                    <a:pt x="147" y="118"/>
                    <a:pt x="162" y="118"/>
                  </a:cubicBezTo>
                  <a:cubicBezTo>
                    <a:pt x="177" y="118"/>
                    <a:pt x="189" y="95"/>
                    <a:pt x="189" y="95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203" y="84"/>
                    <a:pt x="203" y="84"/>
                    <a:pt x="203" y="84"/>
                  </a:cubicBezTo>
                  <a:cubicBezTo>
                    <a:pt x="203" y="84"/>
                    <a:pt x="204" y="64"/>
                    <a:pt x="213" y="65"/>
                  </a:cubicBezTo>
                  <a:cubicBezTo>
                    <a:pt x="222" y="66"/>
                    <a:pt x="228" y="77"/>
                    <a:pt x="238" y="76"/>
                  </a:cubicBezTo>
                  <a:cubicBezTo>
                    <a:pt x="248" y="75"/>
                    <a:pt x="247" y="66"/>
                    <a:pt x="251" y="66"/>
                  </a:cubicBezTo>
                  <a:cubicBezTo>
                    <a:pt x="255" y="66"/>
                    <a:pt x="262" y="66"/>
                    <a:pt x="262" y="66"/>
                  </a:cubicBezTo>
                  <a:cubicBezTo>
                    <a:pt x="281" y="65"/>
                    <a:pt x="281" y="65"/>
                    <a:pt x="281" y="65"/>
                  </a:cubicBezTo>
                  <a:cubicBezTo>
                    <a:pt x="282" y="61"/>
                    <a:pt x="296" y="62"/>
                    <a:pt x="294" y="55"/>
                  </a:cubicBezTo>
                  <a:cubicBezTo>
                    <a:pt x="292" y="48"/>
                    <a:pt x="283" y="41"/>
                    <a:pt x="283" y="41"/>
                  </a:cubicBezTo>
                  <a:cubicBezTo>
                    <a:pt x="268" y="35"/>
                    <a:pt x="268" y="35"/>
                    <a:pt x="268" y="35"/>
                  </a:cubicBezTo>
                  <a:cubicBezTo>
                    <a:pt x="268" y="35"/>
                    <a:pt x="257" y="27"/>
                    <a:pt x="248" y="18"/>
                  </a:cubicBezTo>
                  <a:cubicBezTo>
                    <a:pt x="239" y="9"/>
                    <a:pt x="230" y="13"/>
                    <a:pt x="230" y="13"/>
                  </a:cubicBezTo>
                  <a:cubicBezTo>
                    <a:pt x="230" y="13"/>
                    <a:pt x="226" y="1"/>
                    <a:pt x="214" y="1"/>
                  </a:cubicBezTo>
                  <a:cubicBezTo>
                    <a:pt x="202" y="1"/>
                    <a:pt x="192" y="9"/>
                    <a:pt x="192" y="9"/>
                  </a:cubicBezTo>
                  <a:cubicBezTo>
                    <a:pt x="192" y="9"/>
                    <a:pt x="178" y="0"/>
                    <a:pt x="171" y="0"/>
                  </a:cubicBezTo>
                  <a:cubicBezTo>
                    <a:pt x="164" y="0"/>
                    <a:pt x="148" y="18"/>
                    <a:pt x="148" y="18"/>
                  </a:cubicBezTo>
                  <a:cubicBezTo>
                    <a:pt x="125" y="17"/>
                    <a:pt x="125" y="17"/>
                    <a:pt x="125" y="17"/>
                  </a:cubicBezTo>
                  <a:cubicBezTo>
                    <a:pt x="125" y="17"/>
                    <a:pt x="112" y="11"/>
                    <a:pt x="109" y="11"/>
                  </a:cubicBezTo>
                  <a:cubicBezTo>
                    <a:pt x="106" y="11"/>
                    <a:pt x="89" y="16"/>
                    <a:pt x="89" y="16"/>
                  </a:cubicBezTo>
                  <a:cubicBezTo>
                    <a:pt x="89" y="16"/>
                    <a:pt x="84" y="2"/>
                    <a:pt x="81" y="2"/>
                  </a:cubicBezTo>
                  <a:cubicBezTo>
                    <a:pt x="78" y="2"/>
                    <a:pt x="59" y="15"/>
                    <a:pt x="59" y="15"/>
                  </a:cubicBezTo>
                  <a:cubicBezTo>
                    <a:pt x="59" y="15"/>
                    <a:pt x="54" y="26"/>
                    <a:pt x="39" y="34"/>
                  </a:cubicBezTo>
                  <a:cubicBezTo>
                    <a:pt x="24" y="42"/>
                    <a:pt x="11" y="58"/>
                    <a:pt x="11" y="58"/>
                  </a:cubicBezTo>
                  <a:cubicBezTo>
                    <a:pt x="11" y="58"/>
                    <a:pt x="12" y="70"/>
                    <a:pt x="9" y="79"/>
                  </a:cubicBezTo>
                  <a:cubicBezTo>
                    <a:pt x="8" y="82"/>
                    <a:pt x="4" y="85"/>
                    <a:pt x="0" y="86"/>
                  </a:cubicBezTo>
                  <a:cubicBezTo>
                    <a:pt x="2" y="91"/>
                    <a:pt x="6" y="102"/>
                    <a:pt x="13" y="102"/>
                  </a:cubicBezTo>
                  <a:cubicBezTo>
                    <a:pt x="22" y="102"/>
                    <a:pt x="28" y="102"/>
                    <a:pt x="28" y="102"/>
                  </a:cubicBezTo>
                  <a:cubicBezTo>
                    <a:pt x="28" y="102"/>
                    <a:pt x="27" y="120"/>
                    <a:pt x="36" y="118"/>
                  </a:cubicBezTo>
                  <a:cubicBezTo>
                    <a:pt x="45" y="116"/>
                    <a:pt x="47" y="111"/>
                    <a:pt x="52" y="112"/>
                  </a:cubicBezTo>
                  <a:cubicBezTo>
                    <a:pt x="57" y="113"/>
                    <a:pt x="67" y="114"/>
                    <a:pt x="67" y="114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92" y="158"/>
                    <a:pt x="89" y="166"/>
                    <a:pt x="89" y="166"/>
                  </a:cubicBezTo>
                  <a:cubicBezTo>
                    <a:pt x="89" y="166"/>
                    <a:pt x="97" y="164"/>
                    <a:pt x="103" y="16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98">
              <a:extLst>
                <a:ext uri="{FF2B5EF4-FFF2-40B4-BE49-F238E27FC236}">
                  <a16:creationId xmlns:a16="http://schemas.microsoft.com/office/drawing/2014/main" id="{357B81BA-9EDB-B0E9-92B3-48D459731682}"/>
                </a:ext>
              </a:extLst>
            </p:cNvPr>
            <p:cNvSpPr>
              <a:spLocks/>
            </p:cNvSpPr>
            <p:nvPr/>
          </p:nvSpPr>
          <p:spPr bwMode="gray">
            <a:xfrm>
              <a:off x="-12974" y="-10745"/>
              <a:ext cx="470" cy="539"/>
            </a:xfrm>
            <a:custGeom>
              <a:avLst/>
              <a:gdLst>
                <a:gd name="T0" fmla="*/ 43 w 199"/>
                <a:gd name="T1" fmla="*/ 52 h 228"/>
                <a:gd name="T2" fmla="*/ 10 w 199"/>
                <a:gd name="T3" fmla="*/ 61 h 228"/>
                <a:gd name="T4" fmla="*/ 11 w 199"/>
                <a:gd name="T5" fmla="*/ 89 h 228"/>
                <a:gd name="T6" fmla="*/ 1 w 199"/>
                <a:gd name="T7" fmla="*/ 107 h 228"/>
                <a:gd name="T8" fmla="*/ 12 w 199"/>
                <a:gd name="T9" fmla="*/ 122 h 228"/>
                <a:gd name="T10" fmla="*/ 26 w 199"/>
                <a:gd name="T11" fmla="*/ 144 h 228"/>
                <a:gd name="T12" fmla="*/ 40 w 199"/>
                <a:gd name="T13" fmla="*/ 137 h 228"/>
                <a:gd name="T14" fmla="*/ 40 w 199"/>
                <a:gd name="T15" fmla="*/ 173 h 228"/>
                <a:gd name="T16" fmla="*/ 65 w 199"/>
                <a:gd name="T17" fmla="*/ 212 h 228"/>
                <a:gd name="T18" fmla="*/ 103 w 199"/>
                <a:gd name="T19" fmla="*/ 224 h 228"/>
                <a:gd name="T20" fmla="*/ 95 w 199"/>
                <a:gd name="T21" fmla="*/ 204 h 228"/>
                <a:gd name="T22" fmla="*/ 102 w 199"/>
                <a:gd name="T23" fmla="*/ 187 h 228"/>
                <a:gd name="T24" fmla="*/ 107 w 199"/>
                <a:gd name="T25" fmla="*/ 195 h 228"/>
                <a:gd name="T26" fmla="*/ 125 w 199"/>
                <a:gd name="T27" fmla="*/ 195 h 228"/>
                <a:gd name="T28" fmla="*/ 142 w 199"/>
                <a:gd name="T29" fmla="*/ 183 h 228"/>
                <a:gd name="T30" fmla="*/ 154 w 199"/>
                <a:gd name="T31" fmla="*/ 193 h 228"/>
                <a:gd name="T32" fmla="*/ 167 w 199"/>
                <a:gd name="T33" fmla="*/ 199 h 228"/>
                <a:gd name="T34" fmla="*/ 174 w 199"/>
                <a:gd name="T35" fmla="*/ 182 h 228"/>
                <a:gd name="T36" fmla="*/ 186 w 199"/>
                <a:gd name="T37" fmla="*/ 175 h 228"/>
                <a:gd name="T38" fmla="*/ 184 w 199"/>
                <a:gd name="T39" fmla="*/ 147 h 228"/>
                <a:gd name="T40" fmla="*/ 195 w 199"/>
                <a:gd name="T41" fmla="*/ 132 h 228"/>
                <a:gd name="T42" fmla="*/ 174 w 199"/>
                <a:gd name="T43" fmla="*/ 105 h 228"/>
                <a:gd name="T44" fmla="*/ 173 w 199"/>
                <a:gd name="T45" fmla="*/ 55 h 228"/>
                <a:gd name="T46" fmla="*/ 195 w 199"/>
                <a:gd name="T47" fmla="*/ 32 h 228"/>
                <a:gd name="T48" fmla="*/ 199 w 199"/>
                <a:gd name="T49" fmla="*/ 11 h 228"/>
                <a:gd name="T50" fmla="*/ 199 w 199"/>
                <a:gd name="T51" fmla="*/ 11 h 228"/>
                <a:gd name="T52" fmla="*/ 197 w 199"/>
                <a:gd name="T53" fmla="*/ 9 h 228"/>
                <a:gd name="T54" fmla="*/ 143 w 199"/>
                <a:gd name="T55" fmla="*/ 0 h 228"/>
                <a:gd name="T56" fmla="*/ 139 w 199"/>
                <a:gd name="T57" fmla="*/ 9 h 228"/>
                <a:gd name="T58" fmla="*/ 109 w 199"/>
                <a:gd name="T59" fmla="*/ 4 h 228"/>
                <a:gd name="T60" fmla="*/ 108 w 199"/>
                <a:gd name="T61" fmla="*/ 15 h 228"/>
                <a:gd name="T62" fmla="*/ 69 w 199"/>
                <a:gd name="T63" fmla="*/ 1 h 228"/>
                <a:gd name="T64" fmla="*/ 50 w 199"/>
                <a:gd name="T65" fmla="*/ 7 h 228"/>
                <a:gd name="T66" fmla="*/ 39 w 199"/>
                <a:gd name="T67" fmla="*/ 29 h 228"/>
                <a:gd name="T68" fmla="*/ 43 w 199"/>
                <a:gd name="T69" fmla="*/ 5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9" h="228">
                  <a:moveTo>
                    <a:pt x="43" y="52"/>
                  </a:moveTo>
                  <a:cubicBezTo>
                    <a:pt x="31" y="55"/>
                    <a:pt x="13" y="52"/>
                    <a:pt x="10" y="61"/>
                  </a:cubicBezTo>
                  <a:cubicBezTo>
                    <a:pt x="7" y="70"/>
                    <a:pt x="11" y="89"/>
                    <a:pt x="11" y="89"/>
                  </a:cubicBezTo>
                  <a:cubicBezTo>
                    <a:pt x="11" y="89"/>
                    <a:pt x="0" y="96"/>
                    <a:pt x="1" y="107"/>
                  </a:cubicBezTo>
                  <a:cubicBezTo>
                    <a:pt x="2" y="117"/>
                    <a:pt x="12" y="115"/>
                    <a:pt x="12" y="122"/>
                  </a:cubicBezTo>
                  <a:cubicBezTo>
                    <a:pt x="12" y="129"/>
                    <a:pt x="22" y="143"/>
                    <a:pt x="26" y="144"/>
                  </a:cubicBezTo>
                  <a:cubicBezTo>
                    <a:pt x="30" y="145"/>
                    <a:pt x="39" y="130"/>
                    <a:pt x="40" y="137"/>
                  </a:cubicBezTo>
                  <a:cubicBezTo>
                    <a:pt x="41" y="144"/>
                    <a:pt x="31" y="165"/>
                    <a:pt x="40" y="173"/>
                  </a:cubicBezTo>
                  <a:cubicBezTo>
                    <a:pt x="49" y="181"/>
                    <a:pt x="65" y="212"/>
                    <a:pt x="65" y="212"/>
                  </a:cubicBezTo>
                  <a:cubicBezTo>
                    <a:pt x="65" y="212"/>
                    <a:pt x="94" y="228"/>
                    <a:pt x="103" y="224"/>
                  </a:cubicBezTo>
                  <a:cubicBezTo>
                    <a:pt x="112" y="220"/>
                    <a:pt x="98" y="210"/>
                    <a:pt x="95" y="204"/>
                  </a:cubicBezTo>
                  <a:cubicBezTo>
                    <a:pt x="92" y="198"/>
                    <a:pt x="96" y="188"/>
                    <a:pt x="102" y="187"/>
                  </a:cubicBezTo>
                  <a:cubicBezTo>
                    <a:pt x="108" y="186"/>
                    <a:pt x="107" y="195"/>
                    <a:pt x="107" y="195"/>
                  </a:cubicBezTo>
                  <a:cubicBezTo>
                    <a:pt x="125" y="195"/>
                    <a:pt x="125" y="195"/>
                    <a:pt x="125" y="195"/>
                  </a:cubicBezTo>
                  <a:cubicBezTo>
                    <a:pt x="125" y="195"/>
                    <a:pt x="134" y="184"/>
                    <a:pt x="142" y="183"/>
                  </a:cubicBezTo>
                  <a:cubicBezTo>
                    <a:pt x="150" y="182"/>
                    <a:pt x="154" y="193"/>
                    <a:pt x="154" y="193"/>
                  </a:cubicBezTo>
                  <a:cubicBezTo>
                    <a:pt x="167" y="199"/>
                    <a:pt x="167" y="199"/>
                    <a:pt x="167" y="199"/>
                  </a:cubicBezTo>
                  <a:cubicBezTo>
                    <a:pt x="167" y="199"/>
                    <a:pt x="173" y="185"/>
                    <a:pt x="174" y="182"/>
                  </a:cubicBezTo>
                  <a:cubicBezTo>
                    <a:pt x="175" y="179"/>
                    <a:pt x="186" y="175"/>
                    <a:pt x="186" y="175"/>
                  </a:cubicBezTo>
                  <a:cubicBezTo>
                    <a:pt x="184" y="147"/>
                    <a:pt x="184" y="147"/>
                    <a:pt x="184" y="147"/>
                  </a:cubicBezTo>
                  <a:cubicBezTo>
                    <a:pt x="184" y="147"/>
                    <a:pt x="196" y="142"/>
                    <a:pt x="195" y="132"/>
                  </a:cubicBezTo>
                  <a:cubicBezTo>
                    <a:pt x="194" y="122"/>
                    <a:pt x="175" y="117"/>
                    <a:pt x="174" y="105"/>
                  </a:cubicBezTo>
                  <a:cubicBezTo>
                    <a:pt x="173" y="92"/>
                    <a:pt x="163" y="71"/>
                    <a:pt x="173" y="55"/>
                  </a:cubicBezTo>
                  <a:cubicBezTo>
                    <a:pt x="184" y="38"/>
                    <a:pt x="195" y="39"/>
                    <a:pt x="195" y="32"/>
                  </a:cubicBezTo>
                  <a:cubicBezTo>
                    <a:pt x="195" y="27"/>
                    <a:pt x="195" y="18"/>
                    <a:pt x="199" y="11"/>
                  </a:cubicBezTo>
                  <a:cubicBezTo>
                    <a:pt x="199" y="11"/>
                    <a:pt x="199" y="11"/>
                    <a:pt x="199" y="11"/>
                  </a:cubicBezTo>
                  <a:cubicBezTo>
                    <a:pt x="198" y="10"/>
                    <a:pt x="197" y="10"/>
                    <a:pt x="197" y="9"/>
                  </a:cubicBezTo>
                  <a:cubicBezTo>
                    <a:pt x="190" y="0"/>
                    <a:pt x="143" y="0"/>
                    <a:pt x="143" y="0"/>
                  </a:cubicBezTo>
                  <a:cubicBezTo>
                    <a:pt x="139" y="9"/>
                    <a:pt x="139" y="9"/>
                    <a:pt x="139" y="9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7"/>
                    <a:pt x="39" y="21"/>
                    <a:pt x="39" y="29"/>
                  </a:cubicBezTo>
                  <a:cubicBezTo>
                    <a:pt x="39" y="37"/>
                    <a:pt x="55" y="49"/>
                    <a:pt x="43" y="5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99">
              <a:extLst>
                <a:ext uri="{FF2B5EF4-FFF2-40B4-BE49-F238E27FC236}">
                  <a16:creationId xmlns:a16="http://schemas.microsoft.com/office/drawing/2014/main" id="{95766E54-81E0-585B-4C85-CE921895F2A6}"/>
                </a:ext>
              </a:extLst>
            </p:cNvPr>
            <p:cNvSpPr>
              <a:spLocks/>
            </p:cNvSpPr>
            <p:nvPr/>
          </p:nvSpPr>
          <p:spPr bwMode="gray">
            <a:xfrm>
              <a:off x="-13342" y="-11050"/>
              <a:ext cx="531" cy="917"/>
            </a:xfrm>
            <a:custGeom>
              <a:avLst/>
              <a:gdLst>
                <a:gd name="T0" fmla="*/ 62 w 225"/>
                <a:gd name="T1" fmla="*/ 28 h 388"/>
                <a:gd name="T2" fmla="*/ 42 w 225"/>
                <a:gd name="T3" fmla="*/ 44 h 388"/>
                <a:gd name="T4" fmla="*/ 46 w 225"/>
                <a:gd name="T5" fmla="*/ 64 h 388"/>
                <a:gd name="T6" fmla="*/ 57 w 225"/>
                <a:gd name="T7" fmla="*/ 67 h 388"/>
                <a:gd name="T8" fmla="*/ 47 w 225"/>
                <a:gd name="T9" fmla="*/ 85 h 388"/>
                <a:gd name="T10" fmla="*/ 11 w 225"/>
                <a:gd name="T11" fmla="*/ 93 h 388"/>
                <a:gd name="T12" fmla="*/ 22 w 225"/>
                <a:gd name="T13" fmla="*/ 116 h 388"/>
                <a:gd name="T14" fmla="*/ 4 w 225"/>
                <a:gd name="T15" fmla="*/ 134 h 388"/>
                <a:gd name="T16" fmla="*/ 35 w 225"/>
                <a:gd name="T17" fmla="*/ 172 h 388"/>
                <a:gd name="T18" fmla="*/ 51 w 225"/>
                <a:gd name="T19" fmla="*/ 174 h 388"/>
                <a:gd name="T20" fmla="*/ 56 w 225"/>
                <a:gd name="T21" fmla="*/ 167 h 388"/>
                <a:gd name="T22" fmla="*/ 68 w 225"/>
                <a:gd name="T23" fmla="*/ 182 h 388"/>
                <a:gd name="T24" fmla="*/ 59 w 225"/>
                <a:gd name="T25" fmla="*/ 208 h 388"/>
                <a:gd name="T26" fmla="*/ 81 w 225"/>
                <a:gd name="T27" fmla="*/ 211 h 388"/>
                <a:gd name="T28" fmla="*/ 80 w 225"/>
                <a:gd name="T29" fmla="*/ 230 h 388"/>
                <a:gd name="T30" fmla="*/ 88 w 225"/>
                <a:gd name="T31" fmla="*/ 240 h 388"/>
                <a:gd name="T32" fmla="*/ 74 w 225"/>
                <a:gd name="T33" fmla="*/ 258 h 388"/>
                <a:gd name="T34" fmla="*/ 69 w 225"/>
                <a:gd name="T35" fmla="*/ 286 h 388"/>
                <a:gd name="T36" fmla="*/ 61 w 225"/>
                <a:gd name="T37" fmla="*/ 312 h 388"/>
                <a:gd name="T38" fmla="*/ 78 w 225"/>
                <a:gd name="T39" fmla="*/ 333 h 388"/>
                <a:gd name="T40" fmla="*/ 78 w 225"/>
                <a:gd name="T41" fmla="*/ 353 h 388"/>
                <a:gd name="T42" fmla="*/ 99 w 225"/>
                <a:gd name="T43" fmla="*/ 377 h 388"/>
                <a:gd name="T44" fmla="*/ 108 w 225"/>
                <a:gd name="T45" fmla="*/ 377 h 388"/>
                <a:gd name="T46" fmla="*/ 112 w 225"/>
                <a:gd name="T47" fmla="*/ 388 h 388"/>
                <a:gd name="T48" fmla="*/ 132 w 225"/>
                <a:gd name="T49" fmla="*/ 387 h 388"/>
                <a:gd name="T50" fmla="*/ 143 w 225"/>
                <a:gd name="T51" fmla="*/ 369 h 388"/>
                <a:gd name="T52" fmla="*/ 161 w 225"/>
                <a:gd name="T53" fmla="*/ 368 h 388"/>
                <a:gd name="T54" fmla="*/ 162 w 225"/>
                <a:gd name="T55" fmla="*/ 360 h 388"/>
                <a:gd name="T56" fmla="*/ 183 w 225"/>
                <a:gd name="T57" fmla="*/ 359 h 388"/>
                <a:gd name="T58" fmla="*/ 197 w 225"/>
                <a:gd name="T59" fmla="*/ 342 h 388"/>
                <a:gd name="T60" fmla="*/ 217 w 225"/>
                <a:gd name="T61" fmla="*/ 350 h 388"/>
                <a:gd name="T62" fmla="*/ 221 w 225"/>
                <a:gd name="T63" fmla="*/ 341 h 388"/>
                <a:gd name="T64" fmla="*/ 196 w 225"/>
                <a:gd name="T65" fmla="*/ 302 h 388"/>
                <a:gd name="T66" fmla="*/ 196 w 225"/>
                <a:gd name="T67" fmla="*/ 266 h 388"/>
                <a:gd name="T68" fmla="*/ 182 w 225"/>
                <a:gd name="T69" fmla="*/ 273 h 388"/>
                <a:gd name="T70" fmla="*/ 168 w 225"/>
                <a:gd name="T71" fmla="*/ 251 h 388"/>
                <a:gd name="T72" fmla="*/ 157 w 225"/>
                <a:gd name="T73" fmla="*/ 236 h 388"/>
                <a:gd name="T74" fmla="*/ 167 w 225"/>
                <a:gd name="T75" fmla="*/ 218 h 388"/>
                <a:gd name="T76" fmla="*/ 166 w 225"/>
                <a:gd name="T77" fmla="*/ 190 h 388"/>
                <a:gd name="T78" fmla="*/ 199 w 225"/>
                <a:gd name="T79" fmla="*/ 181 h 388"/>
                <a:gd name="T80" fmla="*/ 195 w 225"/>
                <a:gd name="T81" fmla="*/ 158 h 388"/>
                <a:gd name="T82" fmla="*/ 206 w 225"/>
                <a:gd name="T83" fmla="*/ 136 h 388"/>
                <a:gd name="T84" fmla="*/ 203 w 225"/>
                <a:gd name="T85" fmla="*/ 117 h 388"/>
                <a:gd name="T86" fmla="*/ 185 w 225"/>
                <a:gd name="T87" fmla="*/ 117 h 388"/>
                <a:gd name="T88" fmla="*/ 183 w 225"/>
                <a:gd name="T89" fmla="*/ 102 h 388"/>
                <a:gd name="T90" fmla="*/ 153 w 225"/>
                <a:gd name="T91" fmla="*/ 85 h 388"/>
                <a:gd name="T92" fmla="*/ 133 w 225"/>
                <a:gd name="T93" fmla="*/ 109 h 388"/>
                <a:gd name="T94" fmla="*/ 144 w 225"/>
                <a:gd name="T95" fmla="*/ 61 h 388"/>
                <a:gd name="T96" fmla="*/ 126 w 225"/>
                <a:gd name="T97" fmla="*/ 22 h 388"/>
                <a:gd name="T98" fmla="*/ 83 w 225"/>
                <a:gd name="T99" fmla="*/ 0 h 388"/>
                <a:gd name="T100" fmla="*/ 76 w 225"/>
                <a:gd name="T101" fmla="*/ 12 h 388"/>
                <a:gd name="T102" fmla="*/ 62 w 225"/>
                <a:gd name="T103" fmla="*/ 2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5" h="388">
                  <a:moveTo>
                    <a:pt x="62" y="28"/>
                  </a:moveTo>
                  <a:cubicBezTo>
                    <a:pt x="56" y="30"/>
                    <a:pt x="40" y="35"/>
                    <a:pt x="42" y="44"/>
                  </a:cubicBezTo>
                  <a:cubicBezTo>
                    <a:pt x="44" y="53"/>
                    <a:pt x="42" y="64"/>
                    <a:pt x="46" y="64"/>
                  </a:cubicBezTo>
                  <a:cubicBezTo>
                    <a:pt x="50" y="64"/>
                    <a:pt x="57" y="64"/>
                    <a:pt x="57" y="67"/>
                  </a:cubicBezTo>
                  <a:cubicBezTo>
                    <a:pt x="57" y="71"/>
                    <a:pt x="58" y="81"/>
                    <a:pt x="47" y="85"/>
                  </a:cubicBezTo>
                  <a:cubicBezTo>
                    <a:pt x="36" y="89"/>
                    <a:pt x="11" y="88"/>
                    <a:pt x="11" y="93"/>
                  </a:cubicBezTo>
                  <a:cubicBezTo>
                    <a:pt x="11" y="98"/>
                    <a:pt x="31" y="109"/>
                    <a:pt x="22" y="116"/>
                  </a:cubicBezTo>
                  <a:cubicBezTo>
                    <a:pt x="13" y="124"/>
                    <a:pt x="0" y="123"/>
                    <a:pt x="4" y="134"/>
                  </a:cubicBezTo>
                  <a:cubicBezTo>
                    <a:pt x="8" y="145"/>
                    <a:pt x="35" y="172"/>
                    <a:pt x="35" y="172"/>
                  </a:cubicBezTo>
                  <a:cubicBezTo>
                    <a:pt x="51" y="174"/>
                    <a:pt x="51" y="174"/>
                    <a:pt x="51" y="174"/>
                  </a:cubicBezTo>
                  <a:cubicBezTo>
                    <a:pt x="56" y="167"/>
                    <a:pt x="56" y="167"/>
                    <a:pt x="56" y="167"/>
                  </a:cubicBezTo>
                  <a:cubicBezTo>
                    <a:pt x="56" y="167"/>
                    <a:pt x="65" y="168"/>
                    <a:pt x="68" y="182"/>
                  </a:cubicBezTo>
                  <a:cubicBezTo>
                    <a:pt x="71" y="196"/>
                    <a:pt x="59" y="208"/>
                    <a:pt x="59" y="208"/>
                  </a:cubicBezTo>
                  <a:cubicBezTo>
                    <a:pt x="59" y="217"/>
                    <a:pt x="81" y="211"/>
                    <a:pt x="81" y="211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80" y="230"/>
                    <a:pt x="89" y="234"/>
                    <a:pt x="88" y="240"/>
                  </a:cubicBezTo>
                  <a:cubicBezTo>
                    <a:pt x="87" y="246"/>
                    <a:pt x="74" y="258"/>
                    <a:pt x="74" y="258"/>
                  </a:cubicBezTo>
                  <a:cubicBezTo>
                    <a:pt x="69" y="286"/>
                    <a:pt x="69" y="286"/>
                    <a:pt x="69" y="286"/>
                  </a:cubicBezTo>
                  <a:cubicBezTo>
                    <a:pt x="69" y="286"/>
                    <a:pt x="61" y="302"/>
                    <a:pt x="61" y="312"/>
                  </a:cubicBezTo>
                  <a:cubicBezTo>
                    <a:pt x="61" y="322"/>
                    <a:pt x="78" y="325"/>
                    <a:pt x="78" y="333"/>
                  </a:cubicBezTo>
                  <a:cubicBezTo>
                    <a:pt x="78" y="341"/>
                    <a:pt x="78" y="353"/>
                    <a:pt x="78" y="353"/>
                  </a:cubicBezTo>
                  <a:cubicBezTo>
                    <a:pt x="99" y="377"/>
                    <a:pt x="99" y="377"/>
                    <a:pt x="99" y="377"/>
                  </a:cubicBezTo>
                  <a:cubicBezTo>
                    <a:pt x="108" y="377"/>
                    <a:pt x="108" y="377"/>
                    <a:pt x="108" y="377"/>
                  </a:cubicBezTo>
                  <a:cubicBezTo>
                    <a:pt x="112" y="388"/>
                    <a:pt x="112" y="388"/>
                    <a:pt x="112" y="388"/>
                  </a:cubicBezTo>
                  <a:cubicBezTo>
                    <a:pt x="112" y="388"/>
                    <a:pt x="122" y="388"/>
                    <a:pt x="132" y="387"/>
                  </a:cubicBezTo>
                  <a:cubicBezTo>
                    <a:pt x="142" y="386"/>
                    <a:pt x="137" y="373"/>
                    <a:pt x="143" y="369"/>
                  </a:cubicBezTo>
                  <a:cubicBezTo>
                    <a:pt x="149" y="365"/>
                    <a:pt x="161" y="368"/>
                    <a:pt x="161" y="368"/>
                  </a:cubicBezTo>
                  <a:cubicBezTo>
                    <a:pt x="162" y="360"/>
                    <a:pt x="162" y="360"/>
                    <a:pt x="162" y="360"/>
                  </a:cubicBezTo>
                  <a:cubicBezTo>
                    <a:pt x="183" y="359"/>
                    <a:pt x="183" y="359"/>
                    <a:pt x="183" y="359"/>
                  </a:cubicBezTo>
                  <a:cubicBezTo>
                    <a:pt x="183" y="359"/>
                    <a:pt x="187" y="343"/>
                    <a:pt x="197" y="342"/>
                  </a:cubicBezTo>
                  <a:cubicBezTo>
                    <a:pt x="207" y="341"/>
                    <a:pt x="209" y="352"/>
                    <a:pt x="217" y="350"/>
                  </a:cubicBezTo>
                  <a:cubicBezTo>
                    <a:pt x="225" y="348"/>
                    <a:pt x="221" y="341"/>
                    <a:pt x="221" y="341"/>
                  </a:cubicBezTo>
                  <a:cubicBezTo>
                    <a:pt x="221" y="341"/>
                    <a:pt x="205" y="310"/>
                    <a:pt x="196" y="302"/>
                  </a:cubicBezTo>
                  <a:cubicBezTo>
                    <a:pt x="187" y="294"/>
                    <a:pt x="197" y="273"/>
                    <a:pt x="196" y="266"/>
                  </a:cubicBezTo>
                  <a:cubicBezTo>
                    <a:pt x="195" y="259"/>
                    <a:pt x="186" y="274"/>
                    <a:pt x="182" y="273"/>
                  </a:cubicBezTo>
                  <a:cubicBezTo>
                    <a:pt x="178" y="272"/>
                    <a:pt x="168" y="258"/>
                    <a:pt x="168" y="251"/>
                  </a:cubicBezTo>
                  <a:cubicBezTo>
                    <a:pt x="168" y="244"/>
                    <a:pt x="158" y="246"/>
                    <a:pt x="157" y="236"/>
                  </a:cubicBezTo>
                  <a:cubicBezTo>
                    <a:pt x="156" y="225"/>
                    <a:pt x="167" y="218"/>
                    <a:pt x="167" y="218"/>
                  </a:cubicBezTo>
                  <a:cubicBezTo>
                    <a:pt x="167" y="218"/>
                    <a:pt x="163" y="199"/>
                    <a:pt x="166" y="190"/>
                  </a:cubicBezTo>
                  <a:cubicBezTo>
                    <a:pt x="169" y="181"/>
                    <a:pt x="187" y="184"/>
                    <a:pt x="199" y="181"/>
                  </a:cubicBezTo>
                  <a:cubicBezTo>
                    <a:pt x="211" y="178"/>
                    <a:pt x="195" y="166"/>
                    <a:pt x="195" y="158"/>
                  </a:cubicBezTo>
                  <a:cubicBezTo>
                    <a:pt x="195" y="150"/>
                    <a:pt x="206" y="136"/>
                    <a:pt x="206" y="136"/>
                  </a:cubicBezTo>
                  <a:cubicBezTo>
                    <a:pt x="206" y="136"/>
                    <a:pt x="206" y="125"/>
                    <a:pt x="203" y="117"/>
                  </a:cubicBezTo>
                  <a:cubicBezTo>
                    <a:pt x="200" y="109"/>
                    <a:pt x="185" y="117"/>
                    <a:pt x="185" y="117"/>
                  </a:cubicBezTo>
                  <a:cubicBezTo>
                    <a:pt x="183" y="102"/>
                    <a:pt x="183" y="102"/>
                    <a:pt x="183" y="102"/>
                  </a:cubicBezTo>
                  <a:cubicBezTo>
                    <a:pt x="183" y="102"/>
                    <a:pt x="166" y="87"/>
                    <a:pt x="153" y="85"/>
                  </a:cubicBezTo>
                  <a:cubicBezTo>
                    <a:pt x="140" y="83"/>
                    <a:pt x="133" y="109"/>
                    <a:pt x="133" y="109"/>
                  </a:cubicBezTo>
                  <a:cubicBezTo>
                    <a:pt x="133" y="109"/>
                    <a:pt x="142" y="69"/>
                    <a:pt x="144" y="61"/>
                  </a:cubicBezTo>
                  <a:cubicBezTo>
                    <a:pt x="146" y="53"/>
                    <a:pt x="132" y="30"/>
                    <a:pt x="126" y="22"/>
                  </a:cubicBezTo>
                  <a:cubicBezTo>
                    <a:pt x="120" y="14"/>
                    <a:pt x="83" y="0"/>
                    <a:pt x="83" y="0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69" y="26"/>
                    <a:pt x="62" y="28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200">
              <a:extLst>
                <a:ext uri="{FF2B5EF4-FFF2-40B4-BE49-F238E27FC236}">
                  <a16:creationId xmlns:a16="http://schemas.microsoft.com/office/drawing/2014/main" id="{5C6A136E-B4F7-F029-3214-B382B7D1FE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4663" y="-11536"/>
              <a:ext cx="1517" cy="1476"/>
            </a:xfrm>
            <a:custGeom>
              <a:avLst/>
              <a:gdLst>
                <a:gd name="T0" fmla="*/ 175 w 642"/>
                <a:gd name="T1" fmla="*/ 3 h 625"/>
                <a:gd name="T2" fmla="*/ 165 w 642"/>
                <a:gd name="T3" fmla="*/ 34 h 625"/>
                <a:gd name="T4" fmla="*/ 630 w 642"/>
                <a:gd name="T5" fmla="*/ 190 h 625"/>
                <a:gd name="T6" fmla="*/ 595 w 642"/>
                <a:gd name="T7" fmla="*/ 194 h 625"/>
                <a:gd name="T8" fmla="*/ 553 w 642"/>
                <a:gd name="T9" fmla="*/ 194 h 625"/>
                <a:gd name="T10" fmla="*/ 586 w 642"/>
                <a:gd name="T11" fmla="*/ 167 h 625"/>
                <a:gd name="T12" fmla="*/ 572 w 642"/>
                <a:gd name="T13" fmla="*/ 143 h 625"/>
                <a:gd name="T14" fmla="*/ 556 w 642"/>
                <a:gd name="T15" fmla="*/ 143 h 625"/>
                <a:gd name="T16" fmla="*/ 536 w 642"/>
                <a:gd name="T17" fmla="*/ 123 h 625"/>
                <a:gd name="T18" fmla="*/ 522 w 642"/>
                <a:gd name="T19" fmla="*/ 129 h 625"/>
                <a:gd name="T20" fmla="*/ 498 w 642"/>
                <a:gd name="T21" fmla="*/ 117 h 625"/>
                <a:gd name="T22" fmla="*/ 501 w 642"/>
                <a:gd name="T23" fmla="*/ 93 h 625"/>
                <a:gd name="T24" fmla="*/ 457 w 642"/>
                <a:gd name="T25" fmla="*/ 84 h 625"/>
                <a:gd name="T26" fmla="*/ 435 w 642"/>
                <a:gd name="T27" fmla="*/ 99 h 625"/>
                <a:gd name="T28" fmla="*/ 346 w 642"/>
                <a:gd name="T29" fmla="*/ 88 h 625"/>
                <a:gd name="T30" fmla="*/ 242 w 642"/>
                <a:gd name="T31" fmla="*/ 68 h 625"/>
                <a:gd name="T32" fmla="*/ 147 w 642"/>
                <a:gd name="T33" fmla="*/ 56 h 625"/>
                <a:gd name="T34" fmla="*/ 113 w 642"/>
                <a:gd name="T35" fmla="*/ 136 h 625"/>
                <a:gd name="T36" fmla="*/ 89 w 642"/>
                <a:gd name="T37" fmla="*/ 154 h 625"/>
                <a:gd name="T38" fmla="*/ 82 w 642"/>
                <a:gd name="T39" fmla="*/ 102 h 625"/>
                <a:gd name="T40" fmla="*/ 77 w 642"/>
                <a:gd name="T41" fmla="*/ 38 h 625"/>
                <a:gd name="T42" fmla="*/ 38 w 642"/>
                <a:gd name="T43" fmla="*/ 77 h 625"/>
                <a:gd name="T44" fmla="*/ 24 w 642"/>
                <a:gd name="T45" fmla="*/ 115 h 625"/>
                <a:gd name="T46" fmla="*/ 5 w 642"/>
                <a:gd name="T47" fmla="*/ 162 h 625"/>
                <a:gd name="T48" fmla="*/ 35 w 642"/>
                <a:gd name="T49" fmla="*/ 180 h 625"/>
                <a:gd name="T50" fmla="*/ 50 w 642"/>
                <a:gd name="T51" fmla="*/ 216 h 625"/>
                <a:gd name="T52" fmla="*/ 41 w 642"/>
                <a:gd name="T53" fmla="*/ 259 h 625"/>
                <a:gd name="T54" fmla="*/ 59 w 642"/>
                <a:gd name="T55" fmla="*/ 280 h 625"/>
                <a:gd name="T56" fmla="*/ 111 w 642"/>
                <a:gd name="T57" fmla="*/ 284 h 625"/>
                <a:gd name="T58" fmla="*/ 136 w 642"/>
                <a:gd name="T59" fmla="*/ 284 h 625"/>
                <a:gd name="T60" fmla="*/ 181 w 642"/>
                <a:gd name="T61" fmla="*/ 330 h 625"/>
                <a:gd name="T62" fmla="*/ 203 w 642"/>
                <a:gd name="T63" fmla="*/ 322 h 625"/>
                <a:gd name="T64" fmla="*/ 232 w 642"/>
                <a:gd name="T65" fmla="*/ 324 h 625"/>
                <a:gd name="T66" fmla="*/ 276 w 642"/>
                <a:gd name="T67" fmla="*/ 323 h 625"/>
                <a:gd name="T68" fmla="*/ 263 w 642"/>
                <a:gd name="T69" fmla="*/ 362 h 625"/>
                <a:gd name="T70" fmla="*/ 254 w 642"/>
                <a:gd name="T71" fmla="*/ 404 h 625"/>
                <a:gd name="T72" fmla="*/ 261 w 642"/>
                <a:gd name="T73" fmla="*/ 440 h 625"/>
                <a:gd name="T74" fmla="*/ 278 w 642"/>
                <a:gd name="T75" fmla="*/ 476 h 625"/>
                <a:gd name="T76" fmla="*/ 259 w 642"/>
                <a:gd name="T77" fmla="*/ 507 h 625"/>
                <a:gd name="T78" fmla="*/ 284 w 642"/>
                <a:gd name="T79" fmla="*/ 549 h 625"/>
                <a:gd name="T80" fmla="*/ 299 w 642"/>
                <a:gd name="T81" fmla="*/ 594 h 625"/>
                <a:gd name="T82" fmla="*/ 326 w 642"/>
                <a:gd name="T83" fmla="*/ 619 h 625"/>
                <a:gd name="T84" fmla="*/ 362 w 642"/>
                <a:gd name="T85" fmla="*/ 624 h 625"/>
                <a:gd name="T86" fmla="*/ 400 w 642"/>
                <a:gd name="T87" fmla="*/ 593 h 625"/>
                <a:gd name="T88" fmla="*/ 420 w 642"/>
                <a:gd name="T89" fmla="*/ 579 h 625"/>
                <a:gd name="T90" fmla="*/ 457 w 642"/>
                <a:gd name="T91" fmla="*/ 547 h 625"/>
                <a:gd name="T92" fmla="*/ 432 w 642"/>
                <a:gd name="T93" fmla="*/ 524 h 625"/>
                <a:gd name="T94" fmla="*/ 419 w 642"/>
                <a:gd name="T95" fmla="*/ 490 h 625"/>
                <a:gd name="T96" fmla="*/ 400 w 642"/>
                <a:gd name="T97" fmla="*/ 425 h 625"/>
                <a:gd name="T98" fmla="*/ 429 w 642"/>
                <a:gd name="T99" fmla="*/ 433 h 625"/>
                <a:gd name="T100" fmla="*/ 450 w 642"/>
                <a:gd name="T101" fmla="*/ 444 h 625"/>
                <a:gd name="T102" fmla="*/ 469 w 642"/>
                <a:gd name="T103" fmla="*/ 446 h 625"/>
                <a:gd name="T104" fmla="*/ 507 w 642"/>
                <a:gd name="T105" fmla="*/ 432 h 625"/>
                <a:gd name="T106" fmla="*/ 551 w 642"/>
                <a:gd name="T107" fmla="*/ 424 h 625"/>
                <a:gd name="T108" fmla="*/ 583 w 642"/>
                <a:gd name="T109" fmla="*/ 414 h 625"/>
                <a:gd name="T110" fmla="*/ 596 w 642"/>
                <a:gd name="T111" fmla="*/ 399 h 625"/>
                <a:gd name="T112" fmla="*/ 563 w 642"/>
                <a:gd name="T113" fmla="*/ 340 h 625"/>
                <a:gd name="T114" fmla="*/ 570 w 642"/>
                <a:gd name="T115" fmla="*/ 299 h 625"/>
                <a:gd name="T116" fmla="*/ 616 w 642"/>
                <a:gd name="T117" fmla="*/ 273 h 625"/>
                <a:gd name="T118" fmla="*/ 601 w 642"/>
                <a:gd name="T119" fmla="*/ 250 h 625"/>
                <a:gd name="T120" fmla="*/ 635 w 642"/>
                <a:gd name="T121" fmla="*/ 218 h 625"/>
                <a:gd name="T122" fmla="*/ 630 w 642"/>
                <a:gd name="T123" fmla="*/ 190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42" h="625">
                  <a:moveTo>
                    <a:pt x="182" y="33"/>
                  </a:moveTo>
                  <a:cubicBezTo>
                    <a:pt x="182" y="33"/>
                    <a:pt x="187" y="6"/>
                    <a:pt x="175" y="3"/>
                  </a:cubicBezTo>
                  <a:cubicBezTo>
                    <a:pt x="164" y="0"/>
                    <a:pt x="158" y="7"/>
                    <a:pt x="158" y="13"/>
                  </a:cubicBezTo>
                  <a:cubicBezTo>
                    <a:pt x="158" y="18"/>
                    <a:pt x="165" y="34"/>
                    <a:pt x="165" y="34"/>
                  </a:cubicBezTo>
                  <a:lnTo>
                    <a:pt x="182" y="33"/>
                  </a:lnTo>
                  <a:close/>
                  <a:moveTo>
                    <a:pt x="630" y="190"/>
                  </a:moveTo>
                  <a:cubicBezTo>
                    <a:pt x="626" y="184"/>
                    <a:pt x="611" y="201"/>
                    <a:pt x="611" y="201"/>
                  </a:cubicBezTo>
                  <a:cubicBezTo>
                    <a:pt x="611" y="201"/>
                    <a:pt x="601" y="197"/>
                    <a:pt x="595" y="194"/>
                  </a:cubicBezTo>
                  <a:cubicBezTo>
                    <a:pt x="589" y="191"/>
                    <a:pt x="575" y="208"/>
                    <a:pt x="575" y="208"/>
                  </a:cubicBezTo>
                  <a:cubicBezTo>
                    <a:pt x="553" y="194"/>
                    <a:pt x="553" y="194"/>
                    <a:pt x="553" y="194"/>
                  </a:cubicBezTo>
                  <a:cubicBezTo>
                    <a:pt x="553" y="194"/>
                    <a:pt x="579" y="194"/>
                    <a:pt x="583" y="187"/>
                  </a:cubicBezTo>
                  <a:cubicBezTo>
                    <a:pt x="587" y="180"/>
                    <a:pt x="586" y="167"/>
                    <a:pt x="586" y="167"/>
                  </a:cubicBezTo>
                  <a:cubicBezTo>
                    <a:pt x="586" y="167"/>
                    <a:pt x="596" y="166"/>
                    <a:pt x="598" y="153"/>
                  </a:cubicBezTo>
                  <a:cubicBezTo>
                    <a:pt x="600" y="140"/>
                    <a:pt x="572" y="143"/>
                    <a:pt x="572" y="143"/>
                  </a:cubicBezTo>
                  <a:cubicBezTo>
                    <a:pt x="572" y="143"/>
                    <a:pt x="568" y="129"/>
                    <a:pt x="561" y="128"/>
                  </a:cubicBezTo>
                  <a:cubicBezTo>
                    <a:pt x="554" y="127"/>
                    <a:pt x="556" y="143"/>
                    <a:pt x="556" y="143"/>
                  </a:cubicBezTo>
                  <a:cubicBezTo>
                    <a:pt x="556" y="143"/>
                    <a:pt x="550" y="134"/>
                    <a:pt x="550" y="128"/>
                  </a:cubicBezTo>
                  <a:cubicBezTo>
                    <a:pt x="550" y="122"/>
                    <a:pt x="536" y="123"/>
                    <a:pt x="536" y="123"/>
                  </a:cubicBezTo>
                  <a:cubicBezTo>
                    <a:pt x="532" y="143"/>
                    <a:pt x="532" y="143"/>
                    <a:pt x="532" y="143"/>
                  </a:cubicBezTo>
                  <a:cubicBezTo>
                    <a:pt x="532" y="143"/>
                    <a:pt x="524" y="135"/>
                    <a:pt x="522" y="129"/>
                  </a:cubicBezTo>
                  <a:cubicBezTo>
                    <a:pt x="520" y="123"/>
                    <a:pt x="519" y="109"/>
                    <a:pt x="519" y="109"/>
                  </a:cubicBezTo>
                  <a:cubicBezTo>
                    <a:pt x="498" y="117"/>
                    <a:pt x="498" y="117"/>
                    <a:pt x="498" y="117"/>
                  </a:cubicBezTo>
                  <a:cubicBezTo>
                    <a:pt x="498" y="117"/>
                    <a:pt x="514" y="108"/>
                    <a:pt x="514" y="103"/>
                  </a:cubicBezTo>
                  <a:cubicBezTo>
                    <a:pt x="514" y="98"/>
                    <a:pt x="501" y="98"/>
                    <a:pt x="501" y="93"/>
                  </a:cubicBezTo>
                  <a:cubicBezTo>
                    <a:pt x="501" y="88"/>
                    <a:pt x="543" y="88"/>
                    <a:pt x="547" y="82"/>
                  </a:cubicBezTo>
                  <a:cubicBezTo>
                    <a:pt x="551" y="76"/>
                    <a:pt x="457" y="84"/>
                    <a:pt x="457" y="84"/>
                  </a:cubicBezTo>
                  <a:cubicBezTo>
                    <a:pt x="466" y="94"/>
                    <a:pt x="466" y="94"/>
                    <a:pt x="466" y="94"/>
                  </a:cubicBezTo>
                  <a:cubicBezTo>
                    <a:pt x="466" y="94"/>
                    <a:pt x="444" y="96"/>
                    <a:pt x="435" y="99"/>
                  </a:cubicBezTo>
                  <a:cubicBezTo>
                    <a:pt x="426" y="102"/>
                    <a:pt x="402" y="119"/>
                    <a:pt x="402" y="119"/>
                  </a:cubicBezTo>
                  <a:cubicBezTo>
                    <a:pt x="378" y="120"/>
                    <a:pt x="346" y="88"/>
                    <a:pt x="346" y="88"/>
                  </a:cubicBezTo>
                  <a:cubicBezTo>
                    <a:pt x="346" y="88"/>
                    <a:pt x="265" y="93"/>
                    <a:pt x="255" y="92"/>
                  </a:cubicBezTo>
                  <a:cubicBezTo>
                    <a:pt x="245" y="91"/>
                    <a:pt x="242" y="82"/>
                    <a:pt x="242" y="68"/>
                  </a:cubicBezTo>
                  <a:cubicBezTo>
                    <a:pt x="242" y="54"/>
                    <a:pt x="236" y="44"/>
                    <a:pt x="210" y="39"/>
                  </a:cubicBezTo>
                  <a:cubicBezTo>
                    <a:pt x="184" y="34"/>
                    <a:pt x="147" y="56"/>
                    <a:pt x="147" y="56"/>
                  </a:cubicBezTo>
                  <a:cubicBezTo>
                    <a:pt x="147" y="56"/>
                    <a:pt x="120" y="62"/>
                    <a:pt x="104" y="76"/>
                  </a:cubicBezTo>
                  <a:cubicBezTo>
                    <a:pt x="88" y="90"/>
                    <a:pt x="111" y="116"/>
                    <a:pt x="113" y="136"/>
                  </a:cubicBezTo>
                  <a:cubicBezTo>
                    <a:pt x="115" y="156"/>
                    <a:pt x="88" y="172"/>
                    <a:pt x="88" y="172"/>
                  </a:cubicBezTo>
                  <a:cubicBezTo>
                    <a:pt x="89" y="154"/>
                    <a:pt x="89" y="154"/>
                    <a:pt x="89" y="154"/>
                  </a:cubicBezTo>
                  <a:cubicBezTo>
                    <a:pt x="89" y="154"/>
                    <a:pt x="71" y="149"/>
                    <a:pt x="65" y="139"/>
                  </a:cubicBezTo>
                  <a:cubicBezTo>
                    <a:pt x="59" y="129"/>
                    <a:pt x="75" y="111"/>
                    <a:pt x="82" y="102"/>
                  </a:cubicBezTo>
                  <a:cubicBezTo>
                    <a:pt x="89" y="93"/>
                    <a:pt x="88" y="77"/>
                    <a:pt x="88" y="65"/>
                  </a:cubicBezTo>
                  <a:cubicBezTo>
                    <a:pt x="88" y="53"/>
                    <a:pt x="77" y="38"/>
                    <a:pt x="77" y="38"/>
                  </a:cubicBezTo>
                  <a:cubicBezTo>
                    <a:pt x="77" y="38"/>
                    <a:pt x="76" y="53"/>
                    <a:pt x="65" y="56"/>
                  </a:cubicBezTo>
                  <a:cubicBezTo>
                    <a:pt x="54" y="60"/>
                    <a:pt x="45" y="64"/>
                    <a:pt x="38" y="77"/>
                  </a:cubicBezTo>
                  <a:cubicBezTo>
                    <a:pt x="30" y="90"/>
                    <a:pt x="30" y="110"/>
                    <a:pt x="30" y="110"/>
                  </a:cubicBezTo>
                  <a:cubicBezTo>
                    <a:pt x="24" y="115"/>
                    <a:pt x="24" y="115"/>
                    <a:pt x="24" y="115"/>
                  </a:cubicBezTo>
                  <a:cubicBezTo>
                    <a:pt x="24" y="133"/>
                    <a:pt x="24" y="133"/>
                    <a:pt x="24" y="133"/>
                  </a:cubicBezTo>
                  <a:cubicBezTo>
                    <a:pt x="24" y="133"/>
                    <a:pt x="0" y="154"/>
                    <a:pt x="5" y="162"/>
                  </a:cubicBezTo>
                  <a:cubicBezTo>
                    <a:pt x="10" y="171"/>
                    <a:pt x="14" y="157"/>
                    <a:pt x="21" y="157"/>
                  </a:cubicBezTo>
                  <a:cubicBezTo>
                    <a:pt x="28" y="157"/>
                    <a:pt x="35" y="171"/>
                    <a:pt x="35" y="180"/>
                  </a:cubicBezTo>
                  <a:cubicBezTo>
                    <a:pt x="35" y="189"/>
                    <a:pt x="36" y="195"/>
                    <a:pt x="36" y="195"/>
                  </a:cubicBezTo>
                  <a:cubicBezTo>
                    <a:pt x="36" y="195"/>
                    <a:pt x="52" y="204"/>
                    <a:pt x="50" y="216"/>
                  </a:cubicBezTo>
                  <a:cubicBezTo>
                    <a:pt x="48" y="229"/>
                    <a:pt x="42" y="232"/>
                    <a:pt x="42" y="232"/>
                  </a:cubicBezTo>
                  <a:cubicBezTo>
                    <a:pt x="41" y="259"/>
                    <a:pt x="41" y="259"/>
                    <a:pt x="41" y="259"/>
                  </a:cubicBezTo>
                  <a:cubicBezTo>
                    <a:pt x="51" y="259"/>
                    <a:pt x="51" y="259"/>
                    <a:pt x="51" y="259"/>
                  </a:cubicBezTo>
                  <a:cubicBezTo>
                    <a:pt x="51" y="259"/>
                    <a:pt x="50" y="277"/>
                    <a:pt x="59" y="280"/>
                  </a:cubicBezTo>
                  <a:cubicBezTo>
                    <a:pt x="68" y="283"/>
                    <a:pt x="79" y="278"/>
                    <a:pt x="83" y="278"/>
                  </a:cubicBezTo>
                  <a:cubicBezTo>
                    <a:pt x="88" y="278"/>
                    <a:pt x="106" y="285"/>
                    <a:pt x="111" y="284"/>
                  </a:cubicBezTo>
                  <a:cubicBezTo>
                    <a:pt x="116" y="283"/>
                    <a:pt x="117" y="277"/>
                    <a:pt x="122" y="277"/>
                  </a:cubicBezTo>
                  <a:cubicBezTo>
                    <a:pt x="127" y="277"/>
                    <a:pt x="136" y="284"/>
                    <a:pt x="136" y="284"/>
                  </a:cubicBezTo>
                  <a:cubicBezTo>
                    <a:pt x="154" y="285"/>
                    <a:pt x="154" y="285"/>
                    <a:pt x="154" y="285"/>
                  </a:cubicBezTo>
                  <a:cubicBezTo>
                    <a:pt x="154" y="285"/>
                    <a:pt x="173" y="327"/>
                    <a:pt x="181" y="330"/>
                  </a:cubicBezTo>
                  <a:cubicBezTo>
                    <a:pt x="189" y="332"/>
                    <a:pt x="197" y="329"/>
                    <a:pt x="197" y="329"/>
                  </a:cubicBezTo>
                  <a:cubicBezTo>
                    <a:pt x="197" y="329"/>
                    <a:pt x="195" y="322"/>
                    <a:pt x="203" y="322"/>
                  </a:cubicBezTo>
                  <a:cubicBezTo>
                    <a:pt x="211" y="322"/>
                    <a:pt x="213" y="329"/>
                    <a:pt x="221" y="330"/>
                  </a:cubicBezTo>
                  <a:cubicBezTo>
                    <a:pt x="229" y="331"/>
                    <a:pt x="232" y="324"/>
                    <a:pt x="232" y="324"/>
                  </a:cubicBezTo>
                  <a:cubicBezTo>
                    <a:pt x="251" y="326"/>
                    <a:pt x="251" y="326"/>
                    <a:pt x="251" y="326"/>
                  </a:cubicBezTo>
                  <a:cubicBezTo>
                    <a:pt x="251" y="326"/>
                    <a:pt x="270" y="311"/>
                    <a:pt x="276" y="323"/>
                  </a:cubicBezTo>
                  <a:cubicBezTo>
                    <a:pt x="282" y="336"/>
                    <a:pt x="265" y="344"/>
                    <a:pt x="265" y="344"/>
                  </a:cubicBezTo>
                  <a:cubicBezTo>
                    <a:pt x="265" y="344"/>
                    <a:pt x="266" y="359"/>
                    <a:pt x="263" y="362"/>
                  </a:cubicBezTo>
                  <a:cubicBezTo>
                    <a:pt x="260" y="365"/>
                    <a:pt x="250" y="370"/>
                    <a:pt x="251" y="375"/>
                  </a:cubicBezTo>
                  <a:cubicBezTo>
                    <a:pt x="252" y="380"/>
                    <a:pt x="254" y="398"/>
                    <a:pt x="254" y="404"/>
                  </a:cubicBezTo>
                  <a:cubicBezTo>
                    <a:pt x="254" y="410"/>
                    <a:pt x="252" y="433"/>
                    <a:pt x="252" y="433"/>
                  </a:cubicBezTo>
                  <a:cubicBezTo>
                    <a:pt x="252" y="433"/>
                    <a:pt x="261" y="437"/>
                    <a:pt x="261" y="440"/>
                  </a:cubicBezTo>
                  <a:cubicBezTo>
                    <a:pt x="261" y="443"/>
                    <a:pt x="262" y="452"/>
                    <a:pt x="262" y="452"/>
                  </a:cubicBezTo>
                  <a:cubicBezTo>
                    <a:pt x="262" y="452"/>
                    <a:pt x="278" y="466"/>
                    <a:pt x="278" y="476"/>
                  </a:cubicBezTo>
                  <a:cubicBezTo>
                    <a:pt x="278" y="486"/>
                    <a:pt x="249" y="504"/>
                    <a:pt x="249" y="504"/>
                  </a:cubicBezTo>
                  <a:cubicBezTo>
                    <a:pt x="259" y="507"/>
                    <a:pt x="259" y="507"/>
                    <a:pt x="259" y="507"/>
                  </a:cubicBezTo>
                  <a:cubicBezTo>
                    <a:pt x="259" y="507"/>
                    <a:pt x="281" y="521"/>
                    <a:pt x="281" y="525"/>
                  </a:cubicBezTo>
                  <a:cubicBezTo>
                    <a:pt x="281" y="529"/>
                    <a:pt x="284" y="549"/>
                    <a:pt x="284" y="549"/>
                  </a:cubicBezTo>
                  <a:cubicBezTo>
                    <a:pt x="284" y="549"/>
                    <a:pt x="295" y="575"/>
                    <a:pt x="294" y="580"/>
                  </a:cubicBezTo>
                  <a:cubicBezTo>
                    <a:pt x="293" y="585"/>
                    <a:pt x="299" y="594"/>
                    <a:pt x="299" y="594"/>
                  </a:cubicBezTo>
                  <a:cubicBezTo>
                    <a:pt x="299" y="594"/>
                    <a:pt x="306" y="607"/>
                    <a:pt x="310" y="612"/>
                  </a:cubicBezTo>
                  <a:cubicBezTo>
                    <a:pt x="314" y="617"/>
                    <a:pt x="326" y="619"/>
                    <a:pt x="326" y="619"/>
                  </a:cubicBezTo>
                  <a:cubicBezTo>
                    <a:pt x="336" y="625"/>
                    <a:pt x="347" y="603"/>
                    <a:pt x="356" y="605"/>
                  </a:cubicBezTo>
                  <a:cubicBezTo>
                    <a:pt x="365" y="607"/>
                    <a:pt x="354" y="624"/>
                    <a:pt x="362" y="624"/>
                  </a:cubicBezTo>
                  <a:cubicBezTo>
                    <a:pt x="370" y="624"/>
                    <a:pt x="376" y="599"/>
                    <a:pt x="382" y="595"/>
                  </a:cubicBezTo>
                  <a:cubicBezTo>
                    <a:pt x="388" y="591"/>
                    <a:pt x="400" y="593"/>
                    <a:pt x="400" y="593"/>
                  </a:cubicBezTo>
                  <a:cubicBezTo>
                    <a:pt x="402" y="587"/>
                    <a:pt x="402" y="587"/>
                    <a:pt x="402" y="587"/>
                  </a:cubicBezTo>
                  <a:cubicBezTo>
                    <a:pt x="402" y="587"/>
                    <a:pt x="407" y="583"/>
                    <a:pt x="420" y="579"/>
                  </a:cubicBezTo>
                  <a:cubicBezTo>
                    <a:pt x="433" y="575"/>
                    <a:pt x="432" y="550"/>
                    <a:pt x="432" y="550"/>
                  </a:cubicBezTo>
                  <a:cubicBezTo>
                    <a:pt x="432" y="550"/>
                    <a:pt x="445" y="553"/>
                    <a:pt x="457" y="547"/>
                  </a:cubicBezTo>
                  <a:cubicBezTo>
                    <a:pt x="469" y="541"/>
                    <a:pt x="462" y="527"/>
                    <a:pt x="462" y="527"/>
                  </a:cubicBezTo>
                  <a:cubicBezTo>
                    <a:pt x="432" y="524"/>
                    <a:pt x="432" y="524"/>
                    <a:pt x="432" y="524"/>
                  </a:cubicBezTo>
                  <a:cubicBezTo>
                    <a:pt x="432" y="524"/>
                    <a:pt x="432" y="515"/>
                    <a:pt x="432" y="508"/>
                  </a:cubicBezTo>
                  <a:cubicBezTo>
                    <a:pt x="432" y="501"/>
                    <a:pt x="419" y="490"/>
                    <a:pt x="419" y="490"/>
                  </a:cubicBezTo>
                  <a:cubicBezTo>
                    <a:pt x="419" y="490"/>
                    <a:pt x="434" y="466"/>
                    <a:pt x="412" y="455"/>
                  </a:cubicBezTo>
                  <a:cubicBezTo>
                    <a:pt x="390" y="444"/>
                    <a:pt x="400" y="425"/>
                    <a:pt x="400" y="425"/>
                  </a:cubicBezTo>
                  <a:cubicBezTo>
                    <a:pt x="400" y="425"/>
                    <a:pt x="403" y="431"/>
                    <a:pt x="406" y="434"/>
                  </a:cubicBezTo>
                  <a:cubicBezTo>
                    <a:pt x="409" y="437"/>
                    <a:pt x="418" y="429"/>
                    <a:pt x="429" y="433"/>
                  </a:cubicBezTo>
                  <a:cubicBezTo>
                    <a:pt x="440" y="437"/>
                    <a:pt x="434" y="446"/>
                    <a:pt x="436" y="449"/>
                  </a:cubicBezTo>
                  <a:cubicBezTo>
                    <a:pt x="438" y="452"/>
                    <a:pt x="450" y="444"/>
                    <a:pt x="450" y="444"/>
                  </a:cubicBezTo>
                  <a:cubicBezTo>
                    <a:pt x="460" y="450"/>
                    <a:pt x="460" y="450"/>
                    <a:pt x="460" y="450"/>
                  </a:cubicBezTo>
                  <a:cubicBezTo>
                    <a:pt x="460" y="450"/>
                    <a:pt x="465" y="442"/>
                    <a:pt x="469" y="446"/>
                  </a:cubicBezTo>
                  <a:cubicBezTo>
                    <a:pt x="473" y="450"/>
                    <a:pt x="484" y="469"/>
                    <a:pt x="493" y="469"/>
                  </a:cubicBezTo>
                  <a:cubicBezTo>
                    <a:pt x="502" y="469"/>
                    <a:pt x="499" y="435"/>
                    <a:pt x="507" y="432"/>
                  </a:cubicBezTo>
                  <a:cubicBezTo>
                    <a:pt x="515" y="429"/>
                    <a:pt x="521" y="437"/>
                    <a:pt x="528" y="437"/>
                  </a:cubicBezTo>
                  <a:cubicBezTo>
                    <a:pt x="535" y="437"/>
                    <a:pt x="549" y="430"/>
                    <a:pt x="551" y="424"/>
                  </a:cubicBezTo>
                  <a:cubicBezTo>
                    <a:pt x="553" y="418"/>
                    <a:pt x="565" y="413"/>
                    <a:pt x="565" y="413"/>
                  </a:cubicBezTo>
                  <a:cubicBezTo>
                    <a:pt x="583" y="414"/>
                    <a:pt x="583" y="414"/>
                    <a:pt x="583" y="414"/>
                  </a:cubicBezTo>
                  <a:cubicBezTo>
                    <a:pt x="581" y="404"/>
                    <a:pt x="581" y="404"/>
                    <a:pt x="581" y="404"/>
                  </a:cubicBezTo>
                  <a:cubicBezTo>
                    <a:pt x="581" y="404"/>
                    <a:pt x="592" y="406"/>
                    <a:pt x="596" y="399"/>
                  </a:cubicBezTo>
                  <a:cubicBezTo>
                    <a:pt x="600" y="392"/>
                    <a:pt x="594" y="378"/>
                    <a:pt x="594" y="378"/>
                  </a:cubicBezTo>
                  <a:cubicBezTo>
                    <a:pt x="594" y="378"/>
                    <a:pt x="567" y="351"/>
                    <a:pt x="563" y="340"/>
                  </a:cubicBezTo>
                  <a:cubicBezTo>
                    <a:pt x="559" y="329"/>
                    <a:pt x="572" y="330"/>
                    <a:pt x="581" y="322"/>
                  </a:cubicBezTo>
                  <a:cubicBezTo>
                    <a:pt x="590" y="315"/>
                    <a:pt x="570" y="304"/>
                    <a:pt x="570" y="299"/>
                  </a:cubicBezTo>
                  <a:cubicBezTo>
                    <a:pt x="570" y="294"/>
                    <a:pt x="595" y="295"/>
                    <a:pt x="606" y="291"/>
                  </a:cubicBezTo>
                  <a:cubicBezTo>
                    <a:pt x="617" y="287"/>
                    <a:pt x="616" y="277"/>
                    <a:pt x="616" y="273"/>
                  </a:cubicBezTo>
                  <a:cubicBezTo>
                    <a:pt x="616" y="270"/>
                    <a:pt x="609" y="270"/>
                    <a:pt x="605" y="270"/>
                  </a:cubicBezTo>
                  <a:cubicBezTo>
                    <a:pt x="601" y="270"/>
                    <a:pt x="603" y="259"/>
                    <a:pt x="601" y="250"/>
                  </a:cubicBezTo>
                  <a:cubicBezTo>
                    <a:pt x="599" y="241"/>
                    <a:pt x="615" y="236"/>
                    <a:pt x="621" y="234"/>
                  </a:cubicBezTo>
                  <a:cubicBezTo>
                    <a:pt x="628" y="232"/>
                    <a:pt x="635" y="218"/>
                    <a:pt x="635" y="218"/>
                  </a:cubicBezTo>
                  <a:cubicBezTo>
                    <a:pt x="642" y="206"/>
                    <a:pt x="642" y="206"/>
                    <a:pt x="642" y="206"/>
                  </a:cubicBezTo>
                  <a:cubicBezTo>
                    <a:pt x="642" y="206"/>
                    <a:pt x="634" y="196"/>
                    <a:pt x="630" y="19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201">
              <a:extLst>
                <a:ext uri="{FF2B5EF4-FFF2-40B4-BE49-F238E27FC236}">
                  <a16:creationId xmlns:a16="http://schemas.microsoft.com/office/drawing/2014/main" id="{C751EBF4-D88F-00A1-E4B7-D0AFD2C75833}"/>
                </a:ext>
              </a:extLst>
            </p:cNvPr>
            <p:cNvSpPr>
              <a:spLocks/>
            </p:cNvSpPr>
            <p:nvPr/>
          </p:nvSpPr>
          <p:spPr bwMode="gray">
            <a:xfrm>
              <a:off x="-15747" y="-11210"/>
              <a:ext cx="659" cy="333"/>
            </a:xfrm>
            <a:custGeom>
              <a:avLst/>
              <a:gdLst>
                <a:gd name="T0" fmla="*/ 209 w 279"/>
                <a:gd name="T1" fmla="*/ 47 h 141"/>
                <a:gd name="T2" fmla="*/ 224 w 279"/>
                <a:gd name="T3" fmla="*/ 66 h 141"/>
                <a:gd name="T4" fmla="*/ 232 w 279"/>
                <a:gd name="T5" fmla="*/ 63 h 141"/>
                <a:gd name="T6" fmla="*/ 254 w 279"/>
                <a:gd name="T7" fmla="*/ 81 h 141"/>
                <a:gd name="T8" fmla="*/ 232 w 279"/>
                <a:gd name="T9" fmla="*/ 71 h 141"/>
                <a:gd name="T10" fmla="*/ 229 w 279"/>
                <a:gd name="T11" fmla="*/ 106 h 141"/>
                <a:gd name="T12" fmla="*/ 243 w 279"/>
                <a:gd name="T13" fmla="*/ 128 h 141"/>
                <a:gd name="T14" fmla="*/ 243 w 279"/>
                <a:gd name="T15" fmla="*/ 128 h 141"/>
                <a:gd name="T16" fmla="*/ 253 w 279"/>
                <a:gd name="T17" fmla="*/ 107 h 141"/>
                <a:gd name="T18" fmla="*/ 269 w 279"/>
                <a:gd name="T19" fmla="*/ 109 h 141"/>
                <a:gd name="T20" fmla="*/ 279 w 279"/>
                <a:gd name="T21" fmla="*/ 84 h 141"/>
                <a:gd name="T22" fmla="*/ 266 w 279"/>
                <a:gd name="T23" fmla="*/ 70 h 141"/>
                <a:gd name="T24" fmla="*/ 270 w 279"/>
                <a:gd name="T25" fmla="*/ 58 h 141"/>
                <a:gd name="T26" fmla="*/ 255 w 279"/>
                <a:gd name="T27" fmla="*/ 46 h 141"/>
                <a:gd name="T28" fmla="*/ 236 w 279"/>
                <a:gd name="T29" fmla="*/ 18 h 141"/>
                <a:gd name="T30" fmla="*/ 196 w 279"/>
                <a:gd name="T31" fmla="*/ 13 h 141"/>
                <a:gd name="T32" fmla="*/ 195 w 279"/>
                <a:gd name="T33" fmla="*/ 4 h 141"/>
                <a:gd name="T34" fmla="*/ 163 w 279"/>
                <a:gd name="T35" fmla="*/ 7 h 141"/>
                <a:gd name="T36" fmla="*/ 144 w 279"/>
                <a:gd name="T37" fmla="*/ 27 h 141"/>
                <a:gd name="T38" fmla="*/ 126 w 279"/>
                <a:gd name="T39" fmla="*/ 25 h 141"/>
                <a:gd name="T40" fmla="*/ 94 w 279"/>
                <a:gd name="T41" fmla="*/ 50 h 141"/>
                <a:gd name="T42" fmla="*/ 75 w 279"/>
                <a:gd name="T43" fmla="*/ 43 h 141"/>
                <a:gd name="T44" fmla="*/ 65 w 279"/>
                <a:gd name="T45" fmla="*/ 32 h 141"/>
                <a:gd name="T46" fmla="*/ 59 w 279"/>
                <a:gd name="T47" fmla="*/ 39 h 141"/>
                <a:gd name="T48" fmla="*/ 40 w 279"/>
                <a:gd name="T49" fmla="*/ 35 h 141"/>
                <a:gd name="T50" fmla="*/ 35 w 279"/>
                <a:gd name="T51" fmla="*/ 10 h 141"/>
                <a:gd name="T52" fmla="*/ 27 w 279"/>
                <a:gd name="T53" fmla="*/ 5 h 141"/>
                <a:gd name="T54" fmla="*/ 10 w 279"/>
                <a:gd name="T55" fmla="*/ 11 h 141"/>
                <a:gd name="T56" fmla="*/ 10 w 279"/>
                <a:gd name="T57" fmla="*/ 33 h 141"/>
                <a:gd name="T58" fmla="*/ 24 w 279"/>
                <a:gd name="T59" fmla="*/ 40 h 141"/>
                <a:gd name="T60" fmla="*/ 11 w 279"/>
                <a:gd name="T61" fmla="*/ 51 h 141"/>
                <a:gd name="T62" fmla="*/ 10 w 279"/>
                <a:gd name="T63" fmla="*/ 65 h 141"/>
                <a:gd name="T64" fmla="*/ 6 w 279"/>
                <a:gd name="T65" fmla="*/ 70 h 141"/>
                <a:gd name="T66" fmla="*/ 11 w 279"/>
                <a:gd name="T67" fmla="*/ 75 h 141"/>
                <a:gd name="T68" fmla="*/ 39 w 279"/>
                <a:gd name="T69" fmla="*/ 69 h 141"/>
                <a:gd name="T70" fmla="*/ 44 w 279"/>
                <a:gd name="T71" fmla="*/ 81 h 141"/>
                <a:gd name="T72" fmla="*/ 64 w 279"/>
                <a:gd name="T73" fmla="*/ 80 h 141"/>
                <a:gd name="T74" fmla="*/ 67 w 279"/>
                <a:gd name="T75" fmla="*/ 107 h 141"/>
                <a:gd name="T76" fmla="*/ 86 w 279"/>
                <a:gd name="T77" fmla="*/ 102 h 141"/>
                <a:gd name="T78" fmla="*/ 86 w 279"/>
                <a:gd name="T79" fmla="*/ 89 h 141"/>
                <a:gd name="T80" fmla="*/ 97 w 279"/>
                <a:gd name="T81" fmla="*/ 88 h 141"/>
                <a:gd name="T82" fmla="*/ 115 w 279"/>
                <a:gd name="T83" fmla="*/ 134 h 141"/>
                <a:gd name="T84" fmla="*/ 143 w 279"/>
                <a:gd name="T85" fmla="*/ 118 h 141"/>
                <a:gd name="T86" fmla="*/ 116 w 279"/>
                <a:gd name="T87" fmla="*/ 81 h 141"/>
                <a:gd name="T88" fmla="*/ 147 w 279"/>
                <a:gd name="T89" fmla="*/ 62 h 141"/>
                <a:gd name="T90" fmla="*/ 177 w 279"/>
                <a:gd name="T91" fmla="*/ 36 h 141"/>
                <a:gd name="T92" fmla="*/ 209 w 279"/>
                <a:gd name="T93" fmla="*/ 47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9" h="141">
                  <a:moveTo>
                    <a:pt x="209" y="47"/>
                  </a:moveTo>
                  <a:cubicBezTo>
                    <a:pt x="215" y="51"/>
                    <a:pt x="224" y="66"/>
                    <a:pt x="224" y="66"/>
                  </a:cubicBezTo>
                  <a:cubicBezTo>
                    <a:pt x="232" y="63"/>
                    <a:pt x="232" y="63"/>
                    <a:pt x="232" y="63"/>
                  </a:cubicBezTo>
                  <a:cubicBezTo>
                    <a:pt x="254" y="81"/>
                    <a:pt x="254" y="81"/>
                    <a:pt x="254" y="81"/>
                  </a:cubicBezTo>
                  <a:cubicBezTo>
                    <a:pt x="232" y="71"/>
                    <a:pt x="232" y="71"/>
                    <a:pt x="232" y="71"/>
                  </a:cubicBezTo>
                  <a:cubicBezTo>
                    <a:pt x="232" y="71"/>
                    <a:pt x="229" y="100"/>
                    <a:pt x="229" y="106"/>
                  </a:cubicBezTo>
                  <a:cubicBezTo>
                    <a:pt x="229" y="111"/>
                    <a:pt x="240" y="124"/>
                    <a:pt x="243" y="128"/>
                  </a:cubicBezTo>
                  <a:cubicBezTo>
                    <a:pt x="243" y="128"/>
                    <a:pt x="243" y="128"/>
                    <a:pt x="243" y="128"/>
                  </a:cubicBezTo>
                  <a:cubicBezTo>
                    <a:pt x="253" y="107"/>
                    <a:pt x="253" y="107"/>
                    <a:pt x="253" y="107"/>
                  </a:cubicBezTo>
                  <a:cubicBezTo>
                    <a:pt x="253" y="107"/>
                    <a:pt x="260" y="117"/>
                    <a:pt x="269" y="109"/>
                  </a:cubicBezTo>
                  <a:cubicBezTo>
                    <a:pt x="279" y="101"/>
                    <a:pt x="279" y="84"/>
                    <a:pt x="279" y="84"/>
                  </a:cubicBezTo>
                  <a:cubicBezTo>
                    <a:pt x="279" y="84"/>
                    <a:pt x="266" y="77"/>
                    <a:pt x="266" y="70"/>
                  </a:cubicBezTo>
                  <a:cubicBezTo>
                    <a:pt x="266" y="64"/>
                    <a:pt x="269" y="59"/>
                    <a:pt x="270" y="58"/>
                  </a:cubicBezTo>
                  <a:cubicBezTo>
                    <a:pt x="255" y="46"/>
                    <a:pt x="255" y="46"/>
                    <a:pt x="255" y="46"/>
                  </a:cubicBezTo>
                  <a:cubicBezTo>
                    <a:pt x="255" y="46"/>
                    <a:pt x="251" y="24"/>
                    <a:pt x="236" y="18"/>
                  </a:cubicBezTo>
                  <a:cubicBezTo>
                    <a:pt x="221" y="12"/>
                    <a:pt x="196" y="13"/>
                    <a:pt x="196" y="13"/>
                  </a:cubicBezTo>
                  <a:cubicBezTo>
                    <a:pt x="195" y="4"/>
                    <a:pt x="195" y="4"/>
                    <a:pt x="195" y="4"/>
                  </a:cubicBezTo>
                  <a:cubicBezTo>
                    <a:pt x="195" y="4"/>
                    <a:pt x="169" y="0"/>
                    <a:pt x="163" y="7"/>
                  </a:cubicBezTo>
                  <a:cubicBezTo>
                    <a:pt x="157" y="14"/>
                    <a:pt x="144" y="27"/>
                    <a:pt x="144" y="27"/>
                  </a:cubicBezTo>
                  <a:cubicBezTo>
                    <a:pt x="144" y="27"/>
                    <a:pt x="134" y="18"/>
                    <a:pt x="126" y="25"/>
                  </a:cubicBezTo>
                  <a:cubicBezTo>
                    <a:pt x="118" y="32"/>
                    <a:pt x="104" y="50"/>
                    <a:pt x="94" y="50"/>
                  </a:cubicBezTo>
                  <a:cubicBezTo>
                    <a:pt x="84" y="50"/>
                    <a:pt x="75" y="43"/>
                    <a:pt x="75" y="43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45" y="44"/>
                    <a:pt x="40" y="35"/>
                  </a:cubicBezTo>
                  <a:cubicBezTo>
                    <a:pt x="35" y="26"/>
                    <a:pt x="42" y="16"/>
                    <a:pt x="35" y="10"/>
                  </a:cubicBezTo>
                  <a:cubicBezTo>
                    <a:pt x="33" y="8"/>
                    <a:pt x="30" y="7"/>
                    <a:pt x="27" y="5"/>
                  </a:cubicBezTo>
                  <a:cubicBezTo>
                    <a:pt x="23" y="6"/>
                    <a:pt x="16" y="9"/>
                    <a:pt x="10" y="11"/>
                  </a:cubicBezTo>
                  <a:cubicBezTo>
                    <a:pt x="0" y="14"/>
                    <a:pt x="10" y="33"/>
                    <a:pt x="10" y="33"/>
                  </a:cubicBezTo>
                  <a:cubicBezTo>
                    <a:pt x="10" y="33"/>
                    <a:pt x="24" y="35"/>
                    <a:pt x="24" y="40"/>
                  </a:cubicBezTo>
                  <a:cubicBezTo>
                    <a:pt x="24" y="45"/>
                    <a:pt x="11" y="51"/>
                    <a:pt x="11" y="51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0"/>
                    <a:pt x="59" y="102"/>
                    <a:pt x="67" y="107"/>
                  </a:cubicBezTo>
                  <a:cubicBezTo>
                    <a:pt x="75" y="112"/>
                    <a:pt x="86" y="102"/>
                    <a:pt x="86" y="102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101" y="141"/>
                    <a:pt x="115" y="134"/>
                  </a:cubicBezTo>
                  <a:cubicBezTo>
                    <a:pt x="129" y="127"/>
                    <a:pt x="143" y="118"/>
                    <a:pt x="143" y="118"/>
                  </a:cubicBezTo>
                  <a:cubicBezTo>
                    <a:pt x="143" y="118"/>
                    <a:pt x="105" y="91"/>
                    <a:pt x="116" y="81"/>
                  </a:cubicBezTo>
                  <a:cubicBezTo>
                    <a:pt x="127" y="71"/>
                    <a:pt x="138" y="70"/>
                    <a:pt x="147" y="62"/>
                  </a:cubicBezTo>
                  <a:cubicBezTo>
                    <a:pt x="156" y="54"/>
                    <a:pt x="167" y="34"/>
                    <a:pt x="177" y="36"/>
                  </a:cubicBezTo>
                  <a:cubicBezTo>
                    <a:pt x="187" y="38"/>
                    <a:pt x="203" y="43"/>
                    <a:pt x="209" y="4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202">
              <a:extLst>
                <a:ext uri="{FF2B5EF4-FFF2-40B4-BE49-F238E27FC236}">
                  <a16:creationId xmlns:a16="http://schemas.microsoft.com/office/drawing/2014/main" id="{2F8EB9A5-3823-FC33-0B19-E5A697786AA4}"/>
                </a:ext>
              </a:extLst>
            </p:cNvPr>
            <p:cNvSpPr>
              <a:spLocks/>
            </p:cNvSpPr>
            <p:nvPr/>
          </p:nvSpPr>
          <p:spPr bwMode="gray">
            <a:xfrm>
              <a:off x="-15329" y="-11584"/>
              <a:ext cx="1373" cy="2131"/>
            </a:xfrm>
            <a:custGeom>
              <a:avLst/>
              <a:gdLst>
                <a:gd name="T0" fmla="*/ 65 w 581"/>
                <a:gd name="T1" fmla="*/ 635 h 902"/>
                <a:gd name="T2" fmla="*/ 120 w 581"/>
                <a:gd name="T3" fmla="*/ 665 h 902"/>
                <a:gd name="T4" fmla="*/ 185 w 581"/>
                <a:gd name="T5" fmla="*/ 680 h 902"/>
                <a:gd name="T6" fmla="*/ 238 w 581"/>
                <a:gd name="T7" fmla="*/ 732 h 902"/>
                <a:gd name="T8" fmla="*/ 264 w 581"/>
                <a:gd name="T9" fmla="*/ 772 h 902"/>
                <a:gd name="T10" fmla="*/ 329 w 581"/>
                <a:gd name="T11" fmla="*/ 813 h 902"/>
                <a:gd name="T12" fmla="*/ 388 w 581"/>
                <a:gd name="T13" fmla="*/ 797 h 902"/>
                <a:gd name="T14" fmla="*/ 415 w 581"/>
                <a:gd name="T15" fmla="*/ 846 h 902"/>
                <a:gd name="T16" fmla="*/ 427 w 581"/>
                <a:gd name="T17" fmla="*/ 898 h 902"/>
                <a:gd name="T18" fmla="*/ 444 w 581"/>
                <a:gd name="T19" fmla="*/ 831 h 902"/>
                <a:gd name="T20" fmla="*/ 464 w 581"/>
                <a:gd name="T21" fmla="*/ 749 h 902"/>
                <a:gd name="T22" fmla="*/ 425 w 581"/>
                <a:gd name="T23" fmla="*/ 688 h 902"/>
                <a:gd name="T24" fmla="*/ 471 w 581"/>
                <a:gd name="T25" fmla="*/ 643 h 902"/>
                <a:gd name="T26" fmla="*/ 442 w 581"/>
                <a:gd name="T27" fmla="*/ 616 h 902"/>
                <a:gd name="T28" fmla="*/ 510 w 581"/>
                <a:gd name="T29" fmla="*/ 586 h 902"/>
                <a:gd name="T30" fmla="*/ 555 w 581"/>
                <a:gd name="T31" fmla="*/ 563 h 902"/>
                <a:gd name="T32" fmla="*/ 564 w 581"/>
                <a:gd name="T33" fmla="*/ 614 h 902"/>
                <a:gd name="T34" fmla="*/ 566 w 581"/>
                <a:gd name="T35" fmla="*/ 569 h 902"/>
                <a:gd name="T36" fmla="*/ 531 w 581"/>
                <a:gd name="T37" fmla="*/ 524 h 902"/>
                <a:gd name="T38" fmla="*/ 543 w 581"/>
                <a:gd name="T39" fmla="*/ 460 h 902"/>
                <a:gd name="T40" fmla="*/ 533 w 581"/>
                <a:gd name="T41" fmla="*/ 395 h 902"/>
                <a:gd name="T42" fmla="*/ 558 w 581"/>
                <a:gd name="T43" fmla="*/ 343 h 902"/>
                <a:gd name="T44" fmla="*/ 503 w 581"/>
                <a:gd name="T45" fmla="*/ 350 h 902"/>
                <a:gd name="T46" fmla="*/ 463 w 581"/>
                <a:gd name="T47" fmla="*/ 350 h 902"/>
                <a:gd name="T48" fmla="*/ 404 w 581"/>
                <a:gd name="T49" fmla="*/ 297 h 902"/>
                <a:gd name="T50" fmla="*/ 341 w 581"/>
                <a:gd name="T51" fmla="*/ 300 h 902"/>
                <a:gd name="T52" fmla="*/ 324 w 581"/>
                <a:gd name="T53" fmla="*/ 252 h 902"/>
                <a:gd name="T54" fmla="*/ 317 w 581"/>
                <a:gd name="T55" fmla="*/ 200 h 902"/>
                <a:gd name="T56" fmla="*/ 306 w 581"/>
                <a:gd name="T57" fmla="*/ 153 h 902"/>
                <a:gd name="T58" fmla="*/ 320 w 581"/>
                <a:gd name="T59" fmla="*/ 97 h 902"/>
                <a:gd name="T60" fmla="*/ 381 w 581"/>
                <a:gd name="T61" fmla="*/ 47 h 902"/>
                <a:gd name="T62" fmla="*/ 342 w 581"/>
                <a:gd name="T63" fmla="*/ 45 h 902"/>
                <a:gd name="T64" fmla="*/ 271 w 581"/>
                <a:gd name="T65" fmla="*/ 74 h 902"/>
                <a:gd name="T66" fmla="*/ 239 w 581"/>
                <a:gd name="T67" fmla="*/ 101 h 902"/>
                <a:gd name="T68" fmla="*/ 207 w 581"/>
                <a:gd name="T69" fmla="*/ 94 h 902"/>
                <a:gd name="T70" fmla="*/ 177 w 581"/>
                <a:gd name="T71" fmla="*/ 155 h 902"/>
                <a:gd name="T72" fmla="*/ 147 w 581"/>
                <a:gd name="T73" fmla="*/ 198 h 902"/>
                <a:gd name="T74" fmla="*/ 123 w 581"/>
                <a:gd name="T75" fmla="*/ 229 h 902"/>
                <a:gd name="T76" fmla="*/ 93 w 581"/>
                <a:gd name="T77" fmla="*/ 215 h 902"/>
                <a:gd name="T78" fmla="*/ 92 w 581"/>
                <a:gd name="T79" fmla="*/ 267 h 902"/>
                <a:gd name="T80" fmla="*/ 74 w 581"/>
                <a:gd name="T81" fmla="*/ 301 h 902"/>
                <a:gd name="T82" fmla="*/ 77 w 581"/>
                <a:gd name="T83" fmla="*/ 338 h 902"/>
                <a:gd name="T84" fmla="*/ 77 w 581"/>
                <a:gd name="T85" fmla="*/ 378 h 902"/>
                <a:gd name="T86" fmla="*/ 74 w 581"/>
                <a:gd name="T87" fmla="*/ 454 h 902"/>
                <a:gd name="T88" fmla="*/ 74 w 581"/>
                <a:gd name="T89" fmla="*/ 522 h 902"/>
                <a:gd name="T90" fmla="*/ 26 w 581"/>
                <a:gd name="T91" fmla="*/ 580 h 902"/>
                <a:gd name="T92" fmla="*/ 23 w 581"/>
                <a:gd name="T93" fmla="*/ 614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81" h="902">
                  <a:moveTo>
                    <a:pt x="23" y="614"/>
                  </a:moveTo>
                  <a:cubicBezTo>
                    <a:pt x="34" y="620"/>
                    <a:pt x="42" y="632"/>
                    <a:pt x="42" y="632"/>
                  </a:cubicBezTo>
                  <a:cubicBezTo>
                    <a:pt x="42" y="632"/>
                    <a:pt x="55" y="627"/>
                    <a:pt x="65" y="635"/>
                  </a:cubicBezTo>
                  <a:cubicBezTo>
                    <a:pt x="75" y="643"/>
                    <a:pt x="68" y="650"/>
                    <a:pt x="77" y="656"/>
                  </a:cubicBezTo>
                  <a:cubicBezTo>
                    <a:pt x="86" y="662"/>
                    <a:pt x="97" y="657"/>
                    <a:pt x="97" y="657"/>
                  </a:cubicBezTo>
                  <a:cubicBezTo>
                    <a:pt x="97" y="657"/>
                    <a:pt x="113" y="667"/>
                    <a:pt x="120" y="665"/>
                  </a:cubicBezTo>
                  <a:cubicBezTo>
                    <a:pt x="127" y="663"/>
                    <a:pt x="115" y="650"/>
                    <a:pt x="132" y="653"/>
                  </a:cubicBezTo>
                  <a:cubicBezTo>
                    <a:pt x="149" y="656"/>
                    <a:pt x="141" y="674"/>
                    <a:pt x="154" y="675"/>
                  </a:cubicBezTo>
                  <a:cubicBezTo>
                    <a:pt x="166" y="676"/>
                    <a:pt x="178" y="676"/>
                    <a:pt x="185" y="680"/>
                  </a:cubicBezTo>
                  <a:cubicBezTo>
                    <a:pt x="192" y="684"/>
                    <a:pt x="222" y="708"/>
                    <a:pt x="222" y="708"/>
                  </a:cubicBezTo>
                  <a:cubicBezTo>
                    <a:pt x="230" y="732"/>
                    <a:pt x="230" y="732"/>
                    <a:pt x="230" y="732"/>
                  </a:cubicBezTo>
                  <a:cubicBezTo>
                    <a:pt x="238" y="732"/>
                    <a:pt x="238" y="732"/>
                    <a:pt x="238" y="732"/>
                  </a:cubicBezTo>
                  <a:cubicBezTo>
                    <a:pt x="249" y="745"/>
                    <a:pt x="249" y="745"/>
                    <a:pt x="249" y="745"/>
                  </a:cubicBezTo>
                  <a:cubicBezTo>
                    <a:pt x="249" y="745"/>
                    <a:pt x="257" y="742"/>
                    <a:pt x="259" y="748"/>
                  </a:cubicBezTo>
                  <a:cubicBezTo>
                    <a:pt x="262" y="754"/>
                    <a:pt x="264" y="772"/>
                    <a:pt x="264" y="772"/>
                  </a:cubicBezTo>
                  <a:cubicBezTo>
                    <a:pt x="264" y="772"/>
                    <a:pt x="282" y="773"/>
                    <a:pt x="283" y="781"/>
                  </a:cubicBezTo>
                  <a:cubicBezTo>
                    <a:pt x="284" y="788"/>
                    <a:pt x="269" y="803"/>
                    <a:pt x="288" y="808"/>
                  </a:cubicBezTo>
                  <a:cubicBezTo>
                    <a:pt x="307" y="813"/>
                    <a:pt x="329" y="813"/>
                    <a:pt x="329" y="813"/>
                  </a:cubicBezTo>
                  <a:cubicBezTo>
                    <a:pt x="329" y="813"/>
                    <a:pt x="330" y="792"/>
                    <a:pt x="344" y="795"/>
                  </a:cubicBezTo>
                  <a:cubicBezTo>
                    <a:pt x="358" y="798"/>
                    <a:pt x="359" y="805"/>
                    <a:pt x="367" y="805"/>
                  </a:cubicBezTo>
                  <a:cubicBezTo>
                    <a:pt x="376" y="805"/>
                    <a:pt x="384" y="796"/>
                    <a:pt x="388" y="797"/>
                  </a:cubicBezTo>
                  <a:cubicBezTo>
                    <a:pt x="392" y="798"/>
                    <a:pt x="400" y="810"/>
                    <a:pt x="400" y="810"/>
                  </a:cubicBezTo>
                  <a:cubicBezTo>
                    <a:pt x="400" y="810"/>
                    <a:pt x="428" y="809"/>
                    <a:pt x="428" y="823"/>
                  </a:cubicBezTo>
                  <a:cubicBezTo>
                    <a:pt x="428" y="838"/>
                    <a:pt x="420" y="846"/>
                    <a:pt x="415" y="846"/>
                  </a:cubicBezTo>
                  <a:cubicBezTo>
                    <a:pt x="410" y="846"/>
                    <a:pt x="401" y="876"/>
                    <a:pt x="404" y="881"/>
                  </a:cubicBezTo>
                  <a:cubicBezTo>
                    <a:pt x="407" y="887"/>
                    <a:pt x="421" y="882"/>
                    <a:pt x="421" y="882"/>
                  </a:cubicBezTo>
                  <a:cubicBezTo>
                    <a:pt x="427" y="898"/>
                    <a:pt x="427" y="898"/>
                    <a:pt x="427" y="898"/>
                  </a:cubicBezTo>
                  <a:cubicBezTo>
                    <a:pt x="438" y="902"/>
                    <a:pt x="438" y="902"/>
                    <a:pt x="438" y="902"/>
                  </a:cubicBezTo>
                  <a:cubicBezTo>
                    <a:pt x="441" y="893"/>
                    <a:pt x="442" y="881"/>
                    <a:pt x="442" y="881"/>
                  </a:cubicBezTo>
                  <a:cubicBezTo>
                    <a:pt x="444" y="831"/>
                    <a:pt x="444" y="831"/>
                    <a:pt x="444" y="831"/>
                  </a:cubicBezTo>
                  <a:cubicBezTo>
                    <a:pt x="455" y="801"/>
                    <a:pt x="455" y="801"/>
                    <a:pt x="455" y="801"/>
                  </a:cubicBezTo>
                  <a:cubicBezTo>
                    <a:pt x="453" y="767"/>
                    <a:pt x="453" y="767"/>
                    <a:pt x="453" y="767"/>
                  </a:cubicBezTo>
                  <a:cubicBezTo>
                    <a:pt x="453" y="767"/>
                    <a:pt x="463" y="756"/>
                    <a:pt x="464" y="749"/>
                  </a:cubicBezTo>
                  <a:cubicBezTo>
                    <a:pt x="465" y="742"/>
                    <a:pt x="451" y="727"/>
                    <a:pt x="451" y="727"/>
                  </a:cubicBezTo>
                  <a:cubicBezTo>
                    <a:pt x="451" y="727"/>
                    <a:pt x="450" y="715"/>
                    <a:pt x="448" y="706"/>
                  </a:cubicBezTo>
                  <a:cubicBezTo>
                    <a:pt x="446" y="697"/>
                    <a:pt x="425" y="688"/>
                    <a:pt x="425" y="688"/>
                  </a:cubicBezTo>
                  <a:cubicBezTo>
                    <a:pt x="427" y="646"/>
                    <a:pt x="427" y="646"/>
                    <a:pt x="427" y="646"/>
                  </a:cubicBezTo>
                  <a:cubicBezTo>
                    <a:pt x="449" y="641"/>
                    <a:pt x="449" y="641"/>
                    <a:pt x="449" y="641"/>
                  </a:cubicBezTo>
                  <a:cubicBezTo>
                    <a:pt x="449" y="641"/>
                    <a:pt x="458" y="645"/>
                    <a:pt x="471" y="643"/>
                  </a:cubicBezTo>
                  <a:cubicBezTo>
                    <a:pt x="484" y="641"/>
                    <a:pt x="465" y="621"/>
                    <a:pt x="465" y="621"/>
                  </a:cubicBezTo>
                  <a:cubicBezTo>
                    <a:pt x="458" y="623"/>
                    <a:pt x="458" y="623"/>
                    <a:pt x="458" y="623"/>
                  </a:cubicBezTo>
                  <a:cubicBezTo>
                    <a:pt x="442" y="616"/>
                    <a:pt x="442" y="616"/>
                    <a:pt x="442" y="616"/>
                  </a:cubicBezTo>
                  <a:cubicBezTo>
                    <a:pt x="442" y="616"/>
                    <a:pt x="434" y="587"/>
                    <a:pt x="443" y="582"/>
                  </a:cubicBezTo>
                  <a:cubicBezTo>
                    <a:pt x="452" y="577"/>
                    <a:pt x="466" y="590"/>
                    <a:pt x="466" y="590"/>
                  </a:cubicBezTo>
                  <a:cubicBezTo>
                    <a:pt x="510" y="586"/>
                    <a:pt x="510" y="586"/>
                    <a:pt x="510" y="586"/>
                  </a:cubicBezTo>
                  <a:cubicBezTo>
                    <a:pt x="510" y="586"/>
                    <a:pt x="510" y="569"/>
                    <a:pt x="516" y="569"/>
                  </a:cubicBezTo>
                  <a:cubicBezTo>
                    <a:pt x="522" y="569"/>
                    <a:pt x="527" y="585"/>
                    <a:pt x="533" y="584"/>
                  </a:cubicBezTo>
                  <a:cubicBezTo>
                    <a:pt x="539" y="583"/>
                    <a:pt x="548" y="560"/>
                    <a:pt x="555" y="563"/>
                  </a:cubicBezTo>
                  <a:cubicBezTo>
                    <a:pt x="562" y="566"/>
                    <a:pt x="557" y="573"/>
                    <a:pt x="557" y="573"/>
                  </a:cubicBezTo>
                  <a:cubicBezTo>
                    <a:pt x="557" y="573"/>
                    <a:pt x="560" y="574"/>
                    <a:pt x="562" y="580"/>
                  </a:cubicBezTo>
                  <a:cubicBezTo>
                    <a:pt x="564" y="586"/>
                    <a:pt x="564" y="614"/>
                    <a:pt x="564" y="614"/>
                  </a:cubicBezTo>
                  <a:cubicBezTo>
                    <a:pt x="581" y="614"/>
                    <a:pt x="581" y="614"/>
                    <a:pt x="581" y="614"/>
                  </a:cubicBezTo>
                  <a:cubicBezTo>
                    <a:pt x="581" y="614"/>
                    <a:pt x="575" y="605"/>
                    <a:pt x="576" y="600"/>
                  </a:cubicBezTo>
                  <a:cubicBezTo>
                    <a:pt x="577" y="595"/>
                    <a:pt x="566" y="569"/>
                    <a:pt x="566" y="569"/>
                  </a:cubicBezTo>
                  <a:cubicBezTo>
                    <a:pt x="566" y="569"/>
                    <a:pt x="563" y="549"/>
                    <a:pt x="563" y="545"/>
                  </a:cubicBezTo>
                  <a:cubicBezTo>
                    <a:pt x="563" y="541"/>
                    <a:pt x="541" y="527"/>
                    <a:pt x="541" y="527"/>
                  </a:cubicBezTo>
                  <a:cubicBezTo>
                    <a:pt x="531" y="524"/>
                    <a:pt x="531" y="524"/>
                    <a:pt x="531" y="524"/>
                  </a:cubicBezTo>
                  <a:cubicBezTo>
                    <a:pt x="531" y="524"/>
                    <a:pt x="560" y="506"/>
                    <a:pt x="560" y="496"/>
                  </a:cubicBezTo>
                  <a:cubicBezTo>
                    <a:pt x="560" y="486"/>
                    <a:pt x="544" y="472"/>
                    <a:pt x="544" y="472"/>
                  </a:cubicBezTo>
                  <a:cubicBezTo>
                    <a:pt x="544" y="472"/>
                    <a:pt x="543" y="463"/>
                    <a:pt x="543" y="460"/>
                  </a:cubicBezTo>
                  <a:cubicBezTo>
                    <a:pt x="543" y="457"/>
                    <a:pt x="534" y="453"/>
                    <a:pt x="534" y="453"/>
                  </a:cubicBezTo>
                  <a:cubicBezTo>
                    <a:pt x="534" y="453"/>
                    <a:pt x="536" y="430"/>
                    <a:pt x="536" y="424"/>
                  </a:cubicBezTo>
                  <a:cubicBezTo>
                    <a:pt x="536" y="418"/>
                    <a:pt x="534" y="400"/>
                    <a:pt x="533" y="395"/>
                  </a:cubicBezTo>
                  <a:cubicBezTo>
                    <a:pt x="532" y="390"/>
                    <a:pt x="542" y="385"/>
                    <a:pt x="545" y="382"/>
                  </a:cubicBezTo>
                  <a:cubicBezTo>
                    <a:pt x="548" y="379"/>
                    <a:pt x="547" y="364"/>
                    <a:pt x="547" y="364"/>
                  </a:cubicBezTo>
                  <a:cubicBezTo>
                    <a:pt x="547" y="364"/>
                    <a:pt x="564" y="356"/>
                    <a:pt x="558" y="343"/>
                  </a:cubicBezTo>
                  <a:cubicBezTo>
                    <a:pt x="552" y="331"/>
                    <a:pt x="533" y="346"/>
                    <a:pt x="533" y="346"/>
                  </a:cubicBezTo>
                  <a:cubicBezTo>
                    <a:pt x="514" y="344"/>
                    <a:pt x="514" y="344"/>
                    <a:pt x="514" y="344"/>
                  </a:cubicBezTo>
                  <a:cubicBezTo>
                    <a:pt x="514" y="344"/>
                    <a:pt x="511" y="351"/>
                    <a:pt x="503" y="350"/>
                  </a:cubicBezTo>
                  <a:cubicBezTo>
                    <a:pt x="495" y="349"/>
                    <a:pt x="493" y="342"/>
                    <a:pt x="485" y="342"/>
                  </a:cubicBezTo>
                  <a:cubicBezTo>
                    <a:pt x="477" y="342"/>
                    <a:pt x="479" y="349"/>
                    <a:pt x="479" y="349"/>
                  </a:cubicBezTo>
                  <a:cubicBezTo>
                    <a:pt x="479" y="349"/>
                    <a:pt x="471" y="352"/>
                    <a:pt x="463" y="350"/>
                  </a:cubicBezTo>
                  <a:cubicBezTo>
                    <a:pt x="455" y="347"/>
                    <a:pt x="436" y="305"/>
                    <a:pt x="436" y="305"/>
                  </a:cubicBezTo>
                  <a:cubicBezTo>
                    <a:pt x="418" y="304"/>
                    <a:pt x="418" y="304"/>
                    <a:pt x="418" y="304"/>
                  </a:cubicBezTo>
                  <a:cubicBezTo>
                    <a:pt x="418" y="304"/>
                    <a:pt x="409" y="297"/>
                    <a:pt x="404" y="297"/>
                  </a:cubicBezTo>
                  <a:cubicBezTo>
                    <a:pt x="399" y="297"/>
                    <a:pt x="398" y="303"/>
                    <a:pt x="393" y="304"/>
                  </a:cubicBezTo>
                  <a:cubicBezTo>
                    <a:pt x="388" y="305"/>
                    <a:pt x="370" y="298"/>
                    <a:pt x="365" y="298"/>
                  </a:cubicBezTo>
                  <a:cubicBezTo>
                    <a:pt x="361" y="298"/>
                    <a:pt x="350" y="303"/>
                    <a:pt x="341" y="300"/>
                  </a:cubicBezTo>
                  <a:cubicBezTo>
                    <a:pt x="332" y="297"/>
                    <a:pt x="333" y="279"/>
                    <a:pt x="333" y="279"/>
                  </a:cubicBezTo>
                  <a:cubicBezTo>
                    <a:pt x="323" y="279"/>
                    <a:pt x="323" y="279"/>
                    <a:pt x="323" y="279"/>
                  </a:cubicBezTo>
                  <a:cubicBezTo>
                    <a:pt x="324" y="252"/>
                    <a:pt x="324" y="252"/>
                    <a:pt x="324" y="252"/>
                  </a:cubicBezTo>
                  <a:cubicBezTo>
                    <a:pt x="324" y="252"/>
                    <a:pt x="330" y="249"/>
                    <a:pt x="332" y="236"/>
                  </a:cubicBezTo>
                  <a:cubicBezTo>
                    <a:pt x="334" y="224"/>
                    <a:pt x="318" y="215"/>
                    <a:pt x="318" y="215"/>
                  </a:cubicBezTo>
                  <a:cubicBezTo>
                    <a:pt x="318" y="215"/>
                    <a:pt x="317" y="209"/>
                    <a:pt x="317" y="200"/>
                  </a:cubicBezTo>
                  <a:cubicBezTo>
                    <a:pt x="317" y="191"/>
                    <a:pt x="310" y="177"/>
                    <a:pt x="303" y="177"/>
                  </a:cubicBezTo>
                  <a:cubicBezTo>
                    <a:pt x="296" y="177"/>
                    <a:pt x="292" y="191"/>
                    <a:pt x="287" y="182"/>
                  </a:cubicBezTo>
                  <a:cubicBezTo>
                    <a:pt x="282" y="174"/>
                    <a:pt x="306" y="153"/>
                    <a:pt x="306" y="153"/>
                  </a:cubicBezTo>
                  <a:cubicBezTo>
                    <a:pt x="306" y="135"/>
                    <a:pt x="306" y="135"/>
                    <a:pt x="306" y="135"/>
                  </a:cubicBezTo>
                  <a:cubicBezTo>
                    <a:pt x="312" y="130"/>
                    <a:pt x="312" y="130"/>
                    <a:pt x="312" y="130"/>
                  </a:cubicBezTo>
                  <a:cubicBezTo>
                    <a:pt x="312" y="130"/>
                    <a:pt x="312" y="110"/>
                    <a:pt x="320" y="97"/>
                  </a:cubicBezTo>
                  <a:cubicBezTo>
                    <a:pt x="327" y="84"/>
                    <a:pt x="336" y="80"/>
                    <a:pt x="347" y="76"/>
                  </a:cubicBezTo>
                  <a:cubicBezTo>
                    <a:pt x="358" y="73"/>
                    <a:pt x="359" y="58"/>
                    <a:pt x="359" y="58"/>
                  </a:cubicBezTo>
                  <a:cubicBezTo>
                    <a:pt x="359" y="58"/>
                    <a:pt x="376" y="48"/>
                    <a:pt x="381" y="47"/>
                  </a:cubicBezTo>
                  <a:cubicBezTo>
                    <a:pt x="386" y="46"/>
                    <a:pt x="401" y="42"/>
                    <a:pt x="402" y="21"/>
                  </a:cubicBezTo>
                  <a:cubicBezTo>
                    <a:pt x="403" y="0"/>
                    <a:pt x="361" y="16"/>
                    <a:pt x="355" y="17"/>
                  </a:cubicBezTo>
                  <a:cubicBezTo>
                    <a:pt x="349" y="18"/>
                    <a:pt x="349" y="38"/>
                    <a:pt x="342" y="45"/>
                  </a:cubicBezTo>
                  <a:cubicBezTo>
                    <a:pt x="335" y="52"/>
                    <a:pt x="324" y="45"/>
                    <a:pt x="317" y="46"/>
                  </a:cubicBezTo>
                  <a:cubicBezTo>
                    <a:pt x="310" y="47"/>
                    <a:pt x="296" y="70"/>
                    <a:pt x="296" y="70"/>
                  </a:cubicBezTo>
                  <a:cubicBezTo>
                    <a:pt x="271" y="74"/>
                    <a:pt x="271" y="74"/>
                    <a:pt x="271" y="74"/>
                  </a:cubicBezTo>
                  <a:cubicBezTo>
                    <a:pt x="271" y="74"/>
                    <a:pt x="265" y="65"/>
                    <a:pt x="258" y="69"/>
                  </a:cubicBezTo>
                  <a:cubicBezTo>
                    <a:pt x="251" y="74"/>
                    <a:pt x="251" y="86"/>
                    <a:pt x="251" y="86"/>
                  </a:cubicBezTo>
                  <a:cubicBezTo>
                    <a:pt x="251" y="86"/>
                    <a:pt x="246" y="100"/>
                    <a:pt x="239" y="101"/>
                  </a:cubicBezTo>
                  <a:cubicBezTo>
                    <a:pt x="232" y="103"/>
                    <a:pt x="240" y="92"/>
                    <a:pt x="240" y="92"/>
                  </a:cubicBezTo>
                  <a:cubicBezTo>
                    <a:pt x="240" y="92"/>
                    <a:pt x="234" y="87"/>
                    <a:pt x="230" y="87"/>
                  </a:cubicBezTo>
                  <a:cubicBezTo>
                    <a:pt x="227" y="87"/>
                    <a:pt x="212" y="91"/>
                    <a:pt x="207" y="94"/>
                  </a:cubicBezTo>
                  <a:cubicBezTo>
                    <a:pt x="202" y="98"/>
                    <a:pt x="187" y="112"/>
                    <a:pt x="183" y="119"/>
                  </a:cubicBezTo>
                  <a:cubicBezTo>
                    <a:pt x="180" y="126"/>
                    <a:pt x="188" y="135"/>
                    <a:pt x="188" y="135"/>
                  </a:cubicBezTo>
                  <a:cubicBezTo>
                    <a:pt x="177" y="155"/>
                    <a:pt x="177" y="155"/>
                    <a:pt x="177" y="155"/>
                  </a:cubicBezTo>
                  <a:cubicBezTo>
                    <a:pt x="184" y="171"/>
                    <a:pt x="184" y="171"/>
                    <a:pt x="184" y="171"/>
                  </a:cubicBezTo>
                  <a:cubicBezTo>
                    <a:pt x="184" y="171"/>
                    <a:pt x="168" y="172"/>
                    <a:pt x="162" y="175"/>
                  </a:cubicBezTo>
                  <a:cubicBezTo>
                    <a:pt x="156" y="177"/>
                    <a:pt x="150" y="191"/>
                    <a:pt x="147" y="198"/>
                  </a:cubicBezTo>
                  <a:cubicBezTo>
                    <a:pt x="143" y="205"/>
                    <a:pt x="129" y="207"/>
                    <a:pt x="129" y="207"/>
                  </a:cubicBezTo>
                  <a:cubicBezTo>
                    <a:pt x="115" y="213"/>
                    <a:pt x="115" y="213"/>
                    <a:pt x="115" y="213"/>
                  </a:cubicBezTo>
                  <a:cubicBezTo>
                    <a:pt x="123" y="229"/>
                    <a:pt x="123" y="229"/>
                    <a:pt x="123" y="229"/>
                  </a:cubicBezTo>
                  <a:cubicBezTo>
                    <a:pt x="123" y="229"/>
                    <a:pt x="126" y="252"/>
                    <a:pt x="118" y="254"/>
                  </a:cubicBezTo>
                  <a:cubicBezTo>
                    <a:pt x="110" y="256"/>
                    <a:pt x="116" y="246"/>
                    <a:pt x="115" y="236"/>
                  </a:cubicBezTo>
                  <a:cubicBezTo>
                    <a:pt x="113" y="227"/>
                    <a:pt x="93" y="215"/>
                    <a:pt x="93" y="215"/>
                  </a:cubicBezTo>
                  <a:cubicBezTo>
                    <a:pt x="93" y="215"/>
                    <a:pt x="89" y="221"/>
                    <a:pt x="89" y="228"/>
                  </a:cubicBezTo>
                  <a:cubicBezTo>
                    <a:pt x="89" y="235"/>
                    <a:pt x="102" y="242"/>
                    <a:pt x="102" y="242"/>
                  </a:cubicBezTo>
                  <a:cubicBezTo>
                    <a:pt x="102" y="242"/>
                    <a:pt x="102" y="259"/>
                    <a:pt x="92" y="267"/>
                  </a:cubicBezTo>
                  <a:cubicBezTo>
                    <a:pt x="83" y="275"/>
                    <a:pt x="76" y="265"/>
                    <a:pt x="76" y="265"/>
                  </a:cubicBezTo>
                  <a:cubicBezTo>
                    <a:pt x="66" y="286"/>
                    <a:pt x="66" y="286"/>
                    <a:pt x="66" y="286"/>
                  </a:cubicBezTo>
                  <a:cubicBezTo>
                    <a:pt x="74" y="301"/>
                    <a:pt x="74" y="301"/>
                    <a:pt x="74" y="301"/>
                  </a:cubicBezTo>
                  <a:cubicBezTo>
                    <a:pt x="74" y="308"/>
                    <a:pt x="74" y="308"/>
                    <a:pt x="74" y="308"/>
                  </a:cubicBezTo>
                  <a:cubicBezTo>
                    <a:pt x="74" y="308"/>
                    <a:pt x="81" y="313"/>
                    <a:pt x="87" y="325"/>
                  </a:cubicBezTo>
                  <a:cubicBezTo>
                    <a:pt x="93" y="337"/>
                    <a:pt x="77" y="338"/>
                    <a:pt x="77" y="338"/>
                  </a:cubicBezTo>
                  <a:cubicBezTo>
                    <a:pt x="87" y="353"/>
                    <a:pt x="87" y="353"/>
                    <a:pt x="87" y="353"/>
                  </a:cubicBezTo>
                  <a:cubicBezTo>
                    <a:pt x="92" y="375"/>
                    <a:pt x="92" y="375"/>
                    <a:pt x="92" y="375"/>
                  </a:cubicBezTo>
                  <a:cubicBezTo>
                    <a:pt x="77" y="378"/>
                    <a:pt x="77" y="378"/>
                    <a:pt x="77" y="378"/>
                  </a:cubicBezTo>
                  <a:cubicBezTo>
                    <a:pt x="87" y="391"/>
                    <a:pt x="87" y="391"/>
                    <a:pt x="87" y="391"/>
                  </a:cubicBezTo>
                  <a:cubicBezTo>
                    <a:pt x="87" y="431"/>
                    <a:pt x="87" y="431"/>
                    <a:pt x="87" y="431"/>
                  </a:cubicBezTo>
                  <a:cubicBezTo>
                    <a:pt x="87" y="431"/>
                    <a:pt x="74" y="441"/>
                    <a:pt x="74" y="454"/>
                  </a:cubicBezTo>
                  <a:cubicBezTo>
                    <a:pt x="74" y="467"/>
                    <a:pt x="91" y="467"/>
                    <a:pt x="92" y="482"/>
                  </a:cubicBezTo>
                  <a:cubicBezTo>
                    <a:pt x="93" y="497"/>
                    <a:pt x="65" y="514"/>
                    <a:pt x="65" y="514"/>
                  </a:cubicBezTo>
                  <a:cubicBezTo>
                    <a:pt x="74" y="522"/>
                    <a:pt x="74" y="522"/>
                    <a:pt x="74" y="522"/>
                  </a:cubicBezTo>
                  <a:cubicBezTo>
                    <a:pt x="55" y="539"/>
                    <a:pt x="55" y="539"/>
                    <a:pt x="55" y="539"/>
                  </a:cubicBezTo>
                  <a:cubicBezTo>
                    <a:pt x="55" y="539"/>
                    <a:pt x="34" y="539"/>
                    <a:pt x="26" y="548"/>
                  </a:cubicBezTo>
                  <a:cubicBezTo>
                    <a:pt x="18" y="558"/>
                    <a:pt x="26" y="580"/>
                    <a:pt x="26" y="580"/>
                  </a:cubicBezTo>
                  <a:cubicBezTo>
                    <a:pt x="26" y="580"/>
                    <a:pt x="1" y="572"/>
                    <a:pt x="0" y="586"/>
                  </a:cubicBezTo>
                  <a:cubicBezTo>
                    <a:pt x="0" y="588"/>
                    <a:pt x="0" y="590"/>
                    <a:pt x="0" y="592"/>
                  </a:cubicBezTo>
                  <a:cubicBezTo>
                    <a:pt x="5" y="598"/>
                    <a:pt x="15" y="611"/>
                    <a:pt x="23" y="61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203">
              <a:extLst>
                <a:ext uri="{FF2B5EF4-FFF2-40B4-BE49-F238E27FC236}">
                  <a16:creationId xmlns:a16="http://schemas.microsoft.com/office/drawing/2014/main" id="{CD4568A2-4A59-0152-3B1A-624967A94642}"/>
                </a:ext>
              </a:extLst>
            </p:cNvPr>
            <p:cNvSpPr>
              <a:spLocks/>
            </p:cNvSpPr>
            <p:nvPr/>
          </p:nvSpPr>
          <p:spPr bwMode="gray">
            <a:xfrm>
              <a:off x="-13321" y="-7537"/>
              <a:ext cx="961" cy="1068"/>
            </a:xfrm>
            <a:custGeom>
              <a:avLst/>
              <a:gdLst>
                <a:gd name="T0" fmla="*/ 326 w 407"/>
                <a:gd name="T1" fmla="*/ 441 h 452"/>
                <a:gd name="T2" fmla="*/ 333 w 407"/>
                <a:gd name="T3" fmla="*/ 452 h 452"/>
                <a:gd name="T4" fmla="*/ 342 w 407"/>
                <a:gd name="T5" fmla="*/ 435 h 452"/>
                <a:gd name="T6" fmla="*/ 356 w 407"/>
                <a:gd name="T7" fmla="*/ 439 h 452"/>
                <a:gd name="T8" fmla="*/ 369 w 407"/>
                <a:gd name="T9" fmla="*/ 415 h 452"/>
                <a:gd name="T10" fmla="*/ 399 w 407"/>
                <a:gd name="T11" fmla="*/ 390 h 452"/>
                <a:gd name="T12" fmla="*/ 399 w 407"/>
                <a:gd name="T13" fmla="*/ 344 h 452"/>
                <a:gd name="T14" fmla="*/ 396 w 407"/>
                <a:gd name="T15" fmla="*/ 331 h 452"/>
                <a:gd name="T16" fmla="*/ 399 w 407"/>
                <a:gd name="T17" fmla="*/ 311 h 452"/>
                <a:gd name="T18" fmla="*/ 405 w 407"/>
                <a:gd name="T19" fmla="*/ 276 h 452"/>
                <a:gd name="T20" fmla="*/ 388 w 407"/>
                <a:gd name="T21" fmla="*/ 244 h 452"/>
                <a:gd name="T22" fmla="*/ 358 w 407"/>
                <a:gd name="T23" fmla="*/ 254 h 452"/>
                <a:gd name="T24" fmla="*/ 338 w 407"/>
                <a:gd name="T25" fmla="*/ 211 h 452"/>
                <a:gd name="T26" fmla="*/ 333 w 407"/>
                <a:gd name="T27" fmla="*/ 166 h 452"/>
                <a:gd name="T28" fmla="*/ 296 w 407"/>
                <a:gd name="T29" fmla="*/ 161 h 452"/>
                <a:gd name="T30" fmla="*/ 221 w 407"/>
                <a:gd name="T31" fmla="*/ 148 h 452"/>
                <a:gd name="T32" fmla="*/ 220 w 407"/>
                <a:gd name="T33" fmla="*/ 94 h 452"/>
                <a:gd name="T34" fmla="*/ 211 w 407"/>
                <a:gd name="T35" fmla="*/ 86 h 452"/>
                <a:gd name="T36" fmla="*/ 211 w 407"/>
                <a:gd name="T37" fmla="*/ 66 h 452"/>
                <a:gd name="T38" fmla="*/ 200 w 407"/>
                <a:gd name="T39" fmla="*/ 51 h 452"/>
                <a:gd name="T40" fmla="*/ 187 w 407"/>
                <a:gd name="T41" fmla="*/ 28 h 452"/>
                <a:gd name="T42" fmla="*/ 152 w 407"/>
                <a:gd name="T43" fmla="*/ 0 h 452"/>
                <a:gd name="T44" fmla="*/ 99 w 407"/>
                <a:gd name="T45" fmla="*/ 9 h 452"/>
                <a:gd name="T46" fmla="*/ 30 w 407"/>
                <a:gd name="T47" fmla="*/ 21 h 452"/>
                <a:gd name="T48" fmla="*/ 26 w 407"/>
                <a:gd name="T49" fmla="*/ 40 h 452"/>
                <a:gd name="T50" fmla="*/ 7 w 407"/>
                <a:gd name="T51" fmla="*/ 56 h 452"/>
                <a:gd name="T52" fmla="*/ 16 w 407"/>
                <a:gd name="T53" fmla="*/ 89 h 452"/>
                <a:gd name="T54" fmla="*/ 10 w 407"/>
                <a:gd name="T55" fmla="*/ 163 h 452"/>
                <a:gd name="T56" fmla="*/ 23 w 407"/>
                <a:gd name="T57" fmla="*/ 175 h 452"/>
                <a:gd name="T58" fmla="*/ 48 w 407"/>
                <a:gd name="T59" fmla="*/ 209 h 452"/>
                <a:gd name="T60" fmla="*/ 84 w 407"/>
                <a:gd name="T61" fmla="*/ 231 h 452"/>
                <a:gd name="T62" fmla="*/ 88 w 407"/>
                <a:gd name="T63" fmla="*/ 245 h 452"/>
                <a:gd name="T64" fmla="*/ 133 w 407"/>
                <a:gd name="T65" fmla="*/ 261 h 452"/>
                <a:gd name="T66" fmla="*/ 164 w 407"/>
                <a:gd name="T67" fmla="*/ 277 h 452"/>
                <a:gd name="T68" fmla="*/ 220 w 407"/>
                <a:gd name="T69" fmla="*/ 306 h 452"/>
                <a:gd name="T70" fmla="*/ 258 w 407"/>
                <a:gd name="T71" fmla="*/ 322 h 452"/>
                <a:gd name="T72" fmla="*/ 246 w 407"/>
                <a:gd name="T73" fmla="*/ 347 h 452"/>
                <a:gd name="T74" fmla="*/ 255 w 407"/>
                <a:gd name="T75" fmla="*/ 362 h 452"/>
                <a:gd name="T76" fmla="*/ 239 w 407"/>
                <a:gd name="T77" fmla="*/ 369 h 452"/>
                <a:gd name="T78" fmla="*/ 239 w 407"/>
                <a:gd name="T79" fmla="*/ 391 h 452"/>
                <a:gd name="T80" fmla="*/ 224 w 407"/>
                <a:gd name="T81" fmla="*/ 425 h 452"/>
                <a:gd name="T82" fmla="*/ 254 w 407"/>
                <a:gd name="T83" fmla="*/ 425 h 452"/>
                <a:gd name="T84" fmla="*/ 287 w 407"/>
                <a:gd name="T85" fmla="*/ 439 h 452"/>
                <a:gd name="T86" fmla="*/ 326 w 407"/>
                <a:gd name="T87" fmla="*/ 441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07" h="452">
                  <a:moveTo>
                    <a:pt x="326" y="441"/>
                  </a:moveTo>
                  <a:cubicBezTo>
                    <a:pt x="333" y="452"/>
                    <a:pt x="333" y="452"/>
                    <a:pt x="333" y="452"/>
                  </a:cubicBezTo>
                  <a:cubicBezTo>
                    <a:pt x="333" y="452"/>
                    <a:pt x="333" y="433"/>
                    <a:pt x="342" y="435"/>
                  </a:cubicBezTo>
                  <a:cubicBezTo>
                    <a:pt x="351" y="437"/>
                    <a:pt x="352" y="446"/>
                    <a:pt x="356" y="439"/>
                  </a:cubicBezTo>
                  <a:cubicBezTo>
                    <a:pt x="360" y="432"/>
                    <a:pt x="362" y="415"/>
                    <a:pt x="369" y="415"/>
                  </a:cubicBezTo>
                  <a:cubicBezTo>
                    <a:pt x="376" y="415"/>
                    <a:pt x="397" y="401"/>
                    <a:pt x="399" y="390"/>
                  </a:cubicBezTo>
                  <a:cubicBezTo>
                    <a:pt x="401" y="379"/>
                    <a:pt x="399" y="344"/>
                    <a:pt x="399" y="344"/>
                  </a:cubicBezTo>
                  <a:cubicBezTo>
                    <a:pt x="396" y="331"/>
                    <a:pt x="396" y="331"/>
                    <a:pt x="396" y="331"/>
                  </a:cubicBezTo>
                  <a:cubicBezTo>
                    <a:pt x="396" y="331"/>
                    <a:pt x="397" y="316"/>
                    <a:pt x="399" y="311"/>
                  </a:cubicBezTo>
                  <a:cubicBezTo>
                    <a:pt x="401" y="306"/>
                    <a:pt x="403" y="296"/>
                    <a:pt x="405" y="276"/>
                  </a:cubicBezTo>
                  <a:cubicBezTo>
                    <a:pt x="407" y="256"/>
                    <a:pt x="403" y="248"/>
                    <a:pt x="388" y="244"/>
                  </a:cubicBezTo>
                  <a:cubicBezTo>
                    <a:pt x="373" y="240"/>
                    <a:pt x="369" y="256"/>
                    <a:pt x="358" y="254"/>
                  </a:cubicBezTo>
                  <a:cubicBezTo>
                    <a:pt x="347" y="252"/>
                    <a:pt x="343" y="231"/>
                    <a:pt x="338" y="211"/>
                  </a:cubicBezTo>
                  <a:cubicBezTo>
                    <a:pt x="333" y="191"/>
                    <a:pt x="337" y="174"/>
                    <a:pt x="333" y="166"/>
                  </a:cubicBezTo>
                  <a:cubicBezTo>
                    <a:pt x="329" y="158"/>
                    <a:pt x="311" y="158"/>
                    <a:pt x="296" y="161"/>
                  </a:cubicBezTo>
                  <a:cubicBezTo>
                    <a:pt x="281" y="164"/>
                    <a:pt x="237" y="157"/>
                    <a:pt x="221" y="148"/>
                  </a:cubicBezTo>
                  <a:cubicBezTo>
                    <a:pt x="205" y="139"/>
                    <a:pt x="220" y="103"/>
                    <a:pt x="220" y="94"/>
                  </a:cubicBezTo>
                  <a:cubicBezTo>
                    <a:pt x="220" y="85"/>
                    <a:pt x="215" y="90"/>
                    <a:pt x="211" y="86"/>
                  </a:cubicBezTo>
                  <a:cubicBezTo>
                    <a:pt x="207" y="82"/>
                    <a:pt x="213" y="73"/>
                    <a:pt x="211" y="66"/>
                  </a:cubicBezTo>
                  <a:cubicBezTo>
                    <a:pt x="209" y="59"/>
                    <a:pt x="200" y="57"/>
                    <a:pt x="200" y="51"/>
                  </a:cubicBezTo>
                  <a:cubicBezTo>
                    <a:pt x="187" y="28"/>
                    <a:pt x="187" y="28"/>
                    <a:pt x="187" y="28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14" y="52"/>
                    <a:pt x="7" y="56"/>
                  </a:cubicBezTo>
                  <a:cubicBezTo>
                    <a:pt x="0" y="60"/>
                    <a:pt x="15" y="82"/>
                    <a:pt x="16" y="89"/>
                  </a:cubicBezTo>
                  <a:cubicBezTo>
                    <a:pt x="18" y="95"/>
                    <a:pt x="10" y="163"/>
                    <a:pt x="10" y="163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23" y="175"/>
                    <a:pt x="39" y="204"/>
                    <a:pt x="48" y="209"/>
                  </a:cubicBezTo>
                  <a:cubicBezTo>
                    <a:pt x="57" y="214"/>
                    <a:pt x="84" y="231"/>
                    <a:pt x="84" y="231"/>
                  </a:cubicBezTo>
                  <a:cubicBezTo>
                    <a:pt x="88" y="245"/>
                    <a:pt x="88" y="245"/>
                    <a:pt x="88" y="245"/>
                  </a:cubicBezTo>
                  <a:cubicBezTo>
                    <a:pt x="88" y="245"/>
                    <a:pt x="123" y="265"/>
                    <a:pt x="133" y="261"/>
                  </a:cubicBezTo>
                  <a:cubicBezTo>
                    <a:pt x="143" y="257"/>
                    <a:pt x="164" y="277"/>
                    <a:pt x="164" y="277"/>
                  </a:cubicBezTo>
                  <a:cubicBezTo>
                    <a:pt x="164" y="277"/>
                    <a:pt x="214" y="305"/>
                    <a:pt x="220" y="306"/>
                  </a:cubicBezTo>
                  <a:cubicBezTo>
                    <a:pt x="226" y="307"/>
                    <a:pt x="260" y="314"/>
                    <a:pt x="258" y="322"/>
                  </a:cubicBezTo>
                  <a:cubicBezTo>
                    <a:pt x="256" y="330"/>
                    <a:pt x="246" y="347"/>
                    <a:pt x="246" y="347"/>
                  </a:cubicBezTo>
                  <a:cubicBezTo>
                    <a:pt x="246" y="347"/>
                    <a:pt x="259" y="355"/>
                    <a:pt x="255" y="362"/>
                  </a:cubicBezTo>
                  <a:cubicBezTo>
                    <a:pt x="251" y="369"/>
                    <a:pt x="239" y="369"/>
                    <a:pt x="239" y="369"/>
                  </a:cubicBezTo>
                  <a:cubicBezTo>
                    <a:pt x="239" y="391"/>
                    <a:pt x="239" y="391"/>
                    <a:pt x="239" y="391"/>
                  </a:cubicBezTo>
                  <a:cubicBezTo>
                    <a:pt x="239" y="391"/>
                    <a:pt x="219" y="418"/>
                    <a:pt x="224" y="425"/>
                  </a:cubicBezTo>
                  <a:cubicBezTo>
                    <a:pt x="229" y="432"/>
                    <a:pt x="245" y="422"/>
                    <a:pt x="254" y="425"/>
                  </a:cubicBezTo>
                  <a:cubicBezTo>
                    <a:pt x="263" y="428"/>
                    <a:pt x="270" y="435"/>
                    <a:pt x="287" y="439"/>
                  </a:cubicBezTo>
                  <a:cubicBezTo>
                    <a:pt x="304" y="443"/>
                    <a:pt x="326" y="441"/>
                    <a:pt x="326" y="44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204">
              <a:extLst>
                <a:ext uri="{FF2B5EF4-FFF2-40B4-BE49-F238E27FC236}">
                  <a16:creationId xmlns:a16="http://schemas.microsoft.com/office/drawing/2014/main" id="{17E3334F-85D2-76DB-576B-23EE2F84CE43}"/>
                </a:ext>
              </a:extLst>
            </p:cNvPr>
            <p:cNvSpPr>
              <a:spLocks/>
            </p:cNvSpPr>
            <p:nvPr/>
          </p:nvSpPr>
          <p:spPr bwMode="gray">
            <a:xfrm>
              <a:off x="-12645" y="-6162"/>
              <a:ext cx="581" cy="609"/>
            </a:xfrm>
            <a:custGeom>
              <a:avLst/>
              <a:gdLst>
                <a:gd name="T0" fmla="*/ 92 w 246"/>
                <a:gd name="T1" fmla="*/ 249 h 258"/>
                <a:gd name="T2" fmla="*/ 152 w 246"/>
                <a:gd name="T3" fmla="*/ 253 h 258"/>
                <a:gd name="T4" fmla="*/ 220 w 246"/>
                <a:gd name="T5" fmla="*/ 244 h 258"/>
                <a:gd name="T6" fmla="*/ 243 w 246"/>
                <a:gd name="T7" fmla="*/ 196 h 258"/>
                <a:gd name="T8" fmla="*/ 233 w 246"/>
                <a:gd name="T9" fmla="*/ 197 h 258"/>
                <a:gd name="T10" fmla="*/ 234 w 246"/>
                <a:gd name="T11" fmla="*/ 176 h 258"/>
                <a:gd name="T12" fmla="*/ 227 w 246"/>
                <a:gd name="T13" fmla="*/ 169 h 258"/>
                <a:gd name="T14" fmla="*/ 241 w 246"/>
                <a:gd name="T15" fmla="*/ 140 h 258"/>
                <a:gd name="T16" fmla="*/ 219 w 246"/>
                <a:gd name="T17" fmla="*/ 127 h 258"/>
                <a:gd name="T18" fmla="*/ 201 w 246"/>
                <a:gd name="T19" fmla="*/ 98 h 258"/>
                <a:gd name="T20" fmla="*/ 182 w 246"/>
                <a:gd name="T21" fmla="*/ 95 h 258"/>
                <a:gd name="T22" fmla="*/ 164 w 246"/>
                <a:gd name="T23" fmla="*/ 76 h 258"/>
                <a:gd name="T24" fmla="*/ 152 w 246"/>
                <a:gd name="T25" fmla="*/ 67 h 258"/>
                <a:gd name="T26" fmla="*/ 140 w 246"/>
                <a:gd name="T27" fmla="*/ 65 h 258"/>
                <a:gd name="T28" fmla="*/ 116 w 246"/>
                <a:gd name="T29" fmla="*/ 43 h 258"/>
                <a:gd name="T30" fmla="*/ 101 w 246"/>
                <a:gd name="T31" fmla="*/ 54 h 258"/>
                <a:gd name="T32" fmla="*/ 85 w 246"/>
                <a:gd name="T33" fmla="*/ 31 h 258"/>
                <a:gd name="T34" fmla="*/ 48 w 246"/>
                <a:gd name="T35" fmla="*/ 2 h 258"/>
                <a:gd name="T36" fmla="*/ 30 w 246"/>
                <a:gd name="T37" fmla="*/ 10 h 258"/>
                <a:gd name="T38" fmla="*/ 14 w 246"/>
                <a:gd name="T39" fmla="*/ 9 h 258"/>
                <a:gd name="T40" fmla="*/ 0 w 246"/>
                <a:gd name="T41" fmla="*/ 24 h 258"/>
                <a:gd name="T42" fmla="*/ 21 w 246"/>
                <a:gd name="T43" fmla="*/ 41 h 258"/>
                <a:gd name="T44" fmla="*/ 3 w 246"/>
                <a:gd name="T45" fmla="*/ 48 h 258"/>
                <a:gd name="T46" fmla="*/ 3 w 246"/>
                <a:gd name="T47" fmla="*/ 75 h 258"/>
                <a:gd name="T48" fmla="*/ 20 w 246"/>
                <a:gd name="T49" fmla="*/ 85 h 258"/>
                <a:gd name="T50" fmla="*/ 2 w 246"/>
                <a:gd name="T51" fmla="*/ 93 h 258"/>
                <a:gd name="T52" fmla="*/ 16 w 246"/>
                <a:gd name="T53" fmla="*/ 114 h 258"/>
                <a:gd name="T54" fmla="*/ 9 w 246"/>
                <a:gd name="T55" fmla="*/ 124 h 258"/>
                <a:gd name="T56" fmla="*/ 28 w 246"/>
                <a:gd name="T57" fmla="*/ 152 h 258"/>
                <a:gd name="T58" fmla="*/ 4 w 246"/>
                <a:gd name="T59" fmla="*/ 158 h 258"/>
                <a:gd name="T60" fmla="*/ 4 w 246"/>
                <a:gd name="T61" fmla="*/ 190 h 258"/>
                <a:gd name="T62" fmla="*/ 24 w 246"/>
                <a:gd name="T63" fmla="*/ 215 h 258"/>
                <a:gd name="T64" fmla="*/ 51 w 246"/>
                <a:gd name="T65" fmla="*/ 234 h 258"/>
                <a:gd name="T66" fmla="*/ 58 w 246"/>
                <a:gd name="T67" fmla="*/ 238 h 258"/>
                <a:gd name="T68" fmla="*/ 85 w 246"/>
                <a:gd name="T69" fmla="*/ 238 h 258"/>
                <a:gd name="T70" fmla="*/ 92 w 246"/>
                <a:gd name="T71" fmla="*/ 249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6" h="258">
                  <a:moveTo>
                    <a:pt x="92" y="249"/>
                  </a:moveTo>
                  <a:cubicBezTo>
                    <a:pt x="92" y="249"/>
                    <a:pt x="119" y="248"/>
                    <a:pt x="152" y="253"/>
                  </a:cubicBezTo>
                  <a:cubicBezTo>
                    <a:pt x="185" y="258"/>
                    <a:pt x="204" y="257"/>
                    <a:pt x="220" y="244"/>
                  </a:cubicBezTo>
                  <a:cubicBezTo>
                    <a:pt x="234" y="233"/>
                    <a:pt x="241" y="203"/>
                    <a:pt x="243" y="196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4" y="176"/>
                    <a:pt x="234" y="176"/>
                    <a:pt x="234" y="176"/>
                  </a:cubicBezTo>
                  <a:cubicBezTo>
                    <a:pt x="234" y="176"/>
                    <a:pt x="228" y="176"/>
                    <a:pt x="227" y="169"/>
                  </a:cubicBezTo>
                  <a:cubicBezTo>
                    <a:pt x="226" y="162"/>
                    <a:pt x="236" y="149"/>
                    <a:pt x="241" y="140"/>
                  </a:cubicBezTo>
                  <a:cubicBezTo>
                    <a:pt x="246" y="131"/>
                    <a:pt x="227" y="132"/>
                    <a:pt x="219" y="127"/>
                  </a:cubicBezTo>
                  <a:cubicBezTo>
                    <a:pt x="211" y="122"/>
                    <a:pt x="201" y="98"/>
                    <a:pt x="201" y="98"/>
                  </a:cubicBezTo>
                  <a:cubicBezTo>
                    <a:pt x="201" y="98"/>
                    <a:pt x="194" y="99"/>
                    <a:pt x="182" y="95"/>
                  </a:cubicBezTo>
                  <a:cubicBezTo>
                    <a:pt x="170" y="91"/>
                    <a:pt x="168" y="78"/>
                    <a:pt x="164" y="76"/>
                  </a:cubicBezTo>
                  <a:cubicBezTo>
                    <a:pt x="160" y="74"/>
                    <a:pt x="152" y="67"/>
                    <a:pt x="152" y="67"/>
                  </a:cubicBezTo>
                  <a:cubicBezTo>
                    <a:pt x="152" y="67"/>
                    <a:pt x="145" y="68"/>
                    <a:pt x="140" y="65"/>
                  </a:cubicBezTo>
                  <a:cubicBezTo>
                    <a:pt x="135" y="62"/>
                    <a:pt x="126" y="46"/>
                    <a:pt x="116" y="43"/>
                  </a:cubicBezTo>
                  <a:cubicBezTo>
                    <a:pt x="106" y="40"/>
                    <a:pt x="107" y="54"/>
                    <a:pt x="101" y="54"/>
                  </a:cubicBezTo>
                  <a:cubicBezTo>
                    <a:pt x="95" y="54"/>
                    <a:pt x="85" y="31"/>
                    <a:pt x="85" y="31"/>
                  </a:cubicBezTo>
                  <a:cubicBezTo>
                    <a:pt x="85" y="31"/>
                    <a:pt x="60" y="4"/>
                    <a:pt x="48" y="2"/>
                  </a:cubicBezTo>
                  <a:cubicBezTo>
                    <a:pt x="36" y="0"/>
                    <a:pt x="30" y="10"/>
                    <a:pt x="30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0" y="20"/>
                    <a:pt x="0" y="24"/>
                  </a:cubicBezTo>
                  <a:cubicBezTo>
                    <a:pt x="0" y="28"/>
                    <a:pt x="21" y="41"/>
                    <a:pt x="21" y="41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20" y="85"/>
                    <a:pt x="20" y="85"/>
                    <a:pt x="20" y="85"/>
                  </a:cubicBezTo>
                  <a:cubicBezTo>
                    <a:pt x="20" y="85"/>
                    <a:pt x="1" y="84"/>
                    <a:pt x="2" y="93"/>
                  </a:cubicBezTo>
                  <a:cubicBezTo>
                    <a:pt x="3" y="102"/>
                    <a:pt x="16" y="114"/>
                    <a:pt x="16" y="114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9" y="124"/>
                    <a:pt x="29" y="147"/>
                    <a:pt x="28" y="152"/>
                  </a:cubicBezTo>
                  <a:cubicBezTo>
                    <a:pt x="27" y="157"/>
                    <a:pt x="4" y="158"/>
                    <a:pt x="4" y="158"/>
                  </a:cubicBezTo>
                  <a:cubicBezTo>
                    <a:pt x="4" y="190"/>
                    <a:pt x="4" y="190"/>
                    <a:pt x="4" y="190"/>
                  </a:cubicBezTo>
                  <a:cubicBezTo>
                    <a:pt x="24" y="215"/>
                    <a:pt x="24" y="215"/>
                    <a:pt x="24" y="215"/>
                  </a:cubicBezTo>
                  <a:cubicBezTo>
                    <a:pt x="32" y="209"/>
                    <a:pt x="46" y="227"/>
                    <a:pt x="51" y="234"/>
                  </a:cubicBezTo>
                  <a:cubicBezTo>
                    <a:pt x="58" y="238"/>
                    <a:pt x="58" y="238"/>
                    <a:pt x="58" y="238"/>
                  </a:cubicBezTo>
                  <a:cubicBezTo>
                    <a:pt x="85" y="238"/>
                    <a:pt x="85" y="238"/>
                    <a:pt x="85" y="238"/>
                  </a:cubicBezTo>
                  <a:lnTo>
                    <a:pt x="92" y="249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205">
              <a:extLst>
                <a:ext uri="{FF2B5EF4-FFF2-40B4-BE49-F238E27FC236}">
                  <a16:creationId xmlns:a16="http://schemas.microsoft.com/office/drawing/2014/main" id="{057C2DED-8DFC-09E3-21ED-C2F8C931FBB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3982" y="-7209"/>
              <a:ext cx="1729" cy="3846"/>
            </a:xfrm>
            <a:custGeom>
              <a:avLst/>
              <a:gdLst>
                <a:gd name="T0" fmla="*/ 659 w 732"/>
                <a:gd name="T1" fmla="*/ 333 h 1628"/>
                <a:gd name="T2" fmla="*/ 726 w 732"/>
                <a:gd name="T3" fmla="*/ 284 h 1628"/>
                <a:gd name="T4" fmla="*/ 679 w 732"/>
                <a:gd name="T5" fmla="*/ 205 h 1628"/>
                <a:gd name="T6" fmla="*/ 622 w 732"/>
                <a:gd name="T7" fmla="*/ 296 h 1628"/>
                <a:gd name="T8" fmla="*/ 534 w 732"/>
                <a:gd name="T9" fmla="*/ 286 h 1628"/>
                <a:gd name="T10" fmla="*/ 535 w 732"/>
                <a:gd name="T11" fmla="*/ 223 h 1628"/>
                <a:gd name="T12" fmla="*/ 444 w 732"/>
                <a:gd name="T13" fmla="*/ 138 h 1628"/>
                <a:gd name="T14" fmla="*/ 328 w 732"/>
                <a:gd name="T15" fmla="*/ 70 h 1628"/>
                <a:gd name="T16" fmla="*/ 216 w 732"/>
                <a:gd name="T17" fmla="*/ 13 h 1628"/>
                <a:gd name="T18" fmla="*/ 115 w 732"/>
                <a:gd name="T19" fmla="*/ 0 h 1628"/>
                <a:gd name="T20" fmla="*/ 81 w 732"/>
                <a:gd name="T21" fmla="*/ 32 h 1628"/>
                <a:gd name="T22" fmla="*/ 82 w 732"/>
                <a:gd name="T23" fmla="*/ 63 h 1628"/>
                <a:gd name="T24" fmla="*/ 27 w 732"/>
                <a:gd name="T25" fmla="*/ 199 h 1628"/>
                <a:gd name="T26" fmla="*/ 35 w 732"/>
                <a:gd name="T27" fmla="*/ 280 h 1628"/>
                <a:gd name="T28" fmla="*/ 2 w 732"/>
                <a:gd name="T29" fmla="*/ 401 h 1628"/>
                <a:gd name="T30" fmla="*/ 0 w 732"/>
                <a:gd name="T31" fmla="*/ 500 h 1628"/>
                <a:gd name="T32" fmla="*/ 32 w 732"/>
                <a:gd name="T33" fmla="*/ 564 h 1628"/>
                <a:gd name="T34" fmla="*/ 63 w 732"/>
                <a:gd name="T35" fmla="*/ 614 h 1628"/>
                <a:gd name="T36" fmla="*/ 64 w 732"/>
                <a:gd name="T37" fmla="*/ 724 h 1628"/>
                <a:gd name="T38" fmla="*/ 68 w 732"/>
                <a:gd name="T39" fmla="*/ 786 h 1628"/>
                <a:gd name="T40" fmla="*/ 83 w 732"/>
                <a:gd name="T41" fmla="*/ 872 h 1628"/>
                <a:gd name="T42" fmla="*/ 87 w 732"/>
                <a:gd name="T43" fmla="*/ 944 h 1628"/>
                <a:gd name="T44" fmla="*/ 95 w 732"/>
                <a:gd name="T45" fmla="*/ 990 h 1628"/>
                <a:gd name="T46" fmla="*/ 129 w 732"/>
                <a:gd name="T47" fmla="*/ 1082 h 1628"/>
                <a:gd name="T48" fmla="*/ 143 w 732"/>
                <a:gd name="T49" fmla="*/ 1145 h 1628"/>
                <a:gd name="T50" fmla="*/ 170 w 732"/>
                <a:gd name="T51" fmla="*/ 1213 h 1628"/>
                <a:gd name="T52" fmla="*/ 205 w 732"/>
                <a:gd name="T53" fmla="*/ 1257 h 1628"/>
                <a:gd name="T54" fmla="*/ 217 w 732"/>
                <a:gd name="T55" fmla="*/ 1321 h 1628"/>
                <a:gd name="T56" fmla="*/ 210 w 732"/>
                <a:gd name="T57" fmla="*/ 1394 h 1628"/>
                <a:gd name="T58" fmla="*/ 214 w 732"/>
                <a:gd name="T59" fmla="*/ 1450 h 1628"/>
                <a:gd name="T60" fmla="*/ 216 w 732"/>
                <a:gd name="T61" fmla="*/ 1513 h 1628"/>
                <a:gd name="T62" fmla="*/ 290 w 732"/>
                <a:gd name="T63" fmla="*/ 1562 h 1628"/>
                <a:gd name="T64" fmla="*/ 347 w 732"/>
                <a:gd name="T65" fmla="*/ 1612 h 1628"/>
                <a:gd name="T66" fmla="*/ 437 w 732"/>
                <a:gd name="T67" fmla="*/ 1628 h 1628"/>
                <a:gd name="T68" fmla="*/ 438 w 732"/>
                <a:gd name="T69" fmla="*/ 1589 h 1628"/>
                <a:gd name="T70" fmla="*/ 409 w 732"/>
                <a:gd name="T71" fmla="*/ 1534 h 1628"/>
                <a:gd name="T72" fmla="*/ 412 w 732"/>
                <a:gd name="T73" fmla="*/ 1501 h 1628"/>
                <a:gd name="T74" fmla="*/ 441 w 732"/>
                <a:gd name="T75" fmla="*/ 1451 h 1628"/>
                <a:gd name="T76" fmla="*/ 476 w 732"/>
                <a:gd name="T77" fmla="*/ 1359 h 1628"/>
                <a:gd name="T78" fmla="*/ 379 w 732"/>
                <a:gd name="T79" fmla="*/ 1301 h 1628"/>
                <a:gd name="T80" fmla="*/ 407 w 732"/>
                <a:gd name="T81" fmla="*/ 1240 h 1628"/>
                <a:gd name="T82" fmla="*/ 443 w 732"/>
                <a:gd name="T83" fmla="*/ 1217 h 1628"/>
                <a:gd name="T84" fmla="*/ 456 w 732"/>
                <a:gd name="T85" fmla="*/ 1130 h 1628"/>
                <a:gd name="T86" fmla="*/ 486 w 732"/>
                <a:gd name="T87" fmla="*/ 1113 h 1628"/>
                <a:gd name="T88" fmla="*/ 404 w 732"/>
                <a:gd name="T89" fmla="*/ 1089 h 1628"/>
                <a:gd name="T90" fmla="*/ 465 w 732"/>
                <a:gd name="T91" fmla="*/ 1039 h 1628"/>
                <a:gd name="T92" fmla="*/ 501 w 732"/>
                <a:gd name="T93" fmla="*/ 948 h 1628"/>
                <a:gd name="T94" fmla="*/ 494 w 732"/>
                <a:gd name="T95" fmla="*/ 934 h 1628"/>
                <a:gd name="T96" fmla="*/ 554 w 732"/>
                <a:gd name="T97" fmla="*/ 920 h 1628"/>
                <a:gd name="T98" fmla="*/ 688 w 732"/>
                <a:gd name="T99" fmla="*/ 847 h 1628"/>
                <a:gd name="T100" fmla="*/ 667 w 732"/>
                <a:gd name="T101" fmla="*/ 766 h 1628"/>
                <a:gd name="T102" fmla="*/ 601 w 732"/>
                <a:gd name="T103" fmla="*/ 696 h 1628"/>
                <a:gd name="T104" fmla="*/ 570 w 732"/>
                <a:gd name="T105" fmla="*/ 601 h 1628"/>
                <a:gd name="T106" fmla="*/ 568 w 732"/>
                <a:gd name="T107" fmla="*/ 536 h 1628"/>
                <a:gd name="T108" fmla="*/ 587 w 732"/>
                <a:gd name="T109" fmla="*/ 484 h 1628"/>
                <a:gd name="T110" fmla="*/ 604 w 732"/>
                <a:gd name="T111" fmla="*/ 419 h 1628"/>
                <a:gd name="T112" fmla="*/ 619 w 732"/>
                <a:gd name="T113" fmla="*/ 681 h 1628"/>
                <a:gd name="T114" fmla="*/ 619 w 732"/>
                <a:gd name="T115" fmla="*/ 681 h 1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32" h="1628">
                  <a:moveTo>
                    <a:pt x="634" y="355"/>
                  </a:moveTo>
                  <a:cubicBezTo>
                    <a:pt x="650" y="351"/>
                    <a:pt x="650" y="351"/>
                    <a:pt x="650" y="351"/>
                  </a:cubicBezTo>
                  <a:cubicBezTo>
                    <a:pt x="653" y="335"/>
                    <a:pt x="653" y="335"/>
                    <a:pt x="653" y="335"/>
                  </a:cubicBezTo>
                  <a:cubicBezTo>
                    <a:pt x="659" y="333"/>
                    <a:pt x="659" y="333"/>
                    <a:pt x="659" y="333"/>
                  </a:cubicBezTo>
                  <a:cubicBezTo>
                    <a:pt x="660" y="322"/>
                    <a:pt x="660" y="322"/>
                    <a:pt x="660" y="322"/>
                  </a:cubicBezTo>
                  <a:cubicBezTo>
                    <a:pt x="681" y="320"/>
                    <a:pt x="681" y="320"/>
                    <a:pt x="681" y="320"/>
                  </a:cubicBezTo>
                  <a:cubicBezTo>
                    <a:pt x="681" y="320"/>
                    <a:pt x="681" y="302"/>
                    <a:pt x="692" y="297"/>
                  </a:cubicBezTo>
                  <a:cubicBezTo>
                    <a:pt x="703" y="292"/>
                    <a:pt x="720" y="290"/>
                    <a:pt x="726" y="284"/>
                  </a:cubicBezTo>
                  <a:cubicBezTo>
                    <a:pt x="732" y="278"/>
                    <a:pt x="724" y="240"/>
                    <a:pt x="724" y="231"/>
                  </a:cubicBezTo>
                  <a:cubicBezTo>
                    <a:pt x="724" y="222"/>
                    <a:pt x="713" y="223"/>
                    <a:pt x="713" y="223"/>
                  </a:cubicBezTo>
                  <a:cubicBezTo>
                    <a:pt x="713" y="223"/>
                    <a:pt x="709" y="202"/>
                    <a:pt x="702" y="198"/>
                  </a:cubicBezTo>
                  <a:cubicBezTo>
                    <a:pt x="695" y="194"/>
                    <a:pt x="679" y="205"/>
                    <a:pt x="679" y="205"/>
                  </a:cubicBezTo>
                  <a:cubicBezTo>
                    <a:pt x="679" y="205"/>
                    <a:pt x="681" y="240"/>
                    <a:pt x="679" y="251"/>
                  </a:cubicBezTo>
                  <a:cubicBezTo>
                    <a:pt x="677" y="262"/>
                    <a:pt x="656" y="276"/>
                    <a:pt x="649" y="276"/>
                  </a:cubicBezTo>
                  <a:cubicBezTo>
                    <a:pt x="642" y="276"/>
                    <a:pt x="640" y="293"/>
                    <a:pt x="636" y="300"/>
                  </a:cubicBezTo>
                  <a:cubicBezTo>
                    <a:pt x="632" y="307"/>
                    <a:pt x="631" y="298"/>
                    <a:pt x="622" y="296"/>
                  </a:cubicBezTo>
                  <a:cubicBezTo>
                    <a:pt x="613" y="294"/>
                    <a:pt x="613" y="313"/>
                    <a:pt x="613" y="313"/>
                  </a:cubicBezTo>
                  <a:cubicBezTo>
                    <a:pt x="606" y="302"/>
                    <a:pt x="606" y="302"/>
                    <a:pt x="606" y="302"/>
                  </a:cubicBezTo>
                  <a:cubicBezTo>
                    <a:pt x="606" y="302"/>
                    <a:pt x="584" y="304"/>
                    <a:pt x="567" y="300"/>
                  </a:cubicBezTo>
                  <a:cubicBezTo>
                    <a:pt x="550" y="296"/>
                    <a:pt x="543" y="289"/>
                    <a:pt x="534" y="286"/>
                  </a:cubicBezTo>
                  <a:cubicBezTo>
                    <a:pt x="525" y="283"/>
                    <a:pt x="509" y="293"/>
                    <a:pt x="504" y="286"/>
                  </a:cubicBezTo>
                  <a:cubicBezTo>
                    <a:pt x="499" y="279"/>
                    <a:pt x="519" y="252"/>
                    <a:pt x="519" y="252"/>
                  </a:cubicBezTo>
                  <a:cubicBezTo>
                    <a:pt x="519" y="230"/>
                    <a:pt x="519" y="230"/>
                    <a:pt x="519" y="230"/>
                  </a:cubicBezTo>
                  <a:cubicBezTo>
                    <a:pt x="519" y="230"/>
                    <a:pt x="531" y="230"/>
                    <a:pt x="535" y="223"/>
                  </a:cubicBezTo>
                  <a:cubicBezTo>
                    <a:pt x="539" y="216"/>
                    <a:pt x="526" y="208"/>
                    <a:pt x="526" y="208"/>
                  </a:cubicBezTo>
                  <a:cubicBezTo>
                    <a:pt x="526" y="208"/>
                    <a:pt x="536" y="191"/>
                    <a:pt x="538" y="183"/>
                  </a:cubicBezTo>
                  <a:cubicBezTo>
                    <a:pt x="540" y="175"/>
                    <a:pt x="506" y="168"/>
                    <a:pt x="500" y="167"/>
                  </a:cubicBezTo>
                  <a:cubicBezTo>
                    <a:pt x="494" y="166"/>
                    <a:pt x="444" y="138"/>
                    <a:pt x="444" y="138"/>
                  </a:cubicBezTo>
                  <a:cubicBezTo>
                    <a:pt x="444" y="138"/>
                    <a:pt x="423" y="118"/>
                    <a:pt x="413" y="122"/>
                  </a:cubicBezTo>
                  <a:cubicBezTo>
                    <a:pt x="403" y="126"/>
                    <a:pt x="368" y="106"/>
                    <a:pt x="368" y="106"/>
                  </a:cubicBezTo>
                  <a:cubicBezTo>
                    <a:pt x="364" y="92"/>
                    <a:pt x="364" y="92"/>
                    <a:pt x="364" y="92"/>
                  </a:cubicBezTo>
                  <a:cubicBezTo>
                    <a:pt x="364" y="92"/>
                    <a:pt x="337" y="75"/>
                    <a:pt x="328" y="70"/>
                  </a:cubicBezTo>
                  <a:cubicBezTo>
                    <a:pt x="319" y="65"/>
                    <a:pt x="303" y="36"/>
                    <a:pt x="303" y="36"/>
                  </a:cubicBezTo>
                  <a:cubicBezTo>
                    <a:pt x="290" y="24"/>
                    <a:pt x="290" y="24"/>
                    <a:pt x="290" y="24"/>
                  </a:cubicBezTo>
                  <a:cubicBezTo>
                    <a:pt x="267" y="7"/>
                    <a:pt x="267" y="7"/>
                    <a:pt x="267" y="7"/>
                  </a:cubicBezTo>
                  <a:cubicBezTo>
                    <a:pt x="216" y="13"/>
                    <a:pt x="216" y="13"/>
                    <a:pt x="216" y="13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47" y="17"/>
                    <a:pt x="134" y="13"/>
                  </a:cubicBezTo>
                  <a:cubicBezTo>
                    <a:pt x="120" y="9"/>
                    <a:pt x="115" y="0"/>
                    <a:pt x="115" y="0"/>
                  </a:cubicBezTo>
                  <a:cubicBezTo>
                    <a:pt x="107" y="17"/>
                    <a:pt x="107" y="17"/>
                    <a:pt x="107" y="17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1" y="51"/>
                    <a:pt x="78" y="52"/>
                    <a:pt x="74" y="52"/>
                  </a:cubicBezTo>
                  <a:cubicBezTo>
                    <a:pt x="74" y="52"/>
                    <a:pt x="75" y="52"/>
                    <a:pt x="75" y="52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76" y="119"/>
                    <a:pt x="76" y="119"/>
                    <a:pt x="76" y="119"/>
                  </a:cubicBezTo>
                  <a:cubicBezTo>
                    <a:pt x="76" y="119"/>
                    <a:pt x="21" y="143"/>
                    <a:pt x="22" y="157"/>
                  </a:cubicBezTo>
                  <a:cubicBezTo>
                    <a:pt x="23" y="171"/>
                    <a:pt x="50" y="165"/>
                    <a:pt x="41" y="174"/>
                  </a:cubicBezTo>
                  <a:cubicBezTo>
                    <a:pt x="32" y="183"/>
                    <a:pt x="22" y="192"/>
                    <a:pt x="27" y="199"/>
                  </a:cubicBezTo>
                  <a:cubicBezTo>
                    <a:pt x="32" y="206"/>
                    <a:pt x="51" y="214"/>
                    <a:pt x="50" y="224"/>
                  </a:cubicBezTo>
                  <a:cubicBezTo>
                    <a:pt x="49" y="234"/>
                    <a:pt x="32" y="246"/>
                    <a:pt x="32" y="246"/>
                  </a:cubicBezTo>
                  <a:cubicBezTo>
                    <a:pt x="32" y="246"/>
                    <a:pt x="63" y="257"/>
                    <a:pt x="60" y="268"/>
                  </a:cubicBezTo>
                  <a:cubicBezTo>
                    <a:pt x="57" y="279"/>
                    <a:pt x="35" y="280"/>
                    <a:pt x="35" y="280"/>
                  </a:cubicBezTo>
                  <a:cubicBezTo>
                    <a:pt x="35" y="280"/>
                    <a:pt x="29" y="318"/>
                    <a:pt x="28" y="323"/>
                  </a:cubicBezTo>
                  <a:cubicBezTo>
                    <a:pt x="27" y="328"/>
                    <a:pt x="9" y="336"/>
                    <a:pt x="9" y="346"/>
                  </a:cubicBezTo>
                  <a:cubicBezTo>
                    <a:pt x="9" y="356"/>
                    <a:pt x="14" y="381"/>
                    <a:pt x="12" y="385"/>
                  </a:cubicBezTo>
                  <a:cubicBezTo>
                    <a:pt x="10" y="389"/>
                    <a:pt x="1" y="397"/>
                    <a:pt x="2" y="401"/>
                  </a:cubicBezTo>
                  <a:cubicBezTo>
                    <a:pt x="3" y="405"/>
                    <a:pt x="26" y="450"/>
                    <a:pt x="21" y="455"/>
                  </a:cubicBezTo>
                  <a:cubicBezTo>
                    <a:pt x="16" y="460"/>
                    <a:pt x="7" y="455"/>
                    <a:pt x="7" y="455"/>
                  </a:cubicBezTo>
                  <a:cubicBezTo>
                    <a:pt x="10" y="494"/>
                    <a:pt x="10" y="494"/>
                    <a:pt x="10" y="494"/>
                  </a:cubicBezTo>
                  <a:cubicBezTo>
                    <a:pt x="10" y="494"/>
                    <a:pt x="0" y="495"/>
                    <a:pt x="0" y="500"/>
                  </a:cubicBezTo>
                  <a:cubicBezTo>
                    <a:pt x="0" y="505"/>
                    <a:pt x="2" y="522"/>
                    <a:pt x="2" y="522"/>
                  </a:cubicBezTo>
                  <a:cubicBezTo>
                    <a:pt x="2" y="522"/>
                    <a:pt x="25" y="537"/>
                    <a:pt x="23" y="541"/>
                  </a:cubicBezTo>
                  <a:cubicBezTo>
                    <a:pt x="21" y="545"/>
                    <a:pt x="19" y="554"/>
                    <a:pt x="19" y="554"/>
                  </a:cubicBezTo>
                  <a:cubicBezTo>
                    <a:pt x="32" y="564"/>
                    <a:pt x="32" y="564"/>
                    <a:pt x="32" y="564"/>
                  </a:cubicBezTo>
                  <a:cubicBezTo>
                    <a:pt x="40" y="585"/>
                    <a:pt x="40" y="585"/>
                    <a:pt x="40" y="585"/>
                  </a:cubicBezTo>
                  <a:cubicBezTo>
                    <a:pt x="43" y="591"/>
                    <a:pt x="43" y="591"/>
                    <a:pt x="43" y="591"/>
                  </a:cubicBezTo>
                  <a:cubicBezTo>
                    <a:pt x="43" y="591"/>
                    <a:pt x="35" y="610"/>
                    <a:pt x="47" y="613"/>
                  </a:cubicBezTo>
                  <a:cubicBezTo>
                    <a:pt x="59" y="616"/>
                    <a:pt x="63" y="614"/>
                    <a:pt x="63" y="614"/>
                  </a:cubicBezTo>
                  <a:cubicBezTo>
                    <a:pt x="65" y="639"/>
                    <a:pt x="65" y="639"/>
                    <a:pt x="65" y="639"/>
                  </a:cubicBezTo>
                  <a:cubicBezTo>
                    <a:pt x="65" y="639"/>
                    <a:pt x="80" y="658"/>
                    <a:pt x="77" y="664"/>
                  </a:cubicBezTo>
                  <a:cubicBezTo>
                    <a:pt x="74" y="670"/>
                    <a:pt x="65" y="677"/>
                    <a:pt x="65" y="681"/>
                  </a:cubicBezTo>
                  <a:cubicBezTo>
                    <a:pt x="65" y="685"/>
                    <a:pt x="64" y="724"/>
                    <a:pt x="64" y="724"/>
                  </a:cubicBezTo>
                  <a:cubicBezTo>
                    <a:pt x="55" y="725"/>
                    <a:pt x="55" y="725"/>
                    <a:pt x="55" y="725"/>
                  </a:cubicBezTo>
                  <a:cubicBezTo>
                    <a:pt x="55" y="725"/>
                    <a:pt x="72" y="743"/>
                    <a:pt x="73" y="753"/>
                  </a:cubicBezTo>
                  <a:cubicBezTo>
                    <a:pt x="74" y="763"/>
                    <a:pt x="70" y="774"/>
                    <a:pt x="70" y="774"/>
                  </a:cubicBezTo>
                  <a:cubicBezTo>
                    <a:pt x="68" y="786"/>
                    <a:pt x="68" y="786"/>
                    <a:pt x="68" y="786"/>
                  </a:cubicBezTo>
                  <a:cubicBezTo>
                    <a:pt x="51" y="787"/>
                    <a:pt x="51" y="787"/>
                    <a:pt x="51" y="787"/>
                  </a:cubicBezTo>
                  <a:cubicBezTo>
                    <a:pt x="51" y="787"/>
                    <a:pt x="63" y="820"/>
                    <a:pt x="63" y="827"/>
                  </a:cubicBezTo>
                  <a:cubicBezTo>
                    <a:pt x="63" y="834"/>
                    <a:pt x="63" y="855"/>
                    <a:pt x="63" y="855"/>
                  </a:cubicBezTo>
                  <a:cubicBezTo>
                    <a:pt x="83" y="872"/>
                    <a:pt x="83" y="872"/>
                    <a:pt x="83" y="872"/>
                  </a:cubicBezTo>
                  <a:cubicBezTo>
                    <a:pt x="84" y="884"/>
                    <a:pt x="84" y="884"/>
                    <a:pt x="84" y="884"/>
                  </a:cubicBezTo>
                  <a:cubicBezTo>
                    <a:pt x="84" y="884"/>
                    <a:pt x="103" y="893"/>
                    <a:pt x="98" y="902"/>
                  </a:cubicBezTo>
                  <a:cubicBezTo>
                    <a:pt x="93" y="911"/>
                    <a:pt x="79" y="916"/>
                    <a:pt x="79" y="916"/>
                  </a:cubicBezTo>
                  <a:cubicBezTo>
                    <a:pt x="87" y="944"/>
                    <a:pt x="87" y="944"/>
                    <a:pt x="87" y="944"/>
                  </a:cubicBezTo>
                  <a:cubicBezTo>
                    <a:pt x="74" y="953"/>
                    <a:pt x="74" y="953"/>
                    <a:pt x="74" y="953"/>
                  </a:cubicBezTo>
                  <a:cubicBezTo>
                    <a:pt x="74" y="953"/>
                    <a:pt x="84" y="958"/>
                    <a:pt x="85" y="966"/>
                  </a:cubicBezTo>
                  <a:cubicBezTo>
                    <a:pt x="86" y="974"/>
                    <a:pt x="81" y="982"/>
                    <a:pt x="81" y="982"/>
                  </a:cubicBezTo>
                  <a:cubicBezTo>
                    <a:pt x="95" y="990"/>
                    <a:pt x="95" y="990"/>
                    <a:pt x="95" y="990"/>
                  </a:cubicBezTo>
                  <a:cubicBezTo>
                    <a:pt x="95" y="990"/>
                    <a:pt x="90" y="1008"/>
                    <a:pt x="91" y="1014"/>
                  </a:cubicBezTo>
                  <a:cubicBezTo>
                    <a:pt x="92" y="1020"/>
                    <a:pt x="99" y="1031"/>
                    <a:pt x="99" y="1031"/>
                  </a:cubicBezTo>
                  <a:cubicBezTo>
                    <a:pt x="99" y="1031"/>
                    <a:pt x="99" y="1050"/>
                    <a:pt x="102" y="1056"/>
                  </a:cubicBezTo>
                  <a:cubicBezTo>
                    <a:pt x="105" y="1062"/>
                    <a:pt x="134" y="1083"/>
                    <a:pt x="129" y="1082"/>
                  </a:cubicBezTo>
                  <a:cubicBezTo>
                    <a:pt x="124" y="1081"/>
                    <a:pt x="113" y="1090"/>
                    <a:pt x="113" y="1090"/>
                  </a:cubicBezTo>
                  <a:cubicBezTo>
                    <a:pt x="113" y="1090"/>
                    <a:pt x="118" y="1120"/>
                    <a:pt x="121" y="1128"/>
                  </a:cubicBezTo>
                  <a:cubicBezTo>
                    <a:pt x="124" y="1136"/>
                    <a:pt x="133" y="1140"/>
                    <a:pt x="133" y="1140"/>
                  </a:cubicBezTo>
                  <a:cubicBezTo>
                    <a:pt x="143" y="1145"/>
                    <a:pt x="143" y="1145"/>
                    <a:pt x="143" y="1145"/>
                  </a:cubicBezTo>
                  <a:cubicBezTo>
                    <a:pt x="139" y="1163"/>
                    <a:pt x="139" y="1163"/>
                    <a:pt x="139" y="1163"/>
                  </a:cubicBezTo>
                  <a:cubicBezTo>
                    <a:pt x="139" y="1163"/>
                    <a:pt x="155" y="1164"/>
                    <a:pt x="156" y="1175"/>
                  </a:cubicBezTo>
                  <a:cubicBezTo>
                    <a:pt x="157" y="1186"/>
                    <a:pt x="158" y="1203"/>
                    <a:pt x="158" y="1203"/>
                  </a:cubicBezTo>
                  <a:cubicBezTo>
                    <a:pt x="158" y="1203"/>
                    <a:pt x="163" y="1213"/>
                    <a:pt x="170" y="1213"/>
                  </a:cubicBezTo>
                  <a:cubicBezTo>
                    <a:pt x="177" y="1213"/>
                    <a:pt x="196" y="1208"/>
                    <a:pt x="194" y="1219"/>
                  </a:cubicBezTo>
                  <a:cubicBezTo>
                    <a:pt x="192" y="1230"/>
                    <a:pt x="160" y="1227"/>
                    <a:pt x="161" y="1230"/>
                  </a:cubicBezTo>
                  <a:cubicBezTo>
                    <a:pt x="162" y="1233"/>
                    <a:pt x="185" y="1240"/>
                    <a:pt x="185" y="1240"/>
                  </a:cubicBezTo>
                  <a:cubicBezTo>
                    <a:pt x="185" y="1240"/>
                    <a:pt x="208" y="1249"/>
                    <a:pt x="205" y="1257"/>
                  </a:cubicBezTo>
                  <a:cubicBezTo>
                    <a:pt x="202" y="1265"/>
                    <a:pt x="189" y="1276"/>
                    <a:pt x="189" y="1276"/>
                  </a:cubicBezTo>
                  <a:cubicBezTo>
                    <a:pt x="205" y="1288"/>
                    <a:pt x="205" y="1288"/>
                    <a:pt x="205" y="1288"/>
                  </a:cubicBezTo>
                  <a:cubicBezTo>
                    <a:pt x="202" y="1303"/>
                    <a:pt x="202" y="1303"/>
                    <a:pt x="202" y="1303"/>
                  </a:cubicBezTo>
                  <a:cubicBezTo>
                    <a:pt x="217" y="1321"/>
                    <a:pt x="217" y="1321"/>
                    <a:pt x="217" y="1321"/>
                  </a:cubicBezTo>
                  <a:cubicBezTo>
                    <a:pt x="214" y="1343"/>
                    <a:pt x="214" y="1343"/>
                    <a:pt x="214" y="1343"/>
                  </a:cubicBezTo>
                  <a:cubicBezTo>
                    <a:pt x="224" y="1360"/>
                    <a:pt x="224" y="1360"/>
                    <a:pt x="224" y="1360"/>
                  </a:cubicBezTo>
                  <a:cubicBezTo>
                    <a:pt x="213" y="1364"/>
                    <a:pt x="213" y="1364"/>
                    <a:pt x="213" y="1364"/>
                  </a:cubicBezTo>
                  <a:cubicBezTo>
                    <a:pt x="210" y="1394"/>
                    <a:pt x="210" y="1394"/>
                    <a:pt x="210" y="1394"/>
                  </a:cubicBezTo>
                  <a:cubicBezTo>
                    <a:pt x="210" y="1394"/>
                    <a:pt x="229" y="1405"/>
                    <a:pt x="230" y="1408"/>
                  </a:cubicBezTo>
                  <a:cubicBezTo>
                    <a:pt x="231" y="1411"/>
                    <a:pt x="215" y="1420"/>
                    <a:pt x="215" y="1420"/>
                  </a:cubicBezTo>
                  <a:cubicBezTo>
                    <a:pt x="215" y="1420"/>
                    <a:pt x="235" y="1435"/>
                    <a:pt x="232" y="1440"/>
                  </a:cubicBezTo>
                  <a:cubicBezTo>
                    <a:pt x="229" y="1445"/>
                    <a:pt x="214" y="1450"/>
                    <a:pt x="214" y="1450"/>
                  </a:cubicBezTo>
                  <a:cubicBezTo>
                    <a:pt x="213" y="1463"/>
                    <a:pt x="213" y="1463"/>
                    <a:pt x="213" y="1463"/>
                  </a:cubicBezTo>
                  <a:cubicBezTo>
                    <a:pt x="206" y="1467"/>
                    <a:pt x="206" y="1467"/>
                    <a:pt x="206" y="1467"/>
                  </a:cubicBezTo>
                  <a:cubicBezTo>
                    <a:pt x="206" y="1467"/>
                    <a:pt x="208" y="1483"/>
                    <a:pt x="213" y="1488"/>
                  </a:cubicBezTo>
                  <a:cubicBezTo>
                    <a:pt x="218" y="1493"/>
                    <a:pt x="216" y="1513"/>
                    <a:pt x="216" y="1513"/>
                  </a:cubicBezTo>
                  <a:cubicBezTo>
                    <a:pt x="236" y="1517"/>
                    <a:pt x="236" y="1517"/>
                    <a:pt x="236" y="1517"/>
                  </a:cubicBezTo>
                  <a:cubicBezTo>
                    <a:pt x="236" y="1517"/>
                    <a:pt x="240" y="1542"/>
                    <a:pt x="250" y="1542"/>
                  </a:cubicBezTo>
                  <a:cubicBezTo>
                    <a:pt x="260" y="1542"/>
                    <a:pt x="266" y="1524"/>
                    <a:pt x="281" y="1537"/>
                  </a:cubicBezTo>
                  <a:cubicBezTo>
                    <a:pt x="296" y="1550"/>
                    <a:pt x="290" y="1562"/>
                    <a:pt x="290" y="1562"/>
                  </a:cubicBezTo>
                  <a:cubicBezTo>
                    <a:pt x="304" y="1578"/>
                    <a:pt x="304" y="1578"/>
                    <a:pt x="304" y="1578"/>
                  </a:cubicBezTo>
                  <a:cubicBezTo>
                    <a:pt x="311" y="1589"/>
                    <a:pt x="311" y="1589"/>
                    <a:pt x="311" y="1589"/>
                  </a:cubicBezTo>
                  <a:cubicBezTo>
                    <a:pt x="335" y="1600"/>
                    <a:pt x="335" y="1600"/>
                    <a:pt x="335" y="1600"/>
                  </a:cubicBezTo>
                  <a:cubicBezTo>
                    <a:pt x="347" y="1612"/>
                    <a:pt x="347" y="1612"/>
                    <a:pt x="347" y="1612"/>
                  </a:cubicBezTo>
                  <a:cubicBezTo>
                    <a:pt x="347" y="1612"/>
                    <a:pt x="373" y="1605"/>
                    <a:pt x="389" y="1607"/>
                  </a:cubicBezTo>
                  <a:cubicBezTo>
                    <a:pt x="405" y="1609"/>
                    <a:pt x="425" y="1608"/>
                    <a:pt x="425" y="1608"/>
                  </a:cubicBezTo>
                  <a:cubicBezTo>
                    <a:pt x="440" y="1620"/>
                    <a:pt x="440" y="1620"/>
                    <a:pt x="440" y="1620"/>
                  </a:cubicBezTo>
                  <a:cubicBezTo>
                    <a:pt x="437" y="1628"/>
                    <a:pt x="437" y="1628"/>
                    <a:pt x="437" y="1628"/>
                  </a:cubicBezTo>
                  <a:cubicBezTo>
                    <a:pt x="442" y="1616"/>
                    <a:pt x="442" y="1616"/>
                    <a:pt x="442" y="1616"/>
                  </a:cubicBezTo>
                  <a:cubicBezTo>
                    <a:pt x="449" y="1606"/>
                    <a:pt x="478" y="1625"/>
                    <a:pt x="478" y="1625"/>
                  </a:cubicBezTo>
                  <a:cubicBezTo>
                    <a:pt x="451" y="1588"/>
                    <a:pt x="451" y="1588"/>
                    <a:pt x="451" y="1588"/>
                  </a:cubicBezTo>
                  <a:cubicBezTo>
                    <a:pt x="438" y="1589"/>
                    <a:pt x="438" y="1589"/>
                    <a:pt x="438" y="1589"/>
                  </a:cubicBezTo>
                  <a:cubicBezTo>
                    <a:pt x="441" y="1579"/>
                    <a:pt x="441" y="1579"/>
                    <a:pt x="441" y="1579"/>
                  </a:cubicBezTo>
                  <a:cubicBezTo>
                    <a:pt x="417" y="1562"/>
                    <a:pt x="417" y="1562"/>
                    <a:pt x="417" y="1562"/>
                  </a:cubicBezTo>
                  <a:cubicBezTo>
                    <a:pt x="418" y="1538"/>
                    <a:pt x="418" y="1538"/>
                    <a:pt x="418" y="1538"/>
                  </a:cubicBezTo>
                  <a:cubicBezTo>
                    <a:pt x="409" y="1534"/>
                    <a:pt x="409" y="1534"/>
                    <a:pt x="409" y="1534"/>
                  </a:cubicBezTo>
                  <a:cubicBezTo>
                    <a:pt x="414" y="1522"/>
                    <a:pt x="414" y="1522"/>
                    <a:pt x="414" y="1522"/>
                  </a:cubicBezTo>
                  <a:cubicBezTo>
                    <a:pt x="414" y="1522"/>
                    <a:pt x="423" y="1522"/>
                    <a:pt x="426" y="1514"/>
                  </a:cubicBezTo>
                  <a:cubicBezTo>
                    <a:pt x="430" y="1506"/>
                    <a:pt x="400" y="1506"/>
                    <a:pt x="400" y="1506"/>
                  </a:cubicBezTo>
                  <a:cubicBezTo>
                    <a:pt x="412" y="1501"/>
                    <a:pt x="412" y="1501"/>
                    <a:pt x="412" y="1501"/>
                  </a:cubicBezTo>
                  <a:cubicBezTo>
                    <a:pt x="408" y="1488"/>
                    <a:pt x="408" y="1488"/>
                    <a:pt x="408" y="1488"/>
                  </a:cubicBezTo>
                  <a:cubicBezTo>
                    <a:pt x="424" y="1505"/>
                    <a:pt x="424" y="1505"/>
                    <a:pt x="424" y="1505"/>
                  </a:cubicBezTo>
                  <a:cubicBezTo>
                    <a:pt x="424" y="1505"/>
                    <a:pt x="438" y="1515"/>
                    <a:pt x="448" y="1503"/>
                  </a:cubicBezTo>
                  <a:cubicBezTo>
                    <a:pt x="458" y="1491"/>
                    <a:pt x="440" y="1465"/>
                    <a:pt x="441" y="1451"/>
                  </a:cubicBezTo>
                  <a:cubicBezTo>
                    <a:pt x="442" y="1438"/>
                    <a:pt x="485" y="1409"/>
                    <a:pt x="488" y="1400"/>
                  </a:cubicBezTo>
                  <a:cubicBezTo>
                    <a:pt x="492" y="1391"/>
                    <a:pt x="467" y="1391"/>
                    <a:pt x="467" y="1391"/>
                  </a:cubicBezTo>
                  <a:cubicBezTo>
                    <a:pt x="483" y="1389"/>
                    <a:pt x="483" y="1389"/>
                    <a:pt x="483" y="1389"/>
                  </a:cubicBezTo>
                  <a:cubicBezTo>
                    <a:pt x="483" y="1389"/>
                    <a:pt x="484" y="1369"/>
                    <a:pt x="476" y="1359"/>
                  </a:cubicBezTo>
                  <a:cubicBezTo>
                    <a:pt x="468" y="1349"/>
                    <a:pt x="456" y="1354"/>
                    <a:pt x="456" y="1354"/>
                  </a:cubicBezTo>
                  <a:cubicBezTo>
                    <a:pt x="444" y="1345"/>
                    <a:pt x="444" y="1345"/>
                    <a:pt x="444" y="1345"/>
                  </a:cubicBezTo>
                  <a:cubicBezTo>
                    <a:pt x="431" y="1345"/>
                    <a:pt x="431" y="1345"/>
                    <a:pt x="431" y="1345"/>
                  </a:cubicBezTo>
                  <a:cubicBezTo>
                    <a:pt x="431" y="1345"/>
                    <a:pt x="391" y="1328"/>
                    <a:pt x="379" y="1301"/>
                  </a:cubicBezTo>
                  <a:cubicBezTo>
                    <a:pt x="366" y="1274"/>
                    <a:pt x="386" y="1269"/>
                    <a:pt x="386" y="1269"/>
                  </a:cubicBezTo>
                  <a:cubicBezTo>
                    <a:pt x="392" y="1252"/>
                    <a:pt x="392" y="1252"/>
                    <a:pt x="392" y="1252"/>
                  </a:cubicBezTo>
                  <a:cubicBezTo>
                    <a:pt x="401" y="1252"/>
                    <a:pt x="401" y="1252"/>
                    <a:pt x="401" y="1252"/>
                  </a:cubicBezTo>
                  <a:cubicBezTo>
                    <a:pt x="407" y="1240"/>
                    <a:pt x="407" y="1240"/>
                    <a:pt x="407" y="1240"/>
                  </a:cubicBezTo>
                  <a:cubicBezTo>
                    <a:pt x="443" y="1239"/>
                    <a:pt x="443" y="1239"/>
                    <a:pt x="443" y="1239"/>
                  </a:cubicBezTo>
                  <a:cubicBezTo>
                    <a:pt x="435" y="1232"/>
                    <a:pt x="435" y="1232"/>
                    <a:pt x="435" y="1232"/>
                  </a:cubicBezTo>
                  <a:cubicBezTo>
                    <a:pt x="434" y="1218"/>
                    <a:pt x="434" y="1218"/>
                    <a:pt x="434" y="1218"/>
                  </a:cubicBezTo>
                  <a:cubicBezTo>
                    <a:pt x="443" y="1217"/>
                    <a:pt x="443" y="1217"/>
                    <a:pt x="443" y="1217"/>
                  </a:cubicBezTo>
                  <a:cubicBezTo>
                    <a:pt x="443" y="1217"/>
                    <a:pt x="448" y="1198"/>
                    <a:pt x="440" y="1191"/>
                  </a:cubicBezTo>
                  <a:cubicBezTo>
                    <a:pt x="432" y="1184"/>
                    <a:pt x="423" y="1168"/>
                    <a:pt x="430" y="1152"/>
                  </a:cubicBezTo>
                  <a:cubicBezTo>
                    <a:pt x="436" y="1137"/>
                    <a:pt x="456" y="1137"/>
                    <a:pt x="456" y="1137"/>
                  </a:cubicBezTo>
                  <a:cubicBezTo>
                    <a:pt x="456" y="1130"/>
                    <a:pt x="456" y="1130"/>
                    <a:pt x="456" y="1130"/>
                  </a:cubicBezTo>
                  <a:cubicBezTo>
                    <a:pt x="456" y="1130"/>
                    <a:pt x="439" y="1130"/>
                    <a:pt x="431" y="1125"/>
                  </a:cubicBezTo>
                  <a:cubicBezTo>
                    <a:pt x="423" y="1121"/>
                    <a:pt x="432" y="1112"/>
                    <a:pt x="440" y="1111"/>
                  </a:cubicBezTo>
                  <a:cubicBezTo>
                    <a:pt x="448" y="1110"/>
                    <a:pt x="462" y="1127"/>
                    <a:pt x="469" y="1127"/>
                  </a:cubicBezTo>
                  <a:cubicBezTo>
                    <a:pt x="476" y="1127"/>
                    <a:pt x="485" y="1123"/>
                    <a:pt x="486" y="1113"/>
                  </a:cubicBezTo>
                  <a:cubicBezTo>
                    <a:pt x="487" y="1103"/>
                    <a:pt x="474" y="1080"/>
                    <a:pt x="461" y="1085"/>
                  </a:cubicBezTo>
                  <a:cubicBezTo>
                    <a:pt x="449" y="1089"/>
                    <a:pt x="468" y="1099"/>
                    <a:pt x="456" y="1105"/>
                  </a:cubicBezTo>
                  <a:cubicBezTo>
                    <a:pt x="443" y="1111"/>
                    <a:pt x="431" y="1094"/>
                    <a:pt x="431" y="1094"/>
                  </a:cubicBezTo>
                  <a:cubicBezTo>
                    <a:pt x="431" y="1094"/>
                    <a:pt x="407" y="1096"/>
                    <a:pt x="404" y="1089"/>
                  </a:cubicBezTo>
                  <a:cubicBezTo>
                    <a:pt x="400" y="1083"/>
                    <a:pt x="404" y="1055"/>
                    <a:pt x="404" y="1052"/>
                  </a:cubicBezTo>
                  <a:cubicBezTo>
                    <a:pt x="404" y="1049"/>
                    <a:pt x="387" y="1032"/>
                    <a:pt x="391" y="1017"/>
                  </a:cubicBezTo>
                  <a:cubicBezTo>
                    <a:pt x="396" y="1003"/>
                    <a:pt x="409" y="1019"/>
                    <a:pt x="424" y="1023"/>
                  </a:cubicBezTo>
                  <a:cubicBezTo>
                    <a:pt x="439" y="1026"/>
                    <a:pt x="456" y="1039"/>
                    <a:pt x="465" y="1039"/>
                  </a:cubicBezTo>
                  <a:cubicBezTo>
                    <a:pt x="474" y="1039"/>
                    <a:pt x="507" y="1021"/>
                    <a:pt x="515" y="1015"/>
                  </a:cubicBezTo>
                  <a:cubicBezTo>
                    <a:pt x="523" y="1009"/>
                    <a:pt x="490" y="991"/>
                    <a:pt x="490" y="991"/>
                  </a:cubicBezTo>
                  <a:cubicBezTo>
                    <a:pt x="489" y="975"/>
                    <a:pt x="489" y="975"/>
                    <a:pt x="489" y="975"/>
                  </a:cubicBezTo>
                  <a:cubicBezTo>
                    <a:pt x="489" y="975"/>
                    <a:pt x="498" y="959"/>
                    <a:pt x="501" y="948"/>
                  </a:cubicBezTo>
                  <a:cubicBezTo>
                    <a:pt x="503" y="938"/>
                    <a:pt x="480" y="938"/>
                    <a:pt x="480" y="938"/>
                  </a:cubicBezTo>
                  <a:cubicBezTo>
                    <a:pt x="478" y="924"/>
                    <a:pt x="478" y="924"/>
                    <a:pt x="478" y="924"/>
                  </a:cubicBezTo>
                  <a:cubicBezTo>
                    <a:pt x="478" y="924"/>
                    <a:pt x="470" y="915"/>
                    <a:pt x="477" y="907"/>
                  </a:cubicBezTo>
                  <a:cubicBezTo>
                    <a:pt x="484" y="899"/>
                    <a:pt x="494" y="934"/>
                    <a:pt x="494" y="934"/>
                  </a:cubicBezTo>
                  <a:cubicBezTo>
                    <a:pt x="502" y="933"/>
                    <a:pt x="502" y="933"/>
                    <a:pt x="502" y="933"/>
                  </a:cubicBezTo>
                  <a:cubicBezTo>
                    <a:pt x="497" y="919"/>
                    <a:pt x="497" y="919"/>
                    <a:pt x="497" y="919"/>
                  </a:cubicBezTo>
                  <a:cubicBezTo>
                    <a:pt x="551" y="926"/>
                    <a:pt x="551" y="926"/>
                    <a:pt x="551" y="926"/>
                  </a:cubicBezTo>
                  <a:cubicBezTo>
                    <a:pt x="554" y="920"/>
                    <a:pt x="554" y="920"/>
                    <a:pt x="554" y="920"/>
                  </a:cubicBezTo>
                  <a:cubicBezTo>
                    <a:pt x="554" y="920"/>
                    <a:pt x="567" y="912"/>
                    <a:pt x="595" y="909"/>
                  </a:cubicBezTo>
                  <a:cubicBezTo>
                    <a:pt x="624" y="906"/>
                    <a:pt x="676" y="881"/>
                    <a:pt x="676" y="881"/>
                  </a:cubicBezTo>
                  <a:cubicBezTo>
                    <a:pt x="673" y="855"/>
                    <a:pt x="673" y="855"/>
                    <a:pt x="673" y="855"/>
                  </a:cubicBezTo>
                  <a:cubicBezTo>
                    <a:pt x="688" y="847"/>
                    <a:pt x="688" y="847"/>
                    <a:pt x="688" y="847"/>
                  </a:cubicBezTo>
                  <a:cubicBezTo>
                    <a:pt x="696" y="814"/>
                    <a:pt x="696" y="814"/>
                    <a:pt x="696" y="814"/>
                  </a:cubicBezTo>
                  <a:cubicBezTo>
                    <a:pt x="689" y="797"/>
                    <a:pt x="689" y="797"/>
                    <a:pt x="689" y="797"/>
                  </a:cubicBezTo>
                  <a:cubicBezTo>
                    <a:pt x="689" y="779"/>
                    <a:pt x="689" y="779"/>
                    <a:pt x="689" y="779"/>
                  </a:cubicBezTo>
                  <a:cubicBezTo>
                    <a:pt x="689" y="779"/>
                    <a:pt x="678" y="770"/>
                    <a:pt x="667" y="766"/>
                  </a:cubicBezTo>
                  <a:cubicBezTo>
                    <a:pt x="661" y="764"/>
                    <a:pt x="654" y="769"/>
                    <a:pt x="649" y="765"/>
                  </a:cubicBezTo>
                  <a:cubicBezTo>
                    <a:pt x="641" y="759"/>
                    <a:pt x="655" y="753"/>
                    <a:pt x="658" y="748"/>
                  </a:cubicBezTo>
                  <a:cubicBezTo>
                    <a:pt x="662" y="741"/>
                    <a:pt x="657" y="735"/>
                    <a:pt x="657" y="727"/>
                  </a:cubicBezTo>
                  <a:cubicBezTo>
                    <a:pt x="657" y="712"/>
                    <a:pt x="624" y="707"/>
                    <a:pt x="601" y="696"/>
                  </a:cubicBezTo>
                  <a:cubicBezTo>
                    <a:pt x="578" y="685"/>
                    <a:pt x="578" y="674"/>
                    <a:pt x="588" y="660"/>
                  </a:cubicBezTo>
                  <a:cubicBezTo>
                    <a:pt x="589" y="659"/>
                    <a:pt x="589" y="658"/>
                    <a:pt x="590" y="658"/>
                  </a:cubicBezTo>
                  <a:cubicBezTo>
                    <a:pt x="570" y="633"/>
                    <a:pt x="570" y="633"/>
                    <a:pt x="570" y="633"/>
                  </a:cubicBezTo>
                  <a:cubicBezTo>
                    <a:pt x="570" y="601"/>
                    <a:pt x="570" y="601"/>
                    <a:pt x="570" y="601"/>
                  </a:cubicBezTo>
                  <a:cubicBezTo>
                    <a:pt x="570" y="601"/>
                    <a:pt x="593" y="600"/>
                    <a:pt x="594" y="595"/>
                  </a:cubicBezTo>
                  <a:cubicBezTo>
                    <a:pt x="595" y="590"/>
                    <a:pt x="575" y="567"/>
                    <a:pt x="575" y="567"/>
                  </a:cubicBezTo>
                  <a:cubicBezTo>
                    <a:pt x="582" y="557"/>
                    <a:pt x="582" y="557"/>
                    <a:pt x="582" y="557"/>
                  </a:cubicBezTo>
                  <a:cubicBezTo>
                    <a:pt x="582" y="557"/>
                    <a:pt x="569" y="545"/>
                    <a:pt x="568" y="536"/>
                  </a:cubicBezTo>
                  <a:cubicBezTo>
                    <a:pt x="567" y="527"/>
                    <a:pt x="586" y="528"/>
                    <a:pt x="586" y="528"/>
                  </a:cubicBezTo>
                  <a:cubicBezTo>
                    <a:pt x="569" y="518"/>
                    <a:pt x="569" y="518"/>
                    <a:pt x="569" y="518"/>
                  </a:cubicBezTo>
                  <a:cubicBezTo>
                    <a:pt x="569" y="491"/>
                    <a:pt x="569" y="491"/>
                    <a:pt x="569" y="491"/>
                  </a:cubicBezTo>
                  <a:cubicBezTo>
                    <a:pt x="587" y="484"/>
                    <a:pt x="587" y="484"/>
                    <a:pt x="587" y="484"/>
                  </a:cubicBezTo>
                  <a:cubicBezTo>
                    <a:pt x="587" y="484"/>
                    <a:pt x="566" y="471"/>
                    <a:pt x="566" y="467"/>
                  </a:cubicBezTo>
                  <a:cubicBezTo>
                    <a:pt x="566" y="463"/>
                    <a:pt x="580" y="452"/>
                    <a:pt x="580" y="452"/>
                  </a:cubicBezTo>
                  <a:cubicBezTo>
                    <a:pt x="580" y="452"/>
                    <a:pt x="584" y="435"/>
                    <a:pt x="584" y="429"/>
                  </a:cubicBezTo>
                  <a:cubicBezTo>
                    <a:pt x="584" y="423"/>
                    <a:pt x="599" y="424"/>
                    <a:pt x="604" y="419"/>
                  </a:cubicBezTo>
                  <a:cubicBezTo>
                    <a:pt x="609" y="414"/>
                    <a:pt x="612" y="399"/>
                    <a:pt x="612" y="396"/>
                  </a:cubicBezTo>
                  <a:cubicBezTo>
                    <a:pt x="612" y="393"/>
                    <a:pt x="621" y="388"/>
                    <a:pt x="626" y="383"/>
                  </a:cubicBezTo>
                  <a:cubicBezTo>
                    <a:pt x="631" y="378"/>
                    <a:pt x="634" y="355"/>
                    <a:pt x="634" y="355"/>
                  </a:cubicBezTo>
                  <a:close/>
                  <a:moveTo>
                    <a:pt x="619" y="681"/>
                  </a:moveTo>
                  <a:cubicBezTo>
                    <a:pt x="624" y="681"/>
                    <a:pt x="624" y="681"/>
                    <a:pt x="624" y="681"/>
                  </a:cubicBezTo>
                  <a:cubicBezTo>
                    <a:pt x="617" y="677"/>
                    <a:pt x="617" y="677"/>
                    <a:pt x="617" y="677"/>
                  </a:cubicBezTo>
                  <a:cubicBezTo>
                    <a:pt x="617" y="677"/>
                    <a:pt x="617" y="677"/>
                    <a:pt x="617" y="677"/>
                  </a:cubicBezTo>
                  <a:cubicBezTo>
                    <a:pt x="618" y="679"/>
                    <a:pt x="619" y="681"/>
                    <a:pt x="619" y="68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206">
              <a:extLst>
                <a:ext uri="{FF2B5EF4-FFF2-40B4-BE49-F238E27FC236}">
                  <a16:creationId xmlns:a16="http://schemas.microsoft.com/office/drawing/2014/main" id="{341A2DC0-9961-3246-4D6B-E987D824B3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5560" y="-10185"/>
              <a:ext cx="661" cy="834"/>
            </a:xfrm>
            <a:custGeom>
              <a:avLst/>
              <a:gdLst>
                <a:gd name="T0" fmla="*/ 42 w 280"/>
                <a:gd name="T1" fmla="*/ 249 h 353"/>
                <a:gd name="T2" fmla="*/ 49 w 280"/>
                <a:gd name="T3" fmla="*/ 229 h 353"/>
                <a:gd name="T4" fmla="*/ 42 w 280"/>
                <a:gd name="T5" fmla="*/ 249 h 353"/>
                <a:gd name="T6" fmla="*/ 277 w 280"/>
                <a:gd name="T7" fmla="*/ 114 h 353"/>
                <a:gd name="T8" fmla="*/ 261 w 280"/>
                <a:gd name="T9" fmla="*/ 102 h 353"/>
                <a:gd name="T10" fmla="*/ 271 w 280"/>
                <a:gd name="T11" fmla="*/ 84 h 353"/>
                <a:gd name="T12" fmla="*/ 252 w 280"/>
                <a:gd name="T13" fmla="*/ 83 h 353"/>
                <a:gd name="T14" fmla="*/ 230 w 280"/>
                <a:gd name="T15" fmla="*/ 61 h 353"/>
                <a:gd name="T16" fmla="*/ 218 w 280"/>
                <a:gd name="T17" fmla="*/ 73 h 353"/>
                <a:gd name="T18" fmla="*/ 195 w 280"/>
                <a:gd name="T19" fmla="*/ 65 h 353"/>
                <a:gd name="T20" fmla="*/ 175 w 280"/>
                <a:gd name="T21" fmla="*/ 64 h 353"/>
                <a:gd name="T22" fmla="*/ 163 w 280"/>
                <a:gd name="T23" fmla="*/ 43 h 353"/>
                <a:gd name="T24" fmla="*/ 140 w 280"/>
                <a:gd name="T25" fmla="*/ 40 h 353"/>
                <a:gd name="T26" fmla="*/ 121 w 280"/>
                <a:gd name="T27" fmla="*/ 22 h 353"/>
                <a:gd name="T28" fmla="*/ 98 w 280"/>
                <a:gd name="T29" fmla="*/ 0 h 353"/>
                <a:gd name="T30" fmla="*/ 101 w 280"/>
                <a:gd name="T31" fmla="*/ 23 h 353"/>
                <a:gd name="T32" fmla="*/ 68 w 280"/>
                <a:gd name="T33" fmla="*/ 37 h 353"/>
                <a:gd name="T34" fmla="*/ 66 w 280"/>
                <a:gd name="T35" fmla="*/ 27 h 353"/>
                <a:gd name="T36" fmla="*/ 44 w 280"/>
                <a:gd name="T37" fmla="*/ 46 h 353"/>
                <a:gd name="T38" fmla="*/ 49 w 280"/>
                <a:gd name="T39" fmla="*/ 77 h 353"/>
                <a:gd name="T40" fmla="*/ 31 w 280"/>
                <a:gd name="T41" fmla="*/ 97 h 353"/>
                <a:gd name="T42" fmla="*/ 39 w 280"/>
                <a:gd name="T43" fmla="*/ 119 h 353"/>
                <a:gd name="T44" fmla="*/ 27 w 280"/>
                <a:gd name="T45" fmla="*/ 119 h 353"/>
                <a:gd name="T46" fmla="*/ 26 w 280"/>
                <a:gd name="T47" fmla="*/ 130 h 353"/>
                <a:gd name="T48" fmla="*/ 3 w 280"/>
                <a:gd name="T49" fmla="*/ 144 h 353"/>
                <a:gd name="T50" fmla="*/ 19 w 280"/>
                <a:gd name="T51" fmla="*/ 154 h 353"/>
                <a:gd name="T52" fmla="*/ 8 w 280"/>
                <a:gd name="T53" fmla="*/ 173 h 353"/>
                <a:gd name="T54" fmla="*/ 18 w 280"/>
                <a:gd name="T55" fmla="*/ 187 h 353"/>
                <a:gd name="T56" fmla="*/ 3 w 280"/>
                <a:gd name="T57" fmla="*/ 201 h 353"/>
                <a:gd name="T58" fmla="*/ 12 w 280"/>
                <a:gd name="T59" fmla="*/ 207 h 353"/>
                <a:gd name="T60" fmla="*/ 22 w 280"/>
                <a:gd name="T61" fmla="*/ 228 h 353"/>
                <a:gd name="T62" fmla="*/ 48 w 280"/>
                <a:gd name="T63" fmla="*/ 214 h 353"/>
                <a:gd name="T64" fmla="*/ 65 w 280"/>
                <a:gd name="T65" fmla="*/ 219 h 353"/>
                <a:gd name="T66" fmla="*/ 61 w 280"/>
                <a:gd name="T67" fmla="*/ 258 h 353"/>
                <a:gd name="T68" fmla="*/ 36 w 280"/>
                <a:gd name="T69" fmla="*/ 271 h 353"/>
                <a:gd name="T70" fmla="*/ 51 w 280"/>
                <a:gd name="T71" fmla="*/ 286 h 353"/>
                <a:gd name="T72" fmla="*/ 30 w 280"/>
                <a:gd name="T73" fmla="*/ 307 h 353"/>
                <a:gd name="T74" fmla="*/ 40 w 280"/>
                <a:gd name="T75" fmla="*/ 315 h 353"/>
                <a:gd name="T76" fmla="*/ 33 w 280"/>
                <a:gd name="T77" fmla="*/ 329 h 353"/>
                <a:gd name="T78" fmla="*/ 53 w 280"/>
                <a:gd name="T79" fmla="*/ 315 h 353"/>
                <a:gd name="T80" fmla="*/ 62 w 280"/>
                <a:gd name="T81" fmla="*/ 326 h 353"/>
                <a:gd name="T82" fmla="*/ 81 w 280"/>
                <a:gd name="T83" fmla="*/ 324 h 353"/>
                <a:gd name="T84" fmla="*/ 96 w 280"/>
                <a:gd name="T85" fmla="*/ 353 h 353"/>
                <a:gd name="T86" fmla="*/ 108 w 280"/>
                <a:gd name="T87" fmla="*/ 339 h 353"/>
                <a:gd name="T88" fmla="*/ 121 w 280"/>
                <a:gd name="T89" fmla="*/ 335 h 353"/>
                <a:gd name="T90" fmla="*/ 125 w 280"/>
                <a:gd name="T91" fmla="*/ 299 h 353"/>
                <a:gd name="T92" fmla="*/ 135 w 280"/>
                <a:gd name="T93" fmla="*/ 284 h 353"/>
                <a:gd name="T94" fmla="*/ 132 w 280"/>
                <a:gd name="T95" fmla="*/ 272 h 353"/>
                <a:gd name="T96" fmla="*/ 140 w 280"/>
                <a:gd name="T97" fmla="*/ 269 h 353"/>
                <a:gd name="T98" fmla="*/ 154 w 280"/>
                <a:gd name="T99" fmla="*/ 251 h 353"/>
                <a:gd name="T100" fmla="*/ 211 w 280"/>
                <a:gd name="T101" fmla="*/ 226 h 353"/>
                <a:gd name="T102" fmla="*/ 262 w 280"/>
                <a:gd name="T103" fmla="*/ 170 h 353"/>
                <a:gd name="T104" fmla="*/ 270 w 280"/>
                <a:gd name="T105" fmla="*/ 141 h 353"/>
                <a:gd name="T106" fmla="*/ 280 w 280"/>
                <a:gd name="T107" fmla="*/ 136 h 353"/>
                <a:gd name="T108" fmla="*/ 277 w 280"/>
                <a:gd name="T109" fmla="*/ 114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0" h="353">
                  <a:moveTo>
                    <a:pt x="42" y="249"/>
                  </a:moveTo>
                  <a:cubicBezTo>
                    <a:pt x="57" y="245"/>
                    <a:pt x="59" y="225"/>
                    <a:pt x="49" y="229"/>
                  </a:cubicBezTo>
                  <a:cubicBezTo>
                    <a:pt x="40" y="233"/>
                    <a:pt x="34" y="250"/>
                    <a:pt x="42" y="249"/>
                  </a:cubicBezTo>
                  <a:close/>
                  <a:moveTo>
                    <a:pt x="277" y="114"/>
                  </a:moveTo>
                  <a:cubicBezTo>
                    <a:pt x="261" y="102"/>
                    <a:pt x="261" y="102"/>
                    <a:pt x="261" y="102"/>
                  </a:cubicBezTo>
                  <a:cubicBezTo>
                    <a:pt x="261" y="102"/>
                    <a:pt x="272" y="102"/>
                    <a:pt x="271" y="84"/>
                  </a:cubicBezTo>
                  <a:cubicBezTo>
                    <a:pt x="265" y="83"/>
                    <a:pt x="258" y="83"/>
                    <a:pt x="252" y="83"/>
                  </a:cubicBezTo>
                  <a:cubicBezTo>
                    <a:pt x="239" y="82"/>
                    <a:pt x="247" y="64"/>
                    <a:pt x="230" y="61"/>
                  </a:cubicBezTo>
                  <a:cubicBezTo>
                    <a:pt x="213" y="58"/>
                    <a:pt x="225" y="71"/>
                    <a:pt x="218" y="73"/>
                  </a:cubicBezTo>
                  <a:cubicBezTo>
                    <a:pt x="211" y="75"/>
                    <a:pt x="195" y="65"/>
                    <a:pt x="195" y="65"/>
                  </a:cubicBezTo>
                  <a:cubicBezTo>
                    <a:pt x="195" y="65"/>
                    <a:pt x="184" y="70"/>
                    <a:pt x="175" y="64"/>
                  </a:cubicBezTo>
                  <a:cubicBezTo>
                    <a:pt x="166" y="58"/>
                    <a:pt x="173" y="51"/>
                    <a:pt x="163" y="43"/>
                  </a:cubicBezTo>
                  <a:cubicBezTo>
                    <a:pt x="153" y="35"/>
                    <a:pt x="140" y="40"/>
                    <a:pt x="140" y="40"/>
                  </a:cubicBezTo>
                  <a:cubicBezTo>
                    <a:pt x="140" y="40"/>
                    <a:pt x="132" y="28"/>
                    <a:pt x="121" y="22"/>
                  </a:cubicBezTo>
                  <a:cubicBezTo>
                    <a:pt x="113" y="19"/>
                    <a:pt x="103" y="6"/>
                    <a:pt x="98" y="0"/>
                  </a:cubicBezTo>
                  <a:cubicBezTo>
                    <a:pt x="99" y="10"/>
                    <a:pt x="105" y="14"/>
                    <a:pt x="101" y="23"/>
                  </a:cubicBezTo>
                  <a:cubicBezTo>
                    <a:pt x="98" y="32"/>
                    <a:pt x="68" y="37"/>
                    <a:pt x="68" y="3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7"/>
                    <a:pt x="46" y="38"/>
                    <a:pt x="44" y="46"/>
                  </a:cubicBezTo>
                  <a:cubicBezTo>
                    <a:pt x="41" y="54"/>
                    <a:pt x="51" y="64"/>
                    <a:pt x="49" y="77"/>
                  </a:cubicBezTo>
                  <a:cubicBezTo>
                    <a:pt x="48" y="90"/>
                    <a:pt x="35" y="89"/>
                    <a:pt x="31" y="97"/>
                  </a:cubicBezTo>
                  <a:cubicBezTo>
                    <a:pt x="26" y="105"/>
                    <a:pt x="39" y="119"/>
                    <a:pt x="39" y="119"/>
                  </a:cubicBezTo>
                  <a:cubicBezTo>
                    <a:pt x="27" y="119"/>
                    <a:pt x="27" y="119"/>
                    <a:pt x="27" y="119"/>
                  </a:cubicBezTo>
                  <a:cubicBezTo>
                    <a:pt x="26" y="130"/>
                    <a:pt x="26" y="130"/>
                    <a:pt x="26" y="130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3"/>
                    <a:pt x="19" y="176"/>
                    <a:pt x="18" y="187"/>
                  </a:cubicBezTo>
                  <a:cubicBezTo>
                    <a:pt x="16" y="198"/>
                    <a:pt x="3" y="201"/>
                    <a:pt x="3" y="201"/>
                  </a:cubicBezTo>
                  <a:cubicBezTo>
                    <a:pt x="12" y="207"/>
                    <a:pt x="12" y="207"/>
                    <a:pt x="12" y="207"/>
                  </a:cubicBezTo>
                  <a:cubicBezTo>
                    <a:pt x="12" y="207"/>
                    <a:pt x="0" y="221"/>
                    <a:pt x="22" y="228"/>
                  </a:cubicBezTo>
                  <a:cubicBezTo>
                    <a:pt x="45" y="235"/>
                    <a:pt x="48" y="214"/>
                    <a:pt x="48" y="214"/>
                  </a:cubicBezTo>
                  <a:cubicBezTo>
                    <a:pt x="65" y="219"/>
                    <a:pt x="65" y="219"/>
                    <a:pt x="65" y="219"/>
                  </a:cubicBezTo>
                  <a:cubicBezTo>
                    <a:pt x="73" y="227"/>
                    <a:pt x="64" y="246"/>
                    <a:pt x="61" y="258"/>
                  </a:cubicBezTo>
                  <a:cubicBezTo>
                    <a:pt x="59" y="270"/>
                    <a:pt x="36" y="271"/>
                    <a:pt x="36" y="271"/>
                  </a:cubicBezTo>
                  <a:cubicBezTo>
                    <a:pt x="36" y="271"/>
                    <a:pt x="60" y="277"/>
                    <a:pt x="51" y="286"/>
                  </a:cubicBezTo>
                  <a:cubicBezTo>
                    <a:pt x="43" y="295"/>
                    <a:pt x="30" y="307"/>
                    <a:pt x="30" y="307"/>
                  </a:cubicBezTo>
                  <a:cubicBezTo>
                    <a:pt x="40" y="315"/>
                    <a:pt x="40" y="315"/>
                    <a:pt x="40" y="315"/>
                  </a:cubicBezTo>
                  <a:cubicBezTo>
                    <a:pt x="40" y="315"/>
                    <a:pt x="24" y="324"/>
                    <a:pt x="33" y="329"/>
                  </a:cubicBezTo>
                  <a:cubicBezTo>
                    <a:pt x="43" y="333"/>
                    <a:pt x="53" y="315"/>
                    <a:pt x="53" y="315"/>
                  </a:cubicBezTo>
                  <a:cubicBezTo>
                    <a:pt x="62" y="326"/>
                    <a:pt x="62" y="326"/>
                    <a:pt x="62" y="326"/>
                  </a:cubicBezTo>
                  <a:cubicBezTo>
                    <a:pt x="62" y="326"/>
                    <a:pt x="75" y="320"/>
                    <a:pt x="81" y="324"/>
                  </a:cubicBezTo>
                  <a:cubicBezTo>
                    <a:pt x="86" y="329"/>
                    <a:pt x="82" y="353"/>
                    <a:pt x="96" y="353"/>
                  </a:cubicBezTo>
                  <a:cubicBezTo>
                    <a:pt x="109" y="353"/>
                    <a:pt x="104" y="342"/>
                    <a:pt x="108" y="339"/>
                  </a:cubicBezTo>
                  <a:cubicBezTo>
                    <a:pt x="112" y="337"/>
                    <a:pt x="121" y="335"/>
                    <a:pt x="121" y="335"/>
                  </a:cubicBezTo>
                  <a:cubicBezTo>
                    <a:pt x="121" y="335"/>
                    <a:pt x="124" y="308"/>
                    <a:pt x="125" y="299"/>
                  </a:cubicBezTo>
                  <a:cubicBezTo>
                    <a:pt x="127" y="289"/>
                    <a:pt x="135" y="284"/>
                    <a:pt x="135" y="284"/>
                  </a:cubicBezTo>
                  <a:cubicBezTo>
                    <a:pt x="132" y="272"/>
                    <a:pt x="132" y="272"/>
                    <a:pt x="132" y="272"/>
                  </a:cubicBezTo>
                  <a:cubicBezTo>
                    <a:pt x="140" y="269"/>
                    <a:pt x="140" y="269"/>
                    <a:pt x="140" y="269"/>
                  </a:cubicBezTo>
                  <a:cubicBezTo>
                    <a:pt x="140" y="269"/>
                    <a:pt x="140" y="262"/>
                    <a:pt x="154" y="251"/>
                  </a:cubicBezTo>
                  <a:cubicBezTo>
                    <a:pt x="167" y="240"/>
                    <a:pt x="188" y="240"/>
                    <a:pt x="211" y="226"/>
                  </a:cubicBezTo>
                  <a:cubicBezTo>
                    <a:pt x="234" y="211"/>
                    <a:pt x="262" y="170"/>
                    <a:pt x="262" y="170"/>
                  </a:cubicBezTo>
                  <a:cubicBezTo>
                    <a:pt x="270" y="141"/>
                    <a:pt x="270" y="141"/>
                    <a:pt x="270" y="141"/>
                  </a:cubicBezTo>
                  <a:cubicBezTo>
                    <a:pt x="280" y="136"/>
                    <a:pt x="280" y="136"/>
                    <a:pt x="280" y="136"/>
                  </a:cubicBezTo>
                  <a:lnTo>
                    <a:pt x="277" y="114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207">
              <a:extLst>
                <a:ext uri="{FF2B5EF4-FFF2-40B4-BE49-F238E27FC236}">
                  <a16:creationId xmlns:a16="http://schemas.microsoft.com/office/drawing/2014/main" id="{B8214B68-4376-91B1-5D82-C0B09225861C}"/>
                </a:ext>
              </a:extLst>
            </p:cNvPr>
            <p:cNvSpPr>
              <a:spLocks/>
            </p:cNvSpPr>
            <p:nvPr/>
          </p:nvSpPr>
          <p:spPr bwMode="gray">
            <a:xfrm>
              <a:off x="2437" y="-11222"/>
              <a:ext cx="322" cy="538"/>
            </a:xfrm>
            <a:custGeom>
              <a:avLst/>
              <a:gdLst>
                <a:gd name="T0" fmla="*/ 19 w 136"/>
                <a:gd name="T1" fmla="*/ 9 h 228"/>
                <a:gd name="T2" fmla="*/ 62 w 136"/>
                <a:gd name="T3" fmla="*/ 29 h 228"/>
                <a:gd name="T4" fmla="*/ 91 w 136"/>
                <a:gd name="T5" fmla="*/ 65 h 228"/>
                <a:gd name="T6" fmla="*/ 87 w 136"/>
                <a:gd name="T7" fmla="*/ 86 h 228"/>
                <a:gd name="T8" fmla="*/ 104 w 136"/>
                <a:gd name="T9" fmla="*/ 82 h 228"/>
                <a:gd name="T10" fmla="*/ 105 w 136"/>
                <a:gd name="T11" fmla="*/ 120 h 228"/>
                <a:gd name="T12" fmla="*/ 105 w 136"/>
                <a:gd name="T13" fmla="*/ 190 h 228"/>
                <a:gd name="T14" fmla="*/ 19 w 136"/>
                <a:gd name="T15" fmla="*/ 194 h 228"/>
                <a:gd name="T16" fmla="*/ 10 w 136"/>
                <a:gd name="T17" fmla="*/ 99 h 228"/>
                <a:gd name="T18" fmla="*/ 25 w 136"/>
                <a:gd name="T19" fmla="*/ 59 h 228"/>
                <a:gd name="T20" fmla="*/ 5 w 136"/>
                <a:gd name="T21" fmla="*/ 32 h 228"/>
                <a:gd name="T22" fmla="*/ 18 w 136"/>
                <a:gd name="T23" fmla="*/ 32 h 228"/>
                <a:gd name="T24" fmla="*/ 19 w 136"/>
                <a:gd name="T25" fmla="*/ 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228">
                  <a:moveTo>
                    <a:pt x="19" y="9"/>
                  </a:moveTo>
                  <a:cubicBezTo>
                    <a:pt x="35" y="0"/>
                    <a:pt x="46" y="7"/>
                    <a:pt x="62" y="29"/>
                  </a:cubicBezTo>
                  <a:cubicBezTo>
                    <a:pt x="78" y="50"/>
                    <a:pt x="91" y="65"/>
                    <a:pt x="91" y="6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105" y="120"/>
                    <a:pt x="136" y="176"/>
                    <a:pt x="105" y="190"/>
                  </a:cubicBezTo>
                  <a:cubicBezTo>
                    <a:pt x="75" y="204"/>
                    <a:pt x="37" y="228"/>
                    <a:pt x="19" y="194"/>
                  </a:cubicBezTo>
                  <a:cubicBezTo>
                    <a:pt x="1" y="160"/>
                    <a:pt x="0" y="106"/>
                    <a:pt x="10" y="99"/>
                  </a:cubicBezTo>
                  <a:cubicBezTo>
                    <a:pt x="21" y="91"/>
                    <a:pt x="25" y="59"/>
                    <a:pt x="25" y="5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18" y="32"/>
                    <a:pt x="18" y="32"/>
                    <a:pt x="18" y="32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208">
              <a:extLst>
                <a:ext uri="{FF2B5EF4-FFF2-40B4-BE49-F238E27FC236}">
                  <a16:creationId xmlns:a16="http://schemas.microsoft.com/office/drawing/2014/main" id="{B10C9720-1645-FF85-623B-6B4D68619B0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16" y="-12361"/>
              <a:ext cx="1151" cy="1892"/>
            </a:xfrm>
            <a:custGeom>
              <a:avLst/>
              <a:gdLst>
                <a:gd name="T0" fmla="*/ 475 w 487"/>
                <a:gd name="T1" fmla="*/ 801 h 801"/>
                <a:gd name="T2" fmla="*/ 476 w 487"/>
                <a:gd name="T3" fmla="*/ 763 h 801"/>
                <a:gd name="T4" fmla="*/ 395 w 487"/>
                <a:gd name="T5" fmla="*/ 758 h 801"/>
                <a:gd name="T6" fmla="*/ 187 w 487"/>
                <a:gd name="T7" fmla="*/ 700 h 801"/>
                <a:gd name="T8" fmla="*/ 175 w 487"/>
                <a:gd name="T9" fmla="*/ 693 h 801"/>
                <a:gd name="T10" fmla="*/ 346 w 487"/>
                <a:gd name="T11" fmla="*/ 393 h 801"/>
                <a:gd name="T12" fmla="*/ 408 w 487"/>
                <a:gd name="T13" fmla="*/ 418 h 801"/>
                <a:gd name="T14" fmla="*/ 321 w 487"/>
                <a:gd name="T15" fmla="*/ 337 h 801"/>
                <a:gd name="T16" fmla="*/ 325 w 487"/>
                <a:gd name="T17" fmla="*/ 499 h 801"/>
                <a:gd name="T18" fmla="*/ 301 w 487"/>
                <a:gd name="T19" fmla="*/ 414 h 801"/>
                <a:gd name="T20" fmla="*/ 358 w 487"/>
                <a:gd name="T21" fmla="*/ 492 h 801"/>
                <a:gd name="T22" fmla="*/ 337 w 487"/>
                <a:gd name="T23" fmla="*/ 494 h 801"/>
                <a:gd name="T24" fmla="*/ 360 w 487"/>
                <a:gd name="T25" fmla="*/ 416 h 801"/>
                <a:gd name="T26" fmla="*/ 352 w 487"/>
                <a:gd name="T27" fmla="*/ 436 h 801"/>
                <a:gd name="T28" fmla="*/ 391 w 487"/>
                <a:gd name="T29" fmla="*/ 441 h 801"/>
                <a:gd name="T30" fmla="*/ 103 w 487"/>
                <a:gd name="T31" fmla="*/ 405 h 801"/>
                <a:gd name="T32" fmla="*/ 79 w 487"/>
                <a:gd name="T33" fmla="*/ 472 h 801"/>
                <a:gd name="T34" fmla="*/ 55 w 487"/>
                <a:gd name="T35" fmla="*/ 514 h 801"/>
                <a:gd name="T36" fmla="*/ 31 w 487"/>
                <a:gd name="T37" fmla="*/ 557 h 801"/>
                <a:gd name="T38" fmla="*/ 71 w 487"/>
                <a:gd name="T39" fmla="*/ 503 h 801"/>
                <a:gd name="T40" fmla="*/ 117 w 487"/>
                <a:gd name="T41" fmla="*/ 403 h 801"/>
                <a:gd name="T42" fmla="*/ 259 w 487"/>
                <a:gd name="T43" fmla="*/ 679 h 801"/>
                <a:gd name="T44" fmla="*/ 451 w 487"/>
                <a:gd name="T45" fmla="*/ 560 h 801"/>
                <a:gd name="T46" fmla="*/ 413 w 487"/>
                <a:gd name="T47" fmla="*/ 526 h 801"/>
                <a:gd name="T48" fmla="*/ 362 w 487"/>
                <a:gd name="T49" fmla="*/ 552 h 801"/>
                <a:gd name="T50" fmla="*/ 307 w 487"/>
                <a:gd name="T51" fmla="*/ 568 h 801"/>
                <a:gd name="T52" fmla="*/ 251 w 487"/>
                <a:gd name="T53" fmla="*/ 627 h 801"/>
                <a:gd name="T54" fmla="*/ 287 w 487"/>
                <a:gd name="T55" fmla="*/ 643 h 801"/>
                <a:gd name="T56" fmla="*/ 340 w 487"/>
                <a:gd name="T57" fmla="*/ 657 h 801"/>
                <a:gd name="T58" fmla="*/ 413 w 487"/>
                <a:gd name="T59" fmla="*/ 701 h 801"/>
                <a:gd name="T60" fmla="*/ 430 w 487"/>
                <a:gd name="T61" fmla="*/ 693 h 801"/>
                <a:gd name="T62" fmla="*/ 444 w 487"/>
                <a:gd name="T63" fmla="*/ 676 h 801"/>
                <a:gd name="T64" fmla="*/ 451 w 487"/>
                <a:gd name="T65" fmla="*/ 560 h 801"/>
                <a:gd name="T66" fmla="*/ 286 w 487"/>
                <a:gd name="T67" fmla="*/ 309 h 801"/>
                <a:gd name="T68" fmla="*/ 259 w 487"/>
                <a:gd name="T69" fmla="*/ 240 h 801"/>
                <a:gd name="T70" fmla="*/ 184 w 487"/>
                <a:gd name="T71" fmla="*/ 201 h 801"/>
                <a:gd name="T72" fmla="*/ 193 w 487"/>
                <a:gd name="T73" fmla="*/ 93 h 801"/>
                <a:gd name="T74" fmla="*/ 184 w 487"/>
                <a:gd name="T75" fmla="*/ 16 h 801"/>
                <a:gd name="T76" fmla="*/ 126 w 487"/>
                <a:gd name="T77" fmla="*/ 10 h 801"/>
                <a:gd name="T78" fmla="*/ 100 w 487"/>
                <a:gd name="T79" fmla="*/ 53 h 801"/>
                <a:gd name="T80" fmla="*/ 112 w 487"/>
                <a:gd name="T81" fmla="*/ 109 h 801"/>
                <a:gd name="T82" fmla="*/ 92 w 487"/>
                <a:gd name="T83" fmla="*/ 152 h 801"/>
                <a:gd name="T84" fmla="*/ 135 w 487"/>
                <a:gd name="T85" fmla="*/ 233 h 801"/>
                <a:gd name="T86" fmla="*/ 219 w 487"/>
                <a:gd name="T87" fmla="*/ 274 h 801"/>
                <a:gd name="T88" fmla="*/ 146 w 487"/>
                <a:gd name="T89" fmla="*/ 285 h 801"/>
                <a:gd name="T90" fmla="*/ 197 w 487"/>
                <a:gd name="T91" fmla="*/ 339 h 801"/>
                <a:gd name="T92" fmla="*/ 232 w 487"/>
                <a:gd name="T93" fmla="*/ 434 h 801"/>
                <a:gd name="T94" fmla="*/ 271 w 487"/>
                <a:gd name="T95" fmla="*/ 463 h 801"/>
                <a:gd name="T96" fmla="*/ 273 w 487"/>
                <a:gd name="T97" fmla="*/ 535 h 801"/>
                <a:gd name="T98" fmla="*/ 295 w 487"/>
                <a:gd name="T99" fmla="*/ 431 h 801"/>
                <a:gd name="T100" fmla="*/ 249 w 487"/>
                <a:gd name="T101" fmla="*/ 378 h 801"/>
                <a:gd name="T102" fmla="*/ 232 w 487"/>
                <a:gd name="T103" fmla="*/ 434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87" h="801">
                  <a:moveTo>
                    <a:pt x="476" y="763"/>
                  </a:moveTo>
                  <a:cubicBezTo>
                    <a:pt x="472" y="782"/>
                    <a:pt x="472" y="782"/>
                    <a:pt x="472" y="782"/>
                  </a:cubicBezTo>
                  <a:cubicBezTo>
                    <a:pt x="475" y="801"/>
                    <a:pt x="475" y="801"/>
                    <a:pt x="475" y="801"/>
                  </a:cubicBezTo>
                  <a:cubicBezTo>
                    <a:pt x="487" y="791"/>
                    <a:pt x="487" y="791"/>
                    <a:pt x="487" y="791"/>
                  </a:cubicBezTo>
                  <a:cubicBezTo>
                    <a:pt x="487" y="763"/>
                    <a:pt x="487" y="763"/>
                    <a:pt x="487" y="763"/>
                  </a:cubicBezTo>
                  <a:lnTo>
                    <a:pt x="476" y="763"/>
                  </a:lnTo>
                  <a:close/>
                  <a:moveTo>
                    <a:pt x="399" y="785"/>
                  </a:moveTo>
                  <a:cubicBezTo>
                    <a:pt x="410" y="763"/>
                    <a:pt x="410" y="763"/>
                    <a:pt x="410" y="763"/>
                  </a:cubicBezTo>
                  <a:cubicBezTo>
                    <a:pt x="395" y="758"/>
                    <a:pt x="395" y="758"/>
                    <a:pt x="395" y="758"/>
                  </a:cubicBezTo>
                  <a:lnTo>
                    <a:pt x="399" y="785"/>
                  </a:lnTo>
                  <a:close/>
                  <a:moveTo>
                    <a:pt x="175" y="693"/>
                  </a:moveTo>
                  <a:cubicBezTo>
                    <a:pt x="187" y="700"/>
                    <a:pt x="187" y="700"/>
                    <a:pt x="187" y="700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82" y="672"/>
                    <a:pt x="182" y="672"/>
                    <a:pt x="182" y="672"/>
                  </a:cubicBezTo>
                  <a:lnTo>
                    <a:pt x="175" y="693"/>
                  </a:lnTo>
                  <a:close/>
                  <a:moveTo>
                    <a:pt x="345" y="372"/>
                  </a:moveTo>
                  <a:cubicBezTo>
                    <a:pt x="370" y="385"/>
                    <a:pt x="370" y="385"/>
                    <a:pt x="370" y="385"/>
                  </a:cubicBezTo>
                  <a:cubicBezTo>
                    <a:pt x="370" y="401"/>
                    <a:pt x="346" y="393"/>
                    <a:pt x="346" y="393"/>
                  </a:cubicBezTo>
                  <a:cubicBezTo>
                    <a:pt x="389" y="427"/>
                    <a:pt x="389" y="427"/>
                    <a:pt x="389" y="427"/>
                  </a:cubicBezTo>
                  <a:cubicBezTo>
                    <a:pt x="391" y="413"/>
                    <a:pt x="391" y="413"/>
                    <a:pt x="391" y="413"/>
                  </a:cubicBezTo>
                  <a:cubicBezTo>
                    <a:pt x="408" y="418"/>
                    <a:pt x="408" y="418"/>
                    <a:pt x="408" y="418"/>
                  </a:cubicBezTo>
                  <a:cubicBezTo>
                    <a:pt x="394" y="395"/>
                    <a:pt x="394" y="395"/>
                    <a:pt x="394" y="395"/>
                  </a:cubicBezTo>
                  <a:cubicBezTo>
                    <a:pt x="394" y="395"/>
                    <a:pt x="391" y="370"/>
                    <a:pt x="379" y="357"/>
                  </a:cubicBezTo>
                  <a:cubicBezTo>
                    <a:pt x="367" y="344"/>
                    <a:pt x="328" y="321"/>
                    <a:pt x="321" y="337"/>
                  </a:cubicBezTo>
                  <a:cubicBezTo>
                    <a:pt x="312" y="357"/>
                    <a:pt x="345" y="372"/>
                    <a:pt x="345" y="372"/>
                  </a:cubicBezTo>
                  <a:close/>
                  <a:moveTo>
                    <a:pt x="318" y="445"/>
                  </a:moveTo>
                  <a:cubicBezTo>
                    <a:pt x="325" y="499"/>
                    <a:pt x="325" y="499"/>
                    <a:pt x="325" y="499"/>
                  </a:cubicBezTo>
                  <a:cubicBezTo>
                    <a:pt x="333" y="449"/>
                    <a:pt x="333" y="449"/>
                    <a:pt x="333" y="449"/>
                  </a:cubicBezTo>
                  <a:cubicBezTo>
                    <a:pt x="316" y="414"/>
                    <a:pt x="316" y="414"/>
                    <a:pt x="316" y="414"/>
                  </a:cubicBezTo>
                  <a:cubicBezTo>
                    <a:pt x="301" y="414"/>
                    <a:pt x="301" y="414"/>
                    <a:pt x="301" y="414"/>
                  </a:cubicBezTo>
                  <a:lnTo>
                    <a:pt x="318" y="445"/>
                  </a:lnTo>
                  <a:close/>
                  <a:moveTo>
                    <a:pt x="337" y="494"/>
                  </a:moveTo>
                  <a:cubicBezTo>
                    <a:pt x="358" y="492"/>
                    <a:pt x="358" y="492"/>
                    <a:pt x="358" y="492"/>
                  </a:cubicBezTo>
                  <a:cubicBezTo>
                    <a:pt x="361" y="475"/>
                    <a:pt x="361" y="475"/>
                    <a:pt x="361" y="475"/>
                  </a:cubicBezTo>
                  <a:cubicBezTo>
                    <a:pt x="343" y="469"/>
                    <a:pt x="343" y="469"/>
                    <a:pt x="343" y="469"/>
                  </a:cubicBezTo>
                  <a:lnTo>
                    <a:pt x="337" y="494"/>
                  </a:lnTo>
                  <a:close/>
                  <a:moveTo>
                    <a:pt x="391" y="441"/>
                  </a:moveTo>
                  <a:cubicBezTo>
                    <a:pt x="372" y="434"/>
                    <a:pt x="372" y="434"/>
                    <a:pt x="372" y="434"/>
                  </a:cubicBezTo>
                  <a:cubicBezTo>
                    <a:pt x="372" y="434"/>
                    <a:pt x="364" y="424"/>
                    <a:pt x="360" y="416"/>
                  </a:cubicBezTo>
                  <a:cubicBezTo>
                    <a:pt x="357" y="408"/>
                    <a:pt x="333" y="413"/>
                    <a:pt x="333" y="413"/>
                  </a:cubicBezTo>
                  <a:cubicBezTo>
                    <a:pt x="336" y="442"/>
                    <a:pt x="336" y="442"/>
                    <a:pt x="336" y="442"/>
                  </a:cubicBezTo>
                  <a:cubicBezTo>
                    <a:pt x="352" y="436"/>
                    <a:pt x="352" y="436"/>
                    <a:pt x="352" y="436"/>
                  </a:cubicBezTo>
                  <a:cubicBezTo>
                    <a:pt x="358" y="452"/>
                    <a:pt x="358" y="452"/>
                    <a:pt x="358" y="452"/>
                  </a:cubicBezTo>
                  <a:cubicBezTo>
                    <a:pt x="391" y="477"/>
                    <a:pt x="391" y="477"/>
                    <a:pt x="391" y="477"/>
                  </a:cubicBezTo>
                  <a:lnTo>
                    <a:pt x="391" y="441"/>
                  </a:lnTo>
                  <a:close/>
                  <a:moveTo>
                    <a:pt x="117" y="403"/>
                  </a:moveTo>
                  <a:cubicBezTo>
                    <a:pt x="107" y="388"/>
                    <a:pt x="107" y="388"/>
                    <a:pt x="107" y="388"/>
                  </a:cubicBezTo>
                  <a:cubicBezTo>
                    <a:pt x="103" y="405"/>
                    <a:pt x="103" y="405"/>
                    <a:pt x="103" y="405"/>
                  </a:cubicBezTo>
                  <a:cubicBezTo>
                    <a:pt x="103" y="405"/>
                    <a:pt x="84" y="421"/>
                    <a:pt x="91" y="436"/>
                  </a:cubicBezTo>
                  <a:cubicBezTo>
                    <a:pt x="98" y="450"/>
                    <a:pt x="115" y="450"/>
                    <a:pt x="105" y="457"/>
                  </a:cubicBezTo>
                  <a:cubicBezTo>
                    <a:pt x="95" y="463"/>
                    <a:pt x="79" y="472"/>
                    <a:pt x="79" y="472"/>
                  </a:cubicBezTo>
                  <a:cubicBezTo>
                    <a:pt x="72" y="490"/>
                    <a:pt x="72" y="490"/>
                    <a:pt x="72" y="490"/>
                  </a:cubicBezTo>
                  <a:cubicBezTo>
                    <a:pt x="57" y="499"/>
                    <a:pt x="57" y="499"/>
                    <a:pt x="57" y="499"/>
                  </a:cubicBezTo>
                  <a:cubicBezTo>
                    <a:pt x="57" y="499"/>
                    <a:pt x="62" y="508"/>
                    <a:pt x="55" y="514"/>
                  </a:cubicBezTo>
                  <a:cubicBezTo>
                    <a:pt x="48" y="521"/>
                    <a:pt x="23" y="532"/>
                    <a:pt x="23" y="532"/>
                  </a:cubicBezTo>
                  <a:cubicBezTo>
                    <a:pt x="23" y="532"/>
                    <a:pt x="0" y="568"/>
                    <a:pt x="11" y="576"/>
                  </a:cubicBezTo>
                  <a:cubicBezTo>
                    <a:pt x="31" y="557"/>
                    <a:pt x="31" y="557"/>
                    <a:pt x="31" y="557"/>
                  </a:cubicBezTo>
                  <a:cubicBezTo>
                    <a:pt x="31" y="557"/>
                    <a:pt x="28" y="542"/>
                    <a:pt x="36" y="542"/>
                  </a:cubicBezTo>
                  <a:cubicBezTo>
                    <a:pt x="45" y="542"/>
                    <a:pt x="55" y="539"/>
                    <a:pt x="62" y="534"/>
                  </a:cubicBezTo>
                  <a:cubicBezTo>
                    <a:pt x="69" y="529"/>
                    <a:pt x="62" y="513"/>
                    <a:pt x="71" y="503"/>
                  </a:cubicBezTo>
                  <a:cubicBezTo>
                    <a:pt x="79" y="493"/>
                    <a:pt x="127" y="478"/>
                    <a:pt x="127" y="467"/>
                  </a:cubicBezTo>
                  <a:cubicBezTo>
                    <a:pt x="127" y="455"/>
                    <a:pt x="117" y="444"/>
                    <a:pt x="115" y="434"/>
                  </a:cubicBezTo>
                  <a:cubicBezTo>
                    <a:pt x="114" y="424"/>
                    <a:pt x="117" y="403"/>
                    <a:pt x="117" y="403"/>
                  </a:cubicBezTo>
                  <a:close/>
                  <a:moveTo>
                    <a:pt x="232" y="684"/>
                  </a:moveTo>
                  <a:cubicBezTo>
                    <a:pt x="257" y="706"/>
                    <a:pt x="257" y="706"/>
                    <a:pt x="257" y="706"/>
                  </a:cubicBezTo>
                  <a:cubicBezTo>
                    <a:pt x="259" y="679"/>
                    <a:pt x="259" y="679"/>
                    <a:pt x="259" y="679"/>
                  </a:cubicBezTo>
                  <a:cubicBezTo>
                    <a:pt x="244" y="668"/>
                    <a:pt x="244" y="668"/>
                    <a:pt x="244" y="668"/>
                  </a:cubicBezTo>
                  <a:lnTo>
                    <a:pt x="232" y="684"/>
                  </a:lnTo>
                  <a:close/>
                  <a:moveTo>
                    <a:pt x="451" y="560"/>
                  </a:moveTo>
                  <a:cubicBezTo>
                    <a:pt x="451" y="560"/>
                    <a:pt x="451" y="529"/>
                    <a:pt x="441" y="524"/>
                  </a:cubicBezTo>
                  <a:cubicBezTo>
                    <a:pt x="430" y="519"/>
                    <a:pt x="405" y="483"/>
                    <a:pt x="396" y="491"/>
                  </a:cubicBezTo>
                  <a:cubicBezTo>
                    <a:pt x="388" y="499"/>
                    <a:pt x="420" y="522"/>
                    <a:pt x="413" y="526"/>
                  </a:cubicBezTo>
                  <a:cubicBezTo>
                    <a:pt x="406" y="529"/>
                    <a:pt x="376" y="532"/>
                    <a:pt x="376" y="532"/>
                  </a:cubicBezTo>
                  <a:cubicBezTo>
                    <a:pt x="376" y="553"/>
                    <a:pt x="376" y="553"/>
                    <a:pt x="376" y="553"/>
                  </a:cubicBezTo>
                  <a:cubicBezTo>
                    <a:pt x="362" y="552"/>
                    <a:pt x="362" y="552"/>
                    <a:pt x="362" y="552"/>
                  </a:cubicBezTo>
                  <a:cubicBezTo>
                    <a:pt x="358" y="567"/>
                    <a:pt x="358" y="567"/>
                    <a:pt x="358" y="567"/>
                  </a:cubicBezTo>
                  <a:cubicBezTo>
                    <a:pt x="341" y="576"/>
                    <a:pt x="341" y="576"/>
                    <a:pt x="341" y="576"/>
                  </a:cubicBezTo>
                  <a:cubicBezTo>
                    <a:pt x="341" y="576"/>
                    <a:pt x="316" y="560"/>
                    <a:pt x="307" y="568"/>
                  </a:cubicBezTo>
                  <a:cubicBezTo>
                    <a:pt x="299" y="576"/>
                    <a:pt x="283" y="604"/>
                    <a:pt x="283" y="604"/>
                  </a:cubicBezTo>
                  <a:cubicBezTo>
                    <a:pt x="283" y="604"/>
                    <a:pt x="273" y="585"/>
                    <a:pt x="268" y="594"/>
                  </a:cubicBezTo>
                  <a:cubicBezTo>
                    <a:pt x="263" y="604"/>
                    <a:pt x="251" y="627"/>
                    <a:pt x="251" y="627"/>
                  </a:cubicBezTo>
                  <a:cubicBezTo>
                    <a:pt x="264" y="640"/>
                    <a:pt x="264" y="640"/>
                    <a:pt x="264" y="640"/>
                  </a:cubicBezTo>
                  <a:cubicBezTo>
                    <a:pt x="278" y="627"/>
                    <a:pt x="278" y="627"/>
                    <a:pt x="278" y="627"/>
                  </a:cubicBezTo>
                  <a:cubicBezTo>
                    <a:pt x="287" y="643"/>
                    <a:pt x="287" y="643"/>
                    <a:pt x="287" y="643"/>
                  </a:cubicBezTo>
                  <a:cubicBezTo>
                    <a:pt x="287" y="643"/>
                    <a:pt x="314" y="621"/>
                    <a:pt x="321" y="621"/>
                  </a:cubicBezTo>
                  <a:cubicBezTo>
                    <a:pt x="328" y="621"/>
                    <a:pt x="350" y="642"/>
                    <a:pt x="350" y="642"/>
                  </a:cubicBezTo>
                  <a:cubicBezTo>
                    <a:pt x="350" y="642"/>
                    <a:pt x="340" y="648"/>
                    <a:pt x="340" y="657"/>
                  </a:cubicBezTo>
                  <a:cubicBezTo>
                    <a:pt x="340" y="665"/>
                    <a:pt x="358" y="701"/>
                    <a:pt x="367" y="704"/>
                  </a:cubicBezTo>
                  <a:cubicBezTo>
                    <a:pt x="376" y="707"/>
                    <a:pt x="400" y="714"/>
                    <a:pt x="400" y="714"/>
                  </a:cubicBezTo>
                  <a:cubicBezTo>
                    <a:pt x="413" y="701"/>
                    <a:pt x="413" y="701"/>
                    <a:pt x="413" y="701"/>
                  </a:cubicBezTo>
                  <a:cubicBezTo>
                    <a:pt x="415" y="717"/>
                    <a:pt x="415" y="717"/>
                    <a:pt x="415" y="717"/>
                  </a:cubicBezTo>
                  <a:cubicBezTo>
                    <a:pt x="429" y="719"/>
                    <a:pt x="429" y="719"/>
                    <a:pt x="429" y="719"/>
                  </a:cubicBezTo>
                  <a:cubicBezTo>
                    <a:pt x="430" y="693"/>
                    <a:pt x="430" y="693"/>
                    <a:pt x="430" y="693"/>
                  </a:cubicBezTo>
                  <a:cubicBezTo>
                    <a:pt x="430" y="693"/>
                    <a:pt x="410" y="671"/>
                    <a:pt x="415" y="658"/>
                  </a:cubicBezTo>
                  <a:cubicBezTo>
                    <a:pt x="420" y="645"/>
                    <a:pt x="427" y="642"/>
                    <a:pt x="427" y="642"/>
                  </a:cubicBezTo>
                  <a:cubicBezTo>
                    <a:pt x="444" y="676"/>
                    <a:pt x="444" y="676"/>
                    <a:pt x="444" y="676"/>
                  </a:cubicBezTo>
                  <a:cubicBezTo>
                    <a:pt x="444" y="676"/>
                    <a:pt x="463" y="650"/>
                    <a:pt x="463" y="634"/>
                  </a:cubicBezTo>
                  <a:cubicBezTo>
                    <a:pt x="463" y="617"/>
                    <a:pt x="451" y="599"/>
                    <a:pt x="451" y="599"/>
                  </a:cubicBezTo>
                  <a:lnTo>
                    <a:pt x="451" y="560"/>
                  </a:lnTo>
                  <a:close/>
                  <a:moveTo>
                    <a:pt x="230" y="258"/>
                  </a:moveTo>
                  <a:cubicBezTo>
                    <a:pt x="248" y="256"/>
                    <a:pt x="255" y="265"/>
                    <a:pt x="259" y="279"/>
                  </a:cubicBezTo>
                  <a:cubicBezTo>
                    <a:pt x="262" y="291"/>
                    <a:pt x="272" y="303"/>
                    <a:pt x="286" y="309"/>
                  </a:cubicBezTo>
                  <a:cubicBezTo>
                    <a:pt x="311" y="322"/>
                    <a:pt x="313" y="261"/>
                    <a:pt x="282" y="264"/>
                  </a:cubicBezTo>
                  <a:cubicBezTo>
                    <a:pt x="281" y="258"/>
                    <a:pt x="286" y="256"/>
                    <a:pt x="288" y="251"/>
                  </a:cubicBezTo>
                  <a:cubicBezTo>
                    <a:pt x="276" y="250"/>
                    <a:pt x="272" y="236"/>
                    <a:pt x="259" y="240"/>
                  </a:cubicBezTo>
                  <a:cubicBezTo>
                    <a:pt x="251" y="257"/>
                    <a:pt x="236" y="236"/>
                    <a:pt x="224" y="236"/>
                  </a:cubicBezTo>
                  <a:cubicBezTo>
                    <a:pt x="208" y="235"/>
                    <a:pt x="201" y="259"/>
                    <a:pt x="188" y="239"/>
                  </a:cubicBezTo>
                  <a:cubicBezTo>
                    <a:pt x="181" y="228"/>
                    <a:pt x="184" y="213"/>
                    <a:pt x="184" y="201"/>
                  </a:cubicBezTo>
                  <a:cubicBezTo>
                    <a:pt x="184" y="189"/>
                    <a:pt x="180" y="170"/>
                    <a:pt x="185" y="159"/>
                  </a:cubicBezTo>
                  <a:cubicBezTo>
                    <a:pt x="192" y="143"/>
                    <a:pt x="203" y="148"/>
                    <a:pt x="202" y="128"/>
                  </a:cubicBezTo>
                  <a:cubicBezTo>
                    <a:pt x="202" y="114"/>
                    <a:pt x="191" y="105"/>
                    <a:pt x="193" y="93"/>
                  </a:cubicBezTo>
                  <a:cubicBezTo>
                    <a:pt x="194" y="80"/>
                    <a:pt x="202" y="64"/>
                    <a:pt x="198" y="50"/>
                  </a:cubicBezTo>
                  <a:cubicBezTo>
                    <a:pt x="195" y="44"/>
                    <a:pt x="188" y="41"/>
                    <a:pt x="185" y="35"/>
                  </a:cubicBezTo>
                  <a:cubicBezTo>
                    <a:pt x="182" y="29"/>
                    <a:pt x="185" y="22"/>
                    <a:pt x="184" y="16"/>
                  </a:cubicBezTo>
                  <a:cubicBezTo>
                    <a:pt x="183" y="11"/>
                    <a:pt x="181" y="0"/>
                    <a:pt x="172" y="0"/>
                  </a:cubicBezTo>
                  <a:cubicBezTo>
                    <a:pt x="167" y="1"/>
                    <a:pt x="165" y="9"/>
                    <a:pt x="162" y="12"/>
                  </a:cubicBezTo>
                  <a:cubicBezTo>
                    <a:pt x="145" y="26"/>
                    <a:pt x="142" y="9"/>
                    <a:pt x="126" y="10"/>
                  </a:cubicBezTo>
                  <a:cubicBezTo>
                    <a:pt x="117" y="13"/>
                    <a:pt x="117" y="13"/>
                    <a:pt x="117" y="13"/>
                  </a:cubicBezTo>
                  <a:cubicBezTo>
                    <a:pt x="114" y="20"/>
                    <a:pt x="117" y="27"/>
                    <a:pt x="115" y="34"/>
                  </a:cubicBezTo>
                  <a:cubicBezTo>
                    <a:pt x="113" y="41"/>
                    <a:pt x="104" y="47"/>
                    <a:pt x="100" y="53"/>
                  </a:cubicBezTo>
                  <a:cubicBezTo>
                    <a:pt x="92" y="65"/>
                    <a:pt x="94" y="57"/>
                    <a:pt x="101" y="69"/>
                  </a:cubicBezTo>
                  <a:cubicBezTo>
                    <a:pt x="104" y="74"/>
                    <a:pt x="108" y="83"/>
                    <a:pt x="110" y="89"/>
                  </a:cubicBezTo>
                  <a:cubicBezTo>
                    <a:pt x="112" y="95"/>
                    <a:pt x="113" y="102"/>
                    <a:pt x="112" y="109"/>
                  </a:cubicBezTo>
                  <a:cubicBezTo>
                    <a:pt x="111" y="116"/>
                    <a:pt x="103" y="122"/>
                    <a:pt x="103" y="127"/>
                  </a:cubicBezTo>
                  <a:cubicBezTo>
                    <a:pt x="103" y="135"/>
                    <a:pt x="114" y="137"/>
                    <a:pt x="110" y="145"/>
                  </a:cubicBezTo>
                  <a:cubicBezTo>
                    <a:pt x="108" y="150"/>
                    <a:pt x="96" y="153"/>
                    <a:pt x="92" y="152"/>
                  </a:cubicBezTo>
                  <a:cubicBezTo>
                    <a:pt x="92" y="146"/>
                    <a:pt x="90" y="140"/>
                    <a:pt x="85" y="138"/>
                  </a:cubicBezTo>
                  <a:cubicBezTo>
                    <a:pt x="84" y="161"/>
                    <a:pt x="87" y="175"/>
                    <a:pt x="103" y="194"/>
                  </a:cubicBezTo>
                  <a:cubicBezTo>
                    <a:pt x="115" y="207"/>
                    <a:pt x="127" y="217"/>
                    <a:pt x="135" y="233"/>
                  </a:cubicBezTo>
                  <a:cubicBezTo>
                    <a:pt x="140" y="245"/>
                    <a:pt x="156" y="275"/>
                    <a:pt x="171" y="274"/>
                  </a:cubicBezTo>
                  <a:cubicBezTo>
                    <a:pt x="181" y="273"/>
                    <a:pt x="185" y="260"/>
                    <a:pt x="196" y="259"/>
                  </a:cubicBezTo>
                  <a:cubicBezTo>
                    <a:pt x="207" y="258"/>
                    <a:pt x="212" y="268"/>
                    <a:pt x="219" y="274"/>
                  </a:cubicBezTo>
                  <a:cubicBezTo>
                    <a:pt x="241" y="293"/>
                    <a:pt x="240" y="275"/>
                    <a:pt x="230" y="258"/>
                  </a:cubicBezTo>
                  <a:close/>
                  <a:moveTo>
                    <a:pt x="182" y="288"/>
                  </a:moveTo>
                  <a:cubicBezTo>
                    <a:pt x="175" y="282"/>
                    <a:pt x="146" y="285"/>
                    <a:pt x="146" y="285"/>
                  </a:cubicBezTo>
                  <a:cubicBezTo>
                    <a:pt x="167" y="313"/>
                    <a:pt x="167" y="313"/>
                    <a:pt x="167" y="313"/>
                  </a:cubicBezTo>
                  <a:cubicBezTo>
                    <a:pt x="180" y="357"/>
                    <a:pt x="180" y="357"/>
                    <a:pt x="180" y="357"/>
                  </a:cubicBezTo>
                  <a:cubicBezTo>
                    <a:pt x="180" y="357"/>
                    <a:pt x="192" y="347"/>
                    <a:pt x="197" y="339"/>
                  </a:cubicBezTo>
                  <a:cubicBezTo>
                    <a:pt x="203" y="331"/>
                    <a:pt x="191" y="315"/>
                    <a:pt x="191" y="315"/>
                  </a:cubicBezTo>
                  <a:cubicBezTo>
                    <a:pt x="191" y="315"/>
                    <a:pt x="189" y="295"/>
                    <a:pt x="182" y="288"/>
                  </a:cubicBezTo>
                  <a:close/>
                  <a:moveTo>
                    <a:pt x="232" y="434"/>
                  </a:moveTo>
                  <a:cubicBezTo>
                    <a:pt x="237" y="444"/>
                    <a:pt x="245" y="454"/>
                    <a:pt x="245" y="454"/>
                  </a:cubicBezTo>
                  <a:cubicBezTo>
                    <a:pt x="245" y="454"/>
                    <a:pt x="261" y="437"/>
                    <a:pt x="266" y="441"/>
                  </a:cubicBezTo>
                  <a:cubicBezTo>
                    <a:pt x="271" y="444"/>
                    <a:pt x="271" y="463"/>
                    <a:pt x="271" y="463"/>
                  </a:cubicBezTo>
                  <a:cubicBezTo>
                    <a:pt x="280" y="472"/>
                    <a:pt x="280" y="472"/>
                    <a:pt x="280" y="472"/>
                  </a:cubicBezTo>
                  <a:cubicBezTo>
                    <a:pt x="280" y="472"/>
                    <a:pt x="257" y="506"/>
                    <a:pt x="257" y="513"/>
                  </a:cubicBezTo>
                  <a:cubicBezTo>
                    <a:pt x="257" y="519"/>
                    <a:pt x="257" y="539"/>
                    <a:pt x="273" y="535"/>
                  </a:cubicBezTo>
                  <a:cubicBezTo>
                    <a:pt x="288" y="532"/>
                    <a:pt x="311" y="527"/>
                    <a:pt x="302" y="513"/>
                  </a:cubicBezTo>
                  <a:cubicBezTo>
                    <a:pt x="293" y="498"/>
                    <a:pt x="292" y="486"/>
                    <a:pt x="300" y="463"/>
                  </a:cubicBezTo>
                  <a:cubicBezTo>
                    <a:pt x="309" y="441"/>
                    <a:pt x="302" y="424"/>
                    <a:pt x="295" y="431"/>
                  </a:cubicBezTo>
                  <a:cubicBezTo>
                    <a:pt x="288" y="437"/>
                    <a:pt x="275" y="445"/>
                    <a:pt x="275" y="437"/>
                  </a:cubicBezTo>
                  <a:cubicBezTo>
                    <a:pt x="275" y="429"/>
                    <a:pt x="295" y="398"/>
                    <a:pt x="283" y="395"/>
                  </a:cubicBezTo>
                  <a:cubicBezTo>
                    <a:pt x="271" y="391"/>
                    <a:pt x="249" y="378"/>
                    <a:pt x="249" y="378"/>
                  </a:cubicBezTo>
                  <a:cubicBezTo>
                    <a:pt x="249" y="378"/>
                    <a:pt x="228" y="373"/>
                    <a:pt x="227" y="380"/>
                  </a:cubicBezTo>
                  <a:cubicBezTo>
                    <a:pt x="225" y="387"/>
                    <a:pt x="239" y="398"/>
                    <a:pt x="239" y="398"/>
                  </a:cubicBezTo>
                  <a:cubicBezTo>
                    <a:pt x="239" y="398"/>
                    <a:pt x="227" y="424"/>
                    <a:pt x="232" y="43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209">
              <a:extLst>
                <a:ext uri="{FF2B5EF4-FFF2-40B4-BE49-F238E27FC236}">
                  <a16:creationId xmlns:a16="http://schemas.microsoft.com/office/drawing/2014/main" id="{9BF4443C-BC0C-7579-55A2-941021BD6F93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0" y="-13199"/>
              <a:ext cx="201" cy="427"/>
            </a:xfrm>
            <a:custGeom>
              <a:avLst/>
              <a:gdLst>
                <a:gd name="T0" fmla="*/ 62 w 85"/>
                <a:gd name="T1" fmla="*/ 181 h 181"/>
                <a:gd name="T2" fmla="*/ 62 w 85"/>
                <a:gd name="T3" fmla="*/ 148 h 181"/>
                <a:gd name="T4" fmla="*/ 75 w 85"/>
                <a:gd name="T5" fmla="*/ 118 h 181"/>
                <a:gd name="T6" fmla="*/ 75 w 85"/>
                <a:gd name="T7" fmla="*/ 68 h 181"/>
                <a:gd name="T8" fmla="*/ 84 w 85"/>
                <a:gd name="T9" fmla="*/ 43 h 181"/>
                <a:gd name="T10" fmla="*/ 85 w 85"/>
                <a:gd name="T11" fmla="*/ 17 h 181"/>
                <a:gd name="T12" fmla="*/ 56 w 85"/>
                <a:gd name="T13" fmla="*/ 0 h 181"/>
                <a:gd name="T14" fmla="*/ 39 w 85"/>
                <a:gd name="T15" fmla="*/ 20 h 181"/>
                <a:gd name="T16" fmla="*/ 8 w 85"/>
                <a:gd name="T17" fmla="*/ 114 h 181"/>
                <a:gd name="T18" fmla="*/ 34 w 85"/>
                <a:gd name="T19" fmla="*/ 147 h 181"/>
                <a:gd name="T20" fmla="*/ 62 w 85"/>
                <a:gd name="T21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181">
                  <a:moveTo>
                    <a:pt x="62" y="181"/>
                  </a:moveTo>
                  <a:cubicBezTo>
                    <a:pt x="62" y="148"/>
                    <a:pt x="62" y="148"/>
                    <a:pt x="62" y="148"/>
                  </a:cubicBezTo>
                  <a:cubicBezTo>
                    <a:pt x="62" y="148"/>
                    <a:pt x="75" y="139"/>
                    <a:pt x="75" y="118"/>
                  </a:cubicBezTo>
                  <a:cubicBezTo>
                    <a:pt x="75" y="97"/>
                    <a:pt x="75" y="68"/>
                    <a:pt x="75" y="68"/>
                  </a:cubicBezTo>
                  <a:cubicBezTo>
                    <a:pt x="75" y="68"/>
                    <a:pt x="85" y="55"/>
                    <a:pt x="84" y="43"/>
                  </a:cubicBezTo>
                  <a:cubicBezTo>
                    <a:pt x="83" y="31"/>
                    <a:pt x="85" y="17"/>
                    <a:pt x="85" y="17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0" y="102"/>
                    <a:pt x="8" y="114"/>
                  </a:cubicBezTo>
                  <a:cubicBezTo>
                    <a:pt x="16" y="126"/>
                    <a:pt x="34" y="147"/>
                    <a:pt x="34" y="147"/>
                  </a:cubicBezTo>
                  <a:cubicBezTo>
                    <a:pt x="34" y="147"/>
                    <a:pt x="47" y="181"/>
                    <a:pt x="62" y="18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210">
              <a:extLst>
                <a:ext uri="{FF2B5EF4-FFF2-40B4-BE49-F238E27FC236}">
                  <a16:creationId xmlns:a16="http://schemas.microsoft.com/office/drawing/2014/main" id="{DBA576C6-8902-5F87-31AA-69E9EF016BE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064" y="-9139"/>
              <a:ext cx="584" cy="555"/>
            </a:xfrm>
            <a:custGeom>
              <a:avLst/>
              <a:gdLst>
                <a:gd name="T0" fmla="*/ 21 w 247"/>
                <a:gd name="T1" fmla="*/ 14 h 235"/>
                <a:gd name="T2" fmla="*/ 9 w 247"/>
                <a:gd name="T3" fmla="*/ 0 h 235"/>
                <a:gd name="T4" fmla="*/ 2 w 247"/>
                <a:gd name="T5" fmla="*/ 16 h 235"/>
                <a:gd name="T6" fmla="*/ 15 w 247"/>
                <a:gd name="T7" fmla="*/ 32 h 235"/>
                <a:gd name="T8" fmla="*/ 21 w 247"/>
                <a:gd name="T9" fmla="*/ 14 h 235"/>
                <a:gd name="T10" fmla="*/ 0 w 247"/>
                <a:gd name="T11" fmla="*/ 84 h 235"/>
                <a:gd name="T12" fmla="*/ 13 w 247"/>
                <a:gd name="T13" fmla="*/ 89 h 235"/>
                <a:gd name="T14" fmla="*/ 22 w 247"/>
                <a:gd name="T15" fmla="*/ 67 h 235"/>
                <a:gd name="T16" fmla="*/ 0 w 247"/>
                <a:gd name="T17" fmla="*/ 70 h 235"/>
                <a:gd name="T18" fmla="*/ 0 w 247"/>
                <a:gd name="T19" fmla="*/ 84 h 235"/>
                <a:gd name="T20" fmla="*/ 51 w 247"/>
                <a:gd name="T21" fmla="*/ 81 h 235"/>
                <a:gd name="T22" fmla="*/ 25 w 247"/>
                <a:gd name="T23" fmla="*/ 81 h 235"/>
                <a:gd name="T24" fmla="*/ 26 w 247"/>
                <a:gd name="T25" fmla="*/ 97 h 235"/>
                <a:gd name="T26" fmla="*/ 53 w 247"/>
                <a:gd name="T27" fmla="*/ 91 h 235"/>
                <a:gd name="T28" fmla="*/ 51 w 247"/>
                <a:gd name="T29" fmla="*/ 81 h 235"/>
                <a:gd name="T30" fmla="*/ 39 w 247"/>
                <a:gd name="T31" fmla="*/ 126 h 235"/>
                <a:gd name="T32" fmla="*/ 64 w 247"/>
                <a:gd name="T33" fmla="*/ 123 h 235"/>
                <a:gd name="T34" fmla="*/ 32 w 247"/>
                <a:gd name="T35" fmla="*/ 103 h 235"/>
                <a:gd name="T36" fmla="*/ 39 w 247"/>
                <a:gd name="T37" fmla="*/ 126 h 235"/>
                <a:gd name="T38" fmla="*/ 163 w 247"/>
                <a:gd name="T39" fmla="*/ 149 h 235"/>
                <a:gd name="T40" fmla="*/ 128 w 247"/>
                <a:gd name="T41" fmla="*/ 142 h 235"/>
                <a:gd name="T42" fmla="*/ 142 w 247"/>
                <a:gd name="T43" fmla="*/ 169 h 235"/>
                <a:gd name="T44" fmla="*/ 183 w 247"/>
                <a:gd name="T45" fmla="*/ 172 h 235"/>
                <a:gd name="T46" fmla="*/ 163 w 247"/>
                <a:gd name="T47" fmla="*/ 149 h 235"/>
                <a:gd name="T48" fmla="*/ 205 w 247"/>
                <a:gd name="T49" fmla="*/ 193 h 235"/>
                <a:gd name="T50" fmla="*/ 238 w 247"/>
                <a:gd name="T51" fmla="*/ 235 h 235"/>
                <a:gd name="T52" fmla="*/ 247 w 247"/>
                <a:gd name="T53" fmla="*/ 215 h 235"/>
                <a:gd name="T54" fmla="*/ 205 w 247"/>
                <a:gd name="T55" fmla="*/ 193 h 235"/>
                <a:gd name="T56" fmla="*/ 189 w 247"/>
                <a:gd name="T57" fmla="*/ 84 h 235"/>
                <a:gd name="T58" fmla="*/ 184 w 247"/>
                <a:gd name="T59" fmla="*/ 130 h 235"/>
                <a:gd name="T60" fmla="*/ 218 w 247"/>
                <a:gd name="T61" fmla="*/ 160 h 235"/>
                <a:gd name="T62" fmla="*/ 189 w 247"/>
                <a:gd name="T63" fmla="*/ 84 h 235"/>
                <a:gd name="T64" fmla="*/ 81 w 247"/>
                <a:gd name="T65" fmla="*/ 41 h 235"/>
                <a:gd name="T66" fmla="*/ 138 w 247"/>
                <a:gd name="T67" fmla="*/ 102 h 235"/>
                <a:gd name="T68" fmla="*/ 81 w 247"/>
                <a:gd name="T69" fmla="*/ 4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7" h="235">
                  <a:moveTo>
                    <a:pt x="21" y="14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5" y="32"/>
                    <a:pt x="15" y="32"/>
                    <a:pt x="15" y="32"/>
                  </a:cubicBezTo>
                  <a:lnTo>
                    <a:pt x="21" y="14"/>
                  </a:lnTo>
                  <a:close/>
                  <a:moveTo>
                    <a:pt x="0" y="84"/>
                  </a:moveTo>
                  <a:cubicBezTo>
                    <a:pt x="13" y="89"/>
                    <a:pt x="13" y="89"/>
                    <a:pt x="13" y="89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0" y="70"/>
                    <a:pt x="0" y="70"/>
                    <a:pt x="0" y="70"/>
                  </a:cubicBezTo>
                  <a:lnTo>
                    <a:pt x="0" y="84"/>
                  </a:lnTo>
                  <a:close/>
                  <a:moveTo>
                    <a:pt x="51" y="81"/>
                  </a:moveTo>
                  <a:cubicBezTo>
                    <a:pt x="25" y="81"/>
                    <a:pt x="25" y="81"/>
                    <a:pt x="25" y="81"/>
                  </a:cubicBezTo>
                  <a:cubicBezTo>
                    <a:pt x="26" y="97"/>
                    <a:pt x="26" y="97"/>
                    <a:pt x="26" y="97"/>
                  </a:cubicBezTo>
                  <a:cubicBezTo>
                    <a:pt x="53" y="91"/>
                    <a:pt x="53" y="91"/>
                    <a:pt x="53" y="91"/>
                  </a:cubicBezTo>
                  <a:lnTo>
                    <a:pt x="51" y="81"/>
                  </a:lnTo>
                  <a:close/>
                  <a:moveTo>
                    <a:pt x="39" y="126"/>
                  </a:moveTo>
                  <a:cubicBezTo>
                    <a:pt x="64" y="123"/>
                    <a:pt x="64" y="123"/>
                    <a:pt x="64" y="123"/>
                  </a:cubicBezTo>
                  <a:cubicBezTo>
                    <a:pt x="32" y="103"/>
                    <a:pt x="32" y="103"/>
                    <a:pt x="32" y="103"/>
                  </a:cubicBezTo>
                  <a:lnTo>
                    <a:pt x="39" y="126"/>
                  </a:lnTo>
                  <a:close/>
                  <a:moveTo>
                    <a:pt x="163" y="149"/>
                  </a:moveTo>
                  <a:cubicBezTo>
                    <a:pt x="145" y="139"/>
                    <a:pt x="128" y="142"/>
                    <a:pt x="128" y="142"/>
                  </a:cubicBezTo>
                  <a:cubicBezTo>
                    <a:pt x="128" y="142"/>
                    <a:pt x="124" y="161"/>
                    <a:pt x="142" y="169"/>
                  </a:cubicBezTo>
                  <a:cubicBezTo>
                    <a:pt x="168" y="180"/>
                    <a:pt x="183" y="172"/>
                    <a:pt x="183" y="172"/>
                  </a:cubicBezTo>
                  <a:cubicBezTo>
                    <a:pt x="183" y="172"/>
                    <a:pt x="182" y="160"/>
                    <a:pt x="163" y="149"/>
                  </a:cubicBezTo>
                  <a:close/>
                  <a:moveTo>
                    <a:pt x="205" y="193"/>
                  </a:moveTo>
                  <a:cubicBezTo>
                    <a:pt x="238" y="235"/>
                    <a:pt x="238" y="235"/>
                    <a:pt x="238" y="235"/>
                  </a:cubicBezTo>
                  <a:cubicBezTo>
                    <a:pt x="247" y="215"/>
                    <a:pt x="247" y="215"/>
                    <a:pt x="247" y="215"/>
                  </a:cubicBezTo>
                  <a:lnTo>
                    <a:pt x="205" y="193"/>
                  </a:lnTo>
                  <a:close/>
                  <a:moveTo>
                    <a:pt x="189" y="84"/>
                  </a:moveTo>
                  <a:cubicBezTo>
                    <a:pt x="189" y="84"/>
                    <a:pt x="178" y="119"/>
                    <a:pt x="184" y="130"/>
                  </a:cubicBezTo>
                  <a:cubicBezTo>
                    <a:pt x="191" y="140"/>
                    <a:pt x="218" y="160"/>
                    <a:pt x="218" y="160"/>
                  </a:cubicBezTo>
                  <a:lnTo>
                    <a:pt x="189" y="84"/>
                  </a:lnTo>
                  <a:close/>
                  <a:moveTo>
                    <a:pt x="81" y="41"/>
                  </a:moveTo>
                  <a:cubicBezTo>
                    <a:pt x="75" y="51"/>
                    <a:pt x="130" y="104"/>
                    <a:pt x="138" y="102"/>
                  </a:cubicBezTo>
                  <a:cubicBezTo>
                    <a:pt x="154" y="100"/>
                    <a:pt x="86" y="30"/>
                    <a:pt x="81" y="4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211">
              <a:extLst>
                <a:ext uri="{FF2B5EF4-FFF2-40B4-BE49-F238E27FC236}">
                  <a16:creationId xmlns:a16="http://schemas.microsoft.com/office/drawing/2014/main" id="{E734F49F-AAC1-1F87-360F-2243E2DD6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9" y="-10840"/>
              <a:ext cx="489" cy="693"/>
            </a:xfrm>
            <a:custGeom>
              <a:avLst/>
              <a:gdLst>
                <a:gd name="T0" fmla="*/ 1 w 207"/>
                <a:gd name="T1" fmla="*/ 30 h 293"/>
                <a:gd name="T2" fmla="*/ 6 w 207"/>
                <a:gd name="T3" fmla="*/ 91 h 293"/>
                <a:gd name="T4" fmla="*/ 38 w 207"/>
                <a:gd name="T5" fmla="*/ 99 h 293"/>
                <a:gd name="T6" fmla="*/ 39 w 207"/>
                <a:gd name="T7" fmla="*/ 153 h 293"/>
                <a:gd name="T8" fmla="*/ 62 w 207"/>
                <a:gd name="T9" fmla="*/ 153 h 293"/>
                <a:gd name="T10" fmla="*/ 65 w 207"/>
                <a:gd name="T11" fmla="*/ 203 h 293"/>
                <a:gd name="T12" fmla="*/ 114 w 207"/>
                <a:gd name="T13" fmla="*/ 236 h 293"/>
                <a:gd name="T14" fmla="*/ 121 w 207"/>
                <a:gd name="T15" fmla="*/ 258 h 293"/>
                <a:gd name="T16" fmla="*/ 153 w 207"/>
                <a:gd name="T17" fmla="*/ 271 h 293"/>
                <a:gd name="T18" fmla="*/ 169 w 207"/>
                <a:gd name="T19" fmla="*/ 293 h 293"/>
                <a:gd name="T20" fmla="*/ 202 w 207"/>
                <a:gd name="T21" fmla="*/ 290 h 293"/>
                <a:gd name="T22" fmla="*/ 205 w 207"/>
                <a:gd name="T23" fmla="*/ 252 h 293"/>
                <a:gd name="T24" fmla="*/ 172 w 207"/>
                <a:gd name="T25" fmla="*/ 210 h 293"/>
                <a:gd name="T26" fmla="*/ 170 w 207"/>
                <a:gd name="T27" fmla="*/ 184 h 293"/>
                <a:gd name="T28" fmla="*/ 168 w 207"/>
                <a:gd name="T29" fmla="*/ 160 h 293"/>
                <a:gd name="T30" fmla="*/ 167 w 207"/>
                <a:gd name="T31" fmla="*/ 87 h 293"/>
                <a:gd name="T32" fmla="*/ 115 w 207"/>
                <a:gd name="T33" fmla="*/ 41 h 293"/>
                <a:gd name="T34" fmla="*/ 103 w 207"/>
                <a:gd name="T35" fmla="*/ 31 h 293"/>
                <a:gd name="T36" fmla="*/ 91 w 207"/>
                <a:gd name="T37" fmla="*/ 55 h 293"/>
                <a:gd name="T38" fmla="*/ 72 w 207"/>
                <a:gd name="T39" fmla="*/ 47 h 293"/>
                <a:gd name="T40" fmla="*/ 49 w 207"/>
                <a:gd name="T41" fmla="*/ 54 h 293"/>
                <a:gd name="T42" fmla="*/ 52 w 207"/>
                <a:gd name="T43" fmla="*/ 32 h 293"/>
                <a:gd name="T44" fmla="*/ 45 w 207"/>
                <a:gd name="T45" fmla="*/ 28 h 293"/>
                <a:gd name="T46" fmla="*/ 39 w 207"/>
                <a:gd name="T47" fmla="*/ 16 h 293"/>
                <a:gd name="T48" fmla="*/ 21 w 207"/>
                <a:gd name="T49" fmla="*/ 12 h 293"/>
                <a:gd name="T50" fmla="*/ 12 w 207"/>
                <a:gd name="T51" fmla="*/ 1 h 293"/>
                <a:gd name="T52" fmla="*/ 7 w 207"/>
                <a:gd name="T53" fmla="*/ 17 h 293"/>
                <a:gd name="T54" fmla="*/ 0 w 207"/>
                <a:gd name="T55" fmla="*/ 29 h 293"/>
                <a:gd name="T56" fmla="*/ 1 w 207"/>
                <a:gd name="T57" fmla="*/ 3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7" h="293">
                  <a:moveTo>
                    <a:pt x="1" y="30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38" y="79"/>
                    <a:pt x="38" y="99"/>
                  </a:cubicBezTo>
                  <a:cubicBezTo>
                    <a:pt x="37" y="119"/>
                    <a:pt x="28" y="141"/>
                    <a:pt x="39" y="153"/>
                  </a:cubicBezTo>
                  <a:cubicBezTo>
                    <a:pt x="50" y="166"/>
                    <a:pt x="62" y="153"/>
                    <a:pt x="62" y="153"/>
                  </a:cubicBezTo>
                  <a:cubicBezTo>
                    <a:pt x="62" y="153"/>
                    <a:pt x="55" y="194"/>
                    <a:pt x="65" y="203"/>
                  </a:cubicBezTo>
                  <a:cubicBezTo>
                    <a:pt x="75" y="212"/>
                    <a:pt x="114" y="236"/>
                    <a:pt x="114" y="236"/>
                  </a:cubicBezTo>
                  <a:cubicBezTo>
                    <a:pt x="114" y="236"/>
                    <a:pt x="116" y="256"/>
                    <a:pt x="121" y="258"/>
                  </a:cubicBezTo>
                  <a:cubicBezTo>
                    <a:pt x="126" y="259"/>
                    <a:pt x="153" y="271"/>
                    <a:pt x="153" y="271"/>
                  </a:cubicBezTo>
                  <a:cubicBezTo>
                    <a:pt x="169" y="293"/>
                    <a:pt x="169" y="293"/>
                    <a:pt x="169" y="293"/>
                  </a:cubicBezTo>
                  <a:cubicBezTo>
                    <a:pt x="202" y="290"/>
                    <a:pt x="202" y="290"/>
                    <a:pt x="202" y="290"/>
                  </a:cubicBezTo>
                  <a:cubicBezTo>
                    <a:pt x="202" y="290"/>
                    <a:pt x="207" y="270"/>
                    <a:pt x="205" y="252"/>
                  </a:cubicBezTo>
                  <a:cubicBezTo>
                    <a:pt x="203" y="235"/>
                    <a:pt x="173" y="215"/>
                    <a:pt x="172" y="210"/>
                  </a:cubicBezTo>
                  <a:cubicBezTo>
                    <a:pt x="171" y="205"/>
                    <a:pt x="177" y="193"/>
                    <a:pt x="170" y="184"/>
                  </a:cubicBezTo>
                  <a:cubicBezTo>
                    <a:pt x="162" y="175"/>
                    <a:pt x="168" y="173"/>
                    <a:pt x="168" y="160"/>
                  </a:cubicBezTo>
                  <a:cubicBezTo>
                    <a:pt x="169" y="148"/>
                    <a:pt x="172" y="109"/>
                    <a:pt x="167" y="87"/>
                  </a:cubicBezTo>
                  <a:cubicBezTo>
                    <a:pt x="163" y="65"/>
                    <a:pt x="121" y="50"/>
                    <a:pt x="115" y="41"/>
                  </a:cubicBezTo>
                  <a:cubicBezTo>
                    <a:pt x="113" y="38"/>
                    <a:pt x="108" y="34"/>
                    <a:pt x="103" y="31"/>
                  </a:cubicBezTo>
                  <a:cubicBezTo>
                    <a:pt x="100" y="39"/>
                    <a:pt x="95" y="50"/>
                    <a:pt x="91" y="55"/>
                  </a:cubicBezTo>
                  <a:cubicBezTo>
                    <a:pt x="85" y="63"/>
                    <a:pt x="83" y="46"/>
                    <a:pt x="72" y="47"/>
                  </a:cubicBezTo>
                  <a:cubicBezTo>
                    <a:pt x="61" y="48"/>
                    <a:pt x="62" y="58"/>
                    <a:pt x="49" y="54"/>
                  </a:cubicBezTo>
                  <a:cubicBezTo>
                    <a:pt x="36" y="50"/>
                    <a:pt x="52" y="38"/>
                    <a:pt x="52" y="32"/>
                  </a:cubicBezTo>
                  <a:cubicBezTo>
                    <a:pt x="52" y="26"/>
                    <a:pt x="45" y="28"/>
                    <a:pt x="45" y="28"/>
                  </a:cubicBezTo>
                  <a:cubicBezTo>
                    <a:pt x="45" y="28"/>
                    <a:pt x="46" y="20"/>
                    <a:pt x="39" y="16"/>
                  </a:cubicBezTo>
                  <a:cubicBezTo>
                    <a:pt x="32" y="12"/>
                    <a:pt x="21" y="12"/>
                    <a:pt x="21" y="12"/>
                  </a:cubicBezTo>
                  <a:cubicBezTo>
                    <a:pt x="21" y="12"/>
                    <a:pt x="19" y="0"/>
                    <a:pt x="12" y="1"/>
                  </a:cubicBezTo>
                  <a:cubicBezTo>
                    <a:pt x="5" y="2"/>
                    <a:pt x="6" y="8"/>
                    <a:pt x="7" y="17"/>
                  </a:cubicBezTo>
                  <a:cubicBezTo>
                    <a:pt x="7" y="21"/>
                    <a:pt x="4" y="25"/>
                    <a:pt x="0" y="29"/>
                  </a:cubicBezTo>
                  <a:cubicBezTo>
                    <a:pt x="1" y="29"/>
                    <a:pt x="1" y="30"/>
                    <a:pt x="1" y="3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212">
              <a:extLst>
                <a:ext uri="{FF2B5EF4-FFF2-40B4-BE49-F238E27FC236}">
                  <a16:creationId xmlns:a16="http://schemas.microsoft.com/office/drawing/2014/main" id="{93B99036-DAFE-2D2C-E0DE-78FDA15AA93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1" y="-11832"/>
              <a:ext cx="596" cy="529"/>
            </a:xfrm>
            <a:custGeom>
              <a:avLst/>
              <a:gdLst>
                <a:gd name="T0" fmla="*/ 214 w 252"/>
                <a:gd name="T1" fmla="*/ 0 h 224"/>
                <a:gd name="T2" fmla="*/ 206 w 252"/>
                <a:gd name="T3" fmla="*/ 9 h 224"/>
                <a:gd name="T4" fmla="*/ 184 w 252"/>
                <a:gd name="T5" fmla="*/ 0 h 224"/>
                <a:gd name="T6" fmla="*/ 175 w 252"/>
                <a:gd name="T7" fmla="*/ 8 h 224"/>
                <a:gd name="T8" fmla="*/ 164 w 252"/>
                <a:gd name="T9" fmla="*/ 16 h 224"/>
                <a:gd name="T10" fmla="*/ 168 w 252"/>
                <a:gd name="T11" fmla="*/ 36 h 224"/>
                <a:gd name="T12" fmla="*/ 151 w 252"/>
                <a:gd name="T13" fmla="*/ 24 h 224"/>
                <a:gd name="T14" fmla="*/ 131 w 252"/>
                <a:gd name="T15" fmla="*/ 22 h 224"/>
                <a:gd name="T16" fmla="*/ 128 w 252"/>
                <a:gd name="T17" fmla="*/ 13 h 224"/>
                <a:gd name="T18" fmla="*/ 123 w 252"/>
                <a:gd name="T19" fmla="*/ 16 h 224"/>
                <a:gd name="T20" fmla="*/ 101 w 252"/>
                <a:gd name="T21" fmla="*/ 8 h 224"/>
                <a:gd name="T22" fmla="*/ 74 w 252"/>
                <a:gd name="T23" fmla="*/ 15 h 224"/>
                <a:gd name="T24" fmla="*/ 46 w 252"/>
                <a:gd name="T25" fmla="*/ 10 h 224"/>
                <a:gd name="T26" fmla="*/ 19 w 252"/>
                <a:gd name="T27" fmla="*/ 34 h 224"/>
                <a:gd name="T28" fmla="*/ 0 w 252"/>
                <a:gd name="T29" fmla="*/ 54 h 224"/>
                <a:gd name="T30" fmla="*/ 2 w 252"/>
                <a:gd name="T31" fmla="*/ 79 h 224"/>
                <a:gd name="T32" fmla="*/ 9 w 252"/>
                <a:gd name="T33" fmla="*/ 85 h 224"/>
                <a:gd name="T34" fmla="*/ 9 w 252"/>
                <a:gd name="T35" fmla="*/ 104 h 224"/>
                <a:gd name="T36" fmla="*/ 20 w 252"/>
                <a:gd name="T37" fmla="*/ 114 h 224"/>
                <a:gd name="T38" fmla="*/ 17 w 252"/>
                <a:gd name="T39" fmla="*/ 133 h 224"/>
                <a:gd name="T40" fmla="*/ 26 w 252"/>
                <a:gd name="T41" fmla="*/ 139 h 224"/>
                <a:gd name="T42" fmla="*/ 27 w 252"/>
                <a:gd name="T43" fmla="*/ 168 h 224"/>
                <a:gd name="T44" fmla="*/ 46 w 252"/>
                <a:gd name="T45" fmla="*/ 191 h 224"/>
                <a:gd name="T46" fmla="*/ 59 w 252"/>
                <a:gd name="T47" fmla="*/ 178 h 224"/>
                <a:gd name="T48" fmla="*/ 68 w 252"/>
                <a:gd name="T49" fmla="*/ 204 h 224"/>
                <a:gd name="T50" fmla="*/ 91 w 252"/>
                <a:gd name="T51" fmla="*/ 208 h 224"/>
                <a:gd name="T52" fmla="*/ 97 w 252"/>
                <a:gd name="T53" fmla="*/ 223 h 224"/>
                <a:gd name="T54" fmla="*/ 110 w 252"/>
                <a:gd name="T55" fmla="*/ 224 h 224"/>
                <a:gd name="T56" fmla="*/ 139 w 252"/>
                <a:gd name="T57" fmla="*/ 213 h 224"/>
                <a:gd name="T58" fmla="*/ 135 w 252"/>
                <a:gd name="T59" fmla="*/ 197 h 224"/>
                <a:gd name="T60" fmla="*/ 153 w 252"/>
                <a:gd name="T61" fmla="*/ 197 h 224"/>
                <a:gd name="T62" fmla="*/ 169 w 252"/>
                <a:gd name="T63" fmla="*/ 190 h 224"/>
                <a:gd name="T64" fmla="*/ 193 w 252"/>
                <a:gd name="T65" fmla="*/ 205 h 224"/>
                <a:gd name="T66" fmla="*/ 183 w 252"/>
                <a:gd name="T67" fmla="*/ 186 h 224"/>
                <a:gd name="T68" fmla="*/ 175 w 252"/>
                <a:gd name="T69" fmla="*/ 154 h 224"/>
                <a:gd name="T70" fmla="*/ 204 w 252"/>
                <a:gd name="T71" fmla="*/ 152 h 224"/>
                <a:gd name="T72" fmla="*/ 201 w 252"/>
                <a:gd name="T73" fmla="*/ 138 h 224"/>
                <a:gd name="T74" fmla="*/ 222 w 252"/>
                <a:gd name="T75" fmla="*/ 137 h 224"/>
                <a:gd name="T76" fmla="*/ 228 w 252"/>
                <a:gd name="T77" fmla="*/ 123 h 224"/>
                <a:gd name="T78" fmla="*/ 245 w 252"/>
                <a:gd name="T79" fmla="*/ 125 h 224"/>
                <a:gd name="T80" fmla="*/ 248 w 252"/>
                <a:gd name="T81" fmla="*/ 111 h 224"/>
                <a:gd name="T82" fmla="*/ 237 w 252"/>
                <a:gd name="T83" fmla="*/ 72 h 224"/>
                <a:gd name="T84" fmla="*/ 252 w 252"/>
                <a:gd name="T85" fmla="*/ 56 h 224"/>
                <a:gd name="T86" fmla="*/ 231 w 252"/>
                <a:gd name="T87" fmla="*/ 32 h 224"/>
                <a:gd name="T88" fmla="*/ 231 w 252"/>
                <a:gd name="T89" fmla="*/ 4 h 224"/>
                <a:gd name="T90" fmla="*/ 214 w 252"/>
                <a:gd name="T91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52" h="224">
                  <a:moveTo>
                    <a:pt x="214" y="0"/>
                  </a:moveTo>
                  <a:cubicBezTo>
                    <a:pt x="206" y="9"/>
                    <a:pt x="206" y="9"/>
                    <a:pt x="206" y="9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75" y="8"/>
                    <a:pt x="175" y="8"/>
                    <a:pt x="175" y="8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64" y="16"/>
                    <a:pt x="176" y="28"/>
                    <a:pt x="168" y="36"/>
                  </a:cubicBezTo>
                  <a:cubicBezTo>
                    <a:pt x="160" y="44"/>
                    <a:pt x="151" y="24"/>
                    <a:pt x="151" y="24"/>
                  </a:cubicBezTo>
                  <a:cubicBezTo>
                    <a:pt x="151" y="24"/>
                    <a:pt x="135" y="23"/>
                    <a:pt x="131" y="22"/>
                  </a:cubicBezTo>
                  <a:cubicBezTo>
                    <a:pt x="128" y="21"/>
                    <a:pt x="128" y="16"/>
                    <a:pt x="128" y="13"/>
                  </a:cubicBezTo>
                  <a:cubicBezTo>
                    <a:pt x="125" y="15"/>
                    <a:pt x="123" y="16"/>
                    <a:pt x="123" y="16"/>
                  </a:cubicBezTo>
                  <a:cubicBezTo>
                    <a:pt x="123" y="16"/>
                    <a:pt x="106" y="7"/>
                    <a:pt x="101" y="8"/>
                  </a:cubicBezTo>
                  <a:cubicBezTo>
                    <a:pt x="96" y="9"/>
                    <a:pt x="74" y="15"/>
                    <a:pt x="74" y="15"/>
                  </a:cubicBezTo>
                  <a:cubicBezTo>
                    <a:pt x="74" y="15"/>
                    <a:pt x="73" y="5"/>
                    <a:pt x="46" y="10"/>
                  </a:cubicBezTo>
                  <a:cubicBezTo>
                    <a:pt x="19" y="15"/>
                    <a:pt x="19" y="34"/>
                    <a:pt x="19" y="3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20" y="114"/>
                    <a:pt x="20" y="114"/>
                    <a:pt x="20" y="114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20" y="134"/>
                    <a:pt x="23" y="136"/>
                    <a:pt x="26" y="139"/>
                  </a:cubicBezTo>
                  <a:cubicBezTo>
                    <a:pt x="41" y="156"/>
                    <a:pt x="27" y="168"/>
                    <a:pt x="27" y="168"/>
                  </a:cubicBezTo>
                  <a:cubicBezTo>
                    <a:pt x="27" y="168"/>
                    <a:pt x="36" y="190"/>
                    <a:pt x="46" y="191"/>
                  </a:cubicBezTo>
                  <a:cubicBezTo>
                    <a:pt x="56" y="191"/>
                    <a:pt x="59" y="178"/>
                    <a:pt x="59" y="178"/>
                  </a:cubicBezTo>
                  <a:cubicBezTo>
                    <a:pt x="59" y="178"/>
                    <a:pt x="58" y="202"/>
                    <a:pt x="68" y="204"/>
                  </a:cubicBezTo>
                  <a:cubicBezTo>
                    <a:pt x="79" y="206"/>
                    <a:pt x="89" y="198"/>
                    <a:pt x="91" y="208"/>
                  </a:cubicBezTo>
                  <a:cubicBezTo>
                    <a:pt x="92" y="212"/>
                    <a:pt x="95" y="218"/>
                    <a:pt x="97" y="223"/>
                  </a:cubicBezTo>
                  <a:cubicBezTo>
                    <a:pt x="110" y="224"/>
                    <a:pt x="110" y="224"/>
                    <a:pt x="110" y="224"/>
                  </a:cubicBezTo>
                  <a:cubicBezTo>
                    <a:pt x="112" y="219"/>
                    <a:pt x="124" y="214"/>
                    <a:pt x="139" y="213"/>
                  </a:cubicBezTo>
                  <a:cubicBezTo>
                    <a:pt x="159" y="211"/>
                    <a:pt x="135" y="197"/>
                    <a:pt x="135" y="197"/>
                  </a:cubicBezTo>
                  <a:cubicBezTo>
                    <a:pt x="135" y="197"/>
                    <a:pt x="149" y="197"/>
                    <a:pt x="153" y="197"/>
                  </a:cubicBezTo>
                  <a:cubicBezTo>
                    <a:pt x="157" y="197"/>
                    <a:pt x="159" y="190"/>
                    <a:pt x="169" y="190"/>
                  </a:cubicBezTo>
                  <a:cubicBezTo>
                    <a:pt x="179" y="190"/>
                    <a:pt x="186" y="206"/>
                    <a:pt x="193" y="205"/>
                  </a:cubicBezTo>
                  <a:cubicBezTo>
                    <a:pt x="200" y="204"/>
                    <a:pt x="193" y="194"/>
                    <a:pt x="183" y="186"/>
                  </a:cubicBezTo>
                  <a:cubicBezTo>
                    <a:pt x="173" y="178"/>
                    <a:pt x="173" y="160"/>
                    <a:pt x="175" y="154"/>
                  </a:cubicBezTo>
                  <a:cubicBezTo>
                    <a:pt x="177" y="148"/>
                    <a:pt x="204" y="152"/>
                    <a:pt x="204" y="152"/>
                  </a:cubicBezTo>
                  <a:cubicBezTo>
                    <a:pt x="201" y="138"/>
                    <a:pt x="201" y="138"/>
                    <a:pt x="201" y="138"/>
                  </a:cubicBezTo>
                  <a:cubicBezTo>
                    <a:pt x="222" y="137"/>
                    <a:pt x="222" y="137"/>
                    <a:pt x="222" y="137"/>
                  </a:cubicBezTo>
                  <a:cubicBezTo>
                    <a:pt x="222" y="137"/>
                    <a:pt x="223" y="126"/>
                    <a:pt x="228" y="123"/>
                  </a:cubicBezTo>
                  <a:cubicBezTo>
                    <a:pt x="233" y="120"/>
                    <a:pt x="245" y="125"/>
                    <a:pt x="245" y="125"/>
                  </a:cubicBezTo>
                  <a:cubicBezTo>
                    <a:pt x="248" y="111"/>
                    <a:pt x="248" y="111"/>
                    <a:pt x="248" y="111"/>
                  </a:cubicBezTo>
                  <a:cubicBezTo>
                    <a:pt x="248" y="111"/>
                    <a:pt x="238" y="75"/>
                    <a:pt x="237" y="72"/>
                  </a:cubicBezTo>
                  <a:cubicBezTo>
                    <a:pt x="236" y="69"/>
                    <a:pt x="252" y="69"/>
                    <a:pt x="252" y="56"/>
                  </a:cubicBezTo>
                  <a:cubicBezTo>
                    <a:pt x="252" y="43"/>
                    <a:pt x="231" y="32"/>
                    <a:pt x="231" y="32"/>
                  </a:cubicBezTo>
                  <a:cubicBezTo>
                    <a:pt x="231" y="4"/>
                    <a:pt x="231" y="4"/>
                    <a:pt x="231" y="4"/>
                  </a:cubicBezTo>
                  <a:lnTo>
                    <a:pt x="214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213">
              <a:extLst>
                <a:ext uri="{FF2B5EF4-FFF2-40B4-BE49-F238E27FC236}">
                  <a16:creationId xmlns:a16="http://schemas.microsoft.com/office/drawing/2014/main" id="{9F520994-7D41-06F8-5AAA-1BBDA69E88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26" y="-14872"/>
              <a:ext cx="452" cy="671"/>
            </a:xfrm>
            <a:custGeom>
              <a:avLst/>
              <a:gdLst>
                <a:gd name="T0" fmla="*/ 100 w 191"/>
                <a:gd name="T1" fmla="*/ 267 h 284"/>
                <a:gd name="T2" fmla="*/ 101 w 191"/>
                <a:gd name="T3" fmla="*/ 284 h 284"/>
                <a:gd name="T4" fmla="*/ 100 w 191"/>
                <a:gd name="T5" fmla="*/ 267 h 284"/>
                <a:gd name="T6" fmla="*/ 185 w 191"/>
                <a:gd name="T7" fmla="*/ 165 h 284"/>
                <a:gd name="T8" fmla="*/ 166 w 191"/>
                <a:gd name="T9" fmla="*/ 132 h 284"/>
                <a:gd name="T10" fmla="*/ 162 w 191"/>
                <a:gd name="T11" fmla="*/ 101 h 284"/>
                <a:gd name="T12" fmla="*/ 111 w 191"/>
                <a:gd name="T13" fmla="*/ 50 h 284"/>
                <a:gd name="T14" fmla="*/ 98 w 191"/>
                <a:gd name="T15" fmla="*/ 45 h 284"/>
                <a:gd name="T16" fmla="*/ 82 w 191"/>
                <a:gd name="T17" fmla="*/ 21 h 284"/>
                <a:gd name="T18" fmla="*/ 64 w 191"/>
                <a:gd name="T19" fmla="*/ 0 h 284"/>
                <a:gd name="T20" fmla="*/ 54 w 191"/>
                <a:gd name="T21" fmla="*/ 10 h 284"/>
                <a:gd name="T22" fmla="*/ 16 w 191"/>
                <a:gd name="T23" fmla="*/ 16 h 284"/>
                <a:gd name="T24" fmla="*/ 13 w 191"/>
                <a:gd name="T25" fmla="*/ 29 h 284"/>
                <a:gd name="T26" fmla="*/ 0 w 191"/>
                <a:gd name="T27" fmla="*/ 39 h 284"/>
                <a:gd name="T28" fmla="*/ 8 w 191"/>
                <a:gd name="T29" fmla="*/ 56 h 284"/>
                <a:gd name="T30" fmla="*/ 30 w 191"/>
                <a:gd name="T31" fmla="*/ 64 h 284"/>
                <a:gd name="T32" fmla="*/ 41 w 191"/>
                <a:gd name="T33" fmla="*/ 89 h 284"/>
                <a:gd name="T34" fmla="*/ 6 w 191"/>
                <a:gd name="T35" fmla="*/ 82 h 284"/>
                <a:gd name="T36" fmla="*/ 27 w 191"/>
                <a:gd name="T37" fmla="*/ 102 h 284"/>
                <a:gd name="T38" fmla="*/ 37 w 191"/>
                <a:gd name="T39" fmla="*/ 130 h 284"/>
                <a:gd name="T40" fmla="*/ 60 w 191"/>
                <a:gd name="T41" fmla="*/ 134 h 284"/>
                <a:gd name="T42" fmla="*/ 60 w 191"/>
                <a:gd name="T43" fmla="*/ 153 h 284"/>
                <a:gd name="T44" fmla="*/ 54 w 191"/>
                <a:gd name="T45" fmla="*/ 180 h 284"/>
                <a:gd name="T46" fmla="*/ 74 w 191"/>
                <a:gd name="T47" fmla="*/ 199 h 284"/>
                <a:gd name="T48" fmla="*/ 80 w 191"/>
                <a:gd name="T49" fmla="*/ 222 h 284"/>
                <a:gd name="T50" fmla="*/ 100 w 191"/>
                <a:gd name="T51" fmla="*/ 203 h 284"/>
                <a:gd name="T52" fmla="*/ 133 w 191"/>
                <a:gd name="T53" fmla="*/ 188 h 284"/>
                <a:gd name="T54" fmla="*/ 150 w 191"/>
                <a:gd name="T55" fmla="*/ 193 h 284"/>
                <a:gd name="T56" fmla="*/ 155 w 191"/>
                <a:gd name="T57" fmla="*/ 181 h 284"/>
                <a:gd name="T58" fmla="*/ 185 w 191"/>
                <a:gd name="T59" fmla="*/ 165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91" h="284">
                  <a:moveTo>
                    <a:pt x="100" y="267"/>
                  </a:moveTo>
                  <a:cubicBezTo>
                    <a:pt x="76" y="275"/>
                    <a:pt x="86" y="284"/>
                    <a:pt x="101" y="284"/>
                  </a:cubicBezTo>
                  <a:cubicBezTo>
                    <a:pt x="120" y="284"/>
                    <a:pt x="124" y="259"/>
                    <a:pt x="100" y="267"/>
                  </a:cubicBezTo>
                  <a:close/>
                  <a:moveTo>
                    <a:pt x="185" y="165"/>
                  </a:moveTo>
                  <a:cubicBezTo>
                    <a:pt x="179" y="146"/>
                    <a:pt x="166" y="132"/>
                    <a:pt x="166" y="132"/>
                  </a:cubicBezTo>
                  <a:cubicBezTo>
                    <a:pt x="166" y="132"/>
                    <a:pt x="171" y="115"/>
                    <a:pt x="162" y="101"/>
                  </a:cubicBezTo>
                  <a:cubicBezTo>
                    <a:pt x="153" y="87"/>
                    <a:pt x="111" y="50"/>
                    <a:pt x="111" y="50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8" y="45"/>
                    <a:pt x="94" y="34"/>
                    <a:pt x="82" y="21"/>
                  </a:cubicBezTo>
                  <a:cubicBezTo>
                    <a:pt x="76" y="14"/>
                    <a:pt x="69" y="6"/>
                    <a:pt x="64" y="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30" y="9"/>
                    <a:pt x="16" y="16"/>
                  </a:cubicBezTo>
                  <a:cubicBezTo>
                    <a:pt x="2" y="24"/>
                    <a:pt x="14" y="26"/>
                    <a:pt x="13" y="29"/>
                  </a:cubicBezTo>
                  <a:cubicBezTo>
                    <a:pt x="12" y="32"/>
                    <a:pt x="0" y="39"/>
                    <a:pt x="0" y="39"/>
                  </a:cubicBezTo>
                  <a:cubicBezTo>
                    <a:pt x="0" y="39"/>
                    <a:pt x="1" y="50"/>
                    <a:pt x="8" y="56"/>
                  </a:cubicBezTo>
                  <a:cubicBezTo>
                    <a:pt x="15" y="62"/>
                    <a:pt x="30" y="64"/>
                    <a:pt x="30" y="64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9"/>
                    <a:pt x="7" y="75"/>
                    <a:pt x="6" y="82"/>
                  </a:cubicBezTo>
                  <a:cubicBezTo>
                    <a:pt x="5" y="89"/>
                    <a:pt x="27" y="102"/>
                    <a:pt x="27" y="102"/>
                  </a:cubicBezTo>
                  <a:cubicBezTo>
                    <a:pt x="37" y="130"/>
                    <a:pt x="37" y="130"/>
                    <a:pt x="37" y="130"/>
                  </a:cubicBezTo>
                  <a:cubicBezTo>
                    <a:pt x="60" y="134"/>
                    <a:pt x="60" y="134"/>
                    <a:pt x="60" y="134"/>
                  </a:cubicBezTo>
                  <a:cubicBezTo>
                    <a:pt x="60" y="153"/>
                    <a:pt x="60" y="153"/>
                    <a:pt x="60" y="153"/>
                  </a:cubicBezTo>
                  <a:cubicBezTo>
                    <a:pt x="60" y="153"/>
                    <a:pt x="49" y="161"/>
                    <a:pt x="54" y="180"/>
                  </a:cubicBezTo>
                  <a:cubicBezTo>
                    <a:pt x="59" y="199"/>
                    <a:pt x="74" y="199"/>
                    <a:pt x="74" y="199"/>
                  </a:cubicBezTo>
                  <a:cubicBezTo>
                    <a:pt x="74" y="199"/>
                    <a:pt x="61" y="225"/>
                    <a:pt x="80" y="222"/>
                  </a:cubicBezTo>
                  <a:cubicBezTo>
                    <a:pt x="99" y="219"/>
                    <a:pt x="100" y="203"/>
                    <a:pt x="100" y="203"/>
                  </a:cubicBezTo>
                  <a:cubicBezTo>
                    <a:pt x="133" y="188"/>
                    <a:pt x="133" y="188"/>
                    <a:pt x="133" y="188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5" y="181"/>
                    <a:pt x="155" y="181"/>
                    <a:pt x="155" y="181"/>
                  </a:cubicBezTo>
                  <a:cubicBezTo>
                    <a:pt x="155" y="181"/>
                    <a:pt x="191" y="184"/>
                    <a:pt x="185" y="16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214">
              <a:extLst>
                <a:ext uri="{FF2B5EF4-FFF2-40B4-BE49-F238E27FC236}">
                  <a16:creationId xmlns:a16="http://schemas.microsoft.com/office/drawing/2014/main" id="{4C538FAF-36B9-0F25-609B-97B2D36558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6" y="-12838"/>
              <a:ext cx="954" cy="1110"/>
            </a:xfrm>
            <a:custGeom>
              <a:avLst/>
              <a:gdLst>
                <a:gd name="T0" fmla="*/ 28 w 404"/>
                <a:gd name="T1" fmla="*/ 124 h 470"/>
                <a:gd name="T2" fmla="*/ 47 w 404"/>
                <a:gd name="T3" fmla="*/ 163 h 470"/>
                <a:gd name="T4" fmla="*/ 68 w 404"/>
                <a:gd name="T5" fmla="*/ 160 h 470"/>
                <a:gd name="T6" fmla="*/ 74 w 404"/>
                <a:gd name="T7" fmla="*/ 196 h 470"/>
                <a:gd name="T8" fmla="*/ 73 w 404"/>
                <a:gd name="T9" fmla="*/ 224 h 470"/>
                <a:gd name="T10" fmla="*/ 88 w 404"/>
                <a:gd name="T11" fmla="*/ 254 h 470"/>
                <a:gd name="T12" fmla="*/ 143 w 404"/>
                <a:gd name="T13" fmla="*/ 245 h 470"/>
                <a:gd name="T14" fmla="*/ 187 w 404"/>
                <a:gd name="T15" fmla="*/ 228 h 470"/>
                <a:gd name="T16" fmla="*/ 215 w 404"/>
                <a:gd name="T17" fmla="*/ 247 h 470"/>
                <a:gd name="T18" fmla="*/ 248 w 404"/>
                <a:gd name="T19" fmla="*/ 298 h 470"/>
                <a:gd name="T20" fmla="*/ 283 w 404"/>
                <a:gd name="T21" fmla="*/ 347 h 470"/>
                <a:gd name="T22" fmla="*/ 294 w 404"/>
                <a:gd name="T23" fmla="*/ 367 h 470"/>
                <a:gd name="T24" fmla="*/ 302 w 404"/>
                <a:gd name="T25" fmla="*/ 425 h 470"/>
                <a:gd name="T26" fmla="*/ 290 w 404"/>
                <a:gd name="T27" fmla="*/ 448 h 470"/>
                <a:gd name="T28" fmla="*/ 327 w 404"/>
                <a:gd name="T29" fmla="*/ 462 h 470"/>
                <a:gd name="T30" fmla="*/ 334 w 404"/>
                <a:gd name="T31" fmla="*/ 434 h 470"/>
                <a:gd name="T32" fmla="*/ 365 w 404"/>
                <a:gd name="T33" fmla="*/ 435 h 470"/>
                <a:gd name="T34" fmla="*/ 390 w 404"/>
                <a:gd name="T35" fmla="*/ 430 h 470"/>
                <a:gd name="T36" fmla="*/ 391 w 404"/>
                <a:gd name="T37" fmla="*/ 410 h 470"/>
                <a:gd name="T38" fmla="*/ 369 w 404"/>
                <a:gd name="T39" fmla="*/ 369 h 470"/>
                <a:gd name="T40" fmla="*/ 361 w 404"/>
                <a:gd name="T41" fmla="*/ 331 h 470"/>
                <a:gd name="T42" fmla="*/ 334 w 404"/>
                <a:gd name="T43" fmla="*/ 299 h 470"/>
                <a:gd name="T44" fmla="*/ 319 w 404"/>
                <a:gd name="T45" fmla="*/ 289 h 470"/>
                <a:gd name="T46" fmla="*/ 285 w 404"/>
                <a:gd name="T47" fmla="*/ 236 h 470"/>
                <a:gd name="T48" fmla="*/ 256 w 404"/>
                <a:gd name="T49" fmla="*/ 203 h 470"/>
                <a:gd name="T50" fmla="*/ 193 w 404"/>
                <a:gd name="T51" fmla="*/ 168 h 470"/>
                <a:gd name="T52" fmla="*/ 218 w 404"/>
                <a:gd name="T53" fmla="*/ 156 h 470"/>
                <a:gd name="T54" fmla="*/ 212 w 404"/>
                <a:gd name="T55" fmla="*/ 112 h 470"/>
                <a:gd name="T56" fmla="*/ 184 w 404"/>
                <a:gd name="T57" fmla="*/ 79 h 470"/>
                <a:gd name="T58" fmla="*/ 160 w 404"/>
                <a:gd name="T59" fmla="*/ 90 h 470"/>
                <a:gd name="T60" fmla="*/ 128 w 404"/>
                <a:gd name="T61" fmla="*/ 63 h 470"/>
                <a:gd name="T62" fmla="*/ 118 w 404"/>
                <a:gd name="T63" fmla="*/ 40 h 470"/>
                <a:gd name="T64" fmla="*/ 91 w 404"/>
                <a:gd name="T65" fmla="*/ 2 h 470"/>
                <a:gd name="T66" fmla="*/ 60 w 404"/>
                <a:gd name="T67" fmla="*/ 22 h 470"/>
                <a:gd name="T68" fmla="*/ 79 w 404"/>
                <a:gd name="T69" fmla="*/ 72 h 470"/>
                <a:gd name="T70" fmla="*/ 48 w 404"/>
                <a:gd name="T71" fmla="*/ 57 h 470"/>
                <a:gd name="T72" fmla="*/ 26 w 404"/>
                <a:gd name="T73" fmla="*/ 74 h 470"/>
                <a:gd name="T74" fmla="*/ 26 w 404"/>
                <a:gd name="T75" fmla="*/ 89 h 470"/>
                <a:gd name="T76" fmla="*/ 2 w 404"/>
                <a:gd name="T77" fmla="*/ 11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04" h="470">
                  <a:moveTo>
                    <a:pt x="17" y="121"/>
                  </a:moveTo>
                  <a:cubicBezTo>
                    <a:pt x="17" y="121"/>
                    <a:pt x="27" y="116"/>
                    <a:pt x="28" y="124"/>
                  </a:cubicBezTo>
                  <a:cubicBezTo>
                    <a:pt x="29" y="132"/>
                    <a:pt x="22" y="153"/>
                    <a:pt x="28" y="158"/>
                  </a:cubicBezTo>
                  <a:cubicBezTo>
                    <a:pt x="34" y="163"/>
                    <a:pt x="47" y="163"/>
                    <a:pt x="47" y="163"/>
                  </a:cubicBezTo>
                  <a:cubicBezTo>
                    <a:pt x="45" y="155"/>
                    <a:pt x="45" y="155"/>
                    <a:pt x="45" y="155"/>
                  </a:cubicBezTo>
                  <a:cubicBezTo>
                    <a:pt x="45" y="155"/>
                    <a:pt x="68" y="146"/>
                    <a:pt x="68" y="160"/>
                  </a:cubicBezTo>
                  <a:cubicBezTo>
                    <a:pt x="68" y="174"/>
                    <a:pt x="66" y="180"/>
                    <a:pt x="66" y="180"/>
                  </a:cubicBezTo>
                  <a:cubicBezTo>
                    <a:pt x="66" y="180"/>
                    <a:pt x="74" y="187"/>
                    <a:pt x="74" y="196"/>
                  </a:cubicBezTo>
                  <a:cubicBezTo>
                    <a:pt x="74" y="205"/>
                    <a:pt x="60" y="216"/>
                    <a:pt x="60" y="216"/>
                  </a:cubicBezTo>
                  <a:cubicBezTo>
                    <a:pt x="60" y="216"/>
                    <a:pt x="73" y="215"/>
                    <a:pt x="73" y="224"/>
                  </a:cubicBezTo>
                  <a:cubicBezTo>
                    <a:pt x="73" y="233"/>
                    <a:pt x="49" y="264"/>
                    <a:pt x="59" y="267"/>
                  </a:cubicBezTo>
                  <a:cubicBezTo>
                    <a:pt x="69" y="270"/>
                    <a:pt x="88" y="254"/>
                    <a:pt x="88" y="254"/>
                  </a:cubicBezTo>
                  <a:cubicBezTo>
                    <a:pt x="88" y="254"/>
                    <a:pt x="101" y="229"/>
                    <a:pt x="108" y="231"/>
                  </a:cubicBezTo>
                  <a:cubicBezTo>
                    <a:pt x="115" y="233"/>
                    <a:pt x="129" y="244"/>
                    <a:pt x="143" y="245"/>
                  </a:cubicBezTo>
                  <a:cubicBezTo>
                    <a:pt x="157" y="246"/>
                    <a:pt x="154" y="221"/>
                    <a:pt x="164" y="220"/>
                  </a:cubicBezTo>
                  <a:cubicBezTo>
                    <a:pt x="174" y="219"/>
                    <a:pt x="187" y="228"/>
                    <a:pt x="187" y="228"/>
                  </a:cubicBezTo>
                  <a:cubicBezTo>
                    <a:pt x="187" y="228"/>
                    <a:pt x="194" y="226"/>
                    <a:pt x="202" y="228"/>
                  </a:cubicBezTo>
                  <a:cubicBezTo>
                    <a:pt x="210" y="230"/>
                    <a:pt x="197" y="236"/>
                    <a:pt x="215" y="247"/>
                  </a:cubicBezTo>
                  <a:cubicBezTo>
                    <a:pt x="233" y="258"/>
                    <a:pt x="247" y="270"/>
                    <a:pt x="247" y="270"/>
                  </a:cubicBezTo>
                  <a:cubicBezTo>
                    <a:pt x="248" y="298"/>
                    <a:pt x="248" y="298"/>
                    <a:pt x="248" y="298"/>
                  </a:cubicBezTo>
                  <a:cubicBezTo>
                    <a:pt x="248" y="298"/>
                    <a:pt x="255" y="318"/>
                    <a:pt x="260" y="327"/>
                  </a:cubicBezTo>
                  <a:cubicBezTo>
                    <a:pt x="265" y="336"/>
                    <a:pt x="283" y="343"/>
                    <a:pt x="283" y="347"/>
                  </a:cubicBezTo>
                  <a:cubicBezTo>
                    <a:pt x="283" y="351"/>
                    <a:pt x="285" y="364"/>
                    <a:pt x="285" y="364"/>
                  </a:cubicBezTo>
                  <a:cubicBezTo>
                    <a:pt x="285" y="364"/>
                    <a:pt x="288" y="357"/>
                    <a:pt x="294" y="367"/>
                  </a:cubicBezTo>
                  <a:cubicBezTo>
                    <a:pt x="300" y="377"/>
                    <a:pt x="285" y="390"/>
                    <a:pt x="287" y="394"/>
                  </a:cubicBezTo>
                  <a:cubicBezTo>
                    <a:pt x="289" y="398"/>
                    <a:pt x="312" y="413"/>
                    <a:pt x="302" y="425"/>
                  </a:cubicBezTo>
                  <a:cubicBezTo>
                    <a:pt x="296" y="432"/>
                    <a:pt x="291" y="436"/>
                    <a:pt x="287" y="439"/>
                  </a:cubicBezTo>
                  <a:cubicBezTo>
                    <a:pt x="287" y="442"/>
                    <a:pt x="287" y="447"/>
                    <a:pt x="290" y="448"/>
                  </a:cubicBezTo>
                  <a:cubicBezTo>
                    <a:pt x="294" y="449"/>
                    <a:pt x="310" y="450"/>
                    <a:pt x="310" y="450"/>
                  </a:cubicBezTo>
                  <a:cubicBezTo>
                    <a:pt x="310" y="450"/>
                    <a:pt x="319" y="470"/>
                    <a:pt x="327" y="462"/>
                  </a:cubicBezTo>
                  <a:cubicBezTo>
                    <a:pt x="335" y="454"/>
                    <a:pt x="323" y="442"/>
                    <a:pt x="323" y="442"/>
                  </a:cubicBezTo>
                  <a:cubicBezTo>
                    <a:pt x="334" y="434"/>
                    <a:pt x="334" y="434"/>
                    <a:pt x="334" y="434"/>
                  </a:cubicBezTo>
                  <a:cubicBezTo>
                    <a:pt x="343" y="426"/>
                    <a:pt x="343" y="426"/>
                    <a:pt x="343" y="426"/>
                  </a:cubicBezTo>
                  <a:cubicBezTo>
                    <a:pt x="365" y="435"/>
                    <a:pt x="365" y="435"/>
                    <a:pt x="365" y="435"/>
                  </a:cubicBezTo>
                  <a:cubicBezTo>
                    <a:pt x="373" y="426"/>
                    <a:pt x="373" y="426"/>
                    <a:pt x="373" y="426"/>
                  </a:cubicBezTo>
                  <a:cubicBezTo>
                    <a:pt x="390" y="430"/>
                    <a:pt x="390" y="430"/>
                    <a:pt x="390" y="430"/>
                  </a:cubicBezTo>
                  <a:cubicBezTo>
                    <a:pt x="390" y="430"/>
                    <a:pt x="396" y="431"/>
                    <a:pt x="400" y="423"/>
                  </a:cubicBezTo>
                  <a:cubicBezTo>
                    <a:pt x="404" y="415"/>
                    <a:pt x="391" y="410"/>
                    <a:pt x="391" y="410"/>
                  </a:cubicBezTo>
                  <a:cubicBezTo>
                    <a:pt x="402" y="389"/>
                    <a:pt x="402" y="389"/>
                    <a:pt x="402" y="389"/>
                  </a:cubicBezTo>
                  <a:cubicBezTo>
                    <a:pt x="402" y="389"/>
                    <a:pt x="383" y="380"/>
                    <a:pt x="369" y="369"/>
                  </a:cubicBezTo>
                  <a:cubicBezTo>
                    <a:pt x="355" y="358"/>
                    <a:pt x="369" y="355"/>
                    <a:pt x="377" y="350"/>
                  </a:cubicBezTo>
                  <a:cubicBezTo>
                    <a:pt x="385" y="345"/>
                    <a:pt x="361" y="331"/>
                    <a:pt x="361" y="331"/>
                  </a:cubicBezTo>
                  <a:cubicBezTo>
                    <a:pt x="361" y="331"/>
                    <a:pt x="351" y="330"/>
                    <a:pt x="344" y="323"/>
                  </a:cubicBezTo>
                  <a:cubicBezTo>
                    <a:pt x="337" y="316"/>
                    <a:pt x="334" y="299"/>
                    <a:pt x="334" y="299"/>
                  </a:cubicBezTo>
                  <a:cubicBezTo>
                    <a:pt x="320" y="300"/>
                    <a:pt x="320" y="300"/>
                    <a:pt x="320" y="300"/>
                  </a:cubicBezTo>
                  <a:cubicBezTo>
                    <a:pt x="319" y="289"/>
                    <a:pt x="319" y="289"/>
                    <a:pt x="319" y="289"/>
                  </a:cubicBezTo>
                  <a:cubicBezTo>
                    <a:pt x="319" y="289"/>
                    <a:pt x="308" y="278"/>
                    <a:pt x="295" y="267"/>
                  </a:cubicBezTo>
                  <a:cubicBezTo>
                    <a:pt x="282" y="256"/>
                    <a:pt x="285" y="236"/>
                    <a:pt x="285" y="236"/>
                  </a:cubicBezTo>
                  <a:cubicBezTo>
                    <a:pt x="285" y="236"/>
                    <a:pt x="263" y="228"/>
                    <a:pt x="259" y="224"/>
                  </a:cubicBezTo>
                  <a:cubicBezTo>
                    <a:pt x="255" y="220"/>
                    <a:pt x="256" y="203"/>
                    <a:pt x="256" y="203"/>
                  </a:cubicBezTo>
                  <a:cubicBezTo>
                    <a:pt x="256" y="203"/>
                    <a:pt x="238" y="198"/>
                    <a:pt x="232" y="193"/>
                  </a:cubicBezTo>
                  <a:cubicBezTo>
                    <a:pt x="226" y="188"/>
                    <a:pt x="193" y="168"/>
                    <a:pt x="193" y="168"/>
                  </a:cubicBezTo>
                  <a:cubicBezTo>
                    <a:pt x="193" y="168"/>
                    <a:pt x="193" y="156"/>
                    <a:pt x="191" y="152"/>
                  </a:cubicBezTo>
                  <a:cubicBezTo>
                    <a:pt x="189" y="148"/>
                    <a:pt x="218" y="156"/>
                    <a:pt x="218" y="156"/>
                  </a:cubicBezTo>
                  <a:cubicBezTo>
                    <a:pt x="218" y="156"/>
                    <a:pt x="237" y="142"/>
                    <a:pt x="243" y="132"/>
                  </a:cubicBezTo>
                  <a:cubicBezTo>
                    <a:pt x="249" y="122"/>
                    <a:pt x="230" y="120"/>
                    <a:pt x="212" y="112"/>
                  </a:cubicBezTo>
                  <a:cubicBezTo>
                    <a:pt x="194" y="104"/>
                    <a:pt x="214" y="98"/>
                    <a:pt x="214" y="98"/>
                  </a:cubicBezTo>
                  <a:cubicBezTo>
                    <a:pt x="214" y="98"/>
                    <a:pt x="192" y="80"/>
                    <a:pt x="184" y="79"/>
                  </a:cubicBezTo>
                  <a:cubicBezTo>
                    <a:pt x="176" y="78"/>
                    <a:pt x="179" y="90"/>
                    <a:pt x="172" y="98"/>
                  </a:cubicBezTo>
                  <a:cubicBezTo>
                    <a:pt x="165" y="106"/>
                    <a:pt x="160" y="90"/>
                    <a:pt x="160" y="90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38" y="76"/>
                    <a:pt x="128" y="63"/>
                  </a:cubicBezTo>
                  <a:cubicBezTo>
                    <a:pt x="118" y="50"/>
                    <a:pt x="131" y="41"/>
                    <a:pt x="127" y="37"/>
                  </a:cubicBezTo>
                  <a:cubicBezTo>
                    <a:pt x="123" y="33"/>
                    <a:pt x="118" y="40"/>
                    <a:pt x="118" y="40"/>
                  </a:cubicBezTo>
                  <a:cubicBezTo>
                    <a:pt x="118" y="40"/>
                    <a:pt x="102" y="22"/>
                    <a:pt x="96" y="15"/>
                  </a:cubicBezTo>
                  <a:cubicBezTo>
                    <a:pt x="93" y="12"/>
                    <a:pt x="92" y="7"/>
                    <a:pt x="91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59" y="9"/>
                    <a:pt x="60" y="22"/>
                  </a:cubicBezTo>
                  <a:cubicBezTo>
                    <a:pt x="61" y="35"/>
                    <a:pt x="79" y="47"/>
                    <a:pt x="79" y="47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26" y="89"/>
                    <a:pt x="18" y="92"/>
                    <a:pt x="9" y="95"/>
                  </a:cubicBezTo>
                  <a:cubicBezTo>
                    <a:pt x="0" y="98"/>
                    <a:pt x="2" y="110"/>
                    <a:pt x="2" y="110"/>
                  </a:cubicBezTo>
                  <a:cubicBezTo>
                    <a:pt x="6" y="111"/>
                    <a:pt x="17" y="121"/>
                    <a:pt x="17" y="12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215">
              <a:extLst>
                <a:ext uri="{FF2B5EF4-FFF2-40B4-BE49-F238E27FC236}">
                  <a16:creationId xmlns:a16="http://schemas.microsoft.com/office/drawing/2014/main" id="{F62DCE91-7CDA-316F-4779-C2BA24D1384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" y="-12581"/>
              <a:ext cx="992" cy="1890"/>
            </a:xfrm>
            <a:custGeom>
              <a:avLst/>
              <a:gdLst>
                <a:gd name="T0" fmla="*/ 402 w 420"/>
                <a:gd name="T1" fmla="*/ 258 h 800"/>
                <a:gd name="T2" fmla="*/ 391 w 420"/>
                <a:gd name="T3" fmla="*/ 238 h 800"/>
                <a:gd name="T4" fmla="*/ 356 w 420"/>
                <a:gd name="T5" fmla="*/ 189 h 800"/>
                <a:gd name="T6" fmla="*/ 323 w 420"/>
                <a:gd name="T7" fmla="*/ 138 h 800"/>
                <a:gd name="T8" fmla="*/ 295 w 420"/>
                <a:gd name="T9" fmla="*/ 119 h 800"/>
                <a:gd name="T10" fmla="*/ 251 w 420"/>
                <a:gd name="T11" fmla="*/ 136 h 800"/>
                <a:gd name="T12" fmla="*/ 196 w 420"/>
                <a:gd name="T13" fmla="*/ 145 h 800"/>
                <a:gd name="T14" fmla="*/ 181 w 420"/>
                <a:gd name="T15" fmla="*/ 115 h 800"/>
                <a:gd name="T16" fmla="*/ 182 w 420"/>
                <a:gd name="T17" fmla="*/ 87 h 800"/>
                <a:gd name="T18" fmla="*/ 176 w 420"/>
                <a:gd name="T19" fmla="*/ 51 h 800"/>
                <a:gd name="T20" fmla="*/ 155 w 420"/>
                <a:gd name="T21" fmla="*/ 54 h 800"/>
                <a:gd name="T22" fmla="*/ 136 w 420"/>
                <a:gd name="T23" fmla="*/ 15 h 800"/>
                <a:gd name="T24" fmla="*/ 110 w 420"/>
                <a:gd name="T25" fmla="*/ 1 h 800"/>
                <a:gd name="T26" fmla="*/ 82 w 420"/>
                <a:gd name="T27" fmla="*/ 21 h 800"/>
                <a:gd name="T28" fmla="*/ 53 w 420"/>
                <a:gd name="T29" fmla="*/ 43 h 800"/>
                <a:gd name="T30" fmla="*/ 19 w 420"/>
                <a:gd name="T31" fmla="*/ 64 h 800"/>
                <a:gd name="T32" fmla="*/ 17 w 420"/>
                <a:gd name="T33" fmla="*/ 102 h 800"/>
                <a:gd name="T34" fmla="*/ 8 w 420"/>
                <a:gd name="T35" fmla="*/ 120 h 800"/>
                <a:gd name="T36" fmla="*/ 22 w 420"/>
                <a:gd name="T37" fmla="*/ 145 h 800"/>
                <a:gd name="T38" fmla="*/ 67 w 420"/>
                <a:gd name="T39" fmla="*/ 188 h 800"/>
                <a:gd name="T40" fmla="*/ 79 w 420"/>
                <a:gd name="T41" fmla="*/ 219 h 800"/>
                <a:gd name="T42" fmla="*/ 73 w 420"/>
                <a:gd name="T43" fmla="*/ 236 h 800"/>
                <a:gd name="T44" fmla="*/ 65 w 420"/>
                <a:gd name="T45" fmla="*/ 279 h 800"/>
                <a:gd name="T46" fmla="*/ 79 w 420"/>
                <a:gd name="T47" fmla="*/ 326 h 800"/>
                <a:gd name="T48" fmla="*/ 112 w 420"/>
                <a:gd name="T49" fmla="*/ 409 h 800"/>
                <a:gd name="T50" fmla="*/ 133 w 420"/>
                <a:gd name="T51" fmla="*/ 450 h 800"/>
                <a:gd name="T52" fmla="*/ 110 w 420"/>
                <a:gd name="T53" fmla="*/ 522 h 800"/>
                <a:gd name="T54" fmla="*/ 98 w 420"/>
                <a:gd name="T55" fmla="*/ 567 h 800"/>
                <a:gd name="T56" fmla="*/ 84 w 420"/>
                <a:gd name="T57" fmla="*/ 676 h 800"/>
                <a:gd name="T58" fmla="*/ 101 w 420"/>
                <a:gd name="T59" fmla="*/ 653 h 800"/>
                <a:gd name="T60" fmla="*/ 132 w 420"/>
                <a:gd name="T61" fmla="*/ 698 h 800"/>
                <a:gd name="T62" fmla="*/ 159 w 420"/>
                <a:gd name="T63" fmla="*/ 743 h 800"/>
                <a:gd name="T64" fmla="*/ 184 w 420"/>
                <a:gd name="T65" fmla="*/ 754 h 800"/>
                <a:gd name="T66" fmla="*/ 198 w 420"/>
                <a:gd name="T67" fmla="*/ 749 h 800"/>
                <a:gd name="T68" fmla="*/ 222 w 420"/>
                <a:gd name="T69" fmla="*/ 765 h 800"/>
                <a:gd name="T70" fmla="*/ 226 w 420"/>
                <a:gd name="T71" fmla="*/ 791 h 800"/>
                <a:gd name="T72" fmla="*/ 268 w 420"/>
                <a:gd name="T73" fmla="*/ 792 h 800"/>
                <a:gd name="T74" fmla="*/ 261 w 420"/>
                <a:gd name="T75" fmla="*/ 755 h 800"/>
                <a:gd name="T76" fmla="*/ 215 w 420"/>
                <a:gd name="T77" fmla="*/ 727 h 800"/>
                <a:gd name="T78" fmla="*/ 190 w 420"/>
                <a:gd name="T79" fmla="*/ 705 h 800"/>
                <a:gd name="T80" fmla="*/ 190 w 420"/>
                <a:gd name="T81" fmla="*/ 679 h 800"/>
                <a:gd name="T82" fmla="*/ 165 w 420"/>
                <a:gd name="T83" fmla="*/ 635 h 800"/>
                <a:gd name="T84" fmla="*/ 131 w 420"/>
                <a:gd name="T85" fmla="*/ 608 h 800"/>
                <a:gd name="T86" fmla="*/ 120 w 420"/>
                <a:gd name="T87" fmla="*/ 524 h 800"/>
                <a:gd name="T88" fmla="*/ 138 w 420"/>
                <a:gd name="T89" fmla="*/ 456 h 800"/>
                <a:gd name="T90" fmla="*/ 147 w 420"/>
                <a:gd name="T91" fmla="*/ 396 h 800"/>
                <a:gd name="T92" fmla="*/ 158 w 420"/>
                <a:gd name="T93" fmla="*/ 374 h 800"/>
                <a:gd name="T94" fmla="*/ 201 w 420"/>
                <a:gd name="T95" fmla="*/ 381 h 800"/>
                <a:gd name="T96" fmla="*/ 199 w 420"/>
                <a:gd name="T97" fmla="*/ 419 h 800"/>
                <a:gd name="T98" fmla="*/ 265 w 420"/>
                <a:gd name="T99" fmla="*/ 457 h 800"/>
                <a:gd name="T100" fmla="*/ 287 w 420"/>
                <a:gd name="T101" fmla="*/ 431 h 800"/>
                <a:gd name="T102" fmla="*/ 276 w 420"/>
                <a:gd name="T103" fmla="*/ 402 h 800"/>
                <a:gd name="T104" fmla="*/ 267 w 420"/>
                <a:gd name="T105" fmla="*/ 371 h 800"/>
                <a:gd name="T106" fmla="*/ 313 w 420"/>
                <a:gd name="T107" fmla="*/ 327 h 800"/>
                <a:gd name="T108" fmla="*/ 368 w 420"/>
                <a:gd name="T109" fmla="*/ 325 h 800"/>
                <a:gd name="T110" fmla="*/ 410 w 420"/>
                <a:gd name="T111" fmla="*/ 31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20" h="800">
                  <a:moveTo>
                    <a:pt x="395" y="285"/>
                  </a:moveTo>
                  <a:cubicBezTo>
                    <a:pt x="393" y="281"/>
                    <a:pt x="408" y="268"/>
                    <a:pt x="402" y="258"/>
                  </a:cubicBezTo>
                  <a:cubicBezTo>
                    <a:pt x="396" y="248"/>
                    <a:pt x="393" y="255"/>
                    <a:pt x="393" y="255"/>
                  </a:cubicBezTo>
                  <a:cubicBezTo>
                    <a:pt x="393" y="255"/>
                    <a:pt x="391" y="242"/>
                    <a:pt x="391" y="238"/>
                  </a:cubicBezTo>
                  <a:cubicBezTo>
                    <a:pt x="391" y="234"/>
                    <a:pt x="373" y="227"/>
                    <a:pt x="368" y="218"/>
                  </a:cubicBezTo>
                  <a:cubicBezTo>
                    <a:pt x="363" y="209"/>
                    <a:pt x="356" y="189"/>
                    <a:pt x="356" y="189"/>
                  </a:cubicBezTo>
                  <a:cubicBezTo>
                    <a:pt x="355" y="161"/>
                    <a:pt x="355" y="161"/>
                    <a:pt x="355" y="161"/>
                  </a:cubicBezTo>
                  <a:cubicBezTo>
                    <a:pt x="355" y="161"/>
                    <a:pt x="341" y="149"/>
                    <a:pt x="323" y="138"/>
                  </a:cubicBezTo>
                  <a:cubicBezTo>
                    <a:pt x="305" y="127"/>
                    <a:pt x="318" y="121"/>
                    <a:pt x="310" y="119"/>
                  </a:cubicBezTo>
                  <a:cubicBezTo>
                    <a:pt x="302" y="117"/>
                    <a:pt x="295" y="119"/>
                    <a:pt x="295" y="119"/>
                  </a:cubicBezTo>
                  <a:cubicBezTo>
                    <a:pt x="295" y="119"/>
                    <a:pt x="282" y="110"/>
                    <a:pt x="272" y="111"/>
                  </a:cubicBezTo>
                  <a:cubicBezTo>
                    <a:pt x="262" y="112"/>
                    <a:pt x="265" y="137"/>
                    <a:pt x="251" y="136"/>
                  </a:cubicBezTo>
                  <a:cubicBezTo>
                    <a:pt x="237" y="135"/>
                    <a:pt x="223" y="124"/>
                    <a:pt x="216" y="122"/>
                  </a:cubicBezTo>
                  <a:cubicBezTo>
                    <a:pt x="209" y="120"/>
                    <a:pt x="196" y="145"/>
                    <a:pt x="196" y="145"/>
                  </a:cubicBezTo>
                  <a:cubicBezTo>
                    <a:pt x="196" y="145"/>
                    <a:pt x="177" y="161"/>
                    <a:pt x="167" y="158"/>
                  </a:cubicBezTo>
                  <a:cubicBezTo>
                    <a:pt x="157" y="155"/>
                    <a:pt x="181" y="124"/>
                    <a:pt x="181" y="115"/>
                  </a:cubicBezTo>
                  <a:cubicBezTo>
                    <a:pt x="181" y="106"/>
                    <a:pt x="168" y="107"/>
                    <a:pt x="168" y="107"/>
                  </a:cubicBezTo>
                  <a:cubicBezTo>
                    <a:pt x="168" y="107"/>
                    <a:pt x="182" y="96"/>
                    <a:pt x="182" y="87"/>
                  </a:cubicBezTo>
                  <a:cubicBezTo>
                    <a:pt x="182" y="78"/>
                    <a:pt x="174" y="71"/>
                    <a:pt x="174" y="71"/>
                  </a:cubicBezTo>
                  <a:cubicBezTo>
                    <a:pt x="174" y="71"/>
                    <a:pt x="176" y="65"/>
                    <a:pt x="176" y="51"/>
                  </a:cubicBezTo>
                  <a:cubicBezTo>
                    <a:pt x="176" y="37"/>
                    <a:pt x="153" y="46"/>
                    <a:pt x="153" y="46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2" y="54"/>
                    <a:pt x="136" y="49"/>
                  </a:cubicBezTo>
                  <a:cubicBezTo>
                    <a:pt x="130" y="44"/>
                    <a:pt x="137" y="23"/>
                    <a:pt x="136" y="15"/>
                  </a:cubicBezTo>
                  <a:cubicBezTo>
                    <a:pt x="135" y="7"/>
                    <a:pt x="125" y="12"/>
                    <a:pt x="125" y="12"/>
                  </a:cubicBezTo>
                  <a:cubicBezTo>
                    <a:pt x="125" y="12"/>
                    <a:pt x="114" y="2"/>
                    <a:pt x="110" y="1"/>
                  </a:cubicBezTo>
                  <a:cubicBezTo>
                    <a:pt x="106" y="0"/>
                    <a:pt x="87" y="6"/>
                    <a:pt x="87" y="6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3" y="40"/>
                    <a:pt x="53" y="43"/>
                  </a:cubicBezTo>
                  <a:cubicBezTo>
                    <a:pt x="43" y="46"/>
                    <a:pt x="34" y="35"/>
                    <a:pt x="23" y="37"/>
                  </a:cubicBezTo>
                  <a:cubicBezTo>
                    <a:pt x="12" y="39"/>
                    <a:pt x="20" y="55"/>
                    <a:pt x="19" y="64"/>
                  </a:cubicBezTo>
                  <a:cubicBezTo>
                    <a:pt x="18" y="73"/>
                    <a:pt x="8" y="74"/>
                    <a:pt x="7" y="78"/>
                  </a:cubicBezTo>
                  <a:cubicBezTo>
                    <a:pt x="6" y="82"/>
                    <a:pt x="17" y="93"/>
                    <a:pt x="17" y="102"/>
                  </a:cubicBezTo>
                  <a:cubicBezTo>
                    <a:pt x="17" y="111"/>
                    <a:pt x="6" y="105"/>
                    <a:pt x="3" y="108"/>
                  </a:cubicBezTo>
                  <a:cubicBezTo>
                    <a:pt x="0" y="111"/>
                    <a:pt x="3" y="116"/>
                    <a:pt x="8" y="120"/>
                  </a:cubicBezTo>
                  <a:cubicBezTo>
                    <a:pt x="13" y="124"/>
                    <a:pt x="26" y="130"/>
                    <a:pt x="26" y="130"/>
                  </a:cubicBezTo>
                  <a:cubicBezTo>
                    <a:pt x="22" y="145"/>
                    <a:pt x="22" y="145"/>
                    <a:pt x="22" y="145"/>
                  </a:cubicBezTo>
                  <a:cubicBezTo>
                    <a:pt x="22" y="145"/>
                    <a:pt x="27" y="148"/>
                    <a:pt x="30" y="158"/>
                  </a:cubicBezTo>
                  <a:cubicBezTo>
                    <a:pt x="33" y="168"/>
                    <a:pt x="59" y="177"/>
                    <a:pt x="67" y="188"/>
                  </a:cubicBezTo>
                  <a:cubicBezTo>
                    <a:pt x="75" y="199"/>
                    <a:pt x="61" y="194"/>
                    <a:pt x="66" y="206"/>
                  </a:cubicBezTo>
                  <a:cubicBezTo>
                    <a:pt x="71" y="218"/>
                    <a:pt x="79" y="219"/>
                    <a:pt x="79" y="219"/>
                  </a:cubicBezTo>
                  <a:cubicBezTo>
                    <a:pt x="79" y="219"/>
                    <a:pt x="85" y="211"/>
                    <a:pt x="85" y="224"/>
                  </a:cubicBezTo>
                  <a:cubicBezTo>
                    <a:pt x="85" y="237"/>
                    <a:pt x="73" y="236"/>
                    <a:pt x="73" y="236"/>
                  </a:cubicBezTo>
                  <a:cubicBezTo>
                    <a:pt x="73" y="236"/>
                    <a:pt x="76" y="247"/>
                    <a:pt x="76" y="253"/>
                  </a:cubicBezTo>
                  <a:cubicBezTo>
                    <a:pt x="76" y="259"/>
                    <a:pt x="75" y="269"/>
                    <a:pt x="65" y="279"/>
                  </a:cubicBezTo>
                  <a:cubicBezTo>
                    <a:pt x="55" y="289"/>
                    <a:pt x="63" y="302"/>
                    <a:pt x="63" y="302"/>
                  </a:cubicBezTo>
                  <a:cubicBezTo>
                    <a:pt x="63" y="302"/>
                    <a:pt x="75" y="316"/>
                    <a:pt x="79" y="326"/>
                  </a:cubicBezTo>
                  <a:cubicBezTo>
                    <a:pt x="83" y="336"/>
                    <a:pt x="105" y="349"/>
                    <a:pt x="109" y="364"/>
                  </a:cubicBezTo>
                  <a:cubicBezTo>
                    <a:pt x="113" y="379"/>
                    <a:pt x="108" y="403"/>
                    <a:pt x="112" y="409"/>
                  </a:cubicBezTo>
                  <a:cubicBezTo>
                    <a:pt x="116" y="415"/>
                    <a:pt x="131" y="427"/>
                    <a:pt x="131" y="427"/>
                  </a:cubicBezTo>
                  <a:cubicBezTo>
                    <a:pt x="131" y="427"/>
                    <a:pt x="129" y="437"/>
                    <a:pt x="133" y="450"/>
                  </a:cubicBezTo>
                  <a:cubicBezTo>
                    <a:pt x="137" y="463"/>
                    <a:pt x="130" y="488"/>
                    <a:pt x="127" y="498"/>
                  </a:cubicBezTo>
                  <a:cubicBezTo>
                    <a:pt x="124" y="508"/>
                    <a:pt x="119" y="515"/>
                    <a:pt x="110" y="522"/>
                  </a:cubicBezTo>
                  <a:cubicBezTo>
                    <a:pt x="101" y="529"/>
                    <a:pt x="109" y="536"/>
                    <a:pt x="108" y="545"/>
                  </a:cubicBezTo>
                  <a:cubicBezTo>
                    <a:pt x="107" y="554"/>
                    <a:pt x="98" y="567"/>
                    <a:pt x="98" y="567"/>
                  </a:cubicBezTo>
                  <a:cubicBezTo>
                    <a:pt x="98" y="567"/>
                    <a:pt x="86" y="599"/>
                    <a:pt x="84" y="615"/>
                  </a:cubicBezTo>
                  <a:cubicBezTo>
                    <a:pt x="82" y="631"/>
                    <a:pt x="84" y="676"/>
                    <a:pt x="84" y="676"/>
                  </a:cubicBezTo>
                  <a:cubicBezTo>
                    <a:pt x="84" y="676"/>
                    <a:pt x="94" y="686"/>
                    <a:pt x="96" y="676"/>
                  </a:cubicBezTo>
                  <a:cubicBezTo>
                    <a:pt x="97" y="666"/>
                    <a:pt x="97" y="642"/>
                    <a:pt x="101" y="653"/>
                  </a:cubicBezTo>
                  <a:cubicBezTo>
                    <a:pt x="104" y="665"/>
                    <a:pt x="96" y="665"/>
                    <a:pt x="110" y="667"/>
                  </a:cubicBezTo>
                  <a:cubicBezTo>
                    <a:pt x="124" y="668"/>
                    <a:pt x="132" y="698"/>
                    <a:pt x="132" y="698"/>
                  </a:cubicBezTo>
                  <a:cubicBezTo>
                    <a:pt x="155" y="718"/>
                    <a:pt x="155" y="718"/>
                    <a:pt x="155" y="718"/>
                  </a:cubicBezTo>
                  <a:cubicBezTo>
                    <a:pt x="155" y="718"/>
                    <a:pt x="150" y="729"/>
                    <a:pt x="159" y="743"/>
                  </a:cubicBezTo>
                  <a:cubicBezTo>
                    <a:pt x="165" y="754"/>
                    <a:pt x="173" y="762"/>
                    <a:pt x="177" y="766"/>
                  </a:cubicBezTo>
                  <a:cubicBezTo>
                    <a:pt x="181" y="762"/>
                    <a:pt x="184" y="758"/>
                    <a:pt x="184" y="754"/>
                  </a:cubicBezTo>
                  <a:cubicBezTo>
                    <a:pt x="183" y="745"/>
                    <a:pt x="182" y="739"/>
                    <a:pt x="189" y="738"/>
                  </a:cubicBezTo>
                  <a:cubicBezTo>
                    <a:pt x="196" y="737"/>
                    <a:pt x="198" y="749"/>
                    <a:pt x="198" y="749"/>
                  </a:cubicBezTo>
                  <a:cubicBezTo>
                    <a:pt x="198" y="749"/>
                    <a:pt x="209" y="749"/>
                    <a:pt x="216" y="753"/>
                  </a:cubicBezTo>
                  <a:cubicBezTo>
                    <a:pt x="223" y="757"/>
                    <a:pt x="222" y="765"/>
                    <a:pt x="222" y="765"/>
                  </a:cubicBezTo>
                  <a:cubicBezTo>
                    <a:pt x="222" y="765"/>
                    <a:pt x="229" y="763"/>
                    <a:pt x="229" y="769"/>
                  </a:cubicBezTo>
                  <a:cubicBezTo>
                    <a:pt x="229" y="775"/>
                    <a:pt x="213" y="787"/>
                    <a:pt x="226" y="791"/>
                  </a:cubicBezTo>
                  <a:cubicBezTo>
                    <a:pt x="239" y="795"/>
                    <a:pt x="238" y="785"/>
                    <a:pt x="249" y="784"/>
                  </a:cubicBezTo>
                  <a:cubicBezTo>
                    <a:pt x="260" y="783"/>
                    <a:pt x="262" y="800"/>
                    <a:pt x="268" y="792"/>
                  </a:cubicBezTo>
                  <a:cubicBezTo>
                    <a:pt x="272" y="787"/>
                    <a:pt x="277" y="776"/>
                    <a:pt x="280" y="768"/>
                  </a:cubicBezTo>
                  <a:cubicBezTo>
                    <a:pt x="271" y="761"/>
                    <a:pt x="261" y="755"/>
                    <a:pt x="261" y="755"/>
                  </a:cubicBezTo>
                  <a:cubicBezTo>
                    <a:pt x="261" y="755"/>
                    <a:pt x="256" y="731"/>
                    <a:pt x="253" y="721"/>
                  </a:cubicBezTo>
                  <a:cubicBezTo>
                    <a:pt x="250" y="711"/>
                    <a:pt x="223" y="731"/>
                    <a:pt x="215" y="727"/>
                  </a:cubicBezTo>
                  <a:cubicBezTo>
                    <a:pt x="208" y="723"/>
                    <a:pt x="201" y="686"/>
                    <a:pt x="196" y="689"/>
                  </a:cubicBezTo>
                  <a:cubicBezTo>
                    <a:pt x="191" y="693"/>
                    <a:pt x="196" y="704"/>
                    <a:pt x="190" y="705"/>
                  </a:cubicBezTo>
                  <a:cubicBezTo>
                    <a:pt x="184" y="706"/>
                    <a:pt x="169" y="683"/>
                    <a:pt x="177" y="675"/>
                  </a:cubicBezTo>
                  <a:cubicBezTo>
                    <a:pt x="185" y="667"/>
                    <a:pt x="182" y="682"/>
                    <a:pt x="190" y="679"/>
                  </a:cubicBezTo>
                  <a:cubicBezTo>
                    <a:pt x="198" y="676"/>
                    <a:pt x="180" y="645"/>
                    <a:pt x="178" y="639"/>
                  </a:cubicBezTo>
                  <a:cubicBezTo>
                    <a:pt x="176" y="633"/>
                    <a:pt x="165" y="635"/>
                    <a:pt x="165" y="635"/>
                  </a:cubicBezTo>
                  <a:cubicBezTo>
                    <a:pt x="166" y="598"/>
                    <a:pt x="166" y="598"/>
                    <a:pt x="166" y="598"/>
                  </a:cubicBezTo>
                  <a:cubicBezTo>
                    <a:pt x="131" y="608"/>
                    <a:pt x="131" y="608"/>
                    <a:pt x="131" y="608"/>
                  </a:cubicBezTo>
                  <a:cubicBezTo>
                    <a:pt x="131" y="608"/>
                    <a:pt x="127" y="549"/>
                    <a:pt x="126" y="542"/>
                  </a:cubicBezTo>
                  <a:cubicBezTo>
                    <a:pt x="125" y="534"/>
                    <a:pt x="120" y="524"/>
                    <a:pt x="120" y="524"/>
                  </a:cubicBezTo>
                  <a:cubicBezTo>
                    <a:pt x="120" y="524"/>
                    <a:pt x="136" y="516"/>
                    <a:pt x="137" y="498"/>
                  </a:cubicBezTo>
                  <a:cubicBezTo>
                    <a:pt x="138" y="479"/>
                    <a:pt x="138" y="456"/>
                    <a:pt x="138" y="456"/>
                  </a:cubicBezTo>
                  <a:cubicBezTo>
                    <a:pt x="138" y="456"/>
                    <a:pt x="152" y="449"/>
                    <a:pt x="153" y="425"/>
                  </a:cubicBezTo>
                  <a:cubicBezTo>
                    <a:pt x="154" y="400"/>
                    <a:pt x="147" y="396"/>
                    <a:pt x="147" y="396"/>
                  </a:cubicBezTo>
                  <a:cubicBezTo>
                    <a:pt x="151" y="374"/>
                    <a:pt x="151" y="374"/>
                    <a:pt x="151" y="374"/>
                  </a:cubicBezTo>
                  <a:cubicBezTo>
                    <a:pt x="158" y="374"/>
                    <a:pt x="158" y="374"/>
                    <a:pt x="158" y="374"/>
                  </a:cubicBezTo>
                  <a:cubicBezTo>
                    <a:pt x="158" y="374"/>
                    <a:pt x="159" y="366"/>
                    <a:pt x="171" y="367"/>
                  </a:cubicBezTo>
                  <a:cubicBezTo>
                    <a:pt x="182" y="367"/>
                    <a:pt x="201" y="381"/>
                    <a:pt x="201" y="381"/>
                  </a:cubicBezTo>
                  <a:cubicBezTo>
                    <a:pt x="193" y="387"/>
                    <a:pt x="193" y="387"/>
                    <a:pt x="193" y="387"/>
                  </a:cubicBezTo>
                  <a:cubicBezTo>
                    <a:pt x="193" y="387"/>
                    <a:pt x="188" y="419"/>
                    <a:pt x="199" y="419"/>
                  </a:cubicBezTo>
                  <a:cubicBezTo>
                    <a:pt x="211" y="420"/>
                    <a:pt x="247" y="403"/>
                    <a:pt x="247" y="403"/>
                  </a:cubicBezTo>
                  <a:cubicBezTo>
                    <a:pt x="265" y="457"/>
                    <a:pt x="265" y="457"/>
                    <a:pt x="265" y="457"/>
                  </a:cubicBezTo>
                  <a:cubicBezTo>
                    <a:pt x="265" y="457"/>
                    <a:pt x="273" y="445"/>
                    <a:pt x="284" y="450"/>
                  </a:cubicBezTo>
                  <a:cubicBezTo>
                    <a:pt x="287" y="431"/>
                    <a:pt x="287" y="431"/>
                    <a:pt x="287" y="431"/>
                  </a:cubicBezTo>
                  <a:cubicBezTo>
                    <a:pt x="276" y="421"/>
                    <a:pt x="276" y="421"/>
                    <a:pt x="276" y="421"/>
                  </a:cubicBezTo>
                  <a:cubicBezTo>
                    <a:pt x="276" y="402"/>
                    <a:pt x="276" y="402"/>
                    <a:pt x="276" y="402"/>
                  </a:cubicBezTo>
                  <a:cubicBezTo>
                    <a:pt x="269" y="396"/>
                    <a:pt x="269" y="396"/>
                    <a:pt x="269" y="396"/>
                  </a:cubicBezTo>
                  <a:cubicBezTo>
                    <a:pt x="267" y="371"/>
                    <a:pt x="267" y="371"/>
                    <a:pt x="267" y="371"/>
                  </a:cubicBezTo>
                  <a:cubicBezTo>
                    <a:pt x="286" y="351"/>
                    <a:pt x="286" y="351"/>
                    <a:pt x="286" y="351"/>
                  </a:cubicBezTo>
                  <a:cubicBezTo>
                    <a:pt x="286" y="351"/>
                    <a:pt x="286" y="332"/>
                    <a:pt x="313" y="327"/>
                  </a:cubicBezTo>
                  <a:cubicBezTo>
                    <a:pt x="340" y="322"/>
                    <a:pt x="341" y="332"/>
                    <a:pt x="341" y="332"/>
                  </a:cubicBezTo>
                  <a:cubicBezTo>
                    <a:pt x="341" y="332"/>
                    <a:pt x="363" y="326"/>
                    <a:pt x="368" y="325"/>
                  </a:cubicBezTo>
                  <a:cubicBezTo>
                    <a:pt x="373" y="324"/>
                    <a:pt x="390" y="333"/>
                    <a:pt x="390" y="333"/>
                  </a:cubicBezTo>
                  <a:cubicBezTo>
                    <a:pt x="390" y="333"/>
                    <a:pt x="400" y="328"/>
                    <a:pt x="410" y="316"/>
                  </a:cubicBezTo>
                  <a:cubicBezTo>
                    <a:pt x="420" y="304"/>
                    <a:pt x="397" y="289"/>
                    <a:pt x="395" y="28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216">
              <a:extLst>
                <a:ext uri="{FF2B5EF4-FFF2-40B4-BE49-F238E27FC236}">
                  <a16:creationId xmlns:a16="http://schemas.microsoft.com/office/drawing/2014/main" id="{E7A7CF6A-0E4C-4597-1383-4AF8B646F1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" y="-12949"/>
              <a:ext cx="962" cy="1878"/>
            </a:xfrm>
            <a:custGeom>
              <a:avLst/>
              <a:gdLst>
                <a:gd name="T0" fmla="*/ 6 w 407"/>
                <a:gd name="T1" fmla="*/ 62 h 795"/>
                <a:gd name="T2" fmla="*/ 37 w 407"/>
                <a:gd name="T3" fmla="*/ 84 h 795"/>
                <a:gd name="T4" fmla="*/ 61 w 407"/>
                <a:gd name="T5" fmla="*/ 137 h 795"/>
                <a:gd name="T6" fmla="*/ 82 w 407"/>
                <a:gd name="T7" fmla="*/ 145 h 795"/>
                <a:gd name="T8" fmla="*/ 124 w 407"/>
                <a:gd name="T9" fmla="*/ 145 h 795"/>
                <a:gd name="T10" fmla="*/ 153 w 407"/>
                <a:gd name="T11" fmla="*/ 179 h 795"/>
                <a:gd name="T12" fmla="*/ 101 w 407"/>
                <a:gd name="T13" fmla="*/ 199 h 795"/>
                <a:gd name="T14" fmla="*/ 142 w 407"/>
                <a:gd name="T15" fmla="*/ 240 h 795"/>
                <a:gd name="T16" fmla="*/ 169 w 407"/>
                <a:gd name="T17" fmla="*/ 271 h 795"/>
                <a:gd name="T18" fmla="*/ 205 w 407"/>
                <a:gd name="T19" fmla="*/ 314 h 795"/>
                <a:gd name="T20" fmla="*/ 230 w 407"/>
                <a:gd name="T21" fmla="*/ 347 h 795"/>
                <a:gd name="T22" fmla="*/ 254 w 407"/>
                <a:gd name="T23" fmla="*/ 370 h 795"/>
                <a:gd name="T24" fmla="*/ 287 w 407"/>
                <a:gd name="T25" fmla="*/ 397 h 795"/>
                <a:gd name="T26" fmla="*/ 312 w 407"/>
                <a:gd name="T27" fmla="*/ 436 h 795"/>
                <a:gd name="T28" fmla="*/ 310 w 407"/>
                <a:gd name="T29" fmla="*/ 470 h 795"/>
                <a:gd name="T30" fmla="*/ 300 w 407"/>
                <a:gd name="T31" fmla="*/ 505 h 795"/>
                <a:gd name="T32" fmla="*/ 306 w 407"/>
                <a:gd name="T33" fmla="*/ 545 h 795"/>
                <a:gd name="T34" fmla="*/ 314 w 407"/>
                <a:gd name="T35" fmla="*/ 598 h 795"/>
                <a:gd name="T36" fmla="*/ 291 w 407"/>
                <a:gd name="T37" fmla="*/ 610 h 795"/>
                <a:gd name="T38" fmla="*/ 273 w 407"/>
                <a:gd name="T39" fmla="*/ 625 h 795"/>
                <a:gd name="T40" fmla="*/ 252 w 407"/>
                <a:gd name="T41" fmla="*/ 659 h 795"/>
                <a:gd name="T42" fmla="*/ 238 w 407"/>
                <a:gd name="T43" fmla="*/ 663 h 795"/>
                <a:gd name="T44" fmla="*/ 204 w 407"/>
                <a:gd name="T45" fmla="*/ 670 h 795"/>
                <a:gd name="T46" fmla="*/ 180 w 407"/>
                <a:gd name="T47" fmla="*/ 703 h 795"/>
                <a:gd name="T48" fmla="*/ 196 w 407"/>
                <a:gd name="T49" fmla="*/ 734 h 795"/>
                <a:gd name="T50" fmla="*/ 194 w 407"/>
                <a:gd name="T51" fmla="*/ 789 h 795"/>
                <a:gd name="T52" fmla="*/ 228 w 407"/>
                <a:gd name="T53" fmla="*/ 783 h 795"/>
                <a:gd name="T54" fmla="*/ 255 w 407"/>
                <a:gd name="T55" fmla="*/ 752 h 795"/>
                <a:gd name="T56" fmla="*/ 285 w 407"/>
                <a:gd name="T57" fmla="*/ 735 h 795"/>
                <a:gd name="T58" fmla="*/ 300 w 407"/>
                <a:gd name="T59" fmla="*/ 693 h 795"/>
                <a:gd name="T60" fmla="*/ 391 w 407"/>
                <a:gd name="T61" fmla="*/ 639 h 795"/>
                <a:gd name="T62" fmla="*/ 385 w 407"/>
                <a:gd name="T63" fmla="*/ 539 h 795"/>
                <a:gd name="T64" fmla="*/ 390 w 407"/>
                <a:gd name="T65" fmla="*/ 485 h 795"/>
                <a:gd name="T66" fmla="*/ 363 w 407"/>
                <a:gd name="T67" fmla="*/ 418 h 795"/>
                <a:gd name="T68" fmla="*/ 256 w 407"/>
                <a:gd name="T69" fmla="*/ 332 h 795"/>
                <a:gd name="T70" fmla="*/ 193 w 407"/>
                <a:gd name="T71" fmla="*/ 235 h 795"/>
                <a:gd name="T72" fmla="*/ 197 w 407"/>
                <a:gd name="T73" fmla="*/ 160 h 795"/>
                <a:gd name="T74" fmla="*/ 229 w 407"/>
                <a:gd name="T75" fmla="*/ 129 h 795"/>
                <a:gd name="T76" fmla="*/ 259 w 407"/>
                <a:gd name="T77" fmla="*/ 100 h 795"/>
                <a:gd name="T78" fmla="*/ 257 w 407"/>
                <a:gd name="T79" fmla="*/ 92 h 795"/>
                <a:gd name="T80" fmla="*/ 218 w 407"/>
                <a:gd name="T81" fmla="*/ 75 h 795"/>
                <a:gd name="T82" fmla="*/ 207 w 407"/>
                <a:gd name="T83" fmla="*/ 61 h 795"/>
                <a:gd name="T84" fmla="*/ 196 w 407"/>
                <a:gd name="T85" fmla="*/ 47 h 795"/>
                <a:gd name="T86" fmla="*/ 182 w 407"/>
                <a:gd name="T87" fmla="*/ 25 h 795"/>
                <a:gd name="T88" fmla="*/ 156 w 407"/>
                <a:gd name="T89" fmla="*/ 22 h 795"/>
                <a:gd name="T90" fmla="*/ 115 w 407"/>
                <a:gd name="T91" fmla="*/ 9 h 795"/>
                <a:gd name="T92" fmla="*/ 95 w 407"/>
                <a:gd name="T93" fmla="*/ 36 h 795"/>
                <a:gd name="T94" fmla="*/ 80 w 407"/>
                <a:gd name="T95" fmla="*/ 29 h 795"/>
                <a:gd name="T96" fmla="*/ 72 w 407"/>
                <a:gd name="T97" fmla="*/ 42 h 795"/>
                <a:gd name="T98" fmla="*/ 58 w 407"/>
                <a:gd name="T99" fmla="*/ 30 h 795"/>
                <a:gd name="T100" fmla="*/ 48 w 407"/>
                <a:gd name="T101" fmla="*/ 31 h 795"/>
                <a:gd name="T102" fmla="*/ 4 w 407"/>
                <a:gd name="T103" fmla="*/ 32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7" h="795">
                  <a:moveTo>
                    <a:pt x="4" y="32"/>
                  </a:moveTo>
                  <a:cubicBezTo>
                    <a:pt x="0" y="40"/>
                    <a:pt x="0" y="55"/>
                    <a:pt x="6" y="62"/>
                  </a:cubicBezTo>
                  <a:cubicBezTo>
                    <a:pt x="12" y="69"/>
                    <a:pt x="28" y="87"/>
                    <a:pt x="28" y="87"/>
                  </a:cubicBezTo>
                  <a:cubicBezTo>
                    <a:pt x="28" y="87"/>
                    <a:pt x="33" y="80"/>
                    <a:pt x="37" y="84"/>
                  </a:cubicBezTo>
                  <a:cubicBezTo>
                    <a:pt x="41" y="88"/>
                    <a:pt x="28" y="97"/>
                    <a:pt x="38" y="110"/>
                  </a:cubicBezTo>
                  <a:cubicBezTo>
                    <a:pt x="48" y="123"/>
                    <a:pt x="61" y="137"/>
                    <a:pt x="61" y="137"/>
                  </a:cubicBezTo>
                  <a:cubicBezTo>
                    <a:pt x="70" y="137"/>
                    <a:pt x="70" y="137"/>
                    <a:pt x="70" y="137"/>
                  </a:cubicBezTo>
                  <a:cubicBezTo>
                    <a:pt x="70" y="137"/>
                    <a:pt x="75" y="153"/>
                    <a:pt x="82" y="145"/>
                  </a:cubicBezTo>
                  <a:cubicBezTo>
                    <a:pt x="89" y="137"/>
                    <a:pt x="86" y="125"/>
                    <a:pt x="94" y="126"/>
                  </a:cubicBezTo>
                  <a:cubicBezTo>
                    <a:pt x="102" y="127"/>
                    <a:pt x="124" y="145"/>
                    <a:pt x="124" y="145"/>
                  </a:cubicBezTo>
                  <a:cubicBezTo>
                    <a:pt x="124" y="145"/>
                    <a:pt x="104" y="151"/>
                    <a:pt x="122" y="159"/>
                  </a:cubicBezTo>
                  <a:cubicBezTo>
                    <a:pt x="140" y="167"/>
                    <a:pt x="159" y="169"/>
                    <a:pt x="153" y="179"/>
                  </a:cubicBezTo>
                  <a:cubicBezTo>
                    <a:pt x="147" y="189"/>
                    <a:pt x="128" y="203"/>
                    <a:pt x="128" y="203"/>
                  </a:cubicBezTo>
                  <a:cubicBezTo>
                    <a:pt x="128" y="203"/>
                    <a:pt x="99" y="195"/>
                    <a:pt x="101" y="199"/>
                  </a:cubicBezTo>
                  <a:cubicBezTo>
                    <a:pt x="103" y="203"/>
                    <a:pt x="103" y="215"/>
                    <a:pt x="103" y="215"/>
                  </a:cubicBezTo>
                  <a:cubicBezTo>
                    <a:pt x="103" y="215"/>
                    <a:pt x="136" y="235"/>
                    <a:pt x="142" y="240"/>
                  </a:cubicBezTo>
                  <a:cubicBezTo>
                    <a:pt x="148" y="245"/>
                    <a:pt x="166" y="250"/>
                    <a:pt x="166" y="250"/>
                  </a:cubicBezTo>
                  <a:cubicBezTo>
                    <a:pt x="166" y="250"/>
                    <a:pt x="165" y="267"/>
                    <a:pt x="169" y="271"/>
                  </a:cubicBezTo>
                  <a:cubicBezTo>
                    <a:pt x="173" y="275"/>
                    <a:pt x="195" y="283"/>
                    <a:pt x="195" y="283"/>
                  </a:cubicBezTo>
                  <a:cubicBezTo>
                    <a:pt x="195" y="283"/>
                    <a:pt x="192" y="303"/>
                    <a:pt x="205" y="314"/>
                  </a:cubicBezTo>
                  <a:cubicBezTo>
                    <a:pt x="218" y="325"/>
                    <a:pt x="229" y="336"/>
                    <a:pt x="229" y="336"/>
                  </a:cubicBezTo>
                  <a:cubicBezTo>
                    <a:pt x="230" y="347"/>
                    <a:pt x="230" y="347"/>
                    <a:pt x="230" y="347"/>
                  </a:cubicBezTo>
                  <a:cubicBezTo>
                    <a:pt x="244" y="346"/>
                    <a:pt x="244" y="346"/>
                    <a:pt x="244" y="346"/>
                  </a:cubicBezTo>
                  <a:cubicBezTo>
                    <a:pt x="244" y="346"/>
                    <a:pt x="247" y="363"/>
                    <a:pt x="254" y="370"/>
                  </a:cubicBezTo>
                  <a:cubicBezTo>
                    <a:pt x="261" y="377"/>
                    <a:pt x="271" y="378"/>
                    <a:pt x="271" y="378"/>
                  </a:cubicBezTo>
                  <a:cubicBezTo>
                    <a:pt x="271" y="378"/>
                    <a:pt x="295" y="392"/>
                    <a:pt x="287" y="397"/>
                  </a:cubicBezTo>
                  <a:cubicBezTo>
                    <a:pt x="279" y="402"/>
                    <a:pt x="265" y="405"/>
                    <a:pt x="279" y="416"/>
                  </a:cubicBezTo>
                  <a:cubicBezTo>
                    <a:pt x="293" y="427"/>
                    <a:pt x="312" y="436"/>
                    <a:pt x="312" y="436"/>
                  </a:cubicBezTo>
                  <a:cubicBezTo>
                    <a:pt x="301" y="457"/>
                    <a:pt x="301" y="457"/>
                    <a:pt x="301" y="457"/>
                  </a:cubicBezTo>
                  <a:cubicBezTo>
                    <a:pt x="301" y="457"/>
                    <a:pt x="314" y="462"/>
                    <a:pt x="310" y="470"/>
                  </a:cubicBezTo>
                  <a:cubicBezTo>
                    <a:pt x="306" y="478"/>
                    <a:pt x="300" y="477"/>
                    <a:pt x="300" y="477"/>
                  </a:cubicBezTo>
                  <a:cubicBezTo>
                    <a:pt x="300" y="505"/>
                    <a:pt x="300" y="505"/>
                    <a:pt x="300" y="505"/>
                  </a:cubicBezTo>
                  <a:cubicBezTo>
                    <a:pt x="300" y="505"/>
                    <a:pt x="321" y="516"/>
                    <a:pt x="321" y="529"/>
                  </a:cubicBezTo>
                  <a:cubicBezTo>
                    <a:pt x="321" y="542"/>
                    <a:pt x="305" y="542"/>
                    <a:pt x="306" y="545"/>
                  </a:cubicBezTo>
                  <a:cubicBezTo>
                    <a:pt x="307" y="548"/>
                    <a:pt x="317" y="584"/>
                    <a:pt x="317" y="584"/>
                  </a:cubicBezTo>
                  <a:cubicBezTo>
                    <a:pt x="314" y="598"/>
                    <a:pt x="314" y="598"/>
                    <a:pt x="314" y="598"/>
                  </a:cubicBezTo>
                  <a:cubicBezTo>
                    <a:pt x="314" y="598"/>
                    <a:pt x="302" y="593"/>
                    <a:pt x="297" y="596"/>
                  </a:cubicBezTo>
                  <a:cubicBezTo>
                    <a:pt x="292" y="599"/>
                    <a:pt x="291" y="610"/>
                    <a:pt x="291" y="610"/>
                  </a:cubicBezTo>
                  <a:cubicBezTo>
                    <a:pt x="270" y="611"/>
                    <a:pt x="270" y="611"/>
                    <a:pt x="270" y="611"/>
                  </a:cubicBezTo>
                  <a:cubicBezTo>
                    <a:pt x="273" y="625"/>
                    <a:pt x="273" y="625"/>
                    <a:pt x="273" y="625"/>
                  </a:cubicBezTo>
                  <a:cubicBezTo>
                    <a:pt x="273" y="625"/>
                    <a:pt x="246" y="621"/>
                    <a:pt x="244" y="627"/>
                  </a:cubicBezTo>
                  <a:cubicBezTo>
                    <a:pt x="242" y="633"/>
                    <a:pt x="242" y="651"/>
                    <a:pt x="252" y="659"/>
                  </a:cubicBezTo>
                  <a:cubicBezTo>
                    <a:pt x="262" y="667"/>
                    <a:pt x="269" y="677"/>
                    <a:pt x="262" y="678"/>
                  </a:cubicBezTo>
                  <a:cubicBezTo>
                    <a:pt x="255" y="679"/>
                    <a:pt x="248" y="663"/>
                    <a:pt x="238" y="663"/>
                  </a:cubicBezTo>
                  <a:cubicBezTo>
                    <a:pt x="228" y="663"/>
                    <a:pt x="226" y="670"/>
                    <a:pt x="222" y="670"/>
                  </a:cubicBezTo>
                  <a:cubicBezTo>
                    <a:pt x="218" y="670"/>
                    <a:pt x="204" y="670"/>
                    <a:pt x="204" y="670"/>
                  </a:cubicBezTo>
                  <a:cubicBezTo>
                    <a:pt x="204" y="670"/>
                    <a:pt x="228" y="684"/>
                    <a:pt x="208" y="686"/>
                  </a:cubicBezTo>
                  <a:cubicBezTo>
                    <a:pt x="188" y="688"/>
                    <a:pt x="174" y="695"/>
                    <a:pt x="180" y="703"/>
                  </a:cubicBezTo>
                  <a:cubicBezTo>
                    <a:pt x="186" y="711"/>
                    <a:pt x="209" y="723"/>
                    <a:pt x="209" y="723"/>
                  </a:cubicBezTo>
                  <a:cubicBezTo>
                    <a:pt x="196" y="734"/>
                    <a:pt x="196" y="734"/>
                    <a:pt x="196" y="734"/>
                  </a:cubicBezTo>
                  <a:cubicBezTo>
                    <a:pt x="196" y="734"/>
                    <a:pt x="210" y="769"/>
                    <a:pt x="203" y="775"/>
                  </a:cubicBezTo>
                  <a:cubicBezTo>
                    <a:pt x="199" y="778"/>
                    <a:pt x="196" y="784"/>
                    <a:pt x="194" y="789"/>
                  </a:cubicBezTo>
                  <a:cubicBezTo>
                    <a:pt x="195" y="789"/>
                    <a:pt x="195" y="789"/>
                    <a:pt x="195" y="789"/>
                  </a:cubicBezTo>
                  <a:cubicBezTo>
                    <a:pt x="204" y="795"/>
                    <a:pt x="218" y="795"/>
                    <a:pt x="228" y="783"/>
                  </a:cubicBezTo>
                  <a:cubicBezTo>
                    <a:pt x="239" y="772"/>
                    <a:pt x="252" y="768"/>
                    <a:pt x="252" y="768"/>
                  </a:cubicBezTo>
                  <a:cubicBezTo>
                    <a:pt x="255" y="752"/>
                    <a:pt x="255" y="752"/>
                    <a:pt x="255" y="752"/>
                  </a:cubicBezTo>
                  <a:cubicBezTo>
                    <a:pt x="255" y="736"/>
                    <a:pt x="255" y="736"/>
                    <a:pt x="255" y="736"/>
                  </a:cubicBezTo>
                  <a:cubicBezTo>
                    <a:pt x="255" y="736"/>
                    <a:pt x="280" y="747"/>
                    <a:pt x="285" y="735"/>
                  </a:cubicBezTo>
                  <a:cubicBezTo>
                    <a:pt x="289" y="723"/>
                    <a:pt x="269" y="711"/>
                    <a:pt x="273" y="708"/>
                  </a:cubicBezTo>
                  <a:cubicBezTo>
                    <a:pt x="277" y="704"/>
                    <a:pt x="300" y="693"/>
                    <a:pt x="300" y="693"/>
                  </a:cubicBezTo>
                  <a:cubicBezTo>
                    <a:pt x="300" y="693"/>
                    <a:pt x="311" y="702"/>
                    <a:pt x="334" y="690"/>
                  </a:cubicBezTo>
                  <a:cubicBezTo>
                    <a:pt x="356" y="679"/>
                    <a:pt x="387" y="656"/>
                    <a:pt x="391" y="639"/>
                  </a:cubicBezTo>
                  <a:cubicBezTo>
                    <a:pt x="394" y="622"/>
                    <a:pt x="407" y="577"/>
                    <a:pt x="405" y="567"/>
                  </a:cubicBezTo>
                  <a:cubicBezTo>
                    <a:pt x="403" y="557"/>
                    <a:pt x="385" y="539"/>
                    <a:pt x="385" y="539"/>
                  </a:cubicBezTo>
                  <a:cubicBezTo>
                    <a:pt x="395" y="535"/>
                    <a:pt x="395" y="535"/>
                    <a:pt x="395" y="535"/>
                  </a:cubicBezTo>
                  <a:cubicBezTo>
                    <a:pt x="395" y="535"/>
                    <a:pt x="395" y="498"/>
                    <a:pt x="390" y="485"/>
                  </a:cubicBezTo>
                  <a:cubicBezTo>
                    <a:pt x="384" y="471"/>
                    <a:pt x="368" y="448"/>
                    <a:pt x="368" y="448"/>
                  </a:cubicBezTo>
                  <a:cubicBezTo>
                    <a:pt x="368" y="448"/>
                    <a:pt x="379" y="434"/>
                    <a:pt x="363" y="418"/>
                  </a:cubicBezTo>
                  <a:cubicBezTo>
                    <a:pt x="347" y="403"/>
                    <a:pt x="302" y="361"/>
                    <a:pt x="288" y="354"/>
                  </a:cubicBezTo>
                  <a:cubicBezTo>
                    <a:pt x="274" y="348"/>
                    <a:pt x="259" y="340"/>
                    <a:pt x="256" y="332"/>
                  </a:cubicBezTo>
                  <a:cubicBezTo>
                    <a:pt x="252" y="325"/>
                    <a:pt x="260" y="319"/>
                    <a:pt x="254" y="309"/>
                  </a:cubicBezTo>
                  <a:cubicBezTo>
                    <a:pt x="248" y="299"/>
                    <a:pt x="200" y="258"/>
                    <a:pt x="193" y="235"/>
                  </a:cubicBezTo>
                  <a:cubicBezTo>
                    <a:pt x="187" y="211"/>
                    <a:pt x="182" y="185"/>
                    <a:pt x="188" y="180"/>
                  </a:cubicBezTo>
                  <a:cubicBezTo>
                    <a:pt x="195" y="176"/>
                    <a:pt x="197" y="160"/>
                    <a:pt x="197" y="160"/>
                  </a:cubicBezTo>
                  <a:cubicBezTo>
                    <a:pt x="197" y="160"/>
                    <a:pt x="215" y="147"/>
                    <a:pt x="220" y="143"/>
                  </a:cubicBezTo>
                  <a:cubicBezTo>
                    <a:pt x="226" y="140"/>
                    <a:pt x="229" y="129"/>
                    <a:pt x="229" y="129"/>
                  </a:cubicBezTo>
                  <a:cubicBezTo>
                    <a:pt x="229" y="129"/>
                    <a:pt x="248" y="132"/>
                    <a:pt x="254" y="127"/>
                  </a:cubicBezTo>
                  <a:cubicBezTo>
                    <a:pt x="259" y="122"/>
                    <a:pt x="259" y="100"/>
                    <a:pt x="259" y="100"/>
                  </a:cubicBezTo>
                  <a:cubicBezTo>
                    <a:pt x="266" y="95"/>
                    <a:pt x="266" y="95"/>
                    <a:pt x="266" y="95"/>
                  </a:cubicBezTo>
                  <a:cubicBezTo>
                    <a:pt x="264" y="94"/>
                    <a:pt x="261" y="92"/>
                    <a:pt x="257" y="92"/>
                  </a:cubicBezTo>
                  <a:cubicBezTo>
                    <a:pt x="249" y="91"/>
                    <a:pt x="236" y="94"/>
                    <a:pt x="229" y="87"/>
                  </a:cubicBezTo>
                  <a:cubicBezTo>
                    <a:pt x="222" y="80"/>
                    <a:pt x="218" y="75"/>
                    <a:pt x="218" y="75"/>
                  </a:cubicBezTo>
                  <a:cubicBezTo>
                    <a:pt x="207" y="74"/>
                    <a:pt x="207" y="74"/>
                    <a:pt x="207" y="74"/>
                  </a:cubicBezTo>
                  <a:cubicBezTo>
                    <a:pt x="207" y="61"/>
                    <a:pt x="207" y="61"/>
                    <a:pt x="207" y="61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96" y="47"/>
                    <a:pt x="196" y="47"/>
                    <a:pt x="196" y="47"/>
                  </a:cubicBezTo>
                  <a:cubicBezTo>
                    <a:pt x="196" y="47"/>
                    <a:pt x="212" y="40"/>
                    <a:pt x="207" y="32"/>
                  </a:cubicBezTo>
                  <a:cubicBezTo>
                    <a:pt x="202" y="24"/>
                    <a:pt x="182" y="25"/>
                    <a:pt x="182" y="25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4" y="0"/>
                    <a:pt x="119" y="4"/>
                    <a:pt x="115" y="9"/>
                  </a:cubicBezTo>
                  <a:cubicBezTo>
                    <a:pt x="111" y="14"/>
                    <a:pt x="117" y="28"/>
                    <a:pt x="110" y="30"/>
                  </a:cubicBezTo>
                  <a:cubicBezTo>
                    <a:pt x="103" y="32"/>
                    <a:pt x="95" y="36"/>
                    <a:pt x="95" y="36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97" y="45"/>
                    <a:pt x="84" y="46"/>
                  </a:cubicBezTo>
                  <a:cubicBezTo>
                    <a:pt x="71" y="47"/>
                    <a:pt x="72" y="42"/>
                    <a:pt x="72" y="42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39" y="47"/>
                    <a:pt x="33" y="47"/>
                  </a:cubicBezTo>
                  <a:cubicBezTo>
                    <a:pt x="27" y="47"/>
                    <a:pt x="8" y="24"/>
                    <a:pt x="4" y="3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217">
              <a:extLst>
                <a:ext uri="{FF2B5EF4-FFF2-40B4-BE49-F238E27FC236}">
                  <a16:creationId xmlns:a16="http://schemas.microsoft.com/office/drawing/2014/main" id="{01FDAFAB-143E-5998-6A99-EB5A83B576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8" y="-13873"/>
              <a:ext cx="945" cy="551"/>
            </a:xfrm>
            <a:custGeom>
              <a:avLst/>
              <a:gdLst>
                <a:gd name="T0" fmla="*/ 203 w 400"/>
                <a:gd name="T1" fmla="*/ 166 h 233"/>
                <a:gd name="T2" fmla="*/ 213 w 400"/>
                <a:gd name="T3" fmla="*/ 179 h 233"/>
                <a:gd name="T4" fmla="*/ 227 w 400"/>
                <a:gd name="T5" fmla="*/ 176 h 233"/>
                <a:gd name="T6" fmla="*/ 244 w 400"/>
                <a:gd name="T7" fmla="*/ 194 h 233"/>
                <a:gd name="T8" fmla="*/ 262 w 400"/>
                <a:gd name="T9" fmla="*/ 213 h 233"/>
                <a:gd name="T10" fmla="*/ 274 w 400"/>
                <a:gd name="T11" fmla="*/ 204 h 233"/>
                <a:gd name="T12" fmla="*/ 296 w 400"/>
                <a:gd name="T13" fmla="*/ 218 h 233"/>
                <a:gd name="T14" fmla="*/ 313 w 400"/>
                <a:gd name="T15" fmla="*/ 213 h 233"/>
                <a:gd name="T16" fmla="*/ 337 w 400"/>
                <a:gd name="T17" fmla="*/ 230 h 233"/>
                <a:gd name="T18" fmla="*/ 351 w 400"/>
                <a:gd name="T19" fmla="*/ 219 h 233"/>
                <a:gd name="T20" fmla="*/ 361 w 400"/>
                <a:gd name="T21" fmla="*/ 229 h 233"/>
                <a:gd name="T22" fmla="*/ 377 w 400"/>
                <a:gd name="T23" fmla="*/ 230 h 233"/>
                <a:gd name="T24" fmla="*/ 399 w 400"/>
                <a:gd name="T25" fmla="*/ 224 h 233"/>
                <a:gd name="T26" fmla="*/ 400 w 400"/>
                <a:gd name="T27" fmla="*/ 206 h 233"/>
                <a:gd name="T28" fmla="*/ 390 w 400"/>
                <a:gd name="T29" fmla="*/ 191 h 233"/>
                <a:gd name="T30" fmla="*/ 390 w 400"/>
                <a:gd name="T31" fmla="*/ 159 h 233"/>
                <a:gd name="T32" fmla="*/ 384 w 400"/>
                <a:gd name="T33" fmla="*/ 144 h 233"/>
                <a:gd name="T34" fmla="*/ 363 w 400"/>
                <a:gd name="T35" fmla="*/ 153 h 233"/>
                <a:gd name="T36" fmla="*/ 316 w 400"/>
                <a:gd name="T37" fmla="*/ 134 h 233"/>
                <a:gd name="T38" fmla="*/ 304 w 400"/>
                <a:gd name="T39" fmla="*/ 143 h 233"/>
                <a:gd name="T40" fmla="*/ 295 w 400"/>
                <a:gd name="T41" fmla="*/ 130 h 233"/>
                <a:gd name="T42" fmla="*/ 284 w 400"/>
                <a:gd name="T43" fmla="*/ 143 h 233"/>
                <a:gd name="T44" fmla="*/ 275 w 400"/>
                <a:gd name="T45" fmla="*/ 124 h 233"/>
                <a:gd name="T46" fmla="*/ 247 w 400"/>
                <a:gd name="T47" fmla="*/ 126 h 233"/>
                <a:gd name="T48" fmla="*/ 243 w 400"/>
                <a:gd name="T49" fmla="*/ 109 h 233"/>
                <a:gd name="T50" fmla="*/ 223 w 400"/>
                <a:gd name="T51" fmla="*/ 113 h 233"/>
                <a:gd name="T52" fmla="*/ 201 w 400"/>
                <a:gd name="T53" fmla="*/ 95 h 233"/>
                <a:gd name="T54" fmla="*/ 187 w 400"/>
                <a:gd name="T55" fmla="*/ 66 h 233"/>
                <a:gd name="T56" fmla="*/ 168 w 400"/>
                <a:gd name="T57" fmla="*/ 83 h 233"/>
                <a:gd name="T58" fmla="*/ 149 w 400"/>
                <a:gd name="T59" fmla="*/ 50 h 233"/>
                <a:gd name="T60" fmla="*/ 118 w 400"/>
                <a:gd name="T61" fmla="*/ 44 h 233"/>
                <a:gd name="T62" fmla="*/ 86 w 400"/>
                <a:gd name="T63" fmla="*/ 15 h 233"/>
                <a:gd name="T64" fmla="*/ 59 w 400"/>
                <a:gd name="T65" fmla="*/ 17 h 233"/>
                <a:gd name="T66" fmla="*/ 44 w 400"/>
                <a:gd name="T67" fmla="*/ 30 h 233"/>
                <a:gd name="T68" fmla="*/ 32 w 400"/>
                <a:gd name="T69" fmla="*/ 19 h 233"/>
                <a:gd name="T70" fmla="*/ 26 w 400"/>
                <a:gd name="T71" fmla="*/ 32 h 233"/>
                <a:gd name="T72" fmla="*/ 11 w 400"/>
                <a:gd name="T73" fmla="*/ 50 h 233"/>
                <a:gd name="T74" fmla="*/ 17 w 400"/>
                <a:gd name="T75" fmla="*/ 59 h 233"/>
                <a:gd name="T76" fmla="*/ 10 w 400"/>
                <a:gd name="T77" fmla="*/ 67 h 233"/>
                <a:gd name="T78" fmla="*/ 19 w 400"/>
                <a:gd name="T79" fmla="*/ 73 h 233"/>
                <a:gd name="T80" fmla="*/ 7 w 400"/>
                <a:gd name="T81" fmla="*/ 91 h 233"/>
                <a:gd name="T82" fmla="*/ 26 w 400"/>
                <a:gd name="T83" fmla="*/ 110 h 233"/>
                <a:gd name="T84" fmla="*/ 36 w 400"/>
                <a:gd name="T85" fmla="*/ 104 h 233"/>
                <a:gd name="T86" fmla="*/ 47 w 400"/>
                <a:gd name="T87" fmla="*/ 122 h 233"/>
                <a:gd name="T88" fmla="*/ 65 w 400"/>
                <a:gd name="T89" fmla="*/ 122 h 233"/>
                <a:gd name="T90" fmla="*/ 72 w 400"/>
                <a:gd name="T91" fmla="*/ 132 h 233"/>
                <a:gd name="T92" fmla="*/ 100 w 400"/>
                <a:gd name="T93" fmla="*/ 147 h 233"/>
                <a:gd name="T94" fmla="*/ 109 w 400"/>
                <a:gd name="T95" fmla="*/ 146 h 233"/>
                <a:gd name="T96" fmla="*/ 124 w 400"/>
                <a:gd name="T97" fmla="*/ 160 h 233"/>
                <a:gd name="T98" fmla="*/ 142 w 400"/>
                <a:gd name="T99" fmla="*/ 159 h 233"/>
                <a:gd name="T100" fmla="*/ 148 w 400"/>
                <a:gd name="T101" fmla="*/ 168 h 233"/>
                <a:gd name="T102" fmla="*/ 168 w 400"/>
                <a:gd name="T103" fmla="*/ 174 h 233"/>
                <a:gd name="T104" fmla="*/ 171 w 400"/>
                <a:gd name="T105" fmla="*/ 181 h 233"/>
                <a:gd name="T106" fmla="*/ 185 w 400"/>
                <a:gd name="T107" fmla="*/ 173 h 233"/>
                <a:gd name="T108" fmla="*/ 195 w 400"/>
                <a:gd name="T109" fmla="*/ 180 h 233"/>
                <a:gd name="T110" fmla="*/ 203 w 400"/>
                <a:gd name="T111" fmla="*/ 16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0" h="233">
                  <a:moveTo>
                    <a:pt x="203" y="166"/>
                  </a:moveTo>
                  <a:cubicBezTo>
                    <a:pt x="212" y="171"/>
                    <a:pt x="213" y="179"/>
                    <a:pt x="213" y="179"/>
                  </a:cubicBezTo>
                  <a:cubicBezTo>
                    <a:pt x="227" y="176"/>
                    <a:pt x="227" y="176"/>
                    <a:pt x="227" y="176"/>
                  </a:cubicBezTo>
                  <a:cubicBezTo>
                    <a:pt x="227" y="176"/>
                    <a:pt x="235" y="186"/>
                    <a:pt x="244" y="194"/>
                  </a:cubicBezTo>
                  <a:cubicBezTo>
                    <a:pt x="253" y="202"/>
                    <a:pt x="262" y="213"/>
                    <a:pt x="262" y="213"/>
                  </a:cubicBezTo>
                  <a:cubicBezTo>
                    <a:pt x="274" y="204"/>
                    <a:pt x="274" y="204"/>
                    <a:pt x="274" y="204"/>
                  </a:cubicBezTo>
                  <a:cubicBezTo>
                    <a:pt x="296" y="218"/>
                    <a:pt x="296" y="218"/>
                    <a:pt x="296" y="218"/>
                  </a:cubicBezTo>
                  <a:cubicBezTo>
                    <a:pt x="296" y="218"/>
                    <a:pt x="300" y="209"/>
                    <a:pt x="313" y="213"/>
                  </a:cubicBezTo>
                  <a:cubicBezTo>
                    <a:pt x="326" y="217"/>
                    <a:pt x="337" y="230"/>
                    <a:pt x="337" y="230"/>
                  </a:cubicBezTo>
                  <a:cubicBezTo>
                    <a:pt x="337" y="230"/>
                    <a:pt x="345" y="219"/>
                    <a:pt x="351" y="219"/>
                  </a:cubicBezTo>
                  <a:cubicBezTo>
                    <a:pt x="357" y="219"/>
                    <a:pt x="352" y="229"/>
                    <a:pt x="361" y="229"/>
                  </a:cubicBezTo>
                  <a:cubicBezTo>
                    <a:pt x="370" y="229"/>
                    <a:pt x="377" y="230"/>
                    <a:pt x="377" y="230"/>
                  </a:cubicBezTo>
                  <a:cubicBezTo>
                    <a:pt x="377" y="230"/>
                    <a:pt x="398" y="233"/>
                    <a:pt x="399" y="224"/>
                  </a:cubicBezTo>
                  <a:cubicBezTo>
                    <a:pt x="400" y="215"/>
                    <a:pt x="400" y="206"/>
                    <a:pt x="400" y="206"/>
                  </a:cubicBezTo>
                  <a:cubicBezTo>
                    <a:pt x="390" y="191"/>
                    <a:pt x="390" y="191"/>
                    <a:pt x="390" y="191"/>
                  </a:cubicBezTo>
                  <a:cubicBezTo>
                    <a:pt x="390" y="159"/>
                    <a:pt x="390" y="159"/>
                    <a:pt x="390" y="159"/>
                  </a:cubicBezTo>
                  <a:cubicBezTo>
                    <a:pt x="384" y="144"/>
                    <a:pt x="384" y="144"/>
                    <a:pt x="384" y="144"/>
                  </a:cubicBezTo>
                  <a:cubicBezTo>
                    <a:pt x="376" y="148"/>
                    <a:pt x="369" y="152"/>
                    <a:pt x="363" y="153"/>
                  </a:cubicBezTo>
                  <a:cubicBezTo>
                    <a:pt x="349" y="154"/>
                    <a:pt x="316" y="134"/>
                    <a:pt x="316" y="134"/>
                  </a:cubicBezTo>
                  <a:cubicBezTo>
                    <a:pt x="316" y="134"/>
                    <a:pt x="314" y="142"/>
                    <a:pt x="304" y="143"/>
                  </a:cubicBezTo>
                  <a:cubicBezTo>
                    <a:pt x="294" y="144"/>
                    <a:pt x="295" y="130"/>
                    <a:pt x="295" y="130"/>
                  </a:cubicBezTo>
                  <a:cubicBezTo>
                    <a:pt x="295" y="130"/>
                    <a:pt x="293" y="144"/>
                    <a:pt x="284" y="143"/>
                  </a:cubicBezTo>
                  <a:cubicBezTo>
                    <a:pt x="275" y="142"/>
                    <a:pt x="275" y="124"/>
                    <a:pt x="275" y="124"/>
                  </a:cubicBezTo>
                  <a:cubicBezTo>
                    <a:pt x="275" y="124"/>
                    <a:pt x="263" y="133"/>
                    <a:pt x="247" y="126"/>
                  </a:cubicBezTo>
                  <a:cubicBezTo>
                    <a:pt x="231" y="119"/>
                    <a:pt x="248" y="116"/>
                    <a:pt x="243" y="109"/>
                  </a:cubicBezTo>
                  <a:cubicBezTo>
                    <a:pt x="238" y="102"/>
                    <a:pt x="223" y="113"/>
                    <a:pt x="223" y="113"/>
                  </a:cubicBezTo>
                  <a:cubicBezTo>
                    <a:pt x="223" y="113"/>
                    <a:pt x="209" y="101"/>
                    <a:pt x="201" y="95"/>
                  </a:cubicBezTo>
                  <a:cubicBezTo>
                    <a:pt x="193" y="89"/>
                    <a:pt x="198" y="73"/>
                    <a:pt x="187" y="66"/>
                  </a:cubicBezTo>
                  <a:cubicBezTo>
                    <a:pt x="176" y="59"/>
                    <a:pt x="172" y="84"/>
                    <a:pt x="168" y="83"/>
                  </a:cubicBezTo>
                  <a:cubicBezTo>
                    <a:pt x="164" y="82"/>
                    <a:pt x="149" y="50"/>
                    <a:pt x="149" y="50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8" y="44"/>
                    <a:pt x="100" y="30"/>
                    <a:pt x="86" y="15"/>
                  </a:cubicBezTo>
                  <a:cubicBezTo>
                    <a:pt x="72" y="0"/>
                    <a:pt x="59" y="17"/>
                    <a:pt x="59" y="17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6" y="61"/>
                    <a:pt x="10" y="67"/>
                  </a:cubicBezTo>
                  <a:cubicBezTo>
                    <a:pt x="14" y="73"/>
                    <a:pt x="19" y="73"/>
                    <a:pt x="19" y="73"/>
                  </a:cubicBezTo>
                  <a:cubicBezTo>
                    <a:pt x="19" y="73"/>
                    <a:pt x="0" y="83"/>
                    <a:pt x="7" y="91"/>
                  </a:cubicBezTo>
                  <a:cubicBezTo>
                    <a:pt x="14" y="99"/>
                    <a:pt x="26" y="110"/>
                    <a:pt x="26" y="110"/>
                  </a:cubicBezTo>
                  <a:cubicBezTo>
                    <a:pt x="36" y="104"/>
                    <a:pt x="36" y="104"/>
                    <a:pt x="36" y="104"/>
                  </a:cubicBezTo>
                  <a:cubicBezTo>
                    <a:pt x="47" y="122"/>
                    <a:pt x="47" y="122"/>
                    <a:pt x="47" y="122"/>
                  </a:cubicBezTo>
                  <a:cubicBezTo>
                    <a:pt x="65" y="122"/>
                    <a:pt x="65" y="122"/>
                    <a:pt x="65" y="122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100" y="147"/>
                    <a:pt x="100" y="147"/>
                    <a:pt x="100" y="147"/>
                  </a:cubicBezTo>
                  <a:cubicBezTo>
                    <a:pt x="109" y="146"/>
                    <a:pt x="109" y="146"/>
                    <a:pt x="109" y="146"/>
                  </a:cubicBezTo>
                  <a:cubicBezTo>
                    <a:pt x="109" y="146"/>
                    <a:pt x="116" y="160"/>
                    <a:pt x="124" y="160"/>
                  </a:cubicBezTo>
                  <a:cubicBezTo>
                    <a:pt x="132" y="160"/>
                    <a:pt x="137" y="157"/>
                    <a:pt x="142" y="159"/>
                  </a:cubicBezTo>
                  <a:cubicBezTo>
                    <a:pt x="147" y="161"/>
                    <a:pt x="135" y="166"/>
                    <a:pt x="148" y="168"/>
                  </a:cubicBezTo>
                  <a:cubicBezTo>
                    <a:pt x="161" y="170"/>
                    <a:pt x="168" y="174"/>
                    <a:pt x="168" y="174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6" y="173"/>
                    <a:pt x="185" y="173"/>
                  </a:cubicBezTo>
                  <a:cubicBezTo>
                    <a:pt x="194" y="173"/>
                    <a:pt x="195" y="180"/>
                    <a:pt x="195" y="180"/>
                  </a:cubicBezTo>
                  <a:cubicBezTo>
                    <a:pt x="195" y="180"/>
                    <a:pt x="194" y="161"/>
                    <a:pt x="203" y="16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218">
              <a:extLst>
                <a:ext uri="{FF2B5EF4-FFF2-40B4-BE49-F238E27FC236}">
                  <a16:creationId xmlns:a16="http://schemas.microsoft.com/office/drawing/2014/main" id="{C2D677B0-7C51-4773-CF0A-790E14A7C2C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9" y="-13589"/>
              <a:ext cx="416" cy="219"/>
            </a:xfrm>
            <a:custGeom>
              <a:avLst/>
              <a:gdLst>
                <a:gd name="T0" fmla="*/ 66 w 176"/>
                <a:gd name="T1" fmla="*/ 92 h 93"/>
                <a:gd name="T2" fmla="*/ 88 w 176"/>
                <a:gd name="T3" fmla="*/ 84 h 93"/>
                <a:gd name="T4" fmla="*/ 113 w 176"/>
                <a:gd name="T5" fmla="*/ 90 h 93"/>
                <a:gd name="T6" fmla="*/ 139 w 176"/>
                <a:gd name="T7" fmla="*/ 86 h 93"/>
                <a:gd name="T8" fmla="*/ 162 w 176"/>
                <a:gd name="T9" fmla="*/ 86 h 93"/>
                <a:gd name="T10" fmla="*/ 161 w 176"/>
                <a:gd name="T11" fmla="*/ 68 h 93"/>
                <a:gd name="T12" fmla="*/ 161 w 176"/>
                <a:gd name="T13" fmla="*/ 54 h 93"/>
                <a:gd name="T14" fmla="*/ 140 w 176"/>
                <a:gd name="T15" fmla="*/ 48 h 93"/>
                <a:gd name="T16" fmla="*/ 142 w 176"/>
                <a:gd name="T17" fmla="*/ 39 h 93"/>
                <a:gd name="T18" fmla="*/ 129 w 176"/>
                <a:gd name="T19" fmla="*/ 18 h 93"/>
                <a:gd name="T20" fmla="*/ 80 w 176"/>
                <a:gd name="T21" fmla="*/ 25 h 93"/>
                <a:gd name="T22" fmla="*/ 80 w 176"/>
                <a:gd name="T23" fmla="*/ 11 h 93"/>
                <a:gd name="T24" fmla="*/ 56 w 176"/>
                <a:gd name="T25" fmla="*/ 5 h 93"/>
                <a:gd name="T26" fmla="*/ 18 w 176"/>
                <a:gd name="T27" fmla="*/ 56 h 93"/>
                <a:gd name="T28" fmla="*/ 23 w 176"/>
                <a:gd name="T29" fmla="*/ 76 h 93"/>
                <a:gd name="T30" fmla="*/ 50 w 176"/>
                <a:gd name="T31" fmla="*/ 81 h 93"/>
                <a:gd name="T32" fmla="*/ 66 w 176"/>
                <a:gd name="T33" fmla="*/ 9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" h="93">
                  <a:moveTo>
                    <a:pt x="66" y="92"/>
                  </a:moveTo>
                  <a:cubicBezTo>
                    <a:pt x="85" y="92"/>
                    <a:pt x="79" y="84"/>
                    <a:pt x="88" y="84"/>
                  </a:cubicBezTo>
                  <a:cubicBezTo>
                    <a:pt x="97" y="84"/>
                    <a:pt x="95" y="90"/>
                    <a:pt x="113" y="90"/>
                  </a:cubicBezTo>
                  <a:cubicBezTo>
                    <a:pt x="131" y="90"/>
                    <a:pt x="139" y="86"/>
                    <a:pt x="139" y="86"/>
                  </a:cubicBezTo>
                  <a:cubicBezTo>
                    <a:pt x="139" y="86"/>
                    <a:pt x="148" y="93"/>
                    <a:pt x="162" y="86"/>
                  </a:cubicBezTo>
                  <a:cubicBezTo>
                    <a:pt x="176" y="79"/>
                    <a:pt x="161" y="68"/>
                    <a:pt x="161" y="68"/>
                  </a:cubicBezTo>
                  <a:cubicBezTo>
                    <a:pt x="161" y="54"/>
                    <a:pt x="161" y="54"/>
                    <a:pt x="161" y="54"/>
                  </a:cubicBezTo>
                  <a:cubicBezTo>
                    <a:pt x="161" y="54"/>
                    <a:pt x="144" y="55"/>
                    <a:pt x="140" y="48"/>
                  </a:cubicBezTo>
                  <a:cubicBezTo>
                    <a:pt x="136" y="41"/>
                    <a:pt x="142" y="39"/>
                    <a:pt x="142" y="39"/>
                  </a:cubicBezTo>
                  <a:cubicBezTo>
                    <a:pt x="142" y="39"/>
                    <a:pt x="142" y="29"/>
                    <a:pt x="129" y="18"/>
                  </a:cubicBezTo>
                  <a:cubicBezTo>
                    <a:pt x="116" y="7"/>
                    <a:pt x="80" y="25"/>
                    <a:pt x="80" y="25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70" y="10"/>
                    <a:pt x="56" y="5"/>
                  </a:cubicBezTo>
                  <a:cubicBezTo>
                    <a:pt x="42" y="0"/>
                    <a:pt x="18" y="56"/>
                    <a:pt x="18" y="56"/>
                  </a:cubicBezTo>
                  <a:cubicBezTo>
                    <a:pt x="18" y="56"/>
                    <a:pt x="0" y="60"/>
                    <a:pt x="23" y="76"/>
                  </a:cubicBezTo>
                  <a:cubicBezTo>
                    <a:pt x="46" y="92"/>
                    <a:pt x="50" y="81"/>
                    <a:pt x="50" y="81"/>
                  </a:cubicBezTo>
                  <a:cubicBezTo>
                    <a:pt x="50" y="81"/>
                    <a:pt x="47" y="92"/>
                    <a:pt x="66" y="9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219">
              <a:extLst>
                <a:ext uri="{FF2B5EF4-FFF2-40B4-BE49-F238E27FC236}">
                  <a16:creationId xmlns:a16="http://schemas.microsoft.com/office/drawing/2014/main" id="{D307ED98-1B45-A581-649E-4B12AC4BD9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60" y="-13353"/>
              <a:ext cx="584" cy="671"/>
            </a:xfrm>
            <a:custGeom>
              <a:avLst/>
              <a:gdLst>
                <a:gd name="T0" fmla="*/ 90 w 247"/>
                <a:gd name="T1" fmla="*/ 275 h 284"/>
                <a:gd name="T2" fmla="*/ 92 w 247"/>
                <a:gd name="T3" fmla="*/ 236 h 284"/>
                <a:gd name="T4" fmla="*/ 142 w 247"/>
                <a:gd name="T5" fmla="*/ 250 h 284"/>
                <a:gd name="T6" fmla="*/ 143 w 247"/>
                <a:gd name="T7" fmla="*/ 227 h 284"/>
                <a:gd name="T8" fmla="*/ 182 w 247"/>
                <a:gd name="T9" fmla="*/ 240 h 284"/>
                <a:gd name="T10" fmla="*/ 190 w 247"/>
                <a:gd name="T11" fmla="*/ 223 h 284"/>
                <a:gd name="T12" fmla="*/ 182 w 247"/>
                <a:gd name="T13" fmla="*/ 202 h 284"/>
                <a:gd name="T14" fmla="*/ 213 w 247"/>
                <a:gd name="T15" fmla="*/ 235 h 284"/>
                <a:gd name="T16" fmla="*/ 210 w 247"/>
                <a:gd name="T17" fmla="*/ 280 h 284"/>
                <a:gd name="T18" fmla="*/ 222 w 247"/>
                <a:gd name="T19" fmla="*/ 284 h 284"/>
                <a:gd name="T20" fmla="*/ 226 w 247"/>
                <a:gd name="T21" fmla="*/ 273 h 284"/>
                <a:gd name="T22" fmla="*/ 247 w 247"/>
                <a:gd name="T23" fmla="*/ 276 h 284"/>
                <a:gd name="T24" fmla="*/ 240 w 247"/>
                <a:gd name="T25" fmla="*/ 237 h 284"/>
                <a:gd name="T26" fmla="*/ 220 w 247"/>
                <a:gd name="T27" fmla="*/ 187 h 284"/>
                <a:gd name="T28" fmla="*/ 204 w 247"/>
                <a:gd name="T29" fmla="*/ 153 h 284"/>
                <a:gd name="T30" fmla="*/ 194 w 247"/>
                <a:gd name="T31" fmla="*/ 170 h 284"/>
                <a:gd name="T32" fmla="*/ 187 w 247"/>
                <a:gd name="T33" fmla="*/ 193 h 284"/>
                <a:gd name="T34" fmla="*/ 178 w 247"/>
                <a:gd name="T35" fmla="*/ 178 h 284"/>
                <a:gd name="T36" fmla="*/ 158 w 247"/>
                <a:gd name="T37" fmla="*/ 159 h 284"/>
                <a:gd name="T38" fmla="*/ 168 w 247"/>
                <a:gd name="T39" fmla="*/ 130 h 284"/>
                <a:gd name="T40" fmla="*/ 193 w 247"/>
                <a:gd name="T41" fmla="*/ 115 h 284"/>
                <a:gd name="T42" fmla="*/ 196 w 247"/>
                <a:gd name="T43" fmla="*/ 92 h 284"/>
                <a:gd name="T44" fmla="*/ 206 w 247"/>
                <a:gd name="T45" fmla="*/ 86 h 284"/>
                <a:gd name="T46" fmla="*/ 184 w 247"/>
                <a:gd name="T47" fmla="*/ 68 h 284"/>
                <a:gd name="T48" fmla="*/ 154 w 247"/>
                <a:gd name="T49" fmla="*/ 79 h 284"/>
                <a:gd name="T50" fmla="*/ 113 w 247"/>
                <a:gd name="T51" fmla="*/ 75 h 284"/>
                <a:gd name="T52" fmla="*/ 86 w 247"/>
                <a:gd name="T53" fmla="*/ 69 h 284"/>
                <a:gd name="T54" fmla="*/ 85 w 247"/>
                <a:gd name="T55" fmla="*/ 46 h 284"/>
                <a:gd name="T56" fmla="*/ 81 w 247"/>
                <a:gd name="T57" fmla="*/ 44 h 284"/>
                <a:gd name="T58" fmla="*/ 77 w 247"/>
                <a:gd name="T59" fmla="*/ 23 h 284"/>
                <a:gd name="T60" fmla="*/ 67 w 247"/>
                <a:gd name="T61" fmla="*/ 17 h 284"/>
                <a:gd name="T62" fmla="*/ 66 w 247"/>
                <a:gd name="T63" fmla="*/ 29 h 284"/>
                <a:gd name="T64" fmla="*/ 50 w 247"/>
                <a:gd name="T65" fmla="*/ 21 h 284"/>
                <a:gd name="T66" fmla="*/ 41 w 247"/>
                <a:gd name="T67" fmla="*/ 3 h 284"/>
                <a:gd name="T68" fmla="*/ 30 w 247"/>
                <a:gd name="T69" fmla="*/ 4 h 284"/>
                <a:gd name="T70" fmla="*/ 33 w 247"/>
                <a:gd name="T71" fmla="*/ 11 h 284"/>
                <a:gd name="T72" fmla="*/ 17 w 247"/>
                <a:gd name="T73" fmla="*/ 3 h 284"/>
                <a:gd name="T74" fmla="*/ 6 w 247"/>
                <a:gd name="T75" fmla="*/ 0 h 284"/>
                <a:gd name="T76" fmla="*/ 11 w 247"/>
                <a:gd name="T77" fmla="*/ 12 h 284"/>
                <a:gd name="T78" fmla="*/ 2 w 247"/>
                <a:gd name="T79" fmla="*/ 35 h 284"/>
                <a:gd name="T80" fmla="*/ 26 w 247"/>
                <a:gd name="T81" fmla="*/ 54 h 284"/>
                <a:gd name="T82" fmla="*/ 43 w 247"/>
                <a:gd name="T83" fmla="*/ 65 h 284"/>
                <a:gd name="T84" fmla="*/ 44 w 247"/>
                <a:gd name="T85" fmla="*/ 73 h 284"/>
                <a:gd name="T86" fmla="*/ 22 w 247"/>
                <a:gd name="T87" fmla="*/ 74 h 284"/>
                <a:gd name="T88" fmla="*/ 22 w 247"/>
                <a:gd name="T89" fmla="*/ 93 h 284"/>
                <a:gd name="T90" fmla="*/ 13 w 247"/>
                <a:gd name="T91" fmla="*/ 106 h 284"/>
                <a:gd name="T92" fmla="*/ 47 w 247"/>
                <a:gd name="T93" fmla="*/ 126 h 284"/>
                <a:gd name="T94" fmla="*/ 35 w 247"/>
                <a:gd name="T95" fmla="*/ 150 h 284"/>
                <a:gd name="T96" fmla="*/ 44 w 247"/>
                <a:gd name="T97" fmla="*/ 170 h 284"/>
                <a:gd name="T98" fmla="*/ 64 w 247"/>
                <a:gd name="T99" fmla="*/ 186 h 284"/>
                <a:gd name="T100" fmla="*/ 63 w 247"/>
                <a:gd name="T101" fmla="*/ 206 h 284"/>
                <a:gd name="T102" fmla="*/ 75 w 247"/>
                <a:gd name="T103" fmla="*/ 234 h 284"/>
                <a:gd name="T104" fmla="*/ 73 w 247"/>
                <a:gd name="T105" fmla="*/ 252 h 284"/>
                <a:gd name="T106" fmla="*/ 90 w 247"/>
                <a:gd name="T107" fmla="*/ 275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7" h="284">
                  <a:moveTo>
                    <a:pt x="90" y="275"/>
                  </a:moveTo>
                  <a:cubicBezTo>
                    <a:pt x="92" y="236"/>
                    <a:pt x="92" y="236"/>
                    <a:pt x="92" y="236"/>
                  </a:cubicBezTo>
                  <a:cubicBezTo>
                    <a:pt x="92" y="236"/>
                    <a:pt x="134" y="252"/>
                    <a:pt x="142" y="250"/>
                  </a:cubicBezTo>
                  <a:cubicBezTo>
                    <a:pt x="150" y="247"/>
                    <a:pt x="134" y="229"/>
                    <a:pt x="143" y="227"/>
                  </a:cubicBezTo>
                  <a:cubicBezTo>
                    <a:pt x="152" y="225"/>
                    <a:pt x="169" y="245"/>
                    <a:pt x="182" y="240"/>
                  </a:cubicBezTo>
                  <a:cubicBezTo>
                    <a:pt x="195" y="236"/>
                    <a:pt x="190" y="223"/>
                    <a:pt x="190" y="223"/>
                  </a:cubicBezTo>
                  <a:cubicBezTo>
                    <a:pt x="182" y="202"/>
                    <a:pt x="182" y="202"/>
                    <a:pt x="182" y="202"/>
                  </a:cubicBezTo>
                  <a:cubicBezTo>
                    <a:pt x="213" y="235"/>
                    <a:pt x="213" y="235"/>
                    <a:pt x="213" y="235"/>
                  </a:cubicBezTo>
                  <a:cubicBezTo>
                    <a:pt x="213" y="235"/>
                    <a:pt x="201" y="274"/>
                    <a:pt x="210" y="280"/>
                  </a:cubicBezTo>
                  <a:cubicBezTo>
                    <a:pt x="213" y="282"/>
                    <a:pt x="218" y="283"/>
                    <a:pt x="222" y="284"/>
                  </a:cubicBezTo>
                  <a:cubicBezTo>
                    <a:pt x="224" y="277"/>
                    <a:pt x="226" y="273"/>
                    <a:pt x="226" y="273"/>
                  </a:cubicBezTo>
                  <a:cubicBezTo>
                    <a:pt x="247" y="276"/>
                    <a:pt x="247" y="276"/>
                    <a:pt x="247" y="276"/>
                  </a:cubicBezTo>
                  <a:cubicBezTo>
                    <a:pt x="240" y="237"/>
                    <a:pt x="240" y="237"/>
                    <a:pt x="240" y="237"/>
                  </a:cubicBezTo>
                  <a:cubicBezTo>
                    <a:pt x="240" y="237"/>
                    <a:pt x="224" y="198"/>
                    <a:pt x="220" y="187"/>
                  </a:cubicBezTo>
                  <a:cubicBezTo>
                    <a:pt x="216" y="176"/>
                    <a:pt x="222" y="157"/>
                    <a:pt x="204" y="153"/>
                  </a:cubicBezTo>
                  <a:cubicBezTo>
                    <a:pt x="186" y="149"/>
                    <a:pt x="194" y="170"/>
                    <a:pt x="194" y="170"/>
                  </a:cubicBezTo>
                  <a:cubicBezTo>
                    <a:pt x="187" y="193"/>
                    <a:pt x="187" y="193"/>
                    <a:pt x="187" y="193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58" y="175"/>
                    <a:pt x="158" y="159"/>
                  </a:cubicBezTo>
                  <a:cubicBezTo>
                    <a:pt x="158" y="143"/>
                    <a:pt x="160" y="133"/>
                    <a:pt x="168" y="130"/>
                  </a:cubicBezTo>
                  <a:cubicBezTo>
                    <a:pt x="176" y="127"/>
                    <a:pt x="190" y="129"/>
                    <a:pt x="193" y="115"/>
                  </a:cubicBezTo>
                  <a:cubicBezTo>
                    <a:pt x="196" y="101"/>
                    <a:pt x="196" y="92"/>
                    <a:pt x="196" y="92"/>
                  </a:cubicBezTo>
                  <a:cubicBezTo>
                    <a:pt x="196" y="92"/>
                    <a:pt x="206" y="96"/>
                    <a:pt x="206" y="86"/>
                  </a:cubicBezTo>
                  <a:cubicBezTo>
                    <a:pt x="206" y="76"/>
                    <a:pt x="184" y="68"/>
                    <a:pt x="184" y="68"/>
                  </a:cubicBezTo>
                  <a:cubicBezTo>
                    <a:pt x="154" y="79"/>
                    <a:pt x="154" y="79"/>
                    <a:pt x="154" y="79"/>
                  </a:cubicBezTo>
                  <a:cubicBezTo>
                    <a:pt x="154" y="79"/>
                    <a:pt x="123" y="75"/>
                    <a:pt x="113" y="75"/>
                  </a:cubicBezTo>
                  <a:cubicBezTo>
                    <a:pt x="103" y="75"/>
                    <a:pt x="86" y="72"/>
                    <a:pt x="86" y="69"/>
                  </a:cubicBezTo>
                  <a:cubicBezTo>
                    <a:pt x="86" y="66"/>
                    <a:pt x="85" y="46"/>
                    <a:pt x="85" y="46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26"/>
                    <a:pt x="77" y="23"/>
                  </a:cubicBezTo>
                  <a:cubicBezTo>
                    <a:pt x="73" y="20"/>
                    <a:pt x="67" y="17"/>
                    <a:pt x="67" y="1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56" y="27"/>
                    <a:pt x="50" y="21"/>
                  </a:cubicBezTo>
                  <a:cubicBezTo>
                    <a:pt x="44" y="15"/>
                    <a:pt x="41" y="3"/>
                    <a:pt x="41" y="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0" y="24"/>
                    <a:pt x="2" y="35"/>
                  </a:cubicBezTo>
                  <a:cubicBezTo>
                    <a:pt x="4" y="46"/>
                    <a:pt x="26" y="54"/>
                    <a:pt x="26" y="54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44" y="73"/>
                    <a:pt x="44" y="73"/>
                    <a:pt x="44" y="73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93"/>
                    <a:pt x="22" y="93"/>
                    <a:pt x="22" y="93"/>
                  </a:cubicBezTo>
                  <a:cubicBezTo>
                    <a:pt x="22" y="93"/>
                    <a:pt x="3" y="96"/>
                    <a:pt x="13" y="106"/>
                  </a:cubicBezTo>
                  <a:cubicBezTo>
                    <a:pt x="23" y="116"/>
                    <a:pt x="50" y="110"/>
                    <a:pt x="47" y="126"/>
                  </a:cubicBezTo>
                  <a:cubicBezTo>
                    <a:pt x="44" y="142"/>
                    <a:pt x="35" y="150"/>
                    <a:pt x="35" y="150"/>
                  </a:cubicBezTo>
                  <a:cubicBezTo>
                    <a:pt x="44" y="170"/>
                    <a:pt x="44" y="170"/>
                    <a:pt x="44" y="170"/>
                  </a:cubicBezTo>
                  <a:cubicBezTo>
                    <a:pt x="64" y="186"/>
                    <a:pt x="64" y="186"/>
                    <a:pt x="64" y="18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75" y="234"/>
                    <a:pt x="75" y="234"/>
                    <a:pt x="75" y="234"/>
                  </a:cubicBezTo>
                  <a:cubicBezTo>
                    <a:pt x="73" y="252"/>
                    <a:pt x="73" y="252"/>
                    <a:pt x="73" y="252"/>
                  </a:cubicBezTo>
                  <a:lnTo>
                    <a:pt x="90" y="27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220">
              <a:extLst>
                <a:ext uri="{FF2B5EF4-FFF2-40B4-BE49-F238E27FC236}">
                  <a16:creationId xmlns:a16="http://schemas.microsoft.com/office/drawing/2014/main" id="{97E3FAF2-130D-913B-98EA-01152996A8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46" y="-14560"/>
              <a:ext cx="3080" cy="3728"/>
            </a:xfrm>
            <a:custGeom>
              <a:avLst/>
              <a:gdLst>
                <a:gd name="T0" fmla="*/ 1202 w 1304"/>
                <a:gd name="T1" fmla="*/ 1237 h 1578"/>
                <a:gd name="T2" fmla="*/ 1259 w 1304"/>
                <a:gd name="T3" fmla="*/ 1543 h 1578"/>
                <a:gd name="T4" fmla="*/ 1302 w 1304"/>
                <a:gd name="T5" fmla="*/ 417 h 1578"/>
                <a:gd name="T6" fmla="*/ 1231 w 1304"/>
                <a:gd name="T7" fmla="*/ 379 h 1578"/>
                <a:gd name="T8" fmla="*/ 1133 w 1304"/>
                <a:gd name="T9" fmla="*/ 390 h 1578"/>
                <a:gd name="T10" fmla="*/ 1045 w 1304"/>
                <a:gd name="T11" fmla="*/ 450 h 1578"/>
                <a:gd name="T12" fmla="*/ 1042 w 1304"/>
                <a:gd name="T13" fmla="*/ 497 h 1578"/>
                <a:gd name="T14" fmla="*/ 926 w 1304"/>
                <a:gd name="T15" fmla="*/ 487 h 1578"/>
                <a:gd name="T16" fmla="*/ 882 w 1304"/>
                <a:gd name="T17" fmla="*/ 450 h 1578"/>
                <a:gd name="T18" fmla="*/ 853 w 1304"/>
                <a:gd name="T19" fmla="*/ 520 h 1578"/>
                <a:gd name="T20" fmla="*/ 766 w 1304"/>
                <a:gd name="T21" fmla="*/ 495 h 1578"/>
                <a:gd name="T22" fmla="*/ 695 w 1304"/>
                <a:gd name="T23" fmla="*/ 457 h 1578"/>
                <a:gd name="T24" fmla="*/ 640 w 1304"/>
                <a:gd name="T25" fmla="*/ 459 h 1578"/>
                <a:gd name="T26" fmla="*/ 564 w 1304"/>
                <a:gd name="T27" fmla="*/ 423 h 1578"/>
                <a:gd name="T28" fmla="*/ 499 w 1304"/>
                <a:gd name="T29" fmla="*/ 382 h 1578"/>
                <a:gd name="T30" fmla="*/ 518 w 1304"/>
                <a:gd name="T31" fmla="*/ 323 h 1578"/>
                <a:gd name="T32" fmla="*/ 481 w 1304"/>
                <a:gd name="T33" fmla="*/ 283 h 1578"/>
                <a:gd name="T34" fmla="*/ 412 w 1304"/>
                <a:gd name="T35" fmla="*/ 221 h 1578"/>
                <a:gd name="T36" fmla="*/ 423 w 1304"/>
                <a:gd name="T37" fmla="*/ 194 h 1578"/>
                <a:gd name="T38" fmla="*/ 395 w 1304"/>
                <a:gd name="T39" fmla="*/ 129 h 1578"/>
                <a:gd name="T40" fmla="*/ 438 w 1304"/>
                <a:gd name="T41" fmla="*/ 69 h 1578"/>
                <a:gd name="T42" fmla="*/ 319 w 1304"/>
                <a:gd name="T43" fmla="*/ 29 h 1578"/>
                <a:gd name="T44" fmla="*/ 266 w 1304"/>
                <a:gd name="T45" fmla="*/ 74 h 1578"/>
                <a:gd name="T46" fmla="*/ 156 w 1304"/>
                <a:gd name="T47" fmla="*/ 89 h 1578"/>
                <a:gd name="T48" fmla="*/ 186 w 1304"/>
                <a:gd name="T49" fmla="*/ 141 h 1578"/>
                <a:gd name="T50" fmla="*/ 219 w 1304"/>
                <a:gd name="T51" fmla="*/ 196 h 1578"/>
                <a:gd name="T52" fmla="*/ 235 w 1304"/>
                <a:gd name="T53" fmla="*/ 268 h 1578"/>
                <a:gd name="T54" fmla="*/ 179 w 1304"/>
                <a:gd name="T55" fmla="*/ 372 h 1578"/>
                <a:gd name="T56" fmla="*/ 107 w 1304"/>
                <a:gd name="T57" fmla="*/ 437 h 1578"/>
                <a:gd name="T58" fmla="*/ 33 w 1304"/>
                <a:gd name="T59" fmla="*/ 493 h 1578"/>
                <a:gd name="T60" fmla="*/ 74 w 1304"/>
                <a:gd name="T61" fmla="*/ 551 h 1578"/>
                <a:gd name="T62" fmla="*/ 98 w 1304"/>
                <a:gd name="T63" fmla="*/ 635 h 1578"/>
                <a:gd name="T64" fmla="*/ 15 w 1304"/>
                <a:gd name="T65" fmla="*/ 630 h 1578"/>
                <a:gd name="T66" fmla="*/ 78 w 1304"/>
                <a:gd name="T67" fmla="*/ 697 h 1578"/>
                <a:gd name="T68" fmla="*/ 70 w 1304"/>
                <a:gd name="T69" fmla="*/ 779 h 1578"/>
                <a:gd name="T70" fmla="*/ 213 w 1304"/>
                <a:gd name="T71" fmla="*/ 781 h 1578"/>
                <a:gd name="T72" fmla="*/ 267 w 1304"/>
                <a:gd name="T73" fmla="*/ 1062 h 1578"/>
                <a:gd name="T74" fmla="*/ 407 w 1304"/>
                <a:gd name="T75" fmla="*/ 1335 h 1578"/>
                <a:gd name="T76" fmla="*/ 550 w 1304"/>
                <a:gd name="T77" fmla="*/ 1443 h 1578"/>
                <a:gd name="T78" fmla="*/ 601 w 1304"/>
                <a:gd name="T79" fmla="*/ 1311 h 1578"/>
                <a:gd name="T80" fmla="*/ 594 w 1304"/>
                <a:gd name="T81" fmla="*/ 1107 h 1578"/>
                <a:gd name="T82" fmla="*/ 688 w 1304"/>
                <a:gd name="T83" fmla="*/ 1044 h 1578"/>
                <a:gd name="T84" fmla="*/ 820 w 1304"/>
                <a:gd name="T85" fmla="*/ 866 h 1578"/>
                <a:gd name="T86" fmla="*/ 873 w 1304"/>
                <a:gd name="T87" fmla="*/ 795 h 1578"/>
                <a:gd name="T88" fmla="*/ 942 w 1304"/>
                <a:gd name="T89" fmla="*/ 744 h 1578"/>
                <a:gd name="T90" fmla="*/ 959 w 1304"/>
                <a:gd name="T91" fmla="*/ 697 h 1578"/>
                <a:gd name="T92" fmla="*/ 917 w 1304"/>
                <a:gd name="T93" fmla="*/ 604 h 1578"/>
                <a:gd name="T94" fmla="*/ 897 w 1304"/>
                <a:gd name="T95" fmla="*/ 546 h 1578"/>
                <a:gd name="T96" fmla="*/ 925 w 1304"/>
                <a:gd name="T97" fmla="*/ 515 h 1578"/>
                <a:gd name="T98" fmla="*/ 972 w 1304"/>
                <a:gd name="T99" fmla="*/ 534 h 1578"/>
                <a:gd name="T100" fmla="*/ 1049 w 1304"/>
                <a:gd name="T101" fmla="*/ 590 h 1578"/>
                <a:gd name="T102" fmla="*/ 1063 w 1304"/>
                <a:gd name="T103" fmla="*/ 641 h 1578"/>
                <a:gd name="T104" fmla="*/ 1099 w 1304"/>
                <a:gd name="T105" fmla="*/ 664 h 1578"/>
                <a:gd name="T106" fmla="*/ 1161 w 1304"/>
                <a:gd name="T107" fmla="*/ 750 h 1578"/>
                <a:gd name="T108" fmla="*/ 1143 w 1304"/>
                <a:gd name="T109" fmla="*/ 648 h 1578"/>
                <a:gd name="T110" fmla="*/ 1199 w 1304"/>
                <a:gd name="T111" fmla="*/ 576 h 1578"/>
                <a:gd name="T112" fmla="*/ 1238 w 1304"/>
                <a:gd name="T113" fmla="*/ 497 h 1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04" h="1578">
                  <a:moveTo>
                    <a:pt x="1204" y="1196"/>
                  </a:moveTo>
                  <a:cubicBezTo>
                    <a:pt x="1184" y="1198"/>
                    <a:pt x="1188" y="1259"/>
                    <a:pt x="1188" y="1259"/>
                  </a:cubicBezTo>
                  <a:cubicBezTo>
                    <a:pt x="1191" y="1325"/>
                    <a:pt x="1191" y="1325"/>
                    <a:pt x="1191" y="1325"/>
                  </a:cubicBezTo>
                  <a:cubicBezTo>
                    <a:pt x="1202" y="1305"/>
                    <a:pt x="1202" y="1305"/>
                    <a:pt x="1202" y="1305"/>
                  </a:cubicBezTo>
                  <a:cubicBezTo>
                    <a:pt x="1202" y="1237"/>
                    <a:pt x="1202" y="1237"/>
                    <a:pt x="1202" y="1237"/>
                  </a:cubicBezTo>
                  <a:cubicBezTo>
                    <a:pt x="1202" y="1237"/>
                    <a:pt x="1220" y="1194"/>
                    <a:pt x="1204" y="1196"/>
                  </a:cubicBezTo>
                  <a:close/>
                  <a:moveTo>
                    <a:pt x="1195" y="1357"/>
                  </a:moveTo>
                  <a:cubicBezTo>
                    <a:pt x="1180" y="1357"/>
                    <a:pt x="1196" y="1389"/>
                    <a:pt x="1196" y="1389"/>
                  </a:cubicBezTo>
                  <a:cubicBezTo>
                    <a:pt x="1196" y="1389"/>
                    <a:pt x="1209" y="1357"/>
                    <a:pt x="1195" y="1357"/>
                  </a:cubicBezTo>
                  <a:close/>
                  <a:moveTo>
                    <a:pt x="1259" y="1543"/>
                  </a:moveTo>
                  <a:cubicBezTo>
                    <a:pt x="1251" y="1544"/>
                    <a:pt x="1255" y="1578"/>
                    <a:pt x="1270" y="1578"/>
                  </a:cubicBezTo>
                  <a:cubicBezTo>
                    <a:pt x="1270" y="1578"/>
                    <a:pt x="1267" y="1542"/>
                    <a:pt x="1259" y="1543"/>
                  </a:cubicBezTo>
                  <a:close/>
                  <a:moveTo>
                    <a:pt x="1280" y="454"/>
                  </a:moveTo>
                  <a:cubicBezTo>
                    <a:pt x="1280" y="445"/>
                    <a:pt x="1304" y="436"/>
                    <a:pt x="1304" y="436"/>
                  </a:cubicBezTo>
                  <a:cubicBezTo>
                    <a:pt x="1302" y="417"/>
                    <a:pt x="1302" y="417"/>
                    <a:pt x="1302" y="417"/>
                  </a:cubicBezTo>
                  <a:cubicBezTo>
                    <a:pt x="1302" y="417"/>
                    <a:pt x="1287" y="413"/>
                    <a:pt x="1280" y="413"/>
                  </a:cubicBezTo>
                  <a:cubicBezTo>
                    <a:pt x="1273" y="413"/>
                    <a:pt x="1258" y="413"/>
                    <a:pt x="1250" y="411"/>
                  </a:cubicBezTo>
                  <a:cubicBezTo>
                    <a:pt x="1242" y="409"/>
                    <a:pt x="1262" y="400"/>
                    <a:pt x="1262" y="400"/>
                  </a:cubicBezTo>
                  <a:cubicBezTo>
                    <a:pt x="1251" y="380"/>
                    <a:pt x="1251" y="380"/>
                    <a:pt x="1251" y="380"/>
                  </a:cubicBezTo>
                  <a:cubicBezTo>
                    <a:pt x="1251" y="380"/>
                    <a:pt x="1240" y="381"/>
                    <a:pt x="1231" y="379"/>
                  </a:cubicBezTo>
                  <a:cubicBezTo>
                    <a:pt x="1222" y="377"/>
                    <a:pt x="1238" y="369"/>
                    <a:pt x="1238" y="369"/>
                  </a:cubicBezTo>
                  <a:cubicBezTo>
                    <a:pt x="1238" y="369"/>
                    <a:pt x="1237" y="364"/>
                    <a:pt x="1219" y="355"/>
                  </a:cubicBezTo>
                  <a:cubicBezTo>
                    <a:pt x="1201" y="346"/>
                    <a:pt x="1209" y="377"/>
                    <a:pt x="1198" y="377"/>
                  </a:cubicBezTo>
                  <a:cubicBezTo>
                    <a:pt x="1187" y="377"/>
                    <a:pt x="1173" y="363"/>
                    <a:pt x="1165" y="363"/>
                  </a:cubicBezTo>
                  <a:cubicBezTo>
                    <a:pt x="1157" y="363"/>
                    <a:pt x="1140" y="382"/>
                    <a:pt x="1133" y="390"/>
                  </a:cubicBezTo>
                  <a:cubicBezTo>
                    <a:pt x="1126" y="398"/>
                    <a:pt x="1102" y="394"/>
                    <a:pt x="1102" y="394"/>
                  </a:cubicBezTo>
                  <a:cubicBezTo>
                    <a:pt x="1102" y="394"/>
                    <a:pt x="1109" y="410"/>
                    <a:pt x="1107" y="415"/>
                  </a:cubicBezTo>
                  <a:cubicBezTo>
                    <a:pt x="1105" y="420"/>
                    <a:pt x="1084" y="422"/>
                    <a:pt x="1084" y="422"/>
                  </a:cubicBezTo>
                  <a:cubicBezTo>
                    <a:pt x="1084" y="422"/>
                    <a:pt x="1092" y="438"/>
                    <a:pt x="1084" y="445"/>
                  </a:cubicBezTo>
                  <a:cubicBezTo>
                    <a:pt x="1076" y="452"/>
                    <a:pt x="1045" y="450"/>
                    <a:pt x="1045" y="450"/>
                  </a:cubicBezTo>
                  <a:cubicBezTo>
                    <a:pt x="1045" y="450"/>
                    <a:pt x="1039" y="452"/>
                    <a:pt x="1043" y="459"/>
                  </a:cubicBezTo>
                  <a:cubicBezTo>
                    <a:pt x="1047" y="466"/>
                    <a:pt x="1064" y="465"/>
                    <a:pt x="1064" y="465"/>
                  </a:cubicBezTo>
                  <a:cubicBezTo>
                    <a:pt x="1064" y="479"/>
                    <a:pt x="1064" y="479"/>
                    <a:pt x="1064" y="479"/>
                  </a:cubicBezTo>
                  <a:cubicBezTo>
                    <a:pt x="1064" y="479"/>
                    <a:pt x="1079" y="490"/>
                    <a:pt x="1065" y="497"/>
                  </a:cubicBezTo>
                  <a:cubicBezTo>
                    <a:pt x="1051" y="504"/>
                    <a:pt x="1042" y="497"/>
                    <a:pt x="1042" y="497"/>
                  </a:cubicBezTo>
                  <a:cubicBezTo>
                    <a:pt x="1042" y="497"/>
                    <a:pt x="1034" y="501"/>
                    <a:pt x="1016" y="501"/>
                  </a:cubicBezTo>
                  <a:cubicBezTo>
                    <a:pt x="998" y="501"/>
                    <a:pt x="1000" y="495"/>
                    <a:pt x="991" y="495"/>
                  </a:cubicBezTo>
                  <a:cubicBezTo>
                    <a:pt x="982" y="495"/>
                    <a:pt x="988" y="503"/>
                    <a:pt x="969" y="503"/>
                  </a:cubicBezTo>
                  <a:cubicBezTo>
                    <a:pt x="950" y="503"/>
                    <a:pt x="953" y="492"/>
                    <a:pt x="953" y="492"/>
                  </a:cubicBezTo>
                  <a:cubicBezTo>
                    <a:pt x="953" y="492"/>
                    <a:pt x="949" y="503"/>
                    <a:pt x="926" y="487"/>
                  </a:cubicBezTo>
                  <a:cubicBezTo>
                    <a:pt x="903" y="471"/>
                    <a:pt x="921" y="467"/>
                    <a:pt x="921" y="467"/>
                  </a:cubicBezTo>
                  <a:cubicBezTo>
                    <a:pt x="921" y="467"/>
                    <a:pt x="916" y="468"/>
                    <a:pt x="911" y="466"/>
                  </a:cubicBezTo>
                  <a:cubicBezTo>
                    <a:pt x="906" y="464"/>
                    <a:pt x="917" y="436"/>
                    <a:pt x="906" y="427"/>
                  </a:cubicBezTo>
                  <a:cubicBezTo>
                    <a:pt x="899" y="422"/>
                    <a:pt x="888" y="428"/>
                    <a:pt x="876" y="435"/>
                  </a:cubicBezTo>
                  <a:cubicBezTo>
                    <a:pt x="882" y="450"/>
                    <a:pt x="882" y="450"/>
                    <a:pt x="882" y="450"/>
                  </a:cubicBezTo>
                  <a:cubicBezTo>
                    <a:pt x="882" y="482"/>
                    <a:pt x="882" y="482"/>
                    <a:pt x="882" y="482"/>
                  </a:cubicBezTo>
                  <a:cubicBezTo>
                    <a:pt x="892" y="497"/>
                    <a:pt x="892" y="497"/>
                    <a:pt x="892" y="497"/>
                  </a:cubicBezTo>
                  <a:cubicBezTo>
                    <a:pt x="892" y="497"/>
                    <a:pt x="892" y="506"/>
                    <a:pt x="891" y="515"/>
                  </a:cubicBezTo>
                  <a:cubicBezTo>
                    <a:pt x="890" y="524"/>
                    <a:pt x="869" y="521"/>
                    <a:pt x="869" y="521"/>
                  </a:cubicBezTo>
                  <a:cubicBezTo>
                    <a:pt x="869" y="521"/>
                    <a:pt x="862" y="520"/>
                    <a:pt x="853" y="520"/>
                  </a:cubicBezTo>
                  <a:cubicBezTo>
                    <a:pt x="844" y="520"/>
                    <a:pt x="849" y="510"/>
                    <a:pt x="843" y="510"/>
                  </a:cubicBezTo>
                  <a:cubicBezTo>
                    <a:pt x="837" y="510"/>
                    <a:pt x="829" y="521"/>
                    <a:pt x="829" y="521"/>
                  </a:cubicBezTo>
                  <a:cubicBezTo>
                    <a:pt x="829" y="521"/>
                    <a:pt x="818" y="508"/>
                    <a:pt x="805" y="504"/>
                  </a:cubicBezTo>
                  <a:cubicBezTo>
                    <a:pt x="792" y="500"/>
                    <a:pt x="788" y="509"/>
                    <a:pt x="788" y="509"/>
                  </a:cubicBezTo>
                  <a:cubicBezTo>
                    <a:pt x="766" y="495"/>
                    <a:pt x="766" y="495"/>
                    <a:pt x="766" y="495"/>
                  </a:cubicBezTo>
                  <a:cubicBezTo>
                    <a:pt x="754" y="504"/>
                    <a:pt x="754" y="504"/>
                    <a:pt x="754" y="504"/>
                  </a:cubicBezTo>
                  <a:cubicBezTo>
                    <a:pt x="754" y="504"/>
                    <a:pt x="745" y="493"/>
                    <a:pt x="736" y="485"/>
                  </a:cubicBezTo>
                  <a:cubicBezTo>
                    <a:pt x="727" y="477"/>
                    <a:pt x="719" y="467"/>
                    <a:pt x="719" y="467"/>
                  </a:cubicBezTo>
                  <a:cubicBezTo>
                    <a:pt x="705" y="470"/>
                    <a:pt x="705" y="470"/>
                    <a:pt x="705" y="470"/>
                  </a:cubicBezTo>
                  <a:cubicBezTo>
                    <a:pt x="705" y="470"/>
                    <a:pt x="704" y="462"/>
                    <a:pt x="695" y="457"/>
                  </a:cubicBezTo>
                  <a:cubicBezTo>
                    <a:pt x="686" y="452"/>
                    <a:pt x="687" y="471"/>
                    <a:pt x="687" y="471"/>
                  </a:cubicBezTo>
                  <a:cubicBezTo>
                    <a:pt x="687" y="471"/>
                    <a:pt x="686" y="464"/>
                    <a:pt x="677" y="464"/>
                  </a:cubicBezTo>
                  <a:cubicBezTo>
                    <a:pt x="668" y="464"/>
                    <a:pt x="663" y="472"/>
                    <a:pt x="663" y="472"/>
                  </a:cubicBezTo>
                  <a:cubicBezTo>
                    <a:pt x="660" y="465"/>
                    <a:pt x="660" y="465"/>
                    <a:pt x="660" y="465"/>
                  </a:cubicBezTo>
                  <a:cubicBezTo>
                    <a:pt x="660" y="465"/>
                    <a:pt x="653" y="461"/>
                    <a:pt x="640" y="459"/>
                  </a:cubicBezTo>
                  <a:cubicBezTo>
                    <a:pt x="627" y="457"/>
                    <a:pt x="639" y="452"/>
                    <a:pt x="634" y="450"/>
                  </a:cubicBezTo>
                  <a:cubicBezTo>
                    <a:pt x="629" y="448"/>
                    <a:pt x="624" y="451"/>
                    <a:pt x="616" y="451"/>
                  </a:cubicBezTo>
                  <a:cubicBezTo>
                    <a:pt x="608" y="451"/>
                    <a:pt x="601" y="437"/>
                    <a:pt x="601" y="437"/>
                  </a:cubicBezTo>
                  <a:cubicBezTo>
                    <a:pt x="592" y="438"/>
                    <a:pt x="592" y="438"/>
                    <a:pt x="592" y="438"/>
                  </a:cubicBezTo>
                  <a:cubicBezTo>
                    <a:pt x="564" y="423"/>
                    <a:pt x="564" y="423"/>
                    <a:pt x="564" y="423"/>
                  </a:cubicBezTo>
                  <a:cubicBezTo>
                    <a:pt x="557" y="413"/>
                    <a:pt x="557" y="413"/>
                    <a:pt x="557" y="413"/>
                  </a:cubicBezTo>
                  <a:cubicBezTo>
                    <a:pt x="539" y="413"/>
                    <a:pt x="539" y="413"/>
                    <a:pt x="539" y="413"/>
                  </a:cubicBezTo>
                  <a:cubicBezTo>
                    <a:pt x="528" y="395"/>
                    <a:pt x="528" y="395"/>
                    <a:pt x="528" y="395"/>
                  </a:cubicBezTo>
                  <a:cubicBezTo>
                    <a:pt x="518" y="401"/>
                    <a:pt x="518" y="401"/>
                    <a:pt x="518" y="401"/>
                  </a:cubicBezTo>
                  <a:cubicBezTo>
                    <a:pt x="518" y="401"/>
                    <a:pt x="506" y="390"/>
                    <a:pt x="499" y="382"/>
                  </a:cubicBezTo>
                  <a:cubicBezTo>
                    <a:pt x="492" y="374"/>
                    <a:pt x="511" y="364"/>
                    <a:pt x="511" y="364"/>
                  </a:cubicBezTo>
                  <a:cubicBezTo>
                    <a:pt x="511" y="364"/>
                    <a:pt x="506" y="364"/>
                    <a:pt x="502" y="358"/>
                  </a:cubicBezTo>
                  <a:cubicBezTo>
                    <a:pt x="498" y="352"/>
                    <a:pt x="509" y="350"/>
                    <a:pt x="509" y="350"/>
                  </a:cubicBezTo>
                  <a:cubicBezTo>
                    <a:pt x="503" y="341"/>
                    <a:pt x="503" y="341"/>
                    <a:pt x="503" y="341"/>
                  </a:cubicBezTo>
                  <a:cubicBezTo>
                    <a:pt x="518" y="323"/>
                    <a:pt x="518" y="323"/>
                    <a:pt x="518" y="323"/>
                  </a:cubicBezTo>
                  <a:cubicBezTo>
                    <a:pt x="524" y="310"/>
                    <a:pt x="524" y="310"/>
                    <a:pt x="524" y="310"/>
                  </a:cubicBezTo>
                  <a:cubicBezTo>
                    <a:pt x="509" y="296"/>
                    <a:pt x="509" y="296"/>
                    <a:pt x="509" y="296"/>
                  </a:cubicBezTo>
                  <a:cubicBezTo>
                    <a:pt x="509" y="296"/>
                    <a:pt x="498" y="296"/>
                    <a:pt x="492" y="293"/>
                  </a:cubicBezTo>
                  <a:cubicBezTo>
                    <a:pt x="486" y="290"/>
                    <a:pt x="492" y="282"/>
                    <a:pt x="492" y="282"/>
                  </a:cubicBezTo>
                  <a:cubicBezTo>
                    <a:pt x="481" y="283"/>
                    <a:pt x="481" y="283"/>
                    <a:pt x="481" y="283"/>
                  </a:cubicBezTo>
                  <a:cubicBezTo>
                    <a:pt x="466" y="272"/>
                    <a:pt x="466" y="272"/>
                    <a:pt x="466" y="272"/>
                  </a:cubicBezTo>
                  <a:cubicBezTo>
                    <a:pt x="466" y="272"/>
                    <a:pt x="456" y="270"/>
                    <a:pt x="445" y="266"/>
                  </a:cubicBezTo>
                  <a:cubicBezTo>
                    <a:pt x="434" y="262"/>
                    <a:pt x="430" y="247"/>
                    <a:pt x="430" y="247"/>
                  </a:cubicBezTo>
                  <a:cubicBezTo>
                    <a:pt x="430" y="247"/>
                    <a:pt x="419" y="252"/>
                    <a:pt x="412" y="249"/>
                  </a:cubicBezTo>
                  <a:cubicBezTo>
                    <a:pt x="405" y="246"/>
                    <a:pt x="412" y="221"/>
                    <a:pt x="412" y="221"/>
                  </a:cubicBezTo>
                  <a:cubicBezTo>
                    <a:pt x="412" y="221"/>
                    <a:pt x="392" y="210"/>
                    <a:pt x="390" y="200"/>
                  </a:cubicBezTo>
                  <a:cubicBezTo>
                    <a:pt x="388" y="190"/>
                    <a:pt x="401" y="185"/>
                    <a:pt x="405" y="185"/>
                  </a:cubicBezTo>
                  <a:cubicBezTo>
                    <a:pt x="409" y="185"/>
                    <a:pt x="407" y="195"/>
                    <a:pt x="407" y="195"/>
                  </a:cubicBezTo>
                  <a:cubicBezTo>
                    <a:pt x="417" y="203"/>
                    <a:pt x="417" y="203"/>
                    <a:pt x="417" y="203"/>
                  </a:cubicBezTo>
                  <a:cubicBezTo>
                    <a:pt x="423" y="194"/>
                    <a:pt x="423" y="194"/>
                    <a:pt x="423" y="194"/>
                  </a:cubicBezTo>
                  <a:cubicBezTo>
                    <a:pt x="423" y="194"/>
                    <a:pt x="432" y="191"/>
                    <a:pt x="440" y="186"/>
                  </a:cubicBezTo>
                  <a:cubicBezTo>
                    <a:pt x="448" y="181"/>
                    <a:pt x="429" y="166"/>
                    <a:pt x="429" y="166"/>
                  </a:cubicBezTo>
                  <a:cubicBezTo>
                    <a:pt x="424" y="157"/>
                    <a:pt x="424" y="157"/>
                    <a:pt x="424" y="157"/>
                  </a:cubicBezTo>
                  <a:cubicBezTo>
                    <a:pt x="424" y="157"/>
                    <a:pt x="419" y="154"/>
                    <a:pt x="404" y="147"/>
                  </a:cubicBezTo>
                  <a:cubicBezTo>
                    <a:pt x="389" y="140"/>
                    <a:pt x="395" y="129"/>
                    <a:pt x="395" y="129"/>
                  </a:cubicBezTo>
                  <a:cubicBezTo>
                    <a:pt x="406" y="123"/>
                    <a:pt x="406" y="123"/>
                    <a:pt x="406" y="123"/>
                  </a:cubicBezTo>
                  <a:cubicBezTo>
                    <a:pt x="394" y="107"/>
                    <a:pt x="394" y="107"/>
                    <a:pt x="394" y="107"/>
                  </a:cubicBezTo>
                  <a:cubicBezTo>
                    <a:pt x="394" y="107"/>
                    <a:pt x="413" y="108"/>
                    <a:pt x="422" y="103"/>
                  </a:cubicBezTo>
                  <a:cubicBezTo>
                    <a:pt x="431" y="98"/>
                    <a:pt x="425" y="74"/>
                    <a:pt x="425" y="74"/>
                  </a:cubicBezTo>
                  <a:cubicBezTo>
                    <a:pt x="425" y="74"/>
                    <a:pt x="434" y="74"/>
                    <a:pt x="438" y="69"/>
                  </a:cubicBezTo>
                  <a:cubicBezTo>
                    <a:pt x="442" y="64"/>
                    <a:pt x="438" y="28"/>
                    <a:pt x="438" y="28"/>
                  </a:cubicBezTo>
                  <a:cubicBezTo>
                    <a:pt x="438" y="28"/>
                    <a:pt x="424" y="30"/>
                    <a:pt x="413" y="28"/>
                  </a:cubicBezTo>
                  <a:cubicBezTo>
                    <a:pt x="402" y="26"/>
                    <a:pt x="400" y="12"/>
                    <a:pt x="383" y="6"/>
                  </a:cubicBezTo>
                  <a:cubicBezTo>
                    <a:pt x="366" y="0"/>
                    <a:pt x="335" y="29"/>
                    <a:pt x="335" y="29"/>
                  </a:cubicBezTo>
                  <a:cubicBezTo>
                    <a:pt x="335" y="29"/>
                    <a:pt x="328" y="29"/>
                    <a:pt x="319" y="29"/>
                  </a:cubicBezTo>
                  <a:cubicBezTo>
                    <a:pt x="304" y="51"/>
                    <a:pt x="304" y="51"/>
                    <a:pt x="304" y="51"/>
                  </a:cubicBezTo>
                  <a:cubicBezTo>
                    <a:pt x="289" y="57"/>
                    <a:pt x="289" y="57"/>
                    <a:pt x="289" y="57"/>
                  </a:cubicBezTo>
                  <a:cubicBezTo>
                    <a:pt x="289" y="57"/>
                    <a:pt x="289" y="68"/>
                    <a:pt x="286" y="69"/>
                  </a:cubicBezTo>
                  <a:cubicBezTo>
                    <a:pt x="283" y="70"/>
                    <a:pt x="272" y="69"/>
                    <a:pt x="272" y="69"/>
                  </a:cubicBezTo>
                  <a:cubicBezTo>
                    <a:pt x="266" y="74"/>
                    <a:pt x="266" y="74"/>
                    <a:pt x="266" y="74"/>
                  </a:cubicBezTo>
                  <a:cubicBezTo>
                    <a:pt x="262" y="70"/>
                    <a:pt x="262" y="70"/>
                    <a:pt x="262" y="70"/>
                  </a:cubicBezTo>
                  <a:cubicBezTo>
                    <a:pt x="262" y="70"/>
                    <a:pt x="244" y="83"/>
                    <a:pt x="237" y="84"/>
                  </a:cubicBezTo>
                  <a:cubicBezTo>
                    <a:pt x="230" y="85"/>
                    <a:pt x="227" y="73"/>
                    <a:pt x="227" y="73"/>
                  </a:cubicBezTo>
                  <a:cubicBezTo>
                    <a:pt x="227" y="73"/>
                    <a:pt x="198" y="67"/>
                    <a:pt x="176" y="70"/>
                  </a:cubicBezTo>
                  <a:cubicBezTo>
                    <a:pt x="154" y="73"/>
                    <a:pt x="156" y="89"/>
                    <a:pt x="156" y="89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67" y="108"/>
                    <a:pt x="167" y="108"/>
                    <a:pt x="167" y="108"/>
                  </a:cubicBezTo>
                  <a:cubicBezTo>
                    <a:pt x="187" y="112"/>
                    <a:pt x="187" y="112"/>
                    <a:pt x="187" y="112"/>
                  </a:cubicBezTo>
                  <a:cubicBezTo>
                    <a:pt x="187" y="112"/>
                    <a:pt x="178" y="120"/>
                    <a:pt x="175" y="130"/>
                  </a:cubicBezTo>
                  <a:cubicBezTo>
                    <a:pt x="172" y="140"/>
                    <a:pt x="186" y="141"/>
                    <a:pt x="186" y="141"/>
                  </a:cubicBezTo>
                  <a:cubicBezTo>
                    <a:pt x="186" y="141"/>
                    <a:pt x="185" y="149"/>
                    <a:pt x="184" y="157"/>
                  </a:cubicBezTo>
                  <a:cubicBezTo>
                    <a:pt x="183" y="165"/>
                    <a:pt x="194" y="162"/>
                    <a:pt x="194" y="162"/>
                  </a:cubicBezTo>
                  <a:cubicBezTo>
                    <a:pt x="202" y="172"/>
                    <a:pt x="202" y="172"/>
                    <a:pt x="202" y="172"/>
                  </a:cubicBezTo>
                  <a:cubicBezTo>
                    <a:pt x="216" y="173"/>
                    <a:pt x="216" y="173"/>
                    <a:pt x="216" y="173"/>
                  </a:cubicBezTo>
                  <a:cubicBezTo>
                    <a:pt x="219" y="196"/>
                    <a:pt x="219" y="196"/>
                    <a:pt x="219" y="196"/>
                  </a:cubicBezTo>
                  <a:cubicBezTo>
                    <a:pt x="243" y="195"/>
                    <a:pt x="243" y="195"/>
                    <a:pt x="243" y="195"/>
                  </a:cubicBezTo>
                  <a:cubicBezTo>
                    <a:pt x="243" y="195"/>
                    <a:pt x="255" y="200"/>
                    <a:pt x="256" y="209"/>
                  </a:cubicBezTo>
                  <a:cubicBezTo>
                    <a:pt x="257" y="218"/>
                    <a:pt x="228" y="222"/>
                    <a:pt x="224" y="224"/>
                  </a:cubicBezTo>
                  <a:cubicBezTo>
                    <a:pt x="220" y="226"/>
                    <a:pt x="223" y="240"/>
                    <a:pt x="223" y="244"/>
                  </a:cubicBezTo>
                  <a:cubicBezTo>
                    <a:pt x="223" y="248"/>
                    <a:pt x="235" y="268"/>
                    <a:pt x="235" y="268"/>
                  </a:cubicBezTo>
                  <a:cubicBezTo>
                    <a:pt x="217" y="281"/>
                    <a:pt x="217" y="281"/>
                    <a:pt x="217" y="281"/>
                  </a:cubicBezTo>
                  <a:cubicBezTo>
                    <a:pt x="200" y="305"/>
                    <a:pt x="200" y="305"/>
                    <a:pt x="200" y="305"/>
                  </a:cubicBezTo>
                  <a:cubicBezTo>
                    <a:pt x="211" y="322"/>
                    <a:pt x="211" y="322"/>
                    <a:pt x="211" y="322"/>
                  </a:cubicBezTo>
                  <a:cubicBezTo>
                    <a:pt x="211" y="322"/>
                    <a:pt x="192" y="323"/>
                    <a:pt x="188" y="332"/>
                  </a:cubicBezTo>
                  <a:cubicBezTo>
                    <a:pt x="184" y="341"/>
                    <a:pt x="187" y="359"/>
                    <a:pt x="179" y="372"/>
                  </a:cubicBezTo>
                  <a:cubicBezTo>
                    <a:pt x="171" y="385"/>
                    <a:pt x="155" y="388"/>
                    <a:pt x="151" y="391"/>
                  </a:cubicBezTo>
                  <a:cubicBezTo>
                    <a:pt x="147" y="394"/>
                    <a:pt x="146" y="414"/>
                    <a:pt x="146" y="414"/>
                  </a:cubicBezTo>
                  <a:cubicBezTo>
                    <a:pt x="137" y="419"/>
                    <a:pt x="137" y="419"/>
                    <a:pt x="137" y="419"/>
                  </a:cubicBezTo>
                  <a:cubicBezTo>
                    <a:pt x="137" y="419"/>
                    <a:pt x="136" y="429"/>
                    <a:pt x="129" y="437"/>
                  </a:cubicBezTo>
                  <a:cubicBezTo>
                    <a:pt x="122" y="445"/>
                    <a:pt x="107" y="437"/>
                    <a:pt x="107" y="437"/>
                  </a:cubicBezTo>
                  <a:cubicBezTo>
                    <a:pt x="107" y="437"/>
                    <a:pt x="102" y="445"/>
                    <a:pt x="89" y="447"/>
                  </a:cubicBezTo>
                  <a:cubicBezTo>
                    <a:pt x="76" y="449"/>
                    <a:pt x="84" y="432"/>
                    <a:pt x="70" y="434"/>
                  </a:cubicBezTo>
                  <a:cubicBezTo>
                    <a:pt x="56" y="436"/>
                    <a:pt x="57" y="450"/>
                    <a:pt x="57" y="450"/>
                  </a:cubicBezTo>
                  <a:cubicBezTo>
                    <a:pt x="57" y="450"/>
                    <a:pt x="50" y="462"/>
                    <a:pt x="42" y="469"/>
                  </a:cubicBezTo>
                  <a:cubicBezTo>
                    <a:pt x="34" y="476"/>
                    <a:pt x="33" y="476"/>
                    <a:pt x="33" y="493"/>
                  </a:cubicBezTo>
                  <a:cubicBezTo>
                    <a:pt x="33" y="510"/>
                    <a:pt x="48" y="508"/>
                    <a:pt x="48" y="508"/>
                  </a:cubicBezTo>
                  <a:cubicBezTo>
                    <a:pt x="66" y="506"/>
                    <a:pt x="66" y="506"/>
                    <a:pt x="66" y="506"/>
                  </a:cubicBezTo>
                  <a:cubicBezTo>
                    <a:pt x="67" y="516"/>
                    <a:pt x="67" y="516"/>
                    <a:pt x="67" y="516"/>
                  </a:cubicBezTo>
                  <a:cubicBezTo>
                    <a:pt x="65" y="536"/>
                    <a:pt x="65" y="536"/>
                    <a:pt x="65" y="536"/>
                  </a:cubicBezTo>
                  <a:cubicBezTo>
                    <a:pt x="65" y="536"/>
                    <a:pt x="67" y="544"/>
                    <a:pt x="74" y="551"/>
                  </a:cubicBezTo>
                  <a:cubicBezTo>
                    <a:pt x="81" y="558"/>
                    <a:pt x="97" y="558"/>
                    <a:pt x="97" y="558"/>
                  </a:cubicBezTo>
                  <a:cubicBezTo>
                    <a:pt x="97" y="573"/>
                    <a:pt x="97" y="573"/>
                    <a:pt x="97" y="573"/>
                  </a:cubicBezTo>
                  <a:cubicBezTo>
                    <a:pt x="111" y="601"/>
                    <a:pt x="111" y="601"/>
                    <a:pt x="111" y="601"/>
                  </a:cubicBezTo>
                  <a:cubicBezTo>
                    <a:pt x="111" y="601"/>
                    <a:pt x="122" y="616"/>
                    <a:pt x="120" y="625"/>
                  </a:cubicBezTo>
                  <a:cubicBezTo>
                    <a:pt x="118" y="634"/>
                    <a:pt x="109" y="635"/>
                    <a:pt x="98" y="635"/>
                  </a:cubicBezTo>
                  <a:cubicBezTo>
                    <a:pt x="87" y="635"/>
                    <a:pt x="97" y="624"/>
                    <a:pt x="86" y="626"/>
                  </a:cubicBezTo>
                  <a:cubicBezTo>
                    <a:pt x="75" y="628"/>
                    <a:pt x="77" y="638"/>
                    <a:pt x="63" y="638"/>
                  </a:cubicBezTo>
                  <a:cubicBezTo>
                    <a:pt x="49" y="638"/>
                    <a:pt x="52" y="630"/>
                    <a:pt x="52" y="630"/>
                  </a:cubicBezTo>
                  <a:cubicBezTo>
                    <a:pt x="35" y="636"/>
                    <a:pt x="35" y="636"/>
                    <a:pt x="35" y="636"/>
                  </a:cubicBezTo>
                  <a:cubicBezTo>
                    <a:pt x="35" y="636"/>
                    <a:pt x="26" y="629"/>
                    <a:pt x="15" y="630"/>
                  </a:cubicBezTo>
                  <a:cubicBezTo>
                    <a:pt x="4" y="631"/>
                    <a:pt x="13" y="647"/>
                    <a:pt x="13" y="647"/>
                  </a:cubicBezTo>
                  <a:cubicBezTo>
                    <a:pt x="0" y="652"/>
                    <a:pt x="0" y="652"/>
                    <a:pt x="0" y="652"/>
                  </a:cubicBezTo>
                  <a:cubicBezTo>
                    <a:pt x="11" y="653"/>
                    <a:pt x="23" y="653"/>
                    <a:pt x="23" y="653"/>
                  </a:cubicBezTo>
                  <a:cubicBezTo>
                    <a:pt x="23" y="653"/>
                    <a:pt x="13" y="677"/>
                    <a:pt x="26" y="686"/>
                  </a:cubicBezTo>
                  <a:cubicBezTo>
                    <a:pt x="38" y="696"/>
                    <a:pt x="71" y="699"/>
                    <a:pt x="78" y="697"/>
                  </a:cubicBezTo>
                  <a:cubicBezTo>
                    <a:pt x="84" y="695"/>
                    <a:pt x="108" y="678"/>
                    <a:pt x="108" y="678"/>
                  </a:cubicBezTo>
                  <a:cubicBezTo>
                    <a:pt x="108" y="678"/>
                    <a:pt x="118" y="690"/>
                    <a:pt x="106" y="701"/>
                  </a:cubicBezTo>
                  <a:cubicBezTo>
                    <a:pt x="94" y="712"/>
                    <a:pt x="70" y="719"/>
                    <a:pt x="70" y="719"/>
                  </a:cubicBezTo>
                  <a:cubicBezTo>
                    <a:pt x="70" y="719"/>
                    <a:pt x="32" y="724"/>
                    <a:pt x="30" y="735"/>
                  </a:cubicBezTo>
                  <a:cubicBezTo>
                    <a:pt x="28" y="746"/>
                    <a:pt x="58" y="770"/>
                    <a:pt x="70" y="779"/>
                  </a:cubicBezTo>
                  <a:cubicBezTo>
                    <a:pt x="83" y="788"/>
                    <a:pt x="106" y="816"/>
                    <a:pt x="136" y="818"/>
                  </a:cubicBezTo>
                  <a:cubicBezTo>
                    <a:pt x="167" y="821"/>
                    <a:pt x="205" y="794"/>
                    <a:pt x="201" y="775"/>
                  </a:cubicBezTo>
                  <a:cubicBezTo>
                    <a:pt x="197" y="757"/>
                    <a:pt x="207" y="742"/>
                    <a:pt x="217" y="733"/>
                  </a:cubicBezTo>
                  <a:cubicBezTo>
                    <a:pt x="226" y="723"/>
                    <a:pt x="248" y="718"/>
                    <a:pt x="238" y="735"/>
                  </a:cubicBezTo>
                  <a:cubicBezTo>
                    <a:pt x="229" y="752"/>
                    <a:pt x="206" y="767"/>
                    <a:pt x="213" y="781"/>
                  </a:cubicBezTo>
                  <a:cubicBezTo>
                    <a:pt x="220" y="795"/>
                    <a:pt x="238" y="793"/>
                    <a:pt x="238" y="808"/>
                  </a:cubicBezTo>
                  <a:cubicBezTo>
                    <a:pt x="237" y="822"/>
                    <a:pt x="233" y="838"/>
                    <a:pt x="227" y="861"/>
                  </a:cubicBezTo>
                  <a:cubicBezTo>
                    <a:pt x="220" y="885"/>
                    <a:pt x="220" y="907"/>
                    <a:pt x="227" y="936"/>
                  </a:cubicBezTo>
                  <a:cubicBezTo>
                    <a:pt x="235" y="964"/>
                    <a:pt x="247" y="1014"/>
                    <a:pt x="258" y="1029"/>
                  </a:cubicBezTo>
                  <a:cubicBezTo>
                    <a:pt x="269" y="1045"/>
                    <a:pt x="272" y="1039"/>
                    <a:pt x="267" y="1062"/>
                  </a:cubicBezTo>
                  <a:cubicBezTo>
                    <a:pt x="262" y="1085"/>
                    <a:pt x="299" y="1092"/>
                    <a:pt x="299" y="1092"/>
                  </a:cubicBezTo>
                  <a:cubicBezTo>
                    <a:pt x="299" y="1092"/>
                    <a:pt x="304" y="1124"/>
                    <a:pt x="312" y="1135"/>
                  </a:cubicBezTo>
                  <a:cubicBezTo>
                    <a:pt x="321" y="1147"/>
                    <a:pt x="339" y="1156"/>
                    <a:pt x="339" y="1156"/>
                  </a:cubicBezTo>
                  <a:cubicBezTo>
                    <a:pt x="339" y="1156"/>
                    <a:pt x="344" y="1222"/>
                    <a:pt x="354" y="1252"/>
                  </a:cubicBezTo>
                  <a:cubicBezTo>
                    <a:pt x="365" y="1282"/>
                    <a:pt x="402" y="1323"/>
                    <a:pt x="407" y="1335"/>
                  </a:cubicBezTo>
                  <a:cubicBezTo>
                    <a:pt x="412" y="1348"/>
                    <a:pt x="414" y="1374"/>
                    <a:pt x="413" y="1386"/>
                  </a:cubicBezTo>
                  <a:cubicBezTo>
                    <a:pt x="411" y="1398"/>
                    <a:pt x="479" y="1502"/>
                    <a:pt x="479" y="1502"/>
                  </a:cubicBezTo>
                  <a:cubicBezTo>
                    <a:pt x="479" y="1502"/>
                    <a:pt x="512" y="1493"/>
                    <a:pt x="518" y="1484"/>
                  </a:cubicBezTo>
                  <a:cubicBezTo>
                    <a:pt x="523" y="1474"/>
                    <a:pt x="515" y="1452"/>
                    <a:pt x="526" y="1445"/>
                  </a:cubicBezTo>
                  <a:cubicBezTo>
                    <a:pt x="536" y="1438"/>
                    <a:pt x="540" y="1446"/>
                    <a:pt x="550" y="1443"/>
                  </a:cubicBezTo>
                  <a:cubicBezTo>
                    <a:pt x="561" y="1440"/>
                    <a:pt x="578" y="1427"/>
                    <a:pt x="578" y="1427"/>
                  </a:cubicBezTo>
                  <a:cubicBezTo>
                    <a:pt x="578" y="1427"/>
                    <a:pt x="563" y="1431"/>
                    <a:pt x="566" y="1414"/>
                  </a:cubicBezTo>
                  <a:cubicBezTo>
                    <a:pt x="568" y="1397"/>
                    <a:pt x="575" y="1394"/>
                    <a:pt x="587" y="1388"/>
                  </a:cubicBezTo>
                  <a:cubicBezTo>
                    <a:pt x="599" y="1382"/>
                    <a:pt x="613" y="1379"/>
                    <a:pt x="613" y="1371"/>
                  </a:cubicBezTo>
                  <a:cubicBezTo>
                    <a:pt x="614" y="1362"/>
                    <a:pt x="601" y="1330"/>
                    <a:pt x="601" y="1311"/>
                  </a:cubicBezTo>
                  <a:cubicBezTo>
                    <a:pt x="600" y="1293"/>
                    <a:pt x="599" y="1264"/>
                    <a:pt x="605" y="1261"/>
                  </a:cubicBezTo>
                  <a:cubicBezTo>
                    <a:pt x="612" y="1257"/>
                    <a:pt x="609" y="1249"/>
                    <a:pt x="610" y="1217"/>
                  </a:cubicBezTo>
                  <a:cubicBezTo>
                    <a:pt x="612" y="1185"/>
                    <a:pt x="592" y="1185"/>
                    <a:pt x="590" y="1172"/>
                  </a:cubicBezTo>
                  <a:cubicBezTo>
                    <a:pt x="588" y="1160"/>
                    <a:pt x="598" y="1154"/>
                    <a:pt x="599" y="1142"/>
                  </a:cubicBezTo>
                  <a:cubicBezTo>
                    <a:pt x="601" y="1130"/>
                    <a:pt x="594" y="1123"/>
                    <a:pt x="594" y="1107"/>
                  </a:cubicBezTo>
                  <a:cubicBezTo>
                    <a:pt x="595" y="1091"/>
                    <a:pt x="631" y="1089"/>
                    <a:pt x="631" y="1082"/>
                  </a:cubicBezTo>
                  <a:cubicBezTo>
                    <a:pt x="631" y="1075"/>
                    <a:pt x="631" y="1059"/>
                    <a:pt x="638" y="1054"/>
                  </a:cubicBezTo>
                  <a:cubicBezTo>
                    <a:pt x="646" y="1049"/>
                    <a:pt x="660" y="1050"/>
                    <a:pt x="660" y="1050"/>
                  </a:cubicBezTo>
                  <a:cubicBezTo>
                    <a:pt x="663" y="1044"/>
                    <a:pt x="663" y="1044"/>
                    <a:pt x="663" y="1044"/>
                  </a:cubicBezTo>
                  <a:cubicBezTo>
                    <a:pt x="663" y="1044"/>
                    <a:pt x="686" y="1055"/>
                    <a:pt x="688" y="1044"/>
                  </a:cubicBezTo>
                  <a:cubicBezTo>
                    <a:pt x="690" y="1033"/>
                    <a:pt x="709" y="998"/>
                    <a:pt x="715" y="988"/>
                  </a:cubicBezTo>
                  <a:cubicBezTo>
                    <a:pt x="722" y="979"/>
                    <a:pt x="744" y="980"/>
                    <a:pt x="751" y="966"/>
                  </a:cubicBezTo>
                  <a:cubicBezTo>
                    <a:pt x="758" y="953"/>
                    <a:pt x="769" y="925"/>
                    <a:pt x="779" y="916"/>
                  </a:cubicBezTo>
                  <a:cubicBezTo>
                    <a:pt x="788" y="906"/>
                    <a:pt x="827" y="886"/>
                    <a:pt x="827" y="886"/>
                  </a:cubicBezTo>
                  <a:cubicBezTo>
                    <a:pt x="820" y="866"/>
                    <a:pt x="820" y="866"/>
                    <a:pt x="820" y="866"/>
                  </a:cubicBezTo>
                  <a:cubicBezTo>
                    <a:pt x="826" y="861"/>
                    <a:pt x="826" y="861"/>
                    <a:pt x="826" y="861"/>
                  </a:cubicBezTo>
                  <a:cubicBezTo>
                    <a:pt x="839" y="880"/>
                    <a:pt x="839" y="880"/>
                    <a:pt x="839" y="880"/>
                  </a:cubicBezTo>
                  <a:cubicBezTo>
                    <a:pt x="880" y="841"/>
                    <a:pt x="880" y="841"/>
                    <a:pt x="880" y="841"/>
                  </a:cubicBezTo>
                  <a:cubicBezTo>
                    <a:pt x="887" y="823"/>
                    <a:pt x="887" y="823"/>
                    <a:pt x="887" y="823"/>
                  </a:cubicBezTo>
                  <a:cubicBezTo>
                    <a:pt x="887" y="823"/>
                    <a:pt x="873" y="806"/>
                    <a:pt x="873" y="795"/>
                  </a:cubicBezTo>
                  <a:cubicBezTo>
                    <a:pt x="874" y="784"/>
                    <a:pt x="897" y="788"/>
                    <a:pt x="909" y="773"/>
                  </a:cubicBezTo>
                  <a:cubicBezTo>
                    <a:pt x="921" y="757"/>
                    <a:pt x="917" y="744"/>
                    <a:pt x="917" y="744"/>
                  </a:cubicBezTo>
                  <a:cubicBezTo>
                    <a:pt x="928" y="749"/>
                    <a:pt x="928" y="749"/>
                    <a:pt x="928" y="749"/>
                  </a:cubicBezTo>
                  <a:cubicBezTo>
                    <a:pt x="934" y="767"/>
                    <a:pt x="934" y="767"/>
                    <a:pt x="934" y="767"/>
                  </a:cubicBezTo>
                  <a:cubicBezTo>
                    <a:pt x="942" y="744"/>
                    <a:pt x="942" y="744"/>
                    <a:pt x="942" y="744"/>
                  </a:cubicBezTo>
                  <a:cubicBezTo>
                    <a:pt x="942" y="744"/>
                    <a:pt x="950" y="786"/>
                    <a:pt x="957" y="789"/>
                  </a:cubicBezTo>
                  <a:cubicBezTo>
                    <a:pt x="965" y="791"/>
                    <a:pt x="968" y="763"/>
                    <a:pt x="968" y="763"/>
                  </a:cubicBezTo>
                  <a:cubicBezTo>
                    <a:pt x="970" y="745"/>
                    <a:pt x="970" y="745"/>
                    <a:pt x="970" y="745"/>
                  </a:cubicBezTo>
                  <a:cubicBezTo>
                    <a:pt x="958" y="717"/>
                    <a:pt x="958" y="717"/>
                    <a:pt x="958" y="717"/>
                  </a:cubicBezTo>
                  <a:cubicBezTo>
                    <a:pt x="959" y="697"/>
                    <a:pt x="959" y="697"/>
                    <a:pt x="959" y="697"/>
                  </a:cubicBezTo>
                  <a:cubicBezTo>
                    <a:pt x="939" y="681"/>
                    <a:pt x="939" y="681"/>
                    <a:pt x="939" y="681"/>
                  </a:cubicBezTo>
                  <a:cubicBezTo>
                    <a:pt x="930" y="661"/>
                    <a:pt x="930" y="661"/>
                    <a:pt x="930" y="661"/>
                  </a:cubicBezTo>
                  <a:cubicBezTo>
                    <a:pt x="930" y="661"/>
                    <a:pt x="939" y="653"/>
                    <a:pt x="942" y="637"/>
                  </a:cubicBezTo>
                  <a:cubicBezTo>
                    <a:pt x="945" y="621"/>
                    <a:pt x="918" y="627"/>
                    <a:pt x="908" y="617"/>
                  </a:cubicBezTo>
                  <a:cubicBezTo>
                    <a:pt x="898" y="607"/>
                    <a:pt x="917" y="604"/>
                    <a:pt x="917" y="604"/>
                  </a:cubicBezTo>
                  <a:cubicBezTo>
                    <a:pt x="917" y="585"/>
                    <a:pt x="917" y="585"/>
                    <a:pt x="917" y="585"/>
                  </a:cubicBezTo>
                  <a:cubicBezTo>
                    <a:pt x="939" y="584"/>
                    <a:pt x="939" y="584"/>
                    <a:pt x="939" y="584"/>
                  </a:cubicBezTo>
                  <a:cubicBezTo>
                    <a:pt x="938" y="576"/>
                    <a:pt x="938" y="576"/>
                    <a:pt x="938" y="576"/>
                  </a:cubicBezTo>
                  <a:cubicBezTo>
                    <a:pt x="921" y="565"/>
                    <a:pt x="921" y="565"/>
                    <a:pt x="921" y="565"/>
                  </a:cubicBezTo>
                  <a:cubicBezTo>
                    <a:pt x="921" y="565"/>
                    <a:pt x="899" y="557"/>
                    <a:pt x="897" y="546"/>
                  </a:cubicBezTo>
                  <a:cubicBezTo>
                    <a:pt x="895" y="535"/>
                    <a:pt x="906" y="523"/>
                    <a:pt x="906" y="523"/>
                  </a:cubicBezTo>
                  <a:cubicBezTo>
                    <a:pt x="901" y="511"/>
                    <a:pt x="901" y="511"/>
                    <a:pt x="901" y="511"/>
                  </a:cubicBezTo>
                  <a:cubicBezTo>
                    <a:pt x="912" y="514"/>
                    <a:pt x="912" y="514"/>
                    <a:pt x="912" y="514"/>
                  </a:cubicBezTo>
                  <a:cubicBezTo>
                    <a:pt x="928" y="522"/>
                    <a:pt x="928" y="522"/>
                    <a:pt x="928" y="522"/>
                  </a:cubicBezTo>
                  <a:cubicBezTo>
                    <a:pt x="925" y="515"/>
                    <a:pt x="925" y="515"/>
                    <a:pt x="925" y="515"/>
                  </a:cubicBezTo>
                  <a:cubicBezTo>
                    <a:pt x="936" y="514"/>
                    <a:pt x="936" y="514"/>
                    <a:pt x="936" y="514"/>
                  </a:cubicBezTo>
                  <a:cubicBezTo>
                    <a:pt x="936" y="514"/>
                    <a:pt x="939" y="526"/>
                    <a:pt x="945" y="532"/>
                  </a:cubicBezTo>
                  <a:cubicBezTo>
                    <a:pt x="951" y="538"/>
                    <a:pt x="961" y="540"/>
                    <a:pt x="961" y="540"/>
                  </a:cubicBezTo>
                  <a:cubicBezTo>
                    <a:pt x="962" y="528"/>
                    <a:pt x="962" y="528"/>
                    <a:pt x="962" y="528"/>
                  </a:cubicBezTo>
                  <a:cubicBezTo>
                    <a:pt x="962" y="528"/>
                    <a:pt x="968" y="531"/>
                    <a:pt x="972" y="534"/>
                  </a:cubicBezTo>
                  <a:cubicBezTo>
                    <a:pt x="976" y="537"/>
                    <a:pt x="976" y="555"/>
                    <a:pt x="976" y="555"/>
                  </a:cubicBezTo>
                  <a:cubicBezTo>
                    <a:pt x="980" y="557"/>
                    <a:pt x="980" y="557"/>
                    <a:pt x="980" y="557"/>
                  </a:cubicBezTo>
                  <a:cubicBezTo>
                    <a:pt x="980" y="557"/>
                    <a:pt x="981" y="577"/>
                    <a:pt x="981" y="580"/>
                  </a:cubicBezTo>
                  <a:cubicBezTo>
                    <a:pt x="981" y="583"/>
                    <a:pt x="998" y="586"/>
                    <a:pt x="1008" y="586"/>
                  </a:cubicBezTo>
                  <a:cubicBezTo>
                    <a:pt x="1018" y="586"/>
                    <a:pt x="1049" y="590"/>
                    <a:pt x="1049" y="590"/>
                  </a:cubicBezTo>
                  <a:cubicBezTo>
                    <a:pt x="1079" y="579"/>
                    <a:pt x="1079" y="579"/>
                    <a:pt x="1079" y="579"/>
                  </a:cubicBezTo>
                  <a:cubicBezTo>
                    <a:pt x="1079" y="579"/>
                    <a:pt x="1101" y="587"/>
                    <a:pt x="1101" y="597"/>
                  </a:cubicBezTo>
                  <a:cubicBezTo>
                    <a:pt x="1101" y="607"/>
                    <a:pt x="1091" y="603"/>
                    <a:pt x="1091" y="603"/>
                  </a:cubicBezTo>
                  <a:cubicBezTo>
                    <a:pt x="1091" y="603"/>
                    <a:pt x="1091" y="612"/>
                    <a:pt x="1088" y="626"/>
                  </a:cubicBezTo>
                  <a:cubicBezTo>
                    <a:pt x="1085" y="640"/>
                    <a:pt x="1071" y="638"/>
                    <a:pt x="1063" y="641"/>
                  </a:cubicBezTo>
                  <a:cubicBezTo>
                    <a:pt x="1055" y="644"/>
                    <a:pt x="1053" y="654"/>
                    <a:pt x="1053" y="670"/>
                  </a:cubicBezTo>
                  <a:cubicBezTo>
                    <a:pt x="1053" y="686"/>
                    <a:pt x="1073" y="689"/>
                    <a:pt x="1073" y="689"/>
                  </a:cubicBezTo>
                  <a:cubicBezTo>
                    <a:pt x="1082" y="704"/>
                    <a:pt x="1082" y="704"/>
                    <a:pt x="1082" y="704"/>
                  </a:cubicBezTo>
                  <a:cubicBezTo>
                    <a:pt x="1089" y="681"/>
                    <a:pt x="1089" y="681"/>
                    <a:pt x="1089" y="681"/>
                  </a:cubicBezTo>
                  <a:cubicBezTo>
                    <a:pt x="1089" y="681"/>
                    <a:pt x="1081" y="660"/>
                    <a:pt x="1099" y="664"/>
                  </a:cubicBezTo>
                  <a:cubicBezTo>
                    <a:pt x="1117" y="668"/>
                    <a:pt x="1111" y="687"/>
                    <a:pt x="1115" y="698"/>
                  </a:cubicBezTo>
                  <a:cubicBezTo>
                    <a:pt x="1119" y="709"/>
                    <a:pt x="1135" y="748"/>
                    <a:pt x="1135" y="748"/>
                  </a:cubicBezTo>
                  <a:cubicBezTo>
                    <a:pt x="1149" y="760"/>
                    <a:pt x="1149" y="760"/>
                    <a:pt x="1149" y="760"/>
                  </a:cubicBezTo>
                  <a:cubicBezTo>
                    <a:pt x="1149" y="760"/>
                    <a:pt x="1148" y="752"/>
                    <a:pt x="1148" y="746"/>
                  </a:cubicBezTo>
                  <a:cubicBezTo>
                    <a:pt x="1148" y="740"/>
                    <a:pt x="1152" y="752"/>
                    <a:pt x="1161" y="750"/>
                  </a:cubicBezTo>
                  <a:cubicBezTo>
                    <a:pt x="1170" y="748"/>
                    <a:pt x="1160" y="736"/>
                    <a:pt x="1156" y="732"/>
                  </a:cubicBezTo>
                  <a:cubicBezTo>
                    <a:pt x="1152" y="728"/>
                    <a:pt x="1152" y="714"/>
                    <a:pt x="1149" y="705"/>
                  </a:cubicBezTo>
                  <a:cubicBezTo>
                    <a:pt x="1146" y="696"/>
                    <a:pt x="1163" y="694"/>
                    <a:pt x="1163" y="694"/>
                  </a:cubicBezTo>
                  <a:cubicBezTo>
                    <a:pt x="1161" y="661"/>
                    <a:pt x="1161" y="661"/>
                    <a:pt x="1161" y="661"/>
                  </a:cubicBezTo>
                  <a:cubicBezTo>
                    <a:pt x="1161" y="661"/>
                    <a:pt x="1147" y="650"/>
                    <a:pt x="1143" y="648"/>
                  </a:cubicBezTo>
                  <a:cubicBezTo>
                    <a:pt x="1139" y="646"/>
                    <a:pt x="1164" y="647"/>
                    <a:pt x="1168" y="648"/>
                  </a:cubicBezTo>
                  <a:cubicBezTo>
                    <a:pt x="1172" y="649"/>
                    <a:pt x="1197" y="653"/>
                    <a:pt x="1197" y="653"/>
                  </a:cubicBezTo>
                  <a:cubicBezTo>
                    <a:pt x="1197" y="629"/>
                    <a:pt x="1197" y="629"/>
                    <a:pt x="1197" y="629"/>
                  </a:cubicBezTo>
                  <a:cubicBezTo>
                    <a:pt x="1209" y="594"/>
                    <a:pt x="1209" y="594"/>
                    <a:pt x="1209" y="594"/>
                  </a:cubicBezTo>
                  <a:cubicBezTo>
                    <a:pt x="1209" y="594"/>
                    <a:pt x="1199" y="586"/>
                    <a:pt x="1199" y="576"/>
                  </a:cubicBezTo>
                  <a:cubicBezTo>
                    <a:pt x="1199" y="566"/>
                    <a:pt x="1213" y="562"/>
                    <a:pt x="1213" y="562"/>
                  </a:cubicBezTo>
                  <a:cubicBezTo>
                    <a:pt x="1225" y="541"/>
                    <a:pt x="1225" y="541"/>
                    <a:pt x="1225" y="541"/>
                  </a:cubicBezTo>
                  <a:cubicBezTo>
                    <a:pt x="1225" y="541"/>
                    <a:pt x="1219" y="530"/>
                    <a:pt x="1218" y="525"/>
                  </a:cubicBezTo>
                  <a:cubicBezTo>
                    <a:pt x="1217" y="520"/>
                    <a:pt x="1215" y="506"/>
                    <a:pt x="1215" y="506"/>
                  </a:cubicBezTo>
                  <a:cubicBezTo>
                    <a:pt x="1215" y="506"/>
                    <a:pt x="1226" y="501"/>
                    <a:pt x="1238" y="497"/>
                  </a:cubicBezTo>
                  <a:cubicBezTo>
                    <a:pt x="1250" y="493"/>
                    <a:pt x="1245" y="478"/>
                    <a:pt x="1253" y="476"/>
                  </a:cubicBezTo>
                  <a:cubicBezTo>
                    <a:pt x="1261" y="474"/>
                    <a:pt x="1276" y="473"/>
                    <a:pt x="1276" y="473"/>
                  </a:cubicBezTo>
                  <a:cubicBezTo>
                    <a:pt x="1276" y="473"/>
                    <a:pt x="1299" y="481"/>
                    <a:pt x="1301" y="477"/>
                  </a:cubicBezTo>
                  <a:cubicBezTo>
                    <a:pt x="1303" y="473"/>
                    <a:pt x="1280" y="463"/>
                    <a:pt x="1280" y="45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41" name="Freeform 221">
              <a:extLst>
                <a:ext uri="{FF2B5EF4-FFF2-40B4-BE49-F238E27FC236}">
                  <a16:creationId xmlns:a16="http://schemas.microsoft.com/office/drawing/2014/main" id="{5F989D11-497A-AD18-9FDB-CB7B86981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685" y="-13606"/>
              <a:ext cx="1006" cy="2365"/>
            </a:xfrm>
            <a:custGeom>
              <a:avLst/>
              <a:gdLst>
                <a:gd name="T0" fmla="*/ 9 w 426"/>
                <a:gd name="T1" fmla="*/ 422 h 1001"/>
                <a:gd name="T2" fmla="*/ 81 w 426"/>
                <a:gd name="T3" fmla="*/ 465 h 1001"/>
                <a:gd name="T4" fmla="*/ 132 w 426"/>
                <a:gd name="T5" fmla="*/ 562 h 1001"/>
                <a:gd name="T6" fmla="*/ 145 w 426"/>
                <a:gd name="T7" fmla="*/ 654 h 1001"/>
                <a:gd name="T8" fmla="*/ 168 w 426"/>
                <a:gd name="T9" fmla="*/ 671 h 1001"/>
                <a:gd name="T10" fmla="*/ 240 w 426"/>
                <a:gd name="T11" fmla="*/ 641 h 1001"/>
                <a:gd name="T12" fmla="*/ 267 w 426"/>
                <a:gd name="T13" fmla="*/ 638 h 1001"/>
                <a:gd name="T14" fmla="*/ 303 w 426"/>
                <a:gd name="T15" fmla="*/ 745 h 1001"/>
                <a:gd name="T16" fmla="*/ 350 w 426"/>
                <a:gd name="T17" fmla="*/ 849 h 1001"/>
                <a:gd name="T18" fmla="*/ 337 w 426"/>
                <a:gd name="T19" fmla="*/ 918 h 1001"/>
                <a:gd name="T20" fmla="*/ 355 w 426"/>
                <a:gd name="T21" fmla="*/ 970 h 1001"/>
                <a:gd name="T22" fmla="*/ 375 w 426"/>
                <a:gd name="T23" fmla="*/ 956 h 1001"/>
                <a:gd name="T24" fmla="*/ 396 w 426"/>
                <a:gd name="T25" fmla="*/ 861 h 1001"/>
                <a:gd name="T26" fmla="*/ 344 w 426"/>
                <a:gd name="T27" fmla="*/ 760 h 1001"/>
                <a:gd name="T28" fmla="*/ 341 w 426"/>
                <a:gd name="T29" fmla="*/ 687 h 1001"/>
                <a:gd name="T30" fmla="*/ 344 w 426"/>
                <a:gd name="T31" fmla="*/ 653 h 1001"/>
                <a:gd name="T32" fmla="*/ 295 w 426"/>
                <a:gd name="T33" fmla="*/ 592 h 1001"/>
                <a:gd name="T34" fmla="*/ 273 w 426"/>
                <a:gd name="T35" fmla="*/ 554 h 1001"/>
                <a:gd name="T36" fmla="*/ 272 w 426"/>
                <a:gd name="T37" fmla="*/ 512 h 1001"/>
                <a:gd name="T38" fmla="*/ 318 w 426"/>
                <a:gd name="T39" fmla="*/ 477 h 1001"/>
                <a:gd name="T40" fmla="*/ 352 w 426"/>
                <a:gd name="T41" fmla="*/ 440 h 1001"/>
                <a:gd name="T42" fmla="*/ 399 w 426"/>
                <a:gd name="T43" fmla="*/ 414 h 1001"/>
                <a:gd name="T44" fmla="*/ 399 w 426"/>
                <a:gd name="T45" fmla="*/ 392 h 1001"/>
                <a:gd name="T46" fmla="*/ 397 w 426"/>
                <a:gd name="T47" fmla="*/ 380 h 1001"/>
                <a:gd name="T48" fmla="*/ 361 w 426"/>
                <a:gd name="T49" fmla="*/ 370 h 1001"/>
                <a:gd name="T50" fmla="*/ 326 w 426"/>
                <a:gd name="T51" fmla="*/ 329 h 1001"/>
                <a:gd name="T52" fmla="*/ 301 w 426"/>
                <a:gd name="T53" fmla="*/ 292 h 1001"/>
                <a:gd name="T54" fmla="*/ 297 w 426"/>
                <a:gd name="T55" fmla="*/ 237 h 1001"/>
                <a:gd name="T56" fmla="*/ 242 w 426"/>
                <a:gd name="T57" fmla="*/ 235 h 1001"/>
                <a:gd name="T58" fmla="*/ 233 w 426"/>
                <a:gd name="T59" fmla="*/ 203 h 1001"/>
                <a:gd name="T60" fmla="*/ 243 w 426"/>
                <a:gd name="T61" fmla="*/ 156 h 1001"/>
                <a:gd name="T62" fmla="*/ 253 w 426"/>
                <a:gd name="T63" fmla="*/ 133 h 1001"/>
                <a:gd name="T64" fmla="*/ 255 w 426"/>
                <a:gd name="T65" fmla="*/ 74 h 1001"/>
                <a:gd name="T66" fmla="*/ 211 w 426"/>
                <a:gd name="T67" fmla="*/ 15 h 1001"/>
                <a:gd name="T68" fmla="*/ 187 w 426"/>
                <a:gd name="T69" fmla="*/ 32 h 1001"/>
                <a:gd name="T70" fmla="*/ 159 w 426"/>
                <a:gd name="T71" fmla="*/ 69 h 1001"/>
                <a:gd name="T72" fmla="*/ 98 w 426"/>
                <a:gd name="T73" fmla="*/ 102 h 1001"/>
                <a:gd name="T74" fmla="*/ 96 w 426"/>
                <a:gd name="T75" fmla="*/ 158 h 1001"/>
                <a:gd name="T76" fmla="*/ 80 w 426"/>
                <a:gd name="T77" fmla="*/ 225 h 1001"/>
                <a:gd name="T78" fmla="*/ 26 w 426"/>
                <a:gd name="T79" fmla="*/ 244 h 1001"/>
                <a:gd name="T80" fmla="*/ 32 w 426"/>
                <a:gd name="T81" fmla="*/ 301 h 1001"/>
                <a:gd name="T82" fmla="*/ 31 w 426"/>
                <a:gd name="T83" fmla="*/ 342 h 1001"/>
                <a:gd name="T84" fmla="*/ 25 w 426"/>
                <a:gd name="T85" fmla="*/ 383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6" h="1001">
                  <a:moveTo>
                    <a:pt x="0" y="391"/>
                  </a:moveTo>
                  <a:cubicBezTo>
                    <a:pt x="5" y="391"/>
                    <a:pt x="9" y="391"/>
                    <a:pt x="9" y="391"/>
                  </a:cubicBezTo>
                  <a:cubicBezTo>
                    <a:pt x="9" y="422"/>
                    <a:pt x="9" y="422"/>
                    <a:pt x="9" y="422"/>
                  </a:cubicBezTo>
                  <a:cubicBezTo>
                    <a:pt x="9" y="422"/>
                    <a:pt x="32" y="428"/>
                    <a:pt x="41" y="438"/>
                  </a:cubicBezTo>
                  <a:cubicBezTo>
                    <a:pt x="51" y="448"/>
                    <a:pt x="59" y="470"/>
                    <a:pt x="59" y="470"/>
                  </a:cubicBezTo>
                  <a:cubicBezTo>
                    <a:pt x="81" y="465"/>
                    <a:pt x="81" y="465"/>
                    <a:pt x="81" y="465"/>
                  </a:cubicBezTo>
                  <a:cubicBezTo>
                    <a:pt x="67" y="494"/>
                    <a:pt x="67" y="494"/>
                    <a:pt x="67" y="494"/>
                  </a:cubicBezTo>
                  <a:cubicBezTo>
                    <a:pt x="67" y="494"/>
                    <a:pt x="98" y="501"/>
                    <a:pt x="110" y="510"/>
                  </a:cubicBezTo>
                  <a:cubicBezTo>
                    <a:pt x="122" y="519"/>
                    <a:pt x="130" y="555"/>
                    <a:pt x="132" y="562"/>
                  </a:cubicBezTo>
                  <a:cubicBezTo>
                    <a:pt x="134" y="568"/>
                    <a:pt x="148" y="581"/>
                    <a:pt x="148" y="581"/>
                  </a:cubicBezTo>
                  <a:cubicBezTo>
                    <a:pt x="137" y="593"/>
                    <a:pt x="137" y="593"/>
                    <a:pt x="137" y="593"/>
                  </a:cubicBezTo>
                  <a:cubicBezTo>
                    <a:pt x="145" y="654"/>
                    <a:pt x="145" y="654"/>
                    <a:pt x="145" y="654"/>
                  </a:cubicBezTo>
                  <a:cubicBezTo>
                    <a:pt x="134" y="662"/>
                    <a:pt x="134" y="662"/>
                    <a:pt x="134" y="662"/>
                  </a:cubicBezTo>
                  <a:cubicBezTo>
                    <a:pt x="134" y="662"/>
                    <a:pt x="140" y="681"/>
                    <a:pt x="149" y="680"/>
                  </a:cubicBezTo>
                  <a:cubicBezTo>
                    <a:pt x="158" y="679"/>
                    <a:pt x="168" y="671"/>
                    <a:pt x="168" y="671"/>
                  </a:cubicBezTo>
                  <a:cubicBezTo>
                    <a:pt x="168" y="671"/>
                    <a:pt x="172" y="686"/>
                    <a:pt x="183" y="681"/>
                  </a:cubicBezTo>
                  <a:cubicBezTo>
                    <a:pt x="195" y="677"/>
                    <a:pt x="206" y="654"/>
                    <a:pt x="206" y="654"/>
                  </a:cubicBezTo>
                  <a:cubicBezTo>
                    <a:pt x="206" y="654"/>
                    <a:pt x="228" y="650"/>
                    <a:pt x="240" y="641"/>
                  </a:cubicBezTo>
                  <a:cubicBezTo>
                    <a:pt x="252" y="631"/>
                    <a:pt x="238" y="602"/>
                    <a:pt x="245" y="596"/>
                  </a:cubicBezTo>
                  <a:cubicBezTo>
                    <a:pt x="253" y="590"/>
                    <a:pt x="268" y="617"/>
                    <a:pt x="268" y="617"/>
                  </a:cubicBezTo>
                  <a:cubicBezTo>
                    <a:pt x="267" y="638"/>
                    <a:pt x="267" y="638"/>
                    <a:pt x="267" y="638"/>
                  </a:cubicBezTo>
                  <a:cubicBezTo>
                    <a:pt x="267" y="638"/>
                    <a:pt x="288" y="639"/>
                    <a:pt x="289" y="656"/>
                  </a:cubicBezTo>
                  <a:cubicBezTo>
                    <a:pt x="289" y="673"/>
                    <a:pt x="296" y="685"/>
                    <a:pt x="298" y="698"/>
                  </a:cubicBezTo>
                  <a:cubicBezTo>
                    <a:pt x="300" y="712"/>
                    <a:pt x="303" y="745"/>
                    <a:pt x="303" y="745"/>
                  </a:cubicBezTo>
                  <a:cubicBezTo>
                    <a:pt x="303" y="745"/>
                    <a:pt x="304" y="757"/>
                    <a:pt x="311" y="766"/>
                  </a:cubicBezTo>
                  <a:cubicBezTo>
                    <a:pt x="319" y="775"/>
                    <a:pt x="322" y="788"/>
                    <a:pt x="322" y="788"/>
                  </a:cubicBezTo>
                  <a:cubicBezTo>
                    <a:pt x="350" y="849"/>
                    <a:pt x="350" y="849"/>
                    <a:pt x="350" y="849"/>
                  </a:cubicBezTo>
                  <a:cubicBezTo>
                    <a:pt x="360" y="879"/>
                    <a:pt x="360" y="879"/>
                    <a:pt x="360" y="879"/>
                  </a:cubicBezTo>
                  <a:cubicBezTo>
                    <a:pt x="360" y="879"/>
                    <a:pt x="346" y="876"/>
                    <a:pt x="345" y="884"/>
                  </a:cubicBezTo>
                  <a:cubicBezTo>
                    <a:pt x="343" y="893"/>
                    <a:pt x="337" y="918"/>
                    <a:pt x="337" y="918"/>
                  </a:cubicBezTo>
                  <a:cubicBezTo>
                    <a:pt x="366" y="908"/>
                    <a:pt x="366" y="908"/>
                    <a:pt x="366" y="908"/>
                  </a:cubicBezTo>
                  <a:cubicBezTo>
                    <a:pt x="358" y="945"/>
                    <a:pt x="358" y="945"/>
                    <a:pt x="358" y="945"/>
                  </a:cubicBezTo>
                  <a:cubicBezTo>
                    <a:pt x="358" y="945"/>
                    <a:pt x="354" y="957"/>
                    <a:pt x="355" y="970"/>
                  </a:cubicBezTo>
                  <a:cubicBezTo>
                    <a:pt x="356" y="982"/>
                    <a:pt x="363" y="1001"/>
                    <a:pt x="363" y="1001"/>
                  </a:cubicBezTo>
                  <a:cubicBezTo>
                    <a:pt x="363" y="1001"/>
                    <a:pt x="372" y="988"/>
                    <a:pt x="373" y="979"/>
                  </a:cubicBezTo>
                  <a:cubicBezTo>
                    <a:pt x="374" y="970"/>
                    <a:pt x="366" y="963"/>
                    <a:pt x="375" y="956"/>
                  </a:cubicBezTo>
                  <a:cubicBezTo>
                    <a:pt x="384" y="949"/>
                    <a:pt x="389" y="942"/>
                    <a:pt x="392" y="932"/>
                  </a:cubicBezTo>
                  <a:cubicBezTo>
                    <a:pt x="395" y="922"/>
                    <a:pt x="402" y="897"/>
                    <a:pt x="398" y="884"/>
                  </a:cubicBezTo>
                  <a:cubicBezTo>
                    <a:pt x="394" y="871"/>
                    <a:pt x="396" y="861"/>
                    <a:pt x="396" y="861"/>
                  </a:cubicBezTo>
                  <a:cubicBezTo>
                    <a:pt x="396" y="861"/>
                    <a:pt x="381" y="849"/>
                    <a:pt x="377" y="843"/>
                  </a:cubicBezTo>
                  <a:cubicBezTo>
                    <a:pt x="373" y="837"/>
                    <a:pt x="378" y="813"/>
                    <a:pt x="374" y="798"/>
                  </a:cubicBezTo>
                  <a:cubicBezTo>
                    <a:pt x="370" y="783"/>
                    <a:pt x="348" y="770"/>
                    <a:pt x="344" y="760"/>
                  </a:cubicBezTo>
                  <a:cubicBezTo>
                    <a:pt x="340" y="750"/>
                    <a:pt x="328" y="736"/>
                    <a:pt x="328" y="736"/>
                  </a:cubicBezTo>
                  <a:cubicBezTo>
                    <a:pt x="328" y="736"/>
                    <a:pt x="320" y="723"/>
                    <a:pt x="330" y="713"/>
                  </a:cubicBezTo>
                  <a:cubicBezTo>
                    <a:pt x="340" y="703"/>
                    <a:pt x="341" y="693"/>
                    <a:pt x="341" y="687"/>
                  </a:cubicBezTo>
                  <a:cubicBezTo>
                    <a:pt x="341" y="681"/>
                    <a:pt x="338" y="670"/>
                    <a:pt x="338" y="670"/>
                  </a:cubicBezTo>
                  <a:cubicBezTo>
                    <a:pt x="338" y="670"/>
                    <a:pt x="350" y="671"/>
                    <a:pt x="350" y="658"/>
                  </a:cubicBezTo>
                  <a:cubicBezTo>
                    <a:pt x="350" y="645"/>
                    <a:pt x="344" y="653"/>
                    <a:pt x="344" y="653"/>
                  </a:cubicBezTo>
                  <a:cubicBezTo>
                    <a:pt x="344" y="653"/>
                    <a:pt x="336" y="652"/>
                    <a:pt x="331" y="640"/>
                  </a:cubicBezTo>
                  <a:cubicBezTo>
                    <a:pt x="326" y="628"/>
                    <a:pt x="340" y="633"/>
                    <a:pt x="332" y="622"/>
                  </a:cubicBezTo>
                  <a:cubicBezTo>
                    <a:pt x="324" y="611"/>
                    <a:pt x="298" y="602"/>
                    <a:pt x="295" y="592"/>
                  </a:cubicBezTo>
                  <a:cubicBezTo>
                    <a:pt x="292" y="582"/>
                    <a:pt x="287" y="579"/>
                    <a:pt x="287" y="579"/>
                  </a:cubicBezTo>
                  <a:cubicBezTo>
                    <a:pt x="291" y="564"/>
                    <a:pt x="291" y="564"/>
                    <a:pt x="291" y="564"/>
                  </a:cubicBezTo>
                  <a:cubicBezTo>
                    <a:pt x="291" y="564"/>
                    <a:pt x="278" y="558"/>
                    <a:pt x="273" y="554"/>
                  </a:cubicBezTo>
                  <a:cubicBezTo>
                    <a:pt x="268" y="550"/>
                    <a:pt x="265" y="545"/>
                    <a:pt x="268" y="542"/>
                  </a:cubicBezTo>
                  <a:cubicBezTo>
                    <a:pt x="271" y="539"/>
                    <a:pt x="282" y="545"/>
                    <a:pt x="282" y="536"/>
                  </a:cubicBezTo>
                  <a:cubicBezTo>
                    <a:pt x="282" y="527"/>
                    <a:pt x="271" y="516"/>
                    <a:pt x="272" y="512"/>
                  </a:cubicBezTo>
                  <a:cubicBezTo>
                    <a:pt x="273" y="508"/>
                    <a:pt x="283" y="507"/>
                    <a:pt x="284" y="498"/>
                  </a:cubicBezTo>
                  <a:cubicBezTo>
                    <a:pt x="285" y="489"/>
                    <a:pt x="277" y="473"/>
                    <a:pt x="288" y="471"/>
                  </a:cubicBezTo>
                  <a:cubicBezTo>
                    <a:pt x="299" y="469"/>
                    <a:pt x="308" y="480"/>
                    <a:pt x="318" y="477"/>
                  </a:cubicBezTo>
                  <a:cubicBezTo>
                    <a:pt x="328" y="474"/>
                    <a:pt x="330" y="456"/>
                    <a:pt x="330" y="456"/>
                  </a:cubicBezTo>
                  <a:cubicBezTo>
                    <a:pt x="347" y="455"/>
                    <a:pt x="347" y="455"/>
                    <a:pt x="347" y="455"/>
                  </a:cubicBezTo>
                  <a:cubicBezTo>
                    <a:pt x="352" y="440"/>
                    <a:pt x="352" y="440"/>
                    <a:pt x="352" y="440"/>
                  </a:cubicBezTo>
                  <a:cubicBezTo>
                    <a:pt x="352" y="440"/>
                    <a:pt x="371" y="434"/>
                    <a:pt x="375" y="435"/>
                  </a:cubicBezTo>
                  <a:cubicBezTo>
                    <a:pt x="375" y="435"/>
                    <a:pt x="373" y="423"/>
                    <a:pt x="382" y="420"/>
                  </a:cubicBezTo>
                  <a:cubicBezTo>
                    <a:pt x="391" y="417"/>
                    <a:pt x="399" y="414"/>
                    <a:pt x="399" y="414"/>
                  </a:cubicBezTo>
                  <a:cubicBezTo>
                    <a:pt x="394" y="407"/>
                    <a:pt x="394" y="407"/>
                    <a:pt x="394" y="407"/>
                  </a:cubicBezTo>
                  <a:cubicBezTo>
                    <a:pt x="399" y="399"/>
                    <a:pt x="399" y="399"/>
                    <a:pt x="399" y="399"/>
                  </a:cubicBezTo>
                  <a:cubicBezTo>
                    <a:pt x="399" y="392"/>
                    <a:pt x="399" y="392"/>
                    <a:pt x="399" y="392"/>
                  </a:cubicBezTo>
                  <a:cubicBezTo>
                    <a:pt x="421" y="382"/>
                    <a:pt x="421" y="382"/>
                    <a:pt x="421" y="382"/>
                  </a:cubicBezTo>
                  <a:cubicBezTo>
                    <a:pt x="421" y="382"/>
                    <a:pt x="426" y="364"/>
                    <a:pt x="416" y="363"/>
                  </a:cubicBezTo>
                  <a:cubicBezTo>
                    <a:pt x="406" y="362"/>
                    <a:pt x="397" y="380"/>
                    <a:pt x="397" y="380"/>
                  </a:cubicBezTo>
                  <a:cubicBezTo>
                    <a:pt x="397" y="380"/>
                    <a:pt x="378" y="381"/>
                    <a:pt x="375" y="381"/>
                  </a:cubicBezTo>
                  <a:cubicBezTo>
                    <a:pt x="372" y="381"/>
                    <a:pt x="372" y="369"/>
                    <a:pt x="372" y="369"/>
                  </a:cubicBezTo>
                  <a:cubicBezTo>
                    <a:pt x="361" y="370"/>
                    <a:pt x="361" y="370"/>
                    <a:pt x="361" y="370"/>
                  </a:cubicBezTo>
                  <a:cubicBezTo>
                    <a:pt x="356" y="350"/>
                    <a:pt x="356" y="350"/>
                    <a:pt x="356" y="350"/>
                  </a:cubicBezTo>
                  <a:cubicBezTo>
                    <a:pt x="317" y="346"/>
                    <a:pt x="317" y="346"/>
                    <a:pt x="317" y="346"/>
                  </a:cubicBezTo>
                  <a:cubicBezTo>
                    <a:pt x="317" y="346"/>
                    <a:pt x="323" y="332"/>
                    <a:pt x="326" y="329"/>
                  </a:cubicBezTo>
                  <a:cubicBezTo>
                    <a:pt x="329" y="326"/>
                    <a:pt x="320" y="314"/>
                    <a:pt x="320" y="314"/>
                  </a:cubicBezTo>
                  <a:cubicBezTo>
                    <a:pt x="320" y="314"/>
                    <a:pt x="343" y="305"/>
                    <a:pt x="336" y="299"/>
                  </a:cubicBezTo>
                  <a:cubicBezTo>
                    <a:pt x="329" y="293"/>
                    <a:pt x="301" y="292"/>
                    <a:pt x="301" y="292"/>
                  </a:cubicBezTo>
                  <a:cubicBezTo>
                    <a:pt x="296" y="265"/>
                    <a:pt x="296" y="265"/>
                    <a:pt x="296" y="265"/>
                  </a:cubicBezTo>
                  <a:cubicBezTo>
                    <a:pt x="280" y="252"/>
                    <a:pt x="280" y="252"/>
                    <a:pt x="280" y="252"/>
                  </a:cubicBezTo>
                  <a:cubicBezTo>
                    <a:pt x="297" y="237"/>
                    <a:pt x="297" y="237"/>
                    <a:pt x="297" y="237"/>
                  </a:cubicBezTo>
                  <a:cubicBezTo>
                    <a:pt x="297" y="237"/>
                    <a:pt x="268" y="237"/>
                    <a:pt x="260" y="238"/>
                  </a:cubicBezTo>
                  <a:cubicBezTo>
                    <a:pt x="252" y="239"/>
                    <a:pt x="236" y="249"/>
                    <a:pt x="236" y="249"/>
                  </a:cubicBezTo>
                  <a:cubicBezTo>
                    <a:pt x="242" y="235"/>
                    <a:pt x="242" y="235"/>
                    <a:pt x="242" y="235"/>
                  </a:cubicBezTo>
                  <a:cubicBezTo>
                    <a:pt x="242" y="235"/>
                    <a:pt x="237" y="225"/>
                    <a:pt x="232" y="220"/>
                  </a:cubicBezTo>
                  <a:cubicBezTo>
                    <a:pt x="227" y="215"/>
                    <a:pt x="226" y="206"/>
                    <a:pt x="226" y="206"/>
                  </a:cubicBezTo>
                  <a:cubicBezTo>
                    <a:pt x="233" y="203"/>
                    <a:pt x="233" y="203"/>
                    <a:pt x="233" y="203"/>
                  </a:cubicBezTo>
                  <a:cubicBezTo>
                    <a:pt x="231" y="183"/>
                    <a:pt x="231" y="183"/>
                    <a:pt x="231" y="183"/>
                  </a:cubicBezTo>
                  <a:cubicBezTo>
                    <a:pt x="231" y="183"/>
                    <a:pt x="242" y="187"/>
                    <a:pt x="243" y="176"/>
                  </a:cubicBezTo>
                  <a:cubicBezTo>
                    <a:pt x="244" y="165"/>
                    <a:pt x="243" y="156"/>
                    <a:pt x="243" y="156"/>
                  </a:cubicBezTo>
                  <a:cubicBezTo>
                    <a:pt x="243" y="156"/>
                    <a:pt x="255" y="164"/>
                    <a:pt x="258" y="157"/>
                  </a:cubicBezTo>
                  <a:cubicBezTo>
                    <a:pt x="261" y="150"/>
                    <a:pt x="262" y="144"/>
                    <a:pt x="262" y="144"/>
                  </a:cubicBezTo>
                  <a:cubicBezTo>
                    <a:pt x="262" y="144"/>
                    <a:pt x="246" y="133"/>
                    <a:pt x="253" y="133"/>
                  </a:cubicBezTo>
                  <a:cubicBezTo>
                    <a:pt x="260" y="133"/>
                    <a:pt x="270" y="127"/>
                    <a:pt x="270" y="127"/>
                  </a:cubicBezTo>
                  <a:cubicBezTo>
                    <a:pt x="263" y="90"/>
                    <a:pt x="263" y="90"/>
                    <a:pt x="263" y="90"/>
                  </a:cubicBezTo>
                  <a:cubicBezTo>
                    <a:pt x="255" y="74"/>
                    <a:pt x="255" y="74"/>
                    <a:pt x="255" y="74"/>
                  </a:cubicBezTo>
                  <a:cubicBezTo>
                    <a:pt x="255" y="74"/>
                    <a:pt x="257" y="52"/>
                    <a:pt x="250" y="50"/>
                  </a:cubicBezTo>
                  <a:cubicBezTo>
                    <a:pt x="243" y="48"/>
                    <a:pt x="228" y="50"/>
                    <a:pt x="228" y="50"/>
                  </a:cubicBezTo>
                  <a:cubicBezTo>
                    <a:pt x="228" y="50"/>
                    <a:pt x="219" y="23"/>
                    <a:pt x="211" y="15"/>
                  </a:cubicBezTo>
                  <a:cubicBezTo>
                    <a:pt x="203" y="7"/>
                    <a:pt x="189" y="0"/>
                    <a:pt x="189" y="0"/>
                  </a:cubicBezTo>
                  <a:cubicBezTo>
                    <a:pt x="185" y="13"/>
                    <a:pt x="185" y="13"/>
                    <a:pt x="185" y="13"/>
                  </a:cubicBezTo>
                  <a:cubicBezTo>
                    <a:pt x="187" y="32"/>
                    <a:pt x="187" y="32"/>
                    <a:pt x="187" y="32"/>
                  </a:cubicBezTo>
                  <a:cubicBezTo>
                    <a:pt x="187" y="32"/>
                    <a:pt x="163" y="41"/>
                    <a:pt x="163" y="50"/>
                  </a:cubicBezTo>
                  <a:cubicBezTo>
                    <a:pt x="163" y="59"/>
                    <a:pt x="186" y="69"/>
                    <a:pt x="184" y="73"/>
                  </a:cubicBezTo>
                  <a:cubicBezTo>
                    <a:pt x="182" y="77"/>
                    <a:pt x="159" y="69"/>
                    <a:pt x="159" y="69"/>
                  </a:cubicBezTo>
                  <a:cubicBezTo>
                    <a:pt x="159" y="69"/>
                    <a:pt x="144" y="70"/>
                    <a:pt x="136" y="72"/>
                  </a:cubicBezTo>
                  <a:cubicBezTo>
                    <a:pt x="128" y="74"/>
                    <a:pt x="133" y="89"/>
                    <a:pt x="121" y="93"/>
                  </a:cubicBezTo>
                  <a:cubicBezTo>
                    <a:pt x="109" y="97"/>
                    <a:pt x="98" y="102"/>
                    <a:pt x="98" y="102"/>
                  </a:cubicBezTo>
                  <a:cubicBezTo>
                    <a:pt x="98" y="102"/>
                    <a:pt x="100" y="116"/>
                    <a:pt x="101" y="121"/>
                  </a:cubicBezTo>
                  <a:cubicBezTo>
                    <a:pt x="102" y="126"/>
                    <a:pt x="108" y="137"/>
                    <a:pt x="108" y="137"/>
                  </a:cubicBezTo>
                  <a:cubicBezTo>
                    <a:pt x="96" y="158"/>
                    <a:pt x="96" y="158"/>
                    <a:pt x="96" y="158"/>
                  </a:cubicBezTo>
                  <a:cubicBezTo>
                    <a:pt x="96" y="158"/>
                    <a:pt x="82" y="162"/>
                    <a:pt x="82" y="172"/>
                  </a:cubicBezTo>
                  <a:cubicBezTo>
                    <a:pt x="82" y="182"/>
                    <a:pt x="92" y="190"/>
                    <a:pt x="92" y="190"/>
                  </a:cubicBezTo>
                  <a:cubicBezTo>
                    <a:pt x="80" y="225"/>
                    <a:pt x="80" y="225"/>
                    <a:pt x="80" y="225"/>
                  </a:cubicBezTo>
                  <a:cubicBezTo>
                    <a:pt x="80" y="249"/>
                    <a:pt x="80" y="249"/>
                    <a:pt x="80" y="249"/>
                  </a:cubicBezTo>
                  <a:cubicBezTo>
                    <a:pt x="80" y="249"/>
                    <a:pt x="55" y="245"/>
                    <a:pt x="51" y="244"/>
                  </a:cubicBezTo>
                  <a:cubicBezTo>
                    <a:pt x="47" y="243"/>
                    <a:pt x="22" y="242"/>
                    <a:pt x="26" y="244"/>
                  </a:cubicBezTo>
                  <a:cubicBezTo>
                    <a:pt x="30" y="246"/>
                    <a:pt x="44" y="257"/>
                    <a:pt x="44" y="257"/>
                  </a:cubicBezTo>
                  <a:cubicBezTo>
                    <a:pt x="46" y="290"/>
                    <a:pt x="46" y="290"/>
                    <a:pt x="46" y="290"/>
                  </a:cubicBezTo>
                  <a:cubicBezTo>
                    <a:pt x="46" y="290"/>
                    <a:pt x="29" y="292"/>
                    <a:pt x="32" y="301"/>
                  </a:cubicBezTo>
                  <a:cubicBezTo>
                    <a:pt x="35" y="310"/>
                    <a:pt x="35" y="324"/>
                    <a:pt x="39" y="328"/>
                  </a:cubicBezTo>
                  <a:cubicBezTo>
                    <a:pt x="43" y="332"/>
                    <a:pt x="53" y="344"/>
                    <a:pt x="44" y="346"/>
                  </a:cubicBezTo>
                  <a:cubicBezTo>
                    <a:pt x="35" y="348"/>
                    <a:pt x="31" y="336"/>
                    <a:pt x="31" y="342"/>
                  </a:cubicBezTo>
                  <a:cubicBezTo>
                    <a:pt x="31" y="348"/>
                    <a:pt x="32" y="356"/>
                    <a:pt x="32" y="356"/>
                  </a:cubicBezTo>
                  <a:cubicBezTo>
                    <a:pt x="18" y="344"/>
                    <a:pt x="18" y="344"/>
                    <a:pt x="18" y="344"/>
                  </a:cubicBezTo>
                  <a:cubicBezTo>
                    <a:pt x="25" y="383"/>
                    <a:pt x="25" y="383"/>
                    <a:pt x="25" y="383"/>
                  </a:cubicBezTo>
                  <a:cubicBezTo>
                    <a:pt x="4" y="380"/>
                    <a:pt x="4" y="380"/>
                    <a:pt x="4" y="380"/>
                  </a:cubicBezTo>
                  <a:cubicBezTo>
                    <a:pt x="4" y="380"/>
                    <a:pt x="2" y="384"/>
                    <a:pt x="0" y="39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42" name="Freeform 222">
              <a:extLst>
                <a:ext uri="{FF2B5EF4-FFF2-40B4-BE49-F238E27FC236}">
                  <a16:creationId xmlns:a16="http://schemas.microsoft.com/office/drawing/2014/main" id="{6AA94B79-95E2-8A15-34C1-C2D6B1B58E47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5" y="-15429"/>
              <a:ext cx="520" cy="661"/>
            </a:xfrm>
            <a:custGeom>
              <a:avLst/>
              <a:gdLst>
                <a:gd name="T0" fmla="*/ 182 w 220"/>
                <a:gd name="T1" fmla="*/ 0 h 280"/>
                <a:gd name="T2" fmla="*/ 160 w 220"/>
                <a:gd name="T3" fmla="*/ 0 h 280"/>
                <a:gd name="T4" fmla="*/ 171 w 220"/>
                <a:gd name="T5" fmla="*/ 27 h 280"/>
                <a:gd name="T6" fmla="*/ 153 w 220"/>
                <a:gd name="T7" fmla="*/ 28 h 280"/>
                <a:gd name="T8" fmla="*/ 153 w 220"/>
                <a:gd name="T9" fmla="*/ 49 h 280"/>
                <a:gd name="T10" fmla="*/ 113 w 220"/>
                <a:gd name="T11" fmla="*/ 50 h 280"/>
                <a:gd name="T12" fmla="*/ 135 w 220"/>
                <a:gd name="T13" fmla="*/ 71 h 280"/>
                <a:gd name="T14" fmla="*/ 134 w 220"/>
                <a:gd name="T15" fmla="*/ 81 h 280"/>
                <a:gd name="T16" fmla="*/ 87 w 220"/>
                <a:gd name="T17" fmla="*/ 77 h 280"/>
                <a:gd name="T18" fmla="*/ 61 w 220"/>
                <a:gd name="T19" fmla="*/ 63 h 280"/>
                <a:gd name="T20" fmla="*/ 47 w 220"/>
                <a:gd name="T21" fmla="*/ 115 h 280"/>
                <a:gd name="T22" fmla="*/ 13 w 220"/>
                <a:gd name="T23" fmla="*/ 138 h 280"/>
                <a:gd name="T24" fmla="*/ 7 w 220"/>
                <a:gd name="T25" fmla="*/ 154 h 280"/>
                <a:gd name="T26" fmla="*/ 0 w 220"/>
                <a:gd name="T27" fmla="*/ 165 h 280"/>
                <a:gd name="T28" fmla="*/ 8 w 220"/>
                <a:gd name="T29" fmla="*/ 152 h 280"/>
                <a:gd name="T30" fmla="*/ 14 w 220"/>
                <a:gd name="T31" fmla="*/ 166 h 280"/>
                <a:gd name="T32" fmla="*/ 26 w 220"/>
                <a:gd name="T33" fmla="*/ 180 h 280"/>
                <a:gd name="T34" fmla="*/ 33 w 220"/>
                <a:gd name="T35" fmla="*/ 168 h 280"/>
                <a:gd name="T36" fmla="*/ 47 w 220"/>
                <a:gd name="T37" fmla="*/ 181 h 280"/>
                <a:gd name="T38" fmla="*/ 64 w 220"/>
                <a:gd name="T39" fmla="*/ 182 h 280"/>
                <a:gd name="T40" fmla="*/ 68 w 220"/>
                <a:gd name="T41" fmla="*/ 223 h 280"/>
                <a:gd name="T42" fmla="*/ 93 w 220"/>
                <a:gd name="T43" fmla="*/ 223 h 280"/>
                <a:gd name="T44" fmla="*/ 96 w 220"/>
                <a:gd name="T45" fmla="*/ 233 h 280"/>
                <a:gd name="T46" fmla="*/ 69 w 220"/>
                <a:gd name="T47" fmla="*/ 234 h 280"/>
                <a:gd name="T48" fmla="*/ 80 w 220"/>
                <a:gd name="T49" fmla="*/ 263 h 280"/>
                <a:gd name="T50" fmla="*/ 87 w 220"/>
                <a:gd name="T51" fmla="*/ 274 h 280"/>
                <a:gd name="T52" fmla="*/ 106 w 220"/>
                <a:gd name="T53" fmla="*/ 266 h 280"/>
                <a:gd name="T54" fmla="*/ 135 w 220"/>
                <a:gd name="T55" fmla="*/ 279 h 280"/>
                <a:gd name="T56" fmla="*/ 153 w 220"/>
                <a:gd name="T57" fmla="*/ 275 h 280"/>
                <a:gd name="T58" fmla="*/ 166 w 220"/>
                <a:gd name="T59" fmla="*/ 265 h 280"/>
                <a:gd name="T60" fmla="*/ 169 w 220"/>
                <a:gd name="T61" fmla="*/ 252 h 280"/>
                <a:gd name="T62" fmla="*/ 207 w 220"/>
                <a:gd name="T63" fmla="*/ 246 h 280"/>
                <a:gd name="T64" fmla="*/ 217 w 220"/>
                <a:gd name="T65" fmla="*/ 236 h 280"/>
                <a:gd name="T66" fmla="*/ 208 w 220"/>
                <a:gd name="T67" fmla="*/ 224 h 280"/>
                <a:gd name="T68" fmla="*/ 177 w 220"/>
                <a:gd name="T69" fmla="*/ 207 h 280"/>
                <a:gd name="T70" fmla="*/ 162 w 220"/>
                <a:gd name="T71" fmla="*/ 202 h 280"/>
                <a:gd name="T72" fmla="*/ 169 w 220"/>
                <a:gd name="T73" fmla="*/ 189 h 280"/>
                <a:gd name="T74" fmla="*/ 154 w 220"/>
                <a:gd name="T75" fmla="*/ 167 h 280"/>
                <a:gd name="T76" fmla="*/ 190 w 220"/>
                <a:gd name="T77" fmla="*/ 146 h 280"/>
                <a:gd name="T78" fmla="*/ 200 w 220"/>
                <a:gd name="T79" fmla="*/ 117 h 280"/>
                <a:gd name="T80" fmla="*/ 216 w 220"/>
                <a:gd name="T81" fmla="*/ 109 h 280"/>
                <a:gd name="T82" fmla="*/ 211 w 220"/>
                <a:gd name="T83" fmla="*/ 88 h 280"/>
                <a:gd name="T84" fmla="*/ 196 w 220"/>
                <a:gd name="T85" fmla="*/ 60 h 280"/>
                <a:gd name="T86" fmla="*/ 220 w 220"/>
                <a:gd name="T87" fmla="*/ 38 h 280"/>
                <a:gd name="T88" fmla="*/ 211 w 220"/>
                <a:gd name="T89" fmla="*/ 23 h 280"/>
                <a:gd name="T90" fmla="*/ 192 w 220"/>
                <a:gd name="T91" fmla="*/ 17 h 280"/>
                <a:gd name="T92" fmla="*/ 182 w 220"/>
                <a:gd name="T93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0" h="280">
                  <a:moveTo>
                    <a:pt x="182" y="0"/>
                  </a:moveTo>
                  <a:cubicBezTo>
                    <a:pt x="160" y="0"/>
                    <a:pt x="160" y="0"/>
                    <a:pt x="160" y="0"/>
                  </a:cubicBezTo>
                  <a:cubicBezTo>
                    <a:pt x="160" y="0"/>
                    <a:pt x="173" y="22"/>
                    <a:pt x="171" y="27"/>
                  </a:cubicBezTo>
                  <a:cubicBezTo>
                    <a:pt x="169" y="32"/>
                    <a:pt x="153" y="28"/>
                    <a:pt x="153" y="28"/>
                  </a:cubicBezTo>
                  <a:cubicBezTo>
                    <a:pt x="153" y="28"/>
                    <a:pt x="163" y="40"/>
                    <a:pt x="153" y="49"/>
                  </a:cubicBezTo>
                  <a:cubicBezTo>
                    <a:pt x="143" y="58"/>
                    <a:pt x="119" y="42"/>
                    <a:pt x="113" y="50"/>
                  </a:cubicBezTo>
                  <a:cubicBezTo>
                    <a:pt x="107" y="58"/>
                    <a:pt x="135" y="71"/>
                    <a:pt x="135" y="71"/>
                  </a:cubicBezTo>
                  <a:cubicBezTo>
                    <a:pt x="134" y="81"/>
                    <a:pt x="134" y="81"/>
                    <a:pt x="134" y="81"/>
                  </a:cubicBezTo>
                  <a:cubicBezTo>
                    <a:pt x="134" y="81"/>
                    <a:pt x="94" y="82"/>
                    <a:pt x="87" y="77"/>
                  </a:cubicBezTo>
                  <a:cubicBezTo>
                    <a:pt x="80" y="72"/>
                    <a:pt x="65" y="61"/>
                    <a:pt x="61" y="63"/>
                  </a:cubicBezTo>
                  <a:cubicBezTo>
                    <a:pt x="57" y="65"/>
                    <a:pt x="62" y="103"/>
                    <a:pt x="47" y="115"/>
                  </a:cubicBezTo>
                  <a:cubicBezTo>
                    <a:pt x="32" y="127"/>
                    <a:pt x="25" y="128"/>
                    <a:pt x="13" y="138"/>
                  </a:cubicBezTo>
                  <a:cubicBezTo>
                    <a:pt x="3" y="146"/>
                    <a:pt x="5" y="152"/>
                    <a:pt x="7" y="154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14" y="166"/>
                    <a:pt x="14" y="166"/>
                    <a:pt x="14" y="166"/>
                  </a:cubicBezTo>
                  <a:cubicBezTo>
                    <a:pt x="26" y="180"/>
                    <a:pt x="26" y="180"/>
                    <a:pt x="26" y="180"/>
                  </a:cubicBezTo>
                  <a:cubicBezTo>
                    <a:pt x="33" y="168"/>
                    <a:pt x="33" y="168"/>
                    <a:pt x="33" y="168"/>
                  </a:cubicBezTo>
                  <a:cubicBezTo>
                    <a:pt x="33" y="168"/>
                    <a:pt x="42" y="181"/>
                    <a:pt x="47" y="181"/>
                  </a:cubicBezTo>
                  <a:cubicBezTo>
                    <a:pt x="52" y="181"/>
                    <a:pt x="60" y="175"/>
                    <a:pt x="64" y="182"/>
                  </a:cubicBezTo>
                  <a:cubicBezTo>
                    <a:pt x="68" y="189"/>
                    <a:pt x="68" y="223"/>
                    <a:pt x="68" y="223"/>
                  </a:cubicBezTo>
                  <a:cubicBezTo>
                    <a:pt x="93" y="223"/>
                    <a:pt x="93" y="223"/>
                    <a:pt x="93" y="223"/>
                  </a:cubicBezTo>
                  <a:cubicBezTo>
                    <a:pt x="96" y="233"/>
                    <a:pt x="96" y="233"/>
                    <a:pt x="96" y="233"/>
                  </a:cubicBezTo>
                  <a:cubicBezTo>
                    <a:pt x="96" y="233"/>
                    <a:pt x="73" y="221"/>
                    <a:pt x="69" y="234"/>
                  </a:cubicBezTo>
                  <a:cubicBezTo>
                    <a:pt x="65" y="247"/>
                    <a:pt x="80" y="263"/>
                    <a:pt x="80" y="263"/>
                  </a:cubicBezTo>
                  <a:cubicBezTo>
                    <a:pt x="87" y="274"/>
                    <a:pt x="87" y="274"/>
                    <a:pt x="87" y="274"/>
                  </a:cubicBezTo>
                  <a:cubicBezTo>
                    <a:pt x="106" y="266"/>
                    <a:pt x="106" y="266"/>
                    <a:pt x="106" y="266"/>
                  </a:cubicBezTo>
                  <a:cubicBezTo>
                    <a:pt x="106" y="266"/>
                    <a:pt x="126" y="280"/>
                    <a:pt x="135" y="279"/>
                  </a:cubicBezTo>
                  <a:cubicBezTo>
                    <a:pt x="144" y="278"/>
                    <a:pt x="153" y="275"/>
                    <a:pt x="153" y="275"/>
                  </a:cubicBezTo>
                  <a:cubicBezTo>
                    <a:pt x="153" y="275"/>
                    <a:pt x="165" y="268"/>
                    <a:pt x="166" y="265"/>
                  </a:cubicBezTo>
                  <a:cubicBezTo>
                    <a:pt x="167" y="262"/>
                    <a:pt x="155" y="260"/>
                    <a:pt x="169" y="252"/>
                  </a:cubicBezTo>
                  <a:cubicBezTo>
                    <a:pt x="183" y="245"/>
                    <a:pt x="207" y="246"/>
                    <a:pt x="207" y="246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2" y="229"/>
                    <a:pt x="208" y="224"/>
                    <a:pt x="208" y="224"/>
                  </a:cubicBezTo>
                  <a:cubicBezTo>
                    <a:pt x="177" y="207"/>
                    <a:pt x="177" y="207"/>
                    <a:pt x="177" y="207"/>
                  </a:cubicBezTo>
                  <a:cubicBezTo>
                    <a:pt x="177" y="207"/>
                    <a:pt x="155" y="215"/>
                    <a:pt x="162" y="202"/>
                  </a:cubicBezTo>
                  <a:cubicBezTo>
                    <a:pt x="169" y="189"/>
                    <a:pt x="169" y="189"/>
                    <a:pt x="169" y="189"/>
                  </a:cubicBezTo>
                  <a:cubicBezTo>
                    <a:pt x="169" y="189"/>
                    <a:pt x="144" y="178"/>
                    <a:pt x="154" y="167"/>
                  </a:cubicBezTo>
                  <a:cubicBezTo>
                    <a:pt x="164" y="156"/>
                    <a:pt x="185" y="160"/>
                    <a:pt x="190" y="146"/>
                  </a:cubicBezTo>
                  <a:cubicBezTo>
                    <a:pt x="195" y="132"/>
                    <a:pt x="200" y="117"/>
                    <a:pt x="200" y="117"/>
                  </a:cubicBezTo>
                  <a:cubicBezTo>
                    <a:pt x="216" y="109"/>
                    <a:pt x="216" y="109"/>
                    <a:pt x="216" y="109"/>
                  </a:cubicBezTo>
                  <a:cubicBezTo>
                    <a:pt x="211" y="88"/>
                    <a:pt x="211" y="88"/>
                    <a:pt x="211" y="88"/>
                  </a:cubicBezTo>
                  <a:cubicBezTo>
                    <a:pt x="211" y="88"/>
                    <a:pt x="195" y="77"/>
                    <a:pt x="196" y="60"/>
                  </a:cubicBezTo>
                  <a:cubicBezTo>
                    <a:pt x="197" y="43"/>
                    <a:pt x="220" y="38"/>
                    <a:pt x="220" y="38"/>
                  </a:cubicBezTo>
                  <a:cubicBezTo>
                    <a:pt x="211" y="23"/>
                    <a:pt x="211" y="23"/>
                    <a:pt x="211" y="23"/>
                  </a:cubicBezTo>
                  <a:cubicBezTo>
                    <a:pt x="192" y="17"/>
                    <a:pt x="192" y="17"/>
                    <a:pt x="192" y="17"/>
                  </a:cubicBezTo>
                  <a:lnTo>
                    <a:pt x="182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43" name="Freeform 223">
              <a:extLst>
                <a:ext uri="{FF2B5EF4-FFF2-40B4-BE49-F238E27FC236}">
                  <a16:creationId xmlns:a16="http://schemas.microsoft.com/office/drawing/2014/main" id="{EDC1F95A-92E3-900E-342A-B93E2C8731A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56" y="-16752"/>
              <a:ext cx="5766" cy="4445"/>
            </a:xfrm>
            <a:custGeom>
              <a:avLst/>
              <a:gdLst>
                <a:gd name="T0" fmla="*/ 1905 w 2441"/>
                <a:gd name="T1" fmla="*/ 1857 h 1882"/>
                <a:gd name="T2" fmla="*/ 2423 w 2441"/>
                <a:gd name="T3" fmla="*/ 352 h 1882"/>
                <a:gd name="T4" fmla="*/ 2365 w 2441"/>
                <a:gd name="T5" fmla="*/ 288 h 1882"/>
                <a:gd name="T6" fmla="*/ 2248 w 2441"/>
                <a:gd name="T7" fmla="*/ 288 h 1882"/>
                <a:gd name="T8" fmla="*/ 2077 w 2441"/>
                <a:gd name="T9" fmla="*/ 209 h 1882"/>
                <a:gd name="T10" fmla="*/ 1934 w 2441"/>
                <a:gd name="T11" fmla="*/ 76 h 1882"/>
                <a:gd name="T12" fmla="*/ 1769 w 2441"/>
                <a:gd name="T13" fmla="*/ 0 h 1882"/>
                <a:gd name="T14" fmla="*/ 1704 w 2441"/>
                <a:gd name="T15" fmla="*/ 80 h 1882"/>
                <a:gd name="T16" fmla="*/ 1653 w 2441"/>
                <a:gd name="T17" fmla="*/ 209 h 1882"/>
                <a:gd name="T18" fmla="*/ 1639 w 2441"/>
                <a:gd name="T19" fmla="*/ 310 h 1882"/>
                <a:gd name="T20" fmla="*/ 1786 w 2441"/>
                <a:gd name="T21" fmla="*/ 322 h 1882"/>
                <a:gd name="T22" fmla="*/ 1753 w 2441"/>
                <a:gd name="T23" fmla="*/ 371 h 1882"/>
                <a:gd name="T24" fmla="*/ 1627 w 2441"/>
                <a:gd name="T25" fmla="*/ 462 h 1882"/>
                <a:gd name="T26" fmla="*/ 1536 w 2441"/>
                <a:gd name="T27" fmla="*/ 569 h 1882"/>
                <a:gd name="T28" fmla="*/ 1228 w 2441"/>
                <a:gd name="T29" fmla="*/ 608 h 1882"/>
                <a:gd name="T30" fmla="*/ 973 w 2441"/>
                <a:gd name="T31" fmla="*/ 571 h 1882"/>
                <a:gd name="T32" fmla="*/ 775 w 2441"/>
                <a:gd name="T33" fmla="*/ 459 h 1882"/>
                <a:gd name="T34" fmla="*/ 612 w 2441"/>
                <a:gd name="T35" fmla="*/ 353 h 1882"/>
                <a:gd name="T36" fmla="*/ 452 w 2441"/>
                <a:gd name="T37" fmla="*/ 264 h 1882"/>
                <a:gd name="T38" fmla="*/ 373 w 2441"/>
                <a:gd name="T39" fmla="*/ 309 h 1882"/>
                <a:gd name="T40" fmla="*/ 273 w 2441"/>
                <a:gd name="T41" fmla="*/ 425 h 1882"/>
                <a:gd name="T42" fmla="*/ 216 w 2441"/>
                <a:gd name="T43" fmla="*/ 499 h 1882"/>
                <a:gd name="T44" fmla="*/ 199 w 2441"/>
                <a:gd name="T45" fmla="*/ 625 h 1882"/>
                <a:gd name="T46" fmla="*/ 63 w 2441"/>
                <a:gd name="T47" fmla="*/ 683 h 1882"/>
                <a:gd name="T48" fmla="*/ 15 w 2441"/>
                <a:gd name="T49" fmla="*/ 765 h 1882"/>
                <a:gd name="T50" fmla="*/ 111 w 2441"/>
                <a:gd name="T51" fmla="*/ 880 h 1882"/>
                <a:gd name="T52" fmla="*/ 294 w 2441"/>
                <a:gd name="T53" fmla="*/ 934 h 1882"/>
                <a:gd name="T54" fmla="*/ 306 w 2441"/>
                <a:gd name="T55" fmla="*/ 1057 h 1882"/>
                <a:gd name="T56" fmla="*/ 316 w 2441"/>
                <a:gd name="T57" fmla="*/ 1113 h 1882"/>
                <a:gd name="T58" fmla="*/ 403 w 2441"/>
                <a:gd name="T59" fmla="*/ 1210 h 1882"/>
                <a:gd name="T60" fmla="*/ 571 w 2441"/>
                <a:gd name="T61" fmla="*/ 1302 h 1882"/>
                <a:gd name="T62" fmla="*/ 698 w 2441"/>
                <a:gd name="T63" fmla="*/ 1349 h 1882"/>
                <a:gd name="T64" fmla="*/ 894 w 2441"/>
                <a:gd name="T65" fmla="*/ 1350 h 1882"/>
                <a:gd name="T66" fmla="*/ 1044 w 2441"/>
                <a:gd name="T67" fmla="*/ 1318 h 1882"/>
                <a:gd name="T68" fmla="*/ 1161 w 2441"/>
                <a:gd name="T69" fmla="*/ 1339 h 1882"/>
                <a:gd name="T70" fmla="*/ 1291 w 2441"/>
                <a:gd name="T71" fmla="*/ 1422 h 1882"/>
                <a:gd name="T72" fmla="*/ 1261 w 2441"/>
                <a:gd name="T73" fmla="*/ 1535 h 1882"/>
                <a:gd name="T74" fmla="*/ 1324 w 2441"/>
                <a:gd name="T75" fmla="*/ 1597 h 1882"/>
                <a:gd name="T76" fmla="*/ 1400 w 2441"/>
                <a:gd name="T77" fmla="*/ 1701 h 1882"/>
                <a:gd name="T78" fmla="*/ 1461 w 2441"/>
                <a:gd name="T79" fmla="*/ 1679 h 1882"/>
                <a:gd name="T80" fmla="*/ 1554 w 2441"/>
                <a:gd name="T81" fmla="*/ 1639 h 1882"/>
                <a:gd name="T82" fmla="*/ 1625 w 2441"/>
                <a:gd name="T83" fmla="*/ 1610 h 1882"/>
                <a:gd name="T84" fmla="*/ 1698 w 2441"/>
                <a:gd name="T85" fmla="*/ 1684 h 1882"/>
                <a:gd name="T86" fmla="*/ 1846 w 2441"/>
                <a:gd name="T87" fmla="*/ 1750 h 1882"/>
                <a:gd name="T88" fmla="*/ 2036 w 2441"/>
                <a:gd name="T89" fmla="*/ 1660 h 1882"/>
                <a:gd name="T90" fmla="*/ 2205 w 2441"/>
                <a:gd name="T91" fmla="*/ 1544 h 1882"/>
                <a:gd name="T92" fmla="*/ 2274 w 2441"/>
                <a:gd name="T93" fmla="*/ 1405 h 1882"/>
                <a:gd name="T94" fmla="*/ 2335 w 2441"/>
                <a:gd name="T95" fmla="*/ 1231 h 1882"/>
                <a:gd name="T96" fmla="*/ 2240 w 2441"/>
                <a:gd name="T97" fmla="*/ 1164 h 1882"/>
                <a:gd name="T98" fmla="*/ 2236 w 2441"/>
                <a:gd name="T99" fmla="*/ 1155 h 1882"/>
                <a:gd name="T100" fmla="*/ 2157 w 2441"/>
                <a:gd name="T101" fmla="*/ 1022 h 1882"/>
                <a:gd name="T102" fmla="*/ 2131 w 2441"/>
                <a:gd name="T103" fmla="*/ 897 h 1882"/>
                <a:gd name="T104" fmla="*/ 2161 w 2441"/>
                <a:gd name="T105" fmla="*/ 854 h 1882"/>
                <a:gd name="T106" fmla="*/ 2004 w 2441"/>
                <a:gd name="T107" fmla="*/ 828 h 1882"/>
                <a:gd name="T108" fmla="*/ 1997 w 2441"/>
                <a:gd name="T109" fmla="*/ 758 h 1882"/>
                <a:gd name="T110" fmla="*/ 2079 w 2441"/>
                <a:gd name="T111" fmla="*/ 665 h 1882"/>
                <a:gd name="T112" fmla="*/ 2131 w 2441"/>
                <a:gd name="T113" fmla="*/ 770 h 1882"/>
                <a:gd name="T114" fmla="*/ 2292 w 2441"/>
                <a:gd name="T115" fmla="*/ 637 h 1882"/>
                <a:gd name="T116" fmla="*/ 2387 w 2441"/>
                <a:gd name="T117" fmla="*/ 560 h 1882"/>
                <a:gd name="T118" fmla="*/ 2379 w 2441"/>
                <a:gd name="T119" fmla="*/ 455 h 1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41" h="1882">
                  <a:moveTo>
                    <a:pt x="1912" y="1793"/>
                  </a:moveTo>
                  <a:cubicBezTo>
                    <a:pt x="1898" y="1783"/>
                    <a:pt x="1850" y="1789"/>
                    <a:pt x="1850" y="1789"/>
                  </a:cubicBezTo>
                  <a:cubicBezTo>
                    <a:pt x="1846" y="1801"/>
                    <a:pt x="1846" y="1801"/>
                    <a:pt x="1846" y="1801"/>
                  </a:cubicBezTo>
                  <a:cubicBezTo>
                    <a:pt x="1835" y="1795"/>
                    <a:pt x="1835" y="1795"/>
                    <a:pt x="1835" y="1795"/>
                  </a:cubicBezTo>
                  <a:cubicBezTo>
                    <a:pt x="1829" y="1812"/>
                    <a:pt x="1829" y="1812"/>
                    <a:pt x="1829" y="1812"/>
                  </a:cubicBezTo>
                  <a:cubicBezTo>
                    <a:pt x="1829" y="1812"/>
                    <a:pt x="1799" y="1835"/>
                    <a:pt x="1818" y="1859"/>
                  </a:cubicBezTo>
                  <a:cubicBezTo>
                    <a:pt x="1838" y="1882"/>
                    <a:pt x="1851" y="1882"/>
                    <a:pt x="1851" y="1882"/>
                  </a:cubicBezTo>
                  <a:cubicBezTo>
                    <a:pt x="1907" y="1881"/>
                    <a:pt x="1903" y="1864"/>
                    <a:pt x="1905" y="1857"/>
                  </a:cubicBezTo>
                  <a:cubicBezTo>
                    <a:pt x="1906" y="1851"/>
                    <a:pt x="1902" y="1836"/>
                    <a:pt x="1902" y="1836"/>
                  </a:cubicBezTo>
                  <a:cubicBezTo>
                    <a:pt x="1902" y="1836"/>
                    <a:pt x="1927" y="1804"/>
                    <a:pt x="1912" y="1793"/>
                  </a:cubicBezTo>
                  <a:close/>
                  <a:moveTo>
                    <a:pt x="2441" y="416"/>
                  </a:moveTo>
                  <a:cubicBezTo>
                    <a:pt x="2438" y="399"/>
                    <a:pt x="2438" y="399"/>
                    <a:pt x="2438" y="399"/>
                  </a:cubicBezTo>
                  <a:cubicBezTo>
                    <a:pt x="2441" y="382"/>
                    <a:pt x="2441" y="382"/>
                    <a:pt x="2441" y="382"/>
                  </a:cubicBezTo>
                  <a:cubicBezTo>
                    <a:pt x="2430" y="375"/>
                    <a:pt x="2430" y="375"/>
                    <a:pt x="2430" y="375"/>
                  </a:cubicBezTo>
                  <a:cubicBezTo>
                    <a:pt x="2430" y="362"/>
                    <a:pt x="2430" y="362"/>
                    <a:pt x="2430" y="362"/>
                  </a:cubicBezTo>
                  <a:cubicBezTo>
                    <a:pt x="2423" y="352"/>
                    <a:pt x="2423" y="352"/>
                    <a:pt x="2423" y="352"/>
                  </a:cubicBezTo>
                  <a:cubicBezTo>
                    <a:pt x="2423" y="340"/>
                    <a:pt x="2423" y="340"/>
                    <a:pt x="2423" y="340"/>
                  </a:cubicBezTo>
                  <a:cubicBezTo>
                    <a:pt x="2415" y="330"/>
                    <a:pt x="2415" y="330"/>
                    <a:pt x="2415" y="330"/>
                  </a:cubicBezTo>
                  <a:cubicBezTo>
                    <a:pt x="2427" y="325"/>
                    <a:pt x="2427" y="325"/>
                    <a:pt x="2427" y="325"/>
                  </a:cubicBezTo>
                  <a:cubicBezTo>
                    <a:pt x="2427" y="305"/>
                    <a:pt x="2427" y="305"/>
                    <a:pt x="2427" y="305"/>
                  </a:cubicBezTo>
                  <a:cubicBezTo>
                    <a:pt x="2409" y="297"/>
                    <a:pt x="2409" y="297"/>
                    <a:pt x="2409" y="297"/>
                  </a:cubicBezTo>
                  <a:cubicBezTo>
                    <a:pt x="2409" y="297"/>
                    <a:pt x="2415" y="284"/>
                    <a:pt x="2405" y="276"/>
                  </a:cubicBezTo>
                  <a:cubicBezTo>
                    <a:pt x="2395" y="268"/>
                    <a:pt x="2370" y="274"/>
                    <a:pt x="2370" y="274"/>
                  </a:cubicBezTo>
                  <a:cubicBezTo>
                    <a:pt x="2365" y="288"/>
                    <a:pt x="2365" y="288"/>
                    <a:pt x="2365" y="288"/>
                  </a:cubicBezTo>
                  <a:cubicBezTo>
                    <a:pt x="2365" y="288"/>
                    <a:pt x="2337" y="287"/>
                    <a:pt x="2334" y="292"/>
                  </a:cubicBezTo>
                  <a:cubicBezTo>
                    <a:pt x="2331" y="297"/>
                    <a:pt x="2330" y="308"/>
                    <a:pt x="2330" y="308"/>
                  </a:cubicBezTo>
                  <a:cubicBezTo>
                    <a:pt x="2311" y="306"/>
                    <a:pt x="2311" y="306"/>
                    <a:pt x="2311" y="306"/>
                  </a:cubicBezTo>
                  <a:cubicBezTo>
                    <a:pt x="2311" y="313"/>
                    <a:pt x="2311" y="313"/>
                    <a:pt x="2311" y="313"/>
                  </a:cubicBezTo>
                  <a:cubicBezTo>
                    <a:pt x="2298" y="314"/>
                    <a:pt x="2298" y="314"/>
                    <a:pt x="2298" y="314"/>
                  </a:cubicBezTo>
                  <a:cubicBezTo>
                    <a:pt x="2290" y="304"/>
                    <a:pt x="2290" y="304"/>
                    <a:pt x="2290" y="304"/>
                  </a:cubicBezTo>
                  <a:cubicBezTo>
                    <a:pt x="2273" y="308"/>
                    <a:pt x="2273" y="308"/>
                    <a:pt x="2273" y="308"/>
                  </a:cubicBezTo>
                  <a:cubicBezTo>
                    <a:pt x="2248" y="288"/>
                    <a:pt x="2248" y="288"/>
                    <a:pt x="2248" y="288"/>
                  </a:cubicBezTo>
                  <a:cubicBezTo>
                    <a:pt x="2248" y="288"/>
                    <a:pt x="2247" y="280"/>
                    <a:pt x="2244" y="273"/>
                  </a:cubicBezTo>
                  <a:cubicBezTo>
                    <a:pt x="2241" y="266"/>
                    <a:pt x="2225" y="265"/>
                    <a:pt x="2225" y="265"/>
                  </a:cubicBezTo>
                  <a:cubicBezTo>
                    <a:pt x="2216" y="246"/>
                    <a:pt x="2216" y="246"/>
                    <a:pt x="2216" y="246"/>
                  </a:cubicBezTo>
                  <a:cubicBezTo>
                    <a:pt x="2192" y="246"/>
                    <a:pt x="2192" y="246"/>
                    <a:pt x="2192" y="246"/>
                  </a:cubicBezTo>
                  <a:cubicBezTo>
                    <a:pt x="2192" y="246"/>
                    <a:pt x="2154" y="218"/>
                    <a:pt x="2150" y="218"/>
                  </a:cubicBezTo>
                  <a:cubicBezTo>
                    <a:pt x="2146" y="218"/>
                    <a:pt x="2138" y="225"/>
                    <a:pt x="2138" y="225"/>
                  </a:cubicBezTo>
                  <a:cubicBezTo>
                    <a:pt x="2138" y="225"/>
                    <a:pt x="2122" y="209"/>
                    <a:pt x="2112" y="211"/>
                  </a:cubicBezTo>
                  <a:cubicBezTo>
                    <a:pt x="2102" y="213"/>
                    <a:pt x="2085" y="214"/>
                    <a:pt x="2077" y="209"/>
                  </a:cubicBezTo>
                  <a:cubicBezTo>
                    <a:pt x="2069" y="204"/>
                    <a:pt x="2050" y="194"/>
                    <a:pt x="2050" y="194"/>
                  </a:cubicBezTo>
                  <a:cubicBezTo>
                    <a:pt x="2046" y="178"/>
                    <a:pt x="2046" y="178"/>
                    <a:pt x="2046" y="178"/>
                  </a:cubicBezTo>
                  <a:cubicBezTo>
                    <a:pt x="2039" y="178"/>
                    <a:pt x="2039" y="178"/>
                    <a:pt x="2039" y="178"/>
                  </a:cubicBezTo>
                  <a:cubicBezTo>
                    <a:pt x="2039" y="178"/>
                    <a:pt x="2021" y="154"/>
                    <a:pt x="2011" y="145"/>
                  </a:cubicBezTo>
                  <a:cubicBezTo>
                    <a:pt x="2001" y="136"/>
                    <a:pt x="1980" y="134"/>
                    <a:pt x="1980" y="134"/>
                  </a:cubicBezTo>
                  <a:cubicBezTo>
                    <a:pt x="1969" y="112"/>
                    <a:pt x="1969" y="112"/>
                    <a:pt x="1969" y="112"/>
                  </a:cubicBezTo>
                  <a:cubicBezTo>
                    <a:pt x="1937" y="95"/>
                    <a:pt x="1937" y="95"/>
                    <a:pt x="1937" y="95"/>
                  </a:cubicBezTo>
                  <a:cubicBezTo>
                    <a:pt x="1934" y="76"/>
                    <a:pt x="1934" y="76"/>
                    <a:pt x="1934" y="76"/>
                  </a:cubicBezTo>
                  <a:cubicBezTo>
                    <a:pt x="1934" y="76"/>
                    <a:pt x="1919" y="71"/>
                    <a:pt x="1914" y="67"/>
                  </a:cubicBezTo>
                  <a:cubicBezTo>
                    <a:pt x="1909" y="63"/>
                    <a:pt x="1891" y="53"/>
                    <a:pt x="1891" y="53"/>
                  </a:cubicBezTo>
                  <a:cubicBezTo>
                    <a:pt x="1889" y="44"/>
                    <a:pt x="1889" y="44"/>
                    <a:pt x="1889" y="44"/>
                  </a:cubicBezTo>
                  <a:cubicBezTo>
                    <a:pt x="1889" y="44"/>
                    <a:pt x="1868" y="30"/>
                    <a:pt x="1861" y="29"/>
                  </a:cubicBezTo>
                  <a:cubicBezTo>
                    <a:pt x="1854" y="28"/>
                    <a:pt x="1835" y="27"/>
                    <a:pt x="1835" y="27"/>
                  </a:cubicBezTo>
                  <a:cubicBezTo>
                    <a:pt x="1820" y="30"/>
                    <a:pt x="1820" y="30"/>
                    <a:pt x="1820" y="30"/>
                  </a:cubicBezTo>
                  <a:cubicBezTo>
                    <a:pt x="1794" y="13"/>
                    <a:pt x="1794" y="13"/>
                    <a:pt x="1794" y="13"/>
                  </a:cubicBezTo>
                  <a:cubicBezTo>
                    <a:pt x="1769" y="0"/>
                    <a:pt x="1769" y="0"/>
                    <a:pt x="1769" y="0"/>
                  </a:cubicBezTo>
                  <a:cubicBezTo>
                    <a:pt x="1734" y="7"/>
                    <a:pt x="1734" y="7"/>
                    <a:pt x="1734" y="7"/>
                  </a:cubicBezTo>
                  <a:cubicBezTo>
                    <a:pt x="1706" y="5"/>
                    <a:pt x="1706" y="5"/>
                    <a:pt x="1706" y="5"/>
                  </a:cubicBezTo>
                  <a:cubicBezTo>
                    <a:pt x="1702" y="13"/>
                    <a:pt x="1702" y="13"/>
                    <a:pt x="1702" y="13"/>
                  </a:cubicBezTo>
                  <a:cubicBezTo>
                    <a:pt x="1678" y="16"/>
                    <a:pt x="1678" y="16"/>
                    <a:pt x="1678" y="16"/>
                  </a:cubicBezTo>
                  <a:cubicBezTo>
                    <a:pt x="1658" y="36"/>
                    <a:pt x="1658" y="36"/>
                    <a:pt x="1658" y="36"/>
                  </a:cubicBezTo>
                  <a:cubicBezTo>
                    <a:pt x="1658" y="36"/>
                    <a:pt x="1636" y="51"/>
                    <a:pt x="1651" y="54"/>
                  </a:cubicBezTo>
                  <a:cubicBezTo>
                    <a:pt x="1666" y="57"/>
                    <a:pt x="1678" y="59"/>
                    <a:pt x="1678" y="59"/>
                  </a:cubicBezTo>
                  <a:cubicBezTo>
                    <a:pt x="1678" y="59"/>
                    <a:pt x="1705" y="74"/>
                    <a:pt x="1704" y="80"/>
                  </a:cubicBezTo>
                  <a:cubicBezTo>
                    <a:pt x="1703" y="86"/>
                    <a:pt x="1691" y="91"/>
                    <a:pt x="1689" y="100"/>
                  </a:cubicBezTo>
                  <a:cubicBezTo>
                    <a:pt x="1687" y="109"/>
                    <a:pt x="1692" y="127"/>
                    <a:pt x="1692" y="127"/>
                  </a:cubicBezTo>
                  <a:cubicBezTo>
                    <a:pt x="1692" y="146"/>
                    <a:pt x="1692" y="146"/>
                    <a:pt x="1692" y="146"/>
                  </a:cubicBezTo>
                  <a:cubicBezTo>
                    <a:pt x="1693" y="171"/>
                    <a:pt x="1693" y="171"/>
                    <a:pt x="1693" y="171"/>
                  </a:cubicBezTo>
                  <a:cubicBezTo>
                    <a:pt x="1693" y="171"/>
                    <a:pt x="1717" y="181"/>
                    <a:pt x="1704" y="189"/>
                  </a:cubicBezTo>
                  <a:cubicBezTo>
                    <a:pt x="1691" y="197"/>
                    <a:pt x="1680" y="192"/>
                    <a:pt x="1680" y="192"/>
                  </a:cubicBezTo>
                  <a:cubicBezTo>
                    <a:pt x="1680" y="192"/>
                    <a:pt x="1676" y="214"/>
                    <a:pt x="1666" y="214"/>
                  </a:cubicBezTo>
                  <a:cubicBezTo>
                    <a:pt x="1656" y="214"/>
                    <a:pt x="1653" y="209"/>
                    <a:pt x="1653" y="209"/>
                  </a:cubicBezTo>
                  <a:cubicBezTo>
                    <a:pt x="1629" y="208"/>
                    <a:pt x="1629" y="208"/>
                    <a:pt x="1629" y="208"/>
                  </a:cubicBezTo>
                  <a:cubicBezTo>
                    <a:pt x="1606" y="194"/>
                    <a:pt x="1606" y="194"/>
                    <a:pt x="1606" y="194"/>
                  </a:cubicBezTo>
                  <a:cubicBezTo>
                    <a:pt x="1607" y="249"/>
                    <a:pt x="1607" y="249"/>
                    <a:pt x="1607" y="249"/>
                  </a:cubicBezTo>
                  <a:cubicBezTo>
                    <a:pt x="1612" y="255"/>
                    <a:pt x="1612" y="255"/>
                    <a:pt x="1612" y="255"/>
                  </a:cubicBezTo>
                  <a:cubicBezTo>
                    <a:pt x="1613" y="273"/>
                    <a:pt x="1613" y="273"/>
                    <a:pt x="1613" y="273"/>
                  </a:cubicBezTo>
                  <a:cubicBezTo>
                    <a:pt x="1617" y="279"/>
                    <a:pt x="1617" y="279"/>
                    <a:pt x="1617" y="279"/>
                  </a:cubicBezTo>
                  <a:cubicBezTo>
                    <a:pt x="1617" y="279"/>
                    <a:pt x="1612" y="282"/>
                    <a:pt x="1615" y="292"/>
                  </a:cubicBezTo>
                  <a:cubicBezTo>
                    <a:pt x="1618" y="302"/>
                    <a:pt x="1630" y="313"/>
                    <a:pt x="1639" y="310"/>
                  </a:cubicBezTo>
                  <a:cubicBezTo>
                    <a:pt x="1648" y="307"/>
                    <a:pt x="1632" y="300"/>
                    <a:pt x="1651" y="299"/>
                  </a:cubicBezTo>
                  <a:cubicBezTo>
                    <a:pt x="1670" y="298"/>
                    <a:pt x="1680" y="302"/>
                    <a:pt x="1680" y="302"/>
                  </a:cubicBezTo>
                  <a:cubicBezTo>
                    <a:pt x="1680" y="302"/>
                    <a:pt x="1691" y="313"/>
                    <a:pt x="1697" y="311"/>
                  </a:cubicBezTo>
                  <a:cubicBezTo>
                    <a:pt x="1703" y="309"/>
                    <a:pt x="1704" y="291"/>
                    <a:pt x="1704" y="291"/>
                  </a:cubicBezTo>
                  <a:cubicBezTo>
                    <a:pt x="1745" y="291"/>
                    <a:pt x="1745" y="291"/>
                    <a:pt x="1745" y="291"/>
                  </a:cubicBezTo>
                  <a:cubicBezTo>
                    <a:pt x="1745" y="291"/>
                    <a:pt x="1748" y="306"/>
                    <a:pt x="1757" y="307"/>
                  </a:cubicBezTo>
                  <a:cubicBezTo>
                    <a:pt x="1766" y="308"/>
                    <a:pt x="1769" y="308"/>
                    <a:pt x="1769" y="308"/>
                  </a:cubicBezTo>
                  <a:cubicBezTo>
                    <a:pt x="1769" y="308"/>
                    <a:pt x="1777" y="315"/>
                    <a:pt x="1786" y="322"/>
                  </a:cubicBezTo>
                  <a:cubicBezTo>
                    <a:pt x="1795" y="329"/>
                    <a:pt x="1813" y="333"/>
                    <a:pt x="1813" y="333"/>
                  </a:cubicBezTo>
                  <a:cubicBezTo>
                    <a:pt x="1813" y="333"/>
                    <a:pt x="1818" y="344"/>
                    <a:pt x="1827" y="350"/>
                  </a:cubicBezTo>
                  <a:cubicBezTo>
                    <a:pt x="1836" y="356"/>
                    <a:pt x="1839" y="362"/>
                    <a:pt x="1831" y="363"/>
                  </a:cubicBezTo>
                  <a:cubicBezTo>
                    <a:pt x="1823" y="364"/>
                    <a:pt x="1805" y="365"/>
                    <a:pt x="1805" y="365"/>
                  </a:cubicBezTo>
                  <a:cubicBezTo>
                    <a:pt x="1805" y="365"/>
                    <a:pt x="1797" y="356"/>
                    <a:pt x="1788" y="356"/>
                  </a:cubicBezTo>
                  <a:cubicBezTo>
                    <a:pt x="1779" y="356"/>
                    <a:pt x="1768" y="359"/>
                    <a:pt x="1768" y="359"/>
                  </a:cubicBezTo>
                  <a:cubicBezTo>
                    <a:pt x="1759" y="368"/>
                    <a:pt x="1759" y="368"/>
                    <a:pt x="1759" y="368"/>
                  </a:cubicBezTo>
                  <a:cubicBezTo>
                    <a:pt x="1753" y="371"/>
                    <a:pt x="1753" y="371"/>
                    <a:pt x="1753" y="371"/>
                  </a:cubicBezTo>
                  <a:cubicBezTo>
                    <a:pt x="1735" y="368"/>
                    <a:pt x="1735" y="368"/>
                    <a:pt x="1735" y="368"/>
                  </a:cubicBezTo>
                  <a:cubicBezTo>
                    <a:pt x="1735" y="379"/>
                    <a:pt x="1735" y="379"/>
                    <a:pt x="1735" y="379"/>
                  </a:cubicBezTo>
                  <a:cubicBezTo>
                    <a:pt x="1735" y="379"/>
                    <a:pt x="1710" y="380"/>
                    <a:pt x="1703" y="391"/>
                  </a:cubicBezTo>
                  <a:cubicBezTo>
                    <a:pt x="1696" y="402"/>
                    <a:pt x="1711" y="413"/>
                    <a:pt x="1711" y="413"/>
                  </a:cubicBezTo>
                  <a:cubicBezTo>
                    <a:pt x="1695" y="427"/>
                    <a:pt x="1695" y="427"/>
                    <a:pt x="1695" y="427"/>
                  </a:cubicBezTo>
                  <a:cubicBezTo>
                    <a:pt x="1695" y="427"/>
                    <a:pt x="1649" y="424"/>
                    <a:pt x="1646" y="427"/>
                  </a:cubicBezTo>
                  <a:cubicBezTo>
                    <a:pt x="1643" y="430"/>
                    <a:pt x="1645" y="446"/>
                    <a:pt x="1645" y="446"/>
                  </a:cubicBezTo>
                  <a:cubicBezTo>
                    <a:pt x="1645" y="446"/>
                    <a:pt x="1634" y="460"/>
                    <a:pt x="1627" y="462"/>
                  </a:cubicBezTo>
                  <a:cubicBezTo>
                    <a:pt x="1620" y="464"/>
                    <a:pt x="1593" y="465"/>
                    <a:pt x="1593" y="465"/>
                  </a:cubicBezTo>
                  <a:cubicBezTo>
                    <a:pt x="1593" y="465"/>
                    <a:pt x="1571" y="448"/>
                    <a:pt x="1567" y="447"/>
                  </a:cubicBezTo>
                  <a:cubicBezTo>
                    <a:pt x="1563" y="446"/>
                    <a:pt x="1545" y="440"/>
                    <a:pt x="1539" y="450"/>
                  </a:cubicBezTo>
                  <a:cubicBezTo>
                    <a:pt x="1533" y="460"/>
                    <a:pt x="1535" y="480"/>
                    <a:pt x="1541" y="484"/>
                  </a:cubicBezTo>
                  <a:cubicBezTo>
                    <a:pt x="1547" y="488"/>
                    <a:pt x="1578" y="511"/>
                    <a:pt x="1577" y="516"/>
                  </a:cubicBezTo>
                  <a:cubicBezTo>
                    <a:pt x="1576" y="521"/>
                    <a:pt x="1566" y="536"/>
                    <a:pt x="1562" y="536"/>
                  </a:cubicBezTo>
                  <a:cubicBezTo>
                    <a:pt x="1558" y="536"/>
                    <a:pt x="1548" y="533"/>
                    <a:pt x="1545" y="540"/>
                  </a:cubicBezTo>
                  <a:cubicBezTo>
                    <a:pt x="1542" y="547"/>
                    <a:pt x="1544" y="562"/>
                    <a:pt x="1536" y="569"/>
                  </a:cubicBezTo>
                  <a:cubicBezTo>
                    <a:pt x="1528" y="576"/>
                    <a:pt x="1511" y="574"/>
                    <a:pt x="1511" y="574"/>
                  </a:cubicBezTo>
                  <a:cubicBezTo>
                    <a:pt x="1499" y="587"/>
                    <a:pt x="1499" y="587"/>
                    <a:pt x="1499" y="587"/>
                  </a:cubicBezTo>
                  <a:cubicBezTo>
                    <a:pt x="1499" y="587"/>
                    <a:pt x="1409" y="584"/>
                    <a:pt x="1395" y="590"/>
                  </a:cubicBezTo>
                  <a:cubicBezTo>
                    <a:pt x="1381" y="596"/>
                    <a:pt x="1338" y="625"/>
                    <a:pt x="1332" y="630"/>
                  </a:cubicBezTo>
                  <a:cubicBezTo>
                    <a:pt x="1326" y="635"/>
                    <a:pt x="1306" y="627"/>
                    <a:pt x="1306" y="627"/>
                  </a:cubicBezTo>
                  <a:cubicBezTo>
                    <a:pt x="1306" y="627"/>
                    <a:pt x="1303" y="615"/>
                    <a:pt x="1297" y="615"/>
                  </a:cubicBezTo>
                  <a:cubicBezTo>
                    <a:pt x="1291" y="615"/>
                    <a:pt x="1270" y="624"/>
                    <a:pt x="1270" y="624"/>
                  </a:cubicBezTo>
                  <a:cubicBezTo>
                    <a:pt x="1270" y="624"/>
                    <a:pt x="1242" y="609"/>
                    <a:pt x="1228" y="608"/>
                  </a:cubicBezTo>
                  <a:cubicBezTo>
                    <a:pt x="1214" y="607"/>
                    <a:pt x="1203" y="609"/>
                    <a:pt x="1188" y="604"/>
                  </a:cubicBezTo>
                  <a:cubicBezTo>
                    <a:pt x="1173" y="599"/>
                    <a:pt x="1171" y="584"/>
                    <a:pt x="1161" y="581"/>
                  </a:cubicBezTo>
                  <a:cubicBezTo>
                    <a:pt x="1151" y="578"/>
                    <a:pt x="1112" y="578"/>
                    <a:pt x="1112" y="578"/>
                  </a:cubicBezTo>
                  <a:cubicBezTo>
                    <a:pt x="1112" y="578"/>
                    <a:pt x="1092" y="570"/>
                    <a:pt x="1087" y="570"/>
                  </a:cubicBezTo>
                  <a:cubicBezTo>
                    <a:pt x="1082" y="570"/>
                    <a:pt x="1068" y="581"/>
                    <a:pt x="1068" y="581"/>
                  </a:cubicBezTo>
                  <a:cubicBezTo>
                    <a:pt x="1043" y="576"/>
                    <a:pt x="1043" y="576"/>
                    <a:pt x="1043" y="576"/>
                  </a:cubicBezTo>
                  <a:cubicBezTo>
                    <a:pt x="1012" y="576"/>
                    <a:pt x="1012" y="576"/>
                    <a:pt x="1012" y="576"/>
                  </a:cubicBezTo>
                  <a:cubicBezTo>
                    <a:pt x="973" y="571"/>
                    <a:pt x="973" y="571"/>
                    <a:pt x="973" y="571"/>
                  </a:cubicBezTo>
                  <a:cubicBezTo>
                    <a:pt x="935" y="575"/>
                    <a:pt x="935" y="575"/>
                    <a:pt x="935" y="575"/>
                  </a:cubicBezTo>
                  <a:cubicBezTo>
                    <a:pt x="935" y="575"/>
                    <a:pt x="902" y="550"/>
                    <a:pt x="898" y="544"/>
                  </a:cubicBezTo>
                  <a:cubicBezTo>
                    <a:pt x="894" y="538"/>
                    <a:pt x="880" y="519"/>
                    <a:pt x="876" y="515"/>
                  </a:cubicBezTo>
                  <a:cubicBezTo>
                    <a:pt x="872" y="511"/>
                    <a:pt x="863" y="506"/>
                    <a:pt x="863" y="506"/>
                  </a:cubicBezTo>
                  <a:cubicBezTo>
                    <a:pt x="856" y="490"/>
                    <a:pt x="856" y="490"/>
                    <a:pt x="856" y="490"/>
                  </a:cubicBezTo>
                  <a:cubicBezTo>
                    <a:pt x="834" y="487"/>
                    <a:pt x="834" y="487"/>
                    <a:pt x="834" y="487"/>
                  </a:cubicBezTo>
                  <a:cubicBezTo>
                    <a:pt x="834" y="487"/>
                    <a:pt x="797" y="475"/>
                    <a:pt x="794" y="474"/>
                  </a:cubicBezTo>
                  <a:cubicBezTo>
                    <a:pt x="791" y="473"/>
                    <a:pt x="784" y="461"/>
                    <a:pt x="775" y="459"/>
                  </a:cubicBezTo>
                  <a:cubicBezTo>
                    <a:pt x="766" y="457"/>
                    <a:pt x="755" y="452"/>
                    <a:pt x="755" y="452"/>
                  </a:cubicBezTo>
                  <a:cubicBezTo>
                    <a:pt x="755" y="452"/>
                    <a:pt x="721" y="450"/>
                    <a:pt x="707" y="451"/>
                  </a:cubicBezTo>
                  <a:cubicBezTo>
                    <a:pt x="693" y="452"/>
                    <a:pt x="679" y="449"/>
                    <a:pt x="668" y="445"/>
                  </a:cubicBezTo>
                  <a:cubicBezTo>
                    <a:pt x="657" y="441"/>
                    <a:pt x="636" y="439"/>
                    <a:pt x="631" y="426"/>
                  </a:cubicBezTo>
                  <a:cubicBezTo>
                    <a:pt x="626" y="413"/>
                    <a:pt x="625" y="403"/>
                    <a:pt x="625" y="403"/>
                  </a:cubicBezTo>
                  <a:cubicBezTo>
                    <a:pt x="625" y="403"/>
                    <a:pt x="635" y="399"/>
                    <a:pt x="633" y="392"/>
                  </a:cubicBezTo>
                  <a:cubicBezTo>
                    <a:pt x="631" y="385"/>
                    <a:pt x="621" y="377"/>
                    <a:pt x="621" y="377"/>
                  </a:cubicBezTo>
                  <a:cubicBezTo>
                    <a:pt x="621" y="377"/>
                    <a:pt x="624" y="361"/>
                    <a:pt x="612" y="353"/>
                  </a:cubicBezTo>
                  <a:cubicBezTo>
                    <a:pt x="600" y="345"/>
                    <a:pt x="591" y="336"/>
                    <a:pt x="586" y="329"/>
                  </a:cubicBezTo>
                  <a:cubicBezTo>
                    <a:pt x="581" y="322"/>
                    <a:pt x="574" y="308"/>
                    <a:pt x="560" y="304"/>
                  </a:cubicBezTo>
                  <a:cubicBezTo>
                    <a:pt x="546" y="300"/>
                    <a:pt x="540" y="298"/>
                    <a:pt x="540" y="298"/>
                  </a:cubicBezTo>
                  <a:cubicBezTo>
                    <a:pt x="525" y="290"/>
                    <a:pt x="525" y="290"/>
                    <a:pt x="525" y="290"/>
                  </a:cubicBezTo>
                  <a:cubicBezTo>
                    <a:pt x="504" y="296"/>
                    <a:pt x="504" y="296"/>
                    <a:pt x="504" y="296"/>
                  </a:cubicBezTo>
                  <a:cubicBezTo>
                    <a:pt x="487" y="280"/>
                    <a:pt x="487" y="280"/>
                    <a:pt x="487" y="280"/>
                  </a:cubicBezTo>
                  <a:cubicBezTo>
                    <a:pt x="481" y="272"/>
                    <a:pt x="481" y="272"/>
                    <a:pt x="481" y="272"/>
                  </a:cubicBezTo>
                  <a:cubicBezTo>
                    <a:pt x="481" y="272"/>
                    <a:pt x="457" y="269"/>
                    <a:pt x="452" y="264"/>
                  </a:cubicBezTo>
                  <a:cubicBezTo>
                    <a:pt x="447" y="259"/>
                    <a:pt x="451" y="251"/>
                    <a:pt x="451" y="251"/>
                  </a:cubicBezTo>
                  <a:cubicBezTo>
                    <a:pt x="433" y="251"/>
                    <a:pt x="433" y="251"/>
                    <a:pt x="433" y="251"/>
                  </a:cubicBezTo>
                  <a:cubicBezTo>
                    <a:pt x="433" y="251"/>
                    <a:pt x="443" y="239"/>
                    <a:pt x="435" y="235"/>
                  </a:cubicBezTo>
                  <a:cubicBezTo>
                    <a:pt x="427" y="231"/>
                    <a:pt x="414" y="238"/>
                    <a:pt x="414" y="238"/>
                  </a:cubicBezTo>
                  <a:cubicBezTo>
                    <a:pt x="414" y="238"/>
                    <a:pt x="388" y="230"/>
                    <a:pt x="387" y="239"/>
                  </a:cubicBezTo>
                  <a:cubicBezTo>
                    <a:pt x="386" y="248"/>
                    <a:pt x="405" y="251"/>
                    <a:pt x="399" y="260"/>
                  </a:cubicBezTo>
                  <a:cubicBezTo>
                    <a:pt x="393" y="269"/>
                    <a:pt x="364" y="259"/>
                    <a:pt x="359" y="273"/>
                  </a:cubicBezTo>
                  <a:cubicBezTo>
                    <a:pt x="354" y="287"/>
                    <a:pt x="364" y="296"/>
                    <a:pt x="373" y="309"/>
                  </a:cubicBezTo>
                  <a:cubicBezTo>
                    <a:pt x="382" y="322"/>
                    <a:pt x="388" y="333"/>
                    <a:pt x="381" y="338"/>
                  </a:cubicBezTo>
                  <a:cubicBezTo>
                    <a:pt x="374" y="343"/>
                    <a:pt x="366" y="342"/>
                    <a:pt x="366" y="342"/>
                  </a:cubicBezTo>
                  <a:cubicBezTo>
                    <a:pt x="355" y="354"/>
                    <a:pt x="355" y="354"/>
                    <a:pt x="355" y="354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346"/>
                    <a:pt x="325" y="348"/>
                    <a:pt x="317" y="346"/>
                  </a:cubicBezTo>
                  <a:cubicBezTo>
                    <a:pt x="309" y="344"/>
                    <a:pt x="284" y="332"/>
                    <a:pt x="278" y="332"/>
                  </a:cubicBezTo>
                  <a:cubicBezTo>
                    <a:pt x="272" y="332"/>
                    <a:pt x="273" y="347"/>
                    <a:pt x="273" y="359"/>
                  </a:cubicBezTo>
                  <a:cubicBezTo>
                    <a:pt x="273" y="371"/>
                    <a:pt x="269" y="423"/>
                    <a:pt x="273" y="425"/>
                  </a:cubicBezTo>
                  <a:cubicBezTo>
                    <a:pt x="277" y="427"/>
                    <a:pt x="300" y="429"/>
                    <a:pt x="291" y="440"/>
                  </a:cubicBezTo>
                  <a:cubicBezTo>
                    <a:pt x="282" y="451"/>
                    <a:pt x="275" y="437"/>
                    <a:pt x="275" y="437"/>
                  </a:cubicBezTo>
                  <a:cubicBezTo>
                    <a:pt x="262" y="444"/>
                    <a:pt x="262" y="444"/>
                    <a:pt x="262" y="444"/>
                  </a:cubicBezTo>
                  <a:cubicBezTo>
                    <a:pt x="262" y="444"/>
                    <a:pt x="253" y="430"/>
                    <a:pt x="248" y="430"/>
                  </a:cubicBezTo>
                  <a:cubicBezTo>
                    <a:pt x="243" y="430"/>
                    <a:pt x="219" y="440"/>
                    <a:pt x="213" y="441"/>
                  </a:cubicBezTo>
                  <a:cubicBezTo>
                    <a:pt x="207" y="442"/>
                    <a:pt x="176" y="449"/>
                    <a:pt x="183" y="458"/>
                  </a:cubicBezTo>
                  <a:cubicBezTo>
                    <a:pt x="190" y="467"/>
                    <a:pt x="208" y="464"/>
                    <a:pt x="208" y="464"/>
                  </a:cubicBezTo>
                  <a:cubicBezTo>
                    <a:pt x="208" y="464"/>
                    <a:pt x="208" y="490"/>
                    <a:pt x="216" y="499"/>
                  </a:cubicBezTo>
                  <a:cubicBezTo>
                    <a:pt x="224" y="508"/>
                    <a:pt x="254" y="539"/>
                    <a:pt x="254" y="546"/>
                  </a:cubicBezTo>
                  <a:cubicBezTo>
                    <a:pt x="254" y="553"/>
                    <a:pt x="238" y="550"/>
                    <a:pt x="238" y="553"/>
                  </a:cubicBezTo>
                  <a:cubicBezTo>
                    <a:pt x="238" y="556"/>
                    <a:pt x="249" y="568"/>
                    <a:pt x="249" y="568"/>
                  </a:cubicBezTo>
                  <a:cubicBezTo>
                    <a:pt x="249" y="568"/>
                    <a:pt x="235" y="566"/>
                    <a:pt x="235" y="571"/>
                  </a:cubicBezTo>
                  <a:cubicBezTo>
                    <a:pt x="235" y="576"/>
                    <a:pt x="239" y="587"/>
                    <a:pt x="244" y="592"/>
                  </a:cubicBezTo>
                  <a:cubicBezTo>
                    <a:pt x="249" y="597"/>
                    <a:pt x="251" y="610"/>
                    <a:pt x="248" y="611"/>
                  </a:cubicBezTo>
                  <a:cubicBezTo>
                    <a:pt x="245" y="612"/>
                    <a:pt x="231" y="612"/>
                    <a:pt x="231" y="612"/>
                  </a:cubicBezTo>
                  <a:cubicBezTo>
                    <a:pt x="199" y="625"/>
                    <a:pt x="199" y="625"/>
                    <a:pt x="199" y="625"/>
                  </a:cubicBezTo>
                  <a:cubicBezTo>
                    <a:pt x="199" y="625"/>
                    <a:pt x="180" y="642"/>
                    <a:pt x="180" y="645"/>
                  </a:cubicBezTo>
                  <a:cubicBezTo>
                    <a:pt x="180" y="648"/>
                    <a:pt x="180" y="666"/>
                    <a:pt x="168" y="666"/>
                  </a:cubicBezTo>
                  <a:cubicBezTo>
                    <a:pt x="156" y="666"/>
                    <a:pt x="137" y="658"/>
                    <a:pt x="129" y="659"/>
                  </a:cubicBezTo>
                  <a:cubicBezTo>
                    <a:pt x="121" y="660"/>
                    <a:pt x="113" y="673"/>
                    <a:pt x="112" y="682"/>
                  </a:cubicBezTo>
                  <a:cubicBezTo>
                    <a:pt x="111" y="691"/>
                    <a:pt x="106" y="700"/>
                    <a:pt x="106" y="700"/>
                  </a:cubicBezTo>
                  <a:cubicBezTo>
                    <a:pt x="87" y="695"/>
                    <a:pt x="87" y="695"/>
                    <a:pt x="87" y="695"/>
                  </a:cubicBezTo>
                  <a:cubicBezTo>
                    <a:pt x="80" y="702"/>
                    <a:pt x="80" y="702"/>
                    <a:pt x="80" y="702"/>
                  </a:cubicBezTo>
                  <a:cubicBezTo>
                    <a:pt x="80" y="702"/>
                    <a:pt x="69" y="683"/>
                    <a:pt x="63" y="683"/>
                  </a:cubicBezTo>
                  <a:cubicBezTo>
                    <a:pt x="57" y="683"/>
                    <a:pt x="52" y="692"/>
                    <a:pt x="52" y="692"/>
                  </a:cubicBezTo>
                  <a:cubicBezTo>
                    <a:pt x="33" y="694"/>
                    <a:pt x="33" y="694"/>
                    <a:pt x="33" y="694"/>
                  </a:cubicBezTo>
                  <a:cubicBezTo>
                    <a:pt x="33" y="704"/>
                    <a:pt x="33" y="704"/>
                    <a:pt x="33" y="704"/>
                  </a:cubicBezTo>
                  <a:cubicBezTo>
                    <a:pt x="33" y="704"/>
                    <a:pt x="0" y="719"/>
                    <a:pt x="1" y="722"/>
                  </a:cubicBezTo>
                  <a:cubicBezTo>
                    <a:pt x="2" y="725"/>
                    <a:pt x="13" y="738"/>
                    <a:pt x="13" y="742"/>
                  </a:cubicBezTo>
                  <a:cubicBezTo>
                    <a:pt x="13" y="746"/>
                    <a:pt x="1" y="744"/>
                    <a:pt x="1" y="744"/>
                  </a:cubicBezTo>
                  <a:cubicBezTo>
                    <a:pt x="1" y="761"/>
                    <a:pt x="1" y="761"/>
                    <a:pt x="1" y="761"/>
                  </a:cubicBezTo>
                  <a:cubicBezTo>
                    <a:pt x="1" y="761"/>
                    <a:pt x="15" y="758"/>
                    <a:pt x="15" y="765"/>
                  </a:cubicBezTo>
                  <a:cubicBezTo>
                    <a:pt x="15" y="772"/>
                    <a:pt x="7" y="790"/>
                    <a:pt x="17" y="794"/>
                  </a:cubicBezTo>
                  <a:cubicBezTo>
                    <a:pt x="27" y="798"/>
                    <a:pt x="31" y="783"/>
                    <a:pt x="45" y="787"/>
                  </a:cubicBezTo>
                  <a:cubicBezTo>
                    <a:pt x="59" y="791"/>
                    <a:pt x="71" y="794"/>
                    <a:pt x="71" y="804"/>
                  </a:cubicBezTo>
                  <a:cubicBezTo>
                    <a:pt x="71" y="814"/>
                    <a:pt x="72" y="836"/>
                    <a:pt x="79" y="843"/>
                  </a:cubicBezTo>
                  <a:cubicBezTo>
                    <a:pt x="86" y="850"/>
                    <a:pt x="98" y="853"/>
                    <a:pt x="90" y="859"/>
                  </a:cubicBezTo>
                  <a:cubicBezTo>
                    <a:pt x="82" y="865"/>
                    <a:pt x="62" y="857"/>
                    <a:pt x="65" y="868"/>
                  </a:cubicBezTo>
                  <a:cubicBezTo>
                    <a:pt x="68" y="879"/>
                    <a:pt x="90" y="880"/>
                    <a:pt x="90" y="880"/>
                  </a:cubicBezTo>
                  <a:cubicBezTo>
                    <a:pt x="111" y="880"/>
                    <a:pt x="111" y="880"/>
                    <a:pt x="111" y="880"/>
                  </a:cubicBezTo>
                  <a:cubicBezTo>
                    <a:pt x="114" y="889"/>
                    <a:pt x="114" y="889"/>
                    <a:pt x="114" y="889"/>
                  </a:cubicBezTo>
                  <a:cubicBezTo>
                    <a:pt x="114" y="889"/>
                    <a:pt x="129" y="890"/>
                    <a:pt x="138" y="900"/>
                  </a:cubicBezTo>
                  <a:cubicBezTo>
                    <a:pt x="147" y="910"/>
                    <a:pt x="148" y="931"/>
                    <a:pt x="148" y="931"/>
                  </a:cubicBezTo>
                  <a:cubicBezTo>
                    <a:pt x="169" y="939"/>
                    <a:pt x="169" y="939"/>
                    <a:pt x="169" y="939"/>
                  </a:cubicBezTo>
                  <a:cubicBezTo>
                    <a:pt x="177" y="935"/>
                    <a:pt x="177" y="935"/>
                    <a:pt x="177" y="935"/>
                  </a:cubicBezTo>
                  <a:cubicBezTo>
                    <a:pt x="177" y="935"/>
                    <a:pt x="182" y="955"/>
                    <a:pt x="201" y="956"/>
                  </a:cubicBezTo>
                  <a:cubicBezTo>
                    <a:pt x="220" y="957"/>
                    <a:pt x="246" y="957"/>
                    <a:pt x="246" y="957"/>
                  </a:cubicBezTo>
                  <a:cubicBezTo>
                    <a:pt x="246" y="957"/>
                    <a:pt x="277" y="928"/>
                    <a:pt x="294" y="934"/>
                  </a:cubicBezTo>
                  <a:cubicBezTo>
                    <a:pt x="311" y="940"/>
                    <a:pt x="313" y="954"/>
                    <a:pt x="324" y="956"/>
                  </a:cubicBezTo>
                  <a:cubicBezTo>
                    <a:pt x="335" y="958"/>
                    <a:pt x="349" y="956"/>
                    <a:pt x="349" y="956"/>
                  </a:cubicBezTo>
                  <a:cubicBezTo>
                    <a:pt x="349" y="956"/>
                    <a:pt x="353" y="992"/>
                    <a:pt x="349" y="997"/>
                  </a:cubicBezTo>
                  <a:cubicBezTo>
                    <a:pt x="345" y="1002"/>
                    <a:pt x="336" y="1002"/>
                    <a:pt x="336" y="1002"/>
                  </a:cubicBezTo>
                  <a:cubicBezTo>
                    <a:pt x="336" y="1002"/>
                    <a:pt x="342" y="1026"/>
                    <a:pt x="333" y="1031"/>
                  </a:cubicBezTo>
                  <a:cubicBezTo>
                    <a:pt x="324" y="1036"/>
                    <a:pt x="305" y="1035"/>
                    <a:pt x="305" y="1035"/>
                  </a:cubicBezTo>
                  <a:cubicBezTo>
                    <a:pt x="317" y="1051"/>
                    <a:pt x="317" y="1051"/>
                    <a:pt x="317" y="1051"/>
                  </a:cubicBezTo>
                  <a:cubicBezTo>
                    <a:pt x="306" y="1057"/>
                    <a:pt x="306" y="1057"/>
                    <a:pt x="306" y="1057"/>
                  </a:cubicBezTo>
                  <a:cubicBezTo>
                    <a:pt x="306" y="1057"/>
                    <a:pt x="300" y="1068"/>
                    <a:pt x="315" y="1075"/>
                  </a:cubicBezTo>
                  <a:cubicBezTo>
                    <a:pt x="330" y="1082"/>
                    <a:pt x="335" y="1085"/>
                    <a:pt x="335" y="1085"/>
                  </a:cubicBezTo>
                  <a:cubicBezTo>
                    <a:pt x="340" y="1094"/>
                    <a:pt x="340" y="1094"/>
                    <a:pt x="340" y="1094"/>
                  </a:cubicBezTo>
                  <a:cubicBezTo>
                    <a:pt x="340" y="1094"/>
                    <a:pt x="359" y="1109"/>
                    <a:pt x="351" y="1114"/>
                  </a:cubicBezTo>
                  <a:cubicBezTo>
                    <a:pt x="343" y="1119"/>
                    <a:pt x="334" y="1122"/>
                    <a:pt x="334" y="1122"/>
                  </a:cubicBezTo>
                  <a:cubicBezTo>
                    <a:pt x="328" y="1131"/>
                    <a:pt x="328" y="1131"/>
                    <a:pt x="328" y="1131"/>
                  </a:cubicBezTo>
                  <a:cubicBezTo>
                    <a:pt x="318" y="1123"/>
                    <a:pt x="318" y="1123"/>
                    <a:pt x="318" y="1123"/>
                  </a:cubicBezTo>
                  <a:cubicBezTo>
                    <a:pt x="318" y="1123"/>
                    <a:pt x="320" y="1113"/>
                    <a:pt x="316" y="1113"/>
                  </a:cubicBezTo>
                  <a:cubicBezTo>
                    <a:pt x="312" y="1113"/>
                    <a:pt x="299" y="1118"/>
                    <a:pt x="301" y="1128"/>
                  </a:cubicBezTo>
                  <a:cubicBezTo>
                    <a:pt x="303" y="1138"/>
                    <a:pt x="323" y="1149"/>
                    <a:pt x="323" y="1149"/>
                  </a:cubicBezTo>
                  <a:cubicBezTo>
                    <a:pt x="323" y="1149"/>
                    <a:pt x="316" y="1174"/>
                    <a:pt x="323" y="1177"/>
                  </a:cubicBezTo>
                  <a:cubicBezTo>
                    <a:pt x="330" y="1180"/>
                    <a:pt x="341" y="1175"/>
                    <a:pt x="341" y="1175"/>
                  </a:cubicBezTo>
                  <a:cubicBezTo>
                    <a:pt x="341" y="1175"/>
                    <a:pt x="345" y="1190"/>
                    <a:pt x="356" y="1194"/>
                  </a:cubicBezTo>
                  <a:cubicBezTo>
                    <a:pt x="367" y="1198"/>
                    <a:pt x="377" y="1200"/>
                    <a:pt x="377" y="1200"/>
                  </a:cubicBezTo>
                  <a:cubicBezTo>
                    <a:pt x="392" y="1211"/>
                    <a:pt x="392" y="1211"/>
                    <a:pt x="392" y="1211"/>
                  </a:cubicBezTo>
                  <a:cubicBezTo>
                    <a:pt x="403" y="1210"/>
                    <a:pt x="403" y="1210"/>
                    <a:pt x="403" y="1210"/>
                  </a:cubicBezTo>
                  <a:cubicBezTo>
                    <a:pt x="403" y="1210"/>
                    <a:pt x="397" y="1218"/>
                    <a:pt x="403" y="1221"/>
                  </a:cubicBezTo>
                  <a:cubicBezTo>
                    <a:pt x="409" y="1224"/>
                    <a:pt x="420" y="1224"/>
                    <a:pt x="420" y="1224"/>
                  </a:cubicBezTo>
                  <a:cubicBezTo>
                    <a:pt x="447" y="1249"/>
                    <a:pt x="447" y="1249"/>
                    <a:pt x="447" y="1249"/>
                  </a:cubicBezTo>
                  <a:cubicBezTo>
                    <a:pt x="462" y="1236"/>
                    <a:pt x="462" y="1236"/>
                    <a:pt x="462" y="1236"/>
                  </a:cubicBezTo>
                  <a:cubicBezTo>
                    <a:pt x="462" y="1236"/>
                    <a:pt x="475" y="1219"/>
                    <a:pt x="489" y="1234"/>
                  </a:cubicBezTo>
                  <a:cubicBezTo>
                    <a:pt x="503" y="1249"/>
                    <a:pt x="521" y="1263"/>
                    <a:pt x="521" y="1263"/>
                  </a:cubicBezTo>
                  <a:cubicBezTo>
                    <a:pt x="552" y="1269"/>
                    <a:pt x="552" y="1269"/>
                    <a:pt x="552" y="1269"/>
                  </a:cubicBezTo>
                  <a:cubicBezTo>
                    <a:pt x="552" y="1269"/>
                    <a:pt x="567" y="1301"/>
                    <a:pt x="571" y="1302"/>
                  </a:cubicBezTo>
                  <a:cubicBezTo>
                    <a:pt x="575" y="1303"/>
                    <a:pt x="579" y="1278"/>
                    <a:pt x="590" y="1285"/>
                  </a:cubicBezTo>
                  <a:cubicBezTo>
                    <a:pt x="601" y="1292"/>
                    <a:pt x="596" y="1308"/>
                    <a:pt x="604" y="1314"/>
                  </a:cubicBezTo>
                  <a:cubicBezTo>
                    <a:pt x="612" y="1320"/>
                    <a:pt x="626" y="1332"/>
                    <a:pt x="626" y="1332"/>
                  </a:cubicBezTo>
                  <a:cubicBezTo>
                    <a:pt x="626" y="1332"/>
                    <a:pt x="641" y="1321"/>
                    <a:pt x="646" y="1328"/>
                  </a:cubicBezTo>
                  <a:cubicBezTo>
                    <a:pt x="651" y="1335"/>
                    <a:pt x="634" y="1338"/>
                    <a:pt x="650" y="1345"/>
                  </a:cubicBezTo>
                  <a:cubicBezTo>
                    <a:pt x="666" y="1352"/>
                    <a:pt x="678" y="1343"/>
                    <a:pt x="678" y="1343"/>
                  </a:cubicBezTo>
                  <a:cubicBezTo>
                    <a:pt x="678" y="1343"/>
                    <a:pt x="678" y="1361"/>
                    <a:pt x="687" y="1362"/>
                  </a:cubicBezTo>
                  <a:cubicBezTo>
                    <a:pt x="696" y="1363"/>
                    <a:pt x="698" y="1349"/>
                    <a:pt x="698" y="1349"/>
                  </a:cubicBezTo>
                  <a:cubicBezTo>
                    <a:pt x="698" y="1349"/>
                    <a:pt x="697" y="1363"/>
                    <a:pt x="707" y="1362"/>
                  </a:cubicBezTo>
                  <a:cubicBezTo>
                    <a:pt x="717" y="1361"/>
                    <a:pt x="719" y="1353"/>
                    <a:pt x="719" y="1353"/>
                  </a:cubicBezTo>
                  <a:cubicBezTo>
                    <a:pt x="719" y="1353"/>
                    <a:pt x="752" y="1373"/>
                    <a:pt x="766" y="1372"/>
                  </a:cubicBezTo>
                  <a:cubicBezTo>
                    <a:pt x="780" y="1371"/>
                    <a:pt x="806" y="1346"/>
                    <a:pt x="817" y="1355"/>
                  </a:cubicBezTo>
                  <a:cubicBezTo>
                    <a:pt x="828" y="1364"/>
                    <a:pt x="817" y="1392"/>
                    <a:pt x="822" y="1394"/>
                  </a:cubicBezTo>
                  <a:cubicBezTo>
                    <a:pt x="827" y="1396"/>
                    <a:pt x="832" y="1395"/>
                    <a:pt x="832" y="1395"/>
                  </a:cubicBezTo>
                  <a:cubicBezTo>
                    <a:pt x="832" y="1395"/>
                    <a:pt x="856" y="1339"/>
                    <a:pt x="870" y="1344"/>
                  </a:cubicBezTo>
                  <a:cubicBezTo>
                    <a:pt x="884" y="1349"/>
                    <a:pt x="894" y="1350"/>
                    <a:pt x="894" y="1350"/>
                  </a:cubicBezTo>
                  <a:cubicBezTo>
                    <a:pt x="894" y="1364"/>
                    <a:pt x="894" y="1364"/>
                    <a:pt x="894" y="1364"/>
                  </a:cubicBezTo>
                  <a:cubicBezTo>
                    <a:pt x="894" y="1364"/>
                    <a:pt x="930" y="1346"/>
                    <a:pt x="943" y="1357"/>
                  </a:cubicBezTo>
                  <a:cubicBezTo>
                    <a:pt x="956" y="1368"/>
                    <a:pt x="956" y="1378"/>
                    <a:pt x="956" y="1378"/>
                  </a:cubicBezTo>
                  <a:cubicBezTo>
                    <a:pt x="956" y="1378"/>
                    <a:pt x="987" y="1380"/>
                    <a:pt x="995" y="1373"/>
                  </a:cubicBezTo>
                  <a:cubicBezTo>
                    <a:pt x="1003" y="1366"/>
                    <a:pt x="995" y="1350"/>
                    <a:pt x="995" y="1350"/>
                  </a:cubicBezTo>
                  <a:cubicBezTo>
                    <a:pt x="995" y="1350"/>
                    <a:pt x="1016" y="1348"/>
                    <a:pt x="1018" y="1343"/>
                  </a:cubicBezTo>
                  <a:cubicBezTo>
                    <a:pt x="1020" y="1338"/>
                    <a:pt x="1013" y="1322"/>
                    <a:pt x="1013" y="1322"/>
                  </a:cubicBezTo>
                  <a:cubicBezTo>
                    <a:pt x="1013" y="1322"/>
                    <a:pt x="1037" y="1326"/>
                    <a:pt x="1044" y="1318"/>
                  </a:cubicBezTo>
                  <a:cubicBezTo>
                    <a:pt x="1051" y="1310"/>
                    <a:pt x="1068" y="1291"/>
                    <a:pt x="1076" y="1291"/>
                  </a:cubicBezTo>
                  <a:cubicBezTo>
                    <a:pt x="1084" y="1291"/>
                    <a:pt x="1098" y="1305"/>
                    <a:pt x="1109" y="1305"/>
                  </a:cubicBezTo>
                  <a:cubicBezTo>
                    <a:pt x="1120" y="1305"/>
                    <a:pt x="1112" y="1274"/>
                    <a:pt x="1130" y="1283"/>
                  </a:cubicBezTo>
                  <a:cubicBezTo>
                    <a:pt x="1148" y="1292"/>
                    <a:pt x="1149" y="1297"/>
                    <a:pt x="1149" y="1297"/>
                  </a:cubicBezTo>
                  <a:cubicBezTo>
                    <a:pt x="1149" y="1297"/>
                    <a:pt x="1133" y="1305"/>
                    <a:pt x="1142" y="1307"/>
                  </a:cubicBezTo>
                  <a:cubicBezTo>
                    <a:pt x="1151" y="1309"/>
                    <a:pt x="1162" y="1308"/>
                    <a:pt x="1162" y="1308"/>
                  </a:cubicBezTo>
                  <a:cubicBezTo>
                    <a:pt x="1173" y="1328"/>
                    <a:pt x="1173" y="1328"/>
                    <a:pt x="1173" y="1328"/>
                  </a:cubicBezTo>
                  <a:cubicBezTo>
                    <a:pt x="1173" y="1328"/>
                    <a:pt x="1153" y="1337"/>
                    <a:pt x="1161" y="1339"/>
                  </a:cubicBezTo>
                  <a:cubicBezTo>
                    <a:pt x="1169" y="1341"/>
                    <a:pt x="1184" y="1341"/>
                    <a:pt x="1191" y="1341"/>
                  </a:cubicBezTo>
                  <a:cubicBezTo>
                    <a:pt x="1198" y="1341"/>
                    <a:pt x="1213" y="1345"/>
                    <a:pt x="1213" y="1345"/>
                  </a:cubicBezTo>
                  <a:cubicBezTo>
                    <a:pt x="1217" y="1332"/>
                    <a:pt x="1217" y="1332"/>
                    <a:pt x="1217" y="1332"/>
                  </a:cubicBezTo>
                  <a:cubicBezTo>
                    <a:pt x="1217" y="1332"/>
                    <a:pt x="1231" y="1339"/>
                    <a:pt x="1239" y="1347"/>
                  </a:cubicBezTo>
                  <a:cubicBezTo>
                    <a:pt x="1247" y="1355"/>
                    <a:pt x="1256" y="1382"/>
                    <a:pt x="1256" y="1382"/>
                  </a:cubicBezTo>
                  <a:cubicBezTo>
                    <a:pt x="1256" y="1382"/>
                    <a:pt x="1271" y="1380"/>
                    <a:pt x="1278" y="1382"/>
                  </a:cubicBezTo>
                  <a:cubicBezTo>
                    <a:pt x="1285" y="1384"/>
                    <a:pt x="1283" y="1406"/>
                    <a:pt x="1283" y="1406"/>
                  </a:cubicBezTo>
                  <a:cubicBezTo>
                    <a:pt x="1291" y="1422"/>
                    <a:pt x="1291" y="1422"/>
                    <a:pt x="1291" y="1422"/>
                  </a:cubicBezTo>
                  <a:cubicBezTo>
                    <a:pt x="1298" y="1459"/>
                    <a:pt x="1298" y="1459"/>
                    <a:pt x="1298" y="1459"/>
                  </a:cubicBezTo>
                  <a:cubicBezTo>
                    <a:pt x="1298" y="1459"/>
                    <a:pt x="1288" y="1465"/>
                    <a:pt x="1281" y="1465"/>
                  </a:cubicBezTo>
                  <a:cubicBezTo>
                    <a:pt x="1274" y="1465"/>
                    <a:pt x="1290" y="1476"/>
                    <a:pt x="1290" y="1476"/>
                  </a:cubicBezTo>
                  <a:cubicBezTo>
                    <a:pt x="1290" y="1476"/>
                    <a:pt x="1289" y="1482"/>
                    <a:pt x="1286" y="1489"/>
                  </a:cubicBezTo>
                  <a:cubicBezTo>
                    <a:pt x="1283" y="1496"/>
                    <a:pt x="1271" y="1488"/>
                    <a:pt x="1271" y="1488"/>
                  </a:cubicBezTo>
                  <a:cubicBezTo>
                    <a:pt x="1271" y="1488"/>
                    <a:pt x="1272" y="1497"/>
                    <a:pt x="1271" y="1508"/>
                  </a:cubicBezTo>
                  <a:cubicBezTo>
                    <a:pt x="1270" y="1519"/>
                    <a:pt x="1259" y="1515"/>
                    <a:pt x="1259" y="1515"/>
                  </a:cubicBezTo>
                  <a:cubicBezTo>
                    <a:pt x="1261" y="1535"/>
                    <a:pt x="1261" y="1535"/>
                    <a:pt x="1261" y="1535"/>
                  </a:cubicBezTo>
                  <a:cubicBezTo>
                    <a:pt x="1254" y="1538"/>
                    <a:pt x="1254" y="1538"/>
                    <a:pt x="1254" y="1538"/>
                  </a:cubicBezTo>
                  <a:cubicBezTo>
                    <a:pt x="1254" y="1538"/>
                    <a:pt x="1255" y="1547"/>
                    <a:pt x="1260" y="1552"/>
                  </a:cubicBezTo>
                  <a:cubicBezTo>
                    <a:pt x="1265" y="1557"/>
                    <a:pt x="1270" y="1567"/>
                    <a:pt x="1270" y="1567"/>
                  </a:cubicBezTo>
                  <a:cubicBezTo>
                    <a:pt x="1264" y="1581"/>
                    <a:pt x="1264" y="1581"/>
                    <a:pt x="1264" y="1581"/>
                  </a:cubicBezTo>
                  <a:cubicBezTo>
                    <a:pt x="1264" y="1581"/>
                    <a:pt x="1280" y="1571"/>
                    <a:pt x="1288" y="1570"/>
                  </a:cubicBezTo>
                  <a:cubicBezTo>
                    <a:pt x="1296" y="1569"/>
                    <a:pt x="1325" y="1569"/>
                    <a:pt x="1325" y="1569"/>
                  </a:cubicBezTo>
                  <a:cubicBezTo>
                    <a:pt x="1308" y="1584"/>
                    <a:pt x="1308" y="1584"/>
                    <a:pt x="1308" y="1584"/>
                  </a:cubicBezTo>
                  <a:cubicBezTo>
                    <a:pt x="1324" y="1597"/>
                    <a:pt x="1324" y="1597"/>
                    <a:pt x="1324" y="1597"/>
                  </a:cubicBezTo>
                  <a:cubicBezTo>
                    <a:pt x="1329" y="1624"/>
                    <a:pt x="1329" y="1624"/>
                    <a:pt x="1329" y="1624"/>
                  </a:cubicBezTo>
                  <a:cubicBezTo>
                    <a:pt x="1329" y="1624"/>
                    <a:pt x="1357" y="1625"/>
                    <a:pt x="1364" y="1631"/>
                  </a:cubicBezTo>
                  <a:cubicBezTo>
                    <a:pt x="1371" y="1637"/>
                    <a:pt x="1348" y="1646"/>
                    <a:pt x="1348" y="1646"/>
                  </a:cubicBezTo>
                  <a:cubicBezTo>
                    <a:pt x="1348" y="1646"/>
                    <a:pt x="1357" y="1658"/>
                    <a:pt x="1354" y="1661"/>
                  </a:cubicBezTo>
                  <a:cubicBezTo>
                    <a:pt x="1351" y="1664"/>
                    <a:pt x="1345" y="1678"/>
                    <a:pt x="1345" y="1678"/>
                  </a:cubicBezTo>
                  <a:cubicBezTo>
                    <a:pt x="1384" y="1682"/>
                    <a:pt x="1384" y="1682"/>
                    <a:pt x="1384" y="1682"/>
                  </a:cubicBezTo>
                  <a:cubicBezTo>
                    <a:pt x="1389" y="1702"/>
                    <a:pt x="1389" y="1702"/>
                    <a:pt x="1389" y="1702"/>
                  </a:cubicBezTo>
                  <a:cubicBezTo>
                    <a:pt x="1400" y="1701"/>
                    <a:pt x="1400" y="1701"/>
                    <a:pt x="1400" y="1701"/>
                  </a:cubicBezTo>
                  <a:cubicBezTo>
                    <a:pt x="1400" y="1701"/>
                    <a:pt x="1400" y="1713"/>
                    <a:pt x="1403" y="1713"/>
                  </a:cubicBezTo>
                  <a:cubicBezTo>
                    <a:pt x="1406" y="1713"/>
                    <a:pt x="1425" y="1712"/>
                    <a:pt x="1425" y="1712"/>
                  </a:cubicBezTo>
                  <a:cubicBezTo>
                    <a:pt x="1425" y="1712"/>
                    <a:pt x="1434" y="1694"/>
                    <a:pt x="1444" y="1695"/>
                  </a:cubicBezTo>
                  <a:cubicBezTo>
                    <a:pt x="1454" y="1696"/>
                    <a:pt x="1449" y="1714"/>
                    <a:pt x="1449" y="1714"/>
                  </a:cubicBezTo>
                  <a:cubicBezTo>
                    <a:pt x="1451" y="1727"/>
                    <a:pt x="1451" y="1727"/>
                    <a:pt x="1451" y="1727"/>
                  </a:cubicBezTo>
                  <a:cubicBezTo>
                    <a:pt x="1480" y="1729"/>
                    <a:pt x="1480" y="1729"/>
                    <a:pt x="1480" y="1729"/>
                  </a:cubicBezTo>
                  <a:cubicBezTo>
                    <a:pt x="1480" y="1704"/>
                    <a:pt x="1480" y="1704"/>
                    <a:pt x="1480" y="1704"/>
                  </a:cubicBezTo>
                  <a:cubicBezTo>
                    <a:pt x="1480" y="1704"/>
                    <a:pt x="1462" y="1692"/>
                    <a:pt x="1461" y="1679"/>
                  </a:cubicBezTo>
                  <a:cubicBezTo>
                    <a:pt x="1460" y="1666"/>
                    <a:pt x="1468" y="1657"/>
                    <a:pt x="1468" y="1657"/>
                  </a:cubicBezTo>
                  <a:cubicBezTo>
                    <a:pt x="1492" y="1659"/>
                    <a:pt x="1492" y="1659"/>
                    <a:pt x="1492" y="1659"/>
                  </a:cubicBezTo>
                  <a:cubicBezTo>
                    <a:pt x="1492" y="1653"/>
                    <a:pt x="1493" y="1646"/>
                    <a:pt x="1495" y="1642"/>
                  </a:cubicBezTo>
                  <a:cubicBezTo>
                    <a:pt x="1499" y="1634"/>
                    <a:pt x="1518" y="1657"/>
                    <a:pt x="1524" y="1657"/>
                  </a:cubicBezTo>
                  <a:cubicBezTo>
                    <a:pt x="1530" y="1657"/>
                    <a:pt x="1539" y="1641"/>
                    <a:pt x="1539" y="1641"/>
                  </a:cubicBezTo>
                  <a:cubicBezTo>
                    <a:pt x="1550" y="1653"/>
                    <a:pt x="1550" y="1653"/>
                    <a:pt x="1550" y="1653"/>
                  </a:cubicBezTo>
                  <a:cubicBezTo>
                    <a:pt x="1549" y="1640"/>
                    <a:pt x="1549" y="1640"/>
                    <a:pt x="1549" y="1640"/>
                  </a:cubicBezTo>
                  <a:cubicBezTo>
                    <a:pt x="1554" y="1639"/>
                    <a:pt x="1554" y="1639"/>
                    <a:pt x="1554" y="1639"/>
                  </a:cubicBezTo>
                  <a:cubicBezTo>
                    <a:pt x="1563" y="1652"/>
                    <a:pt x="1563" y="1652"/>
                    <a:pt x="1563" y="1652"/>
                  </a:cubicBezTo>
                  <a:cubicBezTo>
                    <a:pt x="1563" y="1652"/>
                    <a:pt x="1562" y="1657"/>
                    <a:pt x="1575" y="1656"/>
                  </a:cubicBezTo>
                  <a:cubicBezTo>
                    <a:pt x="1588" y="1655"/>
                    <a:pt x="1571" y="1639"/>
                    <a:pt x="1571" y="1639"/>
                  </a:cubicBezTo>
                  <a:cubicBezTo>
                    <a:pt x="1582" y="1639"/>
                    <a:pt x="1582" y="1639"/>
                    <a:pt x="1582" y="1639"/>
                  </a:cubicBezTo>
                  <a:cubicBezTo>
                    <a:pt x="1586" y="1646"/>
                    <a:pt x="1586" y="1646"/>
                    <a:pt x="1586" y="1646"/>
                  </a:cubicBezTo>
                  <a:cubicBezTo>
                    <a:pt x="1586" y="1646"/>
                    <a:pt x="1594" y="1642"/>
                    <a:pt x="1601" y="1640"/>
                  </a:cubicBezTo>
                  <a:cubicBezTo>
                    <a:pt x="1608" y="1638"/>
                    <a:pt x="1602" y="1624"/>
                    <a:pt x="1606" y="1619"/>
                  </a:cubicBezTo>
                  <a:cubicBezTo>
                    <a:pt x="1610" y="1614"/>
                    <a:pt x="1625" y="1610"/>
                    <a:pt x="1625" y="1610"/>
                  </a:cubicBezTo>
                  <a:cubicBezTo>
                    <a:pt x="1647" y="1632"/>
                    <a:pt x="1647" y="1632"/>
                    <a:pt x="1647" y="1632"/>
                  </a:cubicBezTo>
                  <a:cubicBezTo>
                    <a:pt x="1668" y="1627"/>
                    <a:pt x="1668" y="1627"/>
                    <a:pt x="1668" y="1627"/>
                  </a:cubicBezTo>
                  <a:cubicBezTo>
                    <a:pt x="1673" y="1635"/>
                    <a:pt x="1673" y="1635"/>
                    <a:pt x="1673" y="1635"/>
                  </a:cubicBezTo>
                  <a:cubicBezTo>
                    <a:pt x="1673" y="1635"/>
                    <a:pt x="1693" y="1634"/>
                    <a:pt x="1698" y="1642"/>
                  </a:cubicBezTo>
                  <a:cubicBezTo>
                    <a:pt x="1703" y="1650"/>
                    <a:pt x="1687" y="1657"/>
                    <a:pt x="1687" y="1657"/>
                  </a:cubicBezTo>
                  <a:cubicBezTo>
                    <a:pt x="1691" y="1667"/>
                    <a:pt x="1691" y="1667"/>
                    <a:pt x="1691" y="1667"/>
                  </a:cubicBezTo>
                  <a:cubicBezTo>
                    <a:pt x="1698" y="1671"/>
                    <a:pt x="1698" y="1671"/>
                    <a:pt x="1698" y="1671"/>
                  </a:cubicBezTo>
                  <a:cubicBezTo>
                    <a:pt x="1698" y="1684"/>
                    <a:pt x="1698" y="1684"/>
                    <a:pt x="1698" y="1684"/>
                  </a:cubicBezTo>
                  <a:cubicBezTo>
                    <a:pt x="1709" y="1685"/>
                    <a:pt x="1709" y="1685"/>
                    <a:pt x="1709" y="1685"/>
                  </a:cubicBezTo>
                  <a:cubicBezTo>
                    <a:pt x="1709" y="1685"/>
                    <a:pt x="1713" y="1690"/>
                    <a:pt x="1720" y="1697"/>
                  </a:cubicBezTo>
                  <a:cubicBezTo>
                    <a:pt x="1727" y="1704"/>
                    <a:pt x="1740" y="1701"/>
                    <a:pt x="1748" y="1702"/>
                  </a:cubicBezTo>
                  <a:cubicBezTo>
                    <a:pt x="1752" y="1702"/>
                    <a:pt x="1755" y="1704"/>
                    <a:pt x="1757" y="1705"/>
                  </a:cubicBezTo>
                  <a:cubicBezTo>
                    <a:pt x="1786" y="1686"/>
                    <a:pt x="1786" y="1686"/>
                    <a:pt x="1786" y="1686"/>
                  </a:cubicBezTo>
                  <a:cubicBezTo>
                    <a:pt x="1798" y="1694"/>
                    <a:pt x="1798" y="1694"/>
                    <a:pt x="1798" y="1694"/>
                  </a:cubicBezTo>
                  <a:cubicBezTo>
                    <a:pt x="1798" y="1694"/>
                    <a:pt x="1843" y="1694"/>
                    <a:pt x="1849" y="1705"/>
                  </a:cubicBezTo>
                  <a:cubicBezTo>
                    <a:pt x="1854" y="1717"/>
                    <a:pt x="1839" y="1739"/>
                    <a:pt x="1846" y="1750"/>
                  </a:cubicBezTo>
                  <a:cubicBezTo>
                    <a:pt x="1854" y="1761"/>
                    <a:pt x="1875" y="1776"/>
                    <a:pt x="1875" y="1776"/>
                  </a:cubicBezTo>
                  <a:cubicBezTo>
                    <a:pt x="1889" y="1774"/>
                    <a:pt x="1889" y="1774"/>
                    <a:pt x="1889" y="1774"/>
                  </a:cubicBezTo>
                  <a:cubicBezTo>
                    <a:pt x="1889" y="1762"/>
                    <a:pt x="1889" y="1762"/>
                    <a:pt x="1889" y="1762"/>
                  </a:cubicBezTo>
                  <a:cubicBezTo>
                    <a:pt x="1889" y="1762"/>
                    <a:pt x="1880" y="1730"/>
                    <a:pt x="1892" y="1713"/>
                  </a:cubicBezTo>
                  <a:cubicBezTo>
                    <a:pt x="1904" y="1697"/>
                    <a:pt x="1931" y="1699"/>
                    <a:pt x="1945" y="1696"/>
                  </a:cubicBezTo>
                  <a:cubicBezTo>
                    <a:pt x="1958" y="1693"/>
                    <a:pt x="2001" y="1684"/>
                    <a:pt x="2001" y="1674"/>
                  </a:cubicBezTo>
                  <a:cubicBezTo>
                    <a:pt x="2002" y="1664"/>
                    <a:pt x="2002" y="1634"/>
                    <a:pt x="2011" y="1632"/>
                  </a:cubicBezTo>
                  <a:cubicBezTo>
                    <a:pt x="2020" y="1630"/>
                    <a:pt x="2027" y="1664"/>
                    <a:pt x="2036" y="1660"/>
                  </a:cubicBezTo>
                  <a:cubicBezTo>
                    <a:pt x="2046" y="1657"/>
                    <a:pt x="2066" y="1626"/>
                    <a:pt x="2066" y="1626"/>
                  </a:cubicBezTo>
                  <a:cubicBezTo>
                    <a:pt x="2077" y="1636"/>
                    <a:pt x="2077" y="1636"/>
                    <a:pt x="2077" y="1636"/>
                  </a:cubicBezTo>
                  <a:cubicBezTo>
                    <a:pt x="2099" y="1629"/>
                    <a:pt x="2099" y="1629"/>
                    <a:pt x="2099" y="1629"/>
                  </a:cubicBezTo>
                  <a:cubicBezTo>
                    <a:pt x="2099" y="1629"/>
                    <a:pt x="2124" y="1636"/>
                    <a:pt x="2136" y="1629"/>
                  </a:cubicBezTo>
                  <a:cubicBezTo>
                    <a:pt x="2149" y="1622"/>
                    <a:pt x="2154" y="1619"/>
                    <a:pt x="2161" y="1614"/>
                  </a:cubicBezTo>
                  <a:cubicBezTo>
                    <a:pt x="2167" y="1609"/>
                    <a:pt x="2196" y="1584"/>
                    <a:pt x="2201" y="1574"/>
                  </a:cubicBezTo>
                  <a:cubicBezTo>
                    <a:pt x="2205" y="1564"/>
                    <a:pt x="2192" y="1544"/>
                    <a:pt x="2192" y="1544"/>
                  </a:cubicBezTo>
                  <a:cubicBezTo>
                    <a:pt x="2205" y="1544"/>
                    <a:pt x="2205" y="1544"/>
                    <a:pt x="2205" y="1544"/>
                  </a:cubicBezTo>
                  <a:cubicBezTo>
                    <a:pt x="2211" y="1524"/>
                    <a:pt x="2211" y="1524"/>
                    <a:pt x="2211" y="1524"/>
                  </a:cubicBezTo>
                  <a:cubicBezTo>
                    <a:pt x="2226" y="1525"/>
                    <a:pt x="2226" y="1525"/>
                    <a:pt x="2226" y="1525"/>
                  </a:cubicBezTo>
                  <a:cubicBezTo>
                    <a:pt x="2233" y="1500"/>
                    <a:pt x="2233" y="1500"/>
                    <a:pt x="2233" y="1500"/>
                  </a:cubicBezTo>
                  <a:cubicBezTo>
                    <a:pt x="2241" y="1500"/>
                    <a:pt x="2241" y="1500"/>
                    <a:pt x="2241" y="1500"/>
                  </a:cubicBezTo>
                  <a:cubicBezTo>
                    <a:pt x="2245" y="1473"/>
                    <a:pt x="2245" y="1473"/>
                    <a:pt x="2245" y="1473"/>
                  </a:cubicBezTo>
                  <a:cubicBezTo>
                    <a:pt x="2245" y="1473"/>
                    <a:pt x="2259" y="1478"/>
                    <a:pt x="2259" y="1456"/>
                  </a:cubicBezTo>
                  <a:cubicBezTo>
                    <a:pt x="2259" y="1434"/>
                    <a:pt x="2246" y="1437"/>
                    <a:pt x="2251" y="1429"/>
                  </a:cubicBezTo>
                  <a:cubicBezTo>
                    <a:pt x="2255" y="1420"/>
                    <a:pt x="2274" y="1423"/>
                    <a:pt x="2274" y="1405"/>
                  </a:cubicBezTo>
                  <a:cubicBezTo>
                    <a:pt x="2275" y="1388"/>
                    <a:pt x="2263" y="1388"/>
                    <a:pt x="2264" y="1381"/>
                  </a:cubicBezTo>
                  <a:cubicBezTo>
                    <a:pt x="2264" y="1373"/>
                    <a:pt x="2275" y="1370"/>
                    <a:pt x="2275" y="1370"/>
                  </a:cubicBezTo>
                  <a:cubicBezTo>
                    <a:pt x="2276" y="1344"/>
                    <a:pt x="2276" y="1344"/>
                    <a:pt x="2276" y="1344"/>
                  </a:cubicBezTo>
                  <a:cubicBezTo>
                    <a:pt x="2276" y="1344"/>
                    <a:pt x="2303" y="1336"/>
                    <a:pt x="2310" y="1320"/>
                  </a:cubicBezTo>
                  <a:cubicBezTo>
                    <a:pt x="2317" y="1304"/>
                    <a:pt x="2300" y="1303"/>
                    <a:pt x="2300" y="1303"/>
                  </a:cubicBezTo>
                  <a:cubicBezTo>
                    <a:pt x="2300" y="1303"/>
                    <a:pt x="2332" y="1298"/>
                    <a:pt x="2332" y="1289"/>
                  </a:cubicBezTo>
                  <a:cubicBezTo>
                    <a:pt x="2333" y="1280"/>
                    <a:pt x="2314" y="1275"/>
                    <a:pt x="2314" y="1275"/>
                  </a:cubicBezTo>
                  <a:cubicBezTo>
                    <a:pt x="2314" y="1275"/>
                    <a:pt x="2352" y="1241"/>
                    <a:pt x="2335" y="1231"/>
                  </a:cubicBezTo>
                  <a:cubicBezTo>
                    <a:pt x="2318" y="1222"/>
                    <a:pt x="2238" y="1244"/>
                    <a:pt x="2238" y="1244"/>
                  </a:cubicBezTo>
                  <a:cubicBezTo>
                    <a:pt x="2228" y="1233"/>
                    <a:pt x="2228" y="1233"/>
                    <a:pt x="2228" y="1233"/>
                  </a:cubicBezTo>
                  <a:cubicBezTo>
                    <a:pt x="2253" y="1232"/>
                    <a:pt x="2253" y="1232"/>
                    <a:pt x="2253" y="1232"/>
                  </a:cubicBezTo>
                  <a:cubicBezTo>
                    <a:pt x="2253" y="1232"/>
                    <a:pt x="2253" y="1217"/>
                    <a:pt x="2263" y="1213"/>
                  </a:cubicBezTo>
                  <a:cubicBezTo>
                    <a:pt x="2273" y="1209"/>
                    <a:pt x="2292" y="1207"/>
                    <a:pt x="2292" y="1207"/>
                  </a:cubicBezTo>
                  <a:cubicBezTo>
                    <a:pt x="2292" y="1207"/>
                    <a:pt x="2279" y="1183"/>
                    <a:pt x="2275" y="1182"/>
                  </a:cubicBezTo>
                  <a:cubicBezTo>
                    <a:pt x="2271" y="1181"/>
                    <a:pt x="2248" y="1175"/>
                    <a:pt x="2248" y="1175"/>
                  </a:cubicBezTo>
                  <a:cubicBezTo>
                    <a:pt x="2240" y="1164"/>
                    <a:pt x="2240" y="1164"/>
                    <a:pt x="2240" y="1164"/>
                  </a:cubicBezTo>
                  <a:cubicBezTo>
                    <a:pt x="2231" y="1165"/>
                    <a:pt x="2231" y="1165"/>
                    <a:pt x="2231" y="1165"/>
                  </a:cubicBezTo>
                  <a:cubicBezTo>
                    <a:pt x="2231" y="1165"/>
                    <a:pt x="2222" y="1153"/>
                    <a:pt x="2215" y="1152"/>
                  </a:cubicBezTo>
                  <a:cubicBezTo>
                    <a:pt x="2208" y="1151"/>
                    <a:pt x="2190" y="1157"/>
                    <a:pt x="2190" y="1157"/>
                  </a:cubicBezTo>
                  <a:cubicBezTo>
                    <a:pt x="2167" y="1126"/>
                    <a:pt x="2167" y="1126"/>
                    <a:pt x="2167" y="1126"/>
                  </a:cubicBezTo>
                  <a:cubicBezTo>
                    <a:pt x="2167" y="1126"/>
                    <a:pt x="2188" y="1147"/>
                    <a:pt x="2194" y="1145"/>
                  </a:cubicBezTo>
                  <a:cubicBezTo>
                    <a:pt x="2200" y="1143"/>
                    <a:pt x="2207" y="1139"/>
                    <a:pt x="2207" y="1139"/>
                  </a:cubicBezTo>
                  <a:cubicBezTo>
                    <a:pt x="2226" y="1144"/>
                    <a:pt x="2226" y="1144"/>
                    <a:pt x="2226" y="1144"/>
                  </a:cubicBezTo>
                  <a:cubicBezTo>
                    <a:pt x="2236" y="1155"/>
                    <a:pt x="2236" y="1155"/>
                    <a:pt x="2236" y="1155"/>
                  </a:cubicBezTo>
                  <a:cubicBezTo>
                    <a:pt x="2245" y="1151"/>
                    <a:pt x="2245" y="1151"/>
                    <a:pt x="2245" y="1151"/>
                  </a:cubicBezTo>
                  <a:cubicBezTo>
                    <a:pt x="2276" y="1161"/>
                    <a:pt x="2276" y="1161"/>
                    <a:pt x="2276" y="1161"/>
                  </a:cubicBezTo>
                  <a:cubicBezTo>
                    <a:pt x="2263" y="1144"/>
                    <a:pt x="2263" y="1144"/>
                    <a:pt x="2263" y="1144"/>
                  </a:cubicBezTo>
                  <a:cubicBezTo>
                    <a:pt x="2252" y="1142"/>
                    <a:pt x="2252" y="1142"/>
                    <a:pt x="2252" y="1142"/>
                  </a:cubicBezTo>
                  <a:cubicBezTo>
                    <a:pt x="2252" y="1142"/>
                    <a:pt x="2251" y="1120"/>
                    <a:pt x="2243" y="1119"/>
                  </a:cubicBezTo>
                  <a:cubicBezTo>
                    <a:pt x="2235" y="1118"/>
                    <a:pt x="2223" y="1115"/>
                    <a:pt x="2218" y="1111"/>
                  </a:cubicBezTo>
                  <a:cubicBezTo>
                    <a:pt x="2213" y="1107"/>
                    <a:pt x="2211" y="1088"/>
                    <a:pt x="2211" y="1088"/>
                  </a:cubicBezTo>
                  <a:cubicBezTo>
                    <a:pt x="2157" y="1022"/>
                    <a:pt x="2157" y="1022"/>
                    <a:pt x="2157" y="1022"/>
                  </a:cubicBezTo>
                  <a:cubicBezTo>
                    <a:pt x="2135" y="1016"/>
                    <a:pt x="2135" y="1016"/>
                    <a:pt x="2135" y="1016"/>
                  </a:cubicBezTo>
                  <a:cubicBezTo>
                    <a:pt x="2112" y="998"/>
                    <a:pt x="2112" y="998"/>
                    <a:pt x="2112" y="998"/>
                  </a:cubicBezTo>
                  <a:cubicBezTo>
                    <a:pt x="2097" y="1000"/>
                    <a:pt x="2097" y="1000"/>
                    <a:pt x="2097" y="1000"/>
                  </a:cubicBezTo>
                  <a:cubicBezTo>
                    <a:pt x="2097" y="1000"/>
                    <a:pt x="2084" y="975"/>
                    <a:pt x="2090" y="971"/>
                  </a:cubicBezTo>
                  <a:cubicBezTo>
                    <a:pt x="2096" y="967"/>
                    <a:pt x="2114" y="955"/>
                    <a:pt x="2114" y="946"/>
                  </a:cubicBezTo>
                  <a:cubicBezTo>
                    <a:pt x="2114" y="937"/>
                    <a:pt x="2107" y="919"/>
                    <a:pt x="2107" y="919"/>
                  </a:cubicBezTo>
                  <a:cubicBezTo>
                    <a:pt x="2107" y="919"/>
                    <a:pt x="2124" y="936"/>
                    <a:pt x="2132" y="930"/>
                  </a:cubicBezTo>
                  <a:cubicBezTo>
                    <a:pt x="2140" y="924"/>
                    <a:pt x="2131" y="897"/>
                    <a:pt x="2131" y="897"/>
                  </a:cubicBezTo>
                  <a:cubicBezTo>
                    <a:pt x="2146" y="898"/>
                    <a:pt x="2146" y="898"/>
                    <a:pt x="2146" y="898"/>
                  </a:cubicBezTo>
                  <a:cubicBezTo>
                    <a:pt x="2171" y="879"/>
                    <a:pt x="2171" y="879"/>
                    <a:pt x="2171" y="879"/>
                  </a:cubicBezTo>
                  <a:cubicBezTo>
                    <a:pt x="2171" y="879"/>
                    <a:pt x="2191" y="885"/>
                    <a:pt x="2196" y="884"/>
                  </a:cubicBezTo>
                  <a:cubicBezTo>
                    <a:pt x="2201" y="883"/>
                    <a:pt x="2192" y="869"/>
                    <a:pt x="2192" y="869"/>
                  </a:cubicBezTo>
                  <a:cubicBezTo>
                    <a:pt x="2196" y="853"/>
                    <a:pt x="2196" y="853"/>
                    <a:pt x="2196" y="853"/>
                  </a:cubicBezTo>
                  <a:cubicBezTo>
                    <a:pt x="2174" y="853"/>
                    <a:pt x="2174" y="853"/>
                    <a:pt x="2174" y="853"/>
                  </a:cubicBezTo>
                  <a:cubicBezTo>
                    <a:pt x="2166" y="846"/>
                    <a:pt x="2166" y="846"/>
                    <a:pt x="2166" y="846"/>
                  </a:cubicBezTo>
                  <a:cubicBezTo>
                    <a:pt x="2161" y="854"/>
                    <a:pt x="2161" y="854"/>
                    <a:pt x="2161" y="854"/>
                  </a:cubicBezTo>
                  <a:cubicBezTo>
                    <a:pt x="2140" y="851"/>
                    <a:pt x="2140" y="851"/>
                    <a:pt x="2140" y="851"/>
                  </a:cubicBezTo>
                  <a:cubicBezTo>
                    <a:pt x="2140" y="851"/>
                    <a:pt x="2124" y="833"/>
                    <a:pt x="2111" y="833"/>
                  </a:cubicBezTo>
                  <a:cubicBezTo>
                    <a:pt x="2098" y="833"/>
                    <a:pt x="2080" y="856"/>
                    <a:pt x="2079" y="861"/>
                  </a:cubicBezTo>
                  <a:cubicBezTo>
                    <a:pt x="2078" y="866"/>
                    <a:pt x="2074" y="875"/>
                    <a:pt x="2064" y="873"/>
                  </a:cubicBezTo>
                  <a:cubicBezTo>
                    <a:pt x="2054" y="871"/>
                    <a:pt x="2032" y="865"/>
                    <a:pt x="2030" y="851"/>
                  </a:cubicBezTo>
                  <a:cubicBezTo>
                    <a:pt x="2028" y="837"/>
                    <a:pt x="2020" y="820"/>
                    <a:pt x="2014" y="816"/>
                  </a:cubicBezTo>
                  <a:cubicBezTo>
                    <a:pt x="2008" y="812"/>
                    <a:pt x="2004" y="819"/>
                    <a:pt x="2004" y="819"/>
                  </a:cubicBezTo>
                  <a:cubicBezTo>
                    <a:pt x="2004" y="828"/>
                    <a:pt x="2004" y="828"/>
                    <a:pt x="2004" y="828"/>
                  </a:cubicBezTo>
                  <a:cubicBezTo>
                    <a:pt x="1996" y="816"/>
                    <a:pt x="1996" y="816"/>
                    <a:pt x="1996" y="816"/>
                  </a:cubicBezTo>
                  <a:cubicBezTo>
                    <a:pt x="1996" y="816"/>
                    <a:pt x="1968" y="819"/>
                    <a:pt x="1959" y="810"/>
                  </a:cubicBezTo>
                  <a:cubicBezTo>
                    <a:pt x="1950" y="801"/>
                    <a:pt x="1939" y="782"/>
                    <a:pt x="1942" y="776"/>
                  </a:cubicBezTo>
                  <a:cubicBezTo>
                    <a:pt x="1945" y="770"/>
                    <a:pt x="1944" y="760"/>
                    <a:pt x="1944" y="760"/>
                  </a:cubicBezTo>
                  <a:cubicBezTo>
                    <a:pt x="1955" y="759"/>
                    <a:pt x="1955" y="759"/>
                    <a:pt x="1955" y="759"/>
                  </a:cubicBezTo>
                  <a:cubicBezTo>
                    <a:pt x="1955" y="759"/>
                    <a:pt x="1961" y="768"/>
                    <a:pt x="1965" y="767"/>
                  </a:cubicBezTo>
                  <a:cubicBezTo>
                    <a:pt x="1969" y="766"/>
                    <a:pt x="1975" y="758"/>
                    <a:pt x="1975" y="758"/>
                  </a:cubicBezTo>
                  <a:cubicBezTo>
                    <a:pt x="1975" y="758"/>
                    <a:pt x="1988" y="766"/>
                    <a:pt x="1997" y="758"/>
                  </a:cubicBezTo>
                  <a:cubicBezTo>
                    <a:pt x="2006" y="750"/>
                    <a:pt x="1998" y="742"/>
                    <a:pt x="1998" y="742"/>
                  </a:cubicBezTo>
                  <a:cubicBezTo>
                    <a:pt x="1998" y="742"/>
                    <a:pt x="1997" y="718"/>
                    <a:pt x="2003" y="714"/>
                  </a:cubicBezTo>
                  <a:cubicBezTo>
                    <a:pt x="2009" y="710"/>
                    <a:pt x="2028" y="718"/>
                    <a:pt x="2032" y="707"/>
                  </a:cubicBezTo>
                  <a:cubicBezTo>
                    <a:pt x="2036" y="696"/>
                    <a:pt x="2037" y="683"/>
                    <a:pt x="2037" y="683"/>
                  </a:cubicBezTo>
                  <a:cubicBezTo>
                    <a:pt x="2049" y="676"/>
                    <a:pt x="2049" y="676"/>
                    <a:pt x="2049" y="676"/>
                  </a:cubicBezTo>
                  <a:cubicBezTo>
                    <a:pt x="2043" y="668"/>
                    <a:pt x="2043" y="668"/>
                    <a:pt x="2043" y="668"/>
                  </a:cubicBezTo>
                  <a:cubicBezTo>
                    <a:pt x="2068" y="675"/>
                    <a:pt x="2068" y="675"/>
                    <a:pt x="2068" y="675"/>
                  </a:cubicBezTo>
                  <a:cubicBezTo>
                    <a:pt x="2079" y="665"/>
                    <a:pt x="2079" y="665"/>
                    <a:pt x="2079" y="665"/>
                  </a:cubicBezTo>
                  <a:cubicBezTo>
                    <a:pt x="2079" y="665"/>
                    <a:pt x="2110" y="688"/>
                    <a:pt x="2108" y="702"/>
                  </a:cubicBezTo>
                  <a:cubicBezTo>
                    <a:pt x="2106" y="716"/>
                    <a:pt x="2088" y="719"/>
                    <a:pt x="2087" y="728"/>
                  </a:cubicBezTo>
                  <a:cubicBezTo>
                    <a:pt x="2086" y="737"/>
                    <a:pt x="2091" y="752"/>
                    <a:pt x="2098" y="752"/>
                  </a:cubicBezTo>
                  <a:cubicBezTo>
                    <a:pt x="2105" y="752"/>
                    <a:pt x="2114" y="749"/>
                    <a:pt x="2114" y="749"/>
                  </a:cubicBezTo>
                  <a:cubicBezTo>
                    <a:pt x="2109" y="767"/>
                    <a:pt x="2109" y="767"/>
                    <a:pt x="2109" y="767"/>
                  </a:cubicBezTo>
                  <a:cubicBezTo>
                    <a:pt x="2109" y="767"/>
                    <a:pt x="2090" y="784"/>
                    <a:pt x="2099" y="786"/>
                  </a:cubicBezTo>
                  <a:cubicBezTo>
                    <a:pt x="2108" y="788"/>
                    <a:pt x="2122" y="774"/>
                    <a:pt x="2122" y="774"/>
                  </a:cubicBezTo>
                  <a:cubicBezTo>
                    <a:pt x="2122" y="774"/>
                    <a:pt x="2126" y="775"/>
                    <a:pt x="2131" y="770"/>
                  </a:cubicBezTo>
                  <a:cubicBezTo>
                    <a:pt x="2136" y="765"/>
                    <a:pt x="2135" y="750"/>
                    <a:pt x="2135" y="750"/>
                  </a:cubicBezTo>
                  <a:cubicBezTo>
                    <a:pt x="2135" y="750"/>
                    <a:pt x="2176" y="729"/>
                    <a:pt x="2180" y="726"/>
                  </a:cubicBezTo>
                  <a:cubicBezTo>
                    <a:pt x="2184" y="723"/>
                    <a:pt x="2205" y="725"/>
                    <a:pt x="2205" y="725"/>
                  </a:cubicBezTo>
                  <a:cubicBezTo>
                    <a:pt x="2212" y="714"/>
                    <a:pt x="2212" y="714"/>
                    <a:pt x="2212" y="714"/>
                  </a:cubicBezTo>
                  <a:cubicBezTo>
                    <a:pt x="2210" y="712"/>
                    <a:pt x="2208" y="706"/>
                    <a:pt x="2218" y="698"/>
                  </a:cubicBezTo>
                  <a:cubicBezTo>
                    <a:pt x="2230" y="688"/>
                    <a:pt x="2237" y="687"/>
                    <a:pt x="2252" y="675"/>
                  </a:cubicBezTo>
                  <a:cubicBezTo>
                    <a:pt x="2267" y="663"/>
                    <a:pt x="2262" y="625"/>
                    <a:pt x="2266" y="623"/>
                  </a:cubicBezTo>
                  <a:cubicBezTo>
                    <a:pt x="2270" y="621"/>
                    <a:pt x="2285" y="632"/>
                    <a:pt x="2292" y="637"/>
                  </a:cubicBezTo>
                  <a:cubicBezTo>
                    <a:pt x="2299" y="642"/>
                    <a:pt x="2339" y="641"/>
                    <a:pt x="2339" y="641"/>
                  </a:cubicBezTo>
                  <a:cubicBezTo>
                    <a:pt x="2340" y="631"/>
                    <a:pt x="2340" y="631"/>
                    <a:pt x="2340" y="631"/>
                  </a:cubicBezTo>
                  <a:cubicBezTo>
                    <a:pt x="2340" y="631"/>
                    <a:pt x="2312" y="618"/>
                    <a:pt x="2318" y="610"/>
                  </a:cubicBezTo>
                  <a:cubicBezTo>
                    <a:pt x="2324" y="602"/>
                    <a:pt x="2348" y="618"/>
                    <a:pt x="2358" y="609"/>
                  </a:cubicBezTo>
                  <a:cubicBezTo>
                    <a:pt x="2368" y="600"/>
                    <a:pt x="2358" y="588"/>
                    <a:pt x="2358" y="588"/>
                  </a:cubicBezTo>
                  <a:cubicBezTo>
                    <a:pt x="2358" y="588"/>
                    <a:pt x="2374" y="592"/>
                    <a:pt x="2376" y="587"/>
                  </a:cubicBezTo>
                  <a:cubicBezTo>
                    <a:pt x="2378" y="582"/>
                    <a:pt x="2365" y="560"/>
                    <a:pt x="2365" y="560"/>
                  </a:cubicBezTo>
                  <a:cubicBezTo>
                    <a:pt x="2387" y="560"/>
                    <a:pt x="2387" y="560"/>
                    <a:pt x="2387" y="560"/>
                  </a:cubicBezTo>
                  <a:cubicBezTo>
                    <a:pt x="2397" y="577"/>
                    <a:pt x="2397" y="577"/>
                    <a:pt x="2397" y="577"/>
                  </a:cubicBezTo>
                  <a:cubicBezTo>
                    <a:pt x="2404" y="559"/>
                    <a:pt x="2404" y="559"/>
                    <a:pt x="2404" y="559"/>
                  </a:cubicBezTo>
                  <a:cubicBezTo>
                    <a:pt x="2421" y="563"/>
                    <a:pt x="2421" y="563"/>
                    <a:pt x="2421" y="563"/>
                  </a:cubicBezTo>
                  <a:cubicBezTo>
                    <a:pt x="2420" y="540"/>
                    <a:pt x="2420" y="540"/>
                    <a:pt x="2420" y="540"/>
                  </a:cubicBezTo>
                  <a:cubicBezTo>
                    <a:pt x="2420" y="540"/>
                    <a:pt x="2409" y="529"/>
                    <a:pt x="2407" y="523"/>
                  </a:cubicBezTo>
                  <a:cubicBezTo>
                    <a:pt x="2405" y="517"/>
                    <a:pt x="2401" y="498"/>
                    <a:pt x="2387" y="485"/>
                  </a:cubicBezTo>
                  <a:cubicBezTo>
                    <a:pt x="2373" y="472"/>
                    <a:pt x="2358" y="471"/>
                    <a:pt x="2361" y="461"/>
                  </a:cubicBezTo>
                  <a:cubicBezTo>
                    <a:pt x="2364" y="451"/>
                    <a:pt x="2377" y="460"/>
                    <a:pt x="2379" y="455"/>
                  </a:cubicBezTo>
                  <a:cubicBezTo>
                    <a:pt x="2381" y="450"/>
                    <a:pt x="2369" y="444"/>
                    <a:pt x="2380" y="439"/>
                  </a:cubicBezTo>
                  <a:cubicBezTo>
                    <a:pt x="2391" y="434"/>
                    <a:pt x="2427" y="457"/>
                    <a:pt x="2434" y="451"/>
                  </a:cubicBezTo>
                  <a:cubicBezTo>
                    <a:pt x="2441" y="445"/>
                    <a:pt x="2439" y="444"/>
                    <a:pt x="2434" y="432"/>
                  </a:cubicBezTo>
                  <a:cubicBezTo>
                    <a:pt x="2429" y="420"/>
                    <a:pt x="2441" y="416"/>
                    <a:pt x="2441" y="41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44" name="Freeform 224">
              <a:extLst>
                <a:ext uri="{FF2B5EF4-FFF2-40B4-BE49-F238E27FC236}">
                  <a16:creationId xmlns:a16="http://schemas.microsoft.com/office/drawing/2014/main" id="{B23D4BAA-98A0-A149-F1E0-7BD332D12F25}"/>
                </a:ext>
              </a:extLst>
            </p:cNvPr>
            <p:cNvSpPr>
              <a:spLocks/>
            </p:cNvSpPr>
            <p:nvPr/>
          </p:nvSpPr>
          <p:spPr bwMode="gray">
            <a:xfrm>
              <a:off x="-4923" y="-14605"/>
              <a:ext cx="80" cy="78"/>
            </a:xfrm>
            <a:custGeom>
              <a:avLst/>
              <a:gdLst>
                <a:gd name="T0" fmla="*/ 23 w 34"/>
                <a:gd name="T1" fmla="*/ 33 h 33"/>
                <a:gd name="T2" fmla="*/ 8 w 34"/>
                <a:gd name="T3" fmla="*/ 14 h 33"/>
                <a:gd name="T4" fmla="*/ 23 w 34"/>
                <a:gd name="T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33">
                  <a:moveTo>
                    <a:pt x="23" y="33"/>
                  </a:moveTo>
                  <a:cubicBezTo>
                    <a:pt x="34" y="20"/>
                    <a:pt x="16" y="0"/>
                    <a:pt x="8" y="14"/>
                  </a:cubicBezTo>
                  <a:cubicBezTo>
                    <a:pt x="0" y="28"/>
                    <a:pt x="23" y="33"/>
                    <a:pt x="23" y="3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45" name="Freeform 225">
              <a:extLst>
                <a:ext uri="{FF2B5EF4-FFF2-40B4-BE49-F238E27FC236}">
                  <a16:creationId xmlns:a16="http://schemas.microsoft.com/office/drawing/2014/main" id="{83860B16-15F6-85C2-9D0A-FA888BDD4E61}"/>
                </a:ext>
              </a:extLst>
            </p:cNvPr>
            <p:cNvSpPr>
              <a:spLocks/>
            </p:cNvSpPr>
            <p:nvPr/>
          </p:nvSpPr>
          <p:spPr bwMode="gray">
            <a:xfrm>
              <a:off x="-2996" y="-14506"/>
              <a:ext cx="232" cy="142"/>
            </a:xfrm>
            <a:custGeom>
              <a:avLst/>
              <a:gdLst>
                <a:gd name="T0" fmla="*/ 1 w 98"/>
                <a:gd name="T1" fmla="*/ 31 h 60"/>
                <a:gd name="T2" fmla="*/ 36 w 98"/>
                <a:gd name="T3" fmla="*/ 57 h 60"/>
                <a:gd name="T4" fmla="*/ 61 w 98"/>
                <a:gd name="T5" fmla="*/ 38 h 60"/>
                <a:gd name="T6" fmla="*/ 80 w 98"/>
                <a:gd name="T7" fmla="*/ 39 h 60"/>
                <a:gd name="T8" fmla="*/ 77 w 98"/>
                <a:gd name="T9" fmla="*/ 24 h 60"/>
                <a:gd name="T10" fmla="*/ 98 w 98"/>
                <a:gd name="T11" fmla="*/ 0 h 60"/>
                <a:gd name="T12" fmla="*/ 71 w 98"/>
                <a:gd name="T13" fmla="*/ 17 h 60"/>
                <a:gd name="T14" fmla="*/ 38 w 98"/>
                <a:gd name="T15" fmla="*/ 15 h 60"/>
                <a:gd name="T16" fmla="*/ 32 w 98"/>
                <a:gd name="T17" fmla="*/ 26 h 60"/>
                <a:gd name="T18" fmla="*/ 1 w 98"/>
                <a:gd name="T19" fmla="*/ 3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" h="60">
                  <a:moveTo>
                    <a:pt x="1" y="31"/>
                  </a:moveTo>
                  <a:cubicBezTo>
                    <a:pt x="2" y="45"/>
                    <a:pt x="29" y="60"/>
                    <a:pt x="36" y="57"/>
                  </a:cubicBezTo>
                  <a:cubicBezTo>
                    <a:pt x="43" y="54"/>
                    <a:pt x="61" y="38"/>
                    <a:pt x="61" y="38"/>
                  </a:cubicBezTo>
                  <a:cubicBezTo>
                    <a:pt x="61" y="38"/>
                    <a:pt x="77" y="45"/>
                    <a:pt x="80" y="39"/>
                  </a:cubicBezTo>
                  <a:cubicBezTo>
                    <a:pt x="84" y="33"/>
                    <a:pt x="77" y="24"/>
                    <a:pt x="77" y="24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1" y="17"/>
                    <a:pt x="47" y="13"/>
                    <a:pt x="38" y="15"/>
                  </a:cubicBezTo>
                  <a:cubicBezTo>
                    <a:pt x="29" y="17"/>
                    <a:pt x="32" y="26"/>
                    <a:pt x="32" y="26"/>
                  </a:cubicBezTo>
                  <a:cubicBezTo>
                    <a:pt x="32" y="26"/>
                    <a:pt x="0" y="20"/>
                    <a:pt x="1" y="3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226">
              <a:extLst>
                <a:ext uri="{FF2B5EF4-FFF2-40B4-BE49-F238E27FC236}">
                  <a16:creationId xmlns:a16="http://schemas.microsoft.com/office/drawing/2014/main" id="{03EACE24-8179-A96A-DBDF-00D05C84E310}"/>
                </a:ext>
              </a:extLst>
            </p:cNvPr>
            <p:cNvSpPr>
              <a:spLocks/>
            </p:cNvSpPr>
            <p:nvPr/>
          </p:nvSpPr>
          <p:spPr bwMode="gray">
            <a:xfrm>
              <a:off x="-8252" y="-18248"/>
              <a:ext cx="936" cy="359"/>
            </a:xfrm>
            <a:custGeom>
              <a:avLst/>
              <a:gdLst>
                <a:gd name="T0" fmla="*/ 207 w 396"/>
                <a:gd name="T1" fmla="*/ 144 h 152"/>
                <a:gd name="T2" fmla="*/ 238 w 396"/>
                <a:gd name="T3" fmla="*/ 136 h 152"/>
                <a:gd name="T4" fmla="*/ 262 w 396"/>
                <a:gd name="T5" fmla="*/ 130 h 152"/>
                <a:gd name="T6" fmla="*/ 339 w 396"/>
                <a:gd name="T7" fmla="*/ 105 h 152"/>
                <a:gd name="T8" fmla="*/ 363 w 396"/>
                <a:gd name="T9" fmla="*/ 83 h 152"/>
                <a:gd name="T10" fmla="*/ 373 w 396"/>
                <a:gd name="T11" fmla="*/ 68 h 152"/>
                <a:gd name="T12" fmla="*/ 356 w 396"/>
                <a:gd name="T13" fmla="*/ 50 h 152"/>
                <a:gd name="T14" fmla="*/ 341 w 396"/>
                <a:gd name="T15" fmla="*/ 41 h 152"/>
                <a:gd name="T16" fmla="*/ 342 w 396"/>
                <a:gd name="T17" fmla="*/ 24 h 152"/>
                <a:gd name="T18" fmla="*/ 325 w 396"/>
                <a:gd name="T19" fmla="*/ 17 h 152"/>
                <a:gd name="T20" fmla="*/ 294 w 396"/>
                <a:gd name="T21" fmla="*/ 16 h 152"/>
                <a:gd name="T22" fmla="*/ 262 w 396"/>
                <a:gd name="T23" fmla="*/ 19 h 152"/>
                <a:gd name="T24" fmla="*/ 227 w 396"/>
                <a:gd name="T25" fmla="*/ 19 h 152"/>
                <a:gd name="T26" fmla="*/ 201 w 396"/>
                <a:gd name="T27" fmla="*/ 16 h 152"/>
                <a:gd name="T28" fmla="*/ 182 w 396"/>
                <a:gd name="T29" fmla="*/ 26 h 152"/>
                <a:gd name="T30" fmla="*/ 171 w 396"/>
                <a:gd name="T31" fmla="*/ 39 h 152"/>
                <a:gd name="T32" fmla="*/ 145 w 396"/>
                <a:gd name="T33" fmla="*/ 50 h 152"/>
                <a:gd name="T34" fmla="*/ 112 w 396"/>
                <a:gd name="T35" fmla="*/ 63 h 152"/>
                <a:gd name="T36" fmla="*/ 102 w 396"/>
                <a:gd name="T37" fmla="*/ 40 h 152"/>
                <a:gd name="T38" fmla="*/ 68 w 396"/>
                <a:gd name="T39" fmla="*/ 7 h 152"/>
                <a:gd name="T40" fmla="*/ 43 w 396"/>
                <a:gd name="T41" fmla="*/ 19 h 152"/>
                <a:gd name="T42" fmla="*/ 35 w 396"/>
                <a:gd name="T43" fmla="*/ 37 h 152"/>
                <a:gd name="T44" fmla="*/ 4 w 396"/>
                <a:gd name="T45" fmla="*/ 47 h 152"/>
                <a:gd name="T46" fmla="*/ 55 w 396"/>
                <a:gd name="T47" fmla="*/ 43 h 152"/>
                <a:gd name="T48" fmla="*/ 64 w 396"/>
                <a:gd name="T49" fmla="*/ 61 h 152"/>
                <a:gd name="T50" fmla="*/ 35 w 396"/>
                <a:gd name="T51" fmla="*/ 73 h 152"/>
                <a:gd name="T52" fmla="*/ 38 w 396"/>
                <a:gd name="T53" fmla="*/ 82 h 152"/>
                <a:gd name="T54" fmla="*/ 88 w 396"/>
                <a:gd name="T55" fmla="*/ 91 h 152"/>
                <a:gd name="T56" fmla="*/ 85 w 396"/>
                <a:gd name="T57" fmla="*/ 105 h 152"/>
                <a:gd name="T58" fmla="*/ 41 w 396"/>
                <a:gd name="T59" fmla="*/ 125 h 152"/>
                <a:gd name="T60" fmla="*/ 98 w 396"/>
                <a:gd name="T61" fmla="*/ 123 h 152"/>
                <a:gd name="T62" fmla="*/ 124 w 396"/>
                <a:gd name="T63" fmla="*/ 127 h 152"/>
                <a:gd name="T64" fmla="*/ 172 w 396"/>
                <a:gd name="T65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96" h="152">
                  <a:moveTo>
                    <a:pt x="172" y="150"/>
                  </a:moveTo>
                  <a:cubicBezTo>
                    <a:pt x="200" y="143"/>
                    <a:pt x="200" y="149"/>
                    <a:pt x="207" y="144"/>
                  </a:cubicBezTo>
                  <a:cubicBezTo>
                    <a:pt x="214" y="139"/>
                    <a:pt x="211" y="131"/>
                    <a:pt x="211" y="131"/>
                  </a:cubicBezTo>
                  <a:cubicBezTo>
                    <a:pt x="211" y="131"/>
                    <a:pt x="230" y="139"/>
                    <a:pt x="238" y="136"/>
                  </a:cubicBezTo>
                  <a:cubicBezTo>
                    <a:pt x="246" y="133"/>
                    <a:pt x="246" y="126"/>
                    <a:pt x="246" y="126"/>
                  </a:cubicBezTo>
                  <a:cubicBezTo>
                    <a:pt x="246" y="126"/>
                    <a:pt x="257" y="130"/>
                    <a:pt x="262" y="130"/>
                  </a:cubicBezTo>
                  <a:cubicBezTo>
                    <a:pt x="267" y="130"/>
                    <a:pt x="305" y="107"/>
                    <a:pt x="313" y="106"/>
                  </a:cubicBezTo>
                  <a:cubicBezTo>
                    <a:pt x="321" y="105"/>
                    <a:pt x="332" y="112"/>
                    <a:pt x="339" y="105"/>
                  </a:cubicBezTo>
                  <a:cubicBezTo>
                    <a:pt x="346" y="98"/>
                    <a:pt x="347" y="87"/>
                    <a:pt x="347" y="87"/>
                  </a:cubicBezTo>
                  <a:cubicBezTo>
                    <a:pt x="347" y="87"/>
                    <a:pt x="354" y="87"/>
                    <a:pt x="363" y="83"/>
                  </a:cubicBezTo>
                  <a:cubicBezTo>
                    <a:pt x="372" y="79"/>
                    <a:pt x="383" y="69"/>
                    <a:pt x="383" y="69"/>
                  </a:cubicBezTo>
                  <a:cubicBezTo>
                    <a:pt x="373" y="68"/>
                    <a:pt x="373" y="68"/>
                    <a:pt x="373" y="68"/>
                  </a:cubicBezTo>
                  <a:cubicBezTo>
                    <a:pt x="373" y="68"/>
                    <a:pt x="396" y="57"/>
                    <a:pt x="382" y="50"/>
                  </a:cubicBezTo>
                  <a:cubicBezTo>
                    <a:pt x="368" y="43"/>
                    <a:pt x="356" y="50"/>
                    <a:pt x="356" y="50"/>
                  </a:cubicBezTo>
                  <a:cubicBezTo>
                    <a:pt x="359" y="40"/>
                    <a:pt x="359" y="40"/>
                    <a:pt x="359" y="40"/>
                  </a:cubicBezTo>
                  <a:cubicBezTo>
                    <a:pt x="341" y="41"/>
                    <a:pt x="341" y="41"/>
                    <a:pt x="341" y="41"/>
                  </a:cubicBezTo>
                  <a:cubicBezTo>
                    <a:pt x="351" y="26"/>
                    <a:pt x="351" y="26"/>
                    <a:pt x="351" y="26"/>
                  </a:cubicBezTo>
                  <a:cubicBezTo>
                    <a:pt x="342" y="24"/>
                    <a:pt x="342" y="24"/>
                    <a:pt x="342" y="24"/>
                  </a:cubicBezTo>
                  <a:cubicBezTo>
                    <a:pt x="346" y="12"/>
                    <a:pt x="346" y="12"/>
                    <a:pt x="346" y="12"/>
                  </a:cubicBezTo>
                  <a:cubicBezTo>
                    <a:pt x="325" y="17"/>
                    <a:pt x="325" y="17"/>
                    <a:pt x="325" y="17"/>
                  </a:cubicBezTo>
                  <a:cubicBezTo>
                    <a:pt x="325" y="17"/>
                    <a:pt x="304" y="0"/>
                    <a:pt x="297" y="0"/>
                  </a:cubicBezTo>
                  <a:cubicBezTo>
                    <a:pt x="290" y="0"/>
                    <a:pt x="294" y="16"/>
                    <a:pt x="294" y="16"/>
                  </a:cubicBezTo>
                  <a:cubicBezTo>
                    <a:pt x="280" y="22"/>
                    <a:pt x="280" y="22"/>
                    <a:pt x="280" y="22"/>
                  </a:cubicBezTo>
                  <a:cubicBezTo>
                    <a:pt x="280" y="22"/>
                    <a:pt x="268" y="19"/>
                    <a:pt x="262" y="19"/>
                  </a:cubicBezTo>
                  <a:cubicBezTo>
                    <a:pt x="256" y="19"/>
                    <a:pt x="249" y="29"/>
                    <a:pt x="249" y="29"/>
                  </a:cubicBezTo>
                  <a:cubicBezTo>
                    <a:pt x="249" y="29"/>
                    <a:pt x="233" y="17"/>
                    <a:pt x="227" y="19"/>
                  </a:cubicBezTo>
                  <a:cubicBezTo>
                    <a:pt x="221" y="21"/>
                    <a:pt x="226" y="41"/>
                    <a:pt x="226" y="41"/>
                  </a:cubicBezTo>
                  <a:cubicBezTo>
                    <a:pt x="226" y="41"/>
                    <a:pt x="208" y="16"/>
                    <a:pt x="201" y="16"/>
                  </a:cubicBezTo>
                  <a:cubicBezTo>
                    <a:pt x="194" y="16"/>
                    <a:pt x="198" y="23"/>
                    <a:pt x="198" y="23"/>
                  </a:cubicBezTo>
                  <a:cubicBezTo>
                    <a:pt x="198" y="23"/>
                    <a:pt x="183" y="23"/>
                    <a:pt x="182" y="26"/>
                  </a:cubicBezTo>
                  <a:cubicBezTo>
                    <a:pt x="181" y="29"/>
                    <a:pt x="181" y="38"/>
                    <a:pt x="181" y="38"/>
                  </a:cubicBezTo>
                  <a:cubicBezTo>
                    <a:pt x="171" y="39"/>
                    <a:pt x="171" y="39"/>
                    <a:pt x="171" y="39"/>
                  </a:cubicBezTo>
                  <a:cubicBezTo>
                    <a:pt x="171" y="39"/>
                    <a:pt x="155" y="18"/>
                    <a:pt x="150" y="22"/>
                  </a:cubicBezTo>
                  <a:cubicBezTo>
                    <a:pt x="145" y="26"/>
                    <a:pt x="150" y="49"/>
                    <a:pt x="145" y="50"/>
                  </a:cubicBezTo>
                  <a:cubicBezTo>
                    <a:pt x="140" y="51"/>
                    <a:pt x="133" y="42"/>
                    <a:pt x="129" y="42"/>
                  </a:cubicBezTo>
                  <a:cubicBezTo>
                    <a:pt x="125" y="42"/>
                    <a:pt x="112" y="63"/>
                    <a:pt x="112" y="63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18" y="35"/>
                    <a:pt x="112" y="26"/>
                  </a:cubicBezTo>
                  <a:cubicBezTo>
                    <a:pt x="106" y="17"/>
                    <a:pt x="73" y="3"/>
                    <a:pt x="68" y="7"/>
                  </a:cubicBezTo>
                  <a:cubicBezTo>
                    <a:pt x="63" y="11"/>
                    <a:pt x="69" y="26"/>
                    <a:pt x="69" y="26"/>
                  </a:cubicBezTo>
                  <a:cubicBezTo>
                    <a:pt x="69" y="26"/>
                    <a:pt x="49" y="19"/>
                    <a:pt x="43" y="19"/>
                  </a:cubicBezTo>
                  <a:cubicBezTo>
                    <a:pt x="37" y="19"/>
                    <a:pt x="25" y="31"/>
                    <a:pt x="25" y="31"/>
                  </a:cubicBezTo>
                  <a:cubicBezTo>
                    <a:pt x="35" y="37"/>
                    <a:pt x="35" y="37"/>
                    <a:pt x="35" y="37"/>
                  </a:cubicBezTo>
                  <a:cubicBezTo>
                    <a:pt x="35" y="37"/>
                    <a:pt x="23" y="35"/>
                    <a:pt x="17" y="41"/>
                  </a:cubicBezTo>
                  <a:cubicBezTo>
                    <a:pt x="11" y="47"/>
                    <a:pt x="4" y="47"/>
                    <a:pt x="4" y="47"/>
                  </a:cubicBezTo>
                  <a:cubicBezTo>
                    <a:pt x="4" y="47"/>
                    <a:pt x="12" y="54"/>
                    <a:pt x="20" y="54"/>
                  </a:cubicBezTo>
                  <a:cubicBezTo>
                    <a:pt x="28" y="54"/>
                    <a:pt x="55" y="43"/>
                    <a:pt x="55" y="43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84" y="64"/>
                    <a:pt x="84" y="68"/>
                  </a:cubicBezTo>
                  <a:cubicBezTo>
                    <a:pt x="84" y="72"/>
                    <a:pt x="39" y="72"/>
                    <a:pt x="35" y="73"/>
                  </a:cubicBezTo>
                  <a:cubicBezTo>
                    <a:pt x="31" y="74"/>
                    <a:pt x="0" y="72"/>
                    <a:pt x="6" y="79"/>
                  </a:cubicBezTo>
                  <a:cubicBezTo>
                    <a:pt x="12" y="86"/>
                    <a:pt x="25" y="81"/>
                    <a:pt x="38" y="82"/>
                  </a:cubicBezTo>
                  <a:cubicBezTo>
                    <a:pt x="51" y="83"/>
                    <a:pt x="65" y="95"/>
                    <a:pt x="65" y="95"/>
                  </a:cubicBezTo>
                  <a:cubicBezTo>
                    <a:pt x="88" y="91"/>
                    <a:pt x="88" y="91"/>
                    <a:pt x="88" y="91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5" y="105"/>
                    <a:pt x="82" y="114"/>
                    <a:pt x="75" y="118"/>
                  </a:cubicBezTo>
                  <a:cubicBezTo>
                    <a:pt x="68" y="122"/>
                    <a:pt x="35" y="116"/>
                    <a:pt x="41" y="125"/>
                  </a:cubicBezTo>
                  <a:cubicBezTo>
                    <a:pt x="47" y="134"/>
                    <a:pt x="75" y="130"/>
                    <a:pt x="82" y="130"/>
                  </a:cubicBezTo>
                  <a:cubicBezTo>
                    <a:pt x="89" y="130"/>
                    <a:pt x="98" y="123"/>
                    <a:pt x="98" y="123"/>
                  </a:cubicBezTo>
                  <a:cubicBezTo>
                    <a:pt x="116" y="134"/>
                    <a:pt x="116" y="134"/>
                    <a:pt x="116" y="134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4" y="127"/>
                    <a:pt x="121" y="133"/>
                    <a:pt x="131" y="138"/>
                  </a:cubicBezTo>
                  <a:cubicBezTo>
                    <a:pt x="141" y="143"/>
                    <a:pt x="164" y="152"/>
                    <a:pt x="172" y="15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47" name="Freeform 227">
              <a:extLst>
                <a:ext uri="{FF2B5EF4-FFF2-40B4-BE49-F238E27FC236}">
                  <a16:creationId xmlns:a16="http://schemas.microsoft.com/office/drawing/2014/main" id="{5A7B665E-7238-809B-445F-43A45EF6FA8B}"/>
                </a:ext>
              </a:extLst>
            </p:cNvPr>
            <p:cNvSpPr>
              <a:spLocks/>
            </p:cNvSpPr>
            <p:nvPr/>
          </p:nvSpPr>
          <p:spPr bwMode="gray">
            <a:xfrm>
              <a:off x="-794" y="-13358"/>
              <a:ext cx="529" cy="508"/>
            </a:xfrm>
            <a:custGeom>
              <a:avLst/>
              <a:gdLst>
                <a:gd name="T0" fmla="*/ 198 w 224"/>
                <a:gd name="T1" fmla="*/ 84 h 215"/>
                <a:gd name="T2" fmla="*/ 208 w 224"/>
                <a:gd name="T3" fmla="*/ 97 h 215"/>
                <a:gd name="T4" fmla="*/ 224 w 224"/>
                <a:gd name="T5" fmla="*/ 91 h 215"/>
                <a:gd name="T6" fmla="*/ 214 w 224"/>
                <a:gd name="T7" fmla="*/ 51 h 215"/>
                <a:gd name="T8" fmla="*/ 215 w 224"/>
                <a:gd name="T9" fmla="*/ 3 h 215"/>
                <a:gd name="T10" fmla="*/ 186 w 224"/>
                <a:gd name="T11" fmla="*/ 51 h 215"/>
                <a:gd name="T12" fmla="*/ 166 w 224"/>
                <a:gd name="T13" fmla="*/ 61 h 215"/>
                <a:gd name="T14" fmla="*/ 131 w 224"/>
                <a:gd name="T15" fmla="*/ 102 h 215"/>
                <a:gd name="T16" fmla="*/ 122 w 224"/>
                <a:gd name="T17" fmla="*/ 131 h 215"/>
                <a:gd name="T18" fmla="*/ 62 w 224"/>
                <a:gd name="T19" fmla="*/ 127 h 215"/>
                <a:gd name="T20" fmla="*/ 16 w 224"/>
                <a:gd name="T21" fmla="*/ 140 h 215"/>
                <a:gd name="T22" fmla="*/ 1 w 224"/>
                <a:gd name="T23" fmla="*/ 127 h 215"/>
                <a:gd name="T24" fmla="*/ 5 w 224"/>
                <a:gd name="T25" fmla="*/ 145 h 215"/>
                <a:gd name="T26" fmla="*/ 52 w 224"/>
                <a:gd name="T27" fmla="*/ 200 h 215"/>
                <a:gd name="T28" fmla="*/ 177 w 224"/>
                <a:gd name="T29" fmla="*/ 215 h 215"/>
                <a:gd name="T30" fmla="*/ 168 w 224"/>
                <a:gd name="T31" fmla="*/ 192 h 215"/>
                <a:gd name="T32" fmla="*/ 181 w 224"/>
                <a:gd name="T33" fmla="*/ 163 h 215"/>
                <a:gd name="T34" fmla="*/ 189 w 224"/>
                <a:gd name="T35" fmla="*/ 136 h 215"/>
                <a:gd name="T36" fmla="*/ 201 w 224"/>
                <a:gd name="T37" fmla="*/ 135 h 215"/>
                <a:gd name="T38" fmla="*/ 191 w 224"/>
                <a:gd name="T39" fmla="*/ 118 h 215"/>
                <a:gd name="T40" fmla="*/ 198 w 224"/>
                <a:gd name="T41" fmla="*/ 84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4" h="215">
                  <a:moveTo>
                    <a:pt x="198" y="84"/>
                  </a:moveTo>
                  <a:cubicBezTo>
                    <a:pt x="202" y="84"/>
                    <a:pt x="208" y="97"/>
                    <a:pt x="208" y="97"/>
                  </a:cubicBezTo>
                  <a:cubicBezTo>
                    <a:pt x="224" y="91"/>
                    <a:pt x="224" y="91"/>
                    <a:pt x="224" y="91"/>
                  </a:cubicBezTo>
                  <a:cubicBezTo>
                    <a:pt x="219" y="78"/>
                    <a:pt x="212" y="63"/>
                    <a:pt x="214" y="51"/>
                  </a:cubicBezTo>
                  <a:cubicBezTo>
                    <a:pt x="217" y="34"/>
                    <a:pt x="222" y="6"/>
                    <a:pt x="215" y="3"/>
                  </a:cubicBezTo>
                  <a:cubicBezTo>
                    <a:pt x="207" y="0"/>
                    <a:pt x="186" y="51"/>
                    <a:pt x="186" y="51"/>
                  </a:cubicBezTo>
                  <a:cubicBezTo>
                    <a:pt x="186" y="51"/>
                    <a:pt x="172" y="53"/>
                    <a:pt x="166" y="61"/>
                  </a:cubicBezTo>
                  <a:cubicBezTo>
                    <a:pt x="161" y="70"/>
                    <a:pt x="131" y="102"/>
                    <a:pt x="131" y="102"/>
                  </a:cubicBezTo>
                  <a:cubicBezTo>
                    <a:pt x="131" y="102"/>
                    <a:pt x="131" y="130"/>
                    <a:pt x="122" y="131"/>
                  </a:cubicBezTo>
                  <a:cubicBezTo>
                    <a:pt x="113" y="132"/>
                    <a:pt x="69" y="127"/>
                    <a:pt x="62" y="127"/>
                  </a:cubicBezTo>
                  <a:cubicBezTo>
                    <a:pt x="56" y="127"/>
                    <a:pt x="25" y="144"/>
                    <a:pt x="16" y="140"/>
                  </a:cubicBezTo>
                  <a:cubicBezTo>
                    <a:pt x="11" y="138"/>
                    <a:pt x="5" y="132"/>
                    <a:pt x="1" y="127"/>
                  </a:cubicBezTo>
                  <a:cubicBezTo>
                    <a:pt x="0" y="132"/>
                    <a:pt x="0" y="140"/>
                    <a:pt x="5" y="145"/>
                  </a:cubicBezTo>
                  <a:cubicBezTo>
                    <a:pt x="12" y="152"/>
                    <a:pt x="49" y="200"/>
                    <a:pt x="52" y="200"/>
                  </a:cubicBezTo>
                  <a:cubicBezTo>
                    <a:pt x="54" y="200"/>
                    <a:pt x="143" y="211"/>
                    <a:pt x="177" y="215"/>
                  </a:cubicBezTo>
                  <a:cubicBezTo>
                    <a:pt x="173" y="207"/>
                    <a:pt x="168" y="196"/>
                    <a:pt x="168" y="192"/>
                  </a:cubicBezTo>
                  <a:cubicBezTo>
                    <a:pt x="168" y="186"/>
                    <a:pt x="181" y="163"/>
                    <a:pt x="181" y="163"/>
                  </a:cubicBezTo>
                  <a:cubicBezTo>
                    <a:pt x="181" y="163"/>
                    <a:pt x="187" y="143"/>
                    <a:pt x="189" y="136"/>
                  </a:cubicBezTo>
                  <a:cubicBezTo>
                    <a:pt x="191" y="129"/>
                    <a:pt x="197" y="137"/>
                    <a:pt x="201" y="135"/>
                  </a:cubicBezTo>
                  <a:cubicBezTo>
                    <a:pt x="205" y="133"/>
                    <a:pt x="195" y="122"/>
                    <a:pt x="191" y="118"/>
                  </a:cubicBezTo>
                  <a:cubicBezTo>
                    <a:pt x="187" y="114"/>
                    <a:pt x="194" y="84"/>
                    <a:pt x="198" y="8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48" name="Freeform 228">
              <a:extLst>
                <a:ext uri="{FF2B5EF4-FFF2-40B4-BE49-F238E27FC236}">
                  <a16:creationId xmlns:a16="http://schemas.microsoft.com/office/drawing/2014/main" id="{B7A73D00-492C-C36D-94E1-A5F6E42B92DC}"/>
                </a:ext>
              </a:extLst>
            </p:cNvPr>
            <p:cNvSpPr>
              <a:spLocks/>
            </p:cNvSpPr>
            <p:nvPr/>
          </p:nvSpPr>
          <p:spPr bwMode="gray">
            <a:xfrm>
              <a:off x="-700" y="-13159"/>
              <a:ext cx="860" cy="1051"/>
            </a:xfrm>
            <a:custGeom>
              <a:avLst/>
              <a:gdLst>
                <a:gd name="T0" fmla="*/ 169 w 364"/>
                <a:gd name="T1" fmla="*/ 375 h 445"/>
                <a:gd name="T2" fmla="*/ 220 w 364"/>
                <a:gd name="T3" fmla="*/ 358 h 445"/>
                <a:gd name="T4" fmla="*/ 228 w 364"/>
                <a:gd name="T5" fmla="*/ 330 h 445"/>
                <a:gd name="T6" fmla="*/ 269 w 364"/>
                <a:gd name="T7" fmla="*/ 304 h 445"/>
                <a:gd name="T8" fmla="*/ 283 w 364"/>
                <a:gd name="T9" fmla="*/ 249 h 445"/>
                <a:gd name="T10" fmla="*/ 312 w 364"/>
                <a:gd name="T11" fmla="*/ 249 h 445"/>
                <a:gd name="T12" fmla="*/ 318 w 364"/>
                <a:gd name="T13" fmla="*/ 218 h 445"/>
                <a:gd name="T14" fmla="*/ 355 w 364"/>
                <a:gd name="T15" fmla="*/ 184 h 445"/>
                <a:gd name="T16" fmla="*/ 359 w 364"/>
                <a:gd name="T17" fmla="*/ 134 h 445"/>
                <a:gd name="T18" fmla="*/ 339 w 364"/>
                <a:gd name="T19" fmla="*/ 127 h 445"/>
                <a:gd name="T20" fmla="*/ 302 w 364"/>
                <a:gd name="T21" fmla="*/ 74 h 445"/>
                <a:gd name="T22" fmla="*/ 237 w 364"/>
                <a:gd name="T23" fmla="*/ 52 h 445"/>
                <a:gd name="T24" fmla="*/ 191 w 364"/>
                <a:gd name="T25" fmla="*/ 23 h 445"/>
                <a:gd name="T26" fmla="*/ 184 w 364"/>
                <a:gd name="T27" fmla="*/ 7 h 445"/>
                <a:gd name="T28" fmla="*/ 168 w 364"/>
                <a:gd name="T29" fmla="*/ 13 h 445"/>
                <a:gd name="T30" fmla="*/ 158 w 364"/>
                <a:gd name="T31" fmla="*/ 0 h 445"/>
                <a:gd name="T32" fmla="*/ 151 w 364"/>
                <a:gd name="T33" fmla="*/ 34 h 445"/>
                <a:gd name="T34" fmla="*/ 161 w 364"/>
                <a:gd name="T35" fmla="*/ 51 h 445"/>
                <a:gd name="T36" fmla="*/ 149 w 364"/>
                <a:gd name="T37" fmla="*/ 52 h 445"/>
                <a:gd name="T38" fmla="*/ 141 w 364"/>
                <a:gd name="T39" fmla="*/ 79 h 445"/>
                <a:gd name="T40" fmla="*/ 128 w 364"/>
                <a:gd name="T41" fmla="*/ 108 h 445"/>
                <a:gd name="T42" fmla="*/ 141 w 364"/>
                <a:gd name="T43" fmla="*/ 142 h 445"/>
                <a:gd name="T44" fmla="*/ 159 w 364"/>
                <a:gd name="T45" fmla="*/ 161 h 445"/>
                <a:gd name="T46" fmla="*/ 133 w 364"/>
                <a:gd name="T47" fmla="*/ 276 h 445"/>
                <a:gd name="T48" fmla="*/ 0 w 364"/>
                <a:gd name="T49" fmla="*/ 325 h 445"/>
                <a:gd name="T50" fmla="*/ 54 w 364"/>
                <a:gd name="T51" fmla="*/ 445 h 445"/>
                <a:gd name="T52" fmla="*/ 162 w 364"/>
                <a:gd name="T53" fmla="*/ 410 h 445"/>
                <a:gd name="T54" fmla="*/ 169 w 364"/>
                <a:gd name="T55" fmla="*/ 375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4" h="445">
                  <a:moveTo>
                    <a:pt x="169" y="375"/>
                  </a:moveTo>
                  <a:cubicBezTo>
                    <a:pt x="169" y="375"/>
                    <a:pt x="211" y="369"/>
                    <a:pt x="220" y="358"/>
                  </a:cubicBezTo>
                  <a:cubicBezTo>
                    <a:pt x="228" y="348"/>
                    <a:pt x="228" y="330"/>
                    <a:pt x="228" y="330"/>
                  </a:cubicBezTo>
                  <a:cubicBezTo>
                    <a:pt x="228" y="330"/>
                    <a:pt x="260" y="319"/>
                    <a:pt x="269" y="304"/>
                  </a:cubicBezTo>
                  <a:cubicBezTo>
                    <a:pt x="279" y="288"/>
                    <a:pt x="274" y="250"/>
                    <a:pt x="283" y="249"/>
                  </a:cubicBezTo>
                  <a:cubicBezTo>
                    <a:pt x="292" y="248"/>
                    <a:pt x="302" y="260"/>
                    <a:pt x="312" y="249"/>
                  </a:cubicBezTo>
                  <a:cubicBezTo>
                    <a:pt x="323" y="238"/>
                    <a:pt x="318" y="218"/>
                    <a:pt x="318" y="218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5" y="184"/>
                    <a:pt x="364" y="144"/>
                    <a:pt x="359" y="134"/>
                  </a:cubicBezTo>
                  <a:cubicBezTo>
                    <a:pt x="355" y="124"/>
                    <a:pt x="339" y="127"/>
                    <a:pt x="339" y="127"/>
                  </a:cubicBezTo>
                  <a:cubicBezTo>
                    <a:pt x="339" y="127"/>
                    <a:pt x="317" y="87"/>
                    <a:pt x="302" y="74"/>
                  </a:cubicBezTo>
                  <a:cubicBezTo>
                    <a:pt x="287" y="61"/>
                    <a:pt x="237" y="52"/>
                    <a:pt x="237" y="52"/>
                  </a:cubicBezTo>
                  <a:cubicBezTo>
                    <a:pt x="237" y="52"/>
                    <a:pt x="194" y="38"/>
                    <a:pt x="191" y="23"/>
                  </a:cubicBezTo>
                  <a:cubicBezTo>
                    <a:pt x="190" y="18"/>
                    <a:pt x="187" y="13"/>
                    <a:pt x="184" y="7"/>
                  </a:cubicBezTo>
                  <a:cubicBezTo>
                    <a:pt x="168" y="13"/>
                    <a:pt x="168" y="13"/>
                    <a:pt x="168" y="13"/>
                  </a:cubicBezTo>
                  <a:cubicBezTo>
                    <a:pt x="168" y="13"/>
                    <a:pt x="162" y="0"/>
                    <a:pt x="158" y="0"/>
                  </a:cubicBezTo>
                  <a:cubicBezTo>
                    <a:pt x="154" y="0"/>
                    <a:pt x="147" y="30"/>
                    <a:pt x="151" y="34"/>
                  </a:cubicBezTo>
                  <a:cubicBezTo>
                    <a:pt x="155" y="38"/>
                    <a:pt x="165" y="49"/>
                    <a:pt x="161" y="51"/>
                  </a:cubicBezTo>
                  <a:cubicBezTo>
                    <a:pt x="157" y="53"/>
                    <a:pt x="151" y="45"/>
                    <a:pt x="149" y="52"/>
                  </a:cubicBezTo>
                  <a:cubicBezTo>
                    <a:pt x="147" y="59"/>
                    <a:pt x="141" y="79"/>
                    <a:pt x="141" y="79"/>
                  </a:cubicBezTo>
                  <a:cubicBezTo>
                    <a:pt x="141" y="79"/>
                    <a:pt x="128" y="102"/>
                    <a:pt x="128" y="108"/>
                  </a:cubicBezTo>
                  <a:cubicBezTo>
                    <a:pt x="128" y="114"/>
                    <a:pt x="141" y="138"/>
                    <a:pt x="141" y="142"/>
                  </a:cubicBezTo>
                  <a:cubicBezTo>
                    <a:pt x="141" y="146"/>
                    <a:pt x="159" y="161"/>
                    <a:pt x="159" y="161"/>
                  </a:cubicBezTo>
                  <a:cubicBezTo>
                    <a:pt x="133" y="276"/>
                    <a:pt x="133" y="276"/>
                    <a:pt x="133" y="276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54" y="445"/>
                    <a:pt x="54" y="445"/>
                    <a:pt x="54" y="445"/>
                  </a:cubicBezTo>
                  <a:cubicBezTo>
                    <a:pt x="81" y="434"/>
                    <a:pt x="159" y="415"/>
                    <a:pt x="162" y="410"/>
                  </a:cubicBezTo>
                  <a:cubicBezTo>
                    <a:pt x="167" y="404"/>
                    <a:pt x="169" y="375"/>
                    <a:pt x="169" y="37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49" name="Freeform 229">
              <a:extLst>
                <a:ext uri="{FF2B5EF4-FFF2-40B4-BE49-F238E27FC236}">
                  <a16:creationId xmlns:a16="http://schemas.microsoft.com/office/drawing/2014/main" id="{A23BDD38-8A56-8CBF-3023-567256FE0C40}"/>
                </a:ext>
              </a:extLst>
            </p:cNvPr>
            <p:cNvSpPr>
              <a:spLocks/>
            </p:cNvSpPr>
            <p:nvPr/>
          </p:nvSpPr>
          <p:spPr bwMode="gray">
            <a:xfrm>
              <a:off x="-877" y="-13320"/>
              <a:ext cx="116" cy="232"/>
            </a:xfrm>
            <a:custGeom>
              <a:avLst/>
              <a:gdLst>
                <a:gd name="T0" fmla="*/ 16 w 49"/>
                <a:gd name="T1" fmla="*/ 90 h 98"/>
                <a:gd name="T2" fmla="*/ 24 w 49"/>
                <a:gd name="T3" fmla="*/ 98 h 98"/>
                <a:gd name="T4" fmla="*/ 30 w 49"/>
                <a:gd name="T5" fmla="*/ 96 h 98"/>
                <a:gd name="T6" fmla="*/ 30 w 49"/>
                <a:gd name="T7" fmla="*/ 95 h 98"/>
                <a:gd name="T8" fmla="*/ 47 w 49"/>
                <a:gd name="T9" fmla="*/ 35 h 98"/>
                <a:gd name="T10" fmla="*/ 22 w 49"/>
                <a:gd name="T11" fmla="*/ 3 h 98"/>
                <a:gd name="T12" fmla="*/ 9 w 49"/>
                <a:gd name="T13" fmla="*/ 47 h 98"/>
                <a:gd name="T14" fmla="*/ 1 w 49"/>
                <a:gd name="T15" fmla="*/ 84 h 98"/>
                <a:gd name="T16" fmla="*/ 0 w 49"/>
                <a:gd name="T17" fmla="*/ 83 h 98"/>
                <a:gd name="T18" fmla="*/ 6 w 49"/>
                <a:gd name="T19" fmla="*/ 93 h 98"/>
                <a:gd name="T20" fmla="*/ 16 w 49"/>
                <a:gd name="T21" fmla="*/ 9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98">
                  <a:moveTo>
                    <a:pt x="16" y="90"/>
                  </a:moveTo>
                  <a:cubicBezTo>
                    <a:pt x="24" y="98"/>
                    <a:pt x="24" y="98"/>
                    <a:pt x="24" y="98"/>
                  </a:cubicBezTo>
                  <a:cubicBezTo>
                    <a:pt x="30" y="96"/>
                    <a:pt x="30" y="96"/>
                    <a:pt x="30" y="96"/>
                  </a:cubicBezTo>
                  <a:cubicBezTo>
                    <a:pt x="30" y="96"/>
                    <a:pt x="30" y="95"/>
                    <a:pt x="30" y="95"/>
                  </a:cubicBezTo>
                  <a:cubicBezTo>
                    <a:pt x="35" y="86"/>
                    <a:pt x="49" y="56"/>
                    <a:pt x="47" y="35"/>
                  </a:cubicBezTo>
                  <a:cubicBezTo>
                    <a:pt x="45" y="14"/>
                    <a:pt x="31" y="0"/>
                    <a:pt x="22" y="3"/>
                  </a:cubicBezTo>
                  <a:cubicBezTo>
                    <a:pt x="12" y="6"/>
                    <a:pt x="10" y="32"/>
                    <a:pt x="9" y="47"/>
                  </a:cubicBezTo>
                  <a:cubicBezTo>
                    <a:pt x="9" y="62"/>
                    <a:pt x="9" y="83"/>
                    <a:pt x="1" y="84"/>
                  </a:cubicBezTo>
                  <a:cubicBezTo>
                    <a:pt x="1" y="84"/>
                    <a:pt x="1" y="84"/>
                    <a:pt x="0" y="83"/>
                  </a:cubicBezTo>
                  <a:cubicBezTo>
                    <a:pt x="6" y="93"/>
                    <a:pt x="6" y="93"/>
                    <a:pt x="6" y="93"/>
                  </a:cubicBezTo>
                  <a:lnTo>
                    <a:pt x="16" y="90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50" name="Freeform 230">
              <a:extLst>
                <a:ext uri="{FF2B5EF4-FFF2-40B4-BE49-F238E27FC236}">
                  <a16:creationId xmlns:a16="http://schemas.microsoft.com/office/drawing/2014/main" id="{1FD653C9-D90E-D391-1D5C-6B537051D293}"/>
                </a:ext>
              </a:extLst>
            </p:cNvPr>
            <p:cNvSpPr>
              <a:spLocks/>
            </p:cNvSpPr>
            <p:nvPr/>
          </p:nvSpPr>
          <p:spPr bwMode="gray">
            <a:xfrm>
              <a:off x="146" y="-14685"/>
              <a:ext cx="1656" cy="1665"/>
            </a:xfrm>
            <a:custGeom>
              <a:avLst/>
              <a:gdLst>
                <a:gd name="T0" fmla="*/ 639 w 701"/>
                <a:gd name="T1" fmla="*/ 64 h 705"/>
                <a:gd name="T2" fmla="*/ 584 w 701"/>
                <a:gd name="T3" fmla="*/ 14 h 705"/>
                <a:gd name="T4" fmla="*/ 541 w 701"/>
                <a:gd name="T5" fmla="*/ 0 h 705"/>
                <a:gd name="T6" fmla="*/ 479 w 701"/>
                <a:gd name="T7" fmla="*/ 10 h 705"/>
                <a:gd name="T8" fmla="*/ 408 w 701"/>
                <a:gd name="T9" fmla="*/ 46 h 705"/>
                <a:gd name="T10" fmla="*/ 433 w 701"/>
                <a:gd name="T11" fmla="*/ 110 h 705"/>
                <a:gd name="T12" fmla="*/ 418 w 701"/>
                <a:gd name="T13" fmla="*/ 160 h 705"/>
                <a:gd name="T14" fmla="*/ 395 w 701"/>
                <a:gd name="T15" fmla="*/ 168 h 705"/>
                <a:gd name="T16" fmla="*/ 370 w 701"/>
                <a:gd name="T17" fmla="*/ 171 h 705"/>
                <a:gd name="T18" fmla="*/ 401 w 701"/>
                <a:gd name="T19" fmla="*/ 197 h 705"/>
                <a:gd name="T20" fmla="*/ 363 w 701"/>
                <a:gd name="T21" fmla="*/ 238 h 705"/>
                <a:gd name="T22" fmla="*/ 348 w 701"/>
                <a:gd name="T23" fmla="*/ 293 h 705"/>
                <a:gd name="T24" fmla="*/ 305 w 701"/>
                <a:gd name="T25" fmla="*/ 289 h 705"/>
                <a:gd name="T26" fmla="*/ 266 w 701"/>
                <a:gd name="T27" fmla="*/ 312 h 705"/>
                <a:gd name="T28" fmla="*/ 242 w 701"/>
                <a:gd name="T29" fmla="*/ 355 h 705"/>
                <a:gd name="T30" fmla="*/ 157 w 701"/>
                <a:gd name="T31" fmla="*/ 404 h 705"/>
                <a:gd name="T32" fmla="*/ 100 w 701"/>
                <a:gd name="T33" fmla="*/ 405 h 705"/>
                <a:gd name="T34" fmla="*/ 0 w 701"/>
                <a:gd name="T35" fmla="*/ 389 h 705"/>
                <a:gd name="T36" fmla="*/ 77 w 701"/>
                <a:gd name="T37" fmla="*/ 462 h 705"/>
                <a:gd name="T38" fmla="*/ 98 w 701"/>
                <a:gd name="T39" fmla="*/ 492 h 705"/>
                <a:gd name="T40" fmla="*/ 120 w 701"/>
                <a:gd name="T41" fmla="*/ 529 h 705"/>
                <a:gd name="T42" fmla="*/ 85 w 701"/>
                <a:gd name="T43" fmla="*/ 575 h 705"/>
                <a:gd name="T44" fmla="*/ 60 w 701"/>
                <a:gd name="T45" fmla="*/ 600 h 705"/>
                <a:gd name="T46" fmla="*/ 110 w 701"/>
                <a:gd name="T47" fmla="*/ 635 h 705"/>
                <a:gd name="T48" fmla="*/ 208 w 701"/>
                <a:gd name="T49" fmla="*/ 615 h 705"/>
                <a:gd name="T50" fmla="*/ 299 w 701"/>
                <a:gd name="T51" fmla="*/ 662 h 705"/>
                <a:gd name="T52" fmla="*/ 381 w 701"/>
                <a:gd name="T53" fmla="*/ 705 h 705"/>
                <a:gd name="T54" fmla="*/ 416 w 701"/>
                <a:gd name="T55" fmla="*/ 689 h 705"/>
                <a:gd name="T56" fmla="*/ 467 w 701"/>
                <a:gd name="T57" fmla="*/ 679 h 705"/>
                <a:gd name="T58" fmla="*/ 492 w 701"/>
                <a:gd name="T59" fmla="*/ 654 h 705"/>
                <a:gd name="T60" fmla="*/ 455 w 701"/>
                <a:gd name="T61" fmla="*/ 604 h 705"/>
                <a:gd name="T62" fmla="*/ 447 w 701"/>
                <a:gd name="T63" fmla="*/ 559 h 705"/>
                <a:gd name="T64" fmla="*/ 423 w 701"/>
                <a:gd name="T65" fmla="*/ 522 h 705"/>
                <a:gd name="T66" fmla="*/ 470 w 701"/>
                <a:gd name="T67" fmla="*/ 500 h 705"/>
                <a:gd name="T68" fmla="*/ 518 w 701"/>
                <a:gd name="T69" fmla="*/ 472 h 705"/>
                <a:gd name="T70" fmla="*/ 560 w 701"/>
                <a:gd name="T71" fmla="*/ 425 h 705"/>
                <a:gd name="T72" fmla="*/ 581 w 701"/>
                <a:gd name="T73" fmla="*/ 358 h 705"/>
                <a:gd name="T74" fmla="*/ 604 w 701"/>
                <a:gd name="T75" fmla="*/ 297 h 705"/>
                <a:gd name="T76" fmla="*/ 624 w 701"/>
                <a:gd name="T77" fmla="*/ 248 h 705"/>
                <a:gd name="T78" fmla="*/ 583 w 701"/>
                <a:gd name="T79" fmla="*/ 225 h 705"/>
                <a:gd name="T80" fmla="*/ 567 w 701"/>
                <a:gd name="T81" fmla="*/ 194 h 705"/>
                <a:gd name="T82" fmla="*/ 548 w 701"/>
                <a:gd name="T83" fmla="*/ 161 h 705"/>
                <a:gd name="T84" fmla="*/ 557 w 701"/>
                <a:gd name="T85" fmla="*/ 123 h 705"/>
                <a:gd name="T86" fmla="*/ 643 w 701"/>
                <a:gd name="T87" fmla="*/ 123 h 705"/>
                <a:gd name="T88" fmla="*/ 667 w 701"/>
                <a:gd name="T89" fmla="*/ 122 h 705"/>
                <a:gd name="T90" fmla="*/ 700 w 701"/>
                <a:gd name="T91" fmla="*/ 82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" h="705">
                  <a:moveTo>
                    <a:pt x="671" y="81"/>
                  </a:moveTo>
                  <a:cubicBezTo>
                    <a:pt x="652" y="80"/>
                    <a:pt x="647" y="60"/>
                    <a:pt x="647" y="60"/>
                  </a:cubicBezTo>
                  <a:cubicBezTo>
                    <a:pt x="639" y="64"/>
                    <a:pt x="639" y="64"/>
                    <a:pt x="639" y="64"/>
                  </a:cubicBezTo>
                  <a:cubicBezTo>
                    <a:pt x="618" y="56"/>
                    <a:pt x="618" y="56"/>
                    <a:pt x="618" y="56"/>
                  </a:cubicBezTo>
                  <a:cubicBezTo>
                    <a:pt x="618" y="56"/>
                    <a:pt x="617" y="35"/>
                    <a:pt x="608" y="25"/>
                  </a:cubicBezTo>
                  <a:cubicBezTo>
                    <a:pt x="599" y="15"/>
                    <a:pt x="584" y="14"/>
                    <a:pt x="584" y="14"/>
                  </a:cubicBezTo>
                  <a:cubicBezTo>
                    <a:pt x="581" y="5"/>
                    <a:pt x="581" y="5"/>
                    <a:pt x="581" y="5"/>
                  </a:cubicBezTo>
                  <a:cubicBezTo>
                    <a:pt x="560" y="5"/>
                    <a:pt x="560" y="5"/>
                    <a:pt x="560" y="5"/>
                  </a:cubicBezTo>
                  <a:cubicBezTo>
                    <a:pt x="560" y="5"/>
                    <a:pt x="549" y="4"/>
                    <a:pt x="541" y="0"/>
                  </a:cubicBezTo>
                  <a:cubicBezTo>
                    <a:pt x="535" y="4"/>
                    <a:pt x="526" y="9"/>
                    <a:pt x="523" y="10"/>
                  </a:cubicBezTo>
                  <a:cubicBezTo>
                    <a:pt x="518" y="11"/>
                    <a:pt x="508" y="5"/>
                    <a:pt x="505" y="5"/>
                  </a:cubicBezTo>
                  <a:cubicBezTo>
                    <a:pt x="502" y="5"/>
                    <a:pt x="479" y="10"/>
                    <a:pt x="479" y="10"/>
                  </a:cubicBezTo>
                  <a:cubicBezTo>
                    <a:pt x="479" y="10"/>
                    <a:pt x="462" y="9"/>
                    <a:pt x="455" y="12"/>
                  </a:cubicBezTo>
                  <a:cubicBezTo>
                    <a:pt x="448" y="15"/>
                    <a:pt x="425" y="31"/>
                    <a:pt x="425" y="31"/>
                  </a:cubicBezTo>
                  <a:cubicBezTo>
                    <a:pt x="425" y="31"/>
                    <a:pt x="414" y="34"/>
                    <a:pt x="408" y="46"/>
                  </a:cubicBezTo>
                  <a:cubicBezTo>
                    <a:pt x="402" y="58"/>
                    <a:pt x="407" y="54"/>
                    <a:pt x="418" y="66"/>
                  </a:cubicBezTo>
                  <a:cubicBezTo>
                    <a:pt x="429" y="78"/>
                    <a:pt x="426" y="95"/>
                    <a:pt x="426" y="95"/>
                  </a:cubicBezTo>
                  <a:cubicBezTo>
                    <a:pt x="426" y="95"/>
                    <a:pt x="436" y="103"/>
                    <a:pt x="433" y="110"/>
                  </a:cubicBezTo>
                  <a:cubicBezTo>
                    <a:pt x="430" y="117"/>
                    <a:pt x="413" y="125"/>
                    <a:pt x="412" y="134"/>
                  </a:cubicBezTo>
                  <a:cubicBezTo>
                    <a:pt x="411" y="143"/>
                    <a:pt x="418" y="144"/>
                    <a:pt x="418" y="144"/>
                  </a:cubicBezTo>
                  <a:cubicBezTo>
                    <a:pt x="418" y="144"/>
                    <a:pt x="419" y="153"/>
                    <a:pt x="418" y="160"/>
                  </a:cubicBezTo>
                  <a:cubicBezTo>
                    <a:pt x="417" y="167"/>
                    <a:pt x="406" y="164"/>
                    <a:pt x="406" y="164"/>
                  </a:cubicBezTo>
                  <a:cubicBezTo>
                    <a:pt x="402" y="171"/>
                    <a:pt x="402" y="171"/>
                    <a:pt x="402" y="171"/>
                  </a:cubicBezTo>
                  <a:cubicBezTo>
                    <a:pt x="395" y="168"/>
                    <a:pt x="395" y="168"/>
                    <a:pt x="395" y="168"/>
                  </a:cubicBezTo>
                  <a:cubicBezTo>
                    <a:pt x="384" y="167"/>
                    <a:pt x="384" y="167"/>
                    <a:pt x="384" y="167"/>
                  </a:cubicBezTo>
                  <a:cubicBezTo>
                    <a:pt x="384" y="167"/>
                    <a:pt x="377" y="159"/>
                    <a:pt x="373" y="160"/>
                  </a:cubicBezTo>
                  <a:cubicBezTo>
                    <a:pt x="369" y="161"/>
                    <a:pt x="369" y="166"/>
                    <a:pt x="370" y="171"/>
                  </a:cubicBezTo>
                  <a:cubicBezTo>
                    <a:pt x="371" y="176"/>
                    <a:pt x="386" y="180"/>
                    <a:pt x="386" y="180"/>
                  </a:cubicBezTo>
                  <a:cubicBezTo>
                    <a:pt x="386" y="180"/>
                    <a:pt x="386" y="184"/>
                    <a:pt x="388" y="191"/>
                  </a:cubicBezTo>
                  <a:cubicBezTo>
                    <a:pt x="390" y="198"/>
                    <a:pt x="401" y="197"/>
                    <a:pt x="401" y="197"/>
                  </a:cubicBezTo>
                  <a:cubicBezTo>
                    <a:pt x="381" y="211"/>
                    <a:pt x="381" y="211"/>
                    <a:pt x="381" y="211"/>
                  </a:cubicBezTo>
                  <a:cubicBezTo>
                    <a:pt x="381" y="211"/>
                    <a:pt x="368" y="210"/>
                    <a:pt x="364" y="213"/>
                  </a:cubicBezTo>
                  <a:cubicBezTo>
                    <a:pt x="360" y="216"/>
                    <a:pt x="363" y="238"/>
                    <a:pt x="363" y="238"/>
                  </a:cubicBezTo>
                  <a:cubicBezTo>
                    <a:pt x="363" y="238"/>
                    <a:pt x="357" y="235"/>
                    <a:pt x="356" y="247"/>
                  </a:cubicBezTo>
                  <a:cubicBezTo>
                    <a:pt x="355" y="259"/>
                    <a:pt x="364" y="277"/>
                    <a:pt x="364" y="277"/>
                  </a:cubicBezTo>
                  <a:cubicBezTo>
                    <a:pt x="364" y="277"/>
                    <a:pt x="361" y="286"/>
                    <a:pt x="348" y="293"/>
                  </a:cubicBezTo>
                  <a:cubicBezTo>
                    <a:pt x="335" y="300"/>
                    <a:pt x="338" y="281"/>
                    <a:pt x="338" y="281"/>
                  </a:cubicBezTo>
                  <a:cubicBezTo>
                    <a:pt x="338" y="281"/>
                    <a:pt x="328" y="283"/>
                    <a:pt x="320" y="283"/>
                  </a:cubicBezTo>
                  <a:cubicBezTo>
                    <a:pt x="312" y="283"/>
                    <a:pt x="305" y="289"/>
                    <a:pt x="305" y="289"/>
                  </a:cubicBezTo>
                  <a:cubicBezTo>
                    <a:pt x="305" y="289"/>
                    <a:pt x="291" y="293"/>
                    <a:pt x="287" y="298"/>
                  </a:cubicBezTo>
                  <a:cubicBezTo>
                    <a:pt x="283" y="303"/>
                    <a:pt x="300" y="305"/>
                    <a:pt x="298" y="311"/>
                  </a:cubicBezTo>
                  <a:cubicBezTo>
                    <a:pt x="296" y="317"/>
                    <a:pt x="266" y="312"/>
                    <a:pt x="266" y="312"/>
                  </a:cubicBezTo>
                  <a:cubicBezTo>
                    <a:pt x="266" y="312"/>
                    <a:pt x="270" y="306"/>
                    <a:pt x="262" y="306"/>
                  </a:cubicBezTo>
                  <a:cubicBezTo>
                    <a:pt x="254" y="306"/>
                    <a:pt x="239" y="319"/>
                    <a:pt x="237" y="325"/>
                  </a:cubicBezTo>
                  <a:cubicBezTo>
                    <a:pt x="235" y="331"/>
                    <a:pt x="242" y="355"/>
                    <a:pt x="242" y="355"/>
                  </a:cubicBezTo>
                  <a:cubicBezTo>
                    <a:pt x="242" y="355"/>
                    <a:pt x="248" y="375"/>
                    <a:pt x="246" y="381"/>
                  </a:cubicBezTo>
                  <a:cubicBezTo>
                    <a:pt x="244" y="387"/>
                    <a:pt x="205" y="400"/>
                    <a:pt x="202" y="401"/>
                  </a:cubicBezTo>
                  <a:cubicBezTo>
                    <a:pt x="199" y="402"/>
                    <a:pt x="157" y="404"/>
                    <a:pt x="157" y="404"/>
                  </a:cubicBezTo>
                  <a:cubicBezTo>
                    <a:pt x="157" y="404"/>
                    <a:pt x="156" y="410"/>
                    <a:pt x="144" y="410"/>
                  </a:cubicBezTo>
                  <a:cubicBezTo>
                    <a:pt x="132" y="410"/>
                    <a:pt x="135" y="406"/>
                    <a:pt x="135" y="406"/>
                  </a:cubicBezTo>
                  <a:cubicBezTo>
                    <a:pt x="100" y="405"/>
                    <a:pt x="100" y="405"/>
                    <a:pt x="100" y="405"/>
                  </a:cubicBezTo>
                  <a:cubicBezTo>
                    <a:pt x="100" y="405"/>
                    <a:pt x="102" y="410"/>
                    <a:pt x="81" y="412"/>
                  </a:cubicBezTo>
                  <a:cubicBezTo>
                    <a:pt x="60" y="414"/>
                    <a:pt x="30" y="396"/>
                    <a:pt x="21" y="391"/>
                  </a:cubicBezTo>
                  <a:cubicBezTo>
                    <a:pt x="12" y="386"/>
                    <a:pt x="0" y="389"/>
                    <a:pt x="0" y="389"/>
                  </a:cubicBezTo>
                  <a:cubicBezTo>
                    <a:pt x="0" y="389"/>
                    <a:pt x="20" y="408"/>
                    <a:pt x="26" y="419"/>
                  </a:cubicBezTo>
                  <a:cubicBezTo>
                    <a:pt x="32" y="430"/>
                    <a:pt x="46" y="450"/>
                    <a:pt x="54" y="460"/>
                  </a:cubicBezTo>
                  <a:cubicBezTo>
                    <a:pt x="62" y="470"/>
                    <a:pt x="77" y="462"/>
                    <a:pt x="77" y="462"/>
                  </a:cubicBezTo>
                  <a:cubicBezTo>
                    <a:pt x="86" y="473"/>
                    <a:pt x="86" y="473"/>
                    <a:pt x="86" y="473"/>
                  </a:cubicBezTo>
                  <a:cubicBezTo>
                    <a:pt x="99" y="472"/>
                    <a:pt x="99" y="472"/>
                    <a:pt x="99" y="472"/>
                  </a:cubicBezTo>
                  <a:cubicBezTo>
                    <a:pt x="98" y="492"/>
                    <a:pt x="98" y="492"/>
                    <a:pt x="98" y="492"/>
                  </a:cubicBezTo>
                  <a:cubicBezTo>
                    <a:pt x="101" y="494"/>
                    <a:pt x="101" y="494"/>
                    <a:pt x="101" y="494"/>
                  </a:cubicBezTo>
                  <a:cubicBezTo>
                    <a:pt x="101" y="494"/>
                    <a:pt x="100" y="517"/>
                    <a:pt x="103" y="524"/>
                  </a:cubicBezTo>
                  <a:cubicBezTo>
                    <a:pt x="106" y="531"/>
                    <a:pt x="112" y="518"/>
                    <a:pt x="120" y="529"/>
                  </a:cubicBezTo>
                  <a:cubicBezTo>
                    <a:pt x="128" y="540"/>
                    <a:pt x="129" y="556"/>
                    <a:pt x="125" y="561"/>
                  </a:cubicBezTo>
                  <a:cubicBezTo>
                    <a:pt x="121" y="566"/>
                    <a:pt x="119" y="553"/>
                    <a:pt x="101" y="559"/>
                  </a:cubicBezTo>
                  <a:cubicBezTo>
                    <a:pt x="83" y="565"/>
                    <a:pt x="89" y="569"/>
                    <a:pt x="85" y="575"/>
                  </a:cubicBezTo>
                  <a:cubicBezTo>
                    <a:pt x="81" y="581"/>
                    <a:pt x="72" y="579"/>
                    <a:pt x="72" y="579"/>
                  </a:cubicBezTo>
                  <a:cubicBezTo>
                    <a:pt x="70" y="590"/>
                    <a:pt x="70" y="590"/>
                    <a:pt x="70" y="590"/>
                  </a:cubicBezTo>
                  <a:cubicBezTo>
                    <a:pt x="70" y="590"/>
                    <a:pt x="66" y="597"/>
                    <a:pt x="60" y="600"/>
                  </a:cubicBezTo>
                  <a:cubicBezTo>
                    <a:pt x="55" y="602"/>
                    <a:pt x="59" y="630"/>
                    <a:pt x="60" y="637"/>
                  </a:cubicBezTo>
                  <a:cubicBezTo>
                    <a:pt x="70" y="633"/>
                    <a:pt x="78" y="628"/>
                    <a:pt x="78" y="628"/>
                  </a:cubicBezTo>
                  <a:cubicBezTo>
                    <a:pt x="78" y="628"/>
                    <a:pt x="100" y="635"/>
                    <a:pt x="110" y="635"/>
                  </a:cubicBezTo>
                  <a:cubicBezTo>
                    <a:pt x="120" y="636"/>
                    <a:pt x="149" y="620"/>
                    <a:pt x="149" y="620"/>
                  </a:cubicBezTo>
                  <a:cubicBezTo>
                    <a:pt x="149" y="620"/>
                    <a:pt x="165" y="628"/>
                    <a:pt x="175" y="626"/>
                  </a:cubicBezTo>
                  <a:cubicBezTo>
                    <a:pt x="186" y="624"/>
                    <a:pt x="208" y="615"/>
                    <a:pt x="208" y="615"/>
                  </a:cubicBezTo>
                  <a:cubicBezTo>
                    <a:pt x="234" y="622"/>
                    <a:pt x="234" y="622"/>
                    <a:pt x="234" y="622"/>
                  </a:cubicBezTo>
                  <a:cubicBezTo>
                    <a:pt x="234" y="622"/>
                    <a:pt x="249" y="601"/>
                    <a:pt x="267" y="613"/>
                  </a:cubicBezTo>
                  <a:cubicBezTo>
                    <a:pt x="284" y="624"/>
                    <a:pt x="285" y="659"/>
                    <a:pt x="299" y="662"/>
                  </a:cubicBezTo>
                  <a:cubicBezTo>
                    <a:pt x="313" y="665"/>
                    <a:pt x="339" y="665"/>
                    <a:pt x="348" y="674"/>
                  </a:cubicBezTo>
                  <a:cubicBezTo>
                    <a:pt x="358" y="683"/>
                    <a:pt x="359" y="704"/>
                    <a:pt x="370" y="705"/>
                  </a:cubicBezTo>
                  <a:cubicBezTo>
                    <a:pt x="373" y="705"/>
                    <a:pt x="377" y="705"/>
                    <a:pt x="381" y="705"/>
                  </a:cubicBezTo>
                  <a:cubicBezTo>
                    <a:pt x="394" y="700"/>
                    <a:pt x="394" y="700"/>
                    <a:pt x="394" y="700"/>
                  </a:cubicBezTo>
                  <a:cubicBezTo>
                    <a:pt x="394" y="700"/>
                    <a:pt x="385" y="684"/>
                    <a:pt x="396" y="683"/>
                  </a:cubicBezTo>
                  <a:cubicBezTo>
                    <a:pt x="407" y="682"/>
                    <a:pt x="416" y="689"/>
                    <a:pt x="416" y="689"/>
                  </a:cubicBezTo>
                  <a:cubicBezTo>
                    <a:pt x="433" y="683"/>
                    <a:pt x="433" y="683"/>
                    <a:pt x="433" y="683"/>
                  </a:cubicBezTo>
                  <a:cubicBezTo>
                    <a:pt x="433" y="683"/>
                    <a:pt x="430" y="691"/>
                    <a:pt x="444" y="691"/>
                  </a:cubicBezTo>
                  <a:cubicBezTo>
                    <a:pt x="458" y="691"/>
                    <a:pt x="456" y="681"/>
                    <a:pt x="467" y="679"/>
                  </a:cubicBezTo>
                  <a:cubicBezTo>
                    <a:pt x="478" y="677"/>
                    <a:pt x="468" y="688"/>
                    <a:pt x="479" y="688"/>
                  </a:cubicBezTo>
                  <a:cubicBezTo>
                    <a:pt x="490" y="688"/>
                    <a:pt x="499" y="687"/>
                    <a:pt x="501" y="678"/>
                  </a:cubicBezTo>
                  <a:cubicBezTo>
                    <a:pt x="503" y="669"/>
                    <a:pt x="492" y="654"/>
                    <a:pt x="492" y="654"/>
                  </a:cubicBezTo>
                  <a:cubicBezTo>
                    <a:pt x="478" y="626"/>
                    <a:pt x="478" y="626"/>
                    <a:pt x="478" y="626"/>
                  </a:cubicBezTo>
                  <a:cubicBezTo>
                    <a:pt x="478" y="611"/>
                    <a:pt x="478" y="611"/>
                    <a:pt x="478" y="611"/>
                  </a:cubicBezTo>
                  <a:cubicBezTo>
                    <a:pt x="478" y="611"/>
                    <a:pt x="462" y="611"/>
                    <a:pt x="455" y="604"/>
                  </a:cubicBezTo>
                  <a:cubicBezTo>
                    <a:pt x="448" y="597"/>
                    <a:pt x="446" y="589"/>
                    <a:pt x="446" y="589"/>
                  </a:cubicBezTo>
                  <a:cubicBezTo>
                    <a:pt x="448" y="569"/>
                    <a:pt x="448" y="569"/>
                    <a:pt x="448" y="569"/>
                  </a:cubicBezTo>
                  <a:cubicBezTo>
                    <a:pt x="447" y="559"/>
                    <a:pt x="447" y="559"/>
                    <a:pt x="447" y="559"/>
                  </a:cubicBezTo>
                  <a:cubicBezTo>
                    <a:pt x="429" y="561"/>
                    <a:pt x="429" y="561"/>
                    <a:pt x="429" y="561"/>
                  </a:cubicBezTo>
                  <a:cubicBezTo>
                    <a:pt x="429" y="561"/>
                    <a:pt x="414" y="563"/>
                    <a:pt x="414" y="546"/>
                  </a:cubicBezTo>
                  <a:cubicBezTo>
                    <a:pt x="414" y="529"/>
                    <a:pt x="415" y="529"/>
                    <a:pt x="423" y="522"/>
                  </a:cubicBezTo>
                  <a:cubicBezTo>
                    <a:pt x="431" y="515"/>
                    <a:pt x="438" y="503"/>
                    <a:pt x="438" y="503"/>
                  </a:cubicBezTo>
                  <a:cubicBezTo>
                    <a:pt x="438" y="503"/>
                    <a:pt x="437" y="489"/>
                    <a:pt x="451" y="487"/>
                  </a:cubicBezTo>
                  <a:cubicBezTo>
                    <a:pt x="465" y="485"/>
                    <a:pt x="457" y="502"/>
                    <a:pt x="470" y="500"/>
                  </a:cubicBezTo>
                  <a:cubicBezTo>
                    <a:pt x="483" y="498"/>
                    <a:pt x="488" y="490"/>
                    <a:pt x="488" y="490"/>
                  </a:cubicBezTo>
                  <a:cubicBezTo>
                    <a:pt x="488" y="490"/>
                    <a:pt x="503" y="498"/>
                    <a:pt x="510" y="490"/>
                  </a:cubicBezTo>
                  <a:cubicBezTo>
                    <a:pt x="517" y="482"/>
                    <a:pt x="518" y="472"/>
                    <a:pt x="518" y="472"/>
                  </a:cubicBezTo>
                  <a:cubicBezTo>
                    <a:pt x="527" y="467"/>
                    <a:pt x="527" y="467"/>
                    <a:pt x="527" y="467"/>
                  </a:cubicBezTo>
                  <a:cubicBezTo>
                    <a:pt x="527" y="467"/>
                    <a:pt x="528" y="447"/>
                    <a:pt x="532" y="444"/>
                  </a:cubicBezTo>
                  <a:cubicBezTo>
                    <a:pt x="536" y="441"/>
                    <a:pt x="552" y="438"/>
                    <a:pt x="560" y="425"/>
                  </a:cubicBezTo>
                  <a:cubicBezTo>
                    <a:pt x="568" y="412"/>
                    <a:pt x="565" y="394"/>
                    <a:pt x="569" y="385"/>
                  </a:cubicBezTo>
                  <a:cubicBezTo>
                    <a:pt x="573" y="376"/>
                    <a:pt x="592" y="375"/>
                    <a:pt x="592" y="375"/>
                  </a:cubicBezTo>
                  <a:cubicBezTo>
                    <a:pt x="581" y="358"/>
                    <a:pt x="581" y="358"/>
                    <a:pt x="581" y="358"/>
                  </a:cubicBezTo>
                  <a:cubicBezTo>
                    <a:pt x="598" y="334"/>
                    <a:pt x="598" y="334"/>
                    <a:pt x="598" y="334"/>
                  </a:cubicBezTo>
                  <a:cubicBezTo>
                    <a:pt x="616" y="321"/>
                    <a:pt x="616" y="321"/>
                    <a:pt x="616" y="321"/>
                  </a:cubicBezTo>
                  <a:cubicBezTo>
                    <a:pt x="616" y="321"/>
                    <a:pt x="604" y="301"/>
                    <a:pt x="604" y="297"/>
                  </a:cubicBezTo>
                  <a:cubicBezTo>
                    <a:pt x="604" y="293"/>
                    <a:pt x="601" y="279"/>
                    <a:pt x="605" y="277"/>
                  </a:cubicBezTo>
                  <a:cubicBezTo>
                    <a:pt x="609" y="275"/>
                    <a:pt x="638" y="271"/>
                    <a:pt x="637" y="262"/>
                  </a:cubicBezTo>
                  <a:cubicBezTo>
                    <a:pt x="636" y="253"/>
                    <a:pt x="624" y="248"/>
                    <a:pt x="624" y="248"/>
                  </a:cubicBezTo>
                  <a:cubicBezTo>
                    <a:pt x="600" y="249"/>
                    <a:pt x="600" y="249"/>
                    <a:pt x="600" y="249"/>
                  </a:cubicBezTo>
                  <a:cubicBezTo>
                    <a:pt x="597" y="226"/>
                    <a:pt x="597" y="226"/>
                    <a:pt x="597" y="226"/>
                  </a:cubicBezTo>
                  <a:cubicBezTo>
                    <a:pt x="583" y="225"/>
                    <a:pt x="583" y="225"/>
                    <a:pt x="583" y="225"/>
                  </a:cubicBezTo>
                  <a:cubicBezTo>
                    <a:pt x="575" y="215"/>
                    <a:pt x="575" y="215"/>
                    <a:pt x="575" y="215"/>
                  </a:cubicBezTo>
                  <a:cubicBezTo>
                    <a:pt x="575" y="215"/>
                    <a:pt x="564" y="218"/>
                    <a:pt x="565" y="210"/>
                  </a:cubicBezTo>
                  <a:cubicBezTo>
                    <a:pt x="566" y="202"/>
                    <a:pt x="567" y="194"/>
                    <a:pt x="567" y="194"/>
                  </a:cubicBezTo>
                  <a:cubicBezTo>
                    <a:pt x="567" y="194"/>
                    <a:pt x="553" y="193"/>
                    <a:pt x="556" y="183"/>
                  </a:cubicBezTo>
                  <a:cubicBezTo>
                    <a:pt x="559" y="173"/>
                    <a:pt x="568" y="165"/>
                    <a:pt x="568" y="165"/>
                  </a:cubicBezTo>
                  <a:cubicBezTo>
                    <a:pt x="548" y="161"/>
                    <a:pt x="548" y="161"/>
                    <a:pt x="548" y="161"/>
                  </a:cubicBezTo>
                  <a:cubicBezTo>
                    <a:pt x="552" y="152"/>
                    <a:pt x="552" y="152"/>
                    <a:pt x="552" y="152"/>
                  </a:cubicBezTo>
                  <a:cubicBezTo>
                    <a:pt x="537" y="142"/>
                    <a:pt x="537" y="142"/>
                    <a:pt x="537" y="142"/>
                  </a:cubicBezTo>
                  <a:cubicBezTo>
                    <a:pt x="537" y="142"/>
                    <a:pt x="535" y="126"/>
                    <a:pt x="557" y="123"/>
                  </a:cubicBezTo>
                  <a:cubicBezTo>
                    <a:pt x="579" y="120"/>
                    <a:pt x="608" y="126"/>
                    <a:pt x="608" y="126"/>
                  </a:cubicBezTo>
                  <a:cubicBezTo>
                    <a:pt x="608" y="126"/>
                    <a:pt x="611" y="138"/>
                    <a:pt x="618" y="137"/>
                  </a:cubicBezTo>
                  <a:cubicBezTo>
                    <a:pt x="625" y="136"/>
                    <a:pt x="643" y="123"/>
                    <a:pt x="643" y="123"/>
                  </a:cubicBezTo>
                  <a:cubicBezTo>
                    <a:pt x="647" y="127"/>
                    <a:pt x="647" y="127"/>
                    <a:pt x="647" y="127"/>
                  </a:cubicBezTo>
                  <a:cubicBezTo>
                    <a:pt x="653" y="122"/>
                    <a:pt x="653" y="122"/>
                    <a:pt x="653" y="122"/>
                  </a:cubicBezTo>
                  <a:cubicBezTo>
                    <a:pt x="653" y="122"/>
                    <a:pt x="664" y="123"/>
                    <a:pt x="667" y="122"/>
                  </a:cubicBezTo>
                  <a:cubicBezTo>
                    <a:pt x="670" y="121"/>
                    <a:pt x="670" y="110"/>
                    <a:pt x="670" y="110"/>
                  </a:cubicBezTo>
                  <a:cubicBezTo>
                    <a:pt x="685" y="104"/>
                    <a:pt x="685" y="104"/>
                    <a:pt x="685" y="104"/>
                  </a:cubicBezTo>
                  <a:cubicBezTo>
                    <a:pt x="700" y="82"/>
                    <a:pt x="700" y="82"/>
                    <a:pt x="700" y="82"/>
                  </a:cubicBezTo>
                  <a:cubicBezTo>
                    <a:pt x="701" y="82"/>
                    <a:pt x="701" y="82"/>
                    <a:pt x="701" y="82"/>
                  </a:cubicBezTo>
                  <a:cubicBezTo>
                    <a:pt x="692" y="82"/>
                    <a:pt x="680" y="81"/>
                    <a:pt x="671" y="8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231">
              <a:extLst>
                <a:ext uri="{FF2B5EF4-FFF2-40B4-BE49-F238E27FC236}">
                  <a16:creationId xmlns:a16="http://schemas.microsoft.com/office/drawing/2014/main" id="{AD91C39B-E38A-2900-49E2-2C56859A9F61}"/>
                </a:ext>
              </a:extLst>
            </p:cNvPr>
            <p:cNvSpPr>
              <a:spLocks/>
            </p:cNvSpPr>
            <p:nvPr/>
          </p:nvSpPr>
          <p:spPr bwMode="gray">
            <a:xfrm>
              <a:off x="-2275" y="-14726"/>
              <a:ext cx="1072" cy="1045"/>
            </a:xfrm>
            <a:custGeom>
              <a:avLst/>
              <a:gdLst>
                <a:gd name="T0" fmla="*/ 448 w 454"/>
                <a:gd name="T1" fmla="*/ 378 h 442"/>
                <a:gd name="T2" fmla="*/ 432 w 454"/>
                <a:gd name="T3" fmla="*/ 365 h 442"/>
                <a:gd name="T4" fmla="*/ 428 w 454"/>
                <a:gd name="T5" fmla="*/ 346 h 442"/>
                <a:gd name="T6" fmla="*/ 415 w 454"/>
                <a:gd name="T7" fmla="*/ 340 h 442"/>
                <a:gd name="T8" fmla="*/ 415 w 454"/>
                <a:gd name="T9" fmla="*/ 295 h 442"/>
                <a:gd name="T10" fmla="*/ 393 w 454"/>
                <a:gd name="T11" fmla="*/ 270 h 442"/>
                <a:gd name="T12" fmla="*/ 380 w 454"/>
                <a:gd name="T13" fmla="*/ 258 h 442"/>
                <a:gd name="T14" fmla="*/ 348 w 454"/>
                <a:gd name="T15" fmla="*/ 240 h 442"/>
                <a:gd name="T16" fmla="*/ 335 w 454"/>
                <a:gd name="T17" fmla="*/ 239 h 442"/>
                <a:gd name="T18" fmla="*/ 335 w 454"/>
                <a:gd name="T19" fmla="*/ 212 h 442"/>
                <a:gd name="T20" fmla="*/ 291 w 454"/>
                <a:gd name="T21" fmla="*/ 182 h 442"/>
                <a:gd name="T22" fmla="*/ 299 w 454"/>
                <a:gd name="T23" fmla="*/ 168 h 442"/>
                <a:gd name="T24" fmla="*/ 291 w 454"/>
                <a:gd name="T25" fmla="*/ 154 h 442"/>
                <a:gd name="T26" fmla="*/ 305 w 454"/>
                <a:gd name="T27" fmla="*/ 148 h 442"/>
                <a:gd name="T28" fmla="*/ 304 w 454"/>
                <a:gd name="T29" fmla="*/ 135 h 442"/>
                <a:gd name="T30" fmla="*/ 305 w 454"/>
                <a:gd name="T31" fmla="*/ 126 h 442"/>
                <a:gd name="T32" fmla="*/ 318 w 454"/>
                <a:gd name="T33" fmla="*/ 118 h 442"/>
                <a:gd name="T34" fmla="*/ 307 w 454"/>
                <a:gd name="T35" fmla="*/ 97 h 442"/>
                <a:gd name="T36" fmla="*/ 318 w 454"/>
                <a:gd name="T37" fmla="*/ 80 h 442"/>
                <a:gd name="T38" fmla="*/ 299 w 454"/>
                <a:gd name="T39" fmla="*/ 85 h 442"/>
                <a:gd name="T40" fmla="*/ 288 w 454"/>
                <a:gd name="T41" fmla="*/ 73 h 442"/>
                <a:gd name="T42" fmla="*/ 274 w 454"/>
                <a:gd name="T43" fmla="*/ 71 h 442"/>
                <a:gd name="T44" fmla="*/ 265 w 454"/>
                <a:gd name="T45" fmla="*/ 50 h 442"/>
                <a:gd name="T46" fmla="*/ 249 w 454"/>
                <a:gd name="T47" fmla="*/ 8 h 442"/>
                <a:gd name="T48" fmla="*/ 222 w 454"/>
                <a:gd name="T49" fmla="*/ 19 h 442"/>
                <a:gd name="T50" fmla="*/ 210 w 454"/>
                <a:gd name="T51" fmla="*/ 1 h 442"/>
                <a:gd name="T52" fmla="*/ 196 w 454"/>
                <a:gd name="T53" fmla="*/ 10 h 442"/>
                <a:gd name="T54" fmla="*/ 179 w 454"/>
                <a:gd name="T55" fmla="*/ 1 h 442"/>
                <a:gd name="T56" fmla="*/ 153 w 454"/>
                <a:gd name="T57" fmla="*/ 1 h 442"/>
                <a:gd name="T58" fmla="*/ 142 w 454"/>
                <a:gd name="T59" fmla="*/ 17 h 442"/>
                <a:gd name="T60" fmla="*/ 140 w 454"/>
                <a:gd name="T61" fmla="*/ 17 h 442"/>
                <a:gd name="T62" fmla="*/ 124 w 454"/>
                <a:gd name="T63" fmla="*/ 37 h 442"/>
                <a:gd name="T64" fmla="*/ 92 w 454"/>
                <a:gd name="T65" fmla="*/ 53 h 442"/>
                <a:gd name="T66" fmla="*/ 103 w 454"/>
                <a:gd name="T67" fmla="*/ 75 h 442"/>
                <a:gd name="T68" fmla="*/ 107 w 454"/>
                <a:gd name="T69" fmla="*/ 110 h 442"/>
                <a:gd name="T70" fmla="*/ 98 w 454"/>
                <a:gd name="T71" fmla="*/ 129 h 442"/>
                <a:gd name="T72" fmla="*/ 104 w 454"/>
                <a:gd name="T73" fmla="*/ 154 h 442"/>
                <a:gd name="T74" fmla="*/ 43 w 454"/>
                <a:gd name="T75" fmla="*/ 181 h 442"/>
                <a:gd name="T76" fmla="*/ 0 w 454"/>
                <a:gd name="T77" fmla="*/ 216 h 442"/>
                <a:gd name="T78" fmla="*/ 0 w 454"/>
                <a:gd name="T79" fmla="*/ 216 h 442"/>
                <a:gd name="T80" fmla="*/ 12 w 454"/>
                <a:gd name="T81" fmla="*/ 246 h 442"/>
                <a:gd name="T82" fmla="*/ 12 w 454"/>
                <a:gd name="T83" fmla="*/ 260 h 442"/>
                <a:gd name="T84" fmla="*/ 29 w 454"/>
                <a:gd name="T85" fmla="*/ 269 h 442"/>
                <a:gd name="T86" fmla="*/ 28 w 454"/>
                <a:gd name="T87" fmla="*/ 278 h 442"/>
                <a:gd name="T88" fmla="*/ 44 w 454"/>
                <a:gd name="T89" fmla="*/ 287 h 442"/>
                <a:gd name="T90" fmla="*/ 78 w 454"/>
                <a:gd name="T91" fmla="*/ 287 h 442"/>
                <a:gd name="T92" fmla="*/ 127 w 454"/>
                <a:gd name="T93" fmla="*/ 321 h 442"/>
                <a:gd name="T94" fmla="*/ 160 w 454"/>
                <a:gd name="T95" fmla="*/ 341 h 442"/>
                <a:gd name="T96" fmla="*/ 288 w 454"/>
                <a:gd name="T97" fmla="*/ 438 h 442"/>
                <a:gd name="T98" fmla="*/ 376 w 454"/>
                <a:gd name="T99" fmla="*/ 442 h 442"/>
                <a:gd name="T100" fmla="*/ 376 w 454"/>
                <a:gd name="T101" fmla="*/ 442 h 442"/>
                <a:gd name="T102" fmla="*/ 387 w 454"/>
                <a:gd name="T103" fmla="*/ 422 h 442"/>
                <a:gd name="T104" fmla="*/ 396 w 454"/>
                <a:gd name="T105" fmla="*/ 395 h 442"/>
                <a:gd name="T106" fmla="*/ 411 w 454"/>
                <a:gd name="T107" fmla="*/ 393 h 442"/>
                <a:gd name="T108" fmla="*/ 431 w 454"/>
                <a:gd name="T109" fmla="*/ 393 h 442"/>
                <a:gd name="T110" fmla="*/ 433 w 454"/>
                <a:gd name="T111" fmla="*/ 398 h 442"/>
                <a:gd name="T112" fmla="*/ 451 w 454"/>
                <a:gd name="T113" fmla="*/ 392 h 442"/>
                <a:gd name="T114" fmla="*/ 454 w 454"/>
                <a:gd name="T115" fmla="*/ 387 h 442"/>
                <a:gd name="T116" fmla="*/ 448 w 454"/>
                <a:gd name="T117" fmla="*/ 378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54" h="442">
                  <a:moveTo>
                    <a:pt x="448" y="378"/>
                  </a:moveTo>
                  <a:cubicBezTo>
                    <a:pt x="447" y="369"/>
                    <a:pt x="432" y="365"/>
                    <a:pt x="432" y="365"/>
                  </a:cubicBezTo>
                  <a:cubicBezTo>
                    <a:pt x="428" y="346"/>
                    <a:pt x="428" y="346"/>
                    <a:pt x="428" y="346"/>
                  </a:cubicBezTo>
                  <a:cubicBezTo>
                    <a:pt x="428" y="346"/>
                    <a:pt x="423" y="346"/>
                    <a:pt x="415" y="340"/>
                  </a:cubicBezTo>
                  <a:cubicBezTo>
                    <a:pt x="407" y="334"/>
                    <a:pt x="415" y="295"/>
                    <a:pt x="415" y="295"/>
                  </a:cubicBezTo>
                  <a:cubicBezTo>
                    <a:pt x="393" y="270"/>
                    <a:pt x="393" y="270"/>
                    <a:pt x="393" y="270"/>
                  </a:cubicBezTo>
                  <a:cubicBezTo>
                    <a:pt x="393" y="270"/>
                    <a:pt x="391" y="258"/>
                    <a:pt x="380" y="258"/>
                  </a:cubicBezTo>
                  <a:cubicBezTo>
                    <a:pt x="369" y="258"/>
                    <a:pt x="348" y="240"/>
                    <a:pt x="348" y="240"/>
                  </a:cubicBezTo>
                  <a:cubicBezTo>
                    <a:pt x="335" y="239"/>
                    <a:pt x="335" y="239"/>
                    <a:pt x="335" y="239"/>
                  </a:cubicBezTo>
                  <a:cubicBezTo>
                    <a:pt x="335" y="212"/>
                    <a:pt x="335" y="212"/>
                    <a:pt x="335" y="212"/>
                  </a:cubicBezTo>
                  <a:cubicBezTo>
                    <a:pt x="335" y="212"/>
                    <a:pt x="293" y="191"/>
                    <a:pt x="291" y="182"/>
                  </a:cubicBezTo>
                  <a:cubicBezTo>
                    <a:pt x="289" y="173"/>
                    <a:pt x="299" y="168"/>
                    <a:pt x="299" y="168"/>
                  </a:cubicBezTo>
                  <a:cubicBezTo>
                    <a:pt x="299" y="168"/>
                    <a:pt x="290" y="161"/>
                    <a:pt x="291" y="154"/>
                  </a:cubicBezTo>
                  <a:cubicBezTo>
                    <a:pt x="292" y="147"/>
                    <a:pt x="305" y="148"/>
                    <a:pt x="305" y="148"/>
                  </a:cubicBezTo>
                  <a:cubicBezTo>
                    <a:pt x="304" y="135"/>
                    <a:pt x="304" y="135"/>
                    <a:pt x="304" y="135"/>
                  </a:cubicBezTo>
                  <a:cubicBezTo>
                    <a:pt x="305" y="126"/>
                    <a:pt x="305" y="126"/>
                    <a:pt x="305" y="126"/>
                  </a:cubicBezTo>
                  <a:cubicBezTo>
                    <a:pt x="305" y="126"/>
                    <a:pt x="315" y="126"/>
                    <a:pt x="318" y="118"/>
                  </a:cubicBezTo>
                  <a:cubicBezTo>
                    <a:pt x="321" y="110"/>
                    <a:pt x="307" y="101"/>
                    <a:pt x="307" y="97"/>
                  </a:cubicBezTo>
                  <a:cubicBezTo>
                    <a:pt x="307" y="93"/>
                    <a:pt x="323" y="84"/>
                    <a:pt x="318" y="80"/>
                  </a:cubicBezTo>
                  <a:cubicBezTo>
                    <a:pt x="313" y="76"/>
                    <a:pt x="299" y="85"/>
                    <a:pt x="299" y="85"/>
                  </a:cubicBezTo>
                  <a:cubicBezTo>
                    <a:pt x="288" y="73"/>
                    <a:pt x="288" y="73"/>
                    <a:pt x="288" y="73"/>
                  </a:cubicBezTo>
                  <a:cubicBezTo>
                    <a:pt x="274" y="71"/>
                    <a:pt x="274" y="71"/>
                    <a:pt x="274" y="71"/>
                  </a:cubicBezTo>
                  <a:cubicBezTo>
                    <a:pt x="274" y="71"/>
                    <a:pt x="277" y="61"/>
                    <a:pt x="265" y="50"/>
                  </a:cubicBezTo>
                  <a:cubicBezTo>
                    <a:pt x="256" y="42"/>
                    <a:pt x="251" y="19"/>
                    <a:pt x="249" y="8"/>
                  </a:cubicBezTo>
                  <a:cubicBezTo>
                    <a:pt x="222" y="19"/>
                    <a:pt x="222" y="19"/>
                    <a:pt x="222" y="19"/>
                  </a:cubicBezTo>
                  <a:cubicBezTo>
                    <a:pt x="222" y="19"/>
                    <a:pt x="224" y="2"/>
                    <a:pt x="210" y="1"/>
                  </a:cubicBezTo>
                  <a:cubicBezTo>
                    <a:pt x="196" y="0"/>
                    <a:pt x="204" y="8"/>
                    <a:pt x="196" y="10"/>
                  </a:cubicBezTo>
                  <a:cubicBezTo>
                    <a:pt x="188" y="12"/>
                    <a:pt x="179" y="1"/>
                    <a:pt x="179" y="1"/>
                  </a:cubicBezTo>
                  <a:cubicBezTo>
                    <a:pt x="153" y="1"/>
                    <a:pt x="153" y="1"/>
                    <a:pt x="153" y="1"/>
                  </a:cubicBezTo>
                  <a:cubicBezTo>
                    <a:pt x="153" y="1"/>
                    <a:pt x="154" y="14"/>
                    <a:pt x="142" y="17"/>
                  </a:cubicBezTo>
                  <a:cubicBezTo>
                    <a:pt x="141" y="17"/>
                    <a:pt x="141" y="17"/>
                    <a:pt x="140" y="17"/>
                  </a:cubicBezTo>
                  <a:cubicBezTo>
                    <a:pt x="138" y="24"/>
                    <a:pt x="133" y="33"/>
                    <a:pt x="124" y="37"/>
                  </a:cubicBezTo>
                  <a:cubicBezTo>
                    <a:pt x="108" y="44"/>
                    <a:pt x="96" y="39"/>
                    <a:pt x="92" y="53"/>
                  </a:cubicBezTo>
                  <a:cubicBezTo>
                    <a:pt x="88" y="67"/>
                    <a:pt x="103" y="75"/>
                    <a:pt x="103" y="75"/>
                  </a:cubicBezTo>
                  <a:cubicBezTo>
                    <a:pt x="103" y="75"/>
                    <a:pt x="111" y="105"/>
                    <a:pt x="107" y="110"/>
                  </a:cubicBezTo>
                  <a:cubicBezTo>
                    <a:pt x="103" y="115"/>
                    <a:pt x="97" y="122"/>
                    <a:pt x="98" y="129"/>
                  </a:cubicBezTo>
                  <a:cubicBezTo>
                    <a:pt x="99" y="136"/>
                    <a:pt x="116" y="145"/>
                    <a:pt x="104" y="154"/>
                  </a:cubicBezTo>
                  <a:cubicBezTo>
                    <a:pt x="92" y="163"/>
                    <a:pt x="43" y="181"/>
                    <a:pt x="43" y="181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12" y="246"/>
                    <a:pt x="12" y="246"/>
                    <a:pt x="12" y="246"/>
                  </a:cubicBezTo>
                  <a:cubicBezTo>
                    <a:pt x="12" y="260"/>
                    <a:pt x="12" y="260"/>
                    <a:pt x="12" y="260"/>
                  </a:cubicBezTo>
                  <a:cubicBezTo>
                    <a:pt x="29" y="269"/>
                    <a:pt x="29" y="269"/>
                    <a:pt x="29" y="269"/>
                  </a:cubicBezTo>
                  <a:cubicBezTo>
                    <a:pt x="28" y="278"/>
                    <a:pt x="28" y="278"/>
                    <a:pt x="28" y="278"/>
                  </a:cubicBezTo>
                  <a:cubicBezTo>
                    <a:pt x="28" y="278"/>
                    <a:pt x="35" y="288"/>
                    <a:pt x="44" y="287"/>
                  </a:cubicBezTo>
                  <a:cubicBezTo>
                    <a:pt x="53" y="286"/>
                    <a:pt x="78" y="287"/>
                    <a:pt x="78" y="287"/>
                  </a:cubicBezTo>
                  <a:cubicBezTo>
                    <a:pt x="78" y="287"/>
                    <a:pt x="115" y="315"/>
                    <a:pt x="127" y="321"/>
                  </a:cubicBezTo>
                  <a:cubicBezTo>
                    <a:pt x="139" y="327"/>
                    <a:pt x="160" y="341"/>
                    <a:pt x="160" y="341"/>
                  </a:cubicBezTo>
                  <a:cubicBezTo>
                    <a:pt x="288" y="438"/>
                    <a:pt x="288" y="438"/>
                    <a:pt x="288" y="438"/>
                  </a:cubicBezTo>
                  <a:cubicBezTo>
                    <a:pt x="288" y="438"/>
                    <a:pt x="339" y="439"/>
                    <a:pt x="376" y="442"/>
                  </a:cubicBezTo>
                  <a:cubicBezTo>
                    <a:pt x="376" y="442"/>
                    <a:pt x="376" y="442"/>
                    <a:pt x="376" y="442"/>
                  </a:cubicBezTo>
                  <a:cubicBezTo>
                    <a:pt x="379" y="438"/>
                    <a:pt x="386" y="431"/>
                    <a:pt x="387" y="422"/>
                  </a:cubicBezTo>
                  <a:cubicBezTo>
                    <a:pt x="389" y="410"/>
                    <a:pt x="396" y="395"/>
                    <a:pt x="396" y="395"/>
                  </a:cubicBezTo>
                  <a:cubicBezTo>
                    <a:pt x="411" y="393"/>
                    <a:pt x="411" y="393"/>
                    <a:pt x="411" y="393"/>
                  </a:cubicBezTo>
                  <a:cubicBezTo>
                    <a:pt x="431" y="393"/>
                    <a:pt x="431" y="393"/>
                    <a:pt x="431" y="393"/>
                  </a:cubicBezTo>
                  <a:cubicBezTo>
                    <a:pt x="433" y="398"/>
                    <a:pt x="433" y="398"/>
                    <a:pt x="433" y="398"/>
                  </a:cubicBezTo>
                  <a:cubicBezTo>
                    <a:pt x="451" y="392"/>
                    <a:pt x="451" y="392"/>
                    <a:pt x="451" y="392"/>
                  </a:cubicBezTo>
                  <a:cubicBezTo>
                    <a:pt x="454" y="387"/>
                    <a:pt x="454" y="387"/>
                    <a:pt x="454" y="387"/>
                  </a:cubicBezTo>
                  <a:cubicBezTo>
                    <a:pt x="451" y="384"/>
                    <a:pt x="448" y="381"/>
                    <a:pt x="448" y="378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232">
              <a:extLst>
                <a:ext uri="{FF2B5EF4-FFF2-40B4-BE49-F238E27FC236}">
                  <a16:creationId xmlns:a16="http://schemas.microsoft.com/office/drawing/2014/main" id="{E0DBD0A5-35D6-7503-CD9E-6D8F4860808B}"/>
                </a:ext>
              </a:extLst>
            </p:cNvPr>
            <p:cNvSpPr>
              <a:spLocks/>
            </p:cNvSpPr>
            <p:nvPr/>
          </p:nvSpPr>
          <p:spPr bwMode="gray">
            <a:xfrm>
              <a:off x="-1387" y="-13797"/>
              <a:ext cx="210" cy="191"/>
            </a:xfrm>
            <a:custGeom>
              <a:avLst/>
              <a:gdLst>
                <a:gd name="T0" fmla="*/ 35 w 89"/>
                <a:gd name="T1" fmla="*/ 0 h 81"/>
                <a:gd name="T2" fmla="*/ 20 w 89"/>
                <a:gd name="T3" fmla="*/ 2 h 81"/>
                <a:gd name="T4" fmla="*/ 11 w 89"/>
                <a:gd name="T5" fmla="*/ 29 h 81"/>
                <a:gd name="T6" fmla="*/ 0 w 89"/>
                <a:gd name="T7" fmla="*/ 49 h 81"/>
                <a:gd name="T8" fmla="*/ 40 w 89"/>
                <a:gd name="T9" fmla="*/ 55 h 81"/>
                <a:gd name="T10" fmla="*/ 50 w 89"/>
                <a:gd name="T11" fmla="*/ 81 h 81"/>
                <a:gd name="T12" fmla="*/ 89 w 89"/>
                <a:gd name="T13" fmla="*/ 80 h 81"/>
                <a:gd name="T14" fmla="*/ 64 w 89"/>
                <a:gd name="T15" fmla="*/ 47 h 81"/>
                <a:gd name="T16" fmla="*/ 64 w 89"/>
                <a:gd name="T17" fmla="*/ 46 h 81"/>
                <a:gd name="T18" fmla="*/ 56 w 89"/>
                <a:gd name="T19" fmla="*/ 41 h 81"/>
                <a:gd name="T20" fmla="*/ 55 w 89"/>
                <a:gd name="T21" fmla="*/ 27 h 81"/>
                <a:gd name="T22" fmla="*/ 73 w 89"/>
                <a:gd name="T23" fmla="*/ 25 h 81"/>
                <a:gd name="T24" fmla="*/ 77 w 89"/>
                <a:gd name="T25" fmla="*/ 16 h 81"/>
                <a:gd name="T26" fmla="*/ 68 w 89"/>
                <a:gd name="T27" fmla="*/ 8 h 81"/>
                <a:gd name="T28" fmla="*/ 59 w 89"/>
                <a:gd name="T29" fmla="*/ 13 h 81"/>
                <a:gd name="T30" fmla="*/ 55 w 89"/>
                <a:gd name="T31" fmla="*/ 0 h 81"/>
                <a:gd name="T32" fmla="*/ 35 w 89"/>
                <a:gd name="T33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81">
                  <a:moveTo>
                    <a:pt x="35" y="0"/>
                  </a:move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13" y="17"/>
                    <a:pt x="11" y="29"/>
                  </a:cubicBezTo>
                  <a:cubicBezTo>
                    <a:pt x="10" y="38"/>
                    <a:pt x="3" y="45"/>
                    <a:pt x="0" y="49"/>
                  </a:cubicBezTo>
                  <a:cubicBezTo>
                    <a:pt x="21" y="50"/>
                    <a:pt x="38" y="52"/>
                    <a:pt x="40" y="55"/>
                  </a:cubicBezTo>
                  <a:cubicBezTo>
                    <a:pt x="46" y="62"/>
                    <a:pt x="36" y="80"/>
                    <a:pt x="50" y="81"/>
                  </a:cubicBezTo>
                  <a:cubicBezTo>
                    <a:pt x="58" y="81"/>
                    <a:pt x="76" y="81"/>
                    <a:pt x="89" y="80"/>
                  </a:cubicBezTo>
                  <a:cubicBezTo>
                    <a:pt x="79" y="72"/>
                    <a:pt x="63" y="58"/>
                    <a:pt x="64" y="47"/>
                  </a:cubicBezTo>
                  <a:cubicBezTo>
                    <a:pt x="64" y="47"/>
                    <a:pt x="64" y="47"/>
                    <a:pt x="64" y="46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69" y="25"/>
                    <a:pt x="73" y="25"/>
                  </a:cubicBezTo>
                  <a:cubicBezTo>
                    <a:pt x="77" y="25"/>
                    <a:pt x="77" y="16"/>
                    <a:pt x="77" y="16"/>
                  </a:cubicBezTo>
                  <a:cubicBezTo>
                    <a:pt x="77" y="16"/>
                    <a:pt x="77" y="8"/>
                    <a:pt x="68" y="8"/>
                  </a:cubicBezTo>
                  <a:cubicBezTo>
                    <a:pt x="59" y="8"/>
                    <a:pt x="59" y="13"/>
                    <a:pt x="59" y="13"/>
                  </a:cubicBezTo>
                  <a:cubicBezTo>
                    <a:pt x="55" y="0"/>
                    <a:pt x="55" y="0"/>
                    <a:pt x="55" y="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233">
              <a:extLst>
                <a:ext uri="{FF2B5EF4-FFF2-40B4-BE49-F238E27FC236}">
                  <a16:creationId xmlns:a16="http://schemas.microsoft.com/office/drawing/2014/main" id="{630AE75F-509C-DAF2-3050-F19F0BCFA13C}"/>
                </a:ext>
              </a:extLst>
            </p:cNvPr>
            <p:cNvSpPr>
              <a:spLocks/>
            </p:cNvSpPr>
            <p:nvPr/>
          </p:nvSpPr>
          <p:spPr bwMode="gray">
            <a:xfrm>
              <a:off x="-1815" y="-15037"/>
              <a:ext cx="2266" cy="1864"/>
            </a:xfrm>
            <a:custGeom>
              <a:avLst/>
              <a:gdLst>
                <a:gd name="T0" fmla="*/ 900 w 959"/>
                <a:gd name="T1" fmla="*/ 739 h 789"/>
                <a:gd name="T2" fmla="*/ 931 w 959"/>
                <a:gd name="T3" fmla="*/ 708 h 789"/>
                <a:gd name="T4" fmla="*/ 933 w 959"/>
                <a:gd name="T5" fmla="*/ 673 h 789"/>
                <a:gd name="T6" fmla="*/ 929 w 959"/>
                <a:gd name="T7" fmla="*/ 621 h 789"/>
                <a:gd name="T8" fmla="*/ 884 w 959"/>
                <a:gd name="T9" fmla="*/ 609 h 789"/>
                <a:gd name="T10" fmla="*/ 825 w 959"/>
                <a:gd name="T11" fmla="*/ 533 h 789"/>
                <a:gd name="T12" fmla="*/ 839 w 959"/>
                <a:gd name="T13" fmla="*/ 453 h 789"/>
                <a:gd name="T14" fmla="*/ 784 w 959"/>
                <a:gd name="T15" fmla="*/ 364 h 789"/>
                <a:gd name="T16" fmla="*/ 780 w 959"/>
                <a:gd name="T17" fmla="*/ 315 h 789"/>
                <a:gd name="T18" fmla="*/ 784 w 959"/>
                <a:gd name="T19" fmla="*/ 280 h 789"/>
                <a:gd name="T20" fmla="*/ 799 w 959"/>
                <a:gd name="T21" fmla="*/ 225 h 789"/>
                <a:gd name="T22" fmla="*/ 786 w 959"/>
                <a:gd name="T23" fmla="*/ 189 h 789"/>
                <a:gd name="T24" fmla="*/ 723 w 959"/>
                <a:gd name="T25" fmla="*/ 149 h 789"/>
                <a:gd name="T26" fmla="*/ 648 w 959"/>
                <a:gd name="T27" fmla="*/ 116 h 789"/>
                <a:gd name="T28" fmla="*/ 602 w 959"/>
                <a:gd name="T29" fmla="*/ 103 h 789"/>
                <a:gd name="T30" fmla="*/ 556 w 959"/>
                <a:gd name="T31" fmla="*/ 85 h 789"/>
                <a:gd name="T32" fmla="*/ 487 w 959"/>
                <a:gd name="T33" fmla="*/ 115 h 789"/>
                <a:gd name="T34" fmla="*/ 452 w 959"/>
                <a:gd name="T35" fmla="*/ 133 h 789"/>
                <a:gd name="T36" fmla="*/ 399 w 959"/>
                <a:gd name="T37" fmla="*/ 164 h 789"/>
                <a:gd name="T38" fmla="*/ 309 w 959"/>
                <a:gd name="T39" fmla="*/ 155 h 789"/>
                <a:gd name="T40" fmla="*/ 233 w 959"/>
                <a:gd name="T41" fmla="*/ 110 h 789"/>
                <a:gd name="T42" fmla="*/ 199 w 959"/>
                <a:gd name="T43" fmla="*/ 69 h 789"/>
                <a:gd name="T44" fmla="*/ 181 w 959"/>
                <a:gd name="T45" fmla="*/ 33 h 789"/>
                <a:gd name="T46" fmla="*/ 128 w 959"/>
                <a:gd name="T47" fmla="*/ 35 h 789"/>
                <a:gd name="T48" fmla="*/ 45 w 959"/>
                <a:gd name="T49" fmla="*/ 30 h 789"/>
                <a:gd name="T50" fmla="*/ 0 w 959"/>
                <a:gd name="T51" fmla="*/ 24 h 789"/>
                <a:gd name="T52" fmla="*/ 24 w 959"/>
                <a:gd name="T53" fmla="*/ 78 h 789"/>
                <a:gd name="T54" fmla="*/ 37 w 959"/>
                <a:gd name="T55" fmla="*/ 129 h 789"/>
                <a:gd name="T56" fmla="*/ 79 w 959"/>
                <a:gd name="T57" fmla="*/ 203 h 789"/>
                <a:gd name="T58" fmla="*/ 123 w 959"/>
                <a:gd name="T59" fmla="*/ 212 h 789"/>
                <a:gd name="T60" fmla="*/ 110 w 959"/>
                <a:gd name="T61" fmla="*/ 258 h 789"/>
                <a:gd name="T62" fmla="*/ 96 w 959"/>
                <a:gd name="T63" fmla="*/ 286 h 789"/>
                <a:gd name="T64" fmla="*/ 140 w 959"/>
                <a:gd name="T65" fmla="*/ 344 h 789"/>
                <a:gd name="T66" fmla="*/ 185 w 959"/>
                <a:gd name="T67" fmla="*/ 390 h 789"/>
                <a:gd name="T68" fmla="*/ 220 w 959"/>
                <a:gd name="T69" fmla="*/ 472 h 789"/>
                <a:gd name="T70" fmla="*/ 253 w 959"/>
                <a:gd name="T71" fmla="*/ 510 h 789"/>
                <a:gd name="T72" fmla="*/ 298 w 959"/>
                <a:gd name="T73" fmla="*/ 516 h 789"/>
                <a:gd name="T74" fmla="*/ 316 w 959"/>
                <a:gd name="T75" fmla="*/ 524 h 789"/>
                <a:gd name="T76" fmla="*/ 338 w 959"/>
                <a:gd name="T77" fmla="*/ 541 h 789"/>
                <a:gd name="T78" fmla="*/ 371 w 959"/>
                <a:gd name="T79" fmla="*/ 583 h 789"/>
                <a:gd name="T80" fmla="*/ 387 w 959"/>
                <a:gd name="T81" fmla="*/ 600 h 789"/>
                <a:gd name="T82" fmla="*/ 431 w 959"/>
                <a:gd name="T83" fmla="*/ 644 h 789"/>
                <a:gd name="T84" fmla="*/ 526 w 959"/>
                <a:gd name="T85" fmla="*/ 703 h 789"/>
                <a:gd name="T86" fmla="*/ 565 w 959"/>
                <a:gd name="T87" fmla="*/ 715 h 789"/>
                <a:gd name="T88" fmla="*/ 606 w 959"/>
                <a:gd name="T89" fmla="*/ 691 h 789"/>
                <a:gd name="T90" fmla="*/ 641 w 959"/>
                <a:gd name="T91" fmla="*/ 682 h 789"/>
                <a:gd name="T92" fmla="*/ 718 w 959"/>
                <a:gd name="T93" fmla="*/ 752 h 789"/>
                <a:gd name="T94" fmla="*/ 805 w 959"/>
                <a:gd name="T95" fmla="*/ 781 h 789"/>
                <a:gd name="T96" fmla="*/ 889 w 959"/>
                <a:gd name="T97" fmla="*/ 786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59" h="789">
                  <a:moveTo>
                    <a:pt x="890" y="786"/>
                  </a:moveTo>
                  <a:cubicBezTo>
                    <a:pt x="889" y="779"/>
                    <a:pt x="885" y="751"/>
                    <a:pt x="890" y="749"/>
                  </a:cubicBezTo>
                  <a:cubicBezTo>
                    <a:pt x="896" y="746"/>
                    <a:pt x="900" y="739"/>
                    <a:pt x="900" y="739"/>
                  </a:cubicBezTo>
                  <a:cubicBezTo>
                    <a:pt x="902" y="728"/>
                    <a:pt x="902" y="728"/>
                    <a:pt x="902" y="728"/>
                  </a:cubicBezTo>
                  <a:cubicBezTo>
                    <a:pt x="902" y="728"/>
                    <a:pt x="911" y="730"/>
                    <a:pt x="915" y="724"/>
                  </a:cubicBezTo>
                  <a:cubicBezTo>
                    <a:pt x="919" y="718"/>
                    <a:pt x="913" y="714"/>
                    <a:pt x="931" y="708"/>
                  </a:cubicBezTo>
                  <a:cubicBezTo>
                    <a:pt x="949" y="702"/>
                    <a:pt x="951" y="715"/>
                    <a:pt x="955" y="710"/>
                  </a:cubicBezTo>
                  <a:cubicBezTo>
                    <a:pt x="959" y="705"/>
                    <a:pt x="958" y="689"/>
                    <a:pt x="950" y="678"/>
                  </a:cubicBezTo>
                  <a:cubicBezTo>
                    <a:pt x="942" y="667"/>
                    <a:pt x="936" y="680"/>
                    <a:pt x="933" y="673"/>
                  </a:cubicBezTo>
                  <a:cubicBezTo>
                    <a:pt x="930" y="666"/>
                    <a:pt x="931" y="643"/>
                    <a:pt x="931" y="643"/>
                  </a:cubicBezTo>
                  <a:cubicBezTo>
                    <a:pt x="928" y="641"/>
                    <a:pt x="928" y="641"/>
                    <a:pt x="928" y="641"/>
                  </a:cubicBezTo>
                  <a:cubicBezTo>
                    <a:pt x="929" y="621"/>
                    <a:pt x="929" y="621"/>
                    <a:pt x="929" y="621"/>
                  </a:cubicBezTo>
                  <a:cubicBezTo>
                    <a:pt x="916" y="622"/>
                    <a:pt x="916" y="622"/>
                    <a:pt x="916" y="622"/>
                  </a:cubicBezTo>
                  <a:cubicBezTo>
                    <a:pt x="907" y="611"/>
                    <a:pt x="907" y="611"/>
                    <a:pt x="907" y="611"/>
                  </a:cubicBezTo>
                  <a:cubicBezTo>
                    <a:pt x="907" y="611"/>
                    <a:pt x="892" y="619"/>
                    <a:pt x="884" y="609"/>
                  </a:cubicBezTo>
                  <a:cubicBezTo>
                    <a:pt x="876" y="599"/>
                    <a:pt x="862" y="579"/>
                    <a:pt x="856" y="568"/>
                  </a:cubicBezTo>
                  <a:cubicBezTo>
                    <a:pt x="850" y="557"/>
                    <a:pt x="830" y="538"/>
                    <a:pt x="830" y="538"/>
                  </a:cubicBezTo>
                  <a:cubicBezTo>
                    <a:pt x="830" y="538"/>
                    <a:pt x="825" y="537"/>
                    <a:pt x="825" y="533"/>
                  </a:cubicBezTo>
                  <a:cubicBezTo>
                    <a:pt x="825" y="529"/>
                    <a:pt x="841" y="515"/>
                    <a:pt x="848" y="505"/>
                  </a:cubicBezTo>
                  <a:cubicBezTo>
                    <a:pt x="855" y="495"/>
                    <a:pt x="866" y="482"/>
                    <a:pt x="860" y="465"/>
                  </a:cubicBezTo>
                  <a:cubicBezTo>
                    <a:pt x="854" y="448"/>
                    <a:pt x="839" y="453"/>
                    <a:pt x="839" y="453"/>
                  </a:cubicBezTo>
                  <a:cubicBezTo>
                    <a:pt x="839" y="453"/>
                    <a:pt x="809" y="453"/>
                    <a:pt x="809" y="445"/>
                  </a:cubicBezTo>
                  <a:cubicBezTo>
                    <a:pt x="809" y="437"/>
                    <a:pt x="809" y="423"/>
                    <a:pt x="809" y="412"/>
                  </a:cubicBezTo>
                  <a:cubicBezTo>
                    <a:pt x="809" y="401"/>
                    <a:pt x="782" y="377"/>
                    <a:pt x="784" y="364"/>
                  </a:cubicBezTo>
                  <a:cubicBezTo>
                    <a:pt x="786" y="351"/>
                    <a:pt x="801" y="343"/>
                    <a:pt x="800" y="337"/>
                  </a:cubicBezTo>
                  <a:cubicBezTo>
                    <a:pt x="799" y="331"/>
                    <a:pt x="778" y="334"/>
                    <a:pt x="778" y="334"/>
                  </a:cubicBezTo>
                  <a:cubicBezTo>
                    <a:pt x="780" y="315"/>
                    <a:pt x="780" y="315"/>
                    <a:pt x="780" y="315"/>
                  </a:cubicBezTo>
                  <a:cubicBezTo>
                    <a:pt x="780" y="315"/>
                    <a:pt x="769" y="306"/>
                    <a:pt x="772" y="301"/>
                  </a:cubicBezTo>
                  <a:cubicBezTo>
                    <a:pt x="775" y="296"/>
                    <a:pt x="789" y="291"/>
                    <a:pt x="789" y="291"/>
                  </a:cubicBezTo>
                  <a:cubicBezTo>
                    <a:pt x="784" y="280"/>
                    <a:pt x="784" y="280"/>
                    <a:pt x="784" y="280"/>
                  </a:cubicBezTo>
                  <a:cubicBezTo>
                    <a:pt x="798" y="276"/>
                    <a:pt x="798" y="276"/>
                    <a:pt x="798" y="276"/>
                  </a:cubicBezTo>
                  <a:cubicBezTo>
                    <a:pt x="798" y="276"/>
                    <a:pt x="791" y="246"/>
                    <a:pt x="792" y="239"/>
                  </a:cubicBezTo>
                  <a:cubicBezTo>
                    <a:pt x="793" y="232"/>
                    <a:pt x="799" y="225"/>
                    <a:pt x="799" y="225"/>
                  </a:cubicBezTo>
                  <a:cubicBezTo>
                    <a:pt x="792" y="207"/>
                    <a:pt x="792" y="207"/>
                    <a:pt x="792" y="207"/>
                  </a:cubicBezTo>
                  <a:cubicBezTo>
                    <a:pt x="793" y="192"/>
                    <a:pt x="793" y="192"/>
                    <a:pt x="793" y="192"/>
                  </a:cubicBezTo>
                  <a:cubicBezTo>
                    <a:pt x="786" y="189"/>
                    <a:pt x="786" y="189"/>
                    <a:pt x="786" y="189"/>
                  </a:cubicBezTo>
                  <a:cubicBezTo>
                    <a:pt x="785" y="167"/>
                    <a:pt x="785" y="167"/>
                    <a:pt x="785" y="167"/>
                  </a:cubicBezTo>
                  <a:cubicBezTo>
                    <a:pt x="743" y="169"/>
                    <a:pt x="743" y="169"/>
                    <a:pt x="743" y="169"/>
                  </a:cubicBezTo>
                  <a:cubicBezTo>
                    <a:pt x="743" y="169"/>
                    <a:pt x="729" y="153"/>
                    <a:pt x="723" y="149"/>
                  </a:cubicBezTo>
                  <a:cubicBezTo>
                    <a:pt x="717" y="145"/>
                    <a:pt x="704" y="143"/>
                    <a:pt x="704" y="143"/>
                  </a:cubicBezTo>
                  <a:cubicBezTo>
                    <a:pt x="704" y="143"/>
                    <a:pt x="696" y="125"/>
                    <a:pt x="691" y="121"/>
                  </a:cubicBezTo>
                  <a:cubicBezTo>
                    <a:pt x="686" y="117"/>
                    <a:pt x="648" y="116"/>
                    <a:pt x="648" y="116"/>
                  </a:cubicBezTo>
                  <a:cubicBezTo>
                    <a:pt x="645" y="120"/>
                    <a:pt x="645" y="120"/>
                    <a:pt x="645" y="120"/>
                  </a:cubicBezTo>
                  <a:cubicBezTo>
                    <a:pt x="645" y="120"/>
                    <a:pt x="624" y="103"/>
                    <a:pt x="619" y="103"/>
                  </a:cubicBezTo>
                  <a:cubicBezTo>
                    <a:pt x="614" y="103"/>
                    <a:pt x="602" y="103"/>
                    <a:pt x="602" y="103"/>
                  </a:cubicBezTo>
                  <a:cubicBezTo>
                    <a:pt x="602" y="103"/>
                    <a:pt x="601" y="89"/>
                    <a:pt x="595" y="85"/>
                  </a:cubicBezTo>
                  <a:cubicBezTo>
                    <a:pt x="589" y="81"/>
                    <a:pt x="580" y="86"/>
                    <a:pt x="580" y="86"/>
                  </a:cubicBezTo>
                  <a:cubicBezTo>
                    <a:pt x="580" y="86"/>
                    <a:pt x="559" y="83"/>
                    <a:pt x="556" y="85"/>
                  </a:cubicBezTo>
                  <a:cubicBezTo>
                    <a:pt x="553" y="87"/>
                    <a:pt x="551" y="93"/>
                    <a:pt x="551" y="93"/>
                  </a:cubicBezTo>
                  <a:cubicBezTo>
                    <a:pt x="551" y="93"/>
                    <a:pt x="535" y="88"/>
                    <a:pt x="524" y="90"/>
                  </a:cubicBezTo>
                  <a:cubicBezTo>
                    <a:pt x="513" y="92"/>
                    <a:pt x="487" y="115"/>
                    <a:pt x="487" y="115"/>
                  </a:cubicBezTo>
                  <a:cubicBezTo>
                    <a:pt x="487" y="123"/>
                    <a:pt x="487" y="123"/>
                    <a:pt x="487" y="123"/>
                  </a:cubicBezTo>
                  <a:cubicBezTo>
                    <a:pt x="487" y="123"/>
                    <a:pt x="476" y="132"/>
                    <a:pt x="472" y="133"/>
                  </a:cubicBezTo>
                  <a:cubicBezTo>
                    <a:pt x="468" y="134"/>
                    <a:pt x="452" y="133"/>
                    <a:pt x="452" y="133"/>
                  </a:cubicBezTo>
                  <a:cubicBezTo>
                    <a:pt x="452" y="133"/>
                    <a:pt x="472" y="159"/>
                    <a:pt x="460" y="161"/>
                  </a:cubicBezTo>
                  <a:cubicBezTo>
                    <a:pt x="448" y="163"/>
                    <a:pt x="437" y="156"/>
                    <a:pt x="437" y="156"/>
                  </a:cubicBezTo>
                  <a:cubicBezTo>
                    <a:pt x="437" y="156"/>
                    <a:pt x="412" y="161"/>
                    <a:pt x="399" y="164"/>
                  </a:cubicBezTo>
                  <a:cubicBezTo>
                    <a:pt x="386" y="167"/>
                    <a:pt x="379" y="176"/>
                    <a:pt x="371" y="175"/>
                  </a:cubicBezTo>
                  <a:cubicBezTo>
                    <a:pt x="363" y="174"/>
                    <a:pt x="355" y="165"/>
                    <a:pt x="345" y="165"/>
                  </a:cubicBezTo>
                  <a:cubicBezTo>
                    <a:pt x="335" y="165"/>
                    <a:pt x="323" y="165"/>
                    <a:pt x="309" y="155"/>
                  </a:cubicBezTo>
                  <a:cubicBezTo>
                    <a:pt x="295" y="145"/>
                    <a:pt x="287" y="128"/>
                    <a:pt x="287" y="128"/>
                  </a:cubicBezTo>
                  <a:cubicBezTo>
                    <a:pt x="287" y="128"/>
                    <a:pt x="258" y="125"/>
                    <a:pt x="255" y="125"/>
                  </a:cubicBezTo>
                  <a:cubicBezTo>
                    <a:pt x="252" y="125"/>
                    <a:pt x="240" y="118"/>
                    <a:pt x="233" y="110"/>
                  </a:cubicBezTo>
                  <a:cubicBezTo>
                    <a:pt x="226" y="102"/>
                    <a:pt x="218" y="80"/>
                    <a:pt x="218" y="80"/>
                  </a:cubicBezTo>
                  <a:cubicBezTo>
                    <a:pt x="208" y="78"/>
                    <a:pt x="208" y="78"/>
                    <a:pt x="208" y="78"/>
                  </a:cubicBezTo>
                  <a:cubicBezTo>
                    <a:pt x="208" y="78"/>
                    <a:pt x="205" y="72"/>
                    <a:pt x="199" y="69"/>
                  </a:cubicBezTo>
                  <a:cubicBezTo>
                    <a:pt x="193" y="66"/>
                    <a:pt x="180" y="58"/>
                    <a:pt x="180" y="53"/>
                  </a:cubicBezTo>
                  <a:cubicBezTo>
                    <a:pt x="180" y="48"/>
                    <a:pt x="190" y="52"/>
                    <a:pt x="190" y="46"/>
                  </a:cubicBezTo>
                  <a:cubicBezTo>
                    <a:pt x="190" y="40"/>
                    <a:pt x="181" y="38"/>
                    <a:pt x="181" y="33"/>
                  </a:cubicBezTo>
                  <a:cubicBezTo>
                    <a:pt x="181" y="28"/>
                    <a:pt x="190" y="28"/>
                    <a:pt x="188" y="22"/>
                  </a:cubicBezTo>
                  <a:cubicBezTo>
                    <a:pt x="186" y="16"/>
                    <a:pt x="179" y="4"/>
                    <a:pt x="173" y="4"/>
                  </a:cubicBezTo>
                  <a:cubicBezTo>
                    <a:pt x="167" y="4"/>
                    <a:pt x="131" y="31"/>
                    <a:pt x="128" y="35"/>
                  </a:cubicBezTo>
                  <a:cubicBezTo>
                    <a:pt x="125" y="39"/>
                    <a:pt x="117" y="50"/>
                    <a:pt x="114" y="51"/>
                  </a:cubicBezTo>
                  <a:cubicBezTo>
                    <a:pt x="111" y="52"/>
                    <a:pt x="102" y="52"/>
                    <a:pt x="87" y="52"/>
                  </a:cubicBezTo>
                  <a:cubicBezTo>
                    <a:pt x="72" y="52"/>
                    <a:pt x="55" y="38"/>
                    <a:pt x="45" y="30"/>
                  </a:cubicBezTo>
                  <a:cubicBezTo>
                    <a:pt x="35" y="22"/>
                    <a:pt x="38" y="4"/>
                    <a:pt x="29" y="2"/>
                  </a:cubicBezTo>
                  <a:cubicBezTo>
                    <a:pt x="20" y="0"/>
                    <a:pt x="16" y="22"/>
                    <a:pt x="16" y="2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9" y="76"/>
                    <a:pt x="24" y="78"/>
                  </a:cubicBezTo>
                  <a:cubicBezTo>
                    <a:pt x="29" y="80"/>
                    <a:pt x="16" y="99"/>
                    <a:pt x="16" y="99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53" y="134"/>
                    <a:pt x="53" y="134"/>
                    <a:pt x="53" y="134"/>
                  </a:cubicBezTo>
                  <a:cubicBezTo>
                    <a:pt x="53" y="134"/>
                    <a:pt x="58" y="171"/>
                    <a:pt x="70" y="182"/>
                  </a:cubicBezTo>
                  <a:cubicBezTo>
                    <a:pt x="82" y="193"/>
                    <a:pt x="79" y="203"/>
                    <a:pt x="79" y="203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104" y="217"/>
                    <a:pt x="104" y="217"/>
                    <a:pt x="104" y="217"/>
                  </a:cubicBezTo>
                  <a:cubicBezTo>
                    <a:pt x="104" y="217"/>
                    <a:pt x="118" y="208"/>
                    <a:pt x="123" y="212"/>
                  </a:cubicBezTo>
                  <a:cubicBezTo>
                    <a:pt x="128" y="216"/>
                    <a:pt x="112" y="225"/>
                    <a:pt x="112" y="229"/>
                  </a:cubicBezTo>
                  <a:cubicBezTo>
                    <a:pt x="112" y="233"/>
                    <a:pt x="126" y="242"/>
                    <a:pt x="123" y="250"/>
                  </a:cubicBezTo>
                  <a:cubicBezTo>
                    <a:pt x="120" y="258"/>
                    <a:pt x="110" y="258"/>
                    <a:pt x="110" y="258"/>
                  </a:cubicBezTo>
                  <a:cubicBezTo>
                    <a:pt x="109" y="267"/>
                    <a:pt x="109" y="267"/>
                    <a:pt x="109" y="267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10" y="280"/>
                    <a:pt x="97" y="279"/>
                    <a:pt x="96" y="286"/>
                  </a:cubicBezTo>
                  <a:cubicBezTo>
                    <a:pt x="95" y="293"/>
                    <a:pt x="104" y="300"/>
                    <a:pt x="104" y="300"/>
                  </a:cubicBezTo>
                  <a:cubicBezTo>
                    <a:pt x="104" y="300"/>
                    <a:pt x="94" y="305"/>
                    <a:pt x="96" y="314"/>
                  </a:cubicBezTo>
                  <a:cubicBezTo>
                    <a:pt x="98" y="323"/>
                    <a:pt x="140" y="344"/>
                    <a:pt x="140" y="344"/>
                  </a:cubicBezTo>
                  <a:cubicBezTo>
                    <a:pt x="140" y="371"/>
                    <a:pt x="140" y="371"/>
                    <a:pt x="140" y="371"/>
                  </a:cubicBezTo>
                  <a:cubicBezTo>
                    <a:pt x="153" y="372"/>
                    <a:pt x="153" y="372"/>
                    <a:pt x="153" y="372"/>
                  </a:cubicBezTo>
                  <a:cubicBezTo>
                    <a:pt x="153" y="372"/>
                    <a:pt x="174" y="390"/>
                    <a:pt x="185" y="390"/>
                  </a:cubicBezTo>
                  <a:cubicBezTo>
                    <a:pt x="196" y="390"/>
                    <a:pt x="198" y="402"/>
                    <a:pt x="198" y="402"/>
                  </a:cubicBezTo>
                  <a:cubicBezTo>
                    <a:pt x="220" y="427"/>
                    <a:pt x="220" y="427"/>
                    <a:pt x="220" y="427"/>
                  </a:cubicBezTo>
                  <a:cubicBezTo>
                    <a:pt x="220" y="427"/>
                    <a:pt x="212" y="466"/>
                    <a:pt x="220" y="472"/>
                  </a:cubicBezTo>
                  <a:cubicBezTo>
                    <a:pt x="228" y="478"/>
                    <a:pt x="233" y="478"/>
                    <a:pt x="233" y="478"/>
                  </a:cubicBezTo>
                  <a:cubicBezTo>
                    <a:pt x="237" y="497"/>
                    <a:pt x="237" y="497"/>
                    <a:pt x="237" y="497"/>
                  </a:cubicBezTo>
                  <a:cubicBezTo>
                    <a:pt x="237" y="497"/>
                    <a:pt x="252" y="501"/>
                    <a:pt x="253" y="510"/>
                  </a:cubicBezTo>
                  <a:cubicBezTo>
                    <a:pt x="254" y="519"/>
                    <a:pt x="275" y="533"/>
                    <a:pt x="282" y="528"/>
                  </a:cubicBezTo>
                  <a:cubicBezTo>
                    <a:pt x="289" y="523"/>
                    <a:pt x="267" y="512"/>
                    <a:pt x="283" y="505"/>
                  </a:cubicBezTo>
                  <a:cubicBezTo>
                    <a:pt x="299" y="498"/>
                    <a:pt x="298" y="516"/>
                    <a:pt x="298" y="516"/>
                  </a:cubicBezTo>
                  <a:cubicBezTo>
                    <a:pt x="305" y="522"/>
                    <a:pt x="305" y="522"/>
                    <a:pt x="305" y="522"/>
                  </a:cubicBezTo>
                  <a:cubicBezTo>
                    <a:pt x="306" y="521"/>
                    <a:pt x="308" y="521"/>
                    <a:pt x="311" y="522"/>
                  </a:cubicBezTo>
                  <a:cubicBezTo>
                    <a:pt x="313" y="523"/>
                    <a:pt x="314" y="523"/>
                    <a:pt x="316" y="524"/>
                  </a:cubicBezTo>
                  <a:cubicBezTo>
                    <a:pt x="317" y="523"/>
                    <a:pt x="318" y="521"/>
                    <a:pt x="318" y="520"/>
                  </a:cubicBezTo>
                  <a:cubicBezTo>
                    <a:pt x="319" y="516"/>
                    <a:pt x="330" y="513"/>
                    <a:pt x="333" y="515"/>
                  </a:cubicBezTo>
                  <a:cubicBezTo>
                    <a:pt x="336" y="517"/>
                    <a:pt x="331" y="538"/>
                    <a:pt x="338" y="541"/>
                  </a:cubicBezTo>
                  <a:cubicBezTo>
                    <a:pt x="345" y="544"/>
                    <a:pt x="360" y="555"/>
                    <a:pt x="360" y="555"/>
                  </a:cubicBezTo>
                  <a:cubicBezTo>
                    <a:pt x="360" y="555"/>
                    <a:pt x="358" y="560"/>
                    <a:pt x="358" y="565"/>
                  </a:cubicBezTo>
                  <a:cubicBezTo>
                    <a:pt x="363" y="571"/>
                    <a:pt x="368" y="577"/>
                    <a:pt x="371" y="583"/>
                  </a:cubicBezTo>
                  <a:cubicBezTo>
                    <a:pt x="371" y="583"/>
                    <a:pt x="371" y="583"/>
                    <a:pt x="371" y="583"/>
                  </a:cubicBezTo>
                  <a:cubicBezTo>
                    <a:pt x="375" y="585"/>
                    <a:pt x="378" y="587"/>
                    <a:pt x="378" y="587"/>
                  </a:cubicBezTo>
                  <a:cubicBezTo>
                    <a:pt x="387" y="600"/>
                    <a:pt x="387" y="600"/>
                    <a:pt x="387" y="600"/>
                  </a:cubicBezTo>
                  <a:cubicBezTo>
                    <a:pt x="387" y="600"/>
                    <a:pt x="389" y="624"/>
                    <a:pt x="399" y="626"/>
                  </a:cubicBezTo>
                  <a:cubicBezTo>
                    <a:pt x="409" y="628"/>
                    <a:pt x="409" y="644"/>
                    <a:pt x="409" y="644"/>
                  </a:cubicBezTo>
                  <a:cubicBezTo>
                    <a:pt x="431" y="644"/>
                    <a:pt x="431" y="644"/>
                    <a:pt x="431" y="644"/>
                  </a:cubicBezTo>
                  <a:cubicBezTo>
                    <a:pt x="443" y="656"/>
                    <a:pt x="443" y="656"/>
                    <a:pt x="443" y="656"/>
                  </a:cubicBezTo>
                  <a:cubicBezTo>
                    <a:pt x="451" y="654"/>
                    <a:pt x="458" y="652"/>
                    <a:pt x="465" y="656"/>
                  </a:cubicBezTo>
                  <a:cubicBezTo>
                    <a:pt x="475" y="661"/>
                    <a:pt x="504" y="686"/>
                    <a:pt x="526" y="703"/>
                  </a:cubicBezTo>
                  <a:cubicBezTo>
                    <a:pt x="527" y="704"/>
                    <a:pt x="528" y="704"/>
                    <a:pt x="529" y="704"/>
                  </a:cubicBezTo>
                  <a:cubicBezTo>
                    <a:pt x="535" y="704"/>
                    <a:pt x="546" y="706"/>
                    <a:pt x="546" y="706"/>
                  </a:cubicBezTo>
                  <a:cubicBezTo>
                    <a:pt x="546" y="706"/>
                    <a:pt x="549" y="720"/>
                    <a:pt x="565" y="715"/>
                  </a:cubicBezTo>
                  <a:cubicBezTo>
                    <a:pt x="581" y="710"/>
                    <a:pt x="584" y="703"/>
                    <a:pt x="584" y="703"/>
                  </a:cubicBezTo>
                  <a:cubicBezTo>
                    <a:pt x="600" y="705"/>
                    <a:pt x="600" y="705"/>
                    <a:pt x="600" y="705"/>
                  </a:cubicBezTo>
                  <a:cubicBezTo>
                    <a:pt x="606" y="691"/>
                    <a:pt x="606" y="691"/>
                    <a:pt x="606" y="691"/>
                  </a:cubicBezTo>
                  <a:cubicBezTo>
                    <a:pt x="620" y="689"/>
                    <a:pt x="620" y="689"/>
                    <a:pt x="620" y="689"/>
                  </a:cubicBezTo>
                  <a:cubicBezTo>
                    <a:pt x="636" y="674"/>
                    <a:pt x="636" y="674"/>
                    <a:pt x="636" y="674"/>
                  </a:cubicBezTo>
                  <a:cubicBezTo>
                    <a:pt x="641" y="682"/>
                    <a:pt x="641" y="682"/>
                    <a:pt x="641" y="682"/>
                  </a:cubicBezTo>
                  <a:cubicBezTo>
                    <a:pt x="649" y="680"/>
                    <a:pt x="656" y="679"/>
                    <a:pt x="659" y="683"/>
                  </a:cubicBezTo>
                  <a:cubicBezTo>
                    <a:pt x="672" y="694"/>
                    <a:pt x="686" y="717"/>
                    <a:pt x="688" y="735"/>
                  </a:cubicBezTo>
                  <a:cubicBezTo>
                    <a:pt x="690" y="754"/>
                    <a:pt x="718" y="752"/>
                    <a:pt x="718" y="752"/>
                  </a:cubicBezTo>
                  <a:cubicBezTo>
                    <a:pt x="718" y="752"/>
                    <a:pt x="717" y="759"/>
                    <a:pt x="730" y="762"/>
                  </a:cubicBezTo>
                  <a:cubicBezTo>
                    <a:pt x="743" y="765"/>
                    <a:pt x="774" y="761"/>
                    <a:pt x="774" y="761"/>
                  </a:cubicBezTo>
                  <a:cubicBezTo>
                    <a:pt x="774" y="761"/>
                    <a:pt x="800" y="781"/>
                    <a:pt x="805" y="781"/>
                  </a:cubicBezTo>
                  <a:cubicBezTo>
                    <a:pt x="810" y="781"/>
                    <a:pt x="828" y="772"/>
                    <a:pt x="828" y="772"/>
                  </a:cubicBezTo>
                  <a:cubicBezTo>
                    <a:pt x="828" y="772"/>
                    <a:pt x="854" y="788"/>
                    <a:pt x="872" y="789"/>
                  </a:cubicBezTo>
                  <a:cubicBezTo>
                    <a:pt x="878" y="789"/>
                    <a:pt x="884" y="788"/>
                    <a:pt x="889" y="786"/>
                  </a:cubicBezTo>
                  <a:lnTo>
                    <a:pt x="890" y="78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234">
              <a:extLst>
                <a:ext uri="{FF2B5EF4-FFF2-40B4-BE49-F238E27FC236}">
                  <a16:creationId xmlns:a16="http://schemas.microsoft.com/office/drawing/2014/main" id="{ABA762E7-84F5-B344-4A9F-39EE97F650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9" y="-15189"/>
              <a:ext cx="879" cy="563"/>
            </a:xfrm>
            <a:custGeom>
              <a:avLst/>
              <a:gdLst>
                <a:gd name="T0" fmla="*/ 345 w 372"/>
                <a:gd name="T1" fmla="*/ 142 h 238"/>
                <a:gd name="T2" fmla="*/ 291 w 372"/>
                <a:gd name="T3" fmla="*/ 132 h 238"/>
                <a:gd name="T4" fmla="*/ 275 w 372"/>
                <a:gd name="T5" fmla="*/ 99 h 238"/>
                <a:gd name="T6" fmla="*/ 266 w 372"/>
                <a:gd name="T7" fmla="*/ 79 h 238"/>
                <a:gd name="T8" fmla="*/ 230 w 372"/>
                <a:gd name="T9" fmla="*/ 87 h 238"/>
                <a:gd name="T10" fmla="*/ 210 w 372"/>
                <a:gd name="T11" fmla="*/ 90 h 238"/>
                <a:gd name="T12" fmla="*/ 176 w 372"/>
                <a:gd name="T13" fmla="*/ 76 h 238"/>
                <a:gd name="T14" fmla="*/ 142 w 372"/>
                <a:gd name="T15" fmla="*/ 77 h 238"/>
                <a:gd name="T16" fmla="*/ 108 w 372"/>
                <a:gd name="T17" fmla="*/ 75 h 238"/>
                <a:gd name="T18" fmla="*/ 76 w 372"/>
                <a:gd name="T19" fmla="*/ 62 h 238"/>
                <a:gd name="T20" fmla="*/ 101 w 372"/>
                <a:gd name="T21" fmla="*/ 43 h 238"/>
                <a:gd name="T22" fmla="*/ 141 w 372"/>
                <a:gd name="T23" fmla="*/ 45 h 238"/>
                <a:gd name="T24" fmla="*/ 133 w 372"/>
                <a:gd name="T25" fmla="*/ 12 h 238"/>
                <a:gd name="T26" fmla="*/ 91 w 372"/>
                <a:gd name="T27" fmla="*/ 21 h 238"/>
                <a:gd name="T28" fmla="*/ 65 w 372"/>
                <a:gd name="T29" fmla="*/ 25 h 238"/>
                <a:gd name="T30" fmla="*/ 46 w 372"/>
                <a:gd name="T31" fmla="*/ 43 h 238"/>
                <a:gd name="T32" fmla="*/ 49 w 372"/>
                <a:gd name="T33" fmla="*/ 66 h 238"/>
                <a:gd name="T34" fmla="*/ 6 w 372"/>
                <a:gd name="T35" fmla="*/ 82 h 238"/>
                <a:gd name="T36" fmla="*/ 14 w 372"/>
                <a:gd name="T37" fmla="*/ 100 h 238"/>
                <a:gd name="T38" fmla="*/ 42 w 372"/>
                <a:gd name="T39" fmla="*/ 114 h 238"/>
                <a:gd name="T40" fmla="*/ 61 w 372"/>
                <a:gd name="T41" fmla="*/ 158 h 238"/>
                <a:gd name="T42" fmla="*/ 42 w 372"/>
                <a:gd name="T43" fmla="*/ 206 h 238"/>
                <a:gd name="T44" fmla="*/ 89 w 372"/>
                <a:gd name="T45" fmla="*/ 199 h 238"/>
                <a:gd name="T46" fmla="*/ 111 w 372"/>
                <a:gd name="T47" fmla="*/ 189 h 238"/>
                <a:gd name="T48" fmla="*/ 145 w 372"/>
                <a:gd name="T49" fmla="*/ 189 h 238"/>
                <a:gd name="T50" fmla="*/ 142 w 372"/>
                <a:gd name="T51" fmla="*/ 168 h 238"/>
                <a:gd name="T52" fmla="*/ 164 w 372"/>
                <a:gd name="T53" fmla="*/ 135 h 238"/>
                <a:gd name="T54" fmla="*/ 184 w 372"/>
                <a:gd name="T55" fmla="*/ 168 h 238"/>
                <a:gd name="T56" fmla="*/ 205 w 372"/>
                <a:gd name="T57" fmla="*/ 210 h 238"/>
                <a:gd name="T58" fmla="*/ 249 w 372"/>
                <a:gd name="T59" fmla="*/ 216 h 238"/>
                <a:gd name="T60" fmla="*/ 273 w 372"/>
                <a:gd name="T61" fmla="*/ 197 h 238"/>
                <a:gd name="T62" fmla="*/ 306 w 372"/>
                <a:gd name="T63" fmla="*/ 202 h 238"/>
                <a:gd name="T64" fmla="*/ 343 w 372"/>
                <a:gd name="T65" fmla="*/ 194 h 238"/>
                <a:gd name="T66" fmla="*/ 364 w 372"/>
                <a:gd name="T67" fmla="*/ 197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72" h="238">
                  <a:moveTo>
                    <a:pt x="353" y="181"/>
                  </a:moveTo>
                  <a:cubicBezTo>
                    <a:pt x="346" y="174"/>
                    <a:pt x="345" y="152"/>
                    <a:pt x="345" y="142"/>
                  </a:cubicBezTo>
                  <a:cubicBezTo>
                    <a:pt x="345" y="132"/>
                    <a:pt x="333" y="129"/>
                    <a:pt x="319" y="125"/>
                  </a:cubicBezTo>
                  <a:cubicBezTo>
                    <a:pt x="305" y="121"/>
                    <a:pt x="301" y="136"/>
                    <a:pt x="291" y="132"/>
                  </a:cubicBezTo>
                  <a:cubicBezTo>
                    <a:pt x="281" y="128"/>
                    <a:pt x="289" y="110"/>
                    <a:pt x="289" y="103"/>
                  </a:cubicBezTo>
                  <a:cubicBezTo>
                    <a:pt x="289" y="96"/>
                    <a:pt x="275" y="99"/>
                    <a:pt x="275" y="99"/>
                  </a:cubicBezTo>
                  <a:cubicBezTo>
                    <a:pt x="275" y="82"/>
                    <a:pt x="275" y="82"/>
                    <a:pt x="275" y="82"/>
                  </a:cubicBezTo>
                  <a:cubicBezTo>
                    <a:pt x="266" y="79"/>
                    <a:pt x="266" y="79"/>
                    <a:pt x="266" y="79"/>
                  </a:cubicBezTo>
                  <a:cubicBezTo>
                    <a:pt x="258" y="88"/>
                    <a:pt x="258" y="88"/>
                    <a:pt x="258" y="88"/>
                  </a:cubicBezTo>
                  <a:cubicBezTo>
                    <a:pt x="230" y="87"/>
                    <a:pt x="230" y="87"/>
                    <a:pt x="230" y="87"/>
                  </a:cubicBezTo>
                  <a:cubicBezTo>
                    <a:pt x="230" y="87"/>
                    <a:pt x="226" y="90"/>
                    <a:pt x="216" y="93"/>
                  </a:cubicBezTo>
                  <a:cubicBezTo>
                    <a:pt x="206" y="96"/>
                    <a:pt x="210" y="90"/>
                    <a:pt x="210" y="90"/>
                  </a:cubicBezTo>
                  <a:cubicBezTo>
                    <a:pt x="210" y="90"/>
                    <a:pt x="198" y="93"/>
                    <a:pt x="195" y="93"/>
                  </a:cubicBezTo>
                  <a:cubicBezTo>
                    <a:pt x="192" y="93"/>
                    <a:pt x="181" y="75"/>
                    <a:pt x="176" y="76"/>
                  </a:cubicBezTo>
                  <a:cubicBezTo>
                    <a:pt x="171" y="77"/>
                    <a:pt x="160" y="85"/>
                    <a:pt x="154" y="86"/>
                  </a:cubicBezTo>
                  <a:cubicBezTo>
                    <a:pt x="148" y="87"/>
                    <a:pt x="142" y="77"/>
                    <a:pt x="142" y="77"/>
                  </a:cubicBezTo>
                  <a:cubicBezTo>
                    <a:pt x="142" y="77"/>
                    <a:pt x="135" y="76"/>
                    <a:pt x="130" y="78"/>
                  </a:cubicBezTo>
                  <a:cubicBezTo>
                    <a:pt x="125" y="80"/>
                    <a:pt x="108" y="75"/>
                    <a:pt x="108" y="75"/>
                  </a:cubicBezTo>
                  <a:cubicBezTo>
                    <a:pt x="108" y="75"/>
                    <a:pt x="93" y="80"/>
                    <a:pt x="86" y="81"/>
                  </a:cubicBezTo>
                  <a:cubicBezTo>
                    <a:pt x="79" y="82"/>
                    <a:pt x="76" y="62"/>
                    <a:pt x="76" y="62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8" y="44"/>
                    <a:pt x="101" y="43"/>
                  </a:cubicBezTo>
                  <a:cubicBezTo>
                    <a:pt x="114" y="42"/>
                    <a:pt x="124" y="52"/>
                    <a:pt x="131" y="56"/>
                  </a:cubicBezTo>
                  <a:cubicBezTo>
                    <a:pt x="138" y="60"/>
                    <a:pt x="140" y="49"/>
                    <a:pt x="141" y="45"/>
                  </a:cubicBezTo>
                  <a:cubicBezTo>
                    <a:pt x="142" y="41"/>
                    <a:pt x="117" y="33"/>
                    <a:pt x="117" y="33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2"/>
                    <a:pt x="118" y="0"/>
                    <a:pt x="114" y="2"/>
                  </a:cubicBezTo>
                  <a:cubicBezTo>
                    <a:pt x="110" y="4"/>
                    <a:pt x="99" y="16"/>
                    <a:pt x="91" y="21"/>
                  </a:cubicBezTo>
                  <a:cubicBezTo>
                    <a:pt x="83" y="26"/>
                    <a:pt x="80" y="12"/>
                    <a:pt x="74" y="12"/>
                  </a:cubicBezTo>
                  <a:cubicBezTo>
                    <a:pt x="68" y="12"/>
                    <a:pt x="66" y="21"/>
                    <a:pt x="65" y="25"/>
                  </a:cubicBezTo>
                  <a:cubicBezTo>
                    <a:pt x="64" y="29"/>
                    <a:pt x="77" y="36"/>
                    <a:pt x="71" y="42"/>
                  </a:cubicBezTo>
                  <a:cubicBezTo>
                    <a:pt x="65" y="48"/>
                    <a:pt x="46" y="43"/>
                    <a:pt x="46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61" y="71"/>
                    <a:pt x="46" y="80"/>
                  </a:cubicBezTo>
                  <a:cubicBezTo>
                    <a:pt x="31" y="89"/>
                    <a:pt x="12" y="77"/>
                    <a:pt x="6" y="82"/>
                  </a:cubicBezTo>
                  <a:cubicBezTo>
                    <a:pt x="0" y="87"/>
                    <a:pt x="0" y="97"/>
                    <a:pt x="0" y="97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21" y="108"/>
                    <a:pt x="21" y="108"/>
                    <a:pt x="21" y="108"/>
                  </a:cubicBezTo>
                  <a:cubicBezTo>
                    <a:pt x="21" y="108"/>
                    <a:pt x="37" y="109"/>
                    <a:pt x="42" y="114"/>
                  </a:cubicBezTo>
                  <a:cubicBezTo>
                    <a:pt x="47" y="119"/>
                    <a:pt x="36" y="128"/>
                    <a:pt x="42" y="138"/>
                  </a:cubicBezTo>
                  <a:cubicBezTo>
                    <a:pt x="48" y="148"/>
                    <a:pt x="61" y="147"/>
                    <a:pt x="61" y="158"/>
                  </a:cubicBezTo>
                  <a:cubicBezTo>
                    <a:pt x="61" y="169"/>
                    <a:pt x="51" y="179"/>
                    <a:pt x="44" y="187"/>
                  </a:cubicBezTo>
                  <a:cubicBezTo>
                    <a:pt x="40" y="191"/>
                    <a:pt x="41" y="200"/>
                    <a:pt x="42" y="206"/>
                  </a:cubicBezTo>
                  <a:cubicBezTo>
                    <a:pt x="48" y="211"/>
                    <a:pt x="56" y="217"/>
                    <a:pt x="58" y="218"/>
                  </a:cubicBezTo>
                  <a:cubicBezTo>
                    <a:pt x="61" y="219"/>
                    <a:pt x="86" y="199"/>
                    <a:pt x="89" y="199"/>
                  </a:cubicBezTo>
                  <a:cubicBezTo>
                    <a:pt x="92" y="199"/>
                    <a:pt x="103" y="216"/>
                    <a:pt x="107" y="214"/>
                  </a:cubicBezTo>
                  <a:cubicBezTo>
                    <a:pt x="111" y="212"/>
                    <a:pt x="106" y="194"/>
                    <a:pt x="111" y="189"/>
                  </a:cubicBezTo>
                  <a:cubicBezTo>
                    <a:pt x="116" y="184"/>
                    <a:pt x="138" y="183"/>
                    <a:pt x="138" y="183"/>
                  </a:cubicBezTo>
                  <a:cubicBezTo>
                    <a:pt x="145" y="189"/>
                    <a:pt x="145" y="189"/>
                    <a:pt x="145" y="189"/>
                  </a:cubicBezTo>
                  <a:cubicBezTo>
                    <a:pt x="150" y="175"/>
                    <a:pt x="150" y="175"/>
                    <a:pt x="150" y="175"/>
                  </a:cubicBezTo>
                  <a:cubicBezTo>
                    <a:pt x="150" y="175"/>
                    <a:pt x="142" y="175"/>
                    <a:pt x="142" y="168"/>
                  </a:cubicBezTo>
                  <a:cubicBezTo>
                    <a:pt x="142" y="161"/>
                    <a:pt x="156" y="158"/>
                    <a:pt x="156" y="154"/>
                  </a:cubicBezTo>
                  <a:cubicBezTo>
                    <a:pt x="156" y="150"/>
                    <a:pt x="155" y="135"/>
                    <a:pt x="164" y="135"/>
                  </a:cubicBezTo>
                  <a:cubicBezTo>
                    <a:pt x="173" y="135"/>
                    <a:pt x="184" y="144"/>
                    <a:pt x="184" y="149"/>
                  </a:cubicBezTo>
                  <a:cubicBezTo>
                    <a:pt x="184" y="154"/>
                    <a:pt x="184" y="168"/>
                    <a:pt x="184" y="168"/>
                  </a:cubicBezTo>
                  <a:cubicBezTo>
                    <a:pt x="198" y="168"/>
                    <a:pt x="198" y="168"/>
                    <a:pt x="198" y="168"/>
                  </a:cubicBezTo>
                  <a:cubicBezTo>
                    <a:pt x="205" y="210"/>
                    <a:pt x="205" y="210"/>
                    <a:pt x="205" y="210"/>
                  </a:cubicBezTo>
                  <a:cubicBezTo>
                    <a:pt x="205" y="210"/>
                    <a:pt x="221" y="238"/>
                    <a:pt x="228" y="235"/>
                  </a:cubicBezTo>
                  <a:cubicBezTo>
                    <a:pt x="235" y="232"/>
                    <a:pt x="249" y="216"/>
                    <a:pt x="249" y="216"/>
                  </a:cubicBezTo>
                  <a:cubicBezTo>
                    <a:pt x="259" y="216"/>
                    <a:pt x="259" y="216"/>
                    <a:pt x="259" y="216"/>
                  </a:cubicBezTo>
                  <a:cubicBezTo>
                    <a:pt x="259" y="216"/>
                    <a:pt x="266" y="205"/>
                    <a:pt x="273" y="197"/>
                  </a:cubicBezTo>
                  <a:cubicBezTo>
                    <a:pt x="280" y="189"/>
                    <a:pt x="304" y="192"/>
                    <a:pt x="304" y="192"/>
                  </a:cubicBezTo>
                  <a:cubicBezTo>
                    <a:pt x="306" y="202"/>
                    <a:pt x="306" y="202"/>
                    <a:pt x="306" y="202"/>
                  </a:cubicBezTo>
                  <a:cubicBezTo>
                    <a:pt x="330" y="194"/>
                    <a:pt x="330" y="194"/>
                    <a:pt x="330" y="194"/>
                  </a:cubicBezTo>
                  <a:cubicBezTo>
                    <a:pt x="343" y="194"/>
                    <a:pt x="343" y="194"/>
                    <a:pt x="343" y="194"/>
                  </a:cubicBezTo>
                  <a:cubicBezTo>
                    <a:pt x="350" y="199"/>
                    <a:pt x="350" y="199"/>
                    <a:pt x="350" y="199"/>
                  </a:cubicBezTo>
                  <a:cubicBezTo>
                    <a:pt x="355" y="199"/>
                    <a:pt x="361" y="199"/>
                    <a:pt x="364" y="197"/>
                  </a:cubicBezTo>
                  <a:cubicBezTo>
                    <a:pt x="372" y="191"/>
                    <a:pt x="360" y="188"/>
                    <a:pt x="353" y="18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235">
              <a:extLst>
                <a:ext uri="{FF2B5EF4-FFF2-40B4-BE49-F238E27FC236}">
                  <a16:creationId xmlns:a16="http://schemas.microsoft.com/office/drawing/2014/main" id="{3DA3B4C0-0BB6-F165-BEC2-843AB7075CAD}"/>
                </a:ext>
              </a:extLst>
            </p:cNvPr>
            <p:cNvSpPr>
              <a:spLocks/>
            </p:cNvSpPr>
            <p:nvPr/>
          </p:nvSpPr>
          <p:spPr bwMode="gray">
            <a:xfrm>
              <a:off x="789" y="-15460"/>
              <a:ext cx="1060" cy="498"/>
            </a:xfrm>
            <a:custGeom>
              <a:avLst/>
              <a:gdLst>
                <a:gd name="T0" fmla="*/ 46 w 449"/>
                <a:gd name="T1" fmla="*/ 96 h 211"/>
                <a:gd name="T2" fmla="*/ 76 w 449"/>
                <a:gd name="T3" fmla="*/ 107 h 211"/>
                <a:gd name="T4" fmla="*/ 84 w 449"/>
                <a:gd name="T5" fmla="*/ 98 h 211"/>
                <a:gd name="T6" fmla="*/ 95 w 449"/>
                <a:gd name="T7" fmla="*/ 106 h 211"/>
                <a:gd name="T8" fmla="*/ 114 w 449"/>
                <a:gd name="T9" fmla="*/ 117 h 211"/>
                <a:gd name="T10" fmla="*/ 132 w 449"/>
                <a:gd name="T11" fmla="*/ 124 h 211"/>
                <a:gd name="T12" fmla="*/ 129 w 449"/>
                <a:gd name="T13" fmla="*/ 141 h 211"/>
                <a:gd name="T14" fmla="*/ 115 w 449"/>
                <a:gd name="T15" fmla="*/ 149 h 211"/>
                <a:gd name="T16" fmla="*/ 84 w 449"/>
                <a:gd name="T17" fmla="*/ 152 h 211"/>
                <a:gd name="T18" fmla="*/ 65 w 449"/>
                <a:gd name="T19" fmla="*/ 160 h 211"/>
                <a:gd name="T20" fmla="*/ 25 w 449"/>
                <a:gd name="T21" fmla="*/ 158 h 211"/>
                <a:gd name="T22" fmla="*/ 0 w 449"/>
                <a:gd name="T23" fmla="*/ 177 h 211"/>
                <a:gd name="T24" fmla="*/ 32 w 449"/>
                <a:gd name="T25" fmla="*/ 190 h 211"/>
                <a:gd name="T26" fmla="*/ 66 w 449"/>
                <a:gd name="T27" fmla="*/ 192 h 211"/>
                <a:gd name="T28" fmla="*/ 100 w 449"/>
                <a:gd name="T29" fmla="*/ 191 h 211"/>
                <a:gd name="T30" fmla="*/ 134 w 449"/>
                <a:gd name="T31" fmla="*/ 205 h 211"/>
                <a:gd name="T32" fmla="*/ 154 w 449"/>
                <a:gd name="T33" fmla="*/ 202 h 211"/>
                <a:gd name="T34" fmla="*/ 190 w 449"/>
                <a:gd name="T35" fmla="*/ 194 h 211"/>
                <a:gd name="T36" fmla="*/ 211 w 449"/>
                <a:gd name="T37" fmla="*/ 195 h 211"/>
                <a:gd name="T38" fmla="*/ 231 w 449"/>
                <a:gd name="T39" fmla="*/ 157 h 211"/>
                <a:gd name="T40" fmla="*/ 250 w 449"/>
                <a:gd name="T41" fmla="*/ 145 h 211"/>
                <a:gd name="T42" fmla="*/ 278 w 449"/>
                <a:gd name="T43" fmla="*/ 155 h 211"/>
                <a:gd name="T44" fmla="*/ 304 w 449"/>
                <a:gd name="T45" fmla="*/ 153 h 211"/>
                <a:gd name="T46" fmla="*/ 327 w 449"/>
                <a:gd name="T47" fmla="*/ 112 h 211"/>
                <a:gd name="T48" fmla="*/ 378 w 449"/>
                <a:gd name="T49" fmla="*/ 98 h 211"/>
                <a:gd name="T50" fmla="*/ 429 w 449"/>
                <a:gd name="T51" fmla="*/ 65 h 211"/>
                <a:gd name="T52" fmla="*/ 443 w 449"/>
                <a:gd name="T53" fmla="*/ 46 h 211"/>
                <a:gd name="T54" fmla="*/ 401 w 449"/>
                <a:gd name="T55" fmla="*/ 41 h 211"/>
                <a:gd name="T56" fmla="*/ 372 w 449"/>
                <a:gd name="T57" fmla="*/ 23 h 211"/>
                <a:gd name="T58" fmla="*/ 332 w 449"/>
                <a:gd name="T59" fmla="*/ 16 h 211"/>
                <a:gd name="T60" fmla="*/ 238 w 449"/>
                <a:gd name="T61" fmla="*/ 14 h 211"/>
                <a:gd name="T62" fmla="*/ 194 w 449"/>
                <a:gd name="T63" fmla="*/ 12 h 211"/>
                <a:gd name="T64" fmla="*/ 144 w 449"/>
                <a:gd name="T65" fmla="*/ 5 h 211"/>
                <a:gd name="T66" fmla="*/ 138 w 449"/>
                <a:gd name="T67" fmla="*/ 37 h 211"/>
                <a:gd name="T68" fmla="*/ 61 w 449"/>
                <a:gd name="T69" fmla="*/ 18 h 211"/>
                <a:gd name="T70" fmla="*/ 57 w 449"/>
                <a:gd name="T71" fmla="*/ 5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49" h="211">
                  <a:moveTo>
                    <a:pt x="23" y="88"/>
                  </a:moveTo>
                  <a:cubicBezTo>
                    <a:pt x="46" y="96"/>
                    <a:pt x="46" y="96"/>
                    <a:pt x="46" y="96"/>
                  </a:cubicBezTo>
                  <a:cubicBezTo>
                    <a:pt x="46" y="96"/>
                    <a:pt x="47" y="101"/>
                    <a:pt x="52" y="105"/>
                  </a:cubicBezTo>
                  <a:cubicBezTo>
                    <a:pt x="57" y="109"/>
                    <a:pt x="76" y="107"/>
                    <a:pt x="76" y="107"/>
                  </a:cubicBezTo>
                  <a:cubicBezTo>
                    <a:pt x="75" y="98"/>
                    <a:pt x="75" y="98"/>
                    <a:pt x="75" y="98"/>
                  </a:cubicBezTo>
                  <a:cubicBezTo>
                    <a:pt x="84" y="98"/>
                    <a:pt x="84" y="98"/>
                    <a:pt x="84" y="98"/>
                  </a:cubicBezTo>
                  <a:cubicBezTo>
                    <a:pt x="84" y="88"/>
                    <a:pt x="84" y="88"/>
                    <a:pt x="84" y="88"/>
                  </a:cubicBezTo>
                  <a:cubicBezTo>
                    <a:pt x="95" y="106"/>
                    <a:pt x="95" y="106"/>
                    <a:pt x="95" y="106"/>
                  </a:cubicBezTo>
                  <a:cubicBezTo>
                    <a:pt x="108" y="106"/>
                    <a:pt x="108" y="106"/>
                    <a:pt x="108" y="106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27" y="119"/>
                    <a:pt x="127" y="119"/>
                    <a:pt x="127" y="119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32" y="124"/>
                    <a:pt x="161" y="118"/>
                    <a:pt x="151" y="130"/>
                  </a:cubicBezTo>
                  <a:cubicBezTo>
                    <a:pt x="141" y="142"/>
                    <a:pt x="129" y="141"/>
                    <a:pt x="129" y="141"/>
                  </a:cubicBezTo>
                  <a:cubicBezTo>
                    <a:pt x="129" y="147"/>
                    <a:pt x="129" y="147"/>
                    <a:pt x="129" y="147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5" y="149"/>
                    <a:pt x="113" y="158"/>
                    <a:pt x="104" y="162"/>
                  </a:cubicBezTo>
                  <a:cubicBezTo>
                    <a:pt x="95" y="166"/>
                    <a:pt x="91" y="150"/>
                    <a:pt x="84" y="152"/>
                  </a:cubicBezTo>
                  <a:cubicBezTo>
                    <a:pt x="80" y="153"/>
                    <a:pt x="71" y="156"/>
                    <a:pt x="64" y="159"/>
                  </a:cubicBezTo>
                  <a:cubicBezTo>
                    <a:pt x="65" y="159"/>
                    <a:pt x="65" y="159"/>
                    <a:pt x="65" y="160"/>
                  </a:cubicBezTo>
                  <a:cubicBezTo>
                    <a:pt x="64" y="164"/>
                    <a:pt x="62" y="175"/>
                    <a:pt x="55" y="171"/>
                  </a:cubicBezTo>
                  <a:cubicBezTo>
                    <a:pt x="48" y="167"/>
                    <a:pt x="38" y="157"/>
                    <a:pt x="25" y="158"/>
                  </a:cubicBezTo>
                  <a:cubicBezTo>
                    <a:pt x="12" y="159"/>
                    <a:pt x="9" y="174"/>
                    <a:pt x="9" y="174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177"/>
                    <a:pt x="3" y="197"/>
                    <a:pt x="10" y="196"/>
                  </a:cubicBezTo>
                  <a:cubicBezTo>
                    <a:pt x="17" y="195"/>
                    <a:pt x="32" y="190"/>
                    <a:pt x="32" y="190"/>
                  </a:cubicBezTo>
                  <a:cubicBezTo>
                    <a:pt x="32" y="190"/>
                    <a:pt x="49" y="195"/>
                    <a:pt x="54" y="193"/>
                  </a:cubicBezTo>
                  <a:cubicBezTo>
                    <a:pt x="59" y="191"/>
                    <a:pt x="66" y="192"/>
                    <a:pt x="66" y="192"/>
                  </a:cubicBezTo>
                  <a:cubicBezTo>
                    <a:pt x="66" y="192"/>
                    <a:pt x="72" y="202"/>
                    <a:pt x="78" y="201"/>
                  </a:cubicBezTo>
                  <a:cubicBezTo>
                    <a:pt x="84" y="200"/>
                    <a:pt x="95" y="192"/>
                    <a:pt x="100" y="191"/>
                  </a:cubicBezTo>
                  <a:cubicBezTo>
                    <a:pt x="105" y="190"/>
                    <a:pt x="116" y="208"/>
                    <a:pt x="119" y="208"/>
                  </a:cubicBezTo>
                  <a:cubicBezTo>
                    <a:pt x="122" y="208"/>
                    <a:pt x="134" y="205"/>
                    <a:pt x="134" y="205"/>
                  </a:cubicBezTo>
                  <a:cubicBezTo>
                    <a:pt x="134" y="205"/>
                    <a:pt x="130" y="211"/>
                    <a:pt x="140" y="208"/>
                  </a:cubicBezTo>
                  <a:cubicBezTo>
                    <a:pt x="150" y="205"/>
                    <a:pt x="154" y="202"/>
                    <a:pt x="154" y="202"/>
                  </a:cubicBezTo>
                  <a:cubicBezTo>
                    <a:pt x="182" y="203"/>
                    <a:pt x="182" y="203"/>
                    <a:pt x="182" y="203"/>
                  </a:cubicBezTo>
                  <a:cubicBezTo>
                    <a:pt x="190" y="194"/>
                    <a:pt x="190" y="194"/>
                    <a:pt x="190" y="194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199" y="197"/>
                    <a:pt x="211" y="199"/>
                    <a:pt x="211" y="195"/>
                  </a:cubicBezTo>
                  <a:cubicBezTo>
                    <a:pt x="211" y="191"/>
                    <a:pt x="200" y="178"/>
                    <a:pt x="199" y="175"/>
                  </a:cubicBezTo>
                  <a:cubicBezTo>
                    <a:pt x="198" y="172"/>
                    <a:pt x="231" y="157"/>
                    <a:pt x="231" y="157"/>
                  </a:cubicBezTo>
                  <a:cubicBezTo>
                    <a:pt x="231" y="147"/>
                    <a:pt x="231" y="147"/>
                    <a:pt x="231" y="147"/>
                  </a:cubicBezTo>
                  <a:cubicBezTo>
                    <a:pt x="250" y="145"/>
                    <a:pt x="250" y="145"/>
                    <a:pt x="250" y="145"/>
                  </a:cubicBezTo>
                  <a:cubicBezTo>
                    <a:pt x="250" y="145"/>
                    <a:pt x="255" y="136"/>
                    <a:pt x="261" y="136"/>
                  </a:cubicBezTo>
                  <a:cubicBezTo>
                    <a:pt x="267" y="136"/>
                    <a:pt x="278" y="155"/>
                    <a:pt x="278" y="155"/>
                  </a:cubicBezTo>
                  <a:cubicBezTo>
                    <a:pt x="285" y="148"/>
                    <a:pt x="285" y="148"/>
                    <a:pt x="285" y="148"/>
                  </a:cubicBezTo>
                  <a:cubicBezTo>
                    <a:pt x="304" y="153"/>
                    <a:pt x="304" y="153"/>
                    <a:pt x="304" y="153"/>
                  </a:cubicBezTo>
                  <a:cubicBezTo>
                    <a:pt x="304" y="153"/>
                    <a:pt x="309" y="144"/>
                    <a:pt x="310" y="135"/>
                  </a:cubicBezTo>
                  <a:cubicBezTo>
                    <a:pt x="311" y="126"/>
                    <a:pt x="319" y="113"/>
                    <a:pt x="327" y="112"/>
                  </a:cubicBezTo>
                  <a:cubicBezTo>
                    <a:pt x="335" y="111"/>
                    <a:pt x="354" y="119"/>
                    <a:pt x="366" y="119"/>
                  </a:cubicBezTo>
                  <a:cubicBezTo>
                    <a:pt x="378" y="119"/>
                    <a:pt x="378" y="101"/>
                    <a:pt x="378" y="98"/>
                  </a:cubicBezTo>
                  <a:cubicBezTo>
                    <a:pt x="378" y="95"/>
                    <a:pt x="397" y="78"/>
                    <a:pt x="397" y="78"/>
                  </a:cubicBezTo>
                  <a:cubicBezTo>
                    <a:pt x="429" y="65"/>
                    <a:pt x="429" y="65"/>
                    <a:pt x="429" y="65"/>
                  </a:cubicBezTo>
                  <a:cubicBezTo>
                    <a:pt x="429" y="65"/>
                    <a:pt x="443" y="65"/>
                    <a:pt x="446" y="64"/>
                  </a:cubicBezTo>
                  <a:cubicBezTo>
                    <a:pt x="449" y="63"/>
                    <a:pt x="447" y="51"/>
                    <a:pt x="443" y="46"/>
                  </a:cubicBezTo>
                  <a:cubicBezTo>
                    <a:pt x="429" y="41"/>
                    <a:pt x="429" y="41"/>
                    <a:pt x="429" y="4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384" y="23"/>
                    <a:pt x="384" y="23"/>
                    <a:pt x="384" y="23"/>
                  </a:cubicBezTo>
                  <a:cubicBezTo>
                    <a:pt x="372" y="23"/>
                    <a:pt x="372" y="23"/>
                    <a:pt x="372" y="2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332" y="16"/>
                    <a:pt x="332" y="16"/>
                    <a:pt x="332" y="16"/>
                  </a:cubicBezTo>
                  <a:cubicBezTo>
                    <a:pt x="332" y="16"/>
                    <a:pt x="302" y="12"/>
                    <a:pt x="294" y="13"/>
                  </a:cubicBezTo>
                  <a:cubicBezTo>
                    <a:pt x="286" y="14"/>
                    <a:pt x="238" y="14"/>
                    <a:pt x="238" y="14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6" y="18"/>
                    <a:pt x="198" y="12"/>
                    <a:pt x="194" y="12"/>
                  </a:cubicBezTo>
                  <a:cubicBezTo>
                    <a:pt x="190" y="12"/>
                    <a:pt x="180" y="0"/>
                    <a:pt x="170" y="0"/>
                  </a:cubicBezTo>
                  <a:cubicBezTo>
                    <a:pt x="160" y="0"/>
                    <a:pt x="147" y="2"/>
                    <a:pt x="144" y="5"/>
                  </a:cubicBezTo>
                  <a:cubicBezTo>
                    <a:pt x="141" y="8"/>
                    <a:pt x="149" y="43"/>
                    <a:pt x="149" y="43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84" y="17"/>
                    <a:pt x="61" y="18"/>
                  </a:cubicBezTo>
                  <a:cubicBezTo>
                    <a:pt x="38" y="19"/>
                    <a:pt x="37" y="48"/>
                    <a:pt x="37" y="48"/>
                  </a:cubicBezTo>
                  <a:cubicBezTo>
                    <a:pt x="37" y="48"/>
                    <a:pt x="55" y="49"/>
                    <a:pt x="57" y="54"/>
                  </a:cubicBezTo>
                  <a:cubicBezTo>
                    <a:pt x="59" y="59"/>
                    <a:pt x="23" y="88"/>
                    <a:pt x="23" y="88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236">
              <a:extLst>
                <a:ext uri="{FF2B5EF4-FFF2-40B4-BE49-F238E27FC236}">
                  <a16:creationId xmlns:a16="http://schemas.microsoft.com/office/drawing/2014/main" id="{C6F77981-F61B-6E41-624D-82299A54F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-997" y="-15411"/>
              <a:ext cx="1592" cy="960"/>
            </a:xfrm>
            <a:custGeom>
              <a:avLst/>
              <a:gdLst>
                <a:gd name="T0" fmla="*/ 24 w 674"/>
                <a:gd name="T1" fmla="*/ 120 h 406"/>
                <a:gd name="T2" fmla="*/ 60 w 674"/>
                <a:gd name="T3" fmla="*/ 148 h 406"/>
                <a:gd name="T4" fmla="*/ 75 w 674"/>
                <a:gd name="T5" fmla="*/ 172 h 406"/>
                <a:gd name="T6" fmla="*/ 71 w 674"/>
                <a:gd name="T7" fmla="*/ 187 h 406"/>
                <a:gd name="T8" fmla="*/ 94 w 674"/>
                <a:gd name="T9" fmla="*/ 238 h 406"/>
                <a:gd name="T10" fmla="*/ 96 w 674"/>
                <a:gd name="T11" fmla="*/ 262 h 406"/>
                <a:gd name="T12" fmla="*/ 126 w 674"/>
                <a:gd name="T13" fmla="*/ 291 h 406"/>
                <a:gd name="T14" fmla="*/ 141 w 674"/>
                <a:gd name="T15" fmla="*/ 273 h 406"/>
                <a:gd name="T16" fmla="*/ 205 w 674"/>
                <a:gd name="T17" fmla="*/ 251 h 406"/>
                <a:gd name="T18" fmla="*/ 234 w 674"/>
                <a:gd name="T19" fmla="*/ 244 h 406"/>
                <a:gd name="T20" fmla="*/ 256 w 674"/>
                <a:gd name="T21" fmla="*/ 261 h 406"/>
                <a:gd name="T22" fmla="*/ 299 w 674"/>
                <a:gd name="T23" fmla="*/ 278 h 406"/>
                <a:gd name="T24" fmla="*/ 345 w 674"/>
                <a:gd name="T25" fmla="*/ 279 h 406"/>
                <a:gd name="T26" fmla="*/ 377 w 674"/>
                <a:gd name="T27" fmla="*/ 307 h 406"/>
                <a:gd name="T28" fmla="*/ 439 w 674"/>
                <a:gd name="T29" fmla="*/ 325 h 406"/>
                <a:gd name="T30" fmla="*/ 447 w 674"/>
                <a:gd name="T31" fmla="*/ 350 h 406"/>
                <a:gd name="T32" fmla="*/ 453 w 674"/>
                <a:gd name="T33" fmla="*/ 383 h 406"/>
                <a:gd name="T34" fmla="*/ 484 w 674"/>
                <a:gd name="T35" fmla="*/ 390 h 406"/>
                <a:gd name="T36" fmla="*/ 530 w 674"/>
                <a:gd name="T37" fmla="*/ 396 h 406"/>
                <a:gd name="T38" fmla="*/ 560 w 674"/>
                <a:gd name="T39" fmla="*/ 365 h 406"/>
                <a:gd name="T40" fmla="*/ 589 w 674"/>
                <a:gd name="T41" fmla="*/ 345 h 406"/>
                <a:gd name="T42" fmla="*/ 623 w 674"/>
                <a:gd name="T43" fmla="*/ 296 h 406"/>
                <a:gd name="T44" fmla="*/ 652 w 674"/>
                <a:gd name="T45" fmla="*/ 292 h 406"/>
                <a:gd name="T46" fmla="*/ 667 w 674"/>
                <a:gd name="T47" fmla="*/ 280 h 406"/>
                <a:gd name="T48" fmla="*/ 635 w 674"/>
                <a:gd name="T49" fmla="*/ 242 h 406"/>
                <a:gd name="T50" fmla="*/ 595 w 674"/>
                <a:gd name="T51" fmla="*/ 231 h 406"/>
                <a:gd name="T52" fmla="*/ 563 w 674"/>
                <a:gd name="T53" fmla="*/ 212 h 406"/>
                <a:gd name="T54" fmla="*/ 536 w 674"/>
                <a:gd name="T55" fmla="*/ 203 h 406"/>
                <a:gd name="T56" fmla="*/ 500 w 674"/>
                <a:gd name="T57" fmla="*/ 174 h 406"/>
                <a:gd name="T58" fmla="*/ 455 w 674"/>
                <a:gd name="T59" fmla="*/ 148 h 406"/>
                <a:gd name="T60" fmla="*/ 431 w 674"/>
                <a:gd name="T61" fmla="*/ 111 h 406"/>
                <a:gd name="T62" fmla="*/ 398 w 674"/>
                <a:gd name="T63" fmla="*/ 80 h 406"/>
                <a:gd name="T64" fmla="*/ 362 w 674"/>
                <a:gd name="T65" fmla="*/ 82 h 406"/>
                <a:gd name="T66" fmla="*/ 338 w 674"/>
                <a:gd name="T67" fmla="*/ 52 h 406"/>
                <a:gd name="T68" fmla="*/ 320 w 674"/>
                <a:gd name="T69" fmla="*/ 28 h 406"/>
                <a:gd name="T70" fmla="*/ 288 w 674"/>
                <a:gd name="T71" fmla="*/ 23 h 406"/>
                <a:gd name="T72" fmla="*/ 274 w 674"/>
                <a:gd name="T73" fmla="*/ 16 h 406"/>
                <a:gd name="T74" fmla="*/ 258 w 674"/>
                <a:gd name="T75" fmla="*/ 7 h 406"/>
                <a:gd name="T76" fmla="*/ 258 w 674"/>
                <a:gd name="T77" fmla="*/ 24 h 406"/>
                <a:gd name="T78" fmla="*/ 231 w 674"/>
                <a:gd name="T79" fmla="*/ 30 h 406"/>
                <a:gd name="T80" fmla="*/ 211 w 674"/>
                <a:gd name="T81" fmla="*/ 79 h 406"/>
                <a:gd name="T82" fmla="*/ 156 w 674"/>
                <a:gd name="T83" fmla="*/ 72 h 406"/>
                <a:gd name="T84" fmla="*/ 112 w 674"/>
                <a:gd name="T85" fmla="*/ 51 h 406"/>
                <a:gd name="T86" fmla="*/ 51 w 674"/>
                <a:gd name="T87" fmla="*/ 22 h 406"/>
                <a:gd name="T88" fmla="*/ 60 w 674"/>
                <a:gd name="T89" fmla="*/ 42 h 406"/>
                <a:gd name="T90" fmla="*/ 110 w 674"/>
                <a:gd name="T91" fmla="*/ 90 h 406"/>
                <a:gd name="T92" fmla="*/ 82 w 674"/>
                <a:gd name="T93" fmla="*/ 94 h 406"/>
                <a:gd name="T94" fmla="*/ 52 w 674"/>
                <a:gd name="T95" fmla="*/ 108 h 406"/>
                <a:gd name="T96" fmla="*/ 40 w 674"/>
                <a:gd name="T97" fmla="*/ 100 h 406"/>
                <a:gd name="T98" fmla="*/ 19 w 674"/>
                <a:gd name="T99" fmla="*/ 55 h 406"/>
                <a:gd name="T100" fmla="*/ 14 w 674"/>
                <a:gd name="T101" fmla="*/ 72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74" h="406">
                  <a:moveTo>
                    <a:pt x="34" y="100"/>
                  </a:moveTo>
                  <a:cubicBezTo>
                    <a:pt x="34" y="104"/>
                    <a:pt x="24" y="115"/>
                    <a:pt x="24" y="120"/>
                  </a:cubicBezTo>
                  <a:cubicBezTo>
                    <a:pt x="24" y="126"/>
                    <a:pt x="40" y="151"/>
                    <a:pt x="40" y="151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62" y="166"/>
                    <a:pt x="62" y="166"/>
                    <a:pt x="62" y="166"/>
                  </a:cubicBezTo>
                  <a:cubicBezTo>
                    <a:pt x="75" y="172"/>
                    <a:pt x="75" y="172"/>
                    <a:pt x="75" y="172"/>
                  </a:cubicBezTo>
                  <a:cubicBezTo>
                    <a:pt x="75" y="172"/>
                    <a:pt x="46" y="171"/>
                    <a:pt x="50" y="180"/>
                  </a:cubicBezTo>
                  <a:cubicBezTo>
                    <a:pt x="54" y="190"/>
                    <a:pt x="64" y="184"/>
                    <a:pt x="71" y="187"/>
                  </a:cubicBezTo>
                  <a:cubicBezTo>
                    <a:pt x="78" y="190"/>
                    <a:pt x="90" y="203"/>
                    <a:pt x="90" y="203"/>
                  </a:cubicBezTo>
                  <a:cubicBezTo>
                    <a:pt x="94" y="238"/>
                    <a:pt x="94" y="238"/>
                    <a:pt x="94" y="238"/>
                  </a:cubicBezTo>
                  <a:cubicBezTo>
                    <a:pt x="99" y="240"/>
                    <a:pt x="99" y="240"/>
                    <a:pt x="99" y="240"/>
                  </a:cubicBezTo>
                  <a:cubicBezTo>
                    <a:pt x="99" y="240"/>
                    <a:pt x="96" y="254"/>
                    <a:pt x="96" y="262"/>
                  </a:cubicBezTo>
                  <a:cubicBezTo>
                    <a:pt x="96" y="270"/>
                    <a:pt x="106" y="291"/>
                    <a:pt x="106" y="291"/>
                  </a:cubicBezTo>
                  <a:cubicBezTo>
                    <a:pt x="106" y="291"/>
                    <a:pt x="122" y="292"/>
                    <a:pt x="126" y="291"/>
                  </a:cubicBezTo>
                  <a:cubicBezTo>
                    <a:pt x="130" y="290"/>
                    <a:pt x="141" y="281"/>
                    <a:pt x="141" y="281"/>
                  </a:cubicBezTo>
                  <a:cubicBezTo>
                    <a:pt x="141" y="273"/>
                    <a:pt x="141" y="273"/>
                    <a:pt x="141" y="273"/>
                  </a:cubicBezTo>
                  <a:cubicBezTo>
                    <a:pt x="141" y="273"/>
                    <a:pt x="167" y="250"/>
                    <a:pt x="178" y="248"/>
                  </a:cubicBezTo>
                  <a:cubicBezTo>
                    <a:pt x="189" y="246"/>
                    <a:pt x="205" y="251"/>
                    <a:pt x="205" y="251"/>
                  </a:cubicBezTo>
                  <a:cubicBezTo>
                    <a:pt x="205" y="251"/>
                    <a:pt x="207" y="245"/>
                    <a:pt x="210" y="243"/>
                  </a:cubicBezTo>
                  <a:cubicBezTo>
                    <a:pt x="213" y="241"/>
                    <a:pt x="234" y="244"/>
                    <a:pt x="234" y="244"/>
                  </a:cubicBezTo>
                  <a:cubicBezTo>
                    <a:pt x="234" y="244"/>
                    <a:pt x="243" y="239"/>
                    <a:pt x="249" y="243"/>
                  </a:cubicBezTo>
                  <a:cubicBezTo>
                    <a:pt x="255" y="247"/>
                    <a:pt x="256" y="261"/>
                    <a:pt x="256" y="261"/>
                  </a:cubicBezTo>
                  <a:cubicBezTo>
                    <a:pt x="256" y="261"/>
                    <a:pt x="268" y="261"/>
                    <a:pt x="273" y="261"/>
                  </a:cubicBezTo>
                  <a:cubicBezTo>
                    <a:pt x="278" y="261"/>
                    <a:pt x="299" y="278"/>
                    <a:pt x="299" y="278"/>
                  </a:cubicBezTo>
                  <a:cubicBezTo>
                    <a:pt x="302" y="274"/>
                    <a:pt x="302" y="274"/>
                    <a:pt x="302" y="274"/>
                  </a:cubicBezTo>
                  <a:cubicBezTo>
                    <a:pt x="302" y="274"/>
                    <a:pt x="340" y="275"/>
                    <a:pt x="345" y="279"/>
                  </a:cubicBezTo>
                  <a:cubicBezTo>
                    <a:pt x="350" y="283"/>
                    <a:pt x="358" y="301"/>
                    <a:pt x="358" y="301"/>
                  </a:cubicBezTo>
                  <a:cubicBezTo>
                    <a:pt x="358" y="301"/>
                    <a:pt x="371" y="303"/>
                    <a:pt x="377" y="307"/>
                  </a:cubicBezTo>
                  <a:cubicBezTo>
                    <a:pt x="383" y="311"/>
                    <a:pt x="397" y="327"/>
                    <a:pt x="397" y="327"/>
                  </a:cubicBezTo>
                  <a:cubicBezTo>
                    <a:pt x="439" y="325"/>
                    <a:pt x="439" y="325"/>
                    <a:pt x="439" y="325"/>
                  </a:cubicBezTo>
                  <a:cubicBezTo>
                    <a:pt x="440" y="347"/>
                    <a:pt x="440" y="347"/>
                    <a:pt x="440" y="347"/>
                  </a:cubicBezTo>
                  <a:cubicBezTo>
                    <a:pt x="447" y="350"/>
                    <a:pt x="447" y="350"/>
                    <a:pt x="447" y="350"/>
                  </a:cubicBezTo>
                  <a:cubicBezTo>
                    <a:pt x="446" y="365"/>
                    <a:pt x="446" y="365"/>
                    <a:pt x="446" y="365"/>
                  </a:cubicBezTo>
                  <a:cubicBezTo>
                    <a:pt x="453" y="383"/>
                    <a:pt x="453" y="383"/>
                    <a:pt x="453" y="383"/>
                  </a:cubicBezTo>
                  <a:cubicBezTo>
                    <a:pt x="453" y="383"/>
                    <a:pt x="467" y="393"/>
                    <a:pt x="472" y="393"/>
                  </a:cubicBezTo>
                  <a:cubicBezTo>
                    <a:pt x="477" y="393"/>
                    <a:pt x="484" y="390"/>
                    <a:pt x="484" y="390"/>
                  </a:cubicBezTo>
                  <a:cubicBezTo>
                    <a:pt x="500" y="406"/>
                    <a:pt x="500" y="406"/>
                    <a:pt x="500" y="406"/>
                  </a:cubicBezTo>
                  <a:cubicBezTo>
                    <a:pt x="500" y="406"/>
                    <a:pt x="525" y="405"/>
                    <a:pt x="530" y="396"/>
                  </a:cubicBezTo>
                  <a:cubicBezTo>
                    <a:pt x="535" y="387"/>
                    <a:pt x="535" y="371"/>
                    <a:pt x="535" y="371"/>
                  </a:cubicBezTo>
                  <a:cubicBezTo>
                    <a:pt x="535" y="371"/>
                    <a:pt x="553" y="372"/>
                    <a:pt x="560" y="365"/>
                  </a:cubicBezTo>
                  <a:cubicBezTo>
                    <a:pt x="567" y="358"/>
                    <a:pt x="580" y="349"/>
                    <a:pt x="580" y="349"/>
                  </a:cubicBezTo>
                  <a:cubicBezTo>
                    <a:pt x="580" y="349"/>
                    <a:pt x="589" y="351"/>
                    <a:pt x="589" y="345"/>
                  </a:cubicBezTo>
                  <a:cubicBezTo>
                    <a:pt x="589" y="339"/>
                    <a:pt x="584" y="311"/>
                    <a:pt x="594" y="301"/>
                  </a:cubicBezTo>
                  <a:cubicBezTo>
                    <a:pt x="604" y="291"/>
                    <a:pt x="623" y="296"/>
                    <a:pt x="623" y="296"/>
                  </a:cubicBezTo>
                  <a:cubicBezTo>
                    <a:pt x="623" y="296"/>
                    <a:pt x="622" y="279"/>
                    <a:pt x="630" y="279"/>
                  </a:cubicBezTo>
                  <a:cubicBezTo>
                    <a:pt x="638" y="279"/>
                    <a:pt x="652" y="292"/>
                    <a:pt x="652" y="292"/>
                  </a:cubicBezTo>
                  <a:cubicBezTo>
                    <a:pt x="674" y="292"/>
                    <a:pt x="674" y="292"/>
                    <a:pt x="674" y="292"/>
                  </a:cubicBezTo>
                  <a:cubicBezTo>
                    <a:pt x="674" y="289"/>
                    <a:pt x="673" y="285"/>
                    <a:pt x="667" y="280"/>
                  </a:cubicBezTo>
                  <a:cubicBezTo>
                    <a:pt x="656" y="272"/>
                    <a:pt x="668" y="260"/>
                    <a:pt x="668" y="260"/>
                  </a:cubicBezTo>
                  <a:cubicBezTo>
                    <a:pt x="635" y="242"/>
                    <a:pt x="635" y="242"/>
                    <a:pt x="635" y="242"/>
                  </a:cubicBezTo>
                  <a:cubicBezTo>
                    <a:pt x="620" y="244"/>
                    <a:pt x="620" y="244"/>
                    <a:pt x="620" y="244"/>
                  </a:cubicBezTo>
                  <a:cubicBezTo>
                    <a:pt x="620" y="244"/>
                    <a:pt x="602" y="236"/>
                    <a:pt x="595" y="231"/>
                  </a:cubicBezTo>
                  <a:cubicBezTo>
                    <a:pt x="588" y="226"/>
                    <a:pt x="574" y="215"/>
                    <a:pt x="574" y="215"/>
                  </a:cubicBezTo>
                  <a:cubicBezTo>
                    <a:pt x="563" y="212"/>
                    <a:pt x="563" y="212"/>
                    <a:pt x="563" y="212"/>
                  </a:cubicBezTo>
                  <a:cubicBezTo>
                    <a:pt x="554" y="204"/>
                    <a:pt x="554" y="204"/>
                    <a:pt x="554" y="204"/>
                  </a:cubicBezTo>
                  <a:cubicBezTo>
                    <a:pt x="536" y="203"/>
                    <a:pt x="536" y="203"/>
                    <a:pt x="536" y="203"/>
                  </a:cubicBezTo>
                  <a:cubicBezTo>
                    <a:pt x="516" y="191"/>
                    <a:pt x="516" y="191"/>
                    <a:pt x="516" y="191"/>
                  </a:cubicBezTo>
                  <a:cubicBezTo>
                    <a:pt x="516" y="191"/>
                    <a:pt x="504" y="175"/>
                    <a:pt x="500" y="174"/>
                  </a:cubicBezTo>
                  <a:cubicBezTo>
                    <a:pt x="496" y="172"/>
                    <a:pt x="483" y="170"/>
                    <a:pt x="476" y="167"/>
                  </a:cubicBezTo>
                  <a:cubicBezTo>
                    <a:pt x="470" y="164"/>
                    <a:pt x="458" y="159"/>
                    <a:pt x="455" y="148"/>
                  </a:cubicBezTo>
                  <a:cubicBezTo>
                    <a:pt x="452" y="138"/>
                    <a:pt x="444" y="126"/>
                    <a:pt x="444" y="126"/>
                  </a:cubicBezTo>
                  <a:cubicBezTo>
                    <a:pt x="431" y="111"/>
                    <a:pt x="431" y="111"/>
                    <a:pt x="431" y="111"/>
                  </a:cubicBezTo>
                  <a:cubicBezTo>
                    <a:pt x="422" y="92"/>
                    <a:pt x="422" y="92"/>
                    <a:pt x="422" y="92"/>
                  </a:cubicBezTo>
                  <a:cubicBezTo>
                    <a:pt x="398" y="80"/>
                    <a:pt x="398" y="80"/>
                    <a:pt x="398" y="80"/>
                  </a:cubicBezTo>
                  <a:cubicBezTo>
                    <a:pt x="398" y="86"/>
                    <a:pt x="398" y="86"/>
                    <a:pt x="398" y="86"/>
                  </a:cubicBezTo>
                  <a:cubicBezTo>
                    <a:pt x="362" y="82"/>
                    <a:pt x="362" y="82"/>
                    <a:pt x="362" y="82"/>
                  </a:cubicBezTo>
                  <a:cubicBezTo>
                    <a:pt x="362" y="82"/>
                    <a:pt x="336" y="83"/>
                    <a:pt x="331" y="74"/>
                  </a:cubicBezTo>
                  <a:cubicBezTo>
                    <a:pt x="326" y="64"/>
                    <a:pt x="338" y="52"/>
                    <a:pt x="338" y="52"/>
                  </a:cubicBezTo>
                  <a:cubicBezTo>
                    <a:pt x="328" y="47"/>
                    <a:pt x="328" y="47"/>
                    <a:pt x="328" y="47"/>
                  </a:cubicBezTo>
                  <a:cubicBezTo>
                    <a:pt x="328" y="47"/>
                    <a:pt x="330" y="32"/>
                    <a:pt x="320" y="28"/>
                  </a:cubicBezTo>
                  <a:cubicBezTo>
                    <a:pt x="311" y="24"/>
                    <a:pt x="298" y="27"/>
                    <a:pt x="298" y="27"/>
                  </a:cubicBezTo>
                  <a:cubicBezTo>
                    <a:pt x="288" y="23"/>
                    <a:pt x="288" y="23"/>
                    <a:pt x="288" y="23"/>
                  </a:cubicBezTo>
                  <a:cubicBezTo>
                    <a:pt x="290" y="15"/>
                    <a:pt x="290" y="15"/>
                    <a:pt x="290" y="15"/>
                  </a:cubicBezTo>
                  <a:cubicBezTo>
                    <a:pt x="274" y="16"/>
                    <a:pt x="274" y="16"/>
                    <a:pt x="274" y="16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58" y="7"/>
                    <a:pt x="258" y="7"/>
                    <a:pt x="258" y="7"/>
                  </a:cubicBezTo>
                  <a:cubicBezTo>
                    <a:pt x="238" y="6"/>
                    <a:pt x="238" y="6"/>
                    <a:pt x="238" y="6"/>
                  </a:cubicBezTo>
                  <a:cubicBezTo>
                    <a:pt x="258" y="24"/>
                    <a:pt x="258" y="24"/>
                    <a:pt x="258" y="24"/>
                  </a:cubicBezTo>
                  <a:cubicBezTo>
                    <a:pt x="258" y="24"/>
                    <a:pt x="239" y="16"/>
                    <a:pt x="235" y="18"/>
                  </a:cubicBezTo>
                  <a:cubicBezTo>
                    <a:pt x="231" y="19"/>
                    <a:pt x="231" y="30"/>
                    <a:pt x="231" y="30"/>
                  </a:cubicBezTo>
                  <a:cubicBezTo>
                    <a:pt x="231" y="30"/>
                    <a:pt x="199" y="36"/>
                    <a:pt x="198" y="50"/>
                  </a:cubicBezTo>
                  <a:cubicBezTo>
                    <a:pt x="196" y="63"/>
                    <a:pt x="211" y="79"/>
                    <a:pt x="211" y="79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7" y="79"/>
                    <a:pt x="163" y="72"/>
                    <a:pt x="156" y="72"/>
                  </a:cubicBezTo>
                  <a:cubicBezTo>
                    <a:pt x="150" y="72"/>
                    <a:pt x="151" y="87"/>
                    <a:pt x="140" y="82"/>
                  </a:cubicBezTo>
                  <a:cubicBezTo>
                    <a:pt x="130" y="76"/>
                    <a:pt x="112" y="51"/>
                    <a:pt x="112" y="51"/>
                  </a:cubicBezTo>
                  <a:cubicBezTo>
                    <a:pt x="112" y="51"/>
                    <a:pt x="102" y="38"/>
                    <a:pt x="94" y="34"/>
                  </a:cubicBezTo>
                  <a:cubicBezTo>
                    <a:pt x="86" y="30"/>
                    <a:pt x="54" y="18"/>
                    <a:pt x="51" y="22"/>
                  </a:cubicBezTo>
                  <a:cubicBezTo>
                    <a:pt x="48" y="26"/>
                    <a:pt x="50" y="32"/>
                    <a:pt x="50" y="32"/>
                  </a:cubicBezTo>
                  <a:cubicBezTo>
                    <a:pt x="50" y="32"/>
                    <a:pt x="60" y="38"/>
                    <a:pt x="60" y="42"/>
                  </a:cubicBezTo>
                  <a:cubicBezTo>
                    <a:pt x="60" y="46"/>
                    <a:pt x="63" y="46"/>
                    <a:pt x="70" y="58"/>
                  </a:cubicBezTo>
                  <a:cubicBezTo>
                    <a:pt x="76" y="70"/>
                    <a:pt x="112" y="79"/>
                    <a:pt x="110" y="90"/>
                  </a:cubicBezTo>
                  <a:cubicBezTo>
                    <a:pt x="107" y="100"/>
                    <a:pt x="107" y="106"/>
                    <a:pt x="100" y="104"/>
                  </a:cubicBezTo>
                  <a:cubicBezTo>
                    <a:pt x="94" y="103"/>
                    <a:pt x="79" y="90"/>
                    <a:pt x="82" y="94"/>
                  </a:cubicBezTo>
                  <a:cubicBezTo>
                    <a:pt x="84" y="98"/>
                    <a:pt x="79" y="107"/>
                    <a:pt x="79" y="107"/>
                  </a:cubicBezTo>
                  <a:cubicBezTo>
                    <a:pt x="52" y="108"/>
                    <a:pt x="52" y="108"/>
                    <a:pt x="52" y="108"/>
                  </a:cubicBezTo>
                  <a:cubicBezTo>
                    <a:pt x="44" y="95"/>
                    <a:pt x="44" y="95"/>
                    <a:pt x="44" y="95"/>
                  </a:cubicBezTo>
                  <a:cubicBezTo>
                    <a:pt x="40" y="100"/>
                    <a:pt x="40" y="100"/>
                    <a:pt x="40" y="100"/>
                  </a:cubicBezTo>
                  <a:cubicBezTo>
                    <a:pt x="40" y="100"/>
                    <a:pt x="30" y="90"/>
                    <a:pt x="24" y="80"/>
                  </a:cubicBezTo>
                  <a:cubicBezTo>
                    <a:pt x="19" y="71"/>
                    <a:pt x="23" y="56"/>
                    <a:pt x="19" y="55"/>
                  </a:cubicBezTo>
                  <a:cubicBezTo>
                    <a:pt x="15" y="54"/>
                    <a:pt x="3" y="47"/>
                    <a:pt x="2" y="52"/>
                  </a:cubicBezTo>
                  <a:cubicBezTo>
                    <a:pt x="0" y="58"/>
                    <a:pt x="14" y="72"/>
                    <a:pt x="14" y="72"/>
                  </a:cubicBezTo>
                  <a:cubicBezTo>
                    <a:pt x="14" y="72"/>
                    <a:pt x="34" y="96"/>
                    <a:pt x="34" y="100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237">
              <a:extLst>
                <a:ext uri="{FF2B5EF4-FFF2-40B4-BE49-F238E27FC236}">
                  <a16:creationId xmlns:a16="http://schemas.microsoft.com/office/drawing/2014/main" id="{318CA125-90FA-E611-9E13-3D6676C030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" y="-14870"/>
              <a:ext cx="1434" cy="1163"/>
            </a:xfrm>
            <a:custGeom>
              <a:avLst/>
              <a:gdLst>
                <a:gd name="T0" fmla="*/ 607 w 607"/>
                <a:gd name="T1" fmla="*/ 64 h 492"/>
                <a:gd name="T2" fmla="*/ 587 w 607"/>
                <a:gd name="T3" fmla="*/ 59 h 492"/>
                <a:gd name="T4" fmla="*/ 561 w 607"/>
                <a:gd name="T5" fmla="*/ 57 h 492"/>
                <a:gd name="T6" fmla="*/ 516 w 607"/>
                <a:gd name="T7" fmla="*/ 81 h 492"/>
                <a:gd name="T8" fmla="*/ 485 w 607"/>
                <a:gd name="T9" fmla="*/ 100 h 492"/>
                <a:gd name="T10" fmla="*/ 455 w 607"/>
                <a:gd name="T11" fmla="*/ 33 h 492"/>
                <a:gd name="T12" fmla="*/ 441 w 607"/>
                <a:gd name="T13" fmla="*/ 14 h 492"/>
                <a:gd name="T14" fmla="*/ 413 w 607"/>
                <a:gd name="T15" fmla="*/ 19 h 492"/>
                <a:gd name="T16" fmla="*/ 407 w 607"/>
                <a:gd name="T17" fmla="*/ 40 h 492"/>
                <a:gd name="T18" fmla="*/ 395 w 607"/>
                <a:gd name="T19" fmla="*/ 48 h 492"/>
                <a:gd name="T20" fmla="*/ 364 w 607"/>
                <a:gd name="T21" fmla="*/ 79 h 492"/>
                <a:gd name="T22" fmla="*/ 315 w 607"/>
                <a:gd name="T23" fmla="*/ 83 h 492"/>
                <a:gd name="T24" fmla="*/ 287 w 607"/>
                <a:gd name="T25" fmla="*/ 66 h 492"/>
                <a:gd name="T26" fmla="*/ 267 w 607"/>
                <a:gd name="T27" fmla="*/ 57 h 492"/>
                <a:gd name="T28" fmla="*/ 229 w 607"/>
                <a:gd name="T29" fmla="*/ 63 h 492"/>
                <a:gd name="T30" fmla="*/ 200 w 607"/>
                <a:gd name="T31" fmla="*/ 67 h 492"/>
                <a:gd name="T32" fmla="*/ 166 w 607"/>
                <a:gd name="T33" fmla="*/ 116 h 492"/>
                <a:gd name="T34" fmla="*/ 137 w 607"/>
                <a:gd name="T35" fmla="*/ 136 h 492"/>
                <a:gd name="T36" fmla="*/ 107 w 607"/>
                <a:gd name="T37" fmla="*/ 167 h 492"/>
                <a:gd name="T38" fmla="*/ 61 w 607"/>
                <a:gd name="T39" fmla="*/ 161 h 492"/>
                <a:gd name="T40" fmla="*/ 30 w 607"/>
                <a:gd name="T41" fmla="*/ 154 h 492"/>
                <a:gd name="T42" fmla="*/ 29 w 607"/>
                <a:gd name="T43" fmla="*/ 205 h 492"/>
                <a:gd name="T44" fmla="*/ 20 w 607"/>
                <a:gd name="T45" fmla="*/ 220 h 492"/>
                <a:gd name="T46" fmla="*/ 11 w 607"/>
                <a:gd name="T47" fmla="*/ 244 h 492"/>
                <a:gd name="T48" fmla="*/ 31 w 607"/>
                <a:gd name="T49" fmla="*/ 266 h 492"/>
                <a:gd name="T50" fmla="*/ 40 w 607"/>
                <a:gd name="T51" fmla="*/ 341 h 492"/>
                <a:gd name="T52" fmla="*/ 70 w 607"/>
                <a:gd name="T53" fmla="*/ 382 h 492"/>
                <a:gd name="T54" fmla="*/ 79 w 607"/>
                <a:gd name="T55" fmla="*/ 434 h 492"/>
                <a:gd name="T56" fmla="*/ 61 w 607"/>
                <a:gd name="T57" fmla="*/ 467 h 492"/>
                <a:gd name="T58" fmla="*/ 142 w 607"/>
                <a:gd name="T59" fmla="*/ 490 h 492"/>
                <a:gd name="T60" fmla="*/ 196 w 607"/>
                <a:gd name="T61" fmla="*/ 484 h 492"/>
                <a:gd name="T62" fmla="*/ 218 w 607"/>
                <a:gd name="T63" fmla="*/ 482 h 492"/>
                <a:gd name="T64" fmla="*/ 307 w 607"/>
                <a:gd name="T65" fmla="*/ 459 h 492"/>
                <a:gd name="T66" fmla="*/ 298 w 607"/>
                <a:gd name="T67" fmla="*/ 403 h 492"/>
                <a:gd name="T68" fmla="*/ 327 w 607"/>
                <a:gd name="T69" fmla="*/ 390 h 492"/>
                <a:gd name="T70" fmla="*/ 348 w 607"/>
                <a:gd name="T71" fmla="*/ 376 h 492"/>
                <a:gd name="T72" fmla="*/ 381 w 607"/>
                <a:gd name="T73" fmla="*/ 361 h 492"/>
                <a:gd name="T74" fmla="*/ 409 w 607"/>
                <a:gd name="T75" fmla="*/ 371 h 492"/>
                <a:gd name="T76" fmla="*/ 417 w 607"/>
                <a:gd name="T77" fmla="*/ 325 h 492"/>
                <a:gd name="T78" fmla="*/ 425 w 607"/>
                <a:gd name="T79" fmla="*/ 291 h 492"/>
                <a:gd name="T80" fmla="*/ 462 w 607"/>
                <a:gd name="T81" fmla="*/ 275 h 492"/>
                <a:gd name="T82" fmla="*/ 447 w 607"/>
                <a:gd name="T83" fmla="*/ 258 h 492"/>
                <a:gd name="T84" fmla="*/ 434 w 607"/>
                <a:gd name="T85" fmla="*/ 238 h 492"/>
                <a:gd name="T86" fmla="*/ 456 w 607"/>
                <a:gd name="T87" fmla="*/ 246 h 492"/>
                <a:gd name="T88" fmla="*/ 467 w 607"/>
                <a:gd name="T89" fmla="*/ 242 h 492"/>
                <a:gd name="T90" fmla="*/ 479 w 607"/>
                <a:gd name="T91" fmla="*/ 222 h 492"/>
                <a:gd name="T92" fmla="*/ 494 w 607"/>
                <a:gd name="T93" fmla="*/ 188 h 492"/>
                <a:gd name="T94" fmla="*/ 479 w 607"/>
                <a:gd name="T95" fmla="*/ 144 h 492"/>
                <a:gd name="T96" fmla="*/ 486 w 607"/>
                <a:gd name="T97" fmla="*/ 109 h 492"/>
                <a:gd name="T98" fmla="*/ 540 w 607"/>
                <a:gd name="T99" fmla="*/ 88 h 492"/>
                <a:gd name="T100" fmla="*/ 584 w 607"/>
                <a:gd name="T101" fmla="*/ 88 h 492"/>
                <a:gd name="T102" fmla="*/ 602 w 607"/>
                <a:gd name="T103" fmla="*/ 78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07" h="492">
                  <a:moveTo>
                    <a:pt x="596" y="71"/>
                  </a:moveTo>
                  <a:cubicBezTo>
                    <a:pt x="594" y="65"/>
                    <a:pt x="600" y="65"/>
                    <a:pt x="607" y="64"/>
                  </a:cubicBezTo>
                  <a:cubicBezTo>
                    <a:pt x="600" y="59"/>
                    <a:pt x="600" y="59"/>
                    <a:pt x="600" y="59"/>
                  </a:cubicBezTo>
                  <a:cubicBezTo>
                    <a:pt x="587" y="59"/>
                    <a:pt x="587" y="59"/>
                    <a:pt x="587" y="59"/>
                  </a:cubicBezTo>
                  <a:cubicBezTo>
                    <a:pt x="563" y="67"/>
                    <a:pt x="563" y="67"/>
                    <a:pt x="563" y="67"/>
                  </a:cubicBezTo>
                  <a:cubicBezTo>
                    <a:pt x="561" y="57"/>
                    <a:pt x="561" y="57"/>
                    <a:pt x="561" y="57"/>
                  </a:cubicBezTo>
                  <a:cubicBezTo>
                    <a:pt x="561" y="57"/>
                    <a:pt x="537" y="54"/>
                    <a:pt x="530" y="62"/>
                  </a:cubicBezTo>
                  <a:cubicBezTo>
                    <a:pt x="523" y="70"/>
                    <a:pt x="516" y="81"/>
                    <a:pt x="516" y="81"/>
                  </a:cubicBezTo>
                  <a:cubicBezTo>
                    <a:pt x="506" y="81"/>
                    <a:pt x="506" y="81"/>
                    <a:pt x="506" y="81"/>
                  </a:cubicBezTo>
                  <a:cubicBezTo>
                    <a:pt x="506" y="81"/>
                    <a:pt x="492" y="97"/>
                    <a:pt x="485" y="100"/>
                  </a:cubicBezTo>
                  <a:cubicBezTo>
                    <a:pt x="478" y="103"/>
                    <a:pt x="462" y="75"/>
                    <a:pt x="462" y="75"/>
                  </a:cubicBezTo>
                  <a:cubicBezTo>
                    <a:pt x="455" y="33"/>
                    <a:pt x="455" y="33"/>
                    <a:pt x="455" y="33"/>
                  </a:cubicBezTo>
                  <a:cubicBezTo>
                    <a:pt x="441" y="33"/>
                    <a:pt x="441" y="33"/>
                    <a:pt x="441" y="33"/>
                  </a:cubicBezTo>
                  <a:cubicBezTo>
                    <a:pt x="441" y="33"/>
                    <a:pt x="441" y="19"/>
                    <a:pt x="441" y="14"/>
                  </a:cubicBezTo>
                  <a:cubicBezTo>
                    <a:pt x="441" y="9"/>
                    <a:pt x="430" y="0"/>
                    <a:pt x="421" y="0"/>
                  </a:cubicBezTo>
                  <a:cubicBezTo>
                    <a:pt x="412" y="0"/>
                    <a:pt x="413" y="15"/>
                    <a:pt x="413" y="19"/>
                  </a:cubicBezTo>
                  <a:cubicBezTo>
                    <a:pt x="413" y="23"/>
                    <a:pt x="399" y="26"/>
                    <a:pt x="399" y="33"/>
                  </a:cubicBezTo>
                  <a:cubicBezTo>
                    <a:pt x="399" y="40"/>
                    <a:pt x="407" y="40"/>
                    <a:pt x="407" y="40"/>
                  </a:cubicBezTo>
                  <a:cubicBezTo>
                    <a:pt x="402" y="54"/>
                    <a:pt x="402" y="54"/>
                    <a:pt x="402" y="54"/>
                  </a:cubicBezTo>
                  <a:cubicBezTo>
                    <a:pt x="395" y="48"/>
                    <a:pt x="395" y="48"/>
                    <a:pt x="395" y="48"/>
                  </a:cubicBezTo>
                  <a:cubicBezTo>
                    <a:pt x="395" y="48"/>
                    <a:pt x="373" y="49"/>
                    <a:pt x="368" y="54"/>
                  </a:cubicBezTo>
                  <a:cubicBezTo>
                    <a:pt x="363" y="59"/>
                    <a:pt x="368" y="77"/>
                    <a:pt x="364" y="79"/>
                  </a:cubicBezTo>
                  <a:cubicBezTo>
                    <a:pt x="360" y="81"/>
                    <a:pt x="349" y="64"/>
                    <a:pt x="346" y="64"/>
                  </a:cubicBezTo>
                  <a:cubicBezTo>
                    <a:pt x="343" y="64"/>
                    <a:pt x="318" y="84"/>
                    <a:pt x="315" y="83"/>
                  </a:cubicBezTo>
                  <a:cubicBezTo>
                    <a:pt x="312" y="82"/>
                    <a:pt x="292" y="66"/>
                    <a:pt x="292" y="66"/>
                  </a:cubicBezTo>
                  <a:cubicBezTo>
                    <a:pt x="287" y="66"/>
                    <a:pt x="287" y="66"/>
                    <a:pt x="287" y="66"/>
                  </a:cubicBezTo>
                  <a:cubicBezTo>
                    <a:pt x="276" y="71"/>
                    <a:pt x="276" y="71"/>
                    <a:pt x="276" y="71"/>
                  </a:cubicBezTo>
                  <a:cubicBezTo>
                    <a:pt x="267" y="57"/>
                    <a:pt x="267" y="57"/>
                    <a:pt x="267" y="57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29" y="63"/>
                    <a:pt x="229" y="63"/>
                    <a:pt x="229" y="63"/>
                  </a:cubicBezTo>
                  <a:cubicBezTo>
                    <a:pt x="229" y="63"/>
                    <a:pt x="215" y="50"/>
                    <a:pt x="207" y="50"/>
                  </a:cubicBezTo>
                  <a:cubicBezTo>
                    <a:pt x="199" y="50"/>
                    <a:pt x="200" y="67"/>
                    <a:pt x="200" y="67"/>
                  </a:cubicBezTo>
                  <a:cubicBezTo>
                    <a:pt x="200" y="67"/>
                    <a:pt x="181" y="62"/>
                    <a:pt x="171" y="72"/>
                  </a:cubicBezTo>
                  <a:cubicBezTo>
                    <a:pt x="161" y="82"/>
                    <a:pt x="166" y="110"/>
                    <a:pt x="166" y="116"/>
                  </a:cubicBezTo>
                  <a:cubicBezTo>
                    <a:pt x="166" y="122"/>
                    <a:pt x="157" y="120"/>
                    <a:pt x="157" y="120"/>
                  </a:cubicBezTo>
                  <a:cubicBezTo>
                    <a:pt x="157" y="120"/>
                    <a:pt x="144" y="129"/>
                    <a:pt x="137" y="136"/>
                  </a:cubicBezTo>
                  <a:cubicBezTo>
                    <a:pt x="130" y="143"/>
                    <a:pt x="112" y="142"/>
                    <a:pt x="112" y="142"/>
                  </a:cubicBezTo>
                  <a:cubicBezTo>
                    <a:pt x="112" y="142"/>
                    <a:pt x="112" y="158"/>
                    <a:pt x="107" y="167"/>
                  </a:cubicBezTo>
                  <a:cubicBezTo>
                    <a:pt x="102" y="176"/>
                    <a:pt x="77" y="177"/>
                    <a:pt x="77" y="177"/>
                  </a:cubicBezTo>
                  <a:cubicBezTo>
                    <a:pt x="61" y="161"/>
                    <a:pt x="61" y="161"/>
                    <a:pt x="61" y="161"/>
                  </a:cubicBezTo>
                  <a:cubicBezTo>
                    <a:pt x="61" y="161"/>
                    <a:pt x="54" y="164"/>
                    <a:pt x="49" y="164"/>
                  </a:cubicBezTo>
                  <a:cubicBezTo>
                    <a:pt x="44" y="164"/>
                    <a:pt x="30" y="154"/>
                    <a:pt x="30" y="154"/>
                  </a:cubicBezTo>
                  <a:cubicBezTo>
                    <a:pt x="30" y="154"/>
                    <a:pt x="24" y="161"/>
                    <a:pt x="23" y="168"/>
                  </a:cubicBezTo>
                  <a:cubicBezTo>
                    <a:pt x="22" y="175"/>
                    <a:pt x="29" y="205"/>
                    <a:pt x="29" y="205"/>
                  </a:cubicBezTo>
                  <a:cubicBezTo>
                    <a:pt x="15" y="209"/>
                    <a:pt x="15" y="209"/>
                    <a:pt x="15" y="209"/>
                  </a:cubicBezTo>
                  <a:cubicBezTo>
                    <a:pt x="20" y="220"/>
                    <a:pt x="20" y="220"/>
                    <a:pt x="20" y="220"/>
                  </a:cubicBezTo>
                  <a:cubicBezTo>
                    <a:pt x="20" y="220"/>
                    <a:pt x="6" y="225"/>
                    <a:pt x="3" y="230"/>
                  </a:cubicBezTo>
                  <a:cubicBezTo>
                    <a:pt x="0" y="235"/>
                    <a:pt x="11" y="244"/>
                    <a:pt x="11" y="244"/>
                  </a:cubicBezTo>
                  <a:cubicBezTo>
                    <a:pt x="9" y="263"/>
                    <a:pt x="9" y="263"/>
                    <a:pt x="9" y="263"/>
                  </a:cubicBezTo>
                  <a:cubicBezTo>
                    <a:pt x="9" y="263"/>
                    <a:pt x="30" y="260"/>
                    <a:pt x="31" y="266"/>
                  </a:cubicBezTo>
                  <a:cubicBezTo>
                    <a:pt x="32" y="272"/>
                    <a:pt x="17" y="280"/>
                    <a:pt x="15" y="293"/>
                  </a:cubicBezTo>
                  <a:cubicBezTo>
                    <a:pt x="13" y="306"/>
                    <a:pt x="40" y="330"/>
                    <a:pt x="40" y="341"/>
                  </a:cubicBezTo>
                  <a:cubicBezTo>
                    <a:pt x="40" y="352"/>
                    <a:pt x="40" y="366"/>
                    <a:pt x="40" y="374"/>
                  </a:cubicBezTo>
                  <a:cubicBezTo>
                    <a:pt x="40" y="382"/>
                    <a:pt x="70" y="382"/>
                    <a:pt x="70" y="382"/>
                  </a:cubicBezTo>
                  <a:cubicBezTo>
                    <a:pt x="70" y="382"/>
                    <a:pt x="85" y="377"/>
                    <a:pt x="91" y="394"/>
                  </a:cubicBezTo>
                  <a:cubicBezTo>
                    <a:pt x="97" y="411"/>
                    <a:pt x="86" y="424"/>
                    <a:pt x="79" y="434"/>
                  </a:cubicBezTo>
                  <a:cubicBezTo>
                    <a:pt x="72" y="444"/>
                    <a:pt x="56" y="458"/>
                    <a:pt x="56" y="462"/>
                  </a:cubicBezTo>
                  <a:cubicBezTo>
                    <a:pt x="56" y="466"/>
                    <a:pt x="61" y="467"/>
                    <a:pt x="61" y="467"/>
                  </a:cubicBezTo>
                  <a:cubicBezTo>
                    <a:pt x="61" y="467"/>
                    <a:pt x="73" y="464"/>
                    <a:pt x="82" y="469"/>
                  </a:cubicBezTo>
                  <a:cubicBezTo>
                    <a:pt x="91" y="474"/>
                    <a:pt x="121" y="492"/>
                    <a:pt x="142" y="490"/>
                  </a:cubicBezTo>
                  <a:cubicBezTo>
                    <a:pt x="163" y="488"/>
                    <a:pt x="161" y="483"/>
                    <a:pt x="161" y="483"/>
                  </a:cubicBezTo>
                  <a:cubicBezTo>
                    <a:pt x="196" y="484"/>
                    <a:pt x="196" y="484"/>
                    <a:pt x="196" y="484"/>
                  </a:cubicBezTo>
                  <a:cubicBezTo>
                    <a:pt x="196" y="484"/>
                    <a:pt x="193" y="488"/>
                    <a:pt x="205" y="488"/>
                  </a:cubicBezTo>
                  <a:cubicBezTo>
                    <a:pt x="217" y="488"/>
                    <a:pt x="218" y="482"/>
                    <a:pt x="218" y="482"/>
                  </a:cubicBezTo>
                  <a:cubicBezTo>
                    <a:pt x="218" y="482"/>
                    <a:pt x="260" y="480"/>
                    <a:pt x="263" y="479"/>
                  </a:cubicBezTo>
                  <a:cubicBezTo>
                    <a:pt x="266" y="478"/>
                    <a:pt x="305" y="465"/>
                    <a:pt x="307" y="459"/>
                  </a:cubicBezTo>
                  <a:cubicBezTo>
                    <a:pt x="309" y="453"/>
                    <a:pt x="303" y="433"/>
                    <a:pt x="303" y="433"/>
                  </a:cubicBezTo>
                  <a:cubicBezTo>
                    <a:pt x="303" y="433"/>
                    <a:pt x="296" y="409"/>
                    <a:pt x="298" y="403"/>
                  </a:cubicBezTo>
                  <a:cubicBezTo>
                    <a:pt x="300" y="397"/>
                    <a:pt x="315" y="384"/>
                    <a:pt x="323" y="384"/>
                  </a:cubicBezTo>
                  <a:cubicBezTo>
                    <a:pt x="331" y="384"/>
                    <a:pt x="327" y="390"/>
                    <a:pt x="327" y="390"/>
                  </a:cubicBezTo>
                  <a:cubicBezTo>
                    <a:pt x="327" y="390"/>
                    <a:pt x="357" y="395"/>
                    <a:pt x="359" y="389"/>
                  </a:cubicBezTo>
                  <a:cubicBezTo>
                    <a:pt x="361" y="383"/>
                    <a:pt x="344" y="381"/>
                    <a:pt x="348" y="376"/>
                  </a:cubicBezTo>
                  <a:cubicBezTo>
                    <a:pt x="352" y="371"/>
                    <a:pt x="366" y="367"/>
                    <a:pt x="366" y="367"/>
                  </a:cubicBezTo>
                  <a:cubicBezTo>
                    <a:pt x="366" y="367"/>
                    <a:pt x="373" y="361"/>
                    <a:pt x="381" y="361"/>
                  </a:cubicBezTo>
                  <a:cubicBezTo>
                    <a:pt x="389" y="361"/>
                    <a:pt x="399" y="359"/>
                    <a:pt x="399" y="359"/>
                  </a:cubicBezTo>
                  <a:cubicBezTo>
                    <a:pt x="399" y="359"/>
                    <a:pt x="396" y="378"/>
                    <a:pt x="409" y="371"/>
                  </a:cubicBezTo>
                  <a:cubicBezTo>
                    <a:pt x="422" y="364"/>
                    <a:pt x="425" y="355"/>
                    <a:pt x="425" y="355"/>
                  </a:cubicBezTo>
                  <a:cubicBezTo>
                    <a:pt x="425" y="355"/>
                    <a:pt x="416" y="337"/>
                    <a:pt x="417" y="325"/>
                  </a:cubicBezTo>
                  <a:cubicBezTo>
                    <a:pt x="418" y="313"/>
                    <a:pt x="424" y="316"/>
                    <a:pt x="424" y="316"/>
                  </a:cubicBezTo>
                  <a:cubicBezTo>
                    <a:pt x="424" y="316"/>
                    <a:pt x="421" y="294"/>
                    <a:pt x="425" y="291"/>
                  </a:cubicBezTo>
                  <a:cubicBezTo>
                    <a:pt x="429" y="288"/>
                    <a:pt x="442" y="289"/>
                    <a:pt x="442" y="289"/>
                  </a:cubicBezTo>
                  <a:cubicBezTo>
                    <a:pt x="462" y="275"/>
                    <a:pt x="462" y="275"/>
                    <a:pt x="462" y="275"/>
                  </a:cubicBezTo>
                  <a:cubicBezTo>
                    <a:pt x="462" y="275"/>
                    <a:pt x="451" y="276"/>
                    <a:pt x="449" y="269"/>
                  </a:cubicBezTo>
                  <a:cubicBezTo>
                    <a:pt x="447" y="262"/>
                    <a:pt x="447" y="258"/>
                    <a:pt x="447" y="258"/>
                  </a:cubicBezTo>
                  <a:cubicBezTo>
                    <a:pt x="447" y="258"/>
                    <a:pt x="432" y="254"/>
                    <a:pt x="431" y="249"/>
                  </a:cubicBezTo>
                  <a:cubicBezTo>
                    <a:pt x="430" y="244"/>
                    <a:pt x="430" y="239"/>
                    <a:pt x="434" y="238"/>
                  </a:cubicBezTo>
                  <a:cubicBezTo>
                    <a:pt x="438" y="237"/>
                    <a:pt x="445" y="245"/>
                    <a:pt x="445" y="245"/>
                  </a:cubicBezTo>
                  <a:cubicBezTo>
                    <a:pt x="456" y="246"/>
                    <a:pt x="456" y="246"/>
                    <a:pt x="456" y="246"/>
                  </a:cubicBezTo>
                  <a:cubicBezTo>
                    <a:pt x="463" y="249"/>
                    <a:pt x="463" y="249"/>
                    <a:pt x="463" y="249"/>
                  </a:cubicBezTo>
                  <a:cubicBezTo>
                    <a:pt x="467" y="242"/>
                    <a:pt x="467" y="242"/>
                    <a:pt x="467" y="242"/>
                  </a:cubicBezTo>
                  <a:cubicBezTo>
                    <a:pt x="467" y="242"/>
                    <a:pt x="478" y="245"/>
                    <a:pt x="479" y="238"/>
                  </a:cubicBezTo>
                  <a:cubicBezTo>
                    <a:pt x="480" y="231"/>
                    <a:pt x="479" y="222"/>
                    <a:pt x="479" y="222"/>
                  </a:cubicBezTo>
                  <a:cubicBezTo>
                    <a:pt x="479" y="222"/>
                    <a:pt x="472" y="221"/>
                    <a:pt x="473" y="212"/>
                  </a:cubicBezTo>
                  <a:cubicBezTo>
                    <a:pt x="474" y="203"/>
                    <a:pt x="491" y="195"/>
                    <a:pt x="494" y="188"/>
                  </a:cubicBezTo>
                  <a:cubicBezTo>
                    <a:pt x="497" y="181"/>
                    <a:pt x="487" y="173"/>
                    <a:pt x="487" y="173"/>
                  </a:cubicBezTo>
                  <a:cubicBezTo>
                    <a:pt x="487" y="173"/>
                    <a:pt x="490" y="156"/>
                    <a:pt x="479" y="144"/>
                  </a:cubicBezTo>
                  <a:cubicBezTo>
                    <a:pt x="468" y="132"/>
                    <a:pt x="463" y="136"/>
                    <a:pt x="469" y="124"/>
                  </a:cubicBezTo>
                  <a:cubicBezTo>
                    <a:pt x="475" y="112"/>
                    <a:pt x="486" y="109"/>
                    <a:pt x="486" y="109"/>
                  </a:cubicBezTo>
                  <a:cubicBezTo>
                    <a:pt x="486" y="109"/>
                    <a:pt x="509" y="93"/>
                    <a:pt x="516" y="90"/>
                  </a:cubicBezTo>
                  <a:cubicBezTo>
                    <a:pt x="523" y="87"/>
                    <a:pt x="540" y="88"/>
                    <a:pt x="540" y="88"/>
                  </a:cubicBezTo>
                  <a:cubicBezTo>
                    <a:pt x="540" y="88"/>
                    <a:pt x="563" y="83"/>
                    <a:pt x="566" y="83"/>
                  </a:cubicBezTo>
                  <a:cubicBezTo>
                    <a:pt x="569" y="83"/>
                    <a:pt x="579" y="89"/>
                    <a:pt x="584" y="88"/>
                  </a:cubicBezTo>
                  <a:cubicBezTo>
                    <a:pt x="587" y="87"/>
                    <a:pt x="596" y="82"/>
                    <a:pt x="602" y="78"/>
                  </a:cubicBezTo>
                  <a:cubicBezTo>
                    <a:pt x="602" y="78"/>
                    <a:pt x="602" y="78"/>
                    <a:pt x="602" y="78"/>
                  </a:cubicBezTo>
                  <a:cubicBezTo>
                    <a:pt x="599" y="76"/>
                    <a:pt x="597" y="74"/>
                    <a:pt x="596" y="7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238">
              <a:extLst>
                <a:ext uri="{FF2B5EF4-FFF2-40B4-BE49-F238E27FC236}">
                  <a16:creationId xmlns:a16="http://schemas.microsoft.com/office/drawing/2014/main" id="{9F723B8E-D781-B712-A031-FED4A6440337}"/>
                </a:ext>
              </a:extLst>
            </p:cNvPr>
            <p:cNvSpPr>
              <a:spLocks/>
            </p:cNvSpPr>
            <p:nvPr/>
          </p:nvSpPr>
          <p:spPr bwMode="gray">
            <a:xfrm>
              <a:off x="-2682" y="-14069"/>
              <a:ext cx="2358" cy="2010"/>
            </a:xfrm>
            <a:custGeom>
              <a:avLst/>
              <a:gdLst>
                <a:gd name="T0" fmla="*/ 976 w 998"/>
                <a:gd name="T1" fmla="*/ 516 h 851"/>
                <a:gd name="T2" fmla="*/ 804 w 998"/>
                <a:gd name="T3" fmla="*/ 446 h 851"/>
                <a:gd name="T4" fmla="*/ 794 w 998"/>
                <a:gd name="T5" fmla="*/ 413 h 851"/>
                <a:gd name="T6" fmla="*/ 780 w 998"/>
                <a:gd name="T7" fmla="*/ 407 h 851"/>
                <a:gd name="T8" fmla="*/ 764 w 998"/>
                <a:gd name="T9" fmla="*/ 400 h 851"/>
                <a:gd name="T10" fmla="*/ 719 w 998"/>
                <a:gd name="T11" fmla="*/ 332 h 851"/>
                <a:gd name="T12" fmla="*/ 669 w 998"/>
                <a:gd name="T13" fmla="*/ 265 h 851"/>
                <a:gd name="T14" fmla="*/ 646 w 998"/>
                <a:gd name="T15" fmla="*/ 218 h 851"/>
                <a:gd name="T16" fmla="*/ 637 w 998"/>
                <a:gd name="T17" fmla="*/ 195 h 851"/>
                <a:gd name="T18" fmla="*/ 588 w 998"/>
                <a:gd name="T19" fmla="*/ 170 h 851"/>
                <a:gd name="T20" fmla="*/ 332 w 998"/>
                <a:gd name="T21" fmla="*/ 63 h 851"/>
                <a:gd name="T22" fmla="*/ 250 w 998"/>
                <a:gd name="T23" fmla="*/ 9 h 851"/>
                <a:gd name="T24" fmla="*/ 200 w 998"/>
                <a:gd name="T25" fmla="*/ 0 h 851"/>
                <a:gd name="T26" fmla="*/ 147 w 998"/>
                <a:gd name="T27" fmla="*/ 18 h 851"/>
                <a:gd name="T28" fmla="*/ 111 w 998"/>
                <a:gd name="T29" fmla="*/ 32 h 851"/>
                <a:gd name="T30" fmla="*/ 111 w 998"/>
                <a:gd name="T31" fmla="*/ 46 h 851"/>
                <a:gd name="T32" fmla="*/ 123 w 998"/>
                <a:gd name="T33" fmla="*/ 118 h 851"/>
                <a:gd name="T34" fmla="*/ 70 w 998"/>
                <a:gd name="T35" fmla="*/ 163 h 851"/>
                <a:gd name="T36" fmla="*/ 12 w 998"/>
                <a:gd name="T37" fmla="*/ 161 h 851"/>
                <a:gd name="T38" fmla="*/ 12 w 998"/>
                <a:gd name="T39" fmla="*/ 249 h 851"/>
                <a:gd name="T40" fmla="*/ 85 w 998"/>
                <a:gd name="T41" fmla="*/ 334 h 851"/>
                <a:gd name="T42" fmla="*/ 145 w 998"/>
                <a:gd name="T43" fmla="*/ 433 h 851"/>
                <a:gd name="T44" fmla="*/ 232 w 998"/>
                <a:gd name="T45" fmla="*/ 560 h 851"/>
                <a:gd name="T46" fmla="*/ 300 w 998"/>
                <a:gd name="T47" fmla="*/ 631 h 851"/>
                <a:gd name="T48" fmla="*/ 419 w 998"/>
                <a:gd name="T49" fmla="*/ 826 h 851"/>
                <a:gd name="T50" fmla="*/ 427 w 998"/>
                <a:gd name="T51" fmla="*/ 837 h 851"/>
                <a:gd name="T52" fmla="*/ 437 w 998"/>
                <a:gd name="T53" fmla="*/ 790 h 851"/>
                <a:gd name="T54" fmla="*/ 470 w 998"/>
                <a:gd name="T55" fmla="*/ 798 h 851"/>
                <a:gd name="T56" fmla="*/ 522 w 998"/>
                <a:gd name="T57" fmla="*/ 791 h 851"/>
                <a:gd name="T58" fmla="*/ 593 w 998"/>
                <a:gd name="T59" fmla="*/ 799 h 851"/>
                <a:gd name="T60" fmla="*/ 628 w 998"/>
                <a:gd name="T61" fmla="*/ 804 h 851"/>
                <a:gd name="T62" fmla="*/ 653 w 998"/>
                <a:gd name="T63" fmla="*/ 755 h 851"/>
                <a:gd name="T64" fmla="*/ 839 w 998"/>
                <a:gd name="T65" fmla="*/ 710 h 851"/>
                <a:gd name="T66" fmla="*/ 998 w 998"/>
                <a:gd name="T67" fmla="*/ 546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98" h="851">
                  <a:moveTo>
                    <a:pt x="980" y="527"/>
                  </a:moveTo>
                  <a:cubicBezTo>
                    <a:pt x="980" y="525"/>
                    <a:pt x="978" y="521"/>
                    <a:pt x="976" y="516"/>
                  </a:cubicBezTo>
                  <a:cubicBezTo>
                    <a:pt x="942" y="512"/>
                    <a:pt x="853" y="501"/>
                    <a:pt x="851" y="501"/>
                  </a:cubicBezTo>
                  <a:cubicBezTo>
                    <a:pt x="848" y="501"/>
                    <a:pt x="811" y="453"/>
                    <a:pt x="804" y="446"/>
                  </a:cubicBezTo>
                  <a:cubicBezTo>
                    <a:pt x="799" y="441"/>
                    <a:pt x="799" y="433"/>
                    <a:pt x="800" y="428"/>
                  </a:cubicBezTo>
                  <a:cubicBezTo>
                    <a:pt x="796" y="423"/>
                    <a:pt x="793" y="417"/>
                    <a:pt x="794" y="413"/>
                  </a:cubicBezTo>
                  <a:cubicBezTo>
                    <a:pt x="788" y="415"/>
                    <a:pt x="788" y="415"/>
                    <a:pt x="788" y="415"/>
                  </a:cubicBezTo>
                  <a:cubicBezTo>
                    <a:pt x="780" y="407"/>
                    <a:pt x="780" y="407"/>
                    <a:pt x="780" y="407"/>
                  </a:cubicBezTo>
                  <a:cubicBezTo>
                    <a:pt x="770" y="410"/>
                    <a:pt x="770" y="410"/>
                    <a:pt x="770" y="410"/>
                  </a:cubicBezTo>
                  <a:cubicBezTo>
                    <a:pt x="764" y="400"/>
                    <a:pt x="764" y="400"/>
                    <a:pt x="764" y="400"/>
                  </a:cubicBezTo>
                  <a:cubicBezTo>
                    <a:pt x="757" y="398"/>
                    <a:pt x="750" y="359"/>
                    <a:pt x="744" y="354"/>
                  </a:cubicBezTo>
                  <a:cubicBezTo>
                    <a:pt x="738" y="349"/>
                    <a:pt x="722" y="346"/>
                    <a:pt x="719" y="332"/>
                  </a:cubicBezTo>
                  <a:cubicBezTo>
                    <a:pt x="715" y="318"/>
                    <a:pt x="720" y="296"/>
                    <a:pt x="707" y="286"/>
                  </a:cubicBezTo>
                  <a:cubicBezTo>
                    <a:pt x="693" y="275"/>
                    <a:pt x="675" y="277"/>
                    <a:pt x="669" y="265"/>
                  </a:cubicBezTo>
                  <a:cubicBezTo>
                    <a:pt x="663" y="252"/>
                    <a:pt x="670" y="239"/>
                    <a:pt x="664" y="235"/>
                  </a:cubicBezTo>
                  <a:cubicBezTo>
                    <a:pt x="658" y="231"/>
                    <a:pt x="646" y="218"/>
                    <a:pt x="646" y="218"/>
                  </a:cubicBezTo>
                  <a:cubicBezTo>
                    <a:pt x="645" y="201"/>
                    <a:pt x="645" y="201"/>
                    <a:pt x="645" y="201"/>
                  </a:cubicBezTo>
                  <a:cubicBezTo>
                    <a:pt x="645" y="201"/>
                    <a:pt x="642" y="198"/>
                    <a:pt x="637" y="195"/>
                  </a:cubicBezTo>
                  <a:cubicBezTo>
                    <a:pt x="624" y="196"/>
                    <a:pt x="606" y="196"/>
                    <a:pt x="598" y="196"/>
                  </a:cubicBezTo>
                  <a:cubicBezTo>
                    <a:pt x="584" y="195"/>
                    <a:pt x="594" y="177"/>
                    <a:pt x="588" y="170"/>
                  </a:cubicBezTo>
                  <a:cubicBezTo>
                    <a:pt x="582" y="163"/>
                    <a:pt x="460" y="160"/>
                    <a:pt x="460" y="160"/>
                  </a:cubicBezTo>
                  <a:cubicBezTo>
                    <a:pt x="332" y="63"/>
                    <a:pt x="332" y="63"/>
                    <a:pt x="332" y="63"/>
                  </a:cubicBezTo>
                  <a:cubicBezTo>
                    <a:pt x="332" y="63"/>
                    <a:pt x="311" y="49"/>
                    <a:pt x="299" y="43"/>
                  </a:cubicBezTo>
                  <a:cubicBezTo>
                    <a:pt x="287" y="37"/>
                    <a:pt x="250" y="9"/>
                    <a:pt x="250" y="9"/>
                  </a:cubicBezTo>
                  <a:cubicBezTo>
                    <a:pt x="250" y="9"/>
                    <a:pt x="225" y="8"/>
                    <a:pt x="216" y="9"/>
                  </a:cubicBezTo>
                  <a:cubicBezTo>
                    <a:pt x="207" y="10"/>
                    <a:pt x="200" y="0"/>
                    <a:pt x="200" y="0"/>
                  </a:cubicBezTo>
                  <a:cubicBezTo>
                    <a:pt x="200" y="0"/>
                    <a:pt x="187" y="8"/>
                    <a:pt x="181" y="14"/>
                  </a:cubicBezTo>
                  <a:cubicBezTo>
                    <a:pt x="175" y="20"/>
                    <a:pt x="147" y="18"/>
                    <a:pt x="147" y="18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32"/>
                    <a:pt x="86" y="31"/>
                    <a:pt x="79" y="38"/>
                  </a:cubicBezTo>
                  <a:cubicBezTo>
                    <a:pt x="72" y="45"/>
                    <a:pt x="104" y="42"/>
                    <a:pt x="111" y="46"/>
                  </a:cubicBezTo>
                  <a:cubicBezTo>
                    <a:pt x="118" y="50"/>
                    <a:pt x="137" y="85"/>
                    <a:pt x="137" y="85"/>
                  </a:cubicBezTo>
                  <a:cubicBezTo>
                    <a:pt x="137" y="85"/>
                    <a:pt x="131" y="111"/>
                    <a:pt x="123" y="118"/>
                  </a:cubicBezTo>
                  <a:cubicBezTo>
                    <a:pt x="115" y="125"/>
                    <a:pt x="98" y="121"/>
                    <a:pt x="92" y="123"/>
                  </a:cubicBezTo>
                  <a:cubicBezTo>
                    <a:pt x="86" y="125"/>
                    <a:pt x="84" y="152"/>
                    <a:pt x="70" y="163"/>
                  </a:cubicBezTo>
                  <a:cubicBezTo>
                    <a:pt x="56" y="174"/>
                    <a:pt x="25" y="154"/>
                    <a:pt x="18" y="155"/>
                  </a:cubicBezTo>
                  <a:cubicBezTo>
                    <a:pt x="12" y="156"/>
                    <a:pt x="12" y="160"/>
                    <a:pt x="12" y="161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2" y="170"/>
                    <a:pt x="0" y="237"/>
                    <a:pt x="12" y="249"/>
                  </a:cubicBezTo>
                  <a:cubicBezTo>
                    <a:pt x="24" y="260"/>
                    <a:pt x="49" y="260"/>
                    <a:pt x="54" y="274"/>
                  </a:cubicBezTo>
                  <a:cubicBezTo>
                    <a:pt x="60" y="288"/>
                    <a:pt x="76" y="325"/>
                    <a:pt x="85" y="334"/>
                  </a:cubicBezTo>
                  <a:cubicBezTo>
                    <a:pt x="94" y="343"/>
                    <a:pt x="113" y="358"/>
                    <a:pt x="120" y="370"/>
                  </a:cubicBezTo>
                  <a:cubicBezTo>
                    <a:pt x="128" y="383"/>
                    <a:pt x="132" y="421"/>
                    <a:pt x="145" y="433"/>
                  </a:cubicBezTo>
                  <a:cubicBezTo>
                    <a:pt x="157" y="445"/>
                    <a:pt x="184" y="434"/>
                    <a:pt x="201" y="453"/>
                  </a:cubicBezTo>
                  <a:cubicBezTo>
                    <a:pt x="218" y="472"/>
                    <a:pt x="232" y="531"/>
                    <a:pt x="232" y="560"/>
                  </a:cubicBezTo>
                  <a:cubicBezTo>
                    <a:pt x="232" y="590"/>
                    <a:pt x="267" y="626"/>
                    <a:pt x="267" y="626"/>
                  </a:cubicBezTo>
                  <a:cubicBezTo>
                    <a:pt x="267" y="626"/>
                    <a:pt x="291" y="623"/>
                    <a:pt x="300" y="631"/>
                  </a:cubicBezTo>
                  <a:cubicBezTo>
                    <a:pt x="308" y="639"/>
                    <a:pt x="344" y="704"/>
                    <a:pt x="358" y="728"/>
                  </a:cubicBezTo>
                  <a:cubicBezTo>
                    <a:pt x="372" y="752"/>
                    <a:pt x="420" y="810"/>
                    <a:pt x="419" y="826"/>
                  </a:cubicBezTo>
                  <a:cubicBezTo>
                    <a:pt x="419" y="833"/>
                    <a:pt x="417" y="842"/>
                    <a:pt x="414" y="851"/>
                  </a:cubicBezTo>
                  <a:cubicBezTo>
                    <a:pt x="418" y="848"/>
                    <a:pt x="423" y="844"/>
                    <a:pt x="427" y="837"/>
                  </a:cubicBezTo>
                  <a:cubicBezTo>
                    <a:pt x="434" y="826"/>
                    <a:pt x="428" y="824"/>
                    <a:pt x="428" y="824"/>
                  </a:cubicBezTo>
                  <a:cubicBezTo>
                    <a:pt x="428" y="824"/>
                    <a:pt x="427" y="795"/>
                    <a:pt x="437" y="790"/>
                  </a:cubicBezTo>
                  <a:cubicBezTo>
                    <a:pt x="447" y="785"/>
                    <a:pt x="452" y="799"/>
                    <a:pt x="452" y="799"/>
                  </a:cubicBezTo>
                  <a:cubicBezTo>
                    <a:pt x="470" y="798"/>
                    <a:pt x="470" y="798"/>
                    <a:pt x="470" y="798"/>
                  </a:cubicBezTo>
                  <a:cubicBezTo>
                    <a:pt x="470" y="798"/>
                    <a:pt x="477" y="792"/>
                    <a:pt x="482" y="792"/>
                  </a:cubicBezTo>
                  <a:cubicBezTo>
                    <a:pt x="487" y="792"/>
                    <a:pt x="506" y="791"/>
                    <a:pt x="522" y="791"/>
                  </a:cubicBezTo>
                  <a:cubicBezTo>
                    <a:pt x="538" y="791"/>
                    <a:pt x="549" y="799"/>
                    <a:pt x="549" y="799"/>
                  </a:cubicBezTo>
                  <a:cubicBezTo>
                    <a:pt x="549" y="799"/>
                    <a:pt x="589" y="797"/>
                    <a:pt x="593" y="799"/>
                  </a:cubicBezTo>
                  <a:cubicBezTo>
                    <a:pt x="597" y="801"/>
                    <a:pt x="611" y="816"/>
                    <a:pt x="616" y="816"/>
                  </a:cubicBezTo>
                  <a:cubicBezTo>
                    <a:pt x="621" y="816"/>
                    <a:pt x="628" y="804"/>
                    <a:pt x="628" y="804"/>
                  </a:cubicBezTo>
                  <a:cubicBezTo>
                    <a:pt x="628" y="792"/>
                    <a:pt x="628" y="792"/>
                    <a:pt x="628" y="792"/>
                  </a:cubicBezTo>
                  <a:cubicBezTo>
                    <a:pt x="628" y="792"/>
                    <a:pt x="643" y="768"/>
                    <a:pt x="653" y="755"/>
                  </a:cubicBezTo>
                  <a:cubicBezTo>
                    <a:pt x="663" y="742"/>
                    <a:pt x="705" y="723"/>
                    <a:pt x="717" y="723"/>
                  </a:cubicBezTo>
                  <a:cubicBezTo>
                    <a:pt x="729" y="723"/>
                    <a:pt x="839" y="710"/>
                    <a:pt x="839" y="710"/>
                  </a:cubicBezTo>
                  <a:cubicBezTo>
                    <a:pt x="972" y="661"/>
                    <a:pt x="972" y="661"/>
                    <a:pt x="972" y="661"/>
                  </a:cubicBezTo>
                  <a:cubicBezTo>
                    <a:pt x="998" y="546"/>
                    <a:pt x="998" y="546"/>
                    <a:pt x="998" y="546"/>
                  </a:cubicBezTo>
                  <a:cubicBezTo>
                    <a:pt x="998" y="546"/>
                    <a:pt x="980" y="531"/>
                    <a:pt x="980" y="52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239">
              <a:extLst>
                <a:ext uri="{FF2B5EF4-FFF2-40B4-BE49-F238E27FC236}">
                  <a16:creationId xmlns:a16="http://schemas.microsoft.com/office/drawing/2014/main" id="{FC9B09AF-99E8-E833-52C8-17D235E92D3C}"/>
                </a:ext>
              </a:extLst>
            </p:cNvPr>
            <p:cNvSpPr>
              <a:spLocks/>
            </p:cNvSpPr>
            <p:nvPr/>
          </p:nvSpPr>
          <p:spPr bwMode="gray">
            <a:xfrm>
              <a:off x="-2693" y="-14383"/>
              <a:ext cx="179" cy="248"/>
            </a:xfrm>
            <a:custGeom>
              <a:avLst/>
              <a:gdLst>
                <a:gd name="T0" fmla="*/ 46 w 76"/>
                <a:gd name="T1" fmla="*/ 66 h 105"/>
                <a:gd name="T2" fmla="*/ 50 w 76"/>
                <a:gd name="T3" fmla="*/ 46 h 105"/>
                <a:gd name="T4" fmla="*/ 71 w 76"/>
                <a:gd name="T5" fmla="*/ 34 h 105"/>
                <a:gd name="T6" fmla="*/ 64 w 76"/>
                <a:gd name="T7" fmla="*/ 10 h 105"/>
                <a:gd name="T8" fmla="*/ 65 w 76"/>
                <a:gd name="T9" fmla="*/ 0 h 105"/>
                <a:gd name="T10" fmla="*/ 40 w 76"/>
                <a:gd name="T11" fmla="*/ 0 h 105"/>
                <a:gd name="T12" fmla="*/ 37 w 76"/>
                <a:gd name="T13" fmla="*/ 0 h 105"/>
                <a:gd name="T14" fmla="*/ 36 w 76"/>
                <a:gd name="T15" fmla="*/ 5 h 105"/>
                <a:gd name="T16" fmla="*/ 20 w 76"/>
                <a:gd name="T17" fmla="*/ 21 h 105"/>
                <a:gd name="T18" fmla="*/ 11 w 76"/>
                <a:gd name="T19" fmla="*/ 45 h 105"/>
                <a:gd name="T20" fmla="*/ 0 w 76"/>
                <a:gd name="T21" fmla="*/ 89 h 105"/>
                <a:gd name="T22" fmla="*/ 1 w 76"/>
                <a:gd name="T23" fmla="*/ 105 h 105"/>
                <a:gd name="T24" fmla="*/ 6 w 76"/>
                <a:gd name="T25" fmla="*/ 100 h 105"/>
                <a:gd name="T26" fmla="*/ 13 w 76"/>
                <a:gd name="T27" fmla="*/ 87 h 105"/>
                <a:gd name="T28" fmla="*/ 27 w 76"/>
                <a:gd name="T29" fmla="*/ 86 h 105"/>
                <a:gd name="T30" fmla="*/ 31 w 76"/>
                <a:gd name="T31" fmla="*/ 69 h 105"/>
                <a:gd name="T32" fmla="*/ 46 w 76"/>
                <a:gd name="T33" fmla="*/ 6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6" h="105">
                  <a:moveTo>
                    <a:pt x="46" y="66"/>
                  </a:moveTo>
                  <a:cubicBezTo>
                    <a:pt x="46" y="66"/>
                    <a:pt x="41" y="49"/>
                    <a:pt x="50" y="46"/>
                  </a:cubicBezTo>
                  <a:cubicBezTo>
                    <a:pt x="59" y="43"/>
                    <a:pt x="66" y="46"/>
                    <a:pt x="71" y="34"/>
                  </a:cubicBezTo>
                  <a:cubicBezTo>
                    <a:pt x="76" y="22"/>
                    <a:pt x="64" y="10"/>
                    <a:pt x="64" y="1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"/>
                    <a:pt x="37" y="4"/>
                    <a:pt x="36" y="5"/>
                  </a:cubicBezTo>
                  <a:cubicBezTo>
                    <a:pt x="29" y="15"/>
                    <a:pt x="20" y="21"/>
                    <a:pt x="20" y="21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1" y="45"/>
                    <a:pt x="1" y="69"/>
                    <a:pt x="0" y="89"/>
                  </a:cubicBezTo>
                  <a:cubicBezTo>
                    <a:pt x="0" y="94"/>
                    <a:pt x="0" y="100"/>
                    <a:pt x="1" y="105"/>
                  </a:cubicBezTo>
                  <a:cubicBezTo>
                    <a:pt x="6" y="100"/>
                    <a:pt x="6" y="100"/>
                    <a:pt x="6" y="100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22" y="93"/>
                    <a:pt x="27" y="86"/>
                  </a:cubicBezTo>
                  <a:cubicBezTo>
                    <a:pt x="32" y="79"/>
                    <a:pt x="31" y="69"/>
                    <a:pt x="31" y="69"/>
                  </a:cubicBezTo>
                  <a:cubicBezTo>
                    <a:pt x="46" y="66"/>
                    <a:pt x="46" y="66"/>
                    <a:pt x="46" y="6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240">
              <a:extLst>
                <a:ext uri="{FF2B5EF4-FFF2-40B4-BE49-F238E27FC236}">
                  <a16:creationId xmlns:a16="http://schemas.microsoft.com/office/drawing/2014/main" id="{CB86C078-2EBB-EC1A-355C-95D01737C56A}"/>
                </a:ext>
              </a:extLst>
            </p:cNvPr>
            <p:cNvSpPr>
              <a:spLocks/>
            </p:cNvSpPr>
            <p:nvPr/>
          </p:nvSpPr>
          <p:spPr bwMode="gray">
            <a:xfrm>
              <a:off x="-2646" y="-14730"/>
              <a:ext cx="701" cy="649"/>
            </a:xfrm>
            <a:custGeom>
              <a:avLst/>
              <a:gdLst>
                <a:gd name="T0" fmla="*/ 281 w 297"/>
                <a:gd name="T1" fmla="*/ 39 h 275"/>
                <a:gd name="T2" fmla="*/ 297 w 297"/>
                <a:gd name="T3" fmla="*/ 19 h 275"/>
                <a:gd name="T4" fmla="*/ 290 w 297"/>
                <a:gd name="T5" fmla="*/ 2 h 275"/>
                <a:gd name="T6" fmla="*/ 277 w 297"/>
                <a:gd name="T7" fmla="*/ 12 h 275"/>
                <a:gd name="T8" fmla="*/ 264 w 297"/>
                <a:gd name="T9" fmla="*/ 15 h 275"/>
                <a:gd name="T10" fmla="*/ 250 w 297"/>
                <a:gd name="T11" fmla="*/ 22 h 275"/>
                <a:gd name="T12" fmla="*/ 241 w 297"/>
                <a:gd name="T13" fmla="*/ 16 h 275"/>
                <a:gd name="T14" fmla="*/ 217 w 297"/>
                <a:gd name="T15" fmla="*/ 16 h 275"/>
                <a:gd name="T16" fmla="*/ 188 w 297"/>
                <a:gd name="T17" fmla="*/ 32 h 275"/>
                <a:gd name="T18" fmla="*/ 163 w 297"/>
                <a:gd name="T19" fmla="*/ 39 h 275"/>
                <a:gd name="T20" fmla="*/ 140 w 297"/>
                <a:gd name="T21" fmla="*/ 35 h 275"/>
                <a:gd name="T22" fmla="*/ 114 w 297"/>
                <a:gd name="T23" fmla="*/ 22 h 275"/>
                <a:gd name="T24" fmla="*/ 100 w 297"/>
                <a:gd name="T25" fmla="*/ 33 h 275"/>
                <a:gd name="T26" fmla="*/ 64 w 297"/>
                <a:gd name="T27" fmla="*/ 41 h 275"/>
                <a:gd name="T28" fmla="*/ 58 w 297"/>
                <a:gd name="T29" fmla="*/ 31 h 275"/>
                <a:gd name="T30" fmla="*/ 42 w 297"/>
                <a:gd name="T31" fmla="*/ 32 h 275"/>
                <a:gd name="T32" fmla="*/ 43 w 297"/>
                <a:gd name="T33" fmla="*/ 53 h 275"/>
                <a:gd name="T34" fmla="*/ 48 w 297"/>
                <a:gd name="T35" fmla="*/ 64 h 275"/>
                <a:gd name="T36" fmla="*/ 33 w 297"/>
                <a:gd name="T37" fmla="*/ 66 h 275"/>
                <a:gd name="T38" fmla="*/ 33 w 297"/>
                <a:gd name="T39" fmla="*/ 75 h 275"/>
                <a:gd name="T40" fmla="*/ 27 w 297"/>
                <a:gd name="T41" fmla="*/ 84 h 275"/>
                <a:gd name="T42" fmla="*/ 14 w 297"/>
                <a:gd name="T43" fmla="*/ 78 h 275"/>
                <a:gd name="T44" fmla="*/ 5 w 297"/>
                <a:gd name="T45" fmla="*/ 98 h 275"/>
                <a:gd name="T46" fmla="*/ 1 w 297"/>
                <a:gd name="T47" fmla="*/ 99 h 275"/>
                <a:gd name="T48" fmla="*/ 0 w 297"/>
                <a:gd name="T49" fmla="*/ 131 h 275"/>
                <a:gd name="T50" fmla="*/ 17 w 297"/>
                <a:gd name="T51" fmla="*/ 147 h 275"/>
                <a:gd name="T52" fmla="*/ 20 w 297"/>
                <a:gd name="T53" fmla="*/ 147 h 275"/>
                <a:gd name="T54" fmla="*/ 45 w 297"/>
                <a:gd name="T55" fmla="*/ 147 h 275"/>
                <a:gd name="T56" fmla="*/ 44 w 297"/>
                <a:gd name="T57" fmla="*/ 157 h 275"/>
                <a:gd name="T58" fmla="*/ 51 w 297"/>
                <a:gd name="T59" fmla="*/ 181 h 275"/>
                <a:gd name="T60" fmla="*/ 30 w 297"/>
                <a:gd name="T61" fmla="*/ 193 h 275"/>
                <a:gd name="T62" fmla="*/ 26 w 297"/>
                <a:gd name="T63" fmla="*/ 213 h 275"/>
                <a:gd name="T64" fmla="*/ 16 w 297"/>
                <a:gd name="T65" fmla="*/ 224 h 275"/>
                <a:gd name="T66" fmla="*/ 19 w 297"/>
                <a:gd name="T67" fmla="*/ 254 h 275"/>
                <a:gd name="T68" fmla="*/ 23 w 297"/>
                <a:gd name="T69" fmla="*/ 251 h 275"/>
                <a:gd name="T70" fmla="*/ 45 w 297"/>
                <a:gd name="T71" fmla="*/ 263 h 275"/>
                <a:gd name="T72" fmla="*/ 73 w 297"/>
                <a:gd name="T73" fmla="*/ 275 h 275"/>
                <a:gd name="T74" fmla="*/ 157 w 297"/>
                <a:gd name="T75" fmla="*/ 218 h 275"/>
                <a:gd name="T76" fmla="*/ 200 w 297"/>
                <a:gd name="T77" fmla="*/ 183 h 275"/>
                <a:gd name="T78" fmla="*/ 261 w 297"/>
                <a:gd name="T79" fmla="*/ 156 h 275"/>
                <a:gd name="T80" fmla="*/ 255 w 297"/>
                <a:gd name="T81" fmla="*/ 131 h 275"/>
                <a:gd name="T82" fmla="*/ 264 w 297"/>
                <a:gd name="T83" fmla="*/ 112 h 275"/>
                <a:gd name="T84" fmla="*/ 260 w 297"/>
                <a:gd name="T85" fmla="*/ 77 h 275"/>
                <a:gd name="T86" fmla="*/ 249 w 297"/>
                <a:gd name="T87" fmla="*/ 55 h 275"/>
                <a:gd name="T88" fmla="*/ 281 w 297"/>
                <a:gd name="T89" fmla="*/ 3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7" h="275">
                  <a:moveTo>
                    <a:pt x="281" y="39"/>
                  </a:moveTo>
                  <a:cubicBezTo>
                    <a:pt x="290" y="35"/>
                    <a:pt x="295" y="26"/>
                    <a:pt x="297" y="19"/>
                  </a:cubicBezTo>
                  <a:cubicBezTo>
                    <a:pt x="288" y="20"/>
                    <a:pt x="293" y="4"/>
                    <a:pt x="290" y="2"/>
                  </a:cubicBezTo>
                  <a:cubicBezTo>
                    <a:pt x="287" y="0"/>
                    <a:pt x="285" y="11"/>
                    <a:pt x="277" y="12"/>
                  </a:cubicBezTo>
                  <a:cubicBezTo>
                    <a:pt x="269" y="13"/>
                    <a:pt x="264" y="15"/>
                    <a:pt x="264" y="15"/>
                  </a:cubicBezTo>
                  <a:cubicBezTo>
                    <a:pt x="264" y="15"/>
                    <a:pt x="259" y="21"/>
                    <a:pt x="250" y="22"/>
                  </a:cubicBezTo>
                  <a:cubicBezTo>
                    <a:pt x="241" y="23"/>
                    <a:pt x="246" y="18"/>
                    <a:pt x="241" y="16"/>
                  </a:cubicBezTo>
                  <a:cubicBezTo>
                    <a:pt x="236" y="14"/>
                    <a:pt x="230" y="15"/>
                    <a:pt x="217" y="16"/>
                  </a:cubicBezTo>
                  <a:cubicBezTo>
                    <a:pt x="204" y="17"/>
                    <a:pt x="197" y="29"/>
                    <a:pt x="188" y="32"/>
                  </a:cubicBezTo>
                  <a:cubicBezTo>
                    <a:pt x="179" y="35"/>
                    <a:pt x="174" y="38"/>
                    <a:pt x="163" y="39"/>
                  </a:cubicBezTo>
                  <a:cubicBezTo>
                    <a:pt x="152" y="40"/>
                    <a:pt x="140" y="35"/>
                    <a:pt x="140" y="35"/>
                  </a:cubicBezTo>
                  <a:cubicBezTo>
                    <a:pt x="140" y="35"/>
                    <a:pt x="117" y="23"/>
                    <a:pt x="114" y="22"/>
                  </a:cubicBezTo>
                  <a:cubicBezTo>
                    <a:pt x="111" y="21"/>
                    <a:pt x="100" y="33"/>
                    <a:pt x="100" y="33"/>
                  </a:cubicBezTo>
                  <a:cubicBezTo>
                    <a:pt x="100" y="33"/>
                    <a:pt x="85" y="41"/>
                    <a:pt x="64" y="41"/>
                  </a:cubicBezTo>
                  <a:cubicBezTo>
                    <a:pt x="43" y="41"/>
                    <a:pt x="60" y="35"/>
                    <a:pt x="58" y="31"/>
                  </a:cubicBezTo>
                  <a:cubicBezTo>
                    <a:pt x="56" y="27"/>
                    <a:pt x="42" y="32"/>
                    <a:pt x="42" y="32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3" y="53"/>
                    <a:pt x="50" y="51"/>
                    <a:pt x="48" y="64"/>
                  </a:cubicBezTo>
                  <a:cubicBezTo>
                    <a:pt x="47" y="72"/>
                    <a:pt x="33" y="66"/>
                    <a:pt x="33" y="66"/>
                  </a:cubicBezTo>
                  <a:cubicBezTo>
                    <a:pt x="33" y="75"/>
                    <a:pt x="33" y="75"/>
                    <a:pt x="33" y="75"/>
                  </a:cubicBezTo>
                  <a:cubicBezTo>
                    <a:pt x="33" y="75"/>
                    <a:pt x="31" y="83"/>
                    <a:pt x="27" y="84"/>
                  </a:cubicBezTo>
                  <a:cubicBezTo>
                    <a:pt x="24" y="85"/>
                    <a:pt x="17" y="80"/>
                    <a:pt x="14" y="78"/>
                  </a:cubicBezTo>
                  <a:cubicBezTo>
                    <a:pt x="12" y="83"/>
                    <a:pt x="2" y="91"/>
                    <a:pt x="5" y="98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31"/>
                    <a:pt x="14" y="139"/>
                    <a:pt x="17" y="147"/>
                  </a:cubicBezTo>
                  <a:cubicBezTo>
                    <a:pt x="20" y="147"/>
                    <a:pt x="20" y="147"/>
                    <a:pt x="20" y="147"/>
                  </a:cubicBezTo>
                  <a:cubicBezTo>
                    <a:pt x="45" y="147"/>
                    <a:pt x="45" y="147"/>
                    <a:pt x="45" y="147"/>
                  </a:cubicBezTo>
                  <a:cubicBezTo>
                    <a:pt x="44" y="157"/>
                    <a:pt x="44" y="157"/>
                    <a:pt x="44" y="157"/>
                  </a:cubicBezTo>
                  <a:cubicBezTo>
                    <a:pt x="44" y="157"/>
                    <a:pt x="56" y="169"/>
                    <a:pt x="51" y="181"/>
                  </a:cubicBezTo>
                  <a:cubicBezTo>
                    <a:pt x="46" y="193"/>
                    <a:pt x="39" y="190"/>
                    <a:pt x="30" y="193"/>
                  </a:cubicBezTo>
                  <a:cubicBezTo>
                    <a:pt x="21" y="196"/>
                    <a:pt x="26" y="213"/>
                    <a:pt x="26" y="213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9" y="254"/>
                    <a:pt x="19" y="254"/>
                    <a:pt x="19" y="254"/>
                  </a:cubicBezTo>
                  <a:cubicBezTo>
                    <a:pt x="23" y="251"/>
                    <a:pt x="23" y="251"/>
                    <a:pt x="23" y="251"/>
                  </a:cubicBezTo>
                  <a:cubicBezTo>
                    <a:pt x="45" y="263"/>
                    <a:pt x="45" y="263"/>
                    <a:pt x="45" y="263"/>
                  </a:cubicBezTo>
                  <a:cubicBezTo>
                    <a:pt x="45" y="263"/>
                    <a:pt x="52" y="275"/>
                    <a:pt x="73" y="275"/>
                  </a:cubicBezTo>
                  <a:cubicBezTo>
                    <a:pt x="94" y="275"/>
                    <a:pt x="157" y="218"/>
                    <a:pt x="157" y="218"/>
                  </a:cubicBezTo>
                  <a:cubicBezTo>
                    <a:pt x="200" y="183"/>
                    <a:pt x="200" y="183"/>
                    <a:pt x="200" y="183"/>
                  </a:cubicBezTo>
                  <a:cubicBezTo>
                    <a:pt x="200" y="183"/>
                    <a:pt x="249" y="165"/>
                    <a:pt x="261" y="156"/>
                  </a:cubicBezTo>
                  <a:cubicBezTo>
                    <a:pt x="273" y="147"/>
                    <a:pt x="256" y="138"/>
                    <a:pt x="255" y="131"/>
                  </a:cubicBezTo>
                  <a:cubicBezTo>
                    <a:pt x="254" y="124"/>
                    <a:pt x="260" y="117"/>
                    <a:pt x="264" y="112"/>
                  </a:cubicBezTo>
                  <a:cubicBezTo>
                    <a:pt x="268" y="107"/>
                    <a:pt x="260" y="77"/>
                    <a:pt x="260" y="77"/>
                  </a:cubicBezTo>
                  <a:cubicBezTo>
                    <a:pt x="260" y="77"/>
                    <a:pt x="245" y="69"/>
                    <a:pt x="249" y="55"/>
                  </a:cubicBezTo>
                  <a:cubicBezTo>
                    <a:pt x="253" y="41"/>
                    <a:pt x="265" y="46"/>
                    <a:pt x="281" y="39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241">
              <a:extLst>
                <a:ext uri="{FF2B5EF4-FFF2-40B4-BE49-F238E27FC236}">
                  <a16:creationId xmlns:a16="http://schemas.microsoft.com/office/drawing/2014/main" id="{6D517A11-15AD-FF00-46F0-64EE1A13F47E}"/>
                </a:ext>
              </a:extLst>
            </p:cNvPr>
            <p:cNvSpPr>
              <a:spLocks/>
            </p:cNvSpPr>
            <p:nvPr/>
          </p:nvSpPr>
          <p:spPr bwMode="gray">
            <a:xfrm>
              <a:off x="-1904" y="-15229"/>
              <a:ext cx="359" cy="331"/>
            </a:xfrm>
            <a:custGeom>
              <a:avLst/>
              <a:gdLst>
                <a:gd name="T0" fmla="*/ 147 w 152"/>
                <a:gd name="T1" fmla="*/ 111 h 140"/>
                <a:gd name="T2" fmla="*/ 143 w 152"/>
                <a:gd name="T3" fmla="*/ 104 h 140"/>
                <a:gd name="T4" fmla="*/ 145 w 152"/>
                <a:gd name="T5" fmla="*/ 94 h 140"/>
                <a:gd name="T6" fmla="*/ 125 w 152"/>
                <a:gd name="T7" fmla="*/ 92 h 140"/>
                <a:gd name="T8" fmla="*/ 115 w 152"/>
                <a:gd name="T9" fmla="*/ 78 h 140"/>
                <a:gd name="T10" fmla="*/ 97 w 152"/>
                <a:gd name="T11" fmla="*/ 70 h 140"/>
                <a:gd name="T12" fmla="*/ 118 w 152"/>
                <a:gd name="T13" fmla="*/ 61 h 140"/>
                <a:gd name="T14" fmla="*/ 88 w 152"/>
                <a:gd name="T15" fmla="*/ 39 h 140"/>
                <a:gd name="T16" fmla="*/ 94 w 152"/>
                <a:gd name="T17" fmla="*/ 24 h 140"/>
                <a:gd name="T18" fmla="*/ 75 w 152"/>
                <a:gd name="T19" fmla="*/ 16 h 140"/>
                <a:gd name="T20" fmla="*/ 76 w 152"/>
                <a:gd name="T21" fmla="*/ 7 h 140"/>
                <a:gd name="T22" fmla="*/ 61 w 152"/>
                <a:gd name="T23" fmla="*/ 0 h 140"/>
                <a:gd name="T24" fmla="*/ 55 w 152"/>
                <a:gd name="T25" fmla="*/ 10 h 140"/>
                <a:gd name="T26" fmla="*/ 22 w 152"/>
                <a:gd name="T27" fmla="*/ 6 h 140"/>
                <a:gd name="T28" fmla="*/ 17 w 152"/>
                <a:gd name="T29" fmla="*/ 13 h 140"/>
                <a:gd name="T30" fmla="*/ 0 w 152"/>
                <a:gd name="T31" fmla="*/ 14 h 140"/>
                <a:gd name="T32" fmla="*/ 6 w 152"/>
                <a:gd name="T33" fmla="*/ 29 h 140"/>
                <a:gd name="T34" fmla="*/ 18 w 152"/>
                <a:gd name="T35" fmla="*/ 69 h 140"/>
                <a:gd name="T36" fmla="*/ 47 w 152"/>
                <a:gd name="T37" fmla="*/ 72 h 140"/>
                <a:gd name="T38" fmla="*/ 57 w 152"/>
                <a:gd name="T39" fmla="*/ 93 h 140"/>
                <a:gd name="T40" fmla="*/ 55 w 152"/>
                <a:gd name="T41" fmla="*/ 98 h 140"/>
                <a:gd name="T42" fmla="*/ 62 w 152"/>
                <a:gd name="T43" fmla="*/ 103 h 140"/>
                <a:gd name="T44" fmla="*/ 72 w 152"/>
                <a:gd name="T45" fmla="*/ 89 h 140"/>
                <a:gd name="T46" fmla="*/ 83 w 152"/>
                <a:gd name="T47" fmla="*/ 86 h 140"/>
                <a:gd name="T48" fmla="*/ 100 w 152"/>
                <a:gd name="T49" fmla="*/ 97 h 140"/>
                <a:gd name="T50" fmla="*/ 111 w 152"/>
                <a:gd name="T51" fmla="*/ 95 h 140"/>
                <a:gd name="T52" fmla="*/ 119 w 152"/>
                <a:gd name="T53" fmla="*/ 111 h 140"/>
                <a:gd name="T54" fmla="*/ 130 w 152"/>
                <a:gd name="T55" fmla="*/ 138 h 140"/>
                <a:gd name="T56" fmla="*/ 148 w 152"/>
                <a:gd name="T57" fmla="*/ 140 h 140"/>
                <a:gd name="T58" fmla="*/ 147 w 152"/>
                <a:gd name="T59" fmla="*/ 11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2" h="140">
                  <a:moveTo>
                    <a:pt x="147" y="111"/>
                  </a:moveTo>
                  <a:cubicBezTo>
                    <a:pt x="143" y="104"/>
                    <a:pt x="143" y="104"/>
                    <a:pt x="143" y="104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25" y="92"/>
                    <a:pt x="125" y="92"/>
                    <a:pt x="125" y="92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117" y="70"/>
                    <a:pt x="118" y="61"/>
                  </a:cubicBezTo>
                  <a:cubicBezTo>
                    <a:pt x="119" y="52"/>
                    <a:pt x="88" y="39"/>
                    <a:pt x="88" y="39"/>
                  </a:cubicBezTo>
                  <a:cubicBezTo>
                    <a:pt x="88" y="39"/>
                    <a:pt x="94" y="31"/>
                    <a:pt x="94" y="24"/>
                  </a:cubicBezTo>
                  <a:cubicBezTo>
                    <a:pt x="94" y="17"/>
                    <a:pt x="75" y="16"/>
                    <a:pt x="75" y="16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6" y="7"/>
                    <a:pt x="64" y="0"/>
                    <a:pt x="61" y="0"/>
                  </a:cubicBezTo>
                  <a:cubicBezTo>
                    <a:pt x="58" y="0"/>
                    <a:pt x="55" y="10"/>
                    <a:pt x="55" y="1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2" y="17"/>
                    <a:pt x="3" y="22"/>
                    <a:pt x="6" y="29"/>
                  </a:cubicBezTo>
                  <a:cubicBezTo>
                    <a:pt x="12" y="44"/>
                    <a:pt x="10" y="58"/>
                    <a:pt x="18" y="69"/>
                  </a:cubicBezTo>
                  <a:cubicBezTo>
                    <a:pt x="26" y="80"/>
                    <a:pt x="42" y="71"/>
                    <a:pt x="47" y="72"/>
                  </a:cubicBezTo>
                  <a:cubicBezTo>
                    <a:pt x="50" y="72"/>
                    <a:pt x="54" y="83"/>
                    <a:pt x="57" y="93"/>
                  </a:cubicBezTo>
                  <a:cubicBezTo>
                    <a:pt x="56" y="95"/>
                    <a:pt x="56" y="96"/>
                    <a:pt x="55" y="98"/>
                  </a:cubicBezTo>
                  <a:cubicBezTo>
                    <a:pt x="62" y="103"/>
                    <a:pt x="62" y="103"/>
                    <a:pt x="62" y="103"/>
                  </a:cubicBezTo>
                  <a:cubicBezTo>
                    <a:pt x="72" y="89"/>
                    <a:pt x="72" y="89"/>
                    <a:pt x="72" y="89"/>
                  </a:cubicBezTo>
                  <a:cubicBezTo>
                    <a:pt x="72" y="89"/>
                    <a:pt x="82" y="86"/>
                    <a:pt x="83" y="86"/>
                  </a:cubicBezTo>
                  <a:cubicBezTo>
                    <a:pt x="90" y="96"/>
                    <a:pt x="100" y="97"/>
                    <a:pt x="100" y="97"/>
                  </a:cubicBezTo>
                  <a:cubicBezTo>
                    <a:pt x="100" y="97"/>
                    <a:pt x="102" y="94"/>
                    <a:pt x="111" y="95"/>
                  </a:cubicBezTo>
                  <a:cubicBezTo>
                    <a:pt x="120" y="96"/>
                    <a:pt x="116" y="107"/>
                    <a:pt x="119" y="111"/>
                  </a:cubicBezTo>
                  <a:cubicBezTo>
                    <a:pt x="122" y="115"/>
                    <a:pt x="130" y="138"/>
                    <a:pt x="130" y="138"/>
                  </a:cubicBezTo>
                  <a:cubicBezTo>
                    <a:pt x="130" y="138"/>
                    <a:pt x="144" y="140"/>
                    <a:pt x="148" y="140"/>
                  </a:cubicBezTo>
                  <a:cubicBezTo>
                    <a:pt x="152" y="140"/>
                    <a:pt x="147" y="111"/>
                    <a:pt x="147" y="11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242">
              <a:extLst>
                <a:ext uri="{FF2B5EF4-FFF2-40B4-BE49-F238E27FC236}">
                  <a16:creationId xmlns:a16="http://schemas.microsoft.com/office/drawing/2014/main" id="{D8CAC2FA-3DB6-4655-FEC1-EBB1CF0B685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3785" y="-15333"/>
              <a:ext cx="2098" cy="804"/>
            </a:xfrm>
            <a:custGeom>
              <a:avLst/>
              <a:gdLst>
                <a:gd name="T0" fmla="*/ 20 w 888"/>
                <a:gd name="T1" fmla="*/ 116 h 340"/>
                <a:gd name="T2" fmla="*/ 27 w 888"/>
                <a:gd name="T3" fmla="*/ 107 h 340"/>
                <a:gd name="T4" fmla="*/ 63 w 888"/>
                <a:gd name="T5" fmla="*/ 93 h 340"/>
                <a:gd name="T6" fmla="*/ 52 w 888"/>
                <a:gd name="T7" fmla="*/ 101 h 340"/>
                <a:gd name="T8" fmla="*/ 887 w 888"/>
                <a:gd name="T9" fmla="*/ 259 h 340"/>
                <a:gd name="T10" fmla="*/ 850 w 888"/>
                <a:gd name="T11" fmla="*/ 224 h 340"/>
                <a:gd name="T12" fmla="*/ 845 w 888"/>
                <a:gd name="T13" fmla="*/ 165 h 340"/>
                <a:gd name="T14" fmla="*/ 853 w 888"/>
                <a:gd name="T15" fmla="*/ 137 h 340"/>
                <a:gd name="T16" fmla="*/ 802 w 888"/>
                <a:gd name="T17" fmla="*/ 73 h 340"/>
                <a:gd name="T18" fmla="*/ 761 w 888"/>
                <a:gd name="T19" fmla="*/ 32 h 340"/>
                <a:gd name="T20" fmla="*/ 678 w 888"/>
                <a:gd name="T21" fmla="*/ 63 h 340"/>
                <a:gd name="T22" fmla="*/ 542 w 888"/>
                <a:gd name="T23" fmla="*/ 57 h 340"/>
                <a:gd name="T24" fmla="*/ 491 w 888"/>
                <a:gd name="T25" fmla="*/ 51 h 340"/>
                <a:gd name="T26" fmla="*/ 442 w 888"/>
                <a:gd name="T27" fmla="*/ 30 h 340"/>
                <a:gd name="T28" fmla="*/ 385 w 888"/>
                <a:gd name="T29" fmla="*/ 16 h 340"/>
                <a:gd name="T30" fmla="*/ 272 w 888"/>
                <a:gd name="T31" fmla="*/ 42 h 340"/>
                <a:gd name="T32" fmla="*/ 203 w 888"/>
                <a:gd name="T33" fmla="*/ 53 h 340"/>
                <a:gd name="T34" fmla="*/ 120 w 888"/>
                <a:gd name="T35" fmla="*/ 14 h 340"/>
                <a:gd name="T36" fmla="*/ 79 w 888"/>
                <a:gd name="T37" fmla="*/ 10 h 340"/>
                <a:gd name="T38" fmla="*/ 52 w 888"/>
                <a:gd name="T39" fmla="*/ 28 h 340"/>
                <a:gd name="T40" fmla="*/ 50 w 888"/>
                <a:gd name="T41" fmla="*/ 47 h 340"/>
                <a:gd name="T42" fmla="*/ 50 w 888"/>
                <a:gd name="T43" fmla="*/ 86 h 340"/>
                <a:gd name="T44" fmla="*/ 107 w 888"/>
                <a:gd name="T45" fmla="*/ 65 h 340"/>
                <a:gd name="T46" fmla="*/ 165 w 888"/>
                <a:gd name="T47" fmla="*/ 81 h 340"/>
                <a:gd name="T48" fmla="*/ 92 w 888"/>
                <a:gd name="T49" fmla="*/ 91 h 340"/>
                <a:gd name="T50" fmla="*/ 76 w 888"/>
                <a:gd name="T51" fmla="*/ 142 h 340"/>
                <a:gd name="T52" fmla="*/ 83 w 888"/>
                <a:gd name="T53" fmla="*/ 186 h 340"/>
                <a:gd name="T54" fmla="*/ 108 w 888"/>
                <a:gd name="T55" fmla="*/ 234 h 340"/>
                <a:gd name="T56" fmla="*/ 146 w 888"/>
                <a:gd name="T57" fmla="*/ 297 h 340"/>
                <a:gd name="T58" fmla="*/ 250 w 888"/>
                <a:gd name="T59" fmla="*/ 310 h 340"/>
                <a:gd name="T60" fmla="*/ 359 w 888"/>
                <a:gd name="T61" fmla="*/ 325 h 340"/>
                <a:gd name="T62" fmla="*/ 477 w 888"/>
                <a:gd name="T63" fmla="*/ 298 h 340"/>
                <a:gd name="T64" fmla="*/ 495 w 888"/>
                <a:gd name="T65" fmla="*/ 329 h 340"/>
                <a:gd name="T66" fmla="*/ 515 w 888"/>
                <a:gd name="T67" fmla="*/ 330 h 340"/>
                <a:gd name="T68" fmla="*/ 525 w 888"/>
                <a:gd name="T69" fmla="*/ 308 h 340"/>
                <a:gd name="T70" fmla="*/ 546 w 888"/>
                <a:gd name="T71" fmla="*/ 296 h 340"/>
                <a:gd name="T72" fmla="*/ 622 w 888"/>
                <a:gd name="T73" fmla="*/ 290 h 340"/>
                <a:gd name="T74" fmla="*/ 699 w 888"/>
                <a:gd name="T75" fmla="*/ 271 h 340"/>
                <a:gd name="T76" fmla="*/ 746 w 888"/>
                <a:gd name="T77" fmla="*/ 270 h 340"/>
                <a:gd name="T78" fmla="*/ 781 w 888"/>
                <a:gd name="T79" fmla="*/ 274 h 340"/>
                <a:gd name="T80" fmla="*/ 835 w 888"/>
                <a:gd name="T81" fmla="*/ 267 h 340"/>
                <a:gd name="T82" fmla="*/ 888 w 888"/>
                <a:gd name="T83" fmla="*/ 265 h 340"/>
                <a:gd name="T84" fmla="*/ 81 w 888"/>
                <a:gd name="T85" fmla="*/ 204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88" h="340">
                  <a:moveTo>
                    <a:pt x="3" y="126"/>
                  </a:moveTo>
                  <a:cubicBezTo>
                    <a:pt x="17" y="125"/>
                    <a:pt x="17" y="125"/>
                    <a:pt x="17" y="125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0" y="116"/>
                    <a:pt x="0" y="116"/>
                    <a:pt x="0" y="116"/>
                  </a:cubicBezTo>
                  <a:lnTo>
                    <a:pt x="3" y="126"/>
                  </a:lnTo>
                  <a:close/>
                  <a:moveTo>
                    <a:pt x="27" y="107"/>
                  </a:moveTo>
                  <a:cubicBezTo>
                    <a:pt x="30" y="116"/>
                    <a:pt x="40" y="122"/>
                    <a:pt x="39" y="106"/>
                  </a:cubicBezTo>
                  <a:cubicBezTo>
                    <a:pt x="38" y="90"/>
                    <a:pt x="27" y="107"/>
                    <a:pt x="27" y="107"/>
                  </a:cubicBezTo>
                  <a:close/>
                  <a:moveTo>
                    <a:pt x="63" y="93"/>
                  </a:moveTo>
                  <a:cubicBezTo>
                    <a:pt x="45" y="93"/>
                    <a:pt x="45" y="93"/>
                    <a:pt x="45" y="93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52" y="101"/>
                    <a:pt x="52" y="101"/>
                    <a:pt x="52" y="101"/>
                  </a:cubicBezTo>
                  <a:lnTo>
                    <a:pt x="63" y="93"/>
                  </a:lnTo>
                  <a:close/>
                  <a:moveTo>
                    <a:pt x="888" y="265"/>
                  </a:moveTo>
                  <a:cubicBezTo>
                    <a:pt x="887" y="261"/>
                    <a:pt x="887" y="259"/>
                    <a:pt x="887" y="259"/>
                  </a:cubicBezTo>
                  <a:cubicBezTo>
                    <a:pt x="871" y="254"/>
                    <a:pt x="871" y="254"/>
                    <a:pt x="871" y="254"/>
                  </a:cubicBezTo>
                  <a:cubicBezTo>
                    <a:pt x="871" y="236"/>
                    <a:pt x="871" y="236"/>
                    <a:pt x="871" y="236"/>
                  </a:cubicBezTo>
                  <a:cubicBezTo>
                    <a:pt x="850" y="224"/>
                    <a:pt x="850" y="224"/>
                    <a:pt x="850" y="224"/>
                  </a:cubicBezTo>
                  <a:cubicBezTo>
                    <a:pt x="850" y="224"/>
                    <a:pt x="863" y="205"/>
                    <a:pt x="858" y="203"/>
                  </a:cubicBezTo>
                  <a:cubicBezTo>
                    <a:pt x="853" y="201"/>
                    <a:pt x="846" y="180"/>
                    <a:pt x="846" y="180"/>
                  </a:cubicBezTo>
                  <a:cubicBezTo>
                    <a:pt x="845" y="165"/>
                    <a:pt x="845" y="165"/>
                    <a:pt x="845" y="165"/>
                  </a:cubicBezTo>
                  <a:cubicBezTo>
                    <a:pt x="834" y="149"/>
                    <a:pt x="834" y="149"/>
                    <a:pt x="834" y="149"/>
                  </a:cubicBezTo>
                  <a:cubicBezTo>
                    <a:pt x="850" y="147"/>
                    <a:pt x="850" y="147"/>
                    <a:pt x="850" y="147"/>
                  </a:cubicBezTo>
                  <a:cubicBezTo>
                    <a:pt x="850" y="147"/>
                    <a:pt x="851" y="142"/>
                    <a:pt x="853" y="137"/>
                  </a:cubicBezTo>
                  <a:cubicBezTo>
                    <a:pt x="850" y="127"/>
                    <a:pt x="846" y="116"/>
                    <a:pt x="843" y="116"/>
                  </a:cubicBezTo>
                  <a:cubicBezTo>
                    <a:pt x="838" y="115"/>
                    <a:pt x="822" y="124"/>
                    <a:pt x="814" y="113"/>
                  </a:cubicBezTo>
                  <a:cubicBezTo>
                    <a:pt x="806" y="102"/>
                    <a:pt x="808" y="88"/>
                    <a:pt x="802" y="73"/>
                  </a:cubicBezTo>
                  <a:cubicBezTo>
                    <a:pt x="796" y="58"/>
                    <a:pt x="794" y="50"/>
                    <a:pt x="794" y="50"/>
                  </a:cubicBezTo>
                  <a:cubicBezTo>
                    <a:pt x="777" y="50"/>
                    <a:pt x="777" y="50"/>
                    <a:pt x="777" y="50"/>
                  </a:cubicBezTo>
                  <a:cubicBezTo>
                    <a:pt x="777" y="50"/>
                    <a:pt x="775" y="35"/>
                    <a:pt x="761" y="32"/>
                  </a:cubicBezTo>
                  <a:cubicBezTo>
                    <a:pt x="747" y="29"/>
                    <a:pt x="741" y="39"/>
                    <a:pt x="741" y="39"/>
                  </a:cubicBezTo>
                  <a:cubicBezTo>
                    <a:pt x="715" y="34"/>
                    <a:pt x="715" y="34"/>
                    <a:pt x="715" y="34"/>
                  </a:cubicBezTo>
                  <a:cubicBezTo>
                    <a:pt x="706" y="43"/>
                    <a:pt x="688" y="59"/>
                    <a:pt x="678" y="63"/>
                  </a:cubicBezTo>
                  <a:cubicBezTo>
                    <a:pt x="665" y="68"/>
                    <a:pt x="621" y="62"/>
                    <a:pt x="621" y="62"/>
                  </a:cubicBezTo>
                  <a:cubicBezTo>
                    <a:pt x="585" y="72"/>
                    <a:pt x="585" y="72"/>
                    <a:pt x="585" y="72"/>
                  </a:cubicBezTo>
                  <a:cubicBezTo>
                    <a:pt x="542" y="57"/>
                    <a:pt x="542" y="57"/>
                    <a:pt x="542" y="57"/>
                  </a:cubicBezTo>
                  <a:cubicBezTo>
                    <a:pt x="525" y="63"/>
                    <a:pt x="525" y="63"/>
                    <a:pt x="525" y="63"/>
                  </a:cubicBezTo>
                  <a:cubicBezTo>
                    <a:pt x="525" y="63"/>
                    <a:pt x="516" y="40"/>
                    <a:pt x="508" y="42"/>
                  </a:cubicBezTo>
                  <a:cubicBezTo>
                    <a:pt x="500" y="44"/>
                    <a:pt x="491" y="51"/>
                    <a:pt x="491" y="51"/>
                  </a:cubicBezTo>
                  <a:cubicBezTo>
                    <a:pt x="475" y="40"/>
                    <a:pt x="475" y="40"/>
                    <a:pt x="475" y="40"/>
                  </a:cubicBezTo>
                  <a:cubicBezTo>
                    <a:pt x="472" y="25"/>
                    <a:pt x="472" y="25"/>
                    <a:pt x="472" y="25"/>
                  </a:cubicBezTo>
                  <a:cubicBezTo>
                    <a:pt x="442" y="30"/>
                    <a:pt x="442" y="30"/>
                    <a:pt x="442" y="30"/>
                  </a:cubicBezTo>
                  <a:cubicBezTo>
                    <a:pt x="424" y="20"/>
                    <a:pt x="424" y="20"/>
                    <a:pt x="424" y="20"/>
                  </a:cubicBezTo>
                  <a:cubicBezTo>
                    <a:pt x="421" y="6"/>
                    <a:pt x="421" y="6"/>
                    <a:pt x="421" y="6"/>
                  </a:cubicBezTo>
                  <a:cubicBezTo>
                    <a:pt x="421" y="6"/>
                    <a:pt x="398" y="16"/>
                    <a:pt x="385" y="16"/>
                  </a:cubicBezTo>
                  <a:cubicBezTo>
                    <a:pt x="373" y="16"/>
                    <a:pt x="355" y="10"/>
                    <a:pt x="343" y="11"/>
                  </a:cubicBezTo>
                  <a:cubicBezTo>
                    <a:pt x="332" y="12"/>
                    <a:pt x="297" y="26"/>
                    <a:pt x="291" y="32"/>
                  </a:cubicBezTo>
                  <a:cubicBezTo>
                    <a:pt x="286" y="39"/>
                    <a:pt x="272" y="42"/>
                    <a:pt x="272" y="42"/>
                  </a:cubicBezTo>
                  <a:cubicBezTo>
                    <a:pt x="266" y="58"/>
                    <a:pt x="266" y="58"/>
                    <a:pt x="266" y="58"/>
                  </a:cubicBezTo>
                  <a:cubicBezTo>
                    <a:pt x="266" y="58"/>
                    <a:pt x="266" y="62"/>
                    <a:pt x="252" y="59"/>
                  </a:cubicBezTo>
                  <a:cubicBezTo>
                    <a:pt x="239" y="56"/>
                    <a:pt x="216" y="53"/>
                    <a:pt x="203" y="53"/>
                  </a:cubicBezTo>
                  <a:cubicBezTo>
                    <a:pt x="191" y="53"/>
                    <a:pt x="151" y="44"/>
                    <a:pt x="151" y="44"/>
                  </a:cubicBezTo>
                  <a:cubicBezTo>
                    <a:pt x="151" y="44"/>
                    <a:pt x="127" y="47"/>
                    <a:pt x="124" y="33"/>
                  </a:cubicBezTo>
                  <a:cubicBezTo>
                    <a:pt x="122" y="26"/>
                    <a:pt x="121" y="19"/>
                    <a:pt x="120" y="14"/>
                  </a:cubicBezTo>
                  <a:cubicBezTo>
                    <a:pt x="111" y="15"/>
                    <a:pt x="97" y="13"/>
                    <a:pt x="97" y="1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9" y="27"/>
                    <a:pt x="62" y="32"/>
                  </a:cubicBezTo>
                  <a:cubicBezTo>
                    <a:pt x="65" y="37"/>
                    <a:pt x="64" y="45"/>
                    <a:pt x="64" y="45"/>
                  </a:cubicBezTo>
                  <a:cubicBezTo>
                    <a:pt x="64" y="45"/>
                    <a:pt x="51" y="41"/>
                    <a:pt x="50" y="47"/>
                  </a:cubicBezTo>
                  <a:cubicBezTo>
                    <a:pt x="49" y="53"/>
                    <a:pt x="54" y="56"/>
                    <a:pt x="52" y="63"/>
                  </a:cubicBezTo>
                  <a:cubicBezTo>
                    <a:pt x="50" y="70"/>
                    <a:pt x="47" y="75"/>
                    <a:pt x="47" y="75"/>
                  </a:cubicBezTo>
                  <a:cubicBezTo>
                    <a:pt x="47" y="75"/>
                    <a:pt x="35" y="87"/>
                    <a:pt x="50" y="86"/>
                  </a:cubicBezTo>
                  <a:cubicBezTo>
                    <a:pt x="65" y="85"/>
                    <a:pt x="76" y="80"/>
                    <a:pt x="76" y="80"/>
                  </a:cubicBezTo>
                  <a:cubicBezTo>
                    <a:pt x="76" y="80"/>
                    <a:pt x="72" y="90"/>
                    <a:pt x="80" y="87"/>
                  </a:cubicBezTo>
                  <a:cubicBezTo>
                    <a:pt x="88" y="84"/>
                    <a:pt x="107" y="65"/>
                    <a:pt x="107" y="65"/>
                  </a:cubicBezTo>
                  <a:cubicBezTo>
                    <a:pt x="107" y="65"/>
                    <a:pt x="141" y="53"/>
                    <a:pt x="152" y="61"/>
                  </a:cubicBezTo>
                  <a:cubicBezTo>
                    <a:pt x="163" y="69"/>
                    <a:pt x="197" y="74"/>
                    <a:pt x="197" y="74"/>
                  </a:cubicBezTo>
                  <a:cubicBezTo>
                    <a:pt x="197" y="74"/>
                    <a:pt x="166" y="78"/>
                    <a:pt x="165" y="81"/>
                  </a:cubicBezTo>
                  <a:cubicBezTo>
                    <a:pt x="164" y="84"/>
                    <a:pt x="159" y="93"/>
                    <a:pt x="159" y="93"/>
                  </a:cubicBezTo>
                  <a:cubicBezTo>
                    <a:pt x="126" y="94"/>
                    <a:pt x="126" y="94"/>
                    <a:pt x="126" y="94"/>
                  </a:cubicBezTo>
                  <a:cubicBezTo>
                    <a:pt x="92" y="91"/>
                    <a:pt x="92" y="91"/>
                    <a:pt x="92" y="91"/>
                  </a:cubicBezTo>
                  <a:cubicBezTo>
                    <a:pt x="92" y="91"/>
                    <a:pt x="66" y="97"/>
                    <a:pt x="62" y="105"/>
                  </a:cubicBezTo>
                  <a:cubicBezTo>
                    <a:pt x="58" y="113"/>
                    <a:pt x="49" y="143"/>
                    <a:pt x="49" y="143"/>
                  </a:cubicBezTo>
                  <a:cubicBezTo>
                    <a:pt x="76" y="142"/>
                    <a:pt x="76" y="142"/>
                    <a:pt x="76" y="142"/>
                  </a:cubicBezTo>
                  <a:cubicBezTo>
                    <a:pt x="76" y="142"/>
                    <a:pt x="72" y="151"/>
                    <a:pt x="77" y="159"/>
                  </a:cubicBezTo>
                  <a:cubicBezTo>
                    <a:pt x="82" y="167"/>
                    <a:pt x="88" y="175"/>
                    <a:pt x="88" y="175"/>
                  </a:cubicBezTo>
                  <a:cubicBezTo>
                    <a:pt x="83" y="186"/>
                    <a:pt x="83" y="186"/>
                    <a:pt x="83" y="186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108" y="234"/>
                    <a:pt x="108" y="234"/>
                    <a:pt x="108" y="234"/>
                  </a:cubicBezTo>
                  <a:cubicBezTo>
                    <a:pt x="106" y="258"/>
                    <a:pt x="106" y="258"/>
                    <a:pt x="106" y="258"/>
                  </a:cubicBezTo>
                  <a:cubicBezTo>
                    <a:pt x="140" y="275"/>
                    <a:pt x="140" y="275"/>
                    <a:pt x="140" y="275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6" y="297"/>
                    <a:pt x="143" y="285"/>
                    <a:pt x="162" y="290"/>
                  </a:cubicBezTo>
                  <a:cubicBezTo>
                    <a:pt x="181" y="295"/>
                    <a:pt x="178" y="312"/>
                    <a:pt x="208" y="315"/>
                  </a:cubicBezTo>
                  <a:cubicBezTo>
                    <a:pt x="238" y="318"/>
                    <a:pt x="250" y="317"/>
                    <a:pt x="250" y="310"/>
                  </a:cubicBezTo>
                  <a:cubicBezTo>
                    <a:pt x="250" y="303"/>
                    <a:pt x="252" y="284"/>
                    <a:pt x="262" y="283"/>
                  </a:cubicBezTo>
                  <a:cubicBezTo>
                    <a:pt x="272" y="282"/>
                    <a:pt x="299" y="289"/>
                    <a:pt x="313" y="294"/>
                  </a:cubicBezTo>
                  <a:cubicBezTo>
                    <a:pt x="327" y="299"/>
                    <a:pt x="313" y="326"/>
                    <a:pt x="359" y="325"/>
                  </a:cubicBezTo>
                  <a:cubicBezTo>
                    <a:pt x="405" y="324"/>
                    <a:pt x="406" y="299"/>
                    <a:pt x="422" y="294"/>
                  </a:cubicBezTo>
                  <a:cubicBezTo>
                    <a:pt x="438" y="289"/>
                    <a:pt x="450" y="285"/>
                    <a:pt x="457" y="291"/>
                  </a:cubicBezTo>
                  <a:cubicBezTo>
                    <a:pt x="464" y="297"/>
                    <a:pt x="466" y="303"/>
                    <a:pt x="477" y="298"/>
                  </a:cubicBezTo>
                  <a:cubicBezTo>
                    <a:pt x="488" y="293"/>
                    <a:pt x="495" y="277"/>
                    <a:pt x="502" y="284"/>
                  </a:cubicBezTo>
                  <a:cubicBezTo>
                    <a:pt x="509" y="291"/>
                    <a:pt x="501" y="300"/>
                    <a:pt x="498" y="306"/>
                  </a:cubicBezTo>
                  <a:cubicBezTo>
                    <a:pt x="495" y="312"/>
                    <a:pt x="488" y="324"/>
                    <a:pt x="495" y="329"/>
                  </a:cubicBezTo>
                  <a:cubicBezTo>
                    <a:pt x="496" y="330"/>
                    <a:pt x="497" y="331"/>
                    <a:pt x="496" y="333"/>
                  </a:cubicBezTo>
                  <a:cubicBezTo>
                    <a:pt x="499" y="335"/>
                    <a:pt x="506" y="340"/>
                    <a:pt x="509" y="339"/>
                  </a:cubicBezTo>
                  <a:cubicBezTo>
                    <a:pt x="513" y="338"/>
                    <a:pt x="515" y="330"/>
                    <a:pt x="515" y="330"/>
                  </a:cubicBezTo>
                  <a:cubicBezTo>
                    <a:pt x="515" y="321"/>
                    <a:pt x="515" y="321"/>
                    <a:pt x="515" y="321"/>
                  </a:cubicBezTo>
                  <a:cubicBezTo>
                    <a:pt x="515" y="321"/>
                    <a:pt x="529" y="327"/>
                    <a:pt x="530" y="319"/>
                  </a:cubicBezTo>
                  <a:cubicBezTo>
                    <a:pt x="532" y="306"/>
                    <a:pt x="525" y="308"/>
                    <a:pt x="525" y="308"/>
                  </a:cubicBezTo>
                  <a:cubicBezTo>
                    <a:pt x="524" y="287"/>
                    <a:pt x="524" y="287"/>
                    <a:pt x="524" y="287"/>
                  </a:cubicBezTo>
                  <a:cubicBezTo>
                    <a:pt x="524" y="287"/>
                    <a:pt x="538" y="282"/>
                    <a:pt x="540" y="286"/>
                  </a:cubicBezTo>
                  <a:cubicBezTo>
                    <a:pt x="542" y="290"/>
                    <a:pt x="525" y="296"/>
                    <a:pt x="546" y="296"/>
                  </a:cubicBezTo>
                  <a:cubicBezTo>
                    <a:pt x="567" y="296"/>
                    <a:pt x="582" y="288"/>
                    <a:pt x="582" y="288"/>
                  </a:cubicBezTo>
                  <a:cubicBezTo>
                    <a:pt x="582" y="288"/>
                    <a:pt x="593" y="276"/>
                    <a:pt x="596" y="277"/>
                  </a:cubicBezTo>
                  <a:cubicBezTo>
                    <a:pt x="599" y="278"/>
                    <a:pt x="622" y="290"/>
                    <a:pt x="622" y="290"/>
                  </a:cubicBezTo>
                  <a:cubicBezTo>
                    <a:pt x="622" y="290"/>
                    <a:pt x="634" y="295"/>
                    <a:pt x="645" y="294"/>
                  </a:cubicBezTo>
                  <a:cubicBezTo>
                    <a:pt x="656" y="293"/>
                    <a:pt x="661" y="290"/>
                    <a:pt x="670" y="287"/>
                  </a:cubicBezTo>
                  <a:cubicBezTo>
                    <a:pt x="679" y="284"/>
                    <a:pt x="686" y="272"/>
                    <a:pt x="699" y="271"/>
                  </a:cubicBezTo>
                  <a:cubicBezTo>
                    <a:pt x="712" y="270"/>
                    <a:pt x="718" y="269"/>
                    <a:pt x="723" y="271"/>
                  </a:cubicBezTo>
                  <a:cubicBezTo>
                    <a:pt x="728" y="273"/>
                    <a:pt x="723" y="278"/>
                    <a:pt x="732" y="277"/>
                  </a:cubicBezTo>
                  <a:cubicBezTo>
                    <a:pt x="741" y="276"/>
                    <a:pt x="746" y="270"/>
                    <a:pt x="746" y="270"/>
                  </a:cubicBezTo>
                  <a:cubicBezTo>
                    <a:pt x="746" y="270"/>
                    <a:pt x="751" y="268"/>
                    <a:pt x="759" y="267"/>
                  </a:cubicBezTo>
                  <a:cubicBezTo>
                    <a:pt x="767" y="266"/>
                    <a:pt x="769" y="255"/>
                    <a:pt x="772" y="257"/>
                  </a:cubicBezTo>
                  <a:cubicBezTo>
                    <a:pt x="775" y="259"/>
                    <a:pt x="769" y="277"/>
                    <a:pt x="781" y="274"/>
                  </a:cubicBezTo>
                  <a:cubicBezTo>
                    <a:pt x="793" y="271"/>
                    <a:pt x="792" y="258"/>
                    <a:pt x="792" y="258"/>
                  </a:cubicBezTo>
                  <a:cubicBezTo>
                    <a:pt x="818" y="258"/>
                    <a:pt x="818" y="258"/>
                    <a:pt x="818" y="258"/>
                  </a:cubicBezTo>
                  <a:cubicBezTo>
                    <a:pt x="818" y="258"/>
                    <a:pt x="827" y="269"/>
                    <a:pt x="835" y="267"/>
                  </a:cubicBezTo>
                  <a:cubicBezTo>
                    <a:pt x="843" y="265"/>
                    <a:pt x="835" y="257"/>
                    <a:pt x="849" y="258"/>
                  </a:cubicBezTo>
                  <a:cubicBezTo>
                    <a:pt x="863" y="259"/>
                    <a:pt x="861" y="276"/>
                    <a:pt x="861" y="276"/>
                  </a:cubicBezTo>
                  <a:lnTo>
                    <a:pt x="888" y="265"/>
                  </a:lnTo>
                  <a:close/>
                  <a:moveTo>
                    <a:pt x="67" y="189"/>
                  </a:moveTo>
                  <a:cubicBezTo>
                    <a:pt x="63" y="185"/>
                    <a:pt x="61" y="207"/>
                    <a:pt x="67" y="217"/>
                  </a:cubicBezTo>
                  <a:cubicBezTo>
                    <a:pt x="72" y="226"/>
                    <a:pt x="79" y="208"/>
                    <a:pt x="81" y="204"/>
                  </a:cubicBezTo>
                  <a:cubicBezTo>
                    <a:pt x="83" y="200"/>
                    <a:pt x="71" y="193"/>
                    <a:pt x="67" y="189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243">
              <a:extLst>
                <a:ext uri="{FF2B5EF4-FFF2-40B4-BE49-F238E27FC236}">
                  <a16:creationId xmlns:a16="http://schemas.microsoft.com/office/drawing/2014/main" id="{CE68FB4D-3C1E-EFBA-2802-72D28D6A64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4283" y="-15278"/>
              <a:ext cx="862" cy="867"/>
            </a:xfrm>
            <a:custGeom>
              <a:avLst/>
              <a:gdLst>
                <a:gd name="T0" fmla="*/ 190 w 365"/>
                <a:gd name="T1" fmla="*/ 78 h 367"/>
                <a:gd name="T2" fmla="*/ 5 w 365"/>
                <a:gd name="T3" fmla="*/ 188 h 367"/>
                <a:gd name="T4" fmla="*/ 212 w 365"/>
                <a:gd name="T5" fmla="*/ 277 h 367"/>
                <a:gd name="T6" fmla="*/ 210 w 365"/>
                <a:gd name="T7" fmla="*/ 258 h 367"/>
                <a:gd name="T8" fmla="*/ 210 w 365"/>
                <a:gd name="T9" fmla="*/ 258 h 367"/>
                <a:gd name="T10" fmla="*/ 223 w 365"/>
                <a:gd name="T11" fmla="*/ 213 h 367"/>
                <a:gd name="T12" fmla="*/ 97 w 365"/>
                <a:gd name="T13" fmla="*/ 176 h 367"/>
                <a:gd name="T14" fmla="*/ 166 w 365"/>
                <a:gd name="T15" fmla="*/ 188 h 367"/>
                <a:gd name="T16" fmla="*/ 128 w 365"/>
                <a:gd name="T17" fmla="*/ 152 h 367"/>
                <a:gd name="T18" fmla="*/ 153 w 365"/>
                <a:gd name="T19" fmla="*/ 156 h 367"/>
                <a:gd name="T20" fmla="*/ 107 w 365"/>
                <a:gd name="T21" fmla="*/ 94 h 367"/>
                <a:gd name="T22" fmla="*/ 129 w 365"/>
                <a:gd name="T23" fmla="*/ 78 h 367"/>
                <a:gd name="T24" fmla="*/ 140 w 365"/>
                <a:gd name="T25" fmla="*/ 79 h 367"/>
                <a:gd name="T26" fmla="*/ 152 w 365"/>
                <a:gd name="T27" fmla="*/ 77 h 367"/>
                <a:gd name="T28" fmla="*/ 182 w 365"/>
                <a:gd name="T29" fmla="*/ 49 h 367"/>
                <a:gd name="T30" fmla="*/ 258 w 365"/>
                <a:gd name="T31" fmla="*/ 52 h 367"/>
                <a:gd name="T32" fmla="*/ 275 w 365"/>
                <a:gd name="T33" fmla="*/ 22 h 367"/>
                <a:gd name="T34" fmla="*/ 261 w 365"/>
                <a:gd name="T35" fmla="*/ 0 h 367"/>
                <a:gd name="T36" fmla="*/ 237 w 365"/>
                <a:gd name="T37" fmla="*/ 25 h 367"/>
                <a:gd name="T38" fmla="*/ 205 w 365"/>
                <a:gd name="T39" fmla="*/ 17 h 367"/>
                <a:gd name="T40" fmla="*/ 161 w 365"/>
                <a:gd name="T41" fmla="*/ 9 h 367"/>
                <a:gd name="T42" fmla="*/ 123 w 365"/>
                <a:gd name="T43" fmla="*/ 25 h 367"/>
                <a:gd name="T44" fmla="*/ 70 w 365"/>
                <a:gd name="T45" fmla="*/ 36 h 367"/>
                <a:gd name="T46" fmla="*/ 38 w 365"/>
                <a:gd name="T47" fmla="*/ 50 h 367"/>
                <a:gd name="T48" fmla="*/ 21 w 365"/>
                <a:gd name="T49" fmla="*/ 84 h 367"/>
                <a:gd name="T50" fmla="*/ 3 w 365"/>
                <a:gd name="T51" fmla="*/ 109 h 367"/>
                <a:gd name="T52" fmla="*/ 29 w 365"/>
                <a:gd name="T53" fmla="*/ 156 h 367"/>
                <a:gd name="T54" fmla="*/ 266 w 365"/>
                <a:gd name="T55" fmla="*/ 168 h 367"/>
                <a:gd name="T56" fmla="*/ 261 w 365"/>
                <a:gd name="T57" fmla="*/ 196 h 367"/>
                <a:gd name="T58" fmla="*/ 30 w 365"/>
                <a:gd name="T59" fmla="*/ 220 h 367"/>
                <a:gd name="T60" fmla="*/ 255 w 365"/>
                <a:gd name="T61" fmla="*/ 270 h 367"/>
                <a:gd name="T62" fmla="*/ 275 w 365"/>
                <a:gd name="T63" fmla="*/ 220 h 367"/>
                <a:gd name="T64" fmla="*/ 269 w 365"/>
                <a:gd name="T65" fmla="*/ 127 h 367"/>
                <a:gd name="T66" fmla="*/ 278 w 365"/>
                <a:gd name="T67" fmla="*/ 148 h 367"/>
                <a:gd name="T68" fmla="*/ 247 w 365"/>
                <a:gd name="T69" fmla="*/ 254 h 367"/>
                <a:gd name="T70" fmla="*/ 291 w 365"/>
                <a:gd name="T71" fmla="*/ 220 h 367"/>
                <a:gd name="T72" fmla="*/ 307 w 365"/>
                <a:gd name="T73" fmla="*/ 236 h 367"/>
                <a:gd name="T74" fmla="*/ 186 w 365"/>
                <a:gd name="T75" fmla="*/ 146 h 367"/>
                <a:gd name="T76" fmla="*/ 361 w 365"/>
                <a:gd name="T77" fmla="*/ 281 h 367"/>
                <a:gd name="T78" fmla="*/ 310 w 365"/>
                <a:gd name="T79" fmla="*/ 258 h 367"/>
                <a:gd name="T80" fmla="*/ 326 w 365"/>
                <a:gd name="T81" fmla="*/ 249 h 367"/>
                <a:gd name="T82" fmla="*/ 324 w 365"/>
                <a:gd name="T83" fmla="*/ 339 h 367"/>
                <a:gd name="T84" fmla="*/ 186 w 365"/>
                <a:gd name="T85" fmla="*/ 221 h 367"/>
                <a:gd name="T86" fmla="*/ 127 w 365"/>
                <a:gd name="T87" fmla="*/ 288 h 367"/>
                <a:gd name="T88" fmla="*/ 259 w 365"/>
                <a:gd name="T89" fmla="*/ 352 h 367"/>
                <a:gd name="T90" fmla="*/ 209 w 365"/>
                <a:gd name="T91" fmla="*/ 336 h 367"/>
                <a:gd name="T92" fmla="*/ 161 w 365"/>
                <a:gd name="T93" fmla="*/ 342 h 367"/>
                <a:gd name="T94" fmla="*/ 205 w 365"/>
                <a:gd name="T95" fmla="*/ 352 h 367"/>
                <a:gd name="T96" fmla="*/ 241 w 365"/>
                <a:gd name="T97" fmla="*/ 362 h 367"/>
                <a:gd name="T98" fmla="*/ 285 w 365"/>
                <a:gd name="T99" fmla="*/ 272 h 367"/>
                <a:gd name="T100" fmla="*/ 79 w 365"/>
                <a:gd name="T101" fmla="*/ 186 h 367"/>
                <a:gd name="T102" fmla="*/ 47 w 365"/>
                <a:gd name="T103" fmla="*/ 207 h 367"/>
                <a:gd name="T104" fmla="*/ 81 w 365"/>
                <a:gd name="T105" fmla="*/ 260 h 367"/>
                <a:gd name="T106" fmla="*/ 113 w 365"/>
                <a:gd name="T107" fmla="*/ 262 h 367"/>
                <a:gd name="T108" fmla="*/ 129 w 365"/>
                <a:gd name="T109" fmla="*/ 270 h 367"/>
                <a:gd name="T110" fmla="*/ 117 w 365"/>
                <a:gd name="T111" fmla="*/ 221 h 367"/>
                <a:gd name="T112" fmla="*/ 132 w 365"/>
                <a:gd name="T113" fmla="*/ 21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65" h="367">
                  <a:moveTo>
                    <a:pt x="165" y="73"/>
                  </a:moveTo>
                  <a:cubicBezTo>
                    <a:pt x="183" y="85"/>
                    <a:pt x="183" y="85"/>
                    <a:pt x="183" y="85"/>
                  </a:cubicBezTo>
                  <a:cubicBezTo>
                    <a:pt x="190" y="78"/>
                    <a:pt x="190" y="78"/>
                    <a:pt x="190" y="78"/>
                  </a:cubicBezTo>
                  <a:lnTo>
                    <a:pt x="165" y="73"/>
                  </a:lnTo>
                  <a:close/>
                  <a:moveTo>
                    <a:pt x="19" y="173"/>
                  </a:moveTo>
                  <a:cubicBezTo>
                    <a:pt x="5" y="188"/>
                    <a:pt x="5" y="188"/>
                    <a:pt x="5" y="188"/>
                  </a:cubicBezTo>
                  <a:cubicBezTo>
                    <a:pt x="30" y="195"/>
                    <a:pt x="30" y="195"/>
                    <a:pt x="30" y="195"/>
                  </a:cubicBezTo>
                  <a:lnTo>
                    <a:pt x="19" y="173"/>
                  </a:lnTo>
                  <a:close/>
                  <a:moveTo>
                    <a:pt x="212" y="277"/>
                  </a:moveTo>
                  <a:cubicBezTo>
                    <a:pt x="211" y="280"/>
                    <a:pt x="220" y="282"/>
                    <a:pt x="219" y="275"/>
                  </a:cubicBezTo>
                  <a:cubicBezTo>
                    <a:pt x="218" y="268"/>
                    <a:pt x="213" y="271"/>
                    <a:pt x="212" y="277"/>
                  </a:cubicBezTo>
                  <a:close/>
                  <a:moveTo>
                    <a:pt x="210" y="258"/>
                  </a:moveTo>
                  <a:cubicBezTo>
                    <a:pt x="204" y="253"/>
                    <a:pt x="204" y="253"/>
                    <a:pt x="204" y="253"/>
                  </a:cubicBezTo>
                  <a:cubicBezTo>
                    <a:pt x="198" y="259"/>
                    <a:pt x="198" y="259"/>
                    <a:pt x="198" y="259"/>
                  </a:cubicBezTo>
                  <a:lnTo>
                    <a:pt x="210" y="258"/>
                  </a:lnTo>
                  <a:close/>
                  <a:moveTo>
                    <a:pt x="201" y="196"/>
                  </a:moveTo>
                  <a:cubicBezTo>
                    <a:pt x="217" y="224"/>
                    <a:pt x="217" y="224"/>
                    <a:pt x="217" y="224"/>
                  </a:cubicBezTo>
                  <a:cubicBezTo>
                    <a:pt x="223" y="213"/>
                    <a:pt x="223" y="213"/>
                    <a:pt x="223" y="213"/>
                  </a:cubicBezTo>
                  <a:lnTo>
                    <a:pt x="201" y="196"/>
                  </a:lnTo>
                  <a:close/>
                  <a:moveTo>
                    <a:pt x="76" y="178"/>
                  </a:moveTo>
                  <a:cubicBezTo>
                    <a:pt x="76" y="178"/>
                    <a:pt x="90" y="173"/>
                    <a:pt x="97" y="176"/>
                  </a:cubicBezTo>
                  <a:cubicBezTo>
                    <a:pt x="104" y="179"/>
                    <a:pt x="141" y="193"/>
                    <a:pt x="141" y="193"/>
                  </a:cubicBezTo>
                  <a:cubicBezTo>
                    <a:pt x="141" y="193"/>
                    <a:pt x="163" y="216"/>
                    <a:pt x="168" y="210"/>
                  </a:cubicBezTo>
                  <a:cubicBezTo>
                    <a:pt x="173" y="204"/>
                    <a:pt x="174" y="195"/>
                    <a:pt x="166" y="188"/>
                  </a:cubicBezTo>
                  <a:cubicBezTo>
                    <a:pt x="158" y="181"/>
                    <a:pt x="142" y="168"/>
                    <a:pt x="139" y="167"/>
                  </a:cubicBezTo>
                  <a:cubicBezTo>
                    <a:pt x="136" y="166"/>
                    <a:pt x="117" y="157"/>
                    <a:pt x="117" y="157"/>
                  </a:cubicBezTo>
                  <a:cubicBezTo>
                    <a:pt x="117" y="157"/>
                    <a:pt x="124" y="151"/>
                    <a:pt x="128" y="152"/>
                  </a:cubicBezTo>
                  <a:cubicBezTo>
                    <a:pt x="132" y="153"/>
                    <a:pt x="155" y="176"/>
                    <a:pt x="169" y="178"/>
                  </a:cubicBezTo>
                  <a:cubicBezTo>
                    <a:pt x="183" y="180"/>
                    <a:pt x="189" y="164"/>
                    <a:pt x="176" y="162"/>
                  </a:cubicBezTo>
                  <a:cubicBezTo>
                    <a:pt x="163" y="160"/>
                    <a:pt x="153" y="156"/>
                    <a:pt x="153" y="156"/>
                  </a:cubicBezTo>
                  <a:cubicBezTo>
                    <a:pt x="153" y="156"/>
                    <a:pt x="139" y="148"/>
                    <a:pt x="137" y="141"/>
                  </a:cubicBezTo>
                  <a:cubicBezTo>
                    <a:pt x="135" y="134"/>
                    <a:pt x="123" y="117"/>
                    <a:pt x="123" y="117"/>
                  </a:cubicBezTo>
                  <a:cubicBezTo>
                    <a:pt x="123" y="117"/>
                    <a:pt x="112" y="100"/>
                    <a:pt x="107" y="94"/>
                  </a:cubicBezTo>
                  <a:cubicBezTo>
                    <a:pt x="102" y="88"/>
                    <a:pt x="97" y="67"/>
                    <a:pt x="104" y="64"/>
                  </a:cubicBezTo>
                  <a:cubicBezTo>
                    <a:pt x="111" y="61"/>
                    <a:pt x="113" y="78"/>
                    <a:pt x="121" y="78"/>
                  </a:cubicBezTo>
                  <a:cubicBezTo>
                    <a:pt x="123" y="78"/>
                    <a:pt x="126" y="78"/>
                    <a:pt x="129" y="78"/>
                  </a:cubicBezTo>
                  <a:cubicBezTo>
                    <a:pt x="133" y="86"/>
                    <a:pt x="137" y="95"/>
                    <a:pt x="139" y="96"/>
                  </a:cubicBezTo>
                  <a:cubicBezTo>
                    <a:pt x="142" y="98"/>
                    <a:pt x="148" y="94"/>
                    <a:pt x="148" y="94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1" y="79"/>
                    <a:pt x="142" y="79"/>
                    <a:pt x="143" y="79"/>
                  </a:cubicBezTo>
                  <a:cubicBezTo>
                    <a:pt x="161" y="90"/>
                    <a:pt x="161" y="90"/>
                    <a:pt x="161" y="90"/>
                  </a:cubicBezTo>
                  <a:cubicBezTo>
                    <a:pt x="152" y="77"/>
                    <a:pt x="152" y="77"/>
                    <a:pt x="152" y="77"/>
                  </a:cubicBezTo>
                  <a:cubicBezTo>
                    <a:pt x="152" y="77"/>
                    <a:pt x="153" y="77"/>
                    <a:pt x="153" y="77"/>
                  </a:cubicBezTo>
                  <a:cubicBezTo>
                    <a:pt x="156" y="74"/>
                    <a:pt x="157" y="66"/>
                    <a:pt x="156" y="58"/>
                  </a:cubicBezTo>
                  <a:cubicBezTo>
                    <a:pt x="155" y="50"/>
                    <a:pt x="173" y="46"/>
                    <a:pt x="182" y="49"/>
                  </a:cubicBezTo>
                  <a:cubicBezTo>
                    <a:pt x="191" y="52"/>
                    <a:pt x="184" y="65"/>
                    <a:pt x="193" y="62"/>
                  </a:cubicBezTo>
                  <a:cubicBezTo>
                    <a:pt x="202" y="59"/>
                    <a:pt x="205" y="44"/>
                    <a:pt x="210" y="43"/>
                  </a:cubicBezTo>
                  <a:cubicBezTo>
                    <a:pt x="215" y="42"/>
                    <a:pt x="258" y="52"/>
                    <a:pt x="258" y="52"/>
                  </a:cubicBezTo>
                  <a:cubicBezTo>
                    <a:pt x="258" y="52"/>
                    <a:pt x="261" y="47"/>
                    <a:pt x="263" y="40"/>
                  </a:cubicBezTo>
                  <a:cubicBezTo>
                    <a:pt x="265" y="33"/>
                    <a:pt x="260" y="30"/>
                    <a:pt x="261" y="24"/>
                  </a:cubicBezTo>
                  <a:cubicBezTo>
                    <a:pt x="262" y="18"/>
                    <a:pt x="275" y="22"/>
                    <a:pt x="275" y="22"/>
                  </a:cubicBezTo>
                  <a:cubicBezTo>
                    <a:pt x="275" y="22"/>
                    <a:pt x="276" y="14"/>
                    <a:pt x="273" y="9"/>
                  </a:cubicBezTo>
                  <a:cubicBezTo>
                    <a:pt x="270" y="4"/>
                    <a:pt x="263" y="5"/>
                    <a:pt x="263" y="5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249" y="6"/>
                    <a:pt x="249" y="6"/>
                    <a:pt x="249" y="6"/>
                  </a:cubicBezTo>
                  <a:cubicBezTo>
                    <a:pt x="249" y="6"/>
                    <a:pt x="255" y="14"/>
                    <a:pt x="253" y="19"/>
                  </a:cubicBezTo>
                  <a:cubicBezTo>
                    <a:pt x="251" y="24"/>
                    <a:pt x="237" y="25"/>
                    <a:pt x="237" y="25"/>
                  </a:cubicBezTo>
                  <a:cubicBezTo>
                    <a:pt x="227" y="17"/>
                    <a:pt x="227" y="17"/>
                    <a:pt x="227" y="17"/>
                  </a:cubicBezTo>
                  <a:cubicBezTo>
                    <a:pt x="227" y="17"/>
                    <a:pt x="222" y="24"/>
                    <a:pt x="214" y="25"/>
                  </a:cubicBezTo>
                  <a:cubicBezTo>
                    <a:pt x="206" y="26"/>
                    <a:pt x="205" y="17"/>
                    <a:pt x="205" y="17"/>
                  </a:cubicBezTo>
                  <a:cubicBezTo>
                    <a:pt x="205" y="17"/>
                    <a:pt x="199" y="20"/>
                    <a:pt x="191" y="20"/>
                  </a:cubicBezTo>
                  <a:cubicBezTo>
                    <a:pt x="183" y="20"/>
                    <a:pt x="179" y="6"/>
                    <a:pt x="179" y="6"/>
                  </a:cubicBezTo>
                  <a:cubicBezTo>
                    <a:pt x="161" y="9"/>
                    <a:pt x="161" y="9"/>
                    <a:pt x="161" y="9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41" y="15"/>
                    <a:pt x="141" y="15"/>
                    <a:pt x="141" y="15"/>
                  </a:cubicBezTo>
                  <a:cubicBezTo>
                    <a:pt x="141" y="15"/>
                    <a:pt x="131" y="25"/>
                    <a:pt x="123" y="25"/>
                  </a:cubicBezTo>
                  <a:cubicBezTo>
                    <a:pt x="118" y="25"/>
                    <a:pt x="114" y="21"/>
                    <a:pt x="111" y="18"/>
                  </a:cubicBezTo>
                  <a:cubicBezTo>
                    <a:pt x="107" y="23"/>
                    <a:pt x="102" y="26"/>
                    <a:pt x="97" y="32"/>
                  </a:cubicBezTo>
                  <a:cubicBezTo>
                    <a:pt x="89" y="40"/>
                    <a:pt x="70" y="36"/>
                    <a:pt x="70" y="36"/>
                  </a:cubicBezTo>
                  <a:cubicBezTo>
                    <a:pt x="70" y="36"/>
                    <a:pt x="71" y="41"/>
                    <a:pt x="67" y="47"/>
                  </a:cubicBezTo>
                  <a:cubicBezTo>
                    <a:pt x="63" y="53"/>
                    <a:pt x="43" y="45"/>
                    <a:pt x="43" y="45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5"/>
                    <a:pt x="39" y="62"/>
                    <a:pt x="36" y="64"/>
                  </a:cubicBezTo>
                  <a:cubicBezTo>
                    <a:pt x="31" y="68"/>
                    <a:pt x="21" y="70"/>
                    <a:pt x="21" y="70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4" y="86"/>
                    <a:pt x="3" y="93"/>
                  </a:cubicBezTo>
                  <a:cubicBezTo>
                    <a:pt x="2" y="100"/>
                    <a:pt x="3" y="109"/>
                    <a:pt x="3" y="109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5" y="116"/>
                    <a:pt x="0" y="133"/>
                    <a:pt x="9" y="136"/>
                  </a:cubicBezTo>
                  <a:cubicBezTo>
                    <a:pt x="18" y="139"/>
                    <a:pt x="29" y="156"/>
                    <a:pt x="29" y="156"/>
                  </a:cubicBezTo>
                  <a:cubicBezTo>
                    <a:pt x="29" y="156"/>
                    <a:pt x="39" y="179"/>
                    <a:pt x="47" y="179"/>
                  </a:cubicBezTo>
                  <a:cubicBezTo>
                    <a:pt x="55" y="179"/>
                    <a:pt x="76" y="178"/>
                    <a:pt x="76" y="178"/>
                  </a:cubicBezTo>
                  <a:close/>
                  <a:moveTo>
                    <a:pt x="266" y="168"/>
                  </a:moveTo>
                  <a:cubicBezTo>
                    <a:pt x="253" y="168"/>
                    <a:pt x="253" y="168"/>
                    <a:pt x="253" y="168"/>
                  </a:cubicBezTo>
                  <a:cubicBezTo>
                    <a:pt x="252" y="180"/>
                    <a:pt x="252" y="180"/>
                    <a:pt x="252" y="180"/>
                  </a:cubicBezTo>
                  <a:cubicBezTo>
                    <a:pt x="261" y="196"/>
                    <a:pt x="261" y="196"/>
                    <a:pt x="261" y="196"/>
                  </a:cubicBezTo>
                  <a:lnTo>
                    <a:pt x="266" y="168"/>
                  </a:lnTo>
                  <a:close/>
                  <a:moveTo>
                    <a:pt x="19" y="207"/>
                  </a:moveTo>
                  <a:cubicBezTo>
                    <a:pt x="10" y="214"/>
                    <a:pt x="30" y="220"/>
                    <a:pt x="30" y="220"/>
                  </a:cubicBezTo>
                  <a:cubicBezTo>
                    <a:pt x="36" y="216"/>
                    <a:pt x="28" y="200"/>
                    <a:pt x="19" y="207"/>
                  </a:cubicBezTo>
                  <a:close/>
                  <a:moveTo>
                    <a:pt x="255" y="261"/>
                  </a:moveTo>
                  <a:cubicBezTo>
                    <a:pt x="255" y="270"/>
                    <a:pt x="255" y="270"/>
                    <a:pt x="255" y="270"/>
                  </a:cubicBezTo>
                  <a:cubicBezTo>
                    <a:pt x="264" y="260"/>
                    <a:pt x="264" y="260"/>
                    <a:pt x="264" y="260"/>
                  </a:cubicBezTo>
                  <a:lnTo>
                    <a:pt x="255" y="261"/>
                  </a:lnTo>
                  <a:close/>
                  <a:moveTo>
                    <a:pt x="275" y="220"/>
                  </a:moveTo>
                  <a:cubicBezTo>
                    <a:pt x="271" y="216"/>
                    <a:pt x="259" y="219"/>
                    <a:pt x="259" y="227"/>
                  </a:cubicBezTo>
                  <a:cubicBezTo>
                    <a:pt x="259" y="232"/>
                    <a:pt x="279" y="224"/>
                    <a:pt x="275" y="220"/>
                  </a:cubicBezTo>
                  <a:close/>
                  <a:moveTo>
                    <a:pt x="269" y="127"/>
                  </a:moveTo>
                  <a:cubicBezTo>
                    <a:pt x="250" y="132"/>
                    <a:pt x="250" y="132"/>
                    <a:pt x="250" y="132"/>
                  </a:cubicBezTo>
                  <a:cubicBezTo>
                    <a:pt x="251" y="148"/>
                    <a:pt x="264" y="141"/>
                    <a:pt x="264" y="141"/>
                  </a:cubicBezTo>
                  <a:cubicBezTo>
                    <a:pt x="264" y="141"/>
                    <a:pt x="269" y="152"/>
                    <a:pt x="278" y="148"/>
                  </a:cubicBezTo>
                  <a:cubicBezTo>
                    <a:pt x="287" y="144"/>
                    <a:pt x="269" y="127"/>
                    <a:pt x="269" y="127"/>
                  </a:cubicBezTo>
                  <a:close/>
                  <a:moveTo>
                    <a:pt x="230" y="247"/>
                  </a:moveTo>
                  <a:cubicBezTo>
                    <a:pt x="232" y="259"/>
                    <a:pt x="242" y="262"/>
                    <a:pt x="247" y="254"/>
                  </a:cubicBezTo>
                  <a:cubicBezTo>
                    <a:pt x="253" y="244"/>
                    <a:pt x="228" y="235"/>
                    <a:pt x="230" y="247"/>
                  </a:cubicBezTo>
                  <a:close/>
                  <a:moveTo>
                    <a:pt x="299" y="210"/>
                  </a:moveTo>
                  <a:cubicBezTo>
                    <a:pt x="289" y="202"/>
                    <a:pt x="291" y="220"/>
                    <a:pt x="291" y="220"/>
                  </a:cubicBezTo>
                  <a:cubicBezTo>
                    <a:pt x="305" y="227"/>
                    <a:pt x="309" y="218"/>
                    <a:pt x="299" y="210"/>
                  </a:cubicBezTo>
                  <a:close/>
                  <a:moveTo>
                    <a:pt x="298" y="249"/>
                  </a:moveTo>
                  <a:cubicBezTo>
                    <a:pt x="307" y="236"/>
                    <a:pt x="307" y="236"/>
                    <a:pt x="307" y="236"/>
                  </a:cubicBezTo>
                  <a:cubicBezTo>
                    <a:pt x="295" y="236"/>
                    <a:pt x="295" y="236"/>
                    <a:pt x="295" y="236"/>
                  </a:cubicBezTo>
                  <a:lnTo>
                    <a:pt x="298" y="249"/>
                  </a:lnTo>
                  <a:close/>
                  <a:moveTo>
                    <a:pt x="186" y="146"/>
                  </a:moveTo>
                  <a:cubicBezTo>
                    <a:pt x="186" y="146"/>
                    <a:pt x="180" y="158"/>
                    <a:pt x="196" y="158"/>
                  </a:cubicBezTo>
                  <a:lnTo>
                    <a:pt x="186" y="146"/>
                  </a:lnTo>
                  <a:close/>
                  <a:moveTo>
                    <a:pt x="361" y="281"/>
                  </a:moveTo>
                  <a:cubicBezTo>
                    <a:pt x="357" y="274"/>
                    <a:pt x="336" y="302"/>
                    <a:pt x="342" y="312"/>
                  </a:cubicBezTo>
                  <a:cubicBezTo>
                    <a:pt x="347" y="321"/>
                    <a:pt x="365" y="288"/>
                    <a:pt x="361" y="281"/>
                  </a:cubicBezTo>
                  <a:close/>
                  <a:moveTo>
                    <a:pt x="310" y="258"/>
                  </a:moveTo>
                  <a:cubicBezTo>
                    <a:pt x="309" y="273"/>
                    <a:pt x="309" y="273"/>
                    <a:pt x="309" y="273"/>
                  </a:cubicBezTo>
                  <a:cubicBezTo>
                    <a:pt x="334" y="254"/>
                    <a:pt x="334" y="254"/>
                    <a:pt x="334" y="254"/>
                  </a:cubicBezTo>
                  <a:cubicBezTo>
                    <a:pt x="326" y="249"/>
                    <a:pt x="326" y="249"/>
                    <a:pt x="326" y="249"/>
                  </a:cubicBezTo>
                  <a:lnTo>
                    <a:pt x="310" y="258"/>
                  </a:lnTo>
                  <a:close/>
                  <a:moveTo>
                    <a:pt x="311" y="342"/>
                  </a:moveTo>
                  <a:cubicBezTo>
                    <a:pt x="324" y="339"/>
                    <a:pt x="324" y="339"/>
                    <a:pt x="324" y="339"/>
                  </a:cubicBezTo>
                  <a:cubicBezTo>
                    <a:pt x="317" y="312"/>
                    <a:pt x="317" y="312"/>
                    <a:pt x="317" y="312"/>
                  </a:cubicBezTo>
                  <a:lnTo>
                    <a:pt x="311" y="342"/>
                  </a:lnTo>
                  <a:close/>
                  <a:moveTo>
                    <a:pt x="186" y="221"/>
                  </a:moveTo>
                  <a:cubicBezTo>
                    <a:pt x="181" y="226"/>
                    <a:pt x="184" y="232"/>
                    <a:pt x="189" y="231"/>
                  </a:cubicBezTo>
                  <a:cubicBezTo>
                    <a:pt x="198" y="229"/>
                    <a:pt x="191" y="216"/>
                    <a:pt x="186" y="221"/>
                  </a:cubicBezTo>
                  <a:close/>
                  <a:moveTo>
                    <a:pt x="127" y="288"/>
                  </a:moveTo>
                  <a:cubicBezTo>
                    <a:pt x="121" y="290"/>
                    <a:pt x="126" y="307"/>
                    <a:pt x="133" y="301"/>
                  </a:cubicBezTo>
                  <a:cubicBezTo>
                    <a:pt x="140" y="295"/>
                    <a:pt x="134" y="286"/>
                    <a:pt x="127" y="288"/>
                  </a:cubicBezTo>
                  <a:close/>
                  <a:moveTo>
                    <a:pt x="259" y="352"/>
                  </a:moveTo>
                  <a:cubicBezTo>
                    <a:pt x="255" y="354"/>
                    <a:pt x="252" y="342"/>
                    <a:pt x="252" y="342"/>
                  </a:cubicBezTo>
                  <a:cubicBezTo>
                    <a:pt x="230" y="341"/>
                    <a:pt x="230" y="341"/>
                    <a:pt x="230" y="341"/>
                  </a:cubicBezTo>
                  <a:cubicBezTo>
                    <a:pt x="209" y="336"/>
                    <a:pt x="209" y="336"/>
                    <a:pt x="209" y="336"/>
                  </a:cubicBezTo>
                  <a:cubicBezTo>
                    <a:pt x="188" y="336"/>
                    <a:pt x="188" y="336"/>
                    <a:pt x="188" y="336"/>
                  </a:cubicBezTo>
                  <a:cubicBezTo>
                    <a:pt x="168" y="325"/>
                    <a:pt x="168" y="325"/>
                    <a:pt x="168" y="325"/>
                  </a:cubicBezTo>
                  <a:cubicBezTo>
                    <a:pt x="168" y="325"/>
                    <a:pt x="152" y="332"/>
                    <a:pt x="161" y="342"/>
                  </a:cubicBezTo>
                  <a:cubicBezTo>
                    <a:pt x="170" y="352"/>
                    <a:pt x="175" y="345"/>
                    <a:pt x="175" y="345"/>
                  </a:cubicBezTo>
                  <a:cubicBezTo>
                    <a:pt x="181" y="351"/>
                    <a:pt x="181" y="351"/>
                    <a:pt x="181" y="351"/>
                  </a:cubicBezTo>
                  <a:cubicBezTo>
                    <a:pt x="205" y="352"/>
                    <a:pt x="205" y="352"/>
                    <a:pt x="205" y="352"/>
                  </a:cubicBezTo>
                  <a:cubicBezTo>
                    <a:pt x="213" y="367"/>
                    <a:pt x="213" y="367"/>
                    <a:pt x="213" y="367"/>
                  </a:cubicBezTo>
                  <a:cubicBezTo>
                    <a:pt x="238" y="366"/>
                    <a:pt x="238" y="366"/>
                    <a:pt x="238" y="366"/>
                  </a:cubicBezTo>
                  <a:cubicBezTo>
                    <a:pt x="241" y="362"/>
                    <a:pt x="241" y="362"/>
                    <a:pt x="241" y="362"/>
                  </a:cubicBezTo>
                  <a:cubicBezTo>
                    <a:pt x="241" y="362"/>
                    <a:pt x="279" y="367"/>
                    <a:pt x="281" y="353"/>
                  </a:cubicBezTo>
                  <a:cubicBezTo>
                    <a:pt x="283" y="339"/>
                    <a:pt x="263" y="350"/>
                    <a:pt x="259" y="352"/>
                  </a:cubicBezTo>
                  <a:close/>
                  <a:moveTo>
                    <a:pt x="285" y="272"/>
                  </a:moveTo>
                  <a:cubicBezTo>
                    <a:pt x="276" y="268"/>
                    <a:pt x="272" y="276"/>
                    <a:pt x="277" y="279"/>
                  </a:cubicBezTo>
                  <a:cubicBezTo>
                    <a:pt x="284" y="284"/>
                    <a:pt x="294" y="276"/>
                    <a:pt x="285" y="272"/>
                  </a:cubicBezTo>
                  <a:close/>
                  <a:moveTo>
                    <a:pt x="79" y="186"/>
                  </a:moveTo>
                  <a:cubicBezTo>
                    <a:pt x="65" y="192"/>
                    <a:pt x="65" y="192"/>
                    <a:pt x="65" y="192"/>
                  </a:cubicBezTo>
                  <a:cubicBezTo>
                    <a:pt x="58" y="192"/>
                    <a:pt x="58" y="192"/>
                    <a:pt x="58" y="192"/>
                  </a:cubicBezTo>
                  <a:cubicBezTo>
                    <a:pt x="47" y="207"/>
                    <a:pt x="47" y="207"/>
                    <a:pt x="47" y="207"/>
                  </a:cubicBezTo>
                  <a:cubicBezTo>
                    <a:pt x="66" y="224"/>
                    <a:pt x="66" y="224"/>
                    <a:pt x="66" y="224"/>
                  </a:cubicBezTo>
                  <a:cubicBezTo>
                    <a:pt x="66" y="224"/>
                    <a:pt x="63" y="241"/>
                    <a:pt x="63" y="251"/>
                  </a:cubicBezTo>
                  <a:cubicBezTo>
                    <a:pt x="63" y="261"/>
                    <a:pt x="78" y="267"/>
                    <a:pt x="81" y="260"/>
                  </a:cubicBezTo>
                  <a:cubicBezTo>
                    <a:pt x="84" y="253"/>
                    <a:pt x="93" y="254"/>
                    <a:pt x="93" y="254"/>
                  </a:cubicBezTo>
                  <a:cubicBezTo>
                    <a:pt x="107" y="280"/>
                    <a:pt x="107" y="280"/>
                    <a:pt x="107" y="280"/>
                  </a:cubicBezTo>
                  <a:cubicBezTo>
                    <a:pt x="113" y="262"/>
                    <a:pt x="113" y="262"/>
                    <a:pt x="113" y="262"/>
                  </a:cubicBezTo>
                  <a:cubicBezTo>
                    <a:pt x="122" y="275"/>
                    <a:pt x="122" y="275"/>
                    <a:pt x="122" y="275"/>
                  </a:cubicBezTo>
                  <a:cubicBezTo>
                    <a:pt x="138" y="281"/>
                    <a:pt x="138" y="281"/>
                    <a:pt x="138" y="281"/>
                  </a:cubicBezTo>
                  <a:cubicBezTo>
                    <a:pt x="129" y="270"/>
                    <a:pt x="129" y="270"/>
                    <a:pt x="129" y="270"/>
                  </a:cubicBezTo>
                  <a:cubicBezTo>
                    <a:pt x="133" y="265"/>
                    <a:pt x="133" y="265"/>
                    <a:pt x="133" y="265"/>
                  </a:cubicBezTo>
                  <a:cubicBezTo>
                    <a:pt x="131" y="250"/>
                    <a:pt x="131" y="250"/>
                    <a:pt x="131" y="250"/>
                  </a:cubicBezTo>
                  <a:cubicBezTo>
                    <a:pt x="131" y="250"/>
                    <a:pt x="114" y="229"/>
                    <a:pt x="117" y="221"/>
                  </a:cubicBezTo>
                  <a:cubicBezTo>
                    <a:pt x="120" y="213"/>
                    <a:pt x="143" y="232"/>
                    <a:pt x="143" y="232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228"/>
                    <a:pt x="141" y="221"/>
                    <a:pt x="132" y="212"/>
                  </a:cubicBezTo>
                  <a:cubicBezTo>
                    <a:pt x="123" y="203"/>
                    <a:pt x="79" y="186"/>
                    <a:pt x="79" y="18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244">
              <a:extLst>
                <a:ext uri="{FF2B5EF4-FFF2-40B4-BE49-F238E27FC236}">
                  <a16:creationId xmlns:a16="http://schemas.microsoft.com/office/drawing/2014/main" id="{FBB1F7B4-13A9-9490-E574-2D2DF72F9913}"/>
                </a:ext>
              </a:extLst>
            </p:cNvPr>
            <p:cNvSpPr>
              <a:spLocks/>
            </p:cNvSpPr>
            <p:nvPr/>
          </p:nvSpPr>
          <p:spPr bwMode="gray">
            <a:xfrm>
              <a:off x="-4423" y="-15394"/>
              <a:ext cx="237" cy="390"/>
            </a:xfrm>
            <a:custGeom>
              <a:avLst/>
              <a:gdLst>
                <a:gd name="T0" fmla="*/ 62 w 100"/>
                <a:gd name="T1" fmla="*/ 142 h 165"/>
                <a:gd name="T2" fmla="*/ 72 w 100"/>
                <a:gd name="T3" fmla="*/ 138 h 165"/>
                <a:gd name="T4" fmla="*/ 80 w 100"/>
                <a:gd name="T5" fmla="*/ 133 h 165"/>
                <a:gd name="T6" fmla="*/ 80 w 100"/>
                <a:gd name="T7" fmla="*/ 119 h 165"/>
                <a:gd name="T8" fmla="*/ 95 w 100"/>
                <a:gd name="T9" fmla="*/ 113 h 165"/>
                <a:gd name="T10" fmla="*/ 95 w 100"/>
                <a:gd name="T11" fmla="*/ 92 h 165"/>
                <a:gd name="T12" fmla="*/ 77 w 100"/>
                <a:gd name="T13" fmla="*/ 99 h 165"/>
                <a:gd name="T14" fmla="*/ 77 w 100"/>
                <a:gd name="T15" fmla="*/ 85 h 165"/>
                <a:gd name="T16" fmla="*/ 69 w 100"/>
                <a:gd name="T17" fmla="*/ 79 h 165"/>
                <a:gd name="T18" fmla="*/ 71 w 100"/>
                <a:gd name="T19" fmla="*/ 67 h 165"/>
                <a:gd name="T20" fmla="*/ 66 w 100"/>
                <a:gd name="T21" fmla="*/ 56 h 165"/>
                <a:gd name="T22" fmla="*/ 68 w 100"/>
                <a:gd name="T23" fmla="*/ 41 h 165"/>
                <a:gd name="T24" fmla="*/ 68 w 100"/>
                <a:gd name="T25" fmla="*/ 29 h 165"/>
                <a:gd name="T26" fmla="*/ 64 w 100"/>
                <a:gd name="T27" fmla="*/ 19 h 165"/>
                <a:gd name="T28" fmla="*/ 55 w 100"/>
                <a:gd name="T29" fmla="*/ 19 h 165"/>
                <a:gd name="T30" fmla="*/ 47 w 100"/>
                <a:gd name="T31" fmla="*/ 4 h 165"/>
                <a:gd name="T32" fmla="*/ 41 w 100"/>
                <a:gd name="T33" fmla="*/ 10 h 165"/>
                <a:gd name="T34" fmla="*/ 23 w 100"/>
                <a:gd name="T35" fmla="*/ 0 h 165"/>
                <a:gd name="T36" fmla="*/ 21 w 100"/>
                <a:gd name="T37" fmla="*/ 14 h 165"/>
                <a:gd name="T38" fmla="*/ 15 w 100"/>
                <a:gd name="T39" fmla="*/ 19 h 165"/>
                <a:gd name="T40" fmla="*/ 0 w 100"/>
                <a:gd name="T41" fmla="*/ 19 h 165"/>
                <a:gd name="T42" fmla="*/ 9 w 100"/>
                <a:gd name="T43" fmla="*/ 25 h 165"/>
                <a:gd name="T44" fmla="*/ 15 w 100"/>
                <a:gd name="T45" fmla="*/ 22 h 165"/>
                <a:gd name="T46" fmla="*/ 17 w 100"/>
                <a:gd name="T47" fmla="*/ 32 h 165"/>
                <a:gd name="T48" fmla="*/ 10 w 100"/>
                <a:gd name="T49" fmla="*/ 41 h 165"/>
                <a:gd name="T50" fmla="*/ 14 w 100"/>
                <a:gd name="T51" fmla="*/ 45 h 165"/>
                <a:gd name="T52" fmla="*/ 30 w 100"/>
                <a:gd name="T53" fmla="*/ 45 h 165"/>
                <a:gd name="T54" fmla="*/ 24 w 100"/>
                <a:gd name="T55" fmla="*/ 96 h 165"/>
                <a:gd name="T56" fmla="*/ 17 w 100"/>
                <a:gd name="T57" fmla="*/ 129 h 165"/>
                <a:gd name="T58" fmla="*/ 40 w 100"/>
                <a:gd name="T59" fmla="*/ 144 h 165"/>
                <a:gd name="T60" fmla="*/ 41 w 100"/>
                <a:gd name="T61" fmla="*/ 163 h 165"/>
                <a:gd name="T62" fmla="*/ 64 w 100"/>
                <a:gd name="T63" fmla="*/ 165 h 165"/>
                <a:gd name="T64" fmla="*/ 62 w 100"/>
                <a:gd name="T65" fmla="*/ 158 h 165"/>
                <a:gd name="T66" fmla="*/ 62 w 100"/>
                <a:gd name="T67" fmla="*/ 142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0" h="165">
                  <a:moveTo>
                    <a:pt x="62" y="142"/>
                  </a:moveTo>
                  <a:cubicBezTo>
                    <a:pt x="63" y="135"/>
                    <a:pt x="72" y="138"/>
                    <a:pt x="72" y="138"/>
                  </a:cubicBezTo>
                  <a:cubicBezTo>
                    <a:pt x="80" y="133"/>
                    <a:pt x="80" y="133"/>
                    <a:pt x="80" y="133"/>
                  </a:cubicBezTo>
                  <a:cubicBezTo>
                    <a:pt x="80" y="119"/>
                    <a:pt x="80" y="119"/>
                    <a:pt x="80" y="119"/>
                  </a:cubicBezTo>
                  <a:cubicBezTo>
                    <a:pt x="80" y="119"/>
                    <a:pt x="90" y="117"/>
                    <a:pt x="95" y="113"/>
                  </a:cubicBezTo>
                  <a:cubicBezTo>
                    <a:pt x="100" y="109"/>
                    <a:pt x="95" y="92"/>
                    <a:pt x="95" y="92"/>
                  </a:cubicBezTo>
                  <a:cubicBezTo>
                    <a:pt x="77" y="99"/>
                    <a:pt x="77" y="99"/>
                    <a:pt x="77" y="99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7" y="85"/>
                    <a:pt x="69" y="84"/>
                    <a:pt x="69" y="79"/>
                  </a:cubicBezTo>
                  <a:cubicBezTo>
                    <a:pt x="69" y="74"/>
                    <a:pt x="71" y="67"/>
                    <a:pt x="71" y="67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45"/>
                    <a:pt x="25" y="84"/>
                    <a:pt x="24" y="96"/>
                  </a:cubicBezTo>
                  <a:cubicBezTo>
                    <a:pt x="23" y="108"/>
                    <a:pt x="12" y="124"/>
                    <a:pt x="17" y="129"/>
                  </a:cubicBezTo>
                  <a:cubicBezTo>
                    <a:pt x="22" y="134"/>
                    <a:pt x="40" y="144"/>
                    <a:pt x="40" y="144"/>
                  </a:cubicBezTo>
                  <a:cubicBezTo>
                    <a:pt x="40" y="144"/>
                    <a:pt x="37" y="164"/>
                    <a:pt x="41" y="163"/>
                  </a:cubicBezTo>
                  <a:cubicBezTo>
                    <a:pt x="45" y="162"/>
                    <a:pt x="64" y="165"/>
                    <a:pt x="64" y="165"/>
                  </a:cubicBezTo>
                  <a:cubicBezTo>
                    <a:pt x="62" y="158"/>
                    <a:pt x="62" y="158"/>
                    <a:pt x="62" y="158"/>
                  </a:cubicBezTo>
                  <a:cubicBezTo>
                    <a:pt x="62" y="158"/>
                    <a:pt x="61" y="149"/>
                    <a:pt x="62" y="14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245">
              <a:extLst>
                <a:ext uri="{FF2B5EF4-FFF2-40B4-BE49-F238E27FC236}">
                  <a16:creationId xmlns:a16="http://schemas.microsoft.com/office/drawing/2014/main" id="{54767DBD-037D-69FC-9E35-3432CD4C291D}"/>
                </a:ext>
              </a:extLst>
            </p:cNvPr>
            <p:cNvSpPr>
              <a:spLocks/>
            </p:cNvSpPr>
            <p:nvPr/>
          </p:nvSpPr>
          <p:spPr bwMode="gray">
            <a:xfrm>
              <a:off x="-4089" y="-15583"/>
              <a:ext cx="630" cy="366"/>
            </a:xfrm>
            <a:custGeom>
              <a:avLst/>
              <a:gdLst>
                <a:gd name="T0" fmla="*/ 225 w 267"/>
                <a:gd name="T1" fmla="*/ 87 h 155"/>
                <a:gd name="T2" fmla="*/ 241 w 267"/>
                <a:gd name="T3" fmla="*/ 47 h 155"/>
                <a:gd name="T4" fmla="*/ 264 w 267"/>
                <a:gd name="T5" fmla="*/ 23 h 155"/>
                <a:gd name="T6" fmla="*/ 237 w 267"/>
                <a:gd name="T7" fmla="*/ 12 h 155"/>
                <a:gd name="T8" fmla="*/ 194 w 267"/>
                <a:gd name="T9" fmla="*/ 2 h 155"/>
                <a:gd name="T10" fmla="*/ 169 w 267"/>
                <a:gd name="T11" fmla="*/ 6 h 155"/>
                <a:gd name="T12" fmla="*/ 157 w 267"/>
                <a:gd name="T13" fmla="*/ 12 h 155"/>
                <a:gd name="T14" fmla="*/ 118 w 267"/>
                <a:gd name="T15" fmla="*/ 23 h 155"/>
                <a:gd name="T16" fmla="*/ 92 w 267"/>
                <a:gd name="T17" fmla="*/ 17 h 155"/>
                <a:gd name="T18" fmla="*/ 62 w 267"/>
                <a:gd name="T19" fmla="*/ 21 h 155"/>
                <a:gd name="T20" fmla="*/ 39 w 267"/>
                <a:gd name="T21" fmla="*/ 21 h 155"/>
                <a:gd name="T22" fmla="*/ 29 w 267"/>
                <a:gd name="T23" fmla="*/ 5 h 155"/>
                <a:gd name="T24" fmla="*/ 10 w 267"/>
                <a:gd name="T25" fmla="*/ 0 h 155"/>
                <a:gd name="T26" fmla="*/ 0 w 267"/>
                <a:gd name="T27" fmla="*/ 16 h 155"/>
                <a:gd name="T28" fmla="*/ 12 w 267"/>
                <a:gd name="T29" fmla="*/ 33 h 155"/>
                <a:gd name="T30" fmla="*/ 23 w 267"/>
                <a:gd name="T31" fmla="*/ 47 h 155"/>
                <a:gd name="T32" fmla="*/ 20 w 267"/>
                <a:gd name="T33" fmla="*/ 68 h 155"/>
                <a:gd name="T34" fmla="*/ 8 w 267"/>
                <a:gd name="T35" fmla="*/ 80 h 155"/>
                <a:gd name="T36" fmla="*/ 2 w 267"/>
                <a:gd name="T37" fmla="*/ 95 h 155"/>
                <a:gd name="T38" fmla="*/ 8 w 267"/>
                <a:gd name="T39" fmla="*/ 104 h 155"/>
                <a:gd name="T40" fmla="*/ 13 w 267"/>
                <a:gd name="T41" fmla="*/ 112 h 155"/>
                <a:gd name="T42" fmla="*/ 33 w 267"/>
                <a:gd name="T43" fmla="*/ 139 h 155"/>
                <a:gd name="T44" fmla="*/ 41 w 267"/>
                <a:gd name="T45" fmla="*/ 154 h 155"/>
                <a:gd name="T46" fmla="*/ 73 w 267"/>
                <a:gd name="T47" fmla="*/ 150 h 155"/>
                <a:gd name="T48" fmla="*/ 97 w 267"/>
                <a:gd name="T49" fmla="*/ 135 h 155"/>
                <a:gd name="T50" fmla="*/ 123 w 267"/>
                <a:gd name="T51" fmla="*/ 146 h 155"/>
                <a:gd name="T52" fmla="*/ 145 w 267"/>
                <a:gd name="T53" fmla="*/ 146 h 155"/>
                <a:gd name="T54" fmla="*/ 171 w 267"/>
                <a:gd name="T55" fmla="*/ 148 h 155"/>
                <a:gd name="T56" fmla="*/ 179 w 267"/>
                <a:gd name="T57" fmla="*/ 129 h 155"/>
                <a:gd name="T58" fmla="*/ 208 w 267"/>
                <a:gd name="T59" fmla="*/ 116 h 155"/>
                <a:gd name="T60" fmla="*/ 226 w 267"/>
                <a:gd name="T61" fmla="*/ 119 h 155"/>
                <a:gd name="T62" fmla="*/ 248 w 267"/>
                <a:gd name="T63" fmla="*/ 11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7" h="155">
                  <a:moveTo>
                    <a:pt x="248" y="115"/>
                  </a:moveTo>
                  <a:cubicBezTo>
                    <a:pt x="225" y="87"/>
                    <a:pt x="225" y="87"/>
                    <a:pt x="225" y="87"/>
                  </a:cubicBezTo>
                  <a:cubicBezTo>
                    <a:pt x="225" y="87"/>
                    <a:pt x="235" y="82"/>
                    <a:pt x="239" y="75"/>
                  </a:cubicBezTo>
                  <a:cubicBezTo>
                    <a:pt x="243" y="68"/>
                    <a:pt x="232" y="54"/>
                    <a:pt x="241" y="47"/>
                  </a:cubicBezTo>
                  <a:cubicBezTo>
                    <a:pt x="250" y="40"/>
                    <a:pt x="267" y="44"/>
                    <a:pt x="267" y="44"/>
                  </a:cubicBezTo>
                  <a:cubicBezTo>
                    <a:pt x="267" y="44"/>
                    <a:pt x="265" y="35"/>
                    <a:pt x="264" y="23"/>
                  </a:cubicBezTo>
                  <a:cubicBezTo>
                    <a:pt x="257" y="24"/>
                    <a:pt x="248" y="24"/>
                    <a:pt x="245" y="22"/>
                  </a:cubicBezTo>
                  <a:cubicBezTo>
                    <a:pt x="240" y="19"/>
                    <a:pt x="237" y="12"/>
                    <a:pt x="237" y="12"/>
                  </a:cubicBezTo>
                  <a:cubicBezTo>
                    <a:pt x="237" y="12"/>
                    <a:pt x="228" y="10"/>
                    <a:pt x="219" y="10"/>
                  </a:cubicBezTo>
                  <a:cubicBezTo>
                    <a:pt x="210" y="10"/>
                    <a:pt x="203" y="2"/>
                    <a:pt x="194" y="2"/>
                  </a:cubicBezTo>
                  <a:cubicBezTo>
                    <a:pt x="185" y="2"/>
                    <a:pt x="188" y="8"/>
                    <a:pt x="188" y="8"/>
                  </a:cubicBezTo>
                  <a:cubicBezTo>
                    <a:pt x="169" y="6"/>
                    <a:pt x="169" y="6"/>
                    <a:pt x="169" y="6"/>
                  </a:cubicBezTo>
                  <a:cubicBezTo>
                    <a:pt x="170" y="11"/>
                    <a:pt x="170" y="11"/>
                    <a:pt x="170" y="11"/>
                  </a:cubicBezTo>
                  <a:cubicBezTo>
                    <a:pt x="170" y="11"/>
                    <a:pt x="164" y="10"/>
                    <a:pt x="157" y="12"/>
                  </a:cubicBezTo>
                  <a:cubicBezTo>
                    <a:pt x="150" y="14"/>
                    <a:pt x="151" y="30"/>
                    <a:pt x="140" y="29"/>
                  </a:cubicBezTo>
                  <a:cubicBezTo>
                    <a:pt x="129" y="28"/>
                    <a:pt x="118" y="23"/>
                    <a:pt x="118" y="23"/>
                  </a:cubicBezTo>
                  <a:cubicBezTo>
                    <a:pt x="105" y="22"/>
                    <a:pt x="105" y="22"/>
                    <a:pt x="105" y="22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17"/>
                    <a:pt x="97" y="26"/>
                    <a:pt x="84" y="26"/>
                  </a:cubicBezTo>
                  <a:cubicBezTo>
                    <a:pt x="71" y="26"/>
                    <a:pt x="62" y="21"/>
                    <a:pt x="62" y="2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22" y="22"/>
                    <a:pt x="22" y="18"/>
                  </a:cubicBezTo>
                  <a:cubicBezTo>
                    <a:pt x="22" y="14"/>
                    <a:pt x="31" y="9"/>
                    <a:pt x="29" y="5"/>
                  </a:cubicBezTo>
                  <a:cubicBezTo>
                    <a:pt x="27" y="1"/>
                    <a:pt x="17" y="1"/>
                    <a:pt x="17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8" y="53"/>
                    <a:pt x="26" y="57"/>
                  </a:cubicBezTo>
                  <a:cubicBezTo>
                    <a:pt x="24" y="61"/>
                    <a:pt x="20" y="68"/>
                    <a:pt x="20" y="68"/>
                  </a:cubicBezTo>
                  <a:cubicBezTo>
                    <a:pt x="20" y="68"/>
                    <a:pt x="9" y="65"/>
                    <a:pt x="7" y="69"/>
                  </a:cubicBezTo>
                  <a:cubicBezTo>
                    <a:pt x="5" y="73"/>
                    <a:pt x="8" y="80"/>
                    <a:pt x="8" y="80"/>
                  </a:cubicBezTo>
                  <a:cubicBezTo>
                    <a:pt x="8" y="80"/>
                    <a:pt x="11" y="88"/>
                    <a:pt x="10" y="91"/>
                  </a:cubicBezTo>
                  <a:cubicBezTo>
                    <a:pt x="9" y="93"/>
                    <a:pt x="5" y="94"/>
                    <a:pt x="2" y="95"/>
                  </a:cubicBezTo>
                  <a:cubicBezTo>
                    <a:pt x="2" y="95"/>
                    <a:pt x="2" y="95"/>
                    <a:pt x="2" y="95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25" y="121"/>
                    <a:pt x="25" y="121"/>
                    <a:pt x="25" y="121"/>
                  </a:cubicBezTo>
                  <a:cubicBezTo>
                    <a:pt x="25" y="121"/>
                    <a:pt x="36" y="128"/>
                    <a:pt x="33" y="139"/>
                  </a:cubicBezTo>
                  <a:cubicBezTo>
                    <a:pt x="32" y="142"/>
                    <a:pt x="31" y="145"/>
                    <a:pt x="29" y="147"/>
                  </a:cubicBezTo>
                  <a:cubicBezTo>
                    <a:pt x="32" y="150"/>
                    <a:pt x="36" y="154"/>
                    <a:pt x="41" y="154"/>
                  </a:cubicBezTo>
                  <a:cubicBezTo>
                    <a:pt x="49" y="154"/>
                    <a:pt x="59" y="144"/>
                    <a:pt x="59" y="144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9" y="138"/>
                    <a:pt x="79" y="138"/>
                    <a:pt x="79" y="138"/>
                  </a:cubicBezTo>
                  <a:cubicBezTo>
                    <a:pt x="97" y="135"/>
                    <a:pt x="97" y="135"/>
                    <a:pt x="97" y="135"/>
                  </a:cubicBezTo>
                  <a:cubicBezTo>
                    <a:pt x="97" y="135"/>
                    <a:pt x="101" y="149"/>
                    <a:pt x="109" y="149"/>
                  </a:cubicBezTo>
                  <a:cubicBezTo>
                    <a:pt x="117" y="149"/>
                    <a:pt x="123" y="146"/>
                    <a:pt x="123" y="146"/>
                  </a:cubicBezTo>
                  <a:cubicBezTo>
                    <a:pt x="123" y="146"/>
                    <a:pt x="124" y="155"/>
                    <a:pt x="132" y="154"/>
                  </a:cubicBezTo>
                  <a:cubicBezTo>
                    <a:pt x="140" y="153"/>
                    <a:pt x="145" y="146"/>
                    <a:pt x="145" y="146"/>
                  </a:cubicBezTo>
                  <a:cubicBezTo>
                    <a:pt x="155" y="154"/>
                    <a:pt x="155" y="154"/>
                    <a:pt x="155" y="154"/>
                  </a:cubicBezTo>
                  <a:cubicBezTo>
                    <a:pt x="155" y="154"/>
                    <a:pt x="169" y="153"/>
                    <a:pt x="171" y="148"/>
                  </a:cubicBezTo>
                  <a:cubicBezTo>
                    <a:pt x="173" y="143"/>
                    <a:pt x="167" y="135"/>
                    <a:pt x="167" y="135"/>
                  </a:cubicBezTo>
                  <a:cubicBezTo>
                    <a:pt x="179" y="129"/>
                    <a:pt x="179" y="129"/>
                    <a:pt x="179" y="129"/>
                  </a:cubicBezTo>
                  <a:cubicBezTo>
                    <a:pt x="188" y="114"/>
                    <a:pt x="188" y="114"/>
                    <a:pt x="188" y="114"/>
                  </a:cubicBezTo>
                  <a:cubicBezTo>
                    <a:pt x="208" y="116"/>
                    <a:pt x="208" y="116"/>
                    <a:pt x="208" y="116"/>
                  </a:cubicBezTo>
                  <a:cubicBezTo>
                    <a:pt x="216" y="106"/>
                    <a:pt x="216" y="106"/>
                    <a:pt x="216" y="106"/>
                  </a:cubicBezTo>
                  <a:cubicBezTo>
                    <a:pt x="226" y="119"/>
                    <a:pt x="226" y="119"/>
                    <a:pt x="226" y="119"/>
                  </a:cubicBezTo>
                  <a:cubicBezTo>
                    <a:pt x="226" y="119"/>
                    <a:pt x="240" y="121"/>
                    <a:pt x="249" y="120"/>
                  </a:cubicBezTo>
                  <a:cubicBezTo>
                    <a:pt x="248" y="117"/>
                    <a:pt x="248" y="115"/>
                    <a:pt x="248" y="11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246">
              <a:extLst>
                <a:ext uri="{FF2B5EF4-FFF2-40B4-BE49-F238E27FC236}">
                  <a16:creationId xmlns:a16="http://schemas.microsoft.com/office/drawing/2014/main" id="{85BA4664-A238-4171-67A6-FDD9937A5875}"/>
                </a:ext>
              </a:extLst>
            </p:cNvPr>
            <p:cNvSpPr>
              <a:spLocks/>
            </p:cNvSpPr>
            <p:nvPr/>
          </p:nvSpPr>
          <p:spPr bwMode="gray">
            <a:xfrm>
              <a:off x="-4267" y="-15359"/>
              <a:ext cx="263" cy="206"/>
            </a:xfrm>
            <a:custGeom>
              <a:avLst/>
              <a:gdLst>
                <a:gd name="T0" fmla="*/ 100 w 111"/>
                <a:gd name="T1" fmla="*/ 26 h 87"/>
                <a:gd name="T2" fmla="*/ 88 w 111"/>
                <a:gd name="T3" fmla="*/ 17 h 87"/>
                <a:gd name="T4" fmla="*/ 88 w 111"/>
                <a:gd name="T5" fmla="*/ 9 h 87"/>
                <a:gd name="T6" fmla="*/ 83 w 111"/>
                <a:gd name="T7" fmla="*/ 9 h 87"/>
                <a:gd name="T8" fmla="*/ 77 w 111"/>
                <a:gd name="T9" fmla="*/ 0 h 87"/>
                <a:gd name="T10" fmla="*/ 76 w 111"/>
                <a:gd name="T11" fmla="*/ 0 h 87"/>
                <a:gd name="T12" fmla="*/ 50 w 111"/>
                <a:gd name="T13" fmla="*/ 2 h 87"/>
                <a:gd name="T14" fmla="*/ 46 w 111"/>
                <a:gd name="T15" fmla="*/ 6 h 87"/>
                <a:gd name="T16" fmla="*/ 33 w 111"/>
                <a:gd name="T17" fmla="*/ 6 h 87"/>
                <a:gd name="T18" fmla="*/ 30 w 111"/>
                <a:gd name="T19" fmla="*/ 14 h 87"/>
                <a:gd name="T20" fmla="*/ 18 w 111"/>
                <a:gd name="T21" fmla="*/ 14 h 87"/>
                <a:gd name="T22" fmla="*/ 13 w 111"/>
                <a:gd name="T23" fmla="*/ 22 h 87"/>
                <a:gd name="T24" fmla="*/ 2 w 111"/>
                <a:gd name="T25" fmla="*/ 26 h 87"/>
                <a:gd name="T26" fmla="*/ 0 w 111"/>
                <a:gd name="T27" fmla="*/ 41 h 87"/>
                <a:gd name="T28" fmla="*/ 5 w 111"/>
                <a:gd name="T29" fmla="*/ 52 h 87"/>
                <a:gd name="T30" fmla="*/ 3 w 111"/>
                <a:gd name="T31" fmla="*/ 64 h 87"/>
                <a:gd name="T32" fmla="*/ 11 w 111"/>
                <a:gd name="T33" fmla="*/ 70 h 87"/>
                <a:gd name="T34" fmla="*/ 11 w 111"/>
                <a:gd name="T35" fmla="*/ 84 h 87"/>
                <a:gd name="T36" fmla="*/ 29 w 111"/>
                <a:gd name="T37" fmla="*/ 77 h 87"/>
                <a:gd name="T38" fmla="*/ 31 w 111"/>
                <a:gd name="T39" fmla="*/ 84 h 87"/>
                <a:gd name="T40" fmla="*/ 36 w 111"/>
                <a:gd name="T41" fmla="*/ 79 h 87"/>
                <a:gd name="T42" fmla="*/ 60 w 111"/>
                <a:gd name="T43" fmla="*/ 81 h 87"/>
                <a:gd name="T44" fmla="*/ 63 w 111"/>
                <a:gd name="T45" fmla="*/ 70 h 87"/>
                <a:gd name="T46" fmla="*/ 90 w 111"/>
                <a:gd name="T47" fmla="*/ 66 h 87"/>
                <a:gd name="T48" fmla="*/ 108 w 111"/>
                <a:gd name="T49" fmla="*/ 44 h 87"/>
                <a:gd name="T50" fmla="*/ 100 w 111"/>
                <a:gd name="T51" fmla="*/ 2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1" h="87">
                  <a:moveTo>
                    <a:pt x="100" y="26"/>
                  </a:moveTo>
                  <a:cubicBezTo>
                    <a:pt x="88" y="17"/>
                    <a:pt x="88" y="17"/>
                    <a:pt x="88" y="17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6" y="0"/>
                    <a:pt x="76" y="0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3" y="6"/>
                    <a:pt x="37" y="14"/>
                    <a:pt x="30" y="14"/>
                  </a:cubicBezTo>
                  <a:cubicBezTo>
                    <a:pt x="23" y="14"/>
                    <a:pt x="18" y="14"/>
                    <a:pt x="18" y="14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3" y="59"/>
                    <a:pt x="3" y="64"/>
                  </a:cubicBezTo>
                  <a:cubicBezTo>
                    <a:pt x="3" y="69"/>
                    <a:pt x="11" y="70"/>
                    <a:pt x="11" y="70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30" y="80"/>
                    <a:pt x="31" y="84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56" y="87"/>
                    <a:pt x="60" y="81"/>
                  </a:cubicBezTo>
                  <a:cubicBezTo>
                    <a:pt x="64" y="75"/>
                    <a:pt x="63" y="70"/>
                    <a:pt x="63" y="70"/>
                  </a:cubicBezTo>
                  <a:cubicBezTo>
                    <a:pt x="63" y="70"/>
                    <a:pt x="82" y="74"/>
                    <a:pt x="90" y="66"/>
                  </a:cubicBezTo>
                  <a:cubicBezTo>
                    <a:pt x="98" y="58"/>
                    <a:pt x="105" y="55"/>
                    <a:pt x="108" y="44"/>
                  </a:cubicBezTo>
                  <a:cubicBezTo>
                    <a:pt x="111" y="33"/>
                    <a:pt x="100" y="26"/>
                    <a:pt x="100" y="2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247">
              <a:extLst>
                <a:ext uri="{FF2B5EF4-FFF2-40B4-BE49-F238E27FC236}">
                  <a16:creationId xmlns:a16="http://schemas.microsoft.com/office/drawing/2014/main" id="{96FC4FF6-CAD1-8DE1-D1D5-EA1AA7A31FFD}"/>
                </a:ext>
              </a:extLst>
            </p:cNvPr>
            <p:cNvSpPr>
              <a:spLocks/>
            </p:cNvSpPr>
            <p:nvPr/>
          </p:nvSpPr>
          <p:spPr bwMode="gray">
            <a:xfrm>
              <a:off x="-3695" y="-16117"/>
              <a:ext cx="338" cy="373"/>
            </a:xfrm>
            <a:custGeom>
              <a:avLst/>
              <a:gdLst>
                <a:gd name="T0" fmla="*/ 0 w 143"/>
                <a:gd name="T1" fmla="*/ 11 h 158"/>
                <a:gd name="T2" fmla="*/ 24 w 143"/>
                <a:gd name="T3" fmla="*/ 30 h 158"/>
                <a:gd name="T4" fmla="*/ 23 w 143"/>
                <a:gd name="T5" fmla="*/ 40 h 158"/>
                <a:gd name="T6" fmla="*/ 38 w 143"/>
                <a:gd name="T7" fmla="*/ 49 h 158"/>
                <a:gd name="T8" fmla="*/ 44 w 143"/>
                <a:gd name="T9" fmla="*/ 63 h 158"/>
                <a:gd name="T10" fmla="*/ 52 w 143"/>
                <a:gd name="T11" fmla="*/ 64 h 158"/>
                <a:gd name="T12" fmla="*/ 54 w 143"/>
                <a:gd name="T13" fmla="*/ 74 h 158"/>
                <a:gd name="T14" fmla="*/ 71 w 143"/>
                <a:gd name="T15" fmla="*/ 84 h 158"/>
                <a:gd name="T16" fmla="*/ 69 w 143"/>
                <a:gd name="T17" fmla="*/ 106 h 158"/>
                <a:gd name="T18" fmla="*/ 74 w 143"/>
                <a:gd name="T19" fmla="*/ 109 h 158"/>
                <a:gd name="T20" fmla="*/ 67 w 143"/>
                <a:gd name="T21" fmla="*/ 129 h 158"/>
                <a:gd name="T22" fmla="*/ 73 w 143"/>
                <a:gd name="T23" fmla="*/ 143 h 158"/>
                <a:gd name="T24" fmla="*/ 75 w 143"/>
                <a:gd name="T25" fmla="*/ 158 h 158"/>
                <a:gd name="T26" fmla="*/ 92 w 143"/>
                <a:gd name="T27" fmla="*/ 155 h 158"/>
                <a:gd name="T28" fmla="*/ 88 w 143"/>
                <a:gd name="T29" fmla="*/ 141 h 158"/>
                <a:gd name="T30" fmla="*/ 104 w 143"/>
                <a:gd name="T31" fmla="*/ 129 h 158"/>
                <a:gd name="T32" fmla="*/ 113 w 143"/>
                <a:gd name="T33" fmla="*/ 120 h 158"/>
                <a:gd name="T34" fmla="*/ 97 w 143"/>
                <a:gd name="T35" fmla="*/ 106 h 158"/>
                <a:gd name="T36" fmla="*/ 113 w 143"/>
                <a:gd name="T37" fmla="*/ 102 h 158"/>
                <a:gd name="T38" fmla="*/ 126 w 143"/>
                <a:gd name="T39" fmla="*/ 109 h 158"/>
                <a:gd name="T40" fmla="*/ 143 w 143"/>
                <a:gd name="T41" fmla="*/ 104 h 158"/>
                <a:gd name="T42" fmla="*/ 141 w 143"/>
                <a:gd name="T43" fmla="*/ 83 h 158"/>
                <a:gd name="T44" fmla="*/ 120 w 143"/>
                <a:gd name="T45" fmla="*/ 77 h 158"/>
                <a:gd name="T46" fmla="*/ 122 w 143"/>
                <a:gd name="T47" fmla="*/ 61 h 158"/>
                <a:gd name="T48" fmla="*/ 117 w 143"/>
                <a:gd name="T49" fmla="*/ 56 h 158"/>
                <a:gd name="T50" fmla="*/ 105 w 143"/>
                <a:gd name="T51" fmla="*/ 58 h 158"/>
                <a:gd name="T52" fmla="*/ 105 w 143"/>
                <a:gd name="T53" fmla="*/ 43 h 158"/>
                <a:gd name="T54" fmla="*/ 103 w 143"/>
                <a:gd name="T55" fmla="*/ 26 h 158"/>
                <a:gd name="T56" fmla="*/ 83 w 143"/>
                <a:gd name="T57" fmla="*/ 24 h 158"/>
                <a:gd name="T58" fmla="*/ 78 w 143"/>
                <a:gd name="T59" fmla="*/ 13 h 158"/>
                <a:gd name="T60" fmla="*/ 57 w 143"/>
                <a:gd name="T61" fmla="*/ 12 h 158"/>
                <a:gd name="T62" fmla="*/ 52 w 143"/>
                <a:gd name="T63" fmla="*/ 7 h 158"/>
                <a:gd name="T64" fmla="*/ 48 w 143"/>
                <a:gd name="T65" fmla="*/ 9 h 158"/>
                <a:gd name="T66" fmla="*/ 33 w 143"/>
                <a:gd name="T67" fmla="*/ 1 h 158"/>
                <a:gd name="T68" fmla="*/ 18 w 143"/>
                <a:gd name="T69" fmla="*/ 8 h 158"/>
                <a:gd name="T70" fmla="*/ 2 w 143"/>
                <a:gd name="T71" fmla="*/ 3 h 158"/>
                <a:gd name="T72" fmla="*/ 0 w 143"/>
                <a:gd name="T73" fmla="*/ 11 h 158"/>
                <a:gd name="T74" fmla="*/ 0 w 143"/>
                <a:gd name="T75" fmla="*/ 1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3" h="158">
                  <a:moveTo>
                    <a:pt x="0" y="11"/>
                  </a:moveTo>
                  <a:cubicBezTo>
                    <a:pt x="17" y="14"/>
                    <a:pt x="24" y="30"/>
                    <a:pt x="24" y="3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4"/>
                    <a:pt x="70" y="75"/>
                    <a:pt x="71" y="84"/>
                  </a:cubicBezTo>
                  <a:cubicBezTo>
                    <a:pt x="72" y="93"/>
                    <a:pt x="69" y="106"/>
                    <a:pt x="69" y="106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67" y="122"/>
                    <a:pt x="67" y="129"/>
                  </a:cubicBezTo>
                  <a:cubicBezTo>
                    <a:pt x="67" y="136"/>
                    <a:pt x="73" y="143"/>
                    <a:pt x="73" y="143"/>
                  </a:cubicBezTo>
                  <a:cubicBezTo>
                    <a:pt x="73" y="143"/>
                    <a:pt x="72" y="151"/>
                    <a:pt x="75" y="158"/>
                  </a:cubicBezTo>
                  <a:cubicBezTo>
                    <a:pt x="92" y="155"/>
                    <a:pt x="92" y="155"/>
                    <a:pt x="92" y="155"/>
                  </a:cubicBezTo>
                  <a:cubicBezTo>
                    <a:pt x="92" y="155"/>
                    <a:pt x="88" y="145"/>
                    <a:pt x="88" y="141"/>
                  </a:cubicBezTo>
                  <a:cubicBezTo>
                    <a:pt x="88" y="137"/>
                    <a:pt x="104" y="129"/>
                    <a:pt x="104" y="129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3" y="120"/>
                    <a:pt x="98" y="110"/>
                    <a:pt x="97" y="106"/>
                  </a:cubicBezTo>
                  <a:cubicBezTo>
                    <a:pt x="96" y="102"/>
                    <a:pt x="113" y="102"/>
                    <a:pt x="113" y="102"/>
                  </a:cubicBezTo>
                  <a:cubicBezTo>
                    <a:pt x="113" y="102"/>
                    <a:pt x="119" y="110"/>
                    <a:pt x="126" y="109"/>
                  </a:cubicBezTo>
                  <a:cubicBezTo>
                    <a:pt x="133" y="108"/>
                    <a:pt x="143" y="104"/>
                    <a:pt x="143" y="104"/>
                  </a:cubicBezTo>
                  <a:cubicBezTo>
                    <a:pt x="143" y="104"/>
                    <a:pt x="142" y="90"/>
                    <a:pt x="141" y="83"/>
                  </a:cubicBezTo>
                  <a:cubicBezTo>
                    <a:pt x="140" y="76"/>
                    <a:pt x="127" y="79"/>
                    <a:pt x="120" y="77"/>
                  </a:cubicBezTo>
                  <a:cubicBezTo>
                    <a:pt x="113" y="75"/>
                    <a:pt x="122" y="61"/>
                    <a:pt x="122" y="61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08" y="58"/>
                    <a:pt x="105" y="58"/>
                  </a:cubicBezTo>
                  <a:cubicBezTo>
                    <a:pt x="102" y="58"/>
                    <a:pt x="105" y="43"/>
                    <a:pt x="105" y="43"/>
                  </a:cubicBezTo>
                  <a:cubicBezTo>
                    <a:pt x="105" y="43"/>
                    <a:pt x="114" y="34"/>
                    <a:pt x="103" y="26"/>
                  </a:cubicBezTo>
                  <a:cubicBezTo>
                    <a:pt x="92" y="18"/>
                    <a:pt x="83" y="24"/>
                    <a:pt x="83" y="24"/>
                  </a:cubicBezTo>
                  <a:cubicBezTo>
                    <a:pt x="83" y="24"/>
                    <a:pt x="83" y="17"/>
                    <a:pt x="78" y="13"/>
                  </a:cubicBezTo>
                  <a:cubicBezTo>
                    <a:pt x="73" y="9"/>
                    <a:pt x="66" y="12"/>
                    <a:pt x="57" y="12"/>
                  </a:cubicBezTo>
                  <a:cubicBezTo>
                    <a:pt x="48" y="12"/>
                    <a:pt x="52" y="7"/>
                    <a:pt x="52" y="7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2" y="0"/>
                    <a:pt x="33" y="1"/>
                  </a:cubicBezTo>
                  <a:cubicBezTo>
                    <a:pt x="24" y="2"/>
                    <a:pt x="24" y="7"/>
                    <a:pt x="18" y="8"/>
                  </a:cubicBezTo>
                  <a:cubicBezTo>
                    <a:pt x="12" y="9"/>
                    <a:pt x="2" y="3"/>
                    <a:pt x="2" y="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68" name="Freeform 248">
              <a:extLst>
                <a:ext uri="{FF2B5EF4-FFF2-40B4-BE49-F238E27FC236}">
                  <a16:creationId xmlns:a16="http://schemas.microsoft.com/office/drawing/2014/main" id="{59028CAF-D9CB-00F1-3161-4C4A5BBA4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-5412" y="-15975"/>
              <a:ext cx="35" cy="38"/>
            </a:xfrm>
            <a:custGeom>
              <a:avLst/>
              <a:gdLst>
                <a:gd name="T0" fmla="*/ 11 w 15"/>
                <a:gd name="T1" fmla="*/ 1 h 16"/>
                <a:gd name="T2" fmla="*/ 4 w 15"/>
                <a:gd name="T3" fmla="*/ 14 h 16"/>
                <a:gd name="T4" fmla="*/ 12 w 15"/>
                <a:gd name="T5" fmla="*/ 16 h 16"/>
                <a:gd name="T6" fmla="*/ 15 w 15"/>
                <a:gd name="T7" fmla="*/ 16 h 16"/>
                <a:gd name="T8" fmla="*/ 15 w 15"/>
                <a:gd name="T9" fmla="*/ 6 h 16"/>
                <a:gd name="T10" fmla="*/ 13 w 15"/>
                <a:gd name="T11" fmla="*/ 0 h 16"/>
                <a:gd name="T12" fmla="*/ 11 w 15"/>
                <a:gd name="T13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6">
                  <a:moveTo>
                    <a:pt x="11" y="1"/>
                  </a:moveTo>
                  <a:cubicBezTo>
                    <a:pt x="6" y="3"/>
                    <a:pt x="0" y="11"/>
                    <a:pt x="4" y="14"/>
                  </a:cubicBezTo>
                  <a:cubicBezTo>
                    <a:pt x="8" y="16"/>
                    <a:pt x="12" y="16"/>
                    <a:pt x="12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4"/>
                    <a:pt x="15" y="9"/>
                    <a:pt x="15" y="6"/>
                  </a:cubicBezTo>
                  <a:cubicBezTo>
                    <a:pt x="15" y="4"/>
                    <a:pt x="14" y="2"/>
                    <a:pt x="13" y="0"/>
                  </a:cubicBezTo>
                  <a:cubicBezTo>
                    <a:pt x="12" y="0"/>
                    <a:pt x="12" y="1"/>
                    <a:pt x="11" y="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249">
              <a:extLst>
                <a:ext uri="{FF2B5EF4-FFF2-40B4-BE49-F238E27FC236}">
                  <a16:creationId xmlns:a16="http://schemas.microsoft.com/office/drawing/2014/main" id="{3783C50B-C9E2-92CD-8453-71553C87B768}"/>
                </a:ext>
              </a:extLst>
            </p:cNvPr>
            <p:cNvSpPr>
              <a:spLocks/>
            </p:cNvSpPr>
            <p:nvPr/>
          </p:nvSpPr>
          <p:spPr bwMode="gray">
            <a:xfrm>
              <a:off x="-4316" y="-16098"/>
              <a:ext cx="971" cy="586"/>
            </a:xfrm>
            <a:custGeom>
              <a:avLst/>
              <a:gdLst>
                <a:gd name="T0" fmla="*/ 360 w 411"/>
                <a:gd name="T1" fmla="*/ 241 h 248"/>
                <a:gd name="T2" fmla="*/ 379 w 411"/>
                <a:gd name="T3" fmla="*/ 187 h 248"/>
                <a:gd name="T4" fmla="*/ 396 w 411"/>
                <a:gd name="T5" fmla="*/ 146 h 248"/>
                <a:gd name="T6" fmla="*/ 353 w 411"/>
                <a:gd name="T7" fmla="*/ 161 h 248"/>
                <a:gd name="T8" fmla="*/ 330 w 411"/>
                <a:gd name="T9" fmla="*/ 121 h 248"/>
                <a:gd name="T10" fmla="*/ 332 w 411"/>
                <a:gd name="T11" fmla="*/ 98 h 248"/>
                <a:gd name="T12" fmla="*/ 317 w 411"/>
                <a:gd name="T13" fmla="*/ 66 h 248"/>
                <a:gd name="T14" fmla="*/ 307 w 411"/>
                <a:gd name="T15" fmla="*/ 55 h 248"/>
                <a:gd name="T16" fmla="*/ 286 w 411"/>
                <a:gd name="T17" fmla="*/ 32 h 248"/>
                <a:gd name="T18" fmla="*/ 263 w 411"/>
                <a:gd name="T19" fmla="*/ 3 h 248"/>
                <a:gd name="T20" fmla="*/ 225 w 411"/>
                <a:gd name="T21" fmla="*/ 17 h 248"/>
                <a:gd name="T22" fmla="*/ 204 w 411"/>
                <a:gd name="T23" fmla="*/ 21 h 248"/>
                <a:gd name="T24" fmla="*/ 172 w 411"/>
                <a:gd name="T25" fmla="*/ 16 h 248"/>
                <a:gd name="T26" fmla="*/ 145 w 411"/>
                <a:gd name="T27" fmla="*/ 18 h 248"/>
                <a:gd name="T28" fmla="*/ 123 w 411"/>
                <a:gd name="T29" fmla="*/ 14 h 248"/>
                <a:gd name="T30" fmla="*/ 90 w 411"/>
                <a:gd name="T31" fmla="*/ 28 h 248"/>
                <a:gd name="T32" fmla="*/ 69 w 411"/>
                <a:gd name="T33" fmla="*/ 53 h 248"/>
                <a:gd name="T34" fmla="*/ 46 w 411"/>
                <a:gd name="T35" fmla="*/ 83 h 248"/>
                <a:gd name="T36" fmla="*/ 29 w 411"/>
                <a:gd name="T37" fmla="*/ 107 h 248"/>
                <a:gd name="T38" fmla="*/ 16 w 411"/>
                <a:gd name="T39" fmla="*/ 114 h 248"/>
                <a:gd name="T40" fmla="*/ 1 w 411"/>
                <a:gd name="T41" fmla="*/ 119 h 248"/>
                <a:gd name="T42" fmla="*/ 22 w 411"/>
                <a:gd name="T43" fmla="*/ 131 h 248"/>
                <a:gd name="T44" fmla="*/ 38 w 411"/>
                <a:gd name="T45" fmla="*/ 160 h 248"/>
                <a:gd name="T46" fmla="*/ 51 w 411"/>
                <a:gd name="T47" fmla="*/ 177 h 248"/>
                <a:gd name="T48" fmla="*/ 72 w 411"/>
                <a:gd name="T49" fmla="*/ 190 h 248"/>
                <a:gd name="T50" fmla="*/ 94 w 411"/>
                <a:gd name="T51" fmla="*/ 190 h 248"/>
                <a:gd name="T52" fmla="*/ 107 w 411"/>
                <a:gd name="T53" fmla="*/ 200 h 248"/>
                <a:gd name="T54" fmla="*/ 107 w 411"/>
                <a:gd name="T55" fmla="*/ 212 h 248"/>
                <a:gd name="T56" fmla="*/ 113 w 411"/>
                <a:gd name="T57" fmla="*/ 219 h 248"/>
                <a:gd name="T58" fmla="*/ 118 w 411"/>
                <a:gd name="T59" fmla="*/ 236 h 248"/>
                <a:gd name="T60" fmla="*/ 142 w 411"/>
                <a:gd name="T61" fmla="*/ 232 h 248"/>
                <a:gd name="T62" fmla="*/ 180 w 411"/>
                <a:gd name="T63" fmla="*/ 244 h 248"/>
                <a:gd name="T64" fmla="*/ 201 w 411"/>
                <a:gd name="T65" fmla="*/ 240 h 248"/>
                <a:gd name="T66" fmla="*/ 236 w 411"/>
                <a:gd name="T67" fmla="*/ 247 h 248"/>
                <a:gd name="T68" fmla="*/ 266 w 411"/>
                <a:gd name="T69" fmla="*/ 229 h 248"/>
                <a:gd name="T70" fmla="*/ 284 w 411"/>
                <a:gd name="T71" fmla="*/ 226 h 248"/>
                <a:gd name="T72" fmla="*/ 315 w 411"/>
                <a:gd name="T73" fmla="*/ 228 h 248"/>
                <a:gd name="T74" fmla="*/ 341 w 411"/>
                <a:gd name="T75" fmla="*/ 24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11" h="248">
                  <a:moveTo>
                    <a:pt x="341" y="240"/>
                  </a:moveTo>
                  <a:cubicBezTo>
                    <a:pt x="344" y="242"/>
                    <a:pt x="353" y="242"/>
                    <a:pt x="360" y="241"/>
                  </a:cubicBezTo>
                  <a:cubicBezTo>
                    <a:pt x="358" y="230"/>
                    <a:pt x="359" y="216"/>
                    <a:pt x="364" y="209"/>
                  </a:cubicBezTo>
                  <a:cubicBezTo>
                    <a:pt x="373" y="197"/>
                    <a:pt x="379" y="187"/>
                    <a:pt x="379" y="187"/>
                  </a:cubicBezTo>
                  <a:cubicBezTo>
                    <a:pt x="379" y="187"/>
                    <a:pt x="411" y="197"/>
                    <a:pt x="407" y="174"/>
                  </a:cubicBezTo>
                  <a:cubicBezTo>
                    <a:pt x="404" y="158"/>
                    <a:pt x="399" y="149"/>
                    <a:pt x="396" y="146"/>
                  </a:cubicBezTo>
                  <a:cubicBezTo>
                    <a:pt x="395" y="148"/>
                    <a:pt x="391" y="152"/>
                    <a:pt x="382" y="151"/>
                  </a:cubicBezTo>
                  <a:cubicBezTo>
                    <a:pt x="370" y="150"/>
                    <a:pt x="374" y="164"/>
                    <a:pt x="353" y="161"/>
                  </a:cubicBezTo>
                  <a:cubicBezTo>
                    <a:pt x="332" y="158"/>
                    <a:pt x="336" y="135"/>
                    <a:pt x="336" y="135"/>
                  </a:cubicBezTo>
                  <a:cubicBezTo>
                    <a:pt x="336" y="135"/>
                    <a:pt x="330" y="128"/>
                    <a:pt x="330" y="121"/>
                  </a:cubicBezTo>
                  <a:cubicBezTo>
                    <a:pt x="330" y="114"/>
                    <a:pt x="337" y="101"/>
                    <a:pt x="337" y="101"/>
                  </a:cubicBezTo>
                  <a:cubicBezTo>
                    <a:pt x="332" y="98"/>
                    <a:pt x="332" y="98"/>
                    <a:pt x="332" y="98"/>
                  </a:cubicBezTo>
                  <a:cubicBezTo>
                    <a:pt x="332" y="98"/>
                    <a:pt x="335" y="85"/>
                    <a:pt x="334" y="76"/>
                  </a:cubicBezTo>
                  <a:cubicBezTo>
                    <a:pt x="333" y="67"/>
                    <a:pt x="317" y="66"/>
                    <a:pt x="317" y="66"/>
                  </a:cubicBezTo>
                  <a:cubicBezTo>
                    <a:pt x="315" y="56"/>
                    <a:pt x="315" y="56"/>
                    <a:pt x="315" y="56"/>
                  </a:cubicBezTo>
                  <a:cubicBezTo>
                    <a:pt x="307" y="55"/>
                    <a:pt x="307" y="55"/>
                    <a:pt x="307" y="55"/>
                  </a:cubicBezTo>
                  <a:cubicBezTo>
                    <a:pt x="301" y="41"/>
                    <a:pt x="301" y="41"/>
                    <a:pt x="301" y="41"/>
                  </a:cubicBezTo>
                  <a:cubicBezTo>
                    <a:pt x="286" y="32"/>
                    <a:pt x="286" y="32"/>
                    <a:pt x="286" y="32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0" y="6"/>
                    <a:pt x="263" y="3"/>
                  </a:cubicBezTo>
                  <a:cubicBezTo>
                    <a:pt x="246" y="0"/>
                    <a:pt x="248" y="18"/>
                    <a:pt x="238" y="18"/>
                  </a:cubicBezTo>
                  <a:cubicBezTo>
                    <a:pt x="228" y="18"/>
                    <a:pt x="225" y="17"/>
                    <a:pt x="225" y="17"/>
                  </a:cubicBezTo>
                  <a:cubicBezTo>
                    <a:pt x="221" y="24"/>
                    <a:pt x="221" y="24"/>
                    <a:pt x="221" y="24"/>
                  </a:cubicBezTo>
                  <a:cubicBezTo>
                    <a:pt x="204" y="21"/>
                    <a:pt x="204" y="21"/>
                    <a:pt x="204" y="21"/>
                  </a:cubicBezTo>
                  <a:cubicBezTo>
                    <a:pt x="204" y="21"/>
                    <a:pt x="204" y="30"/>
                    <a:pt x="194" y="33"/>
                  </a:cubicBezTo>
                  <a:cubicBezTo>
                    <a:pt x="184" y="36"/>
                    <a:pt x="178" y="17"/>
                    <a:pt x="172" y="16"/>
                  </a:cubicBezTo>
                  <a:cubicBezTo>
                    <a:pt x="166" y="15"/>
                    <a:pt x="151" y="23"/>
                    <a:pt x="151" y="23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29" y="21"/>
                    <a:pt x="127" y="14"/>
                    <a:pt x="123" y="14"/>
                  </a:cubicBezTo>
                  <a:cubicBezTo>
                    <a:pt x="119" y="14"/>
                    <a:pt x="110" y="14"/>
                    <a:pt x="110" y="14"/>
                  </a:cubicBezTo>
                  <a:cubicBezTo>
                    <a:pt x="110" y="14"/>
                    <a:pt x="100" y="27"/>
                    <a:pt x="90" y="28"/>
                  </a:cubicBezTo>
                  <a:cubicBezTo>
                    <a:pt x="80" y="29"/>
                    <a:pt x="71" y="29"/>
                    <a:pt x="70" y="35"/>
                  </a:cubicBezTo>
                  <a:cubicBezTo>
                    <a:pt x="69" y="41"/>
                    <a:pt x="69" y="53"/>
                    <a:pt x="69" y="53"/>
                  </a:cubicBezTo>
                  <a:cubicBezTo>
                    <a:pt x="69" y="53"/>
                    <a:pt x="72" y="65"/>
                    <a:pt x="62" y="70"/>
                  </a:cubicBezTo>
                  <a:cubicBezTo>
                    <a:pt x="52" y="75"/>
                    <a:pt x="46" y="83"/>
                    <a:pt x="46" y="83"/>
                  </a:cubicBezTo>
                  <a:cubicBezTo>
                    <a:pt x="46" y="83"/>
                    <a:pt x="51" y="91"/>
                    <a:pt x="45" y="97"/>
                  </a:cubicBezTo>
                  <a:cubicBezTo>
                    <a:pt x="39" y="103"/>
                    <a:pt x="29" y="107"/>
                    <a:pt x="29" y="107"/>
                  </a:cubicBezTo>
                  <a:cubicBezTo>
                    <a:pt x="18" y="105"/>
                    <a:pt x="18" y="105"/>
                    <a:pt x="18" y="105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1" y="119"/>
                    <a:pt x="1" y="119"/>
                    <a:pt x="1" y="119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22" y="131"/>
                    <a:pt x="22" y="131"/>
                    <a:pt x="22" y="131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4"/>
                    <a:pt x="36" y="165"/>
                    <a:pt x="38" y="160"/>
                  </a:cubicBezTo>
                  <a:cubicBezTo>
                    <a:pt x="40" y="155"/>
                    <a:pt x="52" y="156"/>
                    <a:pt x="54" y="162"/>
                  </a:cubicBezTo>
                  <a:cubicBezTo>
                    <a:pt x="56" y="168"/>
                    <a:pt x="51" y="177"/>
                    <a:pt x="51" y="177"/>
                  </a:cubicBezTo>
                  <a:cubicBezTo>
                    <a:pt x="56" y="188"/>
                    <a:pt x="56" y="188"/>
                    <a:pt x="56" y="188"/>
                  </a:cubicBezTo>
                  <a:cubicBezTo>
                    <a:pt x="72" y="190"/>
                    <a:pt x="72" y="190"/>
                    <a:pt x="72" y="190"/>
                  </a:cubicBezTo>
                  <a:cubicBezTo>
                    <a:pt x="78" y="197"/>
                    <a:pt x="78" y="197"/>
                    <a:pt x="78" y="197"/>
                  </a:cubicBezTo>
                  <a:cubicBezTo>
                    <a:pt x="94" y="190"/>
                    <a:pt x="94" y="190"/>
                    <a:pt x="94" y="190"/>
                  </a:cubicBezTo>
                  <a:cubicBezTo>
                    <a:pt x="110" y="194"/>
                    <a:pt x="110" y="194"/>
                    <a:pt x="110" y="194"/>
                  </a:cubicBezTo>
                  <a:cubicBezTo>
                    <a:pt x="107" y="200"/>
                    <a:pt x="107" y="200"/>
                    <a:pt x="107" y="200"/>
                  </a:cubicBezTo>
                  <a:cubicBezTo>
                    <a:pt x="100" y="208"/>
                    <a:pt x="100" y="208"/>
                    <a:pt x="100" y="208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6" y="218"/>
                    <a:pt x="106" y="218"/>
                    <a:pt x="106" y="218"/>
                  </a:cubicBezTo>
                  <a:cubicBezTo>
                    <a:pt x="113" y="219"/>
                    <a:pt x="113" y="219"/>
                    <a:pt x="113" y="219"/>
                  </a:cubicBezTo>
                  <a:cubicBezTo>
                    <a:pt x="113" y="219"/>
                    <a:pt x="123" y="219"/>
                    <a:pt x="125" y="223"/>
                  </a:cubicBezTo>
                  <a:cubicBezTo>
                    <a:pt x="127" y="227"/>
                    <a:pt x="118" y="232"/>
                    <a:pt x="118" y="236"/>
                  </a:cubicBezTo>
                  <a:cubicBezTo>
                    <a:pt x="118" y="240"/>
                    <a:pt x="135" y="239"/>
                    <a:pt x="135" y="239"/>
                  </a:cubicBezTo>
                  <a:cubicBezTo>
                    <a:pt x="142" y="232"/>
                    <a:pt x="142" y="232"/>
                    <a:pt x="142" y="232"/>
                  </a:cubicBezTo>
                  <a:cubicBezTo>
                    <a:pt x="158" y="239"/>
                    <a:pt x="158" y="239"/>
                    <a:pt x="158" y="239"/>
                  </a:cubicBezTo>
                  <a:cubicBezTo>
                    <a:pt x="158" y="239"/>
                    <a:pt x="167" y="244"/>
                    <a:pt x="180" y="244"/>
                  </a:cubicBezTo>
                  <a:cubicBezTo>
                    <a:pt x="193" y="244"/>
                    <a:pt x="188" y="235"/>
                    <a:pt x="188" y="235"/>
                  </a:cubicBezTo>
                  <a:cubicBezTo>
                    <a:pt x="201" y="240"/>
                    <a:pt x="201" y="240"/>
                    <a:pt x="201" y="240"/>
                  </a:cubicBezTo>
                  <a:cubicBezTo>
                    <a:pt x="214" y="241"/>
                    <a:pt x="214" y="241"/>
                    <a:pt x="214" y="241"/>
                  </a:cubicBezTo>
                  <a:cubicBezTo>
                    <a:pt x="214" y="241"/>
                    <a:pt x="225" y="246"/>
                    <a:pt x="236" y="247"/>
                  </a:cubicBezTo>
                  <a:cubicBezTo>
                    <a:pt x="247" y="248"/>
                    <a:pt x="246" y="232"/>
                    <a:pt x="253" y="230"/>
                  </a:cubicBezTo>
                  <a:cubicBezTo>
                    <a:pt x="260" y="228"/>
                    <a:pt x="266" y="229"/>
                    <a:pt x="266" y="229"/>
                  </a:cubicBezTo>
                  <a:cubicBezTo>
                    <a:pt x="265" y="224"/>
                    <a:pt x="265" y="224"/>
                    <a:pt x="265" y="224"/>
                  </a:cubicBezTo>
                  <a:cubicBezTo>
                    <a:pt x="284" y="226"/>
                    <a:pt x="284" y="226"/>
                    <a:pt x="284" y="226"/>
                  </a:cubicBezTo>
                  <a:cubicBezTo>
                    <a:pt x="284" y="226"/>
                    <a:pt x="281" y="220"/>
                    <a:pt x="290" y="220"/>
                  </a:cubicBezTo>
                  <a:cubicBezTo>
                    <a:pt x="299" y="220"/>
                    <a:pt x="306" y="228"/>
                    <a:pt x="315" y="228"/>
                  </a:cubicBezTo>
                  <a:cubicBezTo>
                    <a:pt x="324" y="228"/>
                    <a:pt x="333" y="230"/>
                    <a:pt x="333" y="230"/>
                  </a:cubicBezTo>
                  <a:cubicBezTo>
                    <a:pt x="333" y="230"/>
                    <a:pt x="336" y="237"/>
                    <a:pt x="341" y="24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250">
              <a:extLst>
                <a:ext uri="{FF2B5EF4-FFF2-40B4-BE49-F238E27FC236}">
                  <a16:creationId xmlns:a16="http://schemas.microsoft.com/office/drawing/2014/main" id="{282A106C-2ABD-5948-090F-48BC41DDB179}"/>
                </a:ext>
              </a:extLst>
            </p:cNvPr>
            <p:cNvSpPr>
              <a:spLocks/>
            </p:cNvSpPr>
            <p:nvPr/>
          </p:nvSpPr>
          <p:spPr bwMode="gray">
            <a:xfrm>
              <a:off x="-4782" y="-15720"/>
              <a:ext cx="409" cy="361"/>
            </a:xfrm>
            <a:custGeom>
              <a:avLst/>
              <a:gdLst>
                <a:gd name="T0" fmla="*/ 162 w 173"/>
                <a:gd name="T1" fmla="*/ 51 h 153"/>
                <a:gd name="T2" fmla="*/ 151 w 173"/>
                <a:gd name="T3" fmla="*/ 52 h 153"/>
                <a:gd name="T4" fmla="*/ 151 w 173"/>
                <a:gd name="T5" fmla="*/ 41 h 153"/>
                <a:gd name="T6" fmla="*/ 163 w 173"/>
                <a:gd name="T7" fmla="*/ 22 h 153"/>
                <a:gd name="T8" fmla="*/ 144 w 173"/>
                <a:gd name="T9" fmla="*/ 23 h 153"/>
                <a:gd name="T10" fmla="*/ 141 w 173"/>
                <a:gd name="T11" fmla="*/ 18 h 153"/>
                <a:gd name="T12" fmla="*/ 136 w 173"/>
                <a:gd name="T13" fmla="*/ 19 h 153"/>
                <a:gd name="T14" fmla="*/ 126 w 173"/>
                <a:gd name="T15" fmla="*/ 8 h 153"/>
                <a:gd name="T16" fmla="*/ 109 w 173"/>
                <a:gd name="T17" fmla="*/ 7 h 153"/>
                <a:gd name="T18" fmla="*/ 93 w 173"/>
                <a:gd name="T19" fmla="*/ 8 h 153"/>
                <a:gd name="T20" fmla="*/ 80 w 173"/>
                <a:gd name="T21" fmla="*/ 5 h 153"/>
                <a:gd name="T22" fmla="*/ 71 w 173"/>
                <a:gd name="T23" fmla="*/ 9 h 153"/>
                <a:gd name="T24" fmla="*/ 58 w 173"/>
                <a:gd name="T25" fmla="*/ 2 h 153"/>
                <a:gd name="T26" fmla="*/ 43 w 173"/>
                <a:gd name="T27" fmla="*/ 4 h 153"/>
                <a:gd name="T28" fmla="*/ 28 w 173"/>
                <a:gd name="T29" fmla="*/ 8 h 153"/>
                <a:gd name="T30" fmla="*/ 12 w 173"/>
                <a:gd name="T31" fmla="*/ 1 h 153"/>
                <a:gd name="T32" fmla="*/ 9 w 173"/>
                <a:gd name="T33" fmla="*/ 15 h 153"/>
                <a:gd name="T34" fmla="*/ 0 w 173"/>
                <a:gd name="T35" fmla="*/ 20 h 153"/>
                <a:gd name="T36" fmla="*/ 7 w 173"/>
                <a:gd name="T37" fmla="*/ 27 h 153"/>
                <a:gd name="T38" fmla="*/ 19 w 173"/>
                <a:gd name="T39" fmla="*/ 30 h 153"/>
                <a:gd name="T40" fmla="*/ 18 w 173"/>
                <a:gd name="T41" fmla="*/ 39 h 153"/>
                <a:gd name="T42" fmla="*/ 26 w 173"/>
                <a:gd name="T43" fmla="*/ 43 h 153"/>
                <a:gd name="T44" fmla="*/ 26 w 173"/>
                <a:gd name="T45" fmla="*/ 57 h 153"/>
                <a:gd name="T46" fmla="*/ 37 w 173"/>
                <a:gd name="T47" fmla="*/ 60 h 153"/>
                <a:gd name="T48" fmla="*/ 47 w 173"/>
                <a:gd name="T49" fmla="*/ 80 h 153"/>
                <a:gd name="T50" fmla="*/ 75 w 173"/>
                <a:gd name="T51" fmla="*/ 99 h 153"/>
                <a:gd name="T52" fmla="*/ 81 w 173"/>
                <a:gd name="T53" fmla="*/ 120 h 153"/>
                <a:gd name="T54" fmla="*/ 89 w 173"/>
                <a:gd name="T55" fmla="*/ 121 h 153"/>
                <a:gd name="T56" fmla="*/ 125 w 173"/>
                <a:gd name="T57" fmla="*/ 153 h 153"/>
                <a:gd name="T58" fmla="*/ 138 w 173"/>
                <a:gd name="T59" fmla="*/ 137 h 153"/>
                <a:gd name="T60" fmla="*/ 124 w 173"/>
                <a:gd name="T61" fmla="*/ 128 h 153"/>
                <a:gd name="T62" fmla="*/ 125 w 173"/>
                <a:gd name="T63" fmla="*/ 118 h 153"/>
                <a:gd name="T64" fmla="*/ 130 w 173"/>
                <a:gd name="T65" fmla="*/ 118 h 153"/>
                <a:gd name="T66" fmla="*/ 139 w 173"/>
                <a:gd name="T67" fmla="*/ 103 h 153"/>
                <a:gd name="T68" fmla="*/ 150 w 173"/>
                <a:gd name="T69" fmla="*/ 104 h 153"/>
                <a:gd name="T70" fmla="*/ 150 w 173"/>
                <a:gd name="T71" fmla="*/ 89 h 153"/>
                <a:gd name="T72" fmla="*/ 171 w 173"/>
                <a:gd name="T73" fmla="*/ 86 h 153"/>
                <a:gd name="T74" fmla="*/ 159 w 173"/>
                <a:gd name="T75" fmla="*/ 66 h 153"/>
                <a:gd name="T76" fmla="*/ 173 w 173"/>
                <a:gd name="T77" fmla="*/ 64 h 153"/>
                <a:gd name="T78" fmla="*/ 162 w 173"/>
                <a:gd name="T79" fmla="*/ 5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3" h="153">
                  <a:moveTo>
                    <a:pt x="162" y="51"/>
                  </a:moveTo>
                  <a:cubicBezTo>
                    <a:pt x="155" y="49"/>
                    <a:pt x="151" y="52"/>
                    <a:pt x="151" y="52"/>
                  </a:cubicBezTo>
                  <a:cubicBezTo>
                    <a:pt x="151" y="41"/>
                    <a:pt x="151" y="41"/>
                    <a:pt x="151" y="41"/>
                  </a:cubicBezTo>
                  <a:cubicBezTo>
                    <a:pt x="151" y="41"/>
                    <a:pt x="163" y="27"/>
                    <a:pt x="163" y="22"/>
                  </a:cubicBezTo>
                  <a:cubicBezTo>
                    <a:pt x="163" y="17"/>
                    <a:pt x="144" y="23"/>
                    <a:pt x="144" y="23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8"/>
                    <a:pt x="115" y="8"/>
                    <a:pt x="109" y="7"/>
                  </a:cubicBezTo>
                  <a:cubicBezTo>
                    <a:pt x="103" y="6"/>
                    <a:pt x="96" y="8"/>
                    <a:pt x="93" y="8"/>
                  </a:cubicBezTo>
                  <a:cubicBezTo>
                    <a:pt x="90" y="8"/>
                    <a:pt x="80" y="5"/>
                    <a:pt x="80" y="5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8"/>
                    <a:pt x="16" y="0"/>
                    <a:pt x="12" y="1"/>
                  </a:cubicBezTo>
                  <a:cubicBezTo>
                    <a:pt x="8" y="2"/>
                    <a:pt x="9" y="15"/>
                    <a:pt x="9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23" y="39"/>
                    <a:pt x="26" y="43"/>
                  </a:cubicBezTo>
                  <a:cubicBezTo>
                    <a:pt x="29" y="47"/>
                    <a:pt x="26" y="57"/>
                    <a:pt x="26" y="57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51" y="84"/>
                    <a:pt x="75" y="99"/>
                  </a:cubicBezTo>
                  <a:cubicBezTo>
                    <a:pt x="90" y="108"/>
                    <a:pt x="86" y="116"/>
                    <a:pt x="81" y="120"/>
                  </a:cubicBezTo>
                  <a:cubicBezTo>
                    <a:pt x="89" y="121"/>
                    <a:pt x="89" y="121"/>
                    <a:pt x="89" y="121"/>
                  </a:cubicBezTo>
                  <a:cubicBezTo>
                    <a:pt x="89" y="121"/>
                    <a:pt x="116" y="148"/>
                    <a:pt x="125" y="153"/>
                  </a:cubicBezTo>
                  <a:cubicBezTo>
                    <a:pt x="138" y="137"/>
                    <a:pt x="138" y="137"/>
                    <a:pt x="138" y="137"/>
                  </a:cubicBezTo>
                  <a:cubicBezTo>
                    <a:pt x="138" y="137"/>
                    <a:pt x="127" y="131"/>
                    <a:pt x="124" y="128"/>
                  </a:cubicBezTo>
                  <a:cubicBezTo>
                    <a:pt x="121" y="125"/>
                    <a:pt x="125" y="118"/>
                    <a:pt x="125" y="118"/>
                  </a:cubicBezTo>
                  <a:cubicBezTo>
                    <a:pt x="130" y="118"/>
                    <a:pt x="130" y="118"/>
                    <a:pt x="130" y="118"/>
                  </a:cubicBezTo>
                  <a:cubicBezTo>
                    <a:pt x="130" y="118"/>
                    <a:pt x="136" y="107"/>
                    <a:pt x="139" y="103"/>
                  </a:cubicBezTo>
                  <a:cubicBezTo>
                    <a:pt x="142" y="99"/>
                    <a:pt x="150" y="104"/>
                    <a:pt x="150" y="104"/>
                  </a:cubicBezTo>
                  <a:cubicBezTo>
                    <a:pt x="150" y="89"/>
                    <a:pt x="150" y="89"/>
                    <a:pt x="150" y="89"/>
                  </a:cubicBezTo>
                  <a:cubicBezTo>
                    <a:pt x="150" y="89"/>
                    <a:pt x="169" y="93"/>
                    <a:pt x="171" y="86"/>
                  </a:cubicBezTo>
                  <a:cubicBezTo>
                    <a:pt x="173" y="79"/>
                    <a:pt x="159" y="66"/>
                    <a:pt x="159" y="66"/>
                  </a:cubicBezTo>
                  <a:cubicBezTo>
                    <a:pt x="173" y="64"/>
                    <a:pt x="173" y="64"/>
                    <a:pt x="173" y="64"/>
                  </a:cubicBezTo>
                  <a:cubicBezTo>
                    <a:pt x="173" y="64"/>
                    <a:pt x="169" y="53"/>
                    <a:pt x="162" y="5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251">
              <a:extLst>
                <a:ext uri="{FF2B5EF4-FFF2-40B4-BE49-F238E27FC236}">
                  <a16:creationId xmlns:a16="http://schemas.microsoft.com/office/drawing/2014/main" id="{06CAF0CD-7CF7-F825-B3B0-DFE99FB0B061}"/>
                </a:ext>
              </a:extLst>
            </p:cNvPr>
            <p:cNvSpPr>
              <a:spLocks/>
            </p:cNvSpPr>
            <p:nvPr/>
          </p:nvSpPr>
          <p:spPr bwMode="gray">
            <a:xfrm>
              <a:off x="-4980" y="-15876"/>
              <a:ext cx="581" cy="439"/>
            </a:xfrm>
            <a:custGeom>
              <a:avLst/>
              <a:gdLst>
                <a:gd name="T0" fmla="*/ 232 w 246"/>
                <a:gd name="T1" fmla="*/ 77 h 186"/>
                <a:gd name="T2" fmla="*/ 228 w 246"/>
                <a:gd name="T3" fmla="*/ 65 h 186"/>
                <a:gd name="T4" fmla="*/ 226 w 246"/>
                <a:gd name="T5" fmla="*/ 52 h 186"/>
                <a:gd name="T6" fmla="*/ 217 w 246"/>
                <a:gd name="T7" fmla="*/ 32 h 186"/>
                <a:gd name="T8" fmla="*/ 183 w 246"/>
                <a:gd name="T9" fmla="*/ 41 h 186"/>
                <a:gd name="T10" fmla="*/ 168 w 246"/>
                <a:gd name="T11" fmla="*/ 34 h 186"/>
                <a:gd name="T12" fmla="*/ 139 w 246"/>
                <a:gd name="T13" fmla="*/ 13 h 186"/>
                <a:gd name="T14" fmla="*/ 112 w 246"/>
                <a:gd name="T15" fmla="*/ 2 h 186"/>
                <a:gd name="T16" fmla="*/ 93 w 246"/>
                <a:gd name="T17" fmla="*/ 14 h 186"/>
                <a:gd name="T18" fmla="*/ 87 w 246"/>
                <a:gd name="T19" fmla="*/ 31 h 186"/>
                <a:gd name="T20" fmla="*/ 70 w 246"/>
                <a:gd name="T21" fmla="*/ 40 h 186"/>
                <a:gd name="T22" fmla="*/ 59 w 246"/>
                <a:gd name="T23" fmla="*/ 53 h 186"/>
                <a:gd name="T24" fmla="*/ 40 w 246"/>
                <a:gd name="T25" fmla="*/ 45 h 186"/>
                <a:gd name="T26" fmla="*/ 22 w 246"/>
                <a:gd name="T27" fmla="*/ 54 h 186"/>
                <a:gd name="T28" fmla="*/ 14 w 246"/>
                <a:gd name="T29" fmla="*/ 57 h 186"/>
                <a:gd name="T30" fmla="*/ 1 w 246"/>
                <a:gd name="T31" fmla="*/ 67 h 186"/>
                <a:gd name="T32" fmla="*/ 31 w 246"/>
                <a:gd name="T33" fmla="*/ 70 h 186"/>
                <a:gd name="T34" fmla="*/ 54 w 246"/>
                <a:gd name="T35" fmla="*/ 87 h 186"/>
                <a:gd name="T36" fmla="*/ 68 w 246"/>
                <a:gd name="T37" fmla="*/ 123 h 186"/>
                <a:gd name="T38" fmla="*/ 98 w 246"/>
                <a:gd name="T39" fmla="*/ 161 h 186"/>
                <a:gd name="T40" fmla="*/ 146 w 246"/>
                <a:gd name="T41" fmla="*/ 171 h 186"/>
                <a:gd name="T42" fmla="*/ 165 w 246"/>
                <a:gd name="T43" fmla="*/ 186 h 186"/>
                <a:gd name="T44" fmla="*/ 131 w 246"/>
                <a:gd name="T45" fmla="*/ 146 h 186"/>
                <a:gd name="T46" fmla="*/ 110 w 246"/>
                <a:gd name="T47" fmla="*/ 123 h 186"/>
                <a:gd name="T48" fmla="*/ 102 w 246"/>
                <a:gd name="T49" fmla="*/ 105 h 186"/>
                <a:gd name="T50" fmla="*/ 91 w 246"/>
                <a:gd name="T51" fmla="*/ 93 h 186"/>
                <a:gd name="T52" fmla="*/ 93 w 246"/>
                <a:gd name="T53" fmla="*/ 81 h 186"/>
                <a:gd name="T54" fmla="*/ 112 w 246"/>
                <a:gd name="T55" fmla="*/ 74 h 186"/>
                <a:gd name="T56" fmla="*/ 142 w 246"/>
                <a:gd name="T57" fmla="*/ 68 h 186"/>
                <a:gd name="T58" fmla="*/ 164 w 246"/>
                <a:gd name="T59" fmla="*/ 71 h 186"/>
                <a:gd name="T60" fmla="*/ 193 w 246"/>
                <a:gd name="T61" fmla="*/ 73 h 186"/>
                <a:gd name="T62" fmla="*/ 220 w 246"/>
                <a:gd name="T63" fmla="*/ 85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6" h="186">
                  <a:moveTo>
                    <a:pt x="230" y="84"/>
                  </a:moveTo>
                  <a:cubicBezTo>
                    <a:pt x="232" y="77"/>
                    <a:pt x="232" y="77"/>
                    <a:pt x="232" y="77"/>
                  </a:cubicBezTo>
                  <a:cubicBezTo>
                    <a:pt x="232" y="77"/>
                    <a:pt x="246" y="74"/>
                    <a:pt x="245" y="71"/>
                  </a:cubicBezTo>
                  <a:cubicBezTo>
                    <a:pt x="244" y="68"/>
                    <a:pt x="228" y="65"/>
                    <a:pt x="228" y="65"/>
                  </a:cubicBezTo>
                  <a:cubicBezTo>
                    <a:pt x="231" y="53"/>
                    <a:pt x="231" y="53"/>
                    <a:pt x="231" y="53"/>
                  </a:cubicBezTo>
                  <a:cubicBezTo>
                    <a:pt x="226" y="52"/>
                    <a:pt x="226" y="52"/>
                    <a:pt x="226" y="52"/>
                  </a:cubicBezTo>
                  <a:cubicBezTo>
                    <a:pt x="222" y="34"/>
                    <a:pt x="222" y="34"/>
                    <a:pt x="222" y="34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1" y="38"/>
                    <a:pt x="211" y="38"/>
                    <a:pt x="211" y="38"/>
                  </a:cubicBezTo>
                  <a:cubicBezTo>
                    <a:pt x="183" y="41"/>
                    <a:pt x="183" y="41"/>
                    <a:pt x="183" y="41"/>
                  </a:cubicBezTo>
                  <a:cubicBezTo>
                    <a:pt x="180" y="34"/>
                    <a:pt x="180" y="34"/>
                    <a:pt x="180" y="34"/>
                  </a:cubicBezTo>
                  <a:cubicBezTo>
                    <a:pt x="168" y="34"/>
                    <a:pt x="168" y="34"/>
                    <a:pt x="168" y="34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41" y="16"/>
                    <a:pt x="139" y="13"/>
                  </a:cubicBezTo>
                  <a:cubicBezTo>
                    <a:pt x="137" y="10"/>
                    <a:pt x="125" y="0"/>
                    <a:pt x="125" y="0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2" y="2"/>
                    <a:pt x="115" y="6"/>
                    <a:pt x="109" y="10"/>
                  </a:cubicBezTo>
                  <a:cubicBezTo>
                    <a:pt x="103" y="14"/>
                    <a:pt x="93" y="14"/>
                    <a:pt x="93" y="14"/>
                  </a:cubicBezTo>
                  <a:cubicBezTo>
                    <a:pt x="93" y="14"/>
                    <a:pt x="84" y="14"/>
                    <a:pt x="84" y="18"/>
                  </a:cubicBezTo>
                  <a:cubicBezTo>
                    <a:pt x="84" y="22"/>
                    <a:pt x="87" y="31"/>
                    <a:pt x="87" y="31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4" y="51"/>
                    <a:pt x="69" y="53"/>
                  </a:cubicBezTo>
                  <a:cubicBezTo>
                    <a:pt x="64" y="55"/>
                    <a:pt x="59" y="53"/>
                    <a:pt x="59" y="53"/>
                  </a:cubicBezTo>
                  <a:cubicBezTo>
                    <a:pt x="59" y="53"/>
                    <a:pt x="52" y="54"/>
                    <a:pt x="46" y="53"/>
                  </a:cubicBezTo>
                  <a:cubicBezTo>
                    <a:pt x="40" y="52"/>
                    <a:pt x="40" y="45"/>
                    <a:pt x="40" y="45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3" y="62"/>
                    <a:pt x="1" y="67"/>
                    <a:pt x="1" y="67"/>
                  </a:cubicBezTo>
                  <a:cubicBezTo>
                    <a:pt x="1" y="67"/>
                    <a:pt x="0" y="97"/>
                    <a:pt x="8" y="88"/>
                  </a:cubicBezTo>
                  <a:cubicBezTo>
                    <a:pt x="16" y="79"/>
                    <a:pt x="27" y="64"/>
                    <a:pt x="31" y="70"/>
                  </a:cubicBezTo>
                  <a:cubicBezTo>
                    <a:pt x="35" y="76"/>
                    <a:pt x="35" y="91"/>
                    <a:pt x="35" y="91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48" y="107"/>
                    <a:pt x="60" y="111"/>
                  </a:cubicBezTo>
                  <a:cubicBezTo>
                    <a:pt x="72" y="115"/>
                    <a:pt x="68" y="123"/>
                    <a:pt x="68" y="123"/>
                  </a:cubicBezTo>
                  <a:cubicBezTo>
                    <a:pt x="97" y="144"/>
                    <a:pt x="97" y="144"/>
                    <a:pt x="97" y="144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125" y="162"/>
                    <a:pt x="125" y="162"/>
                    <a:pt x="125" y="162"/>
                  </a:cubicBezTo>
                  <a:cubicBezTo>
                    <a:pt x="125" y="162"/>
                    <a:pt x="142" y="163"/>
                    <a:pt x="146" y="171"/>
                  </a:cubicBezTo>
                  <a:cubicBezTo>
                    <a:pt x="146" y="171"/>
                    <a:pt x="142" y="180"/>
                    <a:pt x="148" y="184"/>
                  </a:cubicBezTo>
                  <a:cubicBezTo>
                    <a:pt x="165" y="186"/>
                    <a:pt x="165" y="186"/>
                    <a:pt x="165" y="186"/>
                  </a:cubicBezTo>
                  <a:cubicBezTo>
                    <a:pt x="170" y="182"/>
                    <a:pt x="174" y="174"/>
                    <a:pt x="159" y="165"/>
                  </a:cubicBezTo>
                  <a:cubicBezTo>
                    <a:pt x="135" y="150"/>
                    <a:pt x="131" y="146"/>
                    <a:pt x="131" y="146"/>
                  </a:cubicBezTo>
                  <a:cubicBezTo>
                    <a:pt x="121" y="126"/>
                    <a:pt x="121" y="126"/>
                    <a:pt x="121" y="126"/>
                  </a:cubicBezTo>
                  <a:cubicBezTo>
                    <a:pt x="110" y="123"/>
                    <a:pt x="110" y="123"/>
                    <a:pt x="110" y="123"/>
                  </a:cubicBezTo>
                  <a:cubicBezTo>
                    <a:pt x="110" y="123"/>
                    <a:pt x="113" y="113"/>
                    <a:pt x="110" y="109"/>
                  </a:cubicBezTo>
                  <a:cubicBezTo>
                    <a:pt x="107" y="105"/>
                    <a:pt x="102" y="105"/>
                    <a:pt x="102" y="105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84" y="86"/>
                    <a:pt x="84" y="86"/>
                    <a:pt x="84" y="86"/>
                  </a:cubicBezTo>
                  <a:cubicBezTo>
                    <a:pt x="93" y="81"/>
                    <a:pt x="93" y="81"/>
                    <a:pt x="93" y="81"/>
                  </a:cubicBezTo>
                  <a:cubicBezTo>
                    <a:pt x="93" y="81"/>
                    <a:pt x="92" y="68"/>
                    <a:pt x="96" y="67"/>
                  </a:cubicBezTo>
                  <a:cubicBezTo>
                    <a:pt x="100" y="66"/>
                    <a:pt x="112" y="74"/>
                    <a:pt x="112" y="74"/>
                  </a:cubicBezTo>
                  <a:cubicBezTo>
                    <a:pt x="127" y="70"/>
                    <a:pt x="127" y="70"/>
                    <a:pt x="127" y="70"/>
                  </a:cubicBezTo>
                  <a:cubicBezTo>
                    <a:pt x="142" y="68"/>
                    <a:pt x="142" y="68"/>
                    <a:pt x="142" y="68"/>
                  </a:cubicBezTo>
                  <a:cubicBezTo>
                    <a:pt x="155" y="75"/>
                    <a:pt x="155" y="75"/>
                    <a:pt x="155" y="75"/>
                  </a:cubicBezTo>
                  <a:cubicBezTo>
                    <a:pt x="164" y="71"/>
                    <a:pt x="164" y="71"/>
                    <a:pt x="164" y="71"/>
                  </a:cubicBezTo>
                  <a:cubicBezTo>
                    <a:pt x="164" y="71"/>
                    <a:pt x="174" y="74"/>
                    <a:pt x="177" y="74"/>
                  </a:cubicBezTo>
                  <a:cubicBezTo>
                    <a:pt x="180" y="74"/>
                    <a:pt x="187" y="72"/>
                    <a:pt x="193" y="73"/>
                  </a:cubicBezTo>
                  <a:cubicBezTo>
                    <a:pt x="199" y="74"/>
                    <a:pt x="210" y="74"/>
                    <a:pt x="210" y="74"/>
                  </a:cubicBezTo>
                  <a:cubicBezTo>
                    <a:pt x="220" y="85"/>
                    <a:pt x="220" y="85"/>
                    <a:pt x="220" y="85"/>
                  </a:cubicBezTo>
                  <a:lnTo>
                    <a:pt x="230" y="8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252">
              <a:extLst>
                <a:ext uri="{FF2B5EF4-FFF2-40B4-BE49-F238E27FC236}">
                  <a16:creationId xmlns:a16="http://schemas.microsoft.com/office/drawing/2014/main" id="{5C35E813-FAF9-FBD4-96CE-27241AF1EC76}"/>
                </a:ext>
              </a:extLst>
            </p:cNvPr>
            <p:cNvSpPr>
              <a:spLocks/>
            </p:cNvSpPr>
            <p:nvPr/>
          </p:nvSpPr>
          <p:spPr bwMode="gray">
            <a:xfrm>
              <a:off x="-5011" y="-15928"/>
              <a:ext cx="326" cy="189"/>
            </a:xfrm>
            <a:custGeom>
              <a:avLst/>
              <a:gdLst>
                <a:gd name="T0" fmla="*/ 18 w 138"/>
                <a:gd name="T1" fmla="*/ 80 h 80"/>
                <a:gd name="T2" fmla="*/ 27 w 138"/>
                <a:gd name="T3" fmla="*/ 79 h 80"/>
                <a:gd name="T4" fmla="*/ 29 w 138"/>
                <a:gd name="T5" fmla="*/ 70 h 80"/>
                <a:gd name="T6" fmla="*/ 35 w 138"/>
                <a:gd name="T7" fmla="*/ 76 h 80"/>
                <a:gd name="T8" fmla="*/ 47 w 138"/>
                <a:gd name="T9" fmla="*/ 75 h 80"/>
                <a:gd name="T10" fmla="*/ 53 w 138"/>
                <a:gd name="T11" fmla="*/ 67 h 80"/>
                <a:gd name="T12" fmla="*/ 59 w 138"/>
                <a:gd name="T13" fmla="*/ 75 h 80"/>
                <a:gd name="T14" fmla="*/ 72 w 138"/>
                <a:gd name="T15" fmla="*/ 75 h 80"/>
                <a:gd name="T16" fmla="*/ 82 w 138"/>
                <a:gd name="T17" fmla="*/ 75 h 80"/>
                <a:gd name="T18" fmla="*/ 83 w 138"/>
                <a:gd name="T19" fmla="*/ 62 h 80"/>
                <a:gd name="T20" fmla="*/ 93 w 138"/>
                <a:gd name="T21" fmla="*/ 61 h 80"/>
                <a:gd name="T22" fmla="*/ 100 w 138"/>
                <a:gd name="T23" fmla="*/ 53 h 80"/>
                <a:gd name="T24" fmla="*/ 97 w 138"/>
                <a:gd name="T25" fmla="*/ 40 h 80"/>
                <a:gd name="T26" fmla="*/ 106 w 138"/>
                <a:gd name="T27" fmla="*/ 36 h 80"/>
                <a:gd name="T28" fmla="*/ 122 w 138"/>
                <a:gd name="T29" fmla="*/ 32 h 80"/>
                <a:gd name="T30" fmla="*/ 125 w 138"/>
                <a:gd name="T31" fmla="*/ 24 h 80"/>
                <a:gd name="T32" fmla="*/ 138 w 138"/>
                <a:gd name="T33" fmla="*/ 22 h 80"/>
                <a:gd name="T34" fmla="*/ 128 w 138"/>
                <a:gd name="T35" fmla="*/ 15 h 80"/>
                <a:gd name="T36" fmla="*/ 125 w 138"/>
                <a:gd name="T37" fmla="*/ 5 h 80"/>
                <a:gd name="T38" fmla="*/ 118 w 138"/>
                <a:gd name="T39" fmla="*/ 0 h 80"/>
                <a:gd name="T40" fmla="*/ 115 w 138"/>
                <a:gd name="T41" fmla="*/ 8 h 80"/>
                <a:gd name="T42" fmla="*/ 113 w 138"/>
                <a:gd name="T43" fmla="*/ 20 h 80"/>
                <a:gd name="T44" fmla="*/ 97 w 138"/>
                <a:gd name="T45" fmla="*/ 15 h 80"/>
                <a:gd name="T46" fmla="*/ 90 w 138"/>
                <a:gd name="T47" fmla="*/ 19 h 80"/>
                <a:gd name="T48" fmla="*/ 57 w 138"/>
                <a:gd name="T49" fmla="*/ 18 h 80"/>
                <a:gd name="T50" fmla="*/ 50 w 138"/>
                <a:gd name="T51" fmla="*/ 27 h 80"/>
                <a:gd name="T52" fmla="*/ 35 w 138"/>
                <a:gd name="T53" fmla="*/ 25 h 80"/>
                <a:gd name="T54" fmla="*/ 26 w 138"/>
                <a:gd name="T55" fmla="*/ 21 h 80"/>
                <a:gd name="T56" fmla="*/ 14 w 138"/>
                <a:gd name="T57" fmla="*/ 25 h 80"/>
                <a:gd name="T58" fmla="*/ 5 w 138"/>
                <a:gd name="T59" fmla="*/ 25 h 80"/>
                <a:gd name="T60" fmla="*/ 0 w 138"/>
                <a:gd name="T61" fmla="*/ 34 h 80"/>
                <a:gd name="T62" fmla="*/ 8 w 138"/>
                <a:gd name="T63" fmla="*/ 37 h 80"/>
                <a:gd name="T64" fmla="*/ 3 w 138"/>
                <a:gd name="T65" fmla="*/ 62 h 80"/>
                <a:gd name="T66" fmla="*/ 23 w 138"/>
                <a:gd name="T67" fmla="*/ 70 h 80"/>
                <a:gd name="T68" fmla="*/ 18 w 138"/>
                <a:gd name="T6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8" h="80">
                  <a:moveTo>
                    <a:pt x="18" y="80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3" y="67"/>
                    <a:pt x="53" y="74"/>
                    <a:pt x="59" y="75"/>
                  </a:cubicBezTo>
                  <a:cubicBezTo>
                    <a:pt x="65" y="76"/>
                    <a:pt x="72" y="75"/>
                    <a:pt x="72" y="75"/>
                  </a:cubicBezTo>
                  <a:cubicBezTo>
                    <a:pt x="72" y="75"/>
                    <a:pt x="77" y="77"/>
                    <a:pt x="82" y="75"/>
                  </a:cubicBezTo>
                  <a:cubicBezTo>
                    <a:pt x="87" y="73"/>
                    <a:pt x="83" y="62"/>
                    <a:pt x="83" y="62"/>
                  </a:cubicBezTo>
                  <a:cubicBezTo>
                    <a:pt x="93" y="61"/>
                    <a:pt x="93" y="61"/>
                    <a:pt x="93" y="61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100" y="53"/>
                    <a:pt x="97" y="44"/>
                    <a:pt x="97" y="40"/>
                  </a:cubicBezTo>
                  <a:cubicBezTo>
                    <a:pt x="97" y="36"/>
                    <a:pt x="106" y="36"/>
                    <a:pt x="106" y="36"/>
                  </a:cubicBezTo>
                  <a:cubicBezTo>
                    <a:pt x="106" y="36"/>
                    <a:pt x="116" y="36"/>
                    <a:pt x="122" y="32"/>
                  </a:cubicBezTo>
                  <a:cubicBezTo>
                    <a:pt x="128" y="28"/>
                    <a:pt x="125" y="24"/>
                    <a:pt x="125" y="24"/>
                  </a:cubicBezTo>
                  <a:cubicBezTo>
                    <a:pt x="138" y="22"/>
                    <a:pt x="138" y="22"/>
                    <a:pt x="138" y="22"/>
                  </a:cubicBezTo>
                  <a:cubicBezTo>
                    <a:pt x="128" y="15"/>
                    <a:pt x="128" y="15"/>
                    <a:pt x="128" y="15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5" y="8"/>
                    <a:pt x="115" y="8"/>
                    <a:pt x="115" y="8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27"/>
                    <a:pt x="50" y="27"/>
                  </a:cubicBezTo>
                  <a:cubicBezTo>
                    <a:pt x="43" y="27"/>
                    <a:pt x="35" y="25"/>
                    <a:pt x="35" y="25"/>
                  </a:cubicBezTo>
                  <a:cubicBezTo>
                    <a:pt x="35" y="25"/>
                    <a:pt x="29" y="21"/>
                    <a:pt x="26" y="21"/>
                  </a:cubicBezTo>
                  <a:cubicBezTo>
                    <a:pt x="23" y="21"/>
                    <a:pt x="14" y="25"/>
                    <a:pt x="14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4" y="30"/>
                    <a:pt x="0" y="34"/>
                    <a:pt x="0" y="34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62"/>
                    <a:pt x="26" y="66"/>
                    <a:pt x="23" y="70"/>
                  </a:cubicBezTo>
                  <a:cubicBezTo>
                    <a:pt x="22" y="72"/>
                    <a:pt x="20" y="76"/>
                    <a:pt x="18" y="8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253">
              <a:extLst>
                <a:ext uri="{FF2B5EF4-FFF2-40B4-BE49-F238E27FC236}">
                  <a16:creationId xmlns:a16="http://schemas.microsoft.com/office/drawing/2014/main" id="{2D88C781-3499-76D0-C648-75A415ED1B2E}"/>
                </a:ext>
              </a:extLst>
            </p:cNvPr>
            <p:cNvSpPr>
              <a:spLocks/>
            </p:cNvSpPr>
            <p:nvPr/>
          </p:nvSpPr>
          <p:spPr bwMode="gray">
            <a:xfrm>
              <a:off x="-4673" y="-16254"/>
              <a:ext cx="565" cy="232"/>
            </a:xfrm>
            <a:custGeom>
              <a:avLst/>
              <a:gdLst>
                <a:gd name="T0" fmla="*/ 233 w 239"/>
                <a:gd name="T1" fmla="*/ 23 h 98"/>
                <a:gd name="T2" fmla="*/ 214 w 239"/>
                <a:gd name="T3" fmla="*/ 19 h 98"/>
                <a:gd name="T4" fmla="*/ 194 w 239"/>
                <a:gd name="T5" fmla="*/ 6 h 98"/>
                <a:gd name="T6" fmla="*/ 170 w 239"/>
                <a:gd name="T7" fmla="*/ 14 h 98"/>
                <a:gd name="T8" fmla="*/ 159 w 239"/>
                <a:gd name="T9" fmla="*/ 10 h 98"/>
                <a:gd name="T10" fmla="*/ 140 w 239"/>
                <a:gd name="T11" fmla="*/ 9 h 98"/>
                <a:gd name="T12" fmla="*/ 132 w 239"/>
                <a:gd name="T13" fmla="*/ 18 h 98"/>
                <a:gd name="T14" fmla="*/ 126 w 239"/>
                <a:gd name="T15" fmla="*/ 11 h 98"/>
                <a:gd name="T16" fmla="*/ 119 w 239"/>
                <a:gd name="T17" fmla="*/ 11 h 98"/>
                <a:gd name="T18" fmla="*/ 111 w 239"/>
                <a:gd name="T19" fmla="*/ 2 h 98"/>
                <a:gd name="T20" fmla="*/ 91 w 239"/>
                <a:gd name="T21" fmla="*/ 8 h 98"/>
                <a:gd name="T22" fmla="*/ 83 w 239"/>
                <a:gd name="T23" fmla="*/ 2 h 98"/>
                <a:gd name="T24" fmla="*/ 72 w 239"/>
                <a:gd name="T25" fmla="*/ 9 h 98"/>
                <a:gd name="T26" fmla="*/ 58 w 239"/>
                <a:gd name="T27" fmla="*/ 15 h 98"/>
                <a:gd name="T28" fmla="*/ 58 w 239"/>
                <a:gd name="T29" fmla="*/ 28 h 98"/>
                <a:gd name="T30" fmla="*/ 36 w 239"/>
                <a:gd name="T31" fmla="*/ 40 h 98"/>
                <a:gd name="T32" fmla="*/ 24 w 239"/>
                <a:gd name="T33" fmla="*/ 39 h 98"/>
                <a:gd name="T34" fmla="*/ 12 w 239"/>
                <a:gd name="T35" fmla="*/ 41 h 98"/>
                <a:gd name="T36" fmla="*/ 3 w 239"/>
                <a:gd name="T37" fmla="*/ 46 h 98"/>
                <a:gd name="T38" fmla="*/ 1 w 239"/>
                <a:gd name="T39" fmla="*/ 60 h 98"/>
                <a:gd name="T40" fmla="*/ 0 w 239"/>
                <a:gd name="T41" fmla="*/ 70 h 98"/>
                <a:gd name="T42" fmla="*/ 7 w 239"/>
                <a:gd name="T43" fmla="*/ 75 h 98"/>
                <a:gd name="T44" fmla="*/ 7 w 239"/>
                <a:gd name="T45" fmla="*/ 87 h 98"/>
                <a:gd name="T46" fmla="*/ 7 w 239"/>
                <a:gd name="T47" fmla="*/ 87 h 98"/>
                <a:gd name="T48" fmla="*/ 13 w 239"/>
                <a:gd name="T49" fmla="*/ 92 h 98"/>
                <a:gd name="T50" fmla="*/ 20 w 239"/>
                <a:gd name="T51" fmla="*/ 81 h 98"/>
                <a:gd name="T52" fmla="*/ 40 w 239"/>
                <a:gd name="T53" fmla="*/ 97 h 98"/>
                <a:gd name="T54" fmla="*/ 81 w 239"/>
                <a:gd name="T55" fmla="*/ 94 h 98"/>
                <a:gd name="T56" fmla="*/ 87 w 239"/>
                <a:gd name="T57" fmla="*/ 78 h 98"/>
                <a:gd name="T58" fmla="*/ 111 w 239"/>
                <a:gd name="T59" fmla="*/ 81 h 98"/>
                <a:gd name="T60" fmla="*/ 118 w 239"/>
                <a:gd name="T61" fmla="*/ 73 h 98"/>
                <a:gd name="T62" fmla="*/ 144 w 239"/>
                <a:gd name="T63" fmla="*/ 69 h 98"/>
                <a:gd name="T64" fmla="*/ 155 w 239"/>
                <a:gd name="T65" fmla="*/ 53 h 98"/>
                <a:gd name="T66" fmla="*/ 171 w 239"/>
                <a:gd name="T67" fmla="*/ 53 h 98"/>
                <a:gd name="T68" fmla="*/ 174 w 239"/>
                <a:gd name="T69" fmla="*/ 63 h 98"/>
                <a:gd name="T70" fmla="*/ 183 w 239"/>
                <a:gd name="T71" fmla="*/ 64 h 98"/>
                <a:gd name="T72" fmla="*/ 188 w 239"/>
                <a:gd name="T73" fmla="*/ 53 h 98"/>
                <a:gd name="T74" fmla="*/ 194 w 239"/>
                <a:gd name="T75" fmla="*/ 63 h 98"/>
                <a:gd name="T76" fmla="*/ 223 w 239"/>
                <a:gd name="T77" fmla="*/ 59 h 98"/>
                <a:gd name="T78" fmla="*/ 223 w 239"/>
                <a:gd name="T79" fmla="*/ 59 h 98"/>
                <a:gd name="T80" fmla="*/ 224 w 239"/>
                <a:gd name="T81" fmla="*/ 51 h 98"/>
                <a:gd name="T82" fmla="*/ 234 w 239"/>
                <a:gd name="T83" fmla="*/ 43 h 98"/>
                <a:gd name="T84" fmla="*/ 237 w 239"/>
                <a:gd name="T85" fmla="*/ 30 h 98"/>
                <a:gd name="T86" fmla="*/ 233 w 239"/>
                <a:gd name="T87" fmla="*/ 23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9" h="98">
                  <a:moveTo>
                    <a:pt x="233" y="23"/>
                  </a:moveTo>
                  <a:cubicBezTo>
                    <a:pt x="227" y="23"/>
                    <a:pt x="221" y="25"/>
                    <a:pt x="214" y="19"/>
                  </a:cubicBezTo>
                  <a:cubicBezTo>
                    <a:pt x="207" y="13"/>
                    <a:pt x="208" y="6"/>
                    <a:pt x="194" y="6"/>
                  </a:cubicBezTo>
                  <a:cubicBezTo>
                    <a:pt x="180" y="6"/>
                    <a:pt x="175" y="14"/>
                    <a:pt x="170" y="14"/>
                  </a:cubicBezTo>
                  <a:cubicBezTo>
                    <a:pt x="165" y="14"/>
                    <a:pt x="159" y="10"/>
                    <a:pt x="159" y="10"/>
                  </a:cubicBezTo>
                  <a:cubicBezTo>
                    <a:pt x="140" y="9"/>
                    <a:pt x="140" y="9"/>
                    <a:pt x="140" y="9"/>
                  </a:cubicBezTo>
                  <a:cubicBezTo>
                    <a:pt x="140" y="9"/>
                    <a:pt x="141" y="18"/>
                    <a:pt x="132" y="18"/>
                  </a:cubicBezTo>
                  <a:cubicBezTo>
                    <a:pt x="123" y="18"/>
                    <a:pt x="126" y="11"/>
                    <a:pt x="126" y="11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19" y="11"/>
                    <a:pt x="118" y="4"/>
                    <a:pt x="111" y="2"/>
                  </a:cubicBezTo>
                  <a:cubicBezTo>
                    <a:pt x="104" y="0"/>
                    <a:pt x="94" y="8"/>
                    <a:pt x="91" y="8"/>
                  </a:cubicBezTo>
                  <a:cubicBezTo>
                    <a:pt x="89" y="8"/>
                    <a:pt x="86" y="5"/>
                    <a:pt x="83" y="2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28"/>
                    <a:pt x="43" y="35"/>
                    <a:pt x="36" y="40"/>
                  </a:cubicBezTo>
                  <a:cubicBezTo>
                    <a:pt x="31" y="43"/>
                    <a:pt x="25" y="41"/>
                    <a:pt x="24" y="39"/>
                  </a:cubicBezTo>
                  <a:cubicBezTo>
                    <a:pt x="21" y="40"/>
                    <a:pt x="15" y="40"/>
                    <a:pt x="12" y="41"/>
                  </a:cubicBezTo>
                  <a:cubicBezTo>
                    <a:pt x="8" y="42"/>
                    <a:pt x="3" y="46"/>
                    <a:pt x="3" y="46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6" y="69"/>
                    <a:pt x="7" y="75"/>
                  </a:cubicBezTo>
                  <a:cubicBezTo>
                    <a:pt x="7" y="78"/>
                    <a:pt x="7" y="83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20" y="81"/>
                    <a:pt x="23" y="98"/>
                    <a:pt x="40" y="97"/>
                  </a:cubicBezTo>
                  <a:cubicBezTo>
                    <a:pt x="57" y="96"/>
                    <a:pt x="81" y="94"/>
                    <a:pt x="81" y="94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18" y="73"/>
                    <a:pt x="118" y="73"/>
                    <a:pt x="118" y="73"/>
                  </a:cubicBezTo>
                  <a:cubicBezTo>
                    <a:pt x="118" y="73"/>
                    <a:pt x="141" y="72"/>
                    <a:pt x="144" y="69"/>
                  </a:cubicBezTo>
                  <a:cubicBezTo>
                    <a:pt x="147" y="66"/>
                    <a:pt x="155" y="53"/>
                    <a:pt x="155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74" y="63"/>
                    <a:pt x="174" y="63"/>
                    <a:pt x="174" y="63"/>
                  </a:cubicBezTo>
                  <a:cubicBezTo>
                    <a:pt x="183" y="64"/>
                    <a:pt x="183" y="64"/>
                    <a:pt x="183" y="64"/>
                  </a:cubicBezTo>
                  <a:cubicBezTo>
                    <a:pt x="183" y="64"/>
                    <a:pt x="183" y="53"/>
                    <a:pt x="188" y="53"/>
                  </a:cubicBezTo>
                  <a:cubicBezTo>
                    <a:pt x="193" y="53"/>
                    <a:pt x="194" y="63"/>
                    <a:pt x="194" y="63"/>
                  </a:cubicBezTo>
                  <a:cubicBezTo>
                    <a:pt x="194" y="63"/>
                    <a:pt x="215" y="57"/>
                    <a:pt x="223" y="59"/>
                  </a:cubicBezTo>
                  <a:cubicBezTo>
                    <a:pt x="223" y="59"/>
                    <a:pt x="223" y="59"/>
                    <a:pt x="223" y="59"/>
                  </a:cubicBezTo>
                  <a:cubicBezTo>
                    <a:pt x="224" y="51"/>
                    <a:pt x="224" y="51"/>
                    <a:pt x="224" y="51"/>
                  </a:cubicBezTo>
                  <a:cubicBezTo>
                    <a:pt x="224" y="51"/>
                    <a:pt x="232" y="49"/>
                    <a:pt x="234" y="43"/>
                  </a:cubicBezTo>
                  <a:cubicBezTo>
                    <a:pt x="236" y="37"/>
                    <a:pt x="237" y="30"/>
                    <a:pt x="237" y="30"/>
                  </a:cubicBezTo>
                  <a:cubicBezTo>
                    <a:pt x="237" y="30"/>
                    <a:pt x="239" y="23"/>
                    <a:pt x="233" y="2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254">
              <a:extLst>
                <a:ext uri="{FF2B5EF4-FFF2-40B4-BE49-F238E27FC236}">
                  <a16:creationId xmlns:a16="http://schemas.microsoft.com/office/drawing/2014/main" id="{9B59685C-021E-AACA-A3C5-404195329C9B}"/>
                </a:ext>
              </a:extLst>
            </p:cNvPr>
            <p:cNvSpPr>
              <a:spLocks/>
            </p:cNvSpPr>
            <p:nvPr/>
          </p:nvSpPr>
          <p:spPr bwMode="gray">
            <a:xfrm>
              <a:off x="-4732" y="-16129"/>
              <a:ext cx="676" cy="350"/>
            </a:xfrm>
            <a:custGeom>
              <a:avLst/>
              <a:gdLst>
                <a:gd name="T0" fmla="*/ 31 w 286"/>
                <a:gd name="T1" fmla="*/ 43 h 148"/>
                <a:gd name="T2" fmla="*/ 16 w 286"/>
                <a:gd name="T3" fmla="*/ 43 h 148"/>
                <a:gd name="T4" fmla="*/ 15 w 286"/>
                <a:gd name="T5" fmla="*/ 52 h 148"/>
                <a:gd name="T6" fmla="*/ 23 w 286"/>
                <a:gd name="T7" fmla="*/ 53 h 148"/>
                <a:gd name="T8" fmla="*/ 15 w 286"/>
                <a:gd name="T9" fmla="*/ 65 h 148"/>
                <a:gd name="T10" fmla="*/ 15 w 286"/>
                <a:gd name="T11" fmla="*/ 79 h 148"/>
                <a:gd name="T12" fmla="*/ 2 w 286"/>
                <a:gd name="T13" fmla="*/ 81 h 148"/>
                <a:gd name="T14" fmla="*/ 0 w 286"/>
                <a:gd name="T15" fmla="*/ 85 h 148"/>
                <a:gd name="T16" fmla="*/ 7 w 286"/>
                <a:gd name="T17" fmla="*/ 90 h 148"/>
                <a:gd name="T18" fmla="*/ 10 w 286"/>
                <a:gd name="T19" fmla="*/ 100 h 148"/>
                <a:gd name="T20" fmla="*/ 20 w 286"/>
                <a:gd name="T21" fmla="*/ 107 h 148"/>
                <a:gd name="T22" fmla="*/ 34 w 286"/>
                <a:gd name="T23" fmla="*/ 120 h 148"/>
                <a:gd name="T24" fmla="*/ 54 w 286"/>
                <a:gd name="T25" fmla="*/ 137 h 148"/>
                <a:gd name="T26" fmla="*/ 63 w 286"/>
                <a:gd name="T27" fmla="*/ 141 h 148"/>
                <a:gd name="T28" fmla="*/ 75 w 286"/>
                <a:gd name="T29" fmla="*/ 141 h 148"/>
                <a:gd name="T30" fmla="*/ 78 w 286"/>
                <a:gd name="T31" fmla="*/ 148 h 148"/>
                <a:gd name="T32" fmla="*/ 106 w 286"/>
                <a:gd name="T33" fmla="*/ 145 h 148"/>
                <a:gd name="T34" fmla="*/ 112 w 286"/>
                <a:gd name="T35" fmla="*/ 139 h 148"/>
                <a:gd name="T36" fmla="*/ 115 w 286"/>
                <a:gd name="T37" fmla="*/ 140 h 148"/>
                <a:gd name="T38" fmla="*/ 118 w 286"/>
                <a:gd name="T39" fmla="*/ 136 h 148"/>
                <a:gd name="T40" fmla="*/ 133 w 286"/>
                <a:gd name="T41" fmla="*/ 136 h 148"/>
                <a:gd name="T42" fmla="*/ 145 w 286"/>
                <a:gd name="T43" fmla="*/ 125 h 148"/>
                <a:gd name="T44" fmla="*/ 163 w 286"/>
                <a:gd name="T45" fmla="*/ 125 h 148"/>
                <a:gd name="T46" fmla="*/ 176 w 286"/>
                <a:gd name="T47" fmla="*/ 131 h 148"/>
                <a:gd name="T48" fmla="*/ 192 w 286"/>
                <a:gd name="T49" fmla="*/ 127 h 148"/>
                <a:gd name="T50" fmla="*/ 194 w 286"/>
                <a:gd name="T51" fmla="*/ 118 h 148"/>
                <a:gd name="T52" fmla="*/ 205 w 286"/>
                <a:gd name="T53" fmla="*/ 120 h 148"/>
                <a:gd name="T54" fmla="*/ 221 w 286"/>
                <a:gd name="T55" fmla="*/ 110 h 148"/>
                <a:gd name="T56" fmla="*/ 222 w 286"/>
                <a:gd name="T57" fmla="*/ 96 h 148"/>
                <a:gd name="T58" fmla="*/ 238 w 286"/>
                <a:gd name="T59" fmla="*/ 83 h 148"/>
                <a:gd name="T60" fmla="*/ 245 w 286"/>
                <a:gd name="T61" fmla="*/ 66 h 148"/>
                <a:gd name="T62" fmla="*/ 246 w 286"/>
                <a:gd name="T63" fmla="*/ 48 h 148"/>
                <a:gd name="T64" fmla="*/ 266 w 286"/>
                <a:gd name="T65" fmla="*/ 41 h 148"/>
                <a:gd name="T66" fmla="*/ 286 w 286"/>
                <a:gd name="T67" fmla="*/ 27 h 148"/>
                <a:gd name="T68" fmla="*/ 264 w 286"/>
                <a:gd name="T69" fmla="*/ 19 h 148"/>
                <a:gd name="T70" fmla="*/ 248 w 286"/>
                <a:gd name="T71" fmla="*/ 6 h 148"/>
                <a:gd name="T72" fmla="*/ 219 w 286"/>
                <a:gd name="T73" fmla="*/ 10 h 148"/>
                <a:gd name="T74" fmla="*/ 213 w 286"/>
                <a:gd name="T75" fmla="*/ 0 h 148"/>
                <a:gd name="T76" fmla="*/ 208 w 286"/>
                <a:gd name="T77" fmla="*/ 11 h 148"/>
                <a:gd name="T78" fmla="*/ 199 w 286"/>
                <a:gd name="T79" fmla="*/ 10 h 148"/>
                <a:gd name="T80" fmla="*/ 196 w 286"/>
                <a:gd name="T81" fmla="*/ 0 h 148"/>
                <a:gd name="T82" fmla="*/ 180 w 286"/>
                <a:gd name="T83" fmla="*/ 0 h 148"/>
                <a:gd name="T84" fmla="*/ 169 w 286"/>
                <a:gd name="T85" fmla="*/ 16 h 148"/>
                <a:gd name="T86" fmla="*/ 143 w 286"/>
                <a:gd name="T87" fmla="*/ 20 h 148"/>
                <a:gd name="T88" fmla="*/ 136 w 286"/>
                <a:gd name="T89" fmla="*/ 28 h 148"/>
                <a:gd name="T90" fmla="*/ 112 w 286"/>
                <a:gd name="T91" fmla="*/ 25 h 148"/>
                <a:gd name="T92" fmla="*/ 106 w 286"/>
                <a:gd name="T93" fmla="*/ 41 h 148"/>
                <a:gd name="T94" fmla="*/ 65 w 286"/>
                <a:gd name="T95" fmla="*/ 44 h 148"/>
                <a:gd name="T96" fmla="*/ 45 w 286"/>
                <a:gd name="T97" fmla="*/ 28 h 148"/>
                <a:gd name="T98" fmla="*/ 38 w 286"/>
                <a:gd name="T99" fmla="*/ 39 h 148"/>
                <a:gd name="T100" fmla="*/ 32 w 286"/>
                <a:gd name="T101" fmla="*/ 34 h 148"/>
                <a:gd name="T102" fmla="*/ 31 w 286"/>
                <a:gd name="T103" fmla="*/ 4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6" h="148">
                  <a:moveTo>
                    <a:pt x="31" y="43"/>
                  </a:moveTo>
                  <a:cubicBezTo>
                    <a:pt x="16" y="43"/>
                    <a:pt x="16" y="43"/>
                    <a:pt x="16" y="43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20" y="107"/>
                    <a:pt x="20" y="107"/>
                    <a:pt x="20" y="107"/>
                  </a:cubicBezTo>
                  <a:cubicBezTo>
                    <a:pt x="20" y="107"/>
                    <a:pt x="32" y="117"/>
                    <a:pt x="34" y="120"/>
                  </a:cubicBezTo>
                  <a:cubicBezTo>
                    <a:pt x="36" y="123"/>
                    <a:pt x="54" y="137"/>
                    <a:pt x="54" y="137"/>
                  </a:cubicBezTo>
                  <a:cubicBezTo>
                    <a:pt x="63" y="141"/>
                    <a:pt x="63" y="141"/>
                    <a:pt x="63" y="141"/>
                  </a:cubicBezTo>
                  <a:cubicBezTo>
                    <a:pt x="75" y="141"/>
                    <a:pt x="75" y="141"/>
                    <a:pt x="75" y="141"/>
                  </a:cubicBezTo>
                  <a:cubicBezTo>
                    <a:pt x="78" y="148"/>
                    <a:pt x="78" y="148"/>
                    <a:pt x="78" y="148"/>
                  </a:cubicBezTo>
                  <a:cubicBezTo>
                    <a:pt x="106" y="145"/>
                    <a:pt x="106" y="145"/>
                    <a:pt x="106" y="145"/>
                  </a:cubicBezTo>
                  <a:cubicBezTo>
                    <a:pt x="112" y="139"/>
                    <a:pt x="112" y="139"/>
                    <a:pt x="112" y="139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8" y="136"/>
                    <a:pt x="118" y="136"/>
                    <a:pt x="118" y="136"/>
                  </a:cubicBezTo>
                  <a:cubicBezTo>
                    <a:pt x="133" y="136"/>
                    <a:pt x="133" y="136"/>
                    <a:pt x="133" y="136"/>
                  </a:cubicBezTo>
                  <a:cubicBezTo>
                    <a:pt x="133" y="136"/>
                    <a:pt x="142" y="131"/>
                    <a:pt x="145" y="125"/>
                  </a:cubicBezTo>
                  <a:cubicBezTo>
                    <a:pt x="148" y="119"/>
                    <a:pt x="163" y="125"/>
                    <a:pt x="163" y="125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92" y="127"/>
                    <a:pt x="192" y="127"/>
                    <a:pt x="192" y="127"/>
                  </a:cubicBezTo>
                  <a:cubicBezTo>
                    <a:pt x="194" y="118"/>
                    <a:pt x="194" y="118"/>
                    <a:pt x="194" y="118"/>
                  </a:cubicBezTo>
                  <a:cubicBezTo>
                    <a:pt x="205" y="120"/>
                    <a:pt x="205" y="120"/>
                    <a:pt x="205" y="120"/>
                  </a:cubicBezTo>
                  <a:cubicBezTo>
                    <a:pt x="205" y="120"/>
                    <a:pt x="215" y="116"/>
                    <a:pt x="221" y="110"/>
                  </a:cubicBezTo>
                  <a:cubicBezTo>
                    <a:pt x="227" y="104"/>
                    <a:pt x="222" y="96"/>
                    <a:pt x="222" y="96"/>
                  </a:cubicBezTo>
                  <a:cubicBezTo>
                    <a:pt x="222" y="96"/>
                    <a:pt x="228" y="88"/>
                    <a:pt x="238" y="83"/>
                  </a:cubicBezTo>
                  <a:cubicBezTo>
                    <a:pt x="248" y="78"/>
                    <a:pt x="245" y="66"/>
                    <a:pt x="245" y="66"/>
                  </a:cubicBezTo>
                  <a:cubicBezTo>
                    <a:pt x="245" y="66"/>
                    <a:pt x="245" y="54"/>
                    <a:pt x="246" y="48"/>
                  </a:cubicBezTo>
                  <a:cubicBezTo>
                    <a:pt x="247" y="42"/>
                    <a:pt x="256" y="42"/>
                    <a:pt x="266" y="41"/>
                  </a:cubicBezTo>
                  <a:cubicBezTo>
                    <a:pt x="276" y="40"/>
                    <a:pt x="286" y="27"/>
                    <a:pt x="286" y="27"/>
                  </a:cubicBezTo>
                  <a:cubicBezTo>
                    <a:pt x="286" y="27"/>
                    <a:pt x="270" y="20"/>
                    <a:pt x="264" y="19"/>
                  </a:cubicBezTo>
                  <a:cubicBezTo>
                    <a:pt x="258" y="18"/>
                    <a:pt x="256" y="8"/>
                    <a:pt x="248" y="6"/>
                  </a:cubicBezTo>
                  <a:cubicBezTo>
                    <a:pt x="240" y="4"/>
                    <a:pt x="219" y="10"/>
                    <a:pt x="219" y="10"/>
                  </a:cubicBezTo>
                  <a:cubicBezTo>
                    <a:pt x="219" y="10"/>
                    <a:pt x="218" y="0"/>
                    <a:pt x="213" y="0"/>
                  </a:cubicBezTo>
                  <a:cubicBezTo>
                    <a:pt x="208" y="0"/>
                    <a:pt x="208" y="11"/>
                    <a:pt x="208" y="11"/>
                  </a:cubicBezTo>
                  <a:cubicBezTo>
                    <a:pt x="199" y="10"/>
                    <a:pt x="199" y="10"/>
                    <a:pt x="199" y="10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0" y="0"/>
                    <a:pt x="172" y="13"/>
                    <a:pt x="169" y="16"/>
                  </a:cubicBezTo>
                  <a:cubicBezTo>
                    <a:pt x="166" y="19"/>
                    <a:pt x="143" y="20"/>
                    <a:pt x="143" y="2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82" y="43"/>
                    <a:pt x="65" y="44"/>
                  </a:cubicBezTo>
                  <a:cubicBezTo>
                    <a:pt x="48" y="45"/>
                    <a:pt x="45" y="28"/>
                    <a:pt x="45" y="28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1" y="39"/>
                    <a:pt x="31" y="43"/>
                    <a:pt x="31" y="4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255">
              <a:extLst>
                <a:ext uri="{FF2B5EF4-FFF2-40B4-BE49-F238E27FC236}">
                  <a16:creationId xmlns:a16="http://schemas.microsoft.com/office/drawing/2014/main" id="{6A351E86-D11D-E247-68FC-CC8558937DBF}"/>
                </a:ext>
              </a:extLst>
            </p:cNvPr>
            <p:cNvSpPr>
              <a:spLocks/>
            </p:cNvSpPr>
            <p:nvPr/>
          </p:nvSpPr>
          <p:spPr bwMode="gray">
            <a:xfrm>
              <a:off x="-4314" y="-17095"/>
              <a:ext cx="543" cy="312"/>
            </a:xfrm>
            <a:custGeom>
              <a:avLst/>
              <a:gdLst>
                <a:gd name="T0" fmla="*/ 222 w 230"/>
                <a:gd name="T1" fmla="*/ 42 h 132"/>
                <a:gd name="T2" fmla="*/ 210 w 230"/>
                <a:gd name="T3" fmla="*/ 38 h 132"/>
                <a:gd name="T4" fmla="*/ 195 w 230"/>
                <a:gd name="T5" fmla="*/ 30 h 132"/>
                <a:gd name="T6" fmla="*/ 184 w 230"/>
                <a:gd name="T7" fmla="*/ 20 h 132"/>
                <a:gd name="T8" fmla="*/ 157 w 230"/>
                <a:gd name="T9" fmla="*/ 17 h 132"/>
                <a:gd name="T10" fmla="*/ 145 w 230"/>
                <a:gd name="T11" fmla="*/ 4 h 132"/>
                <a:gd name="T12" fmla="*/ 128 w 230"/>
                <a:gd name="T13" fmla="*/ 12 h 132"/>
                <a:gd name="T14" fmla="*/ 113 w 230"/>
                <a:gd name="T15" fmla="*/ 8 h 132"/>
                <a:gd name="T16" fmla="*/ 104 w 230"/>
                <a:gd name="T17" fmla="*/ 13 h 132"/>
                <a:gd name="T18" fmla="*/ 81 w 230"/>
                <a:gd name="T19" fmla="*/ 7 h 132"/>
                <a:gd name="T20" fmla="*/ 73 w 230"/>
                <a:gd name="T21" fmla="*/ 9 h 132"/>
                <a:gd name="T22" fmla="*/ 60 w 230"/>
                <a:gd name="T23" fmla="*/ 2 h 132"/>
                <a:gd name="T24" fmla="*/ 46 w 230"/>
                <a:gd name="T25" fmla="*/ 5 h 132"/>
                <a:gd name="T26" fmla="*/ 13 w 230"/>
                <a:gd name="T27" fmla="*/ 11 h 132"/>
                <a:gd name="T28" fmla="*/ 0 w 230"/>
                <a:gd name="T29" fmla="*/ 16 h 132"/>
                <a:gd name="T30" fmla="*/ 1 w 230"/>
                <a:gd name="T31" fmla="*/ 23 h 132"/>
                <a:gd name="T32" fmla="*/ 11 w 230"/>
                <a:gd name="T33" fmla="*/ 60 h 132"/>
                <a:gd name="T34" fmla="*/ 14 w 230"/>
                <a:gd name="T35" fmla="*/ 64 h 132"/>
                <a:gd name="T36" fmla="*/ 19 w 230"/>
                <a:gd name="T37" fmla="*/ 64 h 132"/>
                <a:gd name="T38" fmla="*/ 22 w 230"/>
                <a:gd name="T39" fmla="*/ 70 h 132"/>
                <a:gd name="T40" fmla="*/ 30 w 230"/>
                <a:gd name="T41" fmla="*/ 69 h 132"/>
                <a:gd name="T42" fmla="*/ 32 w 230"/>
                <a:gd name="T43" fmla="*/ 75 h 132"/>
                <a:gd name="T44" fmla="*/ 64 w 230"/>
                <a:gd name="T45" fmla="*/ 71 h 132"/>
                <a:gd name="T46" fmla="*/ 74 w 230"/>
                <a:gd name="T47" fmla="*/ 86 h 132"/>
                <a:gd name="T48" fmla="*/ 65 w 230"/>
                <a:gd name="T49" fmla="*/ 98 h 132"/>
                <a:gd name="T50" fmla="*/ 70 w 230"/>
                <a:gd name="T51" fmla="*/ 108 h 132"/>
                <a:gd name="T52" fmla="*/ 74 w 230"/>
                <a:gd name="T53" fmla="*/ 108 h 132"/>
                <a:gd name="T54" fmla="*/ 103 w 230"/>
                <a:gd name="T55" fmla="*/ 119 h 132"/>
                <a:gd name="T56" fmla="*/ 103 w 230"/>
                <a:gd name="T57" fmla="*/ 132 h 132"/>
                <a:gd name="T58" fmla="*/ 127 w 230"/>
                <a:gd name="T59" fmla="*/ 127 h 132"/>
                <a:gd name="T60" fmla="*/ 137 w 230"/>
                <a:gd name="T61" fmla="*/ 132 h 132"/>
                <a:gd name="T62" fmla="*/ 155 w 230"/>
                <a:gd name="T63" fmla="*/ 132 h 132"/>
                <a:gd name="T64" fmla="*/ 157 w 230"/>
                <a:gd name="T65" fmla="*/ 122 h 132"/>
                <a:gd name="T66" fmla="*/ 165 w 230"/>
                <a:gd name="T67" fmla="*/ 130 h 132"/>
                <a:gd name="T68" fmla="*/ 169 w 230"/>
                <a:gd name="T69" fmla="*/ 122 h 132"/>
                <a:gd name="T70" fmla="*/ 187 w 230"/>
                <a:gd name="T71" fmla="*/ 115 h 132"/>
                <a:gd name="T72" fmla="*/ 193 w 230"/>
                <a:gd name="T73" fmla="*/ 123 h 132"/>
                <a:gd name="T74" fmla="*/ 188 w 230"/>
                <a:gd name="T75" fmla="*/ 103 h 132"/>
                <a:gd name="T76" fmla="*/ 195 w 230"/>
                <a:gd name="T77" fmla="*/ 96 h 132"/>
                <a:gd name="T78" fmla="*/ 193 w 230"/>
                <a:gd name="T79" fmla="*/ 81 h 132"/>
                <a:gd name="T80" fmla="*/ 208 w 230"/>
                <a:gd name="T81" fmla="*/ 79 h 132"/>
                <a:gd name="T82" fmla="*/ 204 w 230"/>
                <a:gd name="T83" fmla="*/ 66 h 132"/>
                <a:gd name="T84" fmla="*/ 217 w 230"/>
                <a:gd name="T85" fmla="*/ 71 h 132"/>
                <a:gd name="T86" fmla="*/ 230 w 230"/>
                <a:gd name="T87" fmla="*/ 65 h 132"/>
                <a:gd name="T88" fmla="*/ 216 w 230"/>
                <a:gd name="T89" fmla="*/ 50 h 132"/>
                <a:gd name="T90" fmla="*/ 222 w 230"/>
                <a:gd name="T91" fmla="*/ 4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0" h="132">
                  <a:moveTo>
                    <a:pt x="222" y="42"/>
                  </a:moveTo>
                  <a:cubicBezTo>
                    <a:pt x="210" y="38"/>
                    <a:pt x="210" y="38"/>
                    <a:pt x="210" y="38"/>
                  </a:cubicBezTo>
                  <a:cubicBezTo>
                    <a:pt x="195" y="30"/>
                    <a:pt x="195" y="30"/>
                    <a:pt x="195" y="30"/>
                  </a:cubicBezTo>
                  <a:cubicBezTo>
                    <a:pt x="195" y="30"/>
                    <a:pt x="190" y="22"/>
                    <a:pt x="184" y="20"/>
                  </a:cubicBezTo>
                  <a:cubicBezTo>
                    <a:pt x="178" y="18"/>
                    <a:pt x="157" y="17"/>
                    <a:pt x="157" y="17"/>
                  </a:cubicBezTo>
                  <a:cubicBezTo>
                    <a:pt x="157" y="17"/>
                    <a:pt x="151" y="4"/>
                    <a:pt x="145" y="4"/>
                  </a:cubicBezTo>
                  <a:cubicBezTo>
                    <a:pt x="139" y="4"/>
                    <a:pt x="136" y="12"/>
                    <a:pt x="128" y="12"/>
                  </a:cubicBezTo>
                  <a:cubicBezTo>
                    <a:pt x="120" y="12"/>
                    <a:pt x="118" y="8"/>
                    <a:pt x="113" y="8"/>
                  </a:cubicBezTo>
                  <a:cubicBezTo>
                    <a:pt x="108" y="8"/>
                    <a:pt x="104" y="13"/>
                    <a:pt x="104" y="13"/>
                  </a:cubicBezTo>
                  <a:cubicBezTo>
                    <a:pt x="104" y="13"/>
                    <a:pt x="84" y="6"/>
                    <a:pt x="81" y="7"/>
                  </a:cubicBezTo>
                  <a:cubicBezTo>
                    <a:pt x="78" y="8"/>
                    <a:pt x="73" y="9"/>
                    <a:pt x="73" y="9"/>
                  </a:cubicBezTo>
                  <a:cubicBezTo>
                    <a:pt x="73" y="9"/>
                    <a:pt x="66" y="4"/>
                    <a:pt x="60" y="2"/>
                  </a:cubicBezTo>
                  <a:cubicBezTo>
                    <a:pt x="54" y="0"/>
                    <a:pt x="52" y="2"/>
                    <a:pt x="46" y="5"/>
                  </a:cubicBezTo>
                  <a:cubicBezTo>
                    <a:pt x="40" y="8"/>
                    <a:pt x="33" y="8"/>
                    <a:pt x="13" y="11"/>
                  </a:cubicBezTo>
                  <a:cubicBezTo>
                    <a:pt x="7" y="12"/>
                    <a:pt x="3" y="14"/>
                    <a:pt x="0" y="16"/>
                  </a:cubicBezTo>
                  <a:cubicBezTo>
                    <a:pt x="0" y="20"/>
                    <a:pt x="1" y="23"/>
                    <a:pt x="1" y="23"/>
                  </a:cubicBezTo>
                  <a:cubicBezTo>
                    <a:pt x="1" y="23"/>
                    <a:pt x="2" y="58"/>
                    <a:pt x="11" y="60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56" y="72"/>
                    <a:pt x="64" y="71"/>
                  </a:cubicBezTo>
                  <a:cubicBezTo>
                    <a:pt x="72" y="70"/>
                    <a:pt x="75" y="81"/>
                    <a:pt x="74" y="86"/>
                  </a:cubicBezTo>
                  <a:cubicBezTo>
                    <a:pt x="73" y="91"/>
                    <a:pt x="65" y="98"/>
                    <a:pt x="65" y="98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1" y="108"/>
                    <a:pt x="73" y="108"/>
                    <a:pt x="74" y="108"/>
                  </a:cubicBezTo>
                  <a:cubicBezTo>
                    <a:pt x="87" y="110"/>
                    <a:pt x="103" y="119"/>
                    <a:pt x="103" y="119"/>
                  </a:cubicBezTo>
                  <a:cubicBezTo>
                    <a:pt x="103" y="132"/>
                    <a:pt x="103" y="132"/>
                    <a:pt x="103" y="132"/>
                  </a:cubicBezTo>
                  <a:cubicBezTo>
                    <a:pt x="103" y="132"/>
                    <a:pt x="119" y="128"/>
                    <a:pt x="127" y="127"/>
                  </a:cubicBezTo>
                  <a:cubicBezTo>
                    <a:pt x="135" y="126"/>
                    <a:pt x="137" y="132"/>
                    <a:pt x="137" y="132"/>
                  </a:cubicBezTo>
                  <a:cubicBezTo>
                    <a:pt x="155" y="132"/>
                    <a:pt x="155" y="132"/>
                    <a:pt x="155" y="132"/>
                  </a:cubicBezTo>
                  <a:cubicBezTo>
                    <a:pt x="157" y="122"/>
                    <a:pt x="157" y="122"/>
                    <a:pt x="157" y="122"/>
                  </a:cubicBezTo>
                  <a:cubicBezTo>
                    <a:pt x="165" y="130"/>
                    <a:pt x="165" y="130"/>
                    <a:pt x="165" y="130"/>
                  </a:cubicBezTo>
                  <a:cubicBezTo>
                    <a:pt x="169" y="122"/>
                    <a:pt x="169" y="122"/>
                    <a:pt x="169" y="122"/>
                  </a:cubicBezTo>
                  <a:cubicBezTo>
                    <a:pt x="169" y="122"/>
                    <a:pt x="177" y="115"/>
                    <a:pt x="187" y="115"/>
                  </a:cubicBezTo>
                  <a:cubicBezTo>
                    <a:pt x="197" y="115"/>
                    <a:pt x="186" y="124"/>
                    <a:pt x="193" y="123"/>
                  </a:cubicBezTo>
                  <a:cubicBezTo>
                    <a:pt x="200" y="122"/>
                    <a:pt x="193" y="111"/>
                    <a:pt x="188" y="103"/>
                  </a:cubicBezTo>
                  <a:cubicBezTo>
                    <a:pt x="183" y="95"/>
                    <a:pt x="195" y="96"/>
                    <a:pt x="195" y="96"/>
                  </a:cubicBezTo>
                  <a:cubicBezTo>
                    <a:pt x="195" y="96"/>
                    <a:pt x="191" y="88"/>
                    <a:pt x="193" y="81"/>
                  </a:cubicBezTo>
                  <a:cubicBezTo>
                    <a:pt x="195" y="74"/>
                    <a:pt x="208" y="79"/>
                    <a:pt x="208" y="79"/>
                  </a:cubicBezTo>
                  <a:cubicBezTo>
                    <a:pt x="204" y="66"/>
                    <a:pt x="204" y="66"/>
                    <a:pt x="204" y="66"/>
                  </a:cubicBezTo>
                  <a:cubicBezTo>
                    <a:pt x="204" y="66"/>
                    <a:pt x="211" y="71"/>
                    <a:pt x="217" y="71"/>
                  </a:cubicBezTo>
                  <a:cubicBezTo>
                    <a:pt x="223" y="71"/>
                    <a:pt x="230" y="65"/>
                    <a:pt x="230" y="65"/>
                  </a:cubicBezTo>
                  <a:cubicBezTo>
                    <a:pt x="230" y="65"/>
                    <a:pt x="214" y="55"/>
                    <a:pt x="216" y="50"/>
                  </a:cubicBezTo>
                  <a:cubicBezTo>
                    <a:pt x="217" y="48"/>
                    <a:pt x="219" y="45"/>
                    <a:pt x="222" y="4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256">
              <a:extLst>
                <a:ext uri="{FF2B5EF4-FFF2-40B4-BE49-F238E27FC236}">
                  <a16:creationId xmlns:a16="http://schemas.microsoft.com/office/drawing/2014/main" id="{F6CEC997-A833-BF17-86A1-28928916309C}"/>
                </a:ext>
              </a:extLst>
            </p:cNvPr>
            <p:cNvSpPr>
              <a:spLocks/>
            </p:cNvSpPr>
            <p:nvPr/>
          </p:nvSpPr>
          <p:spPr bwMode="gray">
            <a:xfrm>
              <a:off x="-5748" y="-16041"/>
              <a:ext cx="463" cy="257"/>
            </a:xfrm>
            <a:custGeom>
              <a:avLst/>
              <a:gdLst>
                <a:gd name="T0" fmla="*/ 93 w 196"/>
                <a:gd name="T1" fmla="*/ 17 h 109"/>
                <a:gd name="T2" fmla="*/ 81 w 196"/>
                <a:gd name="T3" fmla="*/ 17 h 109"/>
                <a:gd name="T4" fmla="*/ 70 w 196"/>
                <a:gd name="T5" fmla="*/ 15 h 109"/>
                <a:gd name="T6" fmla="*/ 70 w 196"/>
                <a:gd name="T7" fmla="*/ 16 h 109"/>
                <a:gd name="T8" fmla="*/ 65 w 196"/>
                <a:gd name="T9" fmla="*/ 26 h 109"/>
                <a:gd name="T10" fmla="*/ 52 w 196"/>
                <a:gd name="T11" fmla="*/ 19 h 109"/>
                <a:gd name="T12" fmla="*/ 47 w 196"/>
                <a:gd name="T13" fmla="*/ 28 h 109"/>
                <a:gd name="T14" fmla="*/ 36 w 196"/>
                <a:gd name="T15" fmla="*/ 43 h 109"/>
                <a:gd name="T16" fmla="*/ 25 w 196"/>
                <a:gd name="T17" fmla="*/ 43 h 109"/>
                <a:gd name="T18" fmla="*/ 22 w 196"/>
                <a:gd name="T19" fmla="*/ 56 h 109"/>
                <a:gd name="T20" fmla="*/ 4 w 196"/>
                <a:gd name="T21" fmla="*/ 72 h 109"/>
                <a:gd name="T22" fmla="*/ 10 w 196"/>
                <a:gd name="T23" fmla="*/ 80 h 109"/>
                <a:gd name="T24" fmla="*/ 6 w 196"/>
                <a:gd name="T25" fmla="*/ 89 h 109"/>
                <a:gd name="T26" fmla="*/ 24 w 196"/>
                <a:gd name="T27" fmla="*/ 73 h 109"/>
                <a:gd name="T28" fmla="*/ 39 w 196"/>
                <a:gd name="T29" fmla="*/ 75 h 109"/>
                <a:gd name="T30" fmla="*/ 38 w 196"/>
                <a:gd name="T31" fmla="*/ 93 h 109"/>
                <a:gd name="T32" fmla="*/ 45 w 196"/>
                <a:gd name="T33" fmla="*/ 103 h 109"/>
                <a:gd name="T34" fmla="*/ 52 w 196"/>
                <a:gd name="T35" fmla="*/ 103 h 109"/>
                <a:gd name="T36" fmla="*/ 66 w 196"/>
                <a:gd name="T37" fmla="*/ 96 h 109"/>
                <a:gd name="T38" fmla="*/ 86 w 196"/>
                <a:gd name="T39" fmla="*/ 101 h 109"/>
                <a:gd name="T40" fmla="*/ 92 w 196"/>
                <a:gd name="T41" fmla="*/ 81 h 109"/>
                <a:gd name="T42" fmla="*/ 103 w 196"/>
                <a:gd name="T43" fmla="*/ 75 h 109"/>
                <a:gd name="T44" fmla="*/ 111 w 196"/>
                <a:gd name="T45" fmla="*/ 90 h 109"/>
                <a:gd name="T46" fmla="*/ 116 w 196"/>
                <a:gd name="T47" fmla="*/ 91 h 109"/>
                <a:gd name="T48" fmla="*/ 132 w 196"/>
                <a:gd name="T49" fmla="*/ 108 h 109"/>
                <a:gd name="T50" fmla="*/ 133 w 196"/>
                <a:gd name="T51" fmla="*/ 93 h 109"/>
                <a:gd name="T52" fmla="*/ 139 w 196"/>
                <a:gd name="T53" fmla="*/ 87 h 109"/>
                <a:gd name="T54" fmla="*/ 144 w 196"/>
                <a:gd name="T55" fmla="*/ 71 h 109"/>
                <a:gd name="T56" fmla="*/ 150 w 196"/>
                <a:gd name="T57" fmla="*/ 83 h 109"/>
                <a:gd name="T58" fmla="*/ 164 w 196"/>
                <a:gd name="T59" fmla="*/ 80 h 109"/>
                <a:gd name="T60" fmla="*/ 175 w 196"/>
                <a:gd name="T61" fmla="*/ 85 h 109"/>
                <a:gd name="T62" fmla="*/ 180 w 196"/>
                <a:gd name="T63" fmla="*/ 79 h 109"/>
                <a:gd name="T64" fmla="*/ 176 w 196"/>
                <a:gd name="T65" fmla="*/ 66 h 109"/>
                <a:gd name="T66" fmla="*/ 189 w 196"/>
                <a:gd name="T67" fmla="*/ 68 h 109"/>
                <a:gd name="T68" fmla="*/ 191 w 196"/>
                <a:gd name="T69" fmla="*/ 55 h 109"/>
                <a:gd name="T70" fmla="*/ 196 w 196"/>
                <a:gd name="T71" fmla="*/ 54 h 109"/>
                <a:gd name="T72" fmla="*/ 187 w 196"/>
                <a:gd name="T73" fmla="*/ 43 h 109"/>
                <a:gd name="T74" fmla="*/ 171 w 196"/>
                <a:gd name="T75" fmla="*/ 55 h 109"/>
                <a:gd name="T76" fmla="*/ 166 w 196"/>
                <a:gd name="T77" fmla="*/ 43 h 109"/>
                <a:gd name="T78" fmla="*/ 154 w 196"/>
                <a:gd name="T79" fmla="*/ 44 h 109"/>
                <a:gd name="T80" fmla="*/ 146 w 196"/>
                <a:gd name="T81" fmla="*/ 42 h 109"/>
                <a:gd name="T82" fmla="*/ 153 w 196"/>
                <a:gd name="T83" fmla="*/ 29 h 109"/>
                <a:gd name="T84" fmla="*/ 154 w 196"/>
                <a:gd name="T85" fmla="*/ 19 h 109"/>
                <a:gd name="T86" fmla="*/ 150 w 196"/>
                <a:gd name="T87" fmla="*/ 19 h 109"/>
                <a:gd name="T88" fmla="*/ 144 w 196"/>
                <a:gd name="T89" fmla="*/ 11 h 109"/>
                <a:gd name="T90" fmla="*/ 134 w 196"/>
                <a:gd name="T91" fmla="*/ 8 h 109"/>
                <a:gd name="T92" fmla="*/ 125 w 196"/>
                <a:gd name="T93" fmla="*/ 8 h 109"/>
                <a:gd name="T94" fmla="*/ 109 w 196"/>
                <a:gd name="T95" fmla="*/ 1 h 109"/>
                <a:gd name="T96" fmla="*/ 107 w 196"/>
                <a:gd name="T97" fmla="*/ 14 h 109"/>
                <a:gd name="T98" fmla="*/ 103 w 196"/>
                <a:gd name="T99" fmla="*/ 10 h 109"/>
                <a:gd name="T100" fmla="*/ 93 w 196"/>
                <a:gd name="T101" fmla="*/ 1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6" h="109">
                  <a:moveTo>
                    <a:pt x="93" y="17"/>
                  </a:moveTo>
                  <a:cubicBezTo>
                    <a:pt x="81" y="17"/>
                    <a:pt x="81" y="17"/>
                    <a:pt x="81" y="17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1" y="37"/>
                    <a:pt x="36" y="43"/>
                  </a:cubicBezTo>
                  <a:cubicBezTo>
                    <a:pt x="31" y="49"/>
                    <a:pt x="25" y="43"/>
                    <a:pt x="25" y="43"/>
                  </a:cubicBezTo>
                  <a:cubicBezTo>
                    <a:pt x="25" y="43"/>
                    <a:pt x="28" y="49"/>
                    <a:pt x="22" y="56"/>
                  </a:cubicBezTo>
                  <a:cubicBezTo>
                    <a:pt x="16" y="63"/>
                    <a:pt x="4" y="72"/>
                    <a:pt x="4" y="72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10" y="80"/>
                    <a:pt x="0" y="88"/>
                    <a:pt x="6" y="89"/>
                  </a:cubicBezTo>
                  <a:cubicBezTo>
                    <a:pt x="12" y="90"/>
                    <a:pt x="17" y="77"/>
                    <a:pt x="24" y="73"/>
                  </a:cubicBezTo>
                  <a:cubicBezTo>
                    <a:pt x="31" y="69"/>
                    <a:pt x="39" y="75"/>
                    <a:pt x="39" y="75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3"/>
                    <a:pt x="45" y="99"/>
                    <a:pt x="45" y="103"/>
                  </a:cubicBezTo>
                  <a:cubicBezTo>
                    <a:pt x="52" y="103"/>
                    <a:pt x="52" y="103"/>
                    <a:pt x="52" y="103"/>
                  </a:cubicBezTo>
                  <a:cubicBezTo>
                    <a:pt x="52" y="103"/>
                    <a:pt x="61" y="96"/>
                    <a:pt x="66" y="96"/>
                  </a:cubicBezTo>
                  <a:cubicBezTo>
                    <a:pt x="71" y="96"/>
                    <a:pt x="76" y="109"/>
                    <a:pt x="86" y="101"/>
                  </a:cubicBezTo>
                  <a:cubicBezTo>
                    <a:pt x="96" y="92"/>
                    <a:pt x="92" y="81"/>
                    <a:pt x="92" y="81"/>
                  </a:cubicBezTo>
                  <a:cubicBezTo>
                    <a:pt x="92" y="81"/>
                    <a:pt x="99" y="75"/>
                    <a:pt x="103" y="75"/>
                  </a:cubicBezTo>
                  <a:cubicBezTo>
                    <a:pt x="107" y="75"/>
                    <a:pt x="111" y="90"/>
                    <a:pt x="111" y="90"/>
                  </a:cubicBezTo>
                  <a:cubicBezTo>
                    <a:pt x="116" y="91"/>
                    <a:pt x="116" y="91"/>
                    <a:pt x="116" y="91"/>
                  </a:cubicBezTo>
                  <a:cubicBezTo>
                    <a:pt x="132" y="108"/>
                    <a:pt x="132" y="108"/>
                    <a:pt x="132" y="108"/>
                  </a:cubicBezTo>
                  <a:cubicBezTo>
                    <a:pt x="133" y="93"/>
                    <a:pt x="133" y="93"/>
                    <a:pt x="133" y="93"/>
                  </a:cubicBezTo>
                  <a:cubicBezTo>
                    <a:pt x="139" y="87"/>
                    <a:pt x="139" y="87"/>
                    <a:pt x="139" y="87"/>
                  </a:cubicBezTo>
                  <a:cubicBezTo>
                    <a:pt x="144" y="71"/>
                    <a:pt x="144" y="71"/>
                    <a:pt x="144" y="71"/>
                  </a:cubicBezTo>
                  <a:cubicBezTo>
                    <a:pt x="150" y="83"/>
                    <a:pt x="150" y="83"/>
                    <a:pt x="150" y="83"/>
                  </a:cubicBezTo>
                  <a:cubicBezTo>
                    <a:pt x="164" y="80"/>
                    <a:pt x="164" y="80"/>
                    <a:pt x="164" y="80"/>
                  </a:cubicBezTo>
                  <a:cubicBezTo>
                    <a:pt x="175" y="85"/>
                    <a:pt x="175" y="85"/>
                    <a:pt x="175" y="85"/>
                  </a:cubicBezTo>
                  <a:cubicBezTo>
                    <a:pt x="180" y="79"/>
                    <a:pt x="180" y="79"/>
                    <a:pt x="180" y="79"/>
                  </a:cubicBezTo>
                  <a:cubicBezTo>
                    <a:pt x="180" y="79"/>
                    <a:pt x="165" y="68"/>
                    <a:pt x="176" y="66"/>
                  </a:cubicBezTo>
                  <a:cubicBezTo>
                    <a:pt x="187" y="64"/>
                    <a:pt x="189" y="68"/>
                    <a:pt x="189" y="68"/>
                  </a:cubicBezTo>
                  <a:cubicBezTo>
                    <a:pt x="191" y="55"/>
                    <a:pt x="191" y="55"/>
                    <a:pt x="191" y="55"/>
                  </a:cubicBezTo>
                  <a:cubicBezTo>
                    <a:pt x="196" y="54"/>
                    <a:pt x="196" y="54"/>
                    <a:pt x="196" y="54"/>
                  </a:cubicBezTo>
                  <a:cubicBezTo>
                    <a:pt x="195" y="50"/>
                    <a:pt x="192" y="44"/>
                    <a:pt x="187" y="43"/>
                  </a:cubicBezTo>
                  <a:cubicBezTo>
                    <a:pt x="176" y="43"/>
                    <a:pt x="178" y="52"/>
                    <a:pt x="171" y="55"/>
                  </a:cubicBezTo>
                  <a:cubicBezTo>
                    <a:pt x="163" y="57"/>
                    <a:pt x="166" y="43"/>
                    <a:pt x="166" y="43"/>
                  </a:cubicBezTo>
                  <a:cubicBezTo>
                    <a:pt x="154" y="44"/>
                    <a:pt x="154" y="44"/>
                    <a:pt x="154" y="44"/>
                  </a:cubicBezTo>
                  <a:cubicBezTo>
                    <a:pt x="154" y="44"/>
                    <a:pt x="150" y="44"/>
                    <a:pt x="146" y="42"/>
                  </a:cubicBezTo>
                  <a:cubicBezTo>
                    <a:pt x="142" y="39"/>
                    <a:pt x="148" y="31"/>
                    <a:pt x="153" y="29"/>
                  </a:cubicBezTo>
                  <a:cubicBezTo>
                    <a:pt x="159" y="27"/>
                    <a:pt x="154" y="19"/>
                    <a:pt x="154" y="19"/>
                  </a:cubicBezTo>
                  <a:cubicBezTo>
                    <a:pt x="150" y="19"/>
                    <a:pt x="150" y="19"/>
                    <a:pt x="150" y="19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16" y="0"/>
                    <a:pt x="109" y="1"/>
                  </a:cubicBezTo>
                  <a:cubicBezTo>
                    <a:pt x="102" y="2"/>
                    <a:pt x="107" y="14"/>
                    <a:pt x="107" y="14"/>
                  </a:cubicBezTo>
                  <a:cubicBezTo>
                    <a:pt x="103" y="10"/>
                    <a:pt x="103" y="10"/>
                    <a:pt x="103" y="10"/>
                  </a:cubicBezTo>
                  <a:lnTo>
                    <a:pt x="93" y="17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257">
              <a:extLst>
                <a:ext uri="{FF2B5EF4-FFF2-40B4-BE49-F238E27FC236}">
                  <a16:creationId xmlns:a16="http://schemas.microsoft.com/office/drawing/2014/main" id="{2CDE2380-B587-B0DB-B994-3318B96F642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5686" y="-15949"/>
              <a:ext cx="1235" cy="1309"/>
            </a:xfrm>
            <a:custGeom>
              <a:avLst/>
              <a:gdLst>
                <a:gd name="T0" fmla="*/ 341 w 523"/>
                <a:gd name="T1" fmla="*/ 483 h 554"/>
                <a:gd name="T2" fmla="*/ 278 w 523"/>
                <a:gd name="T3" fmla="*/ 485 h 554"/>
                <a:gd name="T4" fmla="*/ 281 w 523"/>
                <a:gd name="T5" fmla="*/ 507 h 554"/>
                <a:gd name="T6" fmla="*/ 330 w 523"/>
                <a:gd name="T7" fmla="*/ 531 h 554"/>
                <a:gd name="T8" fmla="*/ 372 w 523"/>
                <a:gd name="T9" fmla="*/ 513 h 554"/>
                <a:gd name="T10" fmla="*/ 378 w 523"/>
                <a:gd name="T11" fmla="*/ 479 h 554"/>
                <a:gd name="T12" fmla="*/ 68 w 523"/>
                <a:gd name="T13" fmla="*/ 320 h 554"/>
                <a:gd name="T14" fmla="*/ 75 w 523"/>
                <a:gd name="T15" fmla="*/ 381 h 554"/>
                <a:gd name="T16" fmla="*/ 78 w 523"/>
                <a:gd name="T17" fmla="*/ 424 h 554"/>
                <a:gd name="T18" fmla="*/ 103 w 523"/>
                <a:gd name="T19" fmla="*/ 414 h 554"/>
                <a:gd name="T20" fmla="*/ 133 w 523"/>
                <a:gd name="T21" fmla="*/ 388 h 554"/>
                <a:gd name="T22" fmla="*/ 140 w 523"/>
                <a:gd name="T23" fmla="*/ 352 h 554"/>
                <a:gd name="T24" fmla="*/ 481 w 523"/>
                <a:gd name="T25" fmla="*/ 337 h 554"/>
                <a:gd name="T26" fmla="*/ 414 w 523"/>
                <a:gd name="T27" fmla="*/ 281 h 554"/>
                <a:gd name="T28" fmla="*/ 311 w 523"/>
                <a:gd name="T29" fmla="*/ 216 h 554"/>
                <a:gd name="T30" fmla="*/ 249 w 523"/>
                <a:gd name="T31" fmla="*/ 148 h 554"/>
                <a:gd name="T32" fmla="*/ 244 w 523"/>
                <a:gd name="T33" fmla="*/ 92 h 554"/>
                <a:gd name="T34" fmla="*/ 294 w 523"/>
                <a:gd name="T35" fmla="*/ 46 h 554"/>
                <a:gd name="T36" fmla="*/ 265 w 523"/>
                <a:gd name="T37" fmla="*/ 29 h 554"/>
                <a:gd name="T38" fmla="*/ 243 w 523"/>
                <a:gd name="T39" fmla="*/ 16 h 554"/>
                <a:gd name="T40" fmla="*/ 195 w 523"/>
                <a:gd name="T41" fmla="*/ 7 h 554"/>
                <a:gd name="T42" fmla="*/ 165 w 523"/>
                <a:gd name="T43" fmla="*/ 16 h 554"/>
                <a:gd name="T44" fmla="*/ 154 w 523"/>
                <a:gd name="T45" fmla="*/ 40 h 554"/>
                <a:gd name="T46" fmla="*/ 124 w 523"/>
                <a:gd name="T47" fmla="*/ 44 h 554"/>
                <a:gd name="T48" fmla="*/ 107 w 523"/>
                <a:gd name="T49" fmla="*/ 54 h 554"/>
                <a:gd name="T50" fmla="*/ 85 w 523"/>
                <a:gd name="T51" fmla="*/ 51 h 554"/>
                <a:gd name="T52" fmla="*/ 60 w 523"/>
                <a:gd name="T53" fmla="*/ 62 h 554"/>
                <a:gd name="T54" fmla="*/ 19 w 523"/>
                <a:gd name="T55" fmla="*/ 64 h 554"/>
                <a:gd name="T56" fmla="*/ 28 w 523"/>
                <a:gd name="T57" fmla="*/ 93 h 554"/>
                <a:gd name="T58" fmla="*/ 6 w 523"/>
                <a:gd name="T59" fmla="*/ 118 h 554"/>
                <a:gd name="T60" fmla="*/ 12 w 523"/>
                <a:gd name="T61" fmla="*/ 141 h 554"/>
                <a:gd name="T62" fmla="*/ 45 w 523"/>
                <a:gd name="T63" fmla="*/ 160 h 554"/>
                <a:gd name="T64" fmla="*/ 58 w 523"/>
                <a:gd name="T65" fmla="*/ 173 h 554"/>
                <a:gd name="T66" fmla="*/ 160 w 523"/>
                <a:gd name="T67" fmla="*/ 192 h 554"/>
                <a:gd name="T68" fmla="*/ 193 w 523"/>
                <a:gd name="T69" fmla="*/ 236 h 554"/>
                <a:gd name="T70" fmla="*/ 259 w 523"/>
                <a:gd name="T71" fmla="*/ 294 h 554"/>
                <a:gd name="T72" fmla="*/ 325 w 523"/>
                <a:gd name="T73" fmla="*/ 334 h 554"/>
                <a:gd name="T74" fmla="*/ 397 w 523"/>
                <a:gd name="T75" fmla="*/ 373 h 554"/>
                <a:gd name="T76" fmla="*/ 418 w 523"/>
                <a:gd name="T77" fmla="*/ 446 h 554"/>
                <a:gd name="T78" fmla="*/ 395 w 523"/>
                <a:gd name="T79" fmla="*/ 489 h 554"/>
                <a:gd name="T80" fmla="*/ 435 w 523"/>
                <a:gd name="T81" fmla="*/ 466 h 554"/>
                <a:gd name="T82" fmla="*/ 452 w 523"/>
                <a:gd name="T83" fmla="*/ 408 h 554"/>
                <a:gd name="T84" fmla="*/ 468 w 523"/>
                <a:gd name="T85" fmla="*/ 361 h 554"/>
                <a:gd name="T86" fmla="*/ 515 w 523"/>
                <a:gd name="T87" fmla="*/ 363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23" h="554">
                  <a:moveTo>
                    <a:pt x="378" y="479"/>
                  </a:moveTo>
                  <a:cubicBezTo>
                    <a:pt x="378" y="479"/>
                    <a:pt x="365" y="472"/>
                    <a:pt x="358" y="474"/>
                  </a:cubicBezTo>
                  <a:cubicBezTo>
                    <a:pt x="351" y="476"/>
                    <a:pt x="341" y="483"/>
                    <a:pt x="341" y="483"/>
                  </a:cubicBezTo>
                  <a:cubicBezTo>
                    <a:pt x="341" y="483"/>
                    <a:pt x="322" y="486"/>
                    <a:pt x="314" y="486"/>
                  </a:cubicBezTo>
                  <a:cubicBezTo>
                    <a:pt x="306" y="486"/>
                    <a:pt x="292" y="470"/>
                    <a:pt x="289" y="473"/>
                  </a:cubicBezTo>
                  <a:cubicBezTo>
                    <a:pt x="286" y="476"/>
                    <a:pt x="278" y="485"/>
                    <a:pt x="278" y="485"/>
                  </a:cubicBezTo>
                  <a:cubicBezTo>
                    <a:pt x="265" y="477"/>
                    <a:pt x="265" y="477"/>
                    <a:pt x="265" y="477"/>
                  </a:cubicBezTo>
                  <a:cubicBezTo>
                    <a:pt x="265" y="477"/>
                    <a:pt x="245" y="482"/>
                    <a:pt x="253" y="494"/>
                  </a:cubicBezTo>
                  <a:cubicBezTo>
                    <a:pt x="264" y="510"/>
                    <a:pt x="276" y="505"/>
                    <a:pt x="281" y="507"/>
                  </a:cubicBezTo>
                  <a:cubicBezTo>
                    <a:pt x="286" y="509"/>
                    <a:pt x="291" y="517"/>
                    <a:pt x="293" y="521"/>
                  </a:cubicBezTo>
                  <a:cubicBezTo>
                    <a:pt x="295" y="525"/>
                    <a:pt x="317" y="535"/>
                    <a:pt x="317" y="535"/>
                  </a:cubicBezTo>
                  <a:cubicBezTo>
                    <a:pt x="330" y="531"/>
                    <a:pt x="330" y="531"/>
                    <a:pt x="330" y="531"/>
                  </a:cubicBezTo>
                  <a:cubicBezTo>
                    <a:pt x="330" y="531"/>
                    <a:pt x="344" y="552"/>
                    <a:pt x="363" y="553"/>
                  </a:cubicBezTo>
                  <a:cubicBezTo>
                    <a:pt x="382" y="554"/>
                    <a:pt x="377" y="537"/>
                    <a:pt x="377" y="537"/>
                  </a:cubicBezTo>
                  <a:cubicBezTo>
                    <a:pt x="377" y="537"/>
                    <a:pt x="372" y="520"/>
                    <a:pt x="372" y="513"/>
                  </a:cubicBezTo>
                  <a:cubicBezTo>
                    <a:pt x="372" y="506"/>
                    <a:pt x="377" y="496"/>
                    <a:pt x="383" y="491"/>
                  </a:cubicBezTo>
                  <a:cubicBezTo>
                    <a:pt x="389" y="486"/>
                    <a:pt x="383" y="469"/>
                    <a:pt x="383" y="469"/>
                  </a:cubicBezTo>
                  <a:lnTo>
                    <a:pt x="378" y="479"/>
                  </a:lnTo>
                  <a:close/>
                  <a:moveTo>
                    <a:pt x="119" y="312"/>
                  </a:moveTo>
                  <a:cubicBezTo>
                    <a:pt x="107" y="311"/>
                    <a:pt x="95" y="332"/>
                    <a:pt x="87" y="332"/>
                  </a:cubicBezTo>
                  <a:cubicBezTo>
                    <a:pt x="79" y="332"/>
                    <a:pt x="68" y="320"/>
                    <a:pt x="68" y="320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4" y="331"/>
                    <a:pt x="79" y="344"/>
                    <a:pt x="79" y="354"/>
                  </a:cubicBezTo>
                  <a:cubicBezTo>
                    <a:pt x="79" y="364"/>
                    <a:pt x="75" y="381"/>
                    <a:pt x="75" y="381"/>
                  </a:cubicBezTo>
                  <a:cubicBezTo>
                    <a:pt x="81" y="388"/>
                    <a:pt x="81" y="388"/>
                    <a:pt x="81" y="388"/>
                  </a:cubicBezTo>
                  <a:cubicBezTo>
                    <a:pt x="73" y="393"/>
                    <a:pt x="73" y="393"/>
                    <a:pt x="73" y="393"/>
                  </a:cubicBezTo>
                  <a:cubicBezTo>
                    <a:pt x="78" y="424"/>
                    <a:pt x="78" y="424"/>
                    <a:pt x="78" y="424"/>
                  </a:cubicBezTo>
                  <a:cubicBezTo>
                    <a:pt x="69" y="424"/>
                    <a:pt x="69" y="424"/>
                    <a:pt x="69" y="424"/>
                  </a:cubicBezTo>
                  <a:cubicBezTo>
                    <a:pt x="82" y="435"/>
                    <a:pt x="82" y="435"/>
                    <a:pt x="82" y="435"/>
                  </a:cubicBezTo>
                  <a:cubicBezTo>
                    <a:pt x="98" y="435"/>
                    <a:pt x="103" y="414"/>
                    <a:pt x="103" y="414"/>
                  </a:cubicBezTo>
                  <a:cubicBezTo>
                    <a:pt x="103" y="414"/>
                    <a:pt x="115" y="430"/>
                    <a:pt x="124" y="423"/>
                  </a:cubicBezTo>
                  <a:cubicBezTo>
                    <a:pt x="133" y="416"/>
                    <a:pt x="129" y="398"/>
                    <a:pt x="129" y="398"/>
                  </a:cubicBezTo>
                  <a:cubicBezTo>
                    <a:pt x="133" y="388"/>
                    <a:pt x="133" y="388"/>
                    <a:pt x="133" y="388"/>
                  </a:cubicBezTo>
                  <a:cubicBezTo>
                    <a:pt x="133" y="371"/>
                    <a:pt x="133" y="371"/>
                    <a:pt x="133" y="371"/>
                  </a:cubicBezTo>
                  <a:cubicBezTo>
                    <a:pt x="133" y="371"/>
                    <a:pt x="127" y="369"/>
                    <a:pt x="128" y="364"/>
                  </a:cubicBezTo>
                  <a:cubicBezTo>
                    <a:pt x="129" y="359"/>
                    <a:pt x="140" y="359"/>
                    <a:pt x="140" y="352"/>
                  </a:cubicBezTo>
                  <a:cubicBezTo>
                    <a:pt x="140" y="345"/>
                    <a:pt x="131" y="313"/>
                    <a:pt x="119" y="312"/>
                  </a:cubicBezTo>
                  <a:close/>
                  <a:moveTo>
                    <a:pt x="515" y="363"/>
                  </a:moveTo>
                  <a:cubicBezTo>
                    <a:pt x="507" y="354"/>
                    <a:pt x="481" y="337"/>
                    <a:pt x="481" y="337"/>
                  </a:cubicBezTo>
                  <a:cubicBezTo>
                    <a:pt x="451" y="321"/>
                    <a:pt x="451" y="321"/>
                    <a:pt x="451" y="321"/>
                  </a:cubicBezTo>
                  <a:cubicBezTo>
                    <a:pt x="451" y="321"/>
                    <a:pt x="398" y="308"/>
                    <a:pt x="402" y="299"/>
                  </a:cubicBezTo>
                  <a:cubicBezTo>
                    <a:pt x="406" y="290"/>
                    <a:pt x="415" y="289"/>
                    <a:pt x="414" y="281"/>
                  </a:cubicBezTo>
                  <a:cubicBezTo>
                    <a:pt x="413" y="273"/>
                    <a:pt x="365" y="271"/>
                    <a:pt x="365" y="271"/>
                  </a:cubicBezTo>
                  <a:cubicBezTo>
                    <a:pt x="365" y="271"/>
                    <a:pt x="351" y="266"/>
                    <a:pt x="334" y="249"/>
                  </a:cubicBezTo>
                  <a:cubicBezTo>
                    <a:pt x="317" y="232"/>
                    <a:pt x="311" y="216"/>
                    <a:pt x="311" y="216"/>
                  </a:cubicBezTo>
                  <a:cubicBezTo>
                    <a:pt x="311" y="216"/>
                    <a:pt x="306" y="192"/>
                    <a:pt x="296" y="186"/>
                  </a:cubicBezTo>
                  <a:cubicBezTo>
                    <a:pt x="286" y="180"/>
                    <a:pt x="275" y="170"/>
                    <a:pt x="275" y="170"/>
                  </a:cubicBezTo>
                  <a:cubicBezTo>
                    <a:pt x="249" y="148"/>
                    <a:pt x="249" y="148"/>
                    <a:pt x="249" y="148"/>
                  </a:cubicBezTo>
                  <a:cubicBezTo>
                    <a:pt x="249" y="148"/>
                    <a:pt x="235" y="126"/>
                    <a:pt x="240" y="124"/>
                  </a:cubicBezTo>
                  <a:cubicBezTo>
                    <a:pt x="245" y="122"/>
                    <a:pt x="253" y="120"/>
                    <a:pt x="253" y="115"/>
                  </a:cubicBezTo>
                  <a:cubicBezTo>
                    <a:pt x="253" y="110"/>
                    <a:pt x="236" y="101"/>
                    <a:pt x="244" y="92"/>
                  </a:cubicBezTo>
                  <a:cubicBezTo>
                    <a:pt x="252" y="83"/>
                    <a:pt x="275" y="77"/>
                    <a:pt x="275" y="77"/>
                  </a:cubicBezTo>
                  <a:cubicBezTo>
                    <a:pt x="289" y="71"/>
                    <a:pt x="289" y="71"/>
                    <a:pt x="289" y="71"/>
                  </a:cubicBezTo>
                  <a:cubicBezTo>
                    <a:pt x="294" y="46"/>
                    <a:pt x="294" y="46"/>
                    <a:pt x="294" y="46"/>
                  </a:cubicBezTo>
                  <a:cubicBezTo>
                    <a:pt x="286" y="43"/>
                    <a:pt x="286" y="43"/>
                    <a:pt x="286" y="43"/>
                  </a:cubicBezTo>
                  <a:cubicBezTo>
                    <a:pt x="286" y="43"/>
                    <a:pt x="294" y="36"/>
                    <a:pt x="291" y="30"/>
                  </a:cubicBezTo>
                  <a:cubicBezTo>
                    <a:pt x="288" y="25"/>
                    <a:pt x="265" y="29"/>
                    <a:pt x="265" y="29"/>
                  </a:cubicBezTo>
                  <a:cubicBezTo>
                    <a:pt x="253" y="29"/>
                    <a:pt x="253" y="29"/>
                    <a:pt x="253" y="29"/>
                  </a:cubicBezTo>
                  <a:cubicBezTo>
                    <a:pt x="248" y="16"/>
                    <a:pt x="248" y="16"/>
                    <a:pt x="248" y="16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43" y="16"/>
                    <a:pt x="242" y="2"/>
                    <a:pt x="233" y="1"/>
                  </a:cubicBezTo>
                  <a:cubicBezTo>
                    <a:pt x="223" y="0"/>
                    <a:pt x="221" y="9"/>
                    <a:pt x="221" y="9"/>
                  </a:cubicBezTo>
                  <a:cubicBezTo>
                    <a:pt x="195" y="7"/>
                    <a:pt x="195" y="7"/>
                    <a:pt x="195" y="7"/>
                  </a:cubicBezTo>
                  <a:cubicBezTo>
                    <a:pt x="185" y="19"/>
                    <a:pt x="185" y="19"/>
                    <a:pt x="185" y="19"/>
                  </a:cubicBezTo>
                  <a:cubicBezTo>
                    <a:pt x="179" y="15"/>
                    <a:pt x="179" y="15"/>
                    <a:pt x="179" y="15"/>
                  </a:cubicBezTo>
                  <a:cubicBezTo>
                    <a:pt x="165" y="16"/>
                    <a:pt x="165" y="16"/>
                    <a:pt x="165" y="16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3" y="29"/>
                    <a:pt x="161" y="25"/>
                    <a:pt x="150" y="27"/>
                  </a:cubicBezTo>
                  <a:cubicBezTo>
                    <a:pt x="139" y="29"/>
                    <a:pt x="154" y="40"/>
                    <a:pt x="154" y="40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38" y="41"/>
                    <a:pt x="138" y="41"/>
                    <a:pt x="138" y="41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3" y="48"/>
                    <a:pt x="113" y="48"/>
                    <a:pt x="113" y="48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1" y="36"/>
                    <a:pt x="77" y="36"/>
                  </a:cubicBezTo>
                  <a:cubicBezTo>
                    <a:pt x="73" y="36"/>
                    <a:pt x="66" y="42"/>
                    <a:pt x="66" y="42"/>
                  </a:cubicBezTo>
                  <a:cubicBezTo>
                    <a:pt x="66" y="42"/>
                    <a:pt x="70" y="53"/>
                    <a:pt x="60" y="62"/>
                  </a:cubicBezTo>
                  <a:cubicBezTo>
                    <a:pt x="50" y="70"/>
                    <a:pt x="45" y="57"/>
                    <a:pt x="40" y="57"/>
                  </a:cubicBezTo>
                  <a:cubicBezTo>
                    <a:pt x="35" y="57"/>
                    <a:pt x="26" y="64"/>
                    <a:pt x="26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8"/>
                    <a:pt x="9" y="72"/>
                    <a:pt x="9" y="72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28" y="84"/>
                    <a:pt x="28" y="93"/>
                  </a:cubicBezTo>
                  <a:cubicBezTo>
                    <a:pt x="28" y="102"/>
                    <a:pt x="9" y="103"/>
                    <a:pt x="9" y="103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7" y="121"/>
                    <a:pt x="18" y="126"/>
                  </a:cubicBezTo>
                  <a:cubicBezTo>
                    <a:pt x="19" y="131"/>
                    <a:pt x="13" y="131"/>
                    <a:pt x="12" y="141"/>
                  </a:cubicBezTo>
                  <a:cubicBezTo>
                    <a:pt x="11" y="151"/>
                    <a:pt x="25" y="152"/>
                    <a:pt x="25" y="152"/>
                  </a:cubicBezTo>
                  <a:cubicBezTo>
                    <a:pt x="28" y="158"/>
                    <a:pt x="28" y="158"/>
                    <a:pt x="28" y="158"/>
                  </a:cubicBezTo>
                  <a:cubicBezTo>
                    <a:pt x="28" y="158"/>
                    <a:pt x="42" y="156"/>
                    <a:pt x="45" y="160"/>
                  </a:cubicBezTo>
                  <a:cubicBezTo>
                    <a:pt x="48" y="164"/>
                    <a:pt x="42" y="174"/>
                    <a:pt x="38" y="174"/>
                  </a:cubicBezTo>
                  <a:cubicBezTo>
                    <a:pt x="36" y="174"/>
                    <a:pt x="35" y="176"/>
                    <a:pt x="35" y="179"/>
                  </a:cubicBezTo>
                  <a:cubicBezTo>
                    <a:pt x="44" y="178"/>
                    <a:pt x="54" y="177"/>
                    <a:pt x="58" y="173"/>
                  </a:cubicBezTo>
                  <a:cubicBezTo>
                    <a:pt x="65" y="166"/>
                    <a:pt x="83" y="145"/>
                    <a:pt x="93" y="145"/>
                  </a:cubicBezTo>
                  <a:cubicBezTo>
                    <a:pt x="103" y="145"/>
                    <a:pt x="132" y="152"/>
                    <a:pt x="144" y="162"/>
                  </a:cubicBezTo>
                  <a:cubicBezTo>
                    <a:pt x="156" y="172"/>
                    <a:pt x="160" y="192"/>
                    <a:pt x="160" y="192"/>
                  </a:cubicBezTo>
                  <a:cubicBezTo>
                    <a:pt x="168" y="200"/>
                    <a:pt x="168" y="200"/>
                    <a:pt x="168" y="200"/>
                  </a:cubicBezTo>
                  <a:cubicBezTo>
                    <a:pt x="168" y="200"/>
                    <a:pt x="160" y="221"/>
                    <a:pt x="169" y="226"/>
                  </a:cubicBezTo>
                  <a:cubicBezTo>
                    <a:pt x="178" y="231"/>
                    <a:pt x="193" y="236"/>
                    <a:pt x="193" y="236"/>
                  </a:cubicBezTo>
                  <a:cubicBezTo>
                    <a:pt x="197" y="249"/>
                    <a:pt x="197" y="249"/>
                    <a:pt x="197" y="249"/>
                  </a:cubicBezTo>
                  <a:cubicBezTo>
                    <a:pt x="217" y="250"/>
                    <a:pt x="217" y="250"/>
                    <a:pt x="217" y="250"/>
                  </a:cubicBezTo>
                  <a:cubicBezTo>
                    <a:pt x="217" y="250"/>
                    <a:pt x="250" y="284"/>
                    <a:pt x="259" y="294"/>
                  </a:cubicBezTo>
                  <a:cubicBezTo>
                    <a:pt x="268" y="304"/>
                    <a:pt x="276" y="313"/>
                    <a:pt x="276" y="313"/>
                  </a:cubicBezTo>
                  <a:cubicBezTo>
                    <a:pt x="303" y="314"/>
                    <a:pt x="303" y="314"/>
                    <a:pt x="303" y="314"/>
                  </a:cubicBezTo>
                  <a:cubicBezTo>
                    <a:pt x="303" y="314"/>
                    <a:pt x="310" y="329"/>
                    <a:pt x="325" y="334"/>
                  </a:cubicBezTo>
                  <a:cubicBezTo>
                    <a:pt x="340" y="339"/>
                    <a:pt x="359" y="335"/>
                    <a:pt x="362" y="342"/>
                  </a:cubicBezTo>
                  <a:cubicBezTo>
                    <a:pt x="365" y="349"/>
                    <a:pt x="366" y="372"/>
                    <a:pt x="379" y="375"/>
                  </a:cubicBezTo>
                  <a:cubicBezTo>
                    <a:pt x="392" y="378"/>
                    <a:pt x="397" y="373"/>
                    <a:pt x="397" y="373"/>
                  </a:cubicBezTo>
                  <a:cubicBezTo>
                    <a:pt x="397" y="373"/>
                    <a:pt x="400" y="392"/>
                    <a:pt x="402" y="406"/>
                  </a:cubicBezTo>
                  <a:cubicBezTo>
                    <a:pt x="404" y="420"/>
                    <a:pt x="417" y="419"/>
                    <a:pt x="417" y="429"/>
                  </a:cubicBezTo>
                  <a:cubicBezTo>
                    <a:pt x="417" y="439"/>
                    <a:pt x="418" y="446"/>
                    <a:pt x="418" y="446"/>
                  </a:cubicBezTo>
                  <a:cubicBezTo>
                    <a:pt x="405" y="445"/>
                    <a:pt x="405" y="445"/>
                    <a:pt x="405" y="445"/>
                  </a:cubicBezTo>
                  <a:cubicBezTo>
                    <a:pt x="404" y="460"/>
                    <a:pt x="404" y="460"/>
                    <a:pt x="404" y="460"/>
                  </a:cubicBezTo>
                  <a:cubicBezTo>
                    <a:pt x="404" y="460"/>
                    <a:pt x="384" y="489"/>
                    <a:pt x="395" y="489"/>
                  </a:cubicBezTo>
                  <a:cubicBezTo>
                    <a:pt x="406" y="489"/>
                    <a:pt x="414" y="483"/>
                    <a:pt x="414" y="483"/>
                  </a:cubicBezTo>
                  <a:cubicBezTo>
                    <a:pt x="422" y="468"/>
                    <a:pt x="422" y="468"/>
                    <a:pt x="422" y="468"/>
                  </a:cubicBezTo>
                  <a:cubicBezTo>
                    <a:pt x="435" y="466"/>
                    <a:pt x="435" y="466"/>
                    <a:pt x="435" y="466"/>
                  </a:cubicBezTo>
                  <a:cubicBezTo>
                    <a:pt x="435" y="466"/>
                    <a:pt x="432" y="444"/>
                    <a:pt x="436" y="441"/>
                  </a:cubicBezTo>
                  <a:cubicBezTo>
                    <a:pt x="440" y="438"/>
                    <a:pt x="461" y="432"/>
                    <a:pt x="461" y="432"/>
                  </a:cubicBezTo>
                  <a:cubicBezTo>
                    <a:pt x="461" y="432"/>
                    <a:pt x="456" y="412"/>
                    <a:pt x="452" y="408"/>
                  </a:cubicBezTo>
                  <a:cubicBezTo>
                    <a:pt x="448" y="404"/>
                    <a:pt x="430" y="399"/>
                    <a:pt x="431" y="392"/>
                  </a:cubicBezTo>
                  <a:cubicBezTo>
                    <a:pt x="432" y="385"/>
                    <a:pt x="445" y="351"/>
                    <a:pt x="453" y="354"/>
                  </a:cubicBezTo>
                  <a:cubicBezTo>
                    <a:pt x="461" y="357"/>
                    <a:pt x="468" y="361"/>
                    <a:pt x="468" y="361"/>
                  </a:cubicBezTo>
                  <a:cubicBezTo>
                    <a:pt x="488" y="361"/>
                    <a:pt x="488" y="361"/>
                    <a:pt x="488" y="361"/>
                  </a:cubicBezTo>
                  <a:cubicBezTo>
                    <a:pt x="488" y="361"/>
                    <a:pt x="491" y="384"/>
                    <a:pt x="505" y="385"/>
                  </a:cubicBezTo>
                  <a:cubicBezTo>
                    <a:pt x="519" y="386"/>
                    <a:pt x="523" y="372"/>
                    <a:pt x="515" y="36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258">
              <a:extLst>
                <a:ext uri="{FF2B5EF4-FFF2-40B4-BE49-F238E27FC236}">
                  <a16:creationId xmlns:a16="http://schemas.microsoft.com/office/drawing/2014/main" id="{56D12853-8B06-A546-C640-ACC5A5A3E76E}"/>
                </a:ext>
              </a:extLst>
            </p:cNvPr>
            <p:cNvSpPr>
              <a:spLocks/>
            </p:cNvSpPr>
            <p:nvPr/>
          </p:nvSpPr>
          <p:spPr bwMode="gray">
            <a:xfrm>
              <a:off x="-5138" y="-16436"/>
              <a:ext cx="661" cy="312"/>
            </a:xfrm>
            <a:custGeom>
              <a:avLst/>
              <a:gdLst>
                <a:gd name="T0" fmla="*/ 268 w 280"/>
                <a:gd name="T1" fmla="*/ 67 h 132"/>
                <a:gd name="T2" fmla="*/ 255 w 280"/>
                <a:gd name="T3" fmla="*/ 60 h 132"/>
                <a:gd name="T4" fmla="*/ 240 w 280"/>
                <a:gd name="T5" fmla="*/ 57 h 132"/>
                <a:gd name="T6" fmla="*/ 219 w 280"/>
                <a:gd name="T7" fmla="*/ 42 h 132"/>
                <a:gd name="T8" fmla="*/ 196 w 280"/>
                <a:gd name="T9" fmla="*/ 47 h 132"/>
                <a:gd name="T10" fmla="*/ 177 w 280"/>
                <a:gd name="T11" fmla="*/ 35 h 132"/>
                <a:gd name="T12" fmla="*/ 178 w 280"/>
                <a:gd name="T13" fmla="*/ 28 h 132"/>
                <a:gd name="T14" fmla="*/ 159 w 280"/>
                <a:gd name="T15" fmla="*/ 24 h 132"/>
                <a:gd name="T16" fmla="*/ 132 w 280"/>
                <a:gd name="T17" fmla="*/ 13 h 132"/>
                <a:gd name="T18" fmla="*/ 116 w 280"/>
                <a:gd name="T19" fmla="*/ 2 h 132"/>
                <a:gd name="T20" fmla="*/ 108 w 280"/>
                <a:gd name="T21" fmla="*/ 11 h 132"/>
                <a:gd name="T22" fmla="*/ 87 w 280"/>
                <a:gd name="T23" fmla="*/ 11 h 132"/>
                <a:gd name="T24" fmla="*/ 72 w 280"/>
                <a:gd name="T25" fmla="*/ 19 h 132"/>
                <a:gd name="T26" fmla="*/ 56 w 280"/>
                <a:gd name="T27" fmla="*/ 24 h 132"/>
                <a:gd name="T28" fmla="*/ 38 w 280"/>
                <a:gd name="T29" fmla="*/ 36 h 132"/>
                <a:gd name="T30" fmla="*/ 21 w 280"/>
                <a:gd name="T31" fmla="*/ 36 h 132"/>
                <a:gd name="T32" fmla="*/ 11 w 280"/>
                <a:gd name="T33" fmla="*/ 42 h 132"/>
                <a:gd name="T34" fmla="*/ 5 w 280"/>
                <a:gd name="T35" fmla="*/ 50 h 132"/>
                <a:gd name="T36" fmla="*/ 17 w 280"/>
                <a:gd name="T37" fmla="*/ 60 h 132"/>
                <a:gd name="T38" fmla="*/ 19 w 280"/>
                <a:gd name="T39" fmla="*/ 74 h 132"/>
                <a:gd name="T40" fmla="*/ 27 w 280"/>
                <a:gd name="T41" fmla="*/ 82 h 132"/>
                <a:gd name="T42" fmla="*/ 42 w 280"/>
                <a:gd name="T43" fmla="*/ 90 h 132"/>
                <a:gd name="T44" fmla="*/ 49 w 280"/>
                <a:gd name="T45" fmla="*/ 98 h 132"/>
                <a:gd name="T46" fmla="*/ 65 w 280"/>
                <a:gd name="T47" fmla="*/ 108 h 132"/>
                <a:gd name="T48" fmla="*/ 87 w 280"/>
                <a:gd name="T49" fmla="*/ 131 h 132"/>
                <a:gd name="T50" fmla="*/ 110 w 280"/>
                <a:gd name="T51" fmla="*/ 132 h 132"/>
                <a:gd name="T52" fmla="*/ 115 w 280"/>
                <a:gd name="T53" fmla="*/ 119 h 132"/>
                <a:gd name="T54" fmla="*/ 142 w 280"/>
                <a:gd name="T55" fmla="*/ 112 h 132"/>
                <a:gd name="T56" fmla="*/ 158 w 280"/>
                <a:gd name="T57" fmla="*/ 113 h 132"/>
                <a:gd name="T58" fmla="*/ 173 w 280"/>
                <a:gd name="T59" fmla="*/ 120 h 132"/>
                <a:gd name="T60" fmla="*/ 200 w 280"/>
                <a:gd name="T61" fmla="*/ 123 h 132"/>
                <a:gd name="T62" fmla="*/ 221 w 280"/>
                <a:gd name="T63" fmla="*/ 116 h 132"/>
                <a:gd name="T64" fmla="*/ 255 w 280"/>
                <a:gd name="T65" fmla="*/ 105 h 132"/>
                <a:gd name="T66" fmla="*/ 269 w 280"/>
                <a:gd name="T67" fmla="*/ 86 h 132"/>
                <a:gd name="T68" fmla="*/ 275 w 280"/>
                <a:gd name="T69" fmla="*/ 7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0" h="132">
                  <a:moveTo>
                    <a:pt x="275" y="73"/>
                  </a:moveTo>
                  <a:cubicBezTo>
                    <a:pt x="268" y="67"/>
                    <a:pt x="268" y="67"/>
                    <a:pt x="268" y="67"/>
                  </a:cubicBezTo>
                  <a:cubicBezTo>
                    <a:pt x="269" y="62"/>
                    <a:pt x="269" y="62"/>
                    <a:pt x="269" y="62"/>
                  </a:cubicBezTo>
                  <a:cubicBezTo>
                    <a:pt x="269" y="62"/>
                    <a:pt x="259" y="60"/>
                    <a:pt x="255" y="60"/>
                  </a:cubicBezTo>
                  <a:cubicBezTo>
                    <a:pt x="251" y="60"/>
                    <a:pt x="247" y="51"/>
                    <a:pt x="247" y="51"/>
                  </a:cubicBezTo>
                  <a:cubicBezTo>
                    <a:pt x="240" y="57"/>
                    <a:pt x="240" y="57"/>
                    <a:pt x="240" y="57"/>
                  </a:cubicBezTo>
                  <a:cubicBezTo>
                    <a:pt x="240" y="57"/>
                    <a:pt x="235" y="44"/>
                    <a:pt x="227" y="43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9" y="42"/>
                    <a:pt x="224" y="35"/>
                    <a:pt x="211" y="39"/>
                  </a:cubicBezTo>
                  <a:cubicBezTo>
                    <a:pt x="198" y="43"/>
                    <a:pt x="196" y="47"/>
                    <a:pt x="196" y="47"/>
                  </a:cubicBezTo>
                  <a:cubicBezTo>
                    <a:pt x="196" y="47"/>
                    <a:pt x="185" y="45"/>
                    <a:pt x="181" y="43"/>
                  </a:cubicBezTo>
                  <a:cubicBezTo>
                    <a:pt x="177" y="41"/>
                    <a:pt x="177" y="35"/>
                    <a:pt x="177" y="35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75" y="23"/>
                    <a:pt x="175" y="23"/>
                    <a:pt x="175" y="23"/>
                  </a:cubicBezTo>
                  <a:cubicBezTo>
                    <a:pt x="175" y="23"/>
                    <a:pt x="162" y="24"/>
                    <a:pt x="159" y="24"/>
                  </a:cubicBezTo>
                  <a:cubicBezTo>
                    <a:pt x="156" y="24"/>
                    <a:pt x="158" y="18"/>
                    <a:pt x="146" y="14"/>
                  </a:cubicBezTo>
                  <a:cubicBezTo>
                    <a:pt x="134" y="10"/>
                    <a:pt x="132" y="13"/>
                    <a:pt x="132" y="13"/>
                  </a:cubicBezTo>
                  <a:cubicBezTo>
                    <a:pt x="129" y="4"/>
                    <a:pt x="129" y="4"/>
                    <a:pt x="129" y="4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4" y="6"/>
                    <a:pt x="111" y="11"/>
                    <a:pt x="108" y="11"/>
                  </a:cubicBezTo>
                  <a:cubicBezTo>
                    <a:pt x="103" y="12"/>
                    <a:pt x="98" y="0"/>
                    <a:pt x="96" y="1"/>
                  </a:cubicBezTo>
                  <a:cubicBezTo>
                    <a:pt x="94" y="2"/>
                    <a:pt x="89" y="8"/>
                    <a:pt x="87" y="11"/>
                  </a:cubicBezTo>
                  <a:cubicBezTo>
                    <a:pt x="84" y="14"/>
                    <a:pt x="73" y="13"/>
                    <a:pt x="73" y="13"/>
                  </a:cubicBezTo>
                  <a:cubicBezTo>
                    <a:pt x="73" y="13"/>
                    <a:pt x="75" y="18"/>
                    <a:pt x="72" y="19"/>
                  </a:cubicBezTo>
                  <a:cubicBezTo>
                    <a:pt x="69" y="20"/>
                    <a:pt x="58" y="20"/>
                    <a:pt x="58" y="20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6"/>
                    <a:pt x="40" y="32"/>
                    <a:pt x="31" y="30"/>
                  </a:cubicBezTo>
                  <a:cubicBezTo>
                    <a:pt x="23" y="28"/>
                    <a:pt x="21" y="36"/>
                    <a:pt x="21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5" y="41"/>
                    <a:pt x="11" y="42"/>
                  </a:cubicBezTo>
                  <a:cubicBezTo>
                    <a:pt x="7" y="42"/>
                    <a:pt x="7" y="36"/>
                    <a:pt x="3" y="38"/>
                  </a:cubicBezTo>
                  <a:cubicBezTo>
                    <a:pt x="0" y="41"/>
                    <a:pt x="5" y="50"/>
                    <a:pt x="5" y="50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9" y="64"/>
                    <a:pt x="10" y="66"/>
                  </a:cubicBezTo>
                  <a:cubicBezTo>
                    <a:pt x="11" y="68"/>
                    <a:pt x="19" y="74"/>
                    <a:pt x="19" y="74"/>
                  </a:cubicBezTo>
                  <a:cubicBezTo>
                    <a:pt x="21" y="80"/>
                    <a:pt x="21" y="80"/>
                    <a:pt x="21" y="80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1" y="87"/>
                    <a:pt x="29" y="88"/>
                  </a:cubicBezTo>
                  <a:cubicBezTo>
                    <a:pt x="36" y="88"/>
                    <a:pt x="42" y="90"/>
                    <a:pt x="42" y="90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5" y="107"/>
                    <a:pt x="55" y="107"/>
                    <a:pt x="55" y="107"/>
                  </a:cubicBezTo>
                  <a:cubicBezTo>
                    <a:pt x="55" y="107"/>
                    <a:pt x="60" y="105"/>
                    <a:pt x="65" y="108"/>
                  </a:cubicBezTo>
                  <a:cubicBezTo>
                    <a:pt x="71" y="112"/>
                    <a:pt x="72" y="119"/>
                    <a:pt x="72" y="119"/>
                  </a:cubicBezTo>
                  <a:cubicBezTo>
                    <a:pt x="72" y="119"/>
                    <a:pt x="80" y="131"/>
                    <a:pt x="87" y="131"/>
                  </a:cubicBezTo>
                  <a:cubicBezTo>
                    <a:pt x="95" y="131"/>
                    <a:pt x="101" y="127"/>
                    <a:pt x="101" y="127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115" y="119"/>
                    <a:pt x="122" y="106"/>
                    <a:pt x="125" y="105"/>
                  </a:cubicBezTo>
                  <a:cubicBezTo>
                    <a:pt x="129" y="104"/>
                    <a:pt x="142" y="112"/>
                    <a:pt x="142" y="112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58" y="113"/>
                    <a:pt x="158" y="113"/>
                    <a:pt x="158" y="113"/>
                  </a:cubicBezTo>
                  <a:cubicBezTo>
                    <a:pt x="165" y="121"/>
                    <a:pt x="165" y="121"/>
                    <a:pt x="165" y="121"/>
                  </a:cubicBezTo>
                  <a:cubicBezTo>
                    <a:pt x="173" y="120"/>
                    <a:pt x="173" y="120"/>
                    <a:pt x="173" y="120"/>
                  </a:cubicBezTo>
                  <a:cubicBezTo>
                    <a:pt x="173" y="120"/>
                    <a:pt x="177" y="113"/>
                    <a:pt x="184" y="115"/>
                  </a:cubicBezTo>
                  <a:cubicBezTo>
                    <a:pt x="192" y="118"/>
                    <a:pt x="200" y="123"/>
                    <a:pt x="200" y="123"/>
                  </a:cubicBezTo>
                  <a:cubicBezTo>
                    <a:pt x="200" y="123"/>
                    <a:pt x="205" y="119"/>
                    <a:pt x="209" y="118"/>
                  </a:cubicBezTo>
                  <a:cubicBezTo>
                    <a:pt x="212" y="117"/>
                    <a:pt x="218" y="117"/>
                    <a:pt x="221" y="116"/>
                  </a:cubicBezTo>
                  <a:cubicBezTo>
                    <a:pt x="222" y="118"/>
                    <a:pt x="228" y="120"/>
                    <a:pt x="233" y="117"/>
                  </a:cubicBezTo>
                  <a:cubicBezTo>
                    <a:pt x="240" y="112"/>
                    <a:pt x="255" y="105"/>
                    <a:pt x="255" y="105"/>
                  </a:cubicBezTo>
                  <a:cubicBezTo>
                    <a:pt x="255" y="92"/>
                    <a:pt x="255" y="92"/>
                    <a:pt x="255" y="92"/>
                  </a:cubicBezTo>
                  <a:cubicBezTo>
                    <a:pt x="269" y="86"/>
                    <a:pt x="269" y="86"/>
                    <a:pt x="269" y="86"/>
                  </a:cubicBezTo>
                  <a:cubicBezTo>
                    <a:pt x="280" y="79"/>
                    <a:pt x="280" y="79"/>
                    <a:pt x="280" y="79"/>
                  </a:cubicBezTo>
                  <a:cubicBezTo>
                    <a:pt x="277" y="76"/>
                    <a:pt x="275" y="73"/>
                    <a:pt x="275" y="7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259">
              <a:extLst>
                <a:ext uri="{FF2B5EF4-FFF2-40B4-BE49-F238E27FC236}">
                  <a16:creationId xmlns:a16="http://schemas.microsoft.com/office/drawing/2014/main" id="{B58ECF9C-548F-16B9-861C-8A3C67FCE887}"/>
                </a:ext>
              </a:extLst>
            </p:cNvPr>
            <p:cNvSpPr>
              <a:spLocks/>
            </p:cNvSpPr>
            <p:nvPr/>
          </p:nvSpPr>
          <p:spPr bwMode="gray">
            <a:xfrm>
              <a:off x="-4952" y="-16892"/>
              <a:ext cx="990" cy="711"/>
            </a:xfrm>
            <a:custGeom>
              <a:avLst/>
              <a:gdLst>
                <a:gd name="T0" fmla="*/ 312 w 419"/>
                <a:gd name="T1" fmla="*/ 276 h 301"/>
                <a:gd name="T2" fmla="*/ 351 w 419"/>
                <a:gd name="T3" fmla="*/ 293 h 301"/>
                <a:gd name="T4" fmla="*/ 371 w 419"/>
                <a:gd name="T5" fmla="*/ 301 h 301"/>
                <a:gd name="T6" fmla="*/ 364 w 419"/>
                <a:gd name="T7" fmla="*/ 265 h 301"/>
                <a:gd name="T8" fmla="*/ 417 w 419"/>
                <a:gd name="T9" fmla="*/ 224 h 301"/>
                <a:gd name="T10" fmla="*/ 416 w 419"/>
                <a:gd name="T11" fmla="*/ 203 h 301"/>
                <a:gd name="T12" fmla="*/ 390 w 419"/>
                <a:gd name="T13" fmla="*/ 180 h 301"/>
                <a:gd name="T14" fmla="*/ 389 w 419"/>
                <a:gd name="T15" fmla="*/ 167 h 301"/>
                <a:gd name="T16" fmla="*/ 387 w 419"/>
                <a:gd name="T17" fmla="*/ 140 h 301"/>
                <a:gd name="T18" fmla="*/ 379 w 419"/>
                <a:gd name="T19" fmla="*/ 123 h 301"/>
                <a:gd name="T20" fmla="*/ 394 w 419"/>
                <a:gd name="T21" fmla="*/ 106 h 301"/>
                <a:gd name="T22" fmla="*/ 392 w 419"/>
                <a:gd name="T23" fmla="*/ 78 h 301"/>
                <a:gd name="T24" fmla="*/ 373 w 419"/>
                <a:gd name="T25" fmla="*/ 46 h 301"/>
                <a:gd name="T26" fmla="*/ 344 w 419"/>
                <a:gd name="T27" fmla="*/ 22 h 301"/>
                <a:gd name="T28" fmla="*/ 313 w 419"/>
                <a:gd name="T29" fmla="*/ 26 h 301"/>
                <a:gd name="T30" fmla="*/ 257 w 419"/>
                <a:gd name="T31" fmla="*/ 20 h 301"/>
                <a:gd name="T32" fmla="*/ 231 w 419"/>
                <a:gd name="T33" fmla="*/ 18 h 301"/>
                <a:gd name="T34" fmla="*/ 189 w 419"/>
                <a:gd name="T35" fmla="*/ 22 h 301"/>
                <a:gd name="T36" fmla="*/ 149 w 419"/>
                <a:gd name="T37" fmla="*/ 0 h 301"/>
                <a:gd name="T38" fmla="*/ 81 w 419"/>
                <a:gd name="T39" fmla="*/ 28 h 301"/>
                <a:gd name="T40" fmla="*/ 12 w 419"/>
                <a:gd name="T41" fmla="*/ 48 h 301"/>
                <a:gd name="T42" fmla="*/ 7 w 419"/>
                <a:gd name="T43" fmla="*/ 58 h 301"/>
                <a:gd name="T44" fmla="*/ 14 w 419"/>
                <a:gd name="T45" fmla="*/ 75 h 301"/>
                <a:gd name="T46" fmla="*/ 3 w 419"/>
                <a:gd name="T47" fmla="*/ 102 h 301"/>
                <a:gd name="T48" fmla="*/ 14 w 419"/>
                <a:gd name="T49" fmla="*/ 111 h 301"/>
                <a:gd name="T50" fmla="*/ 24 w 419"/>
                <a:gd name="T51" fmla="*/ 122 h 301"/>
                <a:gd name="T52" fmla="*/ 25 w 419"/>
                <a:gd name="T53" fmla="*/ 132 h 301"/>
                <a:gd name="T54" fmla="*/ 29 w 419"/>
                <a:gd name="T55" fmla="*/ 142 h 301"/>
                <a:gd name="T56" fmla="*/ 30 w 419"/>
                <a:gd name="T57" fmla="*/ 161 h 301"/>
                <a:gd name="T58" fmla="*/ 38 w 419"/>
                <a:gd name="T59" fmla="*/ 173 h 301"/>
                <a:gd name="T60" fmla="*/ 41 w 419"/>
                <a:gd name="T61" fmla="*/ 187 h 301"/>
                <a:gd name="T62" fmla="*/ 50 w 419"/>
                <a:gd name="T63" fmla="*/ 197 h 301"/>
                <a:gd name="T64" fmla="*/ 67 w 419"/>
                <a:gd name="T65" fmla="*/ 207 h 301"/>
                <a:gd name="T66" fmla="*/ 96 w 419"/>
                <a:gd name="T67" fmla="*/ 216 h 301"/>
                <a:gd name="T68" fmla="*/ 92 w 419"/>
                <a:gd name="T69" fmla="*/ 225 h 301"/>
                <a:gd name="T70" fmla="*/ 102 w 419"/>
                <a:gd name="T71" fmla="*/ 236 h 301"/>
                <a:gd name="T72" fmla="*/ 132 w 419"/>
                <a:gd name="T73" fmla="*/ 232 h 301"/>
                <a:gd name="T74" fmla="*/ 148 w 419"/>
                <a:gd name="T75" fmla="*/ 236 h 301"/>
                <a:gd name="T76" fmla="*/ 168 w 419"/>
                <a:gd name="T77" fmla="*/ 244 h 301"/>
                <a:gd name="T78" fmla="*/ 190 w 419"/>
                <a:gd name="T79" fmla="*/ 255 h 301"/>
                <a:gd name="T80" fmla="*/ 196 w 419"/>
                <a:gd name="T81" fmla="*/ 266 h 301"/>
                <a:gd name="T82" fmla="*/ 229 w 419"/>
                <a:gd name="T83" fmla="*/ 272 h 301"/>
                <a:gd name="T84" fmla="*/ 244 w 419"/>
                <a:gd name="T85" fmla="*/ 281 h 301"/>
                <a:gd name="T86" fmla="*/ 258 w 419"/>
                <a:gd name="T87" fmla="*/ 279 h 301"/>
                <a:gd name="T88" fmla="*/ 288 w 419"/>
                <a:gd name="T89" fmla="*/ 284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19" h="301">
                  <a:moveTo>
                    <a:pt x="288" y="284"/>
                  </a:moveTo>
                  <a:cubicBezTo>
                    <a:pt x="293" y="284"/>
                    <a:pt x="298" y="276"/>
                    <a:pt x="312" y="276"/>
                  </a:cubicBezTo>
                  <a:cubicBezTo>
                    <a:pt x="326" y="276"/>
                    <a:pt x="325" y="283"/>
                    <a:pt x="332" y="289"/>
                  </a:cubicBezTo>
                  <a:cubicBezTo>
                    <a:pt x="339" y="295"/>
                    <a:pt x="345" y="293"/>
                    <a:pt x="351" y="293"/>
                  </a:cubicBezTo>
                  <a:cubicBezTo>
                    <a:pt x="357" y="293"/>
                    <a:pt x="355" y="300"/>
                    <a:pt x="355" y="300"/>
                  </a:cubicBezTo>
                  <a:cubicBezTo>
                    <a:pt x="371" y="301"/>
                    <a:pt x="371" y="301"/>
                    <a:pt x="371" y="301"/>
                  </a:cubicBezTo>
                  <a:cubicBezTo>
                    <a:pt x="371" y="301"/>
                    <a:pt x="362" y="295"/>
                    <a:pt x="363" y="285"/>
                  </a:cubicBezTo>
                  <a:cubicBezTo>
                    <a:pt x="364" y="275"/>
                    <a:pt x="364" y="265"/>
                    <a:pt x="364" y="265"/>
                  </a:cubicBezTo>
                  <a:cubicBezTo>
                    <a:pt x="399" y="230"/>
                    <a:pt x="399" y="230"/>
                    <a:pt x="399" y="230"/>
                  </a:cubicBezTo>
                  <a:cubicBezTo>
                    <a:pt x="399" y="230"/>
                    <a:pt x="419" y="229"/>
                    <a:pt x="417" y="224"/>
                  </a:cubicBezTo>
                  <a:cubicBezTo>
                    <a:pt x="415" y="219"/>
                    <a:pt x="409" y="211"/>
                    <a:pt x="409" y="211"/>
                  </a:cubicBezTo>
                  <a:cubicBezTo>
                    <a:pt x="416" y="203"/>
                    <a:pt x="416" y="203"/>
                    <a:pt x="416" y="203"/>
                  </a:cubicBezTo>
                  <a:cubicBezTo>
                    <a:pt x="416" y="203"/>
                    <a:pt x="404" y="200"/>
                    <a:pt x="401" y="191"/>
                  </a:cubicBezTo>
                  <a:cubicBezTo>
                    <a:pt x="398" y="182"/>
                    <a:pt x="390" y="180"/>
                    <a:pt x="390" y="180"/>
                  </a:cubicBezTo>
                  <a:cubicBezTo>
                    <a:pt x="388" y="167"/>
                    <a:pt x="388" y="167"/>
                    <a:pt x="388" y="167"/>
                  </a:cubicBezTo>
                  <a:cubicBezTo>
                    <a:pt x="388" y="167"/>
                    <a:pt x="388" y="167"/>
                    <a:pt x="389" y="167"/>
                  </a:cubicBezTo>
                  <a:cubicBezTo>
                    <a:pt x="386" y="158"/>
                    <a:pt x="386" y="158"/>
                    <a:pt x="386" y="158"/>
                  </a:cubicBezTo>
                  <a:cubicBezTo>
                    <a:pt x="386" y="158"/>
                    <a:pt x="389" y="144"/>
                    <a:pt x="387" y="140"/>
                  </a:cubicBezTo>
                  <a:cubicBezTo>
                    <a:pt x="385" y="136"/>
                    <a:pt x="371" y="133"/>
                    <a:pt x="369" y="127"/>
                  </a:cubicBezTo>
                  <a:cubicBezTo>
                    <a:pt x="367" y="121"/>
                    <a:pt x="376" y="123"/>
                    <a:pt x="379" y="123"/>
                  </a:cubicBezTo>
                  <a:cubicBezTo>
                    <a:pt x="382" y="123"/>
                    <a:pt x="380" y="111"/>
                    <a:pt x="380" y="111"/>
                  </a:cubicBezTo>
                  <a:cubicBezTo>
                    <a:pt x="394" y="106"/>
                    <a:pt x="394" y="106"/>
                    <a:pt x="394" y="106"/>
                  </a:cubicBezTo>
                  <a:cubicBezTo>
                    <a:pt x="394" y="106"/>
                    <a:pt x="396" y="98"/>
                    <a:pt x="398" y="94"/>
                  </a:cubicBezTo>
                  <a:cubicBezTo>
                    <a:pt x="400" y="90"/>
                    <a:pt x="392" y="78"/>
                    <a:pt x="392" y="78"/>
                  </a:cubicBezTo>
                  <a:cubicBezTo>
                    <a:pt x="392" y="78"/>
                    <a:pt x="381" y="69"/>
                    <a:pt x="381" y="64"/>
                  </a:cubicBezTo>
                  <a:cubicBezTo>
                    <a:pt x="381" y="59"/>
                    <a:pt x="373" y="46"/>
                    <a:pt x="373" y="46"/>
                  </a:cubicBezTo>
                  <a:cubicBezTo>
                    <a:pt x="373" y="33"/>
                    <a:pt x="373" y="33"/>
                    <a:pt x="373" y="33"/>
                  </a:cubicBezTo>
                  <a:cubicBezTo>
                    <a:pt x="373" y="33"/>
                    <a:pt x="357" y="24"/>
                    <a:pt x="344" y="22"/>
                  </a:cubicBezTo>
                  <a:cubicBezTo>
                    <a:pt x="331" y="20"/>
                    <a:pt x="336" y="27"/>
                    <a:pt x="336" y="27"/>
                  </a:cubicBezTo>
                  <a:cubicBezTo>
                    <a:pt x="336" y="27"/>
                    <a:pt x="321" y="27"/>
                    <a:pt x="313" y="26"/>
                  </a:cubicBezTo>
                  <a:cubicBezTo>
                    <a:pt x="305" y="25"/>
                    <a:pt x="274" y="27"/>
                    <a:pt x="274" y="27"/>
                  </a:cubicBezTo>
                  <a:cubicBezTo>
                    <a:pt x="274" y="27"/>
                    <a:pt x="266" y="22"/>
                    <a:pt x="257" y="20"/>
                  </a:cubicBezTo>
                  <a:cubicBezTo>
                    <a:pt x="248" y="18"/>
                    <a:pt x="236" y="23"/>
                    <a:pt x="236" y="23"/>
                  </a:cubicBezTo>
                  <a:cubicBezTo>
                    <a:pt x="231" y="18"/>
                    <a:pt x="231" y="18"/>
                    <a:pt x="231" y="18"/>
                  </a:cubicBezTo>
                  <a:cubicBezTo>
                    <a:pt x="231" y="19"/>
                    <a:pt x="231" y="19"/>
                    <a:pt x="231" y="19"/>
                  </a:cubicBezTo>
                  <a:cubicBezTo>
                    <a:pt x="231" y="19"/>
                    <a:pt x="195" y="23"/>
                    <a:pt x="189" y="22"/>
                  </a:cubicBezTo>
                  <a:cubicBezTo>
                    <a:pt x="183" y="21"/>
                    <a:pt x="178" y="4"/>
                    <a:pt x="178" y="4"/>
                  </a:cubicBezTo>
                  <a:cubicBezTo>
                    <a:pt x="178" y="4"/>
                    <a:pt x="164" y="0"/>
                    <a:pt x="149" y="0"/>
                  </a:cubicBezTo>
                  <a:cubicBezTo>
                    <a:pt x="134" y="0"/>
                    <a:pt x="94" y="17"/>
                    <a:pt x="94" y="17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10" y="44"/>
                    <a:pt x="12" y="48"/>
                  </a:cubicBezTo>
                  <a:cubicBezTo>
                    <a:pt x="14" y="52"/>
                    <a:pt x="14" y="62"/>
                    <a:pt x="14" y="62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8" y="61"/>
                    <a:pt x="9" y="65"/>
                    <a:pt x="8" y="68"/>
                  </a:cubicBezTo>
                  <a:cubicBezTo>
                    <a:pt x="6" y="74"/>
                    <a:pt x="11" y="66"/>
                    <a:pt x="14" y="75"/>
                  </a:cubicBezTo>
                  <a:cubicBezTo>
                    <a:pt x="16" y="83"/>
                    <a:pt x="18" y="85"/>
                    <a:pt x="12" y="89"/>
                  </a:cubicBezTo>
                  <a:cubicBezTo>
                    <a:pt x="6" y="94"/>
                    <a:pt x="0" y="95"/>
                    <a:pt x="3" y="102"/>
                  </a:cubicBezTo>
                  <a:cubicBezTo>
                    <a:pt x="6" y="109"/>
                    <a:pt x="10" y="105"/>
                    <a:pt x="10" y="105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8" y="107"/>
                    <a:pt x="21" y="111"/>
                  </a:cubicBezTo>
                  <a:cubicBezTo>
                    <a:pt x="24" y="116"/>
                    <a:pt x="24" y="122"/>
                    <a:pt x="24" y="122"/>
                  </a:cubicBezTo>
                  <a:cubicBezTo>
                    <a:pt x="24" y="122"/>
                    <a:pt x="18" y="125"/>
                    <a:pt x="19" y="128"/>
                  </a:cubicBezTo>
                  <a:cubicBezTo>
                    <a:pt x="20" y="131"/>
                    <a:pt x="25" y="132"/>
                    <a:pt x="25" y="132"/>
                  </a:cubicBezTo>
                  <a:cubicBezTo>
                    <a:pt x="25" y="132"/>
                    <a:pt x="22" y="139"/>
                    <a:pt x="24" y="139"/>
                  </a:cubicBezTo>
                  <a:cubicBezTo>
                    <a:pt x="26" y="140"/>
                    <a:pt x="29" y="142"/>
                    <a:pt x="29" y="142"/>
                  </a:cubicBezTo>
                  <a:cubicBezTo>
                    <a:pt x="29" y="142"/>
                    <a:pt x="20" y="148"/>
                    <a:pt x="20" y="153"/>
                  </a:cubicBezTo>
                  <a:cubicBezTo>
                    <a:pt x="21" y="159"/>
                    <a:pt x="30" y="161"/>
                    <a:pt x="30" y="161"/>
                  </a:cubicBezTo>
                  <a:cubicBezTo>
                    <a:pt x="29" y="173"/>
                    <a:pt x="29" y="173"/>
                    <a:pt x="29" y="173"/>
                  </a:cubicBezTo>
                  <a:cubicBezTo>
                    <a:pt x="29" y="173"/>
                    <a:pt x="37" y="167"/>
                    <a:pt x="38" y="173"/>
                  </a:cubicBezTo>
                  <a:cubicBezTo>
                    <a:pt x="40" y="178"/>
                    <a:pt x="36" y="183"/>
                    <a:pt x="36" y="183"/>
                  </a:cubicBezTo>
                  <a:cubicBezTo>
                    <a:pt x="36" y="183"/>
                    <a:pt x="42" y="184"/>
                    <a:pt x="41" y="187"/>
                  </a:cubicBezTo>
                  <a:cubicBezTo>
                    <a:pt x="40" y="189"/>
                    <a:pt x="39" y="192"/>
                    <a:pt x="37" y="195"/>
                  </a:cubicBezTo>
                  <a:cubicBezTo>
                    <a:pt x="50" y="197"/>
                    <a:pt x="50" y="197"/>
                    <a:pt x="50" y="197"/>
                  </a:cubicBezTo>
                  <a:cubicBezTo>
                    <a:pt x="53" y="206"/>
                    <a:pt x="53" y="206"/>
                    <a:pt x="53" y="206"/>
                  </a:cubicBezTo>
                  <a:cubicBezTo>
                    <a:pt x="53" y="206"/>
                    <a:pt x="55" y="203"/>
                    <a:pt x="67" y="207"/>
                  </a:cubicBezTo>
                  <a:cubicBezTo>
                    <a:pt x="79" y="211"/>
                    <a:pt x="77" y="217"/>
                    <a:pt x="80" y="217"/>
                  </a:cubicBezTo>
                  <a:cubicBezTo>
                    <a:pt x="83" y="217"/>
                    <a:pt x="96" y="216"/>
                    <a:pt x="96" y="216"/>
                  </a:cubicBezTo>
                  <a:cubicBezTo>
                    <a:pt x="99" y="221"/>
                    <a:pt x="99" y="221"/>
                    <a:pt x="99" y="221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8" y="228"/>
                    <a:pt x="98" y="228"/>
                    <a:pt x="98" y="228"/>
                  </a:cubicBezTo>
                  <a:cubicBezTo>
                    <a:pt x="98" y="228"/>
                    <a:pt x="98" y="234"/>
                    <a:pt x="102" y="236"/>
                  </a:cubicBezTo>
                  <a:cubicBezTo>
                    <a:pt x="106" y="238"/>
                    <a:pt x="117" y="240"/>
                    <a:pt x="117" y="240"/>
                  </a:cubicBezTo>
                  <a:cubicBezTo>
                    <a:pt x="117" y="240"/>
                    <a:pt x="119" y="236"/>
                    <a:pt x="132" y="232"/>
                  </a:cubicBezTo>
                  <a:cubicBezTo>
                    <a:pt x="145" y="228"/>
                    <a:pt x="140" y="235"/>
                    <a:pt x="140" y="235"/>
                  </a:cubicBezTo>
                  <a:cubicBezTo>
                    <a:pt x="140" y="235"/>
                    <a:pt x="140" y="235"/>
                    <a:pt x="148" y="236"/>
                  </a:cubicBezTo>
                  <a:cubicBezTo>
                    <a:pt x="156" y="237"/>
                    <a:pt x="161" y="250"/>
                    <a:pt x="161" y="250"/>
                  </a:cubicBezTo>
                  <a:cubicBezTo>
                    <a:pt x="168" y="244"/>
                    <a:pt x="168" y="244"/>
                    <a:pt x="168" y="244"/>
                  </a:cubicBezTo>
                  <a:cubicBezTo>
                    <a:pt x="168" y="244"/>
                    <a:pt x="172" y="253"/>
                    <a:pt x="176" y="253"/>
                  </a:cubicBezTo>
                  <a:cubicBezTo>
                    <a:pt x="180" y="253"/>
                    <a:pt x="190" y="255"/>
                    <a:pt x="190" y="255"/>
                  </a:cubicBezTo>
                  <a:cubicBezTo>
                    <a:pt x="189" y="260"/>
                    <a:pt x="189" y="260"/>
                    <a:pt x="189" y="260"/>
                  </a:cubicBezTo>
                  <a:cubicBezTo>
                    <a:pt x="196" y="266"/>
                    <a:pt x="196" y="266"/>
                    <a:pt x="196" y="266"/>
                  </a:cubicBezTo>
                  <a:cubicBezTo>
                    <a:pt x="196" y="266"/>
                    <a:pt x="206" y="278"/>
                    <a:pt x="209" y="278"/>
                  </a:cubicBezTo>
                  <a:cubicBezTo>
                    <a:pt x="212" y="278"/>
                    <a:pt x="222" y="270"/>
                    <a:pt x="229" y="272"/>
                  </a:cubicBezTo>
                  <a:cubicBezTo>
                    <a:pt x="236" y="274"/>
                    <a:pt x="237" y="281"/>
                    <a:pt x="237" y="281"/>
                  </a:cubicBezTo>
                  <a:cubicBezTo>
                    <a:pt x="244" y="281"/>
                    <a:pt x="244" y="281"/>
                    <a:pt x="244" y="281"/>
                  </a:cubicBezTo>
                  <a:cubicBezTo>
                    <a:pt x="244" y="281"/>
                    <a:pt x="241" y="288"/>
                    <a:pt x="250" y="288"/>
                  </a:cubicBezTo>
                  <a:cubicBezTo>
                    <a:pt x="259" y="288"/>
                    <a:pt x="258" y="279"/>
                    <a:pt x="258" y="279"/>
                  </a:cubicBezTo>
                  <a:cubicBezTo>
                    <a:pt x="277" y="280"/>
                    <a:pt x="277" y="280"/>
                    <a:pt x="277" y="280"/>
                  </a:cubicBezTo>
                  <a:cubicBezTo>
                    <a:pt x="277" y="280"/>
                    <a:pt x="283" y="284"/>
                    <a:pt x="288" y="28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260">
              <a:extLst>
                <a:ext uri="{FF2B5EF4-FFF2-40B4-BE49-F238E27FC236}">
                  <a16:creationId xmlns:a16="http://schemas.microsoft.com/office/drawing/2014/main" id="{218207FD-4E41-489B-CB4D-5DAB21DE2D4D}"/>
                </a:ext>
              </a:extLst>
            </p:cNvPr>
            <p:cNvSpPr>
              <a:spLocks/>
            </p:cNvSpPr>
            <p:nvPr/>
          </p:nvSpPr>
          <p:spPr bwMode="gray">
            <a:xfrm>
              <a:off x="-5764" y="-16322"/>
              <a:ext cx="85" cy="75"/>
            </a:xfrm>
            <a:custGeom>
              <a:avLst/>
              <a:gdLst>
                <a:gd name="T0" fmla="*/ 13 w 36"/>
                <a:gd name="T1" fmla="*/ 32 h 32"/>
                <a:gd name="T2" fmla="*/ 19 w 36"/>
                <a:gd name="T3" fmla="*/ 27 h 32"/>
                <a:gd name="T4" fmla="*/ 30 w 36"/>
                <a:gd name="T5" fmla="*/ 29 h 32"/>
                <a:gd name="T6" fmla="*/ 35 w 36"/>
                <a:gd name="T7" fmla="*/ 20 h 32"/>
                <a:gd name="T8" fmla="*/ 20 w 36"/>
                <a:gd name="T9" fmla="*/ 8 h 32"/>
                <a:gd name="T10" fmla="*/ 20 w 36"/>
                <a:gd name="T11" fmla="*/ 0 h 32"/>
                <a:gd name="T12" fmla="*/ 12 w 36"/>
                <a:gd name="T13" fmla="*/ 4 h 32"/>
                <a:gd name="T14" fmla="*/ 2 w 36"/>
                <a:gd name="T15" fmla="*/ 18 h 32"/>
                <a:gd name="T16" fmla="*/ 13 w 36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2">
                  <a:moveTo>
                    <a:pt x="13" y="32"/>
                  </a:moveTo>
                  <a:cubicBezTo>
                    <a:pt x="19" y="27"/>
                    <a:pt x="19" y="27"/>
                    <a:pt x="19" y="27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6" y="25"/>
                    <a:pt x="35" y="20"/>
                  </a:cubicBezTo>
                  <a:cubicBezTo>
                    <a:pt x="34" y="16"/>
                    <a:pt x="24" y="14"/>
                    <a:pt x="20" y="8"/>
                  </a:cubicBezTo>
                  <a:cubicBezTo>
                    <a:pt x="19" y="6"/>
                    <a:pt x="19" y="3"/>
                    <a:pt x="20" y="0"/>
                  </a:cubicBezTo>
                  <a:cubicBezTo>
                    <a:pt x="19" y="1"/>
                    <a:pt x="16" y="2"/>
                    <a:pt x="12" y="4"/>
                  </a:cubicBezTo>
                  <a:cubicBezTo>
                    <a:pt x="1" y="10"/>
                    <a:pt x="0" y="16"/>
                    <a:pt x="2" y="18"/>
                  </a:cubicBezTo>
                  <a:cubicBezTo>
                    <a:pt x="3" y="20"/>
                    <a:pt x="9" y="27"/>
                    <a:pt x="13" y="3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261">
              <a:extLst>
                <a:ext uri="{FF2B5EF4-FFF2-40B4-BE49-F238E27FC236}">
                  <a16:creationId xmlns:a16="http://schemas.microsoft.com/office/drawing/2014/main" id="{AFC84A65-2F5D-B2FD-207E-0F881F618407}"/>
                </a:ext>
              </a:extLst>
            </p:cNvPr>
            <p:cNvSpPr>
              <a:spLocks/>
            </p:cNvSpPr>
            <p:nvPr/>
          </p:nvSpPr>
          <p:spPr bwMode="gray">
            <a:xfrm>
              <a:off x="-5382" y="-16190"/>
              <a:ext cx="728" cy="326"/>
            </a:xfrm>
            <a:custGeom>
              <a:avLst/>
              <a:gdLst>
                <a:gd name="T0" fmla="*/ 307 w 308"/>
                <a:gd name="T1" fmla="*/ 48 h 138"/>
                <a:gd name="T2" fmla="*/ 301 w 308"/>
                <a:gd name="T3" fmla="*/ 33 h 138"/>
                <a:gd name="T4" fmla="*/ 287 w 308"/>
                <a:gd name="T5" fmla="*/ 11 h 138"/>
                <a:gd name="T6" fmla="*/ 268 w 308"/>
                <a:gd name="T7" fmla="*/ 17 h 138"/>
                <a:gd name="T8" fmla="*/ 254 w 308"/>
                <a:gd name="T9" fmla="*/ 14 h 138"/>
                <a:gd name="T10" fmla="*/ 228 w 308"/>
                <a:gd name="T11" fmla="*/ 1 h 138"/>
                <a:gd name="T12" fmla="*/ 214 w 308"/>
                <a:gd name="T13" fmla="*/ 16 h 138"/>
                <a:gd name="T14" fmla="*/ 204 w 308"/>
                <a:gd name="T15" fmla="*/ 23 h 138"/>
                <a:gd name="T16" fmla="*/ 175 w 308"/>
                <a:gd name="T17" fmla="*/ 15 h 138"/>
                <a:gd name="T18" fmla="*/ 156 w 308"/>
                <a:gd name="T19" fmla="*/ 27 h 138"/>
                <a:gd name="T20" fmla="*/ 160 w 308"/>
                <a:gd name="T21" fmla="*/ 45 h 138"/>
                <a:gd name="T22" fmla="*/ 133 w 308"/>
                <a:gd name="T23" fmla="*/ 57 h 138"/>
                <a:gd name="T24" fmla="*/ 141 w 308"/>
                <a:gd name="T25" fmla="*/ 68 h 138"/>
                <a:gd name="T26" fmla="*/ 131 w 308"/>
                <a:gd name="T27" fmla="*/ 77 h 138"/>
                <a:gd name="T28" fmla="*/ 109 w 308"/>
                <a:gd name="T29" fmla="*/ 71 h 138"/>
                <a:gd name="T30" fmla="*/ 84 w 308"/>
                <a:gd name="T31" fmla="*/ 78 h 138"/>
                <a:gd name="T32" fmla="*/ 63 w 308"/>
                <a:gd name="T33" fmla="*/ 88 h 138"/>
                <a:gd name="T34" fmla="*/ 33 w 308"/>
                <a:gd name="T35" fmla="*/ 76 h 138"/>
                <a:gd name="T36" fmla="*/ 26 w 308"/>
                <a:gd name="T37" fmla="*/ 91 h 138"/>
                <a:gd name="T38" fmla="*/ 0 w 308"/>
                <a:gd name="T39" fmla="*/ 84 h 138"/>
                <a:gd name="T40" fmla="*/ 2 w 308"/>
                <a:gd name="T41" fmla="*/ 97 h 138"/>
                <a:gd name="T42" fmla="*/ 11 w 308"/>
                <a:gd name="T43" fmla="*/ 106 h 138"/>
                <a:gd name="T44" fmla="*/ 32 w 308"/>
                <a:gd name="T45" fmla="*/ 106 h 138"/>
                <a:gd name="T46" fmla="*/ 50 w 308"/>
                <a:gd name="T47" fmla="*/ 117 h 138"/>
                <a:gd name="T48" fmla="*/ 66 w 308"/>
                <a:gd name="T49" fmla="*/ 109 h 138"/>
                <a:gd name="T50" fmla="*/ 104 w 308"/>
                <a:gd name="T51" fmla="*/ 103 h 138"/>
                <a:gd name="T52" fmla="*/ 119 w 308"/>
                <a:gd name="T53" fmla="*/ 118 h 138"/>
                <a:gd name="T54" fmla="*/ 136 w 308"/>
                <a:gd name="T55" fmla="*/ 131 h 138"/>
                <a:gd name="T56" fmla="*/ 162 w 308"/>
                <a:gd name="T57" fmla="*/ 136 h 138"/>
                <a:gd name="T58" fmla="*/ 183 w 308"/>
                <a:gd name="T59" fmla="*/ 132 h 138"/>
                <a:gd name="T60" fmla="*/ 207 w 308"/>
                <a:gd name="T61" fmla="*/ 138 h 138"/>
                <a:gd name="T62" fmla="*/ 247 w 308"/>
                <a:gd name="T63" fmla="*/ 130 h 138"/>
                <a:gd name="T64" fmla="*/ 270 w 308"/>
                <a:gd name="T65" fmla="*/ 131 h 138"/>
                <a:gd name="T66" fmla="*/ 277 w 308"/>
                <a:gd name="T67" fmla="*/ 107 h 138"/>
                <a:gd name="T68" fmla="*/ 290 w 308"/>
                <a:gd name="T69" fmla="*/ 91 h 138"/>
                <a:gd name="T70" fmla="*/ 290 w 308"/>
                <a:gd name="T71" fmla="*/ 78 h 138"/>
                <a:gd name="T72" fmla="*/ 306 w 308"/>
                <a:gd name="T73" fmla="*/ 6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08" h="138">
                  <a:moveTo>
                    <a:pt x="306" y="69"/>
                  </a:moveTo>
                  <a:cubicBezTo>
                    <a:pt x="306" y="69"/>
                    <a:pt x="308" y="55"/>
                    <a:pt x="307" y="48"/>
                  </a:cubicBezTo>
                  <a:cubicBezTo>
                    <a:pt x="306" y="42"/>
                    <a:pt x="300" y="43"/>
                    <a:pt x="300" y="43"/>
                  </a:cubicBezTo>
                  <a:cubicBezTo>
                    <a:pt x="301" y="33"/>
                    <a:pt x="301" y="33"/>
                    <a:pt x="301" y="33"/>
                  </a:cubicBezTo>
                  <a:cubicBezTo>
                    <a:pt x="303" y="19"/>
                    <a:pt x="303" y="19"/>
                    <a:pt x="303" y="19"/>
                  </a:cubicBezTo>
                  <a:cubicBezTo>
                    <a:pt x="303" y="19"/>
                    <a:pt x="295" y="14"/>
                    <a:pt x="287" y="11"/>
                  </a:cubicBezTo>
                  <a:cubicBezTo>
                    <a:pt x="280" y="9"/>
                    <a:pt x="276" y="16"/>
                    <a:pt x="276" y="16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4" y="14"/>
                    <a:pt x="254" y="14"/>
                    <a:pt x="254" y="14"/>
                  </a:cubicBezTo>
                  <a:cubicBezTo>
                    <a:pt x="245" y="8"/>
                    <a:pt x="245" y="8"/>
                    <a:pt x="245" y="8"/>
                  </a:cubicBezTo>
                  <a:cubicBezTo>
                    <a:pt x="245" y="8"/>
                    <a:pt x="232" y="0"/>
                    <a:pt x="228" y="1"/>
                  </a:cubicBezTo>
                  <a:cubicBezTo>
                    <a:pt x="225" y="2"/>
                    <a:pt x="218" y="15"/>
                    <a:pt x="218" y="15"/>
                  </a:cubicBezTo>
                  <a:cubicBezTo>
                    <a:pt x="214" y="16"/>
                    <a:pt x="214" y="16"/>
                    <a:pt x="214" y="16"/>
                  </a:cubicBezTo>
                  <a:cubicBezTo>
                    <a:pt x="213" y="28"/>
                    <a:pt x="213" y="28"/>
                    <a:pt x="213" y="28"/>
                  </a:cubicBezTo>
                  <a:cubicBezTo>
                    <a:pt x="204" y="23"/>
                    <a:pt x="204" y="23"/>
                    <a:pt x="204" y="23"/>
                  </a:cubicBezTo>
                  <a:cubicBezTo>
                    <a:pt x="204" y="23"/>
                    <a:pt x="198" y="27"/>
                    <a:pt x="190" y="27"/>
                  </a:cubicBezTo>
                  <a:cubicBezTo>
                    <a:pt x="183" y="27"/>
                    <a:pt x="175" y="15"/>
                    <a:pt x="175" y="15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56" y="27"/>
                    <a:pt x="156" y="27"/>
                    <a:pt x="156" y="27"/>
                  </a:cubicBezTo>
                  <a:cubicBezTo>
                    <a:pt x="160" y="34"/>
                    <a:pt x="160" y="34"/>
                    <a:pt x="160" y="34"/>
                  </a:cubicBezTo>
                  <a:cubicBezTo>
                    <a:pt x="160" y="45"/>
                    <a:pt x="160" y="45"/>
                    <a:pt x="160" y="45"/>
                  </a:cubicBezTo>
                  <a:cubicBezTo>
                    <a:pt x="160" y="45"/>
                    <a:pt x="147" y="42"/>
                    <a:pt x="142" y="43"/>
                  </a:cubicBezTo>
                  <a:cubicBezTo>
                    <a:pt x="138" y="44"/>
                    <a:pt x="133" y="57"/>
                    <a:pt x="133" y="57"/>
                  </a:cubicBezTo>
                  <a:cubicBezTo>
                    <a:pt x="141" y="59"/>
                    <a:pt x="141" y="59"/>
                    <a:pt x="141" y="59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8"/>
                    <a:pt x="142" y="78"/>
                    <a:pt x="141" y="84"/>
                  </a:cubicBezTo>
                  <a:cubicBezTo>
                    <a:pt x="139" y="91"/>
                    <a:pt x="131" y="77"/>
                    <a:pt x="131" y="77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09" y="71"/>
                    <a:pt x="109" y="71"/>
                    <a:pt x="109" y="71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5" y="86"/>
                    <a:pt x="69" y="88"/>
                    <a:pt x="63" y="88"/>
                  </a:cubicBezTo>
                  <a:cubicBezTo>
                    <a:pt x="56" y="88"/>
                    <a:pt x="46" y="77"/>
                    <a:pt x="46" y="77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5"/>
                    <a:pt x="30" y="90"/>
                    <a:pt x="26" y="91"/>
                  </a:cubicBezTo>
                  <a:cubicBezTo>
                    <a:pt x="22" y="92"/>
                    <a:pt x="21" y="82"/>
                    <a:pt x="12" y="81"/>
                  </a:cubicBezTo>
                  <a:cubicBezTo>
                    <a:pt x="6" y="79"/>
                    <a:pt x="2" y="82"/>
                    <a:pt x="0" y="84"/>
                  </a:cubicBezTo>
                  <a:cubicBezTo>
                    <a:pt x="1" y="86"/>
                    <a:pt x="2" y="89"/>
                    <a:pt x="0" y="91"/>
                  </a:cubicBezTo>
                  <a:cubicBezTo>
                    <a:pt x="1" y="93"/>
                    <a:pt x="2" y="95"/>
                    <a:pt x="2" y="97"/>
                  </a:cubicBezTo>
                  <a:cubicBezTo>
                    <a:pt x="2" y="100"/>
                    <a:pt x="2" y="105"/>
                    <a:pt x="2" y="107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11" y="106"/>
                    <a:pt x="8" y="120"/>
                    <a:pt x="16" y="118"/>
                  </a:cubicBezTo>
                  <a:cubicBezTo>
                    <a:pt x="23" y="115"/>
                    <a:pt x="21" y="106"/>
                    <a:pt x="32" y="106"/>
                  </a:cubicBezTo>
                  <a:cubicBezTo>
                    <a:pt x="37" y="107"/>
                    <a:pt x="40" y="113"/>
                    <a:pt x="41" y="117"/>
                  </a:cubicBezTo>
                  <a:cubicBezTo>
                    <a:pt x="50" y="117"/>
                    <a:pt x="50" y="117"/>
                    <a:pt x="50" y="117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66" y="109"/>
                    <a:pt x="66" y="109"/>
                    <a:pt x="66" y="109"/>
                  </a:cubicBezTo>
                  <a:cubicBezTo>
                    <a:pt x="92" y="111"/>
                    <a:pt x="92" y="111"/>
                    <a:pt x="92" y="111"/>
                  </a:cubicBezTo>
                  <a:cubicBezTo>
                    <a:pt x="92" y="111"/>
                    <a:pt x="94" y="102"/>
                    <a:pt x="104" y="103"/>
                  </a:cubicBezTo>
                  <a:cubicBezTo>
                    <a:pt x="113" y="104"/>
                    <a:pt x="114" y="118"/>
                    <a:pt x="114" y="118"/>
                  </a:cubicBezTo>
                  <a:cubicBezTo>
                    <a:pt x="119" y="118"/>
                    <a:pt x="119" y="118"/>
                    <a:pt x="119" y="118"/>
                  </a:cubicBezTo>
                  <a:cubicBezTo>
                    <a:pt x="124" y="131"/>
                    <a:pt x="124" y="131"/>
                    <a:pt x="124" y="131"/>
                  </a:cubicBezTo>
                  <a:cubicBezTo>
                    <a:pt x="136" y="131"/>
                    <a:pt x="136" y="131"/>
                    <a:pt x="136" y="131"/>
                  </a:cubicBezTo>
                  <a:cubicBezTo>
                    <a:pt x="136" y="131"/>
                    <a:pt x="159" y="127"/>
                    <a:pt x="162" y="132"/>
                  </a:cubicBezTo>
                  <a:cubicBezTo>
                    <a:pt x="162" y="134"/>
                    <a:pt x="162" y="135"/>
                    <a:pt x="162" y="136"/>
                  </a:cubicBezTo>
                  <a:cubicBezTo>
                    <a:pt x="171" y="136"/>
                    <a:pt x="171" y="136"/>
                    <a:pt x="171" y="136"/>
                  </a:cubicBezTo>
                  <a:cubicBezTo>
                    <a:pt x="171" y="136"/>
                    <a:pt x="180" y="132"/>
                    <a:pt x="183" y="132"/>
                  </a:cubicBezTo>
                  <a:cubicBezTo>
                    <a:pt x="186" y="132"/>
                    <a:pt x="192" y="136"/>
                    <a:pt x="192" y="136"/>
                  </a:cubicBezTo>
                  <a:cubicBezTo>
                    <a:pt x="192" y="136"/>
                    <a:pt x="200" y="138"/>
                    <a:pt x="207" y="138"/>
                  </a:cubicBezTo>
                  <a:cubicBezTo>
                    <a:pt x="214" y="138"/>
                    <a:pt x="214" y="129"/>
                    <a:pt x="214" y="129"/>
                  </a:cubicBezTo>
                  <a:cubicBezTo>
                    <a:pt x="247" y="130"/>
                    <a:pt x="247" y="130"/>
                    <a:pt x="247" y="130"/>
                  </a:cubicBezTo>
                  <a:cubicBezTo>
                    <a:pt x="254" y="126"/>
                    <a:pt x="254" y="126"/>
                    <a:pt x="254" y="126"/>
                  </a:cubicBezTo>
                  <a:cubicBezTo>
                    <a:pt x="270" y="131"/>
                    <a:pt x="270" y="131"/>
                    <a:pt x="270" y="131"/>
                  </a:cubicBezTo>
                  <a:cubicBezTo>
                    <a:pt x="272" y="119"/>
                    <a:pt x="272" y="119"/>
                    <a:pt x="272" y="119"/>
                  </a:cubicBezTo>
                  <a:cubicBezTo>
                    <a:pt x="277" y="107"/>
                    <a:pt x="277" y="107"/>
                    <a:pt x="277" y="107"/>
                  </a:cubicBezTo>
                  <a:cubicBezTo>
                    <a:pt x="290" y="105"/>
                    <a:pt x="290" y="105"/>
                    <a:pt x="290" y="105"/>
                  </a:cubicBezTo>
                  <a:cubicBezTo>
                    <a:pt x="290" y="91"/>
                    <a:pt x="290" y="91"/>
                    <a:pt x="290" y="91"/>
                  </a:cubicBezTo>
                  <a:cubicBezTo>
                    <a:pt x="298" y="79"/>
                    <a:pt x="298" y="79"/>
                    <a:pt x="298" y="79"/>
                  </a:cubicBezTo>
                  <a:cubicBezTo>
                    <a:pt x="290" y="78"/>
                    <a:pt x="290" y="78"/>
                    <a:pt x="290" y="78"/>
                  </a:cubicBezTo>
                  <a:cubicBezTo>
                    <a:pt x="291" y="69"/>
                    <a:pt x="291" y="69"/>
                    <a:pt x="291" y="69"/>
                  </a:cubicBezTo>
                  <a:lnTo>
                    <a:pt x="306" y="69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262">
              <a:extLst>
                <a:ext uri="{FF2B5EF4-FFF2-40B4-BE49-F238E27FC236}">
                  <a16:creationId xmlns:a16="http://schemas.microsoft.com/office/drawing/2014/main" id="{F48A7879-B0DE-E5D2-B7C7-8CB8A2EA1BD3}"/>
                </a:ext>
              </a:extLst>
            </p:cNvPr>
            <p:cNvSpPr>
              <a:spLocks/>
            </p:cNvSpPr>
            <p:nvPr/>
          </p:nvSpPr>
          <p:spPr bwMode="gray">
            <a:xfrm>
              <a:off x="-6024" y="-16724"/>
              <a:ext cx="430" cy="343"/>
            </a:xfrm>
            <a:custGeom>
              <a:avLst/>
              <a:gdLst>
                <a:gd name="T0" fmla="*/ 14 w 182"/>
                <a:gd name="T1" fmla="*/ 104 h 145"/>
                <a:gd name="T2" fmla="*/ 0 w 182"/>
                <a:gd name="T3" fmla="*/ 116 h 145"/>
                <a:gd name="T4" fmla="*/ 0 w 182"/>
                <a:gd name="T5" fmla="*/ 116 h 145"/>
                <a:gd name="T6" fmla="*/ 9 w 182"/>
                <a:gd name="T7" fmla="*/ 108 h 145"/>
                <a:gd name="T8" fmla="*/ 10 w 182"/>
                <a:gd name="T9" fmla="*/ 110 h 145"/>
                <a:gd name="T10" fmla="*/ 18 w 182"/>
                <a:gd name="T11" fmla="*/ 108 h 145"/>
                <a:gd name="T12" fmla="*/ 22 w 182"/>
                <a:gd name="T13" fmla="*/ 114 h 145"/>
                <a:gd name="T14" fmla="*/ 34 w 182"/>
                <a:gd name="T15" fmla="*/ 112 h 145"/>
                <a:gd name="T16" fmla="*/ 43 w 182"/>
                <a:gd name="T17" fmla="*/ 117 h 145"/>
                <a:gd name="T18" fmla="*/ 46 w 182"/>
                <a:gd name="T19" fmla="*/ 110 h 145"/>
                <a:gd name="T20" fmla="*/ 56 w 182"/>
                <a:gd name="T21" fmla="*/ 112 h 145"/>
                <a:gd name="T22" fmla="*/ 56 w 182"/>
                <a:gd name="T23" fmla="*/ 106 h 145"/>
                <a:gd name="T24" fmla="*/ 65 w 182"/>
                <a:gd name="T25" fmla="*/ 108 h 145"/>
                <a:gd name="T26" fmla="*/ 71 w 182"/>
                <a:gd name="T27" fmla="*/ 104 h 145"/>
                <a:gd name="T28" fmla="*/ 90 w 182"/>
                <a:gd name="T29" fmla="*/ 104 h 145"/>
                <a:gd name="T30" fmla="*/ 94 w 182"/>
                <a:gd name="T31" fmla="*/ 114 h 145"/>
                <a:gd name="T32" fmla="*/ 108 w 182"/>
                <a:gd name="T33" fmla="*/ 114 h 145"/>
                <a:gd name="T34" fmla="*/ 119 w 182"/>
                <a:gd name="T35" fmla="*/ 121 h 145"/>
                <a:gd name="T36" fmla="*/ 114 w 182"/>
                <a:gd name="T37" fmla="*/ 130 h 145"/>
                <a:gd name="T38" fmla="*/ 112 w 182"/>
                <a:gd name="T39" fmla="*/ 140 h 145"/>
                <a:gd name="T40" fmla="*/ 123 w 182"/>
                <a:gd name="T41" fmla="*/ 140 h 145"/>
                <a:gd name="T42" fmla="*/ 127 w 182"/>
                <a:gd name="T43" fmla="*/ 124 h 145"/>
                <a:gd name="T44" fmla="*/ 123 w 182"/>
                <a:gd name="T45" fmla="*/ 116 h 145"/>
                <a:gd name="T46" fmla="*/ 134 w 182"/>
                <a:gd name="T47" fmla="*/ 106 h 145"/>
                <a:gd name="T48" fmla="*/ 130 w 182"/>
                <a:gd name="T49" fmla="*/ 95 h 145"/>
                <a:gd name="T50" fmla="*/ 124 w 182"/>
                <a:gd name="T51" fmla="*/ 80 h 145"/>
                <a:gd name="T52" fmla="*/ 148 w 182"/>
                <a:gd name="T53" fmla="*/ 85 h 145"/>
                <a:gd name="T54" fmla="*/ 152 w 182"/>
                <a:gd name="T55" fmla="*/ 77 h 145"/>
                <a:gd name="T56" fmla="*/ 158 w 182"/>
                <a:gd name="T57" fmla="*/ 78 h 145"/>
                <a:gd name="T58" fmla="*/ 160 w 182"/>
                <a:gd name="T59" fmla="*/ 67 h 145"/>
                <a:gd name="T60" fmla="*/ 168 w 182"/>
                <a:gd name="T61" fmla="*/ 59 h 145"/>
                <a:gd name="T62" fmla="*/ 153 w 182"/>
                <a:gd name="T63" fmla="*/ 47 h 145"/>
                <a:gd name="T64" fmla="*/ 164 w 182"/>
                <a:gd name="T65" fmla="*/ 40 h 145"/>
                <a:gd name="T66" fmla="*/ 172 w 182"/>
                <a:gd name="T67" fmla="*/ 40 h 145"/>
                <a:gd name="T68" fmla="*/ 170 w 182"/>
                <a:gd name="T69" fmla="*/ 28 h 145"/>
                <a:gd name="T70" fmla="*/ 182 w 182"/>
                <a:gd name="T71" fmla="*/ 20 h 145"/>
                <a:gd name="T72" fmla="*/ 177 w 182"/>
                <a:gd name="T73" fmla="*/ 12 h 145"/>
                <a:gd name="T74" fmla="*/ 180 w 182"/>
                <a:gd name="T75" fmla="*/ 10 h 145"/>
                <a:gd name="T76" fmla="*/ 176 w 182"/>
                <a:gd name="T77" fmla="*/ 7 h 145"/>
                <a:gd name="T78" fmla="*/ 154 w 182"/>
                <a:gd name="T79" fmla="*/ 1 h 145"/>
                <a:gd name="T80" fmla="*/ 125 w 182"/>
                <a:gd name="T81" fmla="*/ 0 h 145"/>
                <a:gd name="T82" fmla="*/ 103 w 182"/>
                <a:gd name="T83" fmla="*/ 10 h 145"/>
                <a:gd name="T84" fmla="*/ 107 w 182"/>
                <a:gd name="T85" fmla="*/ 21 h 145"/>
                <a:gd name="T86" fmla="*/ 111 w 182"/>
                <a:gd name="T87" fmla="*/ 34 h 145"/>
                <a:gd name="T88" fmla="*/ 116 w 182"/>
                <a:gd name="T89" fmla="*/ 40 h 145"/>
                <a:gd name="T90" fmla="*/ 122 w 182"/>
                <a:gd name="T91" fmla="*/ 48 h 145"/>
                <a:gd name="T92" fmla="*/ 104 w 182"/>
                <a:gd name="T93" fmla="*/ 60 h 145"/>
                <a:gd name="T94" fmla="*/ 92 w 182"/>
                <a:gd name="T95" fmla="*/ 52 h 145"/>
                <a:gd name="T96" fmla="*/ 100 w 182"/>
                <a:gd name="T97" fmla="*/ 37 h 145"/>
                <a:gd name="T98" fmla="*/ 102 w 182"/>
                <a:gd name="T99" fmla="*/ 24 h 145"/>
                <a:gd name="T100" fmla="*/ 97 w 182"/>
                <a:gd name="T101" fmla="*/ 16 h 145"/>
                <a:gd name="T102" fmla="*/ 81 w 182"/>
                <a:gd name="T103" fmla="*/ 30 h 145"/>
                <a:gd name="T104" fmla="*/ 64 w 182"/>
                <a:gd name="T105" fmla="*/ 49 h 145"/>
                <a:gd name="T106" fmla="*/ 60 w 182"/>
                <a:gd name="T107" fmla="*/ 69 h 145"/>
                <a:gd name="T108" fmla="*/ 42 w 182"/>
                <a:gd name="T109" fmla="*/ 89 h 145"/>
                <a:gd name="T110" fmla="*/ 48 w 182"/>
                <a:gd name="T111" fmla="*/ 97 h 145"/>
                <a:gd name="T112" fmla="*/ 31 w 182"/>
                <a:gd name="T113" fmla="*/ 98 h 145"/>
                <a:gd name="T114" fmla="*/ 14 w 182"/>
                <a:gd name="T115" fmla="*/ 104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2" h="145">
                  <a:moveTo>
                    <a:pt x="14" y="104"/>
                  </a:move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10" y="110"/>
                    <a:pt x="10" y="110"/>
                    <a:pt x="10" y="110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2" y="114"/>
                    <a:pt x="30" y="113"/>
                    <a:pt x="34" y="112"/>
                  </a:cubicBezTo>
                  <a:cubicBezTo>
                    <a:pt x="39" y="112"/>
                    <a:pt x="43" y="117"/>
                    <a:pt x="43" y="117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56" y="112"/>
                    <a:pt x="56" y="112"/>
                    <a:pt x="56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65" y="108"/>
                    <a:pt x="66" y="105"/>
                    <a:pt x="71" y="104"/>
                  </a:cubicBezTo>
                  <a:cubicBezTo>
                    <a:pt x="76" y="102"/>
                    <a:pt x="90" y="104"/>
                    <a:pt x="90" y="104"/>
                  </a:cubicBezTo>
                  <a:cubicBezTo>
                    <a:pt x="90" y="104"/>
                    <a:pt x="91" y="110"/>
                    <a:pt x="94" y="114"/>
                  </a:cubicBezTo>
                  <a:cubicBezTo>
                    <a:pt x="96" y="118"/>
                    <a:pt x="108" y="114"/>
                    <a:pt x="108" y="114"/>
                  </a:cubicBezTo>
                  <a:cubicBezTo>
                    <a:pt x="108" y="114"/>
                    <a:pt x="118" y="112"/>
                    <a:pt x="119" y="121"/>
                  </a:cubicBezTo>
                  <a:cubicBezTo>
                    <a:pt x="120" y="130"/>
                    <a:pt x="114" y="130"/>
                    <a:pt x="114" y="130"/>
                  </a:cubicBezTo>
                  <a:cubicBezTo>
                    <a:pt x="114" y="130"/>
                    <a:pt x="110" y="134"/>
                    <a:pt x="112" y="140"/>
                  </a:cubicBezTo>
                  <a:cubicBezTo>
                    <a:pt x="114" y="145"/>
                    <a:pt x="123" y="140"/>
                    <a:pt x="123" y="140"/>
                  </a:cubicBezTo>
                  <a:cubicBezTo>
                    <a:pt x="123" y="140"/>
                    <a:pt x="126" y="126"/>
                    <a:pt x="127" y="124"/>
                  </a:cubicBezTo>
                  <a:cubicBezTo>
                    <a:pt x="128" y="122"/>
                    <a:pt x="123" y="116"/>
                    <a:pt x="123" y="116"/>
                  </a:cubicBezTo>
                  <a:cubicBezTo>
                    <a:pt x="123" y="116"/>
                    <a:pt x="134" y="110"/>
                    <a:pt x="134" y="106"/>
                  </a:cubicBezTo>
                  <a:cubicBezTo>
                    <a:pt x="135" y="103"/>
                    <a:pt x="130" y="95"/>
                    <a:pt x="130" y="95"/>
                  </a:cubicBezTo>
                  <a:cubicBezTo>
                    <a:pt x="124" y="80"/>
                    <a:pt x="124" y="80"/>
                    <a:pt x="124" y="80"/>
                  </a:cubicBezTo>
                  <a:cubicBezTo>
                    <a:pt x="124" y="80"/>
                    <a:pt x="146" y="88"/>
                    <a:pt x="148" y="85"/>
                  </a:cubicBezTo>
                  <a:cubicBezTo>
                    <a:pt x="150" y="82"/>
                    <a:pt x="152" y="77"/>
                    <a:pt x="152" y="77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60" y="67"/>
                    <a:pt x="168" y="63"/>
                    <a:pt x="168" y="59"/>
                  </a:cubicBezTo>
                  <a:cubicBezTo>
                    <a:pt x="168" y="55"/>
                    <a:pt x="154" y="50"/>
                    <a:pt x="153" y="47"/>
                  </a:cubicBezTo>
                  <a:cubicBezTo>
                    <a:pt x="152" y="44"/>
                    <a:pt x="164" y="40"/>
                    <a:pt x="164" y="40"/>
                  </a:cubicBezTo>
                  <a:cubicBezTo>
                    <a:pt x="172" y="40"/>
                    <a:pt x="172" y="40"/>
                    <a:pt x="172" y="40"/>
                  </a:cubicBezTo>
                  <a:cubicBezTo>
                    <a:pt x="172" y="40"/>
                    <a:pt x="168" y="32"/>
                    <a:pt x="170" y="28"/>
                  </a:cubicBezTo>
                  <a:cubicBezTo>
                    <a:pt x="171" y="24"/>
                    <a:pt x="182" y="20"/>
                    <a:pt x="182" y="20"/>
                  </a:cubicBezTo>
                  <a:cubicBezTo>
                    <a:pt x="177" y="12"/>
                    <a:pt x="177" y="12"/>
                    <a:pt x="177" y="12"/>
                  </a:cubicBezTo>
                  <a:cubicBezTo>
                    <a:pt x="180" y="10"/>
                    <a:pt x="180" y="10"/>
                    <a:pt x="180" y="10"/>
                  </a:cubicBezTo>
                  <a:cubicBezTo>
                    <a:pt x="176" y="7"/>
                    <a:pt x="176" y="7"/>
                    <a:pt x="176" y="7"/>
                  </a:cubicBezTo>
                  <a:cubicBezTo>
                    <a:pt x="176" y="7"/>
                    <a:pt x="160" y="1"/>
                    <a:pt x="154" y="1"/>
                  </a:cubicBezTo>
                  <a:cubicBezTo>
                    <a:pt x="148" y="1"/>
                    <a:pt x="125" y="0"/>
                    <a:pt x="125" y="0"/>
                  </a:cubicBezTo>
                  <a:cubicBezTo>
                    <a:pt x="125" y="0"/>
                    <a:pt x="111" y="5"/>
                    <a:pt x="103" y="10"/>
                  </a:cubicBezTo>
                  <a:cubicBezTo>
                    <a:pt x="104" y="14"/>
                    <a:pt x="107" y="19"/>
                    <a:pt x="107" y="21"/>
                  </a:cubicBezTo>
                  <a:cubicBezTo>
                    <a:pt x="108" y="24"/>
                    <a:pt x="111" y="34"/>
                    <a:pt x="111" y="34"/>
                  </a:cubicBezTo>
                  <a:cubicBezTo>
                    <a:pt x="111" y="34"/>
                    <a:pt x="114" y="40"/>
                    <a:pt x="116" y="40"/>
                  </a:cubicBezTo>
                  <a:cubicBezTo>
                    <a:pt x="119" y="40"/>
                    <a:pt x="122" y="43"/>
                    <a:pt x="122" y="48"/>
                  </a:cubicBezTo>
                  <a:cubicBezTo>
                    <a:pt x="123" y="52"/>
                    <a:pt x="111" y="59"/>
                    <a:pt x="104" y="60"/>
                  </a:cubicBezTo>
                  <a:cubicBezTo>
                    <a:pt x="98" y="60"/>
                    <a:pt x="95" y="55"/>
                    <a:pt x="92" y="52"/>
                  </a:cubicBezTo>
                  <a:cubicBezTo>
                    <a:pt x="88" y="48"/>
                    <a:pt x="94" y="45"/>
                    <a:pt x="100" y="37"/>
                  </a:cubicBezTo>
                  <a:cubicBezTo>
                    <a:pt x="106" y="29"/>
                    <a:pt x="102" y="24"/>
                    <a:pt x="102" y="24"/>
                  </a:cubicBezTo>
                  <a:cubicBezTo>
                    <a:pt x="102" y="24"/>
                    <a:pt x="99" y="21"/>
                    <a:pt x="97" y="16"/>
                  </a:cubicBezTo>
                  <a:cubicBezTo>
                    <a:pt x="92" y="23"/>
                    <a:pt x="81" y="30"/>
                    <a:pt x="81" y="30"/>
                  </a:cubicBezTo>
                  <a:cubicBezTo>
                    <a:pt x="81" y="30"/>
                    <a:pt x="64" y="42"/>
                    <a:pt x="64" y="49"/>
                  </a:cubicBezTo>
                  <a:cubicBezTo>
                    <a:pt x="64" y="56"/>
                    <a:pt x="60" y="69"/>
                    <a:pt x="60" y="69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31" y="98"/>
                    <a:pt x="31" y="98"/>
                    <a:pt x="31" y="98"/>
                  </a:cubicBezTo>
                  <a:lnTo>
                    <a:pt x="14" y="104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263">
              <a:extLst>
                <a:ext uri="{FF2B5EF4-FFF2-40B4-BE49-F238E27FC236}">
                  <a16:creationId xmlns:a16="http://schemas.microsoft.com/office/drawing/2014/main" id="{4FC423EF-E6D9-F67C-2CF4-F5963753AD44}"/>
                </a:ext>
              </a:extLst>
            </p:cNvPr>
            <p:cNvSpPr>
              <a:spLocks/>
            </p:cNvSpPr>
            <p:nvPr/>
          </p:nvSpPr>
          <p:spPr bwMode="gray">
            <a:xfrm>
              <a:off x="-6043" y="-16483"/>
              <a:ext cx="352" cy="241"/>
            </a:xfrm>
            <a:custGeom>
              <a:avLst/>
              <a:gdLst>
                <a:gd name="T0" fmla="*/ 0 w 149"/>
                <a:gd name="T1" fmla="*/ 29 h 102"/>
                <a:gd name="T2" fmla="*/ 6 w 149"/>
                <a:gd name="T3" fmla="*/ 43 h 102"/>
                <a:gd name="T4" fmla="*/ 22 w 149"/>
                <a:gd name="T5" fmla="*/ 47 h 102"/>
                <a:gd name="T6" fmla="*/ 29 w 149"/>
                <a:gd name="T7" fmla="*/ 54 h 102"/>
                <a:gd name="T8" fmla="*/ 52 w 149"/>
                <a:gd name="T9" fmla="*/ 59 h 102"/>
                <a:gd name="T10" fmla="*/ 57 w 149"/>
                <a:gd name="T11" fmla="*/ 78 h 102"/>
                <a:gd name="T12" fmla="*/ 72 w 149"/>
                <a:gd name="T13" fmla="*/ 78 h 102"/>
                <a:gd name="T14" fmla="*/ 82 w 149"/>
                <a:gd name="T15" fmla="*/ 71 h 102"/>
                <a:gd name="T16" fmla="*/ 82 w 149"/>
                <a:gd name="T17" fmla="*/ 87 h 102"/>
                <a:gd name="T18" fmla="*/ 106 w 149"/>
                <a:gd name="T19" fmla="*/ 94 h 102"/>
                <a:gd name="T20" fmla="*/ 109 w 149"/>
                <a:gd name="T21" fmla="*/ 98 h 102"/>
                <a:gd name="T22" fmla="*/ 123 w 149"/>
                <a:gd name="T23" fmla="*/ 98 h 102"/>
                <a:gd name="T24" fmla="*/ 128 w 149"/>
                <a:gd name="T25" fmla="*/ 102 h 102"/>
                <a:gd name="T26" fmla="*/ 131 w 149"/>
                <a:gd name="T27" fmla="*/ 100 h 102"/>
                <a:gd name="T28" fmla="*/ 120 w 149"/>
                <a:gd name="T29" fmla="*/ 86 h 102"/>
                <a:gd name="T30" fmla="*/ 130 w 149"/>
                <a:gd name="T31" fmla="*/ 72 h 102"/>
                <a:gd name="T32" fmla="*/ 138 w 149"/>
                <a:gd name="T33" fmla="*/ 68 h 102"/>
                <a:gd name="T34" fmla="*/ 138 w 149"/>
                <a:gd name="T35" fmla="*/ 68 h 102"/>
                <a:gd name="T36" fmla="*/ 140 w 149"/>
                <a:gd name="T37" fmla="*/ 62 h 102"/>
                <a:gd name="T38" fmla="*/ 149 w 149"/>
                <a:gd name="T39" fmla="*/ 61 h 102"/>
                <a:gd name="T40" fmla="*/ 146 w 149"/>
                <a:gd name="T41" fmla="*/ 48 h 102"/>
                <a:gd name="T42" fmla="*/ 136 w 149"/>
                <a:gd name="T43" fmla="*/ 39 h 102"/>
                <a:gd name="T44" fmla="*/ 131 w 149"/>
                <a:gd name="T45" fmla="*/ 38 h 102"/>
                <a:gd name="T46" fmla="*/ 120 w 149"/>
                <a:gd name="T47" fmla="*/ 38 h 102"/>
                <a:gd name="T48" fmla="*/ 122 w 149"/>
                <a:gd name="T49" fmla="*/ 28 h 102"/>
                <a:gd name="T50" fmla="*/ 127 w 149"/>
                <a:gd name="T51" fmla="*/ 19 h 102"/>
                <a:gd name="T52" fmla="*/ 116 w 149"/>
                <a:gd name="T53" fmla="*/ 12 h 102"/>
                <a:gd name="T54" fmla="*/ 102 w 149"/>
                <a:gd name="T55" fmla="*/ 12 h 102"/>
                <a:gd name="T56" fmla="*/ 98 w 149"/>
                <a:gd name="T57" fmla="*/ 2 h 102"/>
                <a:gd name="T58" fmla="*/ 79 w 149"/>
                <a:gd name="T59" fmla="*/ 2 h 102"/>
                <a:gd name="T60" fmla="*/ 73 w 149"/>
                <a:gd name="T61" fmla="*/ 6 h 102"/>
                <a:gd name="T62" fmla="*/ 64 w 149"/>
                <a:gd name="T63" fmla="*/ 4 h 102"/>
                <a:gd name="T64" fmla="*/ 64 w 149"/>
                <a:gd name="T65" fmla="*/ 10 h 102"/>
                <a:gd name="T66" fmla="*/ 54 w 149"/>
                <a:gd name="T67" fmla="*/ 8 h 102"/>
                <a:gd name="T68" fmla="*/ 51 w 149"/>
                <a:gd name="T69" fmla="*/ 15 h 102"/>
                <a:gd name="T70" fmla="*/ 42 w 149"/>
                <a:gd name="T71" fmla="*/ 10 h 102"/>
                <a:gd name="T72" fmla="*/ 30 w 149"/>
                <a:gd name="T73" fmla="*/ 12 h 102"/>
                <a:gd name="T74" fmla="*/ 26 w 149"/>
                <a:gd name="T75" fmla="*/ 6 h 102"/>
                <a:gd name="T76" fmla="*/ 18 w 149"/>
                <a:gd name="T77" fmla="*/ 8 h 102"/>
                <a:gd name="T78" fmla="*/ 17 w 149"/>
                <a:gd name="T79" fmla="*/ 6 h 102"/>
                <a:gd name="T80" fmla="*/ 1 w 149"/>
                <a:gd name="T81" fmla="*/ 20 h 102"/>
                <a:gd name="T82" fmla="*/ 0 w 149"/>
                <a:gd name="T83" fmla="*/ 29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49" h="102">
                  <a:moveTo>
                    <a:pt x="0" y="29"/>
                  </a:moveTo>
                  <a:cubicBezTo>
                    <a:pt x="6" y="43"/>
                    <a:pt x="6" y="43"/>
                    <a:pt x="6" y="43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47" y="56"/>
                    <a:pt x="52" y="59"/>
                  </a:cubicBezTo>
                  <a:cubicBezTo>
                    <a:pt x="57" y="62"/>
                    <a:pt x="57" y="78"/>
                    <a:pt x="57" y="78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2" y="71"/>
                    <a:pt x="82" y="71"/>
                    <a:pt x="82" y="71"/>
                  </a:cubicBezTo>
                  <a:cubicBezTo>
                    <a:pt x="82" y="87"/>
                    <a:pt x="82" y="87"/>
                    <a:pt x="82" y="87"/>
                  </a:cubicBezTo>
                  <a:cubicBezTo>
                    <a:pt x="82" y="87"/>
                    <a:pt x="104" y="91"/>
                    <a:pt x="106" y="94"/>
                  </a:cubicBezTo>
                  <a:cubicBezTo>
                    <a:pt x="108" y="97"/>
                    <a:pt x="109" y="98"/>
                    <a:pt x="109" y="98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8" y="102"/>
                    <a:pt x="128" y="102"/>
                    <a:pt x="128" y="102"/>
                  </a:cubicBezTo>
                  <a:cubicBezTo>
                    <a:pt x="131" y="100"/>
                    <a:pt x="131" y="100"/>
                    <a:pt x="131" y="100"/>
                  </a:cubicBezTo>
                  <a:cubicBezTo>
                    <a:pt x="127" y="95"/>
                    <a:pt x="121" y="88"/>
                    <a:pt x="120" y="86"/>
                  </a:cubicBezTo>
                  <a:cubicBezTo>
                    <a:pt x="118" y="84"/>
                    <a:pt x="119" y="78"/>
                    <a:pt x="130" y="72"/>
                  </a:cubicBezTo>
                  <a:cubicBezTo>
                    <a:pt x="134" y="70"/>
                    <a:pt x="137" y="69"/>
                    <a:pt x="138" y="68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9" y="65"/>
                    <a:pt x="140" y="62"/>
                    <a:pt x="140" y="62"/>
                  </a:cubicBezTo>
                  <a:cubicBezTo>
                    <a:pt x="149" y="61"/>
                    <a:pt x="149" y="61"/>
                    <a:pt x="149" y="61"/>
                  </a:cubicBezTo>
                  <a:cubicBezTo>
                    <a:pt x="149" y="61"/>
                    <a:pt x="146" y="54"/>
                    <a:pt x="146" y="48"/>
                  </a:cubicBezTo>
                  <a:cubicBezTo>
                    <a:pt x="145" y="42"/>
                    <a:pt x="136" y="39"/>
                    <a:pt x="136" y="39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31" y="38"/>
                    <a:pt x="122" y="43"/>
                    <a:pt x="120" y="38"/>
                  </a:cubicBezTo>
                  <a:cubicBezTo>
                    <a:pt x="118" y="32"/>
                    <a:pt x="122" y="28"/>
                    <a:pt x="122" y="28"/>
                  </a:cubicBezTo>
                  <a:cubicBezTo>
                    <a:pt x="122" y="28"/>
                    <a:pt x="128" y="28"/>
                    <a:pt x="127" y="19"/>
                  </a:cubicBezTo>
                  <a:cubicBezTo>
                    <a:pt x="126" y="10"/>
                    <a:pt x="116" y="12"/>
                    <a:pt x="116" y="12"/>
                  </a:cubicBezTo>
                  <a:cubicBezTo>
                    <a:pt x="116" y="12"/>
                    <a:pt x="104" y="16"/>
                    <a:pt x="102" y="12"/>
                  </a:cubicBezTo>
                  <a:cubicBezTo>
                    <a:pt x="99" y="8"/>
                    <a:pt x="98" y="2"/>
                    <a:pt x="98" y="2"/>
                  </a:cubicBezTo>
                  <a:cubicBezTo>
                    <a:pt x="98" y="2"/>
                    <a:pt x="84" y="0"/>
                    <a:pt x="79" y="2"/>
                  </a:cubicBezTo>
                  <a:cubicBezTo>
                    <a:pt x="74" y="3"/>
                    <a:pt x="73" y="6"/>
                    <a:pt x="73" y="6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47" y="10"/>
                    <a:pt x="42" y="10"/>
                  </a:cubicBezTo>
                  <a:cubicBezTo>
                    <a:pt x="38" y="11"/>
                    <a:pt x="30" y="12"/>
                    <a:pt x="30" y="1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" y="20"/>
                    <a:pt x="1" y="20"/>
                    <a:pt x="1" y="20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264">
              <a:extLst>
                <a:ext uri="{FF2B5EF4-FFF2-40B4-BE49-F238E27FC236}">
                  <a16:creationId xmlns:a16="http://schemas.microsoft.com/office/drawing/2014/main" id="{E2A1E88C-26AB-6E64-B360-8E26D30545DA}"/>
                </a:ext>
              </a:extLst>
            </p:cNvPr>
            <p:cNvSpPr>
              <a:spLocks/>
            </p:cNvSpPr>
            <p:nvPr/>
          </p:nvSpPr>
          <p:spPr bwMode="gray">
            <a:xfrm>
              <a:off x="-5734" y="-16901"/>
              <a:ext cx="882" cy="928"/>
            </a:xfrm>
            <a:custGeom>
              <a:avLst/>
              <a:gdLst>
                <a:gd name="T0" fmla="*/ 21 w 373"/>
                <a:gd name="T1" fmla="*/ 294 h 393"/>
                <a:gd name="T2" fmla="*/ 62 w 373"/>
                <a:gd name="T3" fmla="*/ 297 h 393"/>
                <a:gd name="T4" fmla="*/ 90 w 373"/>
                <a:gd name="T5" fmla="*/ 305 h 393"/>
                <a:gd name="T6" fmla="*/ 74 w 373"/>
                <a:gd name="T7" fmla="*/ 330 h 393"/>
                <a:gd name="T8" fmla="*/ 75 w 373"/>
                <a:gd name="T9" fmla="*/ 381 h 393"/>
                <a:gd name="T10" fmla="*/ 101 w 373"/>
                <a:gd name="T11" fmla="*/ 378 h 393"/>
                <a:gd name="T12" fmla="*/ 128 w 373"/>
                <a:gd name="T13" fmla="*/ 372 h 393"/>
                <a:gd name="T14" fmla="*/ 148 w 373"/>
                <a:gd name="T15" fmla="*/ 383 h 393"/>
                <a:gd name="T16" fmla="*/ 161 w 373"/>
                <a:gd name="T17" fmla="*/ 382 h 393"/>
                <a:gd name="T18" fmla="*/ 182 w 373"/>
                <a:gd name="T19" fmla="*/ 377 h 393"/>
                <a:gd name="T20" fmla="*/ 224 w 373"/>
                <a:gd name="T21" fmla="*/ 387 h 393"/>
                <a:gd name="T22" fmla="*/ 258 w 373"/>
                <a:gd name="T23" fmla="*/ 372 h 393"/>
                <a:gd name="T24" fmla="*/ 290 w 373"/>
                <a:gd name="T25" fmla="*/ 385 h 393"/>
                <a:gd name="T26" fmla="*/ 282 w 373"/>
                <a:gd name="T27" fmla="*/ 358 h 393"/>
                <a:gd name="T28" fmla="*/ 309 w 373"/>
                <a:gd name="T29" fmla="*/ 335 h 393"/>
                <a:gd name="T30" fmla="*/ 324 w 373"/>
                <a:gd name="T31" fmla="*/ 316 h 393"/>
                <a:gd name="T32" fmla="*/ 301 w 373"/>
                <a:gd name="T33" fmla="*/ 295 h 393"/>
                <a:gd name="T34" fmla="*/ 281 w 373"/>
                <a:gd name="T35" fmla="*/ 285 h 393"/>
                <a:gd name="T36" fmla="*/ 271 w 373"/>
                <a:gd name="T37" fmla="*/ 271 h 393"/>
                <a:gd name="T38" fmla="*/ 263 w 373"/>
                <a:gd name="T39" fmla="*/ 248 h 393"/>
                <a:gd name="T40" fmla="*/ 263 w 373"/>
                <a:gd name="T41" fmla="*/ 239 h 393"/>
                <a:gd name="T42" fmla="*/ 283 w 373"/>
                <a:gd name="T43" fmla="*/ 227 h 393"/>
                <a:gd name="T44" fmla="*/ 308 w 373"/>
                <a:gd name="T45" fmla="*/ 221 h 393"/>
                <a:gd name="T46" fmla="*/ 325 w 373"/>
                <a:gd name="T47" fmla="*/ 210 h 393"/>
                <a:gd name="T48" fmla="*/ 360 w 373"/>
                <a:gd name="T49" fmla="*/ 208 h 393"/>
                <a:gd name="T50" fmla="*/ 369 w 373"/>
                <a:gd name="T51" fmla="*/ 177 h 393"/>
                <a:gd name="T52" fmla="*/ 351 w 373"/>
                <a:gd name="T53" fmla="*/ 157 h 393"/>
                <a:gd name="T54" fmla="*/ 356 w 373"/>
                <a:gd name="T55" fmla="*/ 136 h 393"/>
                <a:gd name="T56" fmla="*/ 352 w 373"/>
                <a:gd name="T57" fmla="*/ 115 h 393"/>
                <a:gd name="T58" fmla="*/ 334 w 373"/>
                <a:gd name="T59" fmla="*/ 106 h 393"/>
                <a:gd name="T60" fmla="*/ 339 w 373"/>
                <a:gd name="T61" fmla="*/ 72 h 393"/>
                <a:gd name="T62" fmla="*/ 321 w 373"/>
                <a:gd name="T63" fmla="*/ 55 h 393"/>
                <a:gd name="T64" fmla="*/ 296 w 373"/>
                <a:gd name="T65" fmla="*/ 35 h 393"/>
                <a:gd name="T66" fmla="*/ 226 w 373"/>
                <a:gd name="T67" fmla="*/ 35 h 393"/>
                <a:gd name="T68" fmla="*/ 202 w 373"/>
                <a:gd name="T69" fmla="*/ 35 h 393"/>
                <a:gd name="T70" fmla="*/ 168 w 373"/>
                <a:gd name="T71" fmla="*/ 22 h 393"/>
                <a:gd name="T72" fmla="*/ 145 w 373"/>
                <a:gd name="T73" fmla="*/ 3 h 393"/>
                <a:gd name="T74" fmla="*/ 112 w 373"/>
                <a:gd name="T75" fmla="*/ 0 h 393"/>
                <a:gd name="T76" fmla="*/ 130 w 373"/>
                <a:gd name="T77" fmla="*/ 49 h 393"/>
                <a:gd name="T78" fmla="*/ 105 w 373"/>
                <a:gd name="T79" fmla="*/ 55 h 393"/>
                <a:gd name="T80" fmla="*/ 82 w 373"/>
                <a:gd name="T81" fmla="*/ 62 h 393"/>
                <a:gd name="T82" fmla="*/ 57 w 373"/>
                <a:gd name="T83" fmla="*/ 85 h 393"/>
                <a:gd name="T84" fmla="*/ 47 w 373"/>
                <a:gd name="T85" fmla="*/ 103 h 393"/>
                <a:gd name="T86" fmla="*/ 30 w 373"/>
                <a:gd name="T87" fmla="*/ 122 h 393"/>
                <a:gd name="T88" fmla="*/ 35 w 373"/>
                <a:gd name="T89" fmla="*/ 153 h 393"/>
                <a:gd name="T90" fmla="*/ 1 w 373"/>
                <a:gd name="T91" fmla="*/ 155 h 393"/>
                <a:gd name="T92" fmla="*/ 0 w 373"/>
                <a:gd name="T93" fmla="*/ 191 h 393"/>
                <a:gd name="T94" fmla="*/ 5 w 373"/>
                <a:gd name="T95" fmla="*/ 216 h 393"/>
                <a:gd name="T96" fmla="*/ 9 w 373"/>
                <a:gd name="T97" fmla="*/ 239 h 393"/>
                <a:gd name="T98" fmla="*/ 17 w 373"/>
                <a:gd name="T99" fmla="*/ 274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73" h="393">
                  <a:moveTo>
                    <a:pt x="17" y="274"/>
                  </a:moveTo>
                  <a:cubicBezTo>
                    <a:pt x="17" y="274"/>
                    <a:pt x="19" y="278"/>
                    <a:pt x="22" y="281"/>
                  </a:cubicBezTo>
                  <a:cubicBezTo>
                    <a:pt x="25" y="284"/>
                    <a:pt x="21" y="294"/>
                    <a:pt x="21" y="294"/>
                  </a:cubicBezTo>
                  <a:cubicBezTo>
                    <a:pt x="38" y="294"/>
                    <a:pt x="38" y="294"/>
                    <a:pt x="38" y="294"/>
                  </a:cubicBezTo>
                  <a:cubicBezTo>
                    <a:pt x="38" y="294"/>
                    <a:pt x="36" y="299"/>
                    <a:pt x="42" y="300"/>
                  </a:cubicBezTo>
                  <a:cubicBezTo>
                    <a:pt x="48" y="301"/>
                    <a:pt x="62" y="297"/>
                    <a:pt x="62" y="297"/>
                  </a:cubicBezTo>
                  <a:cubicBezTo>
                    <a:pt x="62" y="301"/>
                    <a:pt x="62" y="301"/>
                    <a:pt x="62" y="301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90" y="305"/>
                    <a:pt x="90" y="305"/>
                    <a:pt x="90" y="305"/>
                  </a:cubicBezTo>
                  <a:cubicBezTo>
                    <a:pt x="88" y="311"/>
                    <a:pt x="88" y="311"/>
                    <a:pt x="88" y="311"/>
                  </a:cubicBezTo>
                  <a:cubicBezTo>
                    <a:pt x="74" y="322"/>
                    <a:pt x="74" y="322"/>
                    <a:pt x="74" y="322"/>
                  </a:cubicBezTo>
                  <a:cubicBezTo>
                    <a:pt x="74" y="330"/>
                    <a:pt x="74" y="330"/>
                    <a:pt x="74" y="330"/>
                  </a:cubicBezTo>
                  <a:cubicBezTo>
                    <a:pt x="74" y="330"/>
                    <a:pt x="64" y="349"/>
                    <a:pt x="62" y="360"/>
                  </a:cubicBezTo>
                  <a:cubicBezTo>
                    <a:pt x="60" y="369"/>
                    <a:pt x="63" y="377"/>
                    <a:pt x="64" y="379"/>
                  </a:cubicBezTo>
                  <a:cubicBezTo>
                    <a:pt x="75" y="381"/>
                    <a:pt x="75" y="381"/>
                    <a:pt x="75" y="381"/>
                  </a:cubicBezTo>
                  <a:cubicBezTo>
                    <a:pt x="87" y="381"/>
                    <a:pt x="87" y="381"/>
                    <a:pt x="87" y="381"/>
                  </a:cubicBezTo>
                  <a:cubicBezTo>
                    <a:pt x="97" y="374"/>
                    <a:pt x="97" y="374"/>
                    <a:pt x="97" y="374"/>
                  </a:cubicBezTo>
                  <a:cubicBezTo>
                    <a:pt x="101" y="378"/>
                    <a:pt x="101" y="378"/>
                    <a:pt x="101" y="378"/>
                  </a:cubicBezTo>
                  <a:cubicBezTo>
                    <a:pt x="101" y="378"/>
                    <a:pt x="96" y="366"/>
                    <a:pt x="103" y="365"/>
                  </a:cubicBezTo>
                  <a:cubicBezTo>
                    <a:pt x="110" y="364"/>
                    <a:pt x="119" y="372"/>
                    <a:pt x="119" y="372"/>
                  </a:cubicBezTo>
                  <a:cubicBezTo>
                    <a:pt x="128" y="372"/>
                    <a:pt x="128" y="372"/>
                    <a:pt x="128" y="372"/>
                  </a:cubicBezTo>
                  <a:cubicBezTo>
                    <a:pt x="138" y="375"/>
                    <a:pt x="138" y="375"/>
                    <a:pt x="138" y="375"/>
                  </a:cubicBezTo>
                  <a:cubicBezTo>
                    <a:pt x="144" y="383"/>
                    <a:pt x="144" y="383"/>
                    <a:pt x="144" y="383"/>
                  </a:cubicBezTo>
                  <a:cubicBezTo>
                    <a:pt x="148" y="383"/>
                    <a:pt x="148" y="383"/>
                    <a:pt x="148" y="383"/>
                  </a:cubicBezTo>
                  <a:cubicBezTo>
                    <a:pt x="148" y="383"/>
                    <a:pt x="149" y="384"/>
                    <a:pt x="149" y="385"/>
                  </a:cubicBezTo>
                  <a:cubicBezTo>
                    <a:pt x="149" y="385"/>
                    <a:pt x="149" y="385"/>
                    <a:pt x="149" y="385"/>
                  </a:cubicBezTo>
                  <a:cubicBezTo>
                    <a:pt x="151" y="383"/>
                    <a:pt x="155" y="380"/>
                    <a:pt x="161" y="382"/>
                  </a:cubicBezTo>
                  <a:cubicBezTo>
                    <a:pt x="170" y="383"/>
                    <a:pt x="171" y="393"/>
                    <a:pt x="175" y="392"/>
                  </a:cubicBezTo>
                  <a:cubicBezTo>
                    <a:pt x="179" y="391"/>
                    <a:pt x="182" y="386"/>
                    <a:pt x="182" y="386"/>
                  </a:cubicBezTo>
                  <a:cubicBezTo>
                    <a:pt x="182" y="377"/>
                    <a:pt x="182" y="377"/>
                    <a:pt x="182" y="377"/>
                  </a:cubicBezTo>
                  <a:cubicBezTo>
                    <a:pt x="195" y="378"/>
                    <a:pt x="195" y="378"/>
                    <a:pt x="195" y="378"/>
                  </a:cubicBezTo>
                  <a:cubicBezTo>
                    <a:pt x="195" y="378"/>
                    <a:pt x="205" y="389"/>
                    <a:pt x="212" y="389"/>
                  </a:cubicBezTo>
                  <a:cubicBezTo>
                    <a:pt x="218" y="389"/>
                    <a:pt x="224" y="387"/>
                    <a:pt x="224" y="387"/>
                  </a:cubicBezTo>
                  <a:cubicBezTo>
                    <a:pt x="233" y="379"/>
                    <a:pt x="233" y="379"/>
                    <a:pt x="233" y="379"/>
                  </a:cubicBezTo>
                  <a:cubicBezTo>
                    <a:pt x="247" y="378"/>
                    <a:pt x="247" y="378"/>
                    <a:pt x="247" y="378"/>
                  </a:cubicBezTo>
                  <a:cubicBezTo>
                    <a:pt x="258" y="372"/>
                    <a:pt x="258" y="372"/>
                    <a:pt x="258" y="372"/>
                  </a:cubicBezTo>
                  <a:cubicBezTo>
                    <a:pt x="267" y="373"/>
                    <a:pt x="267" y="373"/>
                    <a:pt x="267" y="373"/>
                  </a:cubicBezTo>
                  <a:cubicBezTo>
                    <a:pt x="280" y="378"/>
                    <a:pt x="280" y="378"/>
                    <a:pt x="280" y="378"/>
                  </a:cubicBezTo>
                  <a:cubicBezTo>
                    <a:pt x="280" y="378"/>
                    <a:pt x="288" y="392"/>
                    <a:pt x="290" y="385"/>
                  </a:cubicBezTo>
                  <a:cubicBezTo>
                    <a:pt x="291" y="379"/>
                    <a:pt x="290" y="369"/>
                    <a:pt x="290" y="369"/>
                  </a:cubicBezTo>
                  <a:cubicBezTo>
                    <a:pt x="290" y="360"/>
                    <a:pt x="290" y="360"/>
                    <a:pt x="290" y="360"/>
                  </a:cubicBezTo>
                  <a:cubicBezTo>
                    <a:pt x="282" y="358"/>
                    <a:pt x="282" y="358"/>
                    <a:pt x="282" y="358"/>
                  </a:cubicBezTo>
                  <a:cubicBezTo>
                    <a:pt x="282" y="358"/>
                    <a:pt x="287" y="345"/>
                    <a:pt x="291" y="344"/>
                  </a:cubicBezTo>
                  <a:cubicBezTo>
                    <a:pt x="296" y="343"/>
                    <a:pt x="309" y="346"/>
                    <a:pt x="309" y="346"/>
                  </a:cubicBezTo>
                  <a:cubicBezTo>
                    <a:pt x="309" y="335"/>
                    <a:pt x="309" y="335"/>
                    <a:pt x="309" y="335"/>
                  </a:cubicBezTo>
                  <a:cubicBezTo>
                    <a:pt x="305" y="328"/>
                    <a:pt x="305" y="328"/>
                    <a:pt x="305" y="328"/>
                  </a:cubicBezTo>
                  <a:cubicBezTo>
                    <a:pt x="317" y="327"/>
                    <a:pt x="317" y="327"/>
                    <a:pt x="317" y="327"/>
                  </a:cubicBezTo>
                  <a:cubicBezTo>
                    <a:pt x="324" y="316"/>
                    <a:pt x="324" y="316"/>
                    <a:pt x="324" y="316"/>
                  </a:cubicBezTo>
                  <a:cubicBezTo>
                    <a:pt x="324" y="316"/>
                    <a:pt x="323" y="309"/>
                    <a:pt x="317" y="305"/>
                  </a:cubicBezTo>
                  <a:cubicBezTo>
                    <a:pt x="312" y="302"/>
                    <a:pt x="307" y="304"/>
                    <a:pt x="307" y="304"/>
                  </a:cubicBezTo>
                  <a:cubicBezTo>
                    <a:pt x="301" y="295"/>
                    <a:pt x="301" y="295"/>
                    <a:pt x="301" y="295"/>
                  </a:cubicBezTo>
                  <a:cubicBezTo>
                    <a:pt x="297" y="295"/>
                    <a:pt x="297" y="295"/>
                    <a:pt x="297" y="295"/>
                  </a:cubicBezTo>
                  <a:cubicBezTo>
                    <a:pt x="294" y="287"/>
                    <a:pt x="294" y="287"/>
                    <a:pt x="294" y="287"/>
                  </a:cubicBezTo>
                  <a:cubicBezTo>
                    <a:pt x="294" y="287"/>
                    <a:pt x="288" y="285"/>
                    <a:pt x="281" y="285"/>
                  </a:cubicBezTo>
                  <a:cubicBezTo>
                    <a:pt x="273" y="284"/>
                    <a:pt x="279" y="279"/>
                    <a:pt x="279" y="279"/>
                  </a:cubicBezTo>
                  <a:cubicBezTo>
                    <a:pt x="273" y="277"/>
                    <a:pt x="273" y="277"/>
                    <a:pt x="273" y="277"/>
                  </a:cubicBezTo>
                  <a:cubicBezTo>
                    <a:pt x="271" y="271"/>
                    <a:pt x="271" y="271"/>
                    <a:pt x="271" y="271"/>
                  </a:cubicBezTo>
                  <a:cubicBezTo>
                    <a:pt x="271" y="271"/>
                    <a:pt x="263" y="265"/>
                    <a:pt x="262" y="263"/>
                  </a:cubicBezTo>
                  <a:cubicBezTo>
                    <a:pt x="261" y="261"/>
                    <a:pt x="269" y="257"/>
                    <a:pt x="269" y="257"/>
                  </a:cubicBezTo>
                  <a:cubicBezTo>
                    <a:pt x="263" y="248"/>
                    <a:pt x="263" y="248"/>
                    <a:pt x="263" y="248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57" y="247"/>
                    <a:pt x="252" y="238"/>
                    <a:pt x="255" y="235"/>
                  </a:cubicBezTo>
                  <a:cubicBezTo>
                    <a:pt x="259" y="233"/>
                    <a:pt x="259" y="239"/>
                    <a:pt x="263" y="239"/>
                  </a:cubicBezTo>
                  <a:cubicBezTo>
                    <a:pt x="267" y="238"/>
                    <a:pt x="266" y="233"/>
                    <a:pt x="266" y="233"/>
                  </a:cubicBezTo>
                  <a:cubicBezTo>
                    <a:pt x="273" y="233"/>
                    <a:pt x="273" y="233"/>
                    <a:pt x="273" y="233"/>
                  </a:cubicBezTo>
                  <a:cubicBezTo>
                    <a:pt x="273" y="233"/>
                    <a:pt x="275" y="225"/>
                    <a:pt x="283" y="227"/>
                  </a:cubicBezTo>
                  <a:cubicBezTo>
                    <a:pt x="292" y="229"/>
                    <a:pt x="290" y="233"/>
                    <a:pt x="290" y="233"/>
                  </a:cubicBezTo>
                  <a:cubicBezTo>
                    <a:pt x="297" y="224"/>
                    <a:pt x="297" y="224"/>
                    <a:pt x="297" y="224"/>
                  </a:cubicBezTo>
                  <a:cubicBezTo>
                    <a:pt x="308" y="221"/>
                    <a:pt x="308" y="221"/>
                    <a:pt x="308" y="221"/>
                  </a:cubicBezTo>
                  <a:cubicBezTo>
                    <a:pt x="310" y="217"/>
                    <a:pt x="310" y="217"/>
                    <a:pt x="310" y="217"/>
                  </a:cubicBezTo>
                  <a:cubicBezTo>
                    <a:pt x="310" y="217"/>
                    <a:pt x="321" y="217"/>
                    <a:pt x="324" y="216"/>
                  </a:cubicBezTo>
                  <a:cubicBezTo>
                    <a:pt x="327" y="215"/>
                    <a:pt x="325" y="210"/>
                    <a:pt x="325" y="210"/>
                  </a:cubicBezTo>
                  <a:cubicBezTo>
                    <a:pt x="325" y="210"/>
                    <a:pt x="336" y="211"/>
                    <a:pt x="339" y="208"/>
                  </a:cubicBezTo>
                  <a:cubicBezTo>
                    <a:pt x="341" y="205"/>
                    <a:pt x="346" y="199"/>
                    <a:pt x="348" y="198"/>
                  </a:cubicBezTo>
                  <a:cubicBezTo>
                    <a:pt x="350" y="197"/>
                    <a:pt x="355" y="209"/>
                    <a:pt x="360" y="208"/>
                  </a:cubicBezTo>
                  <a:cubicBezTo>
                    <a:pt x="365" y="207"/>
                    <a:pt x="371" y="195"/>
                    <a:pt x="372" y="191"/>
                  </a:cubicBezTo>
                  <a:cubicBezTo>
                    <a:pt x="373" y="188"/>
                    <a:pt x="367" y="187"/>
                    <a:pt x="367" y="187"/>
                  </a:cubicBezTo>
                  <a:cubicBezTo>
                    <a:pt x="367" y="187"/>
                    <a:pt x="371" y="182"/>
                    <a:pt x="369" y="177"/>
                  </a:cubicBezTo>
                  <a:cubicBezTo>
                    <a:pt x="368" y="171"/>
                    <a:pt x="360" y="177"/>
                    <a:pt x="360" y="177"/>
                  </a:cubicBezTo>
                  <a:cubicBezTo>
                    <a:pt x="361" y="165"/>
                    <a:pt x="361" y="165"/>
                    <a:pt x="361" y="165"/>
                  </a:cubicBezTo>
                  <a:cubicBezTo>
                    <a:pt x="361" y="165"/>
                    <a:pt x="352" y="163"/>
                    <a:pt x="351" y="157"/>
                  </a:cubicBezTo>
                  <a:cubicBezTo>
                    <a:pt x="351" y="152"/>
                    <a:pt x="360" y="146"/>
                    <a:pt x="360" y="146"/>
                  </a:cubicBezTo>
                  <a:cubicBezTo>
                    <a:pt x="360" y="146"/>
                    <a:pt x="357" y="144"/>
                    <a:pt x="355" y="143"/>
                  </a:cubicBezTo>
                  <a:cubicBezTo>
                    <a:pt x="353" y="143"/>
                    <a:pt x="356" y="136"/>
                    <a:pt x="356" y="136"/>
                  </a:cubicBezTo>
                  <a:cubicBezTo>
                    <a:pt x="356" y="136"/>
                    <a:pt x="351" y="135"/>
                    <a:pt x="350" y="132"/>
                  </a:cubicBezTo>
                  <a:cubicBezTo>
                    <a:pt x="349" y="129"/>
                    <a:pt x="355" y="126"/>
                    <a:pt x="355" y="126"/>
                  </a:cubicBezTo>
                  <a:cubicBezTo>
                    <a:pt x="355" y="126"/>
                    <a:pt x="355" y="120"/>
                    <a:pt x="352" y="115"/>
                  </a:cubicBezTo>
                  <a:cubicBezTo>
                    <a:pt x="349" y="111"/>
                    <a:pt x="345" y="115"/>
                    <a:pt x="345" y="115"/>
                  </a:cubicBezTo>
                  <a:cubicBezTo>
                    <a:pt x="341" y="109"/>
                    <a:pt x="341" y="109"/>
                    <a:pt x="341" y="109"/>
                  </a:cubicBezTo>
                  <a:cubicBezTo>
                    <a:pt x="341" y="109"/>
                    <a:pt x="337" y="113"/>
                    <a:pt x="334" y="106"/>
                  </a:cubicBezTo>
                  <a:cubicBezTo>
                    <a:pt x="331" y="99"/>
                    <a:pt x="337" y="98"/>
                    <a:pt x="343" y="93"/>
                  </a:cubicBezTo>
                  <a:cubicBezTo>
                    <a:pt x="349" y="89"/>
                    <a:pt x="347" y="87"/>
                    <a:pt x="345" y="79"/>
                  </a:cubicBezTo>
                  <a:cubicBezTo>
                    <a:pt x="342" y="70"/>
                    <a:pt x="337" y="78"/>
                    <a:pt x="339" y="72"/>
                  </a:cubicBezTo>
                  <a:cubicBezTo>
                    <a:pt x="340" y="69"/>
                    <a:pt x="339" y="65"/>
                    <a:pt x="338" y="62"/>
                  </a:cubicBezTo>
                  <a:cubicBezTo>
                    <a:pt x="334" y="60"/>
                    <a:pt x="334" y="60"/>
                    <a:pt x="334" y="60"/>
                  </a:cubicBezTo>
                  <a:cubicBezTo>
                    <a:pt x="321" y="55"/>
                    <a:pt x="321" y="55"/>
                    <a:pt x="321" y="55"/>
                  </a:cubicBezTo>
                  <a:cubicBezTo>
                    <a:pt x="321" y="55"/>
                    <a:pt x="323" y="50"/>
                    <a:pt x="318" y="44"/>
                  </a:cubicBezTo>
                  <a:cubicBezTo>
                    <a:pt x="313" y="38"/>
                    <a:pt x="301" y="41"/>
                    <a:pt x="301" y="41"/>
                  </a:cubicBezTo>
                  <a:cubicBezTo>
                    <a:pt x="296" y="35"/>
                    <a:pt x="296" y="35"/>
                    <a:pt x="296" y="35"/>
                  </a:cubicBezTo>
                  <a:cubicBezTo>
                    <a:pt x="296" y="35"/>
                    <a:pt x="270" y="23"/>
                    <a:pt x="265" y="26"/>
                  </a:cubicBezTo>
                  <a:cubicBezTo>
                    <a:pt x="260" y="29"/>
                    <a:pt x="253" y="36"/>
                    <a:pt x="253" y="36"/>
                  </a:cubicBezTo>
                  <a:cubicBezTo>
                    <a:pt x="226" y="35"/>
                    <a:pt x="226" y="35"/>
                    <a:pt x="226" y="35"/>
                  </a:cubicBezTo>
                  <a:cubicBezTo>
                    <a:pt x="226" y="47"/>
                    <a:pt x="226" y="47"/>
                    <a:pt x="226" y="47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200" y="46"/>
                    <a:pt x="198" y="38"/>
                    <a:pt x="202" y="35"/>
                  </a:cubicBezTo>
                  <a:cubicBezTo>
                    <a:pt x="206" y="32"/>
                    <a:pt x="209" y="20"/>
                    <a:pt x="209" y="20"/>
                  </a:cubicBezTo>
                  <a:cubicBezTo>
                    <a:pt x="196" y="27"/>
                    <a:pt x="196" y="27"/>
                    <a:pt x="196" y="27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8" y="22"/>
                    <a:pt x="160" y="14"/>
                    <a:pt x="156" y="4"/>
                  </a:cubicBezTo>
                  <a:cubicBezTo>
                    <a:pt x="154" y="5"/>
                    <a:pt x="153" y="6"/>
                    <a:pt x="153" y="6"/>
                  </a:cubicBezTo>
                  <a:cubicBezTo>
                    <a:pt x="153" y="6"/>
                    <a:pt x="152" y="2"/>
                    <a:pt x="145" y="3"/>
                  </a:cubicBezTo>
                  <a:cubicBezTo>
                    <a:pt x="137" y="3"/>
                    <a:pt x="135" y="5"/>
                    <a:pt x="135" y="5"/>
                  </a:cubicBezTo>
                  <a:cubicBezTo>
                    <a:pt x="135" y="5"/>
                    <a:pt x="127" y="0"/>
                    <a:pt x="123" y="0"/>
                  </a:cubicBezTo>
                  <a:cubicBezTo>
                    <a:pt x="119" y="0"/>
                    <a:pt x="112" y="0"/>
                    <a:pt x="112" y="0"/>
                  </a:cubicBezTo>
                  <a:cubicBezTo>
                    <a:pt x="126" y="23"/>
                    <a:pt x="126" y="23"/>
                    <a:pt x="126" y="23"/>
                  </a:cubicBezTo>
                  <a:cubicBezTo>
                    <a:pt x="117" y="31"/>
                    <a:pt x="117" y="31"/>
                    <a:pt x="117" y="31"/>
                  </a:cubicBezTo>
                  <a:cubicBezTo>
                    <a:pt x="130" y="49"/>
                    <a:pt x="130" y="49"/>
                    <a:pt x="130" y="49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23" y="51"/>
                    <a:pt x="123" y="51"/>
                    <a:pt x="123" y="51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10" y="70"/>
                    <a:pt x="104" y="72"/>
                  </a:cubicBezTo>
                  <a:cubicBezTo>
                    <a:pt x="98" y="74"/>
                    <a:pt x="88" y="72"/>
                    <a:pt x="88" y="7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55" y="59"/>
                    <a:pt x="54" y="64"/>
                  </a:cubicBezTo>
                  <a:cubicBezTo>
                    <a:pt x="53" y="69"/>
                    <a:pt x="53" y="82"/>
                    <a:pt x="53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59" y="95"/>
                    <a:pt x="48" y="99"/>
                    <a:pt x="47" y="103"/>
                  </a:cubicBezTo>
                  <a:cubicBezTo>
                    <a:pt x="45" y="107"/>
                    <a:pt x="49" y="115"/>
                    <a:pt x="49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29" y="119"/>
                    <a:pt x="30" y="122"/>
                  </a:cubicBezTo>
                  <a:cubicBezTo>
                    <a:pt x="31" y="125"/>
                    <a:pt x="45" y="130"/>
                    <a:pt x="45" y="134"/>
                  </a:cubicBezTo>
                  <a:cubicBezTo>
                    <a:pt x="45" y="138"/>
                    <a:pt x="37" y="142"/>
                    <a:pt x="37" y="142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29" y="152"/>
                    <a:pt x="29" y="152"/>
                    <a:pt x="29" y="152"/>
                  </a:cubicBezTo>
                  <a:cubicBezTo>
                    <a:pt x="29" y="152"/>
                    <a:pt x="27" y="157"/>
                    <a:pt x="25" y="160"/>
                  </a:cubicBezTo>
                  <a:cubicBezTo>
                    <a:pt x="23" y="163"/>
                    <a:pt x="1" y="155"/>
                    <a:pt x="1" y="155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7" y="170"/>
                    <a:pt x="12" y="178"/>
                    <a:pt x="11" y="181"/>
                  </a:cubicBezTo>
                  <a:cubicBezTo>
                    <a:pt x="11" y="185"/>
                    <a:pt x="0" y="191"/>
                    <a:pt x="0" y="191"/>
                  </a:cubicBezTo>
                  <a:cubicBezTo>
                    <a:pt x="0" y="191"/>
                    <a:pt x="5" y="197"/>
                    <a:pt x="4" y="199"/>
                  </a:cubicBezTo>
                  <a:cubicBezTo>
                    <a:pt x="3" y="201"/>
                    <a:pt x="0" y="215"/>
                    <a:pt x="0" y="215"/>
                  </a:cubicBezTo>
                  <a:cubicBezTo>
                    <a:pt x="5" y="216"/>
                    <a:pt x="5" y="216"/>
                    <a:pt x="5" y="216"/>
                  </a:cubicBezTo>
                  <a:cubicBezTo>
                    <a:pt x="5" y="216"/>
                    <a:pt x="14" y="219"/>
                    <a:pt x="15" y="225"/>
                  </a:cubicBezTo>
                  <a:cubicBezTo>
                    <a:pt x="15" y="231"/>
                    <a:pt x="18" y="238"/>
                    <a:pt x="18" y="238"/>
                  </a:cubicBezTo>
                  <a:cubicBezTo>
                    <a:pt x="9" y="239"/>
                    <a:pt x="9" y="239"/>
                    <a:pt x="9" y="239"/>
                  </a:cubicBezTo>
                  <a:cubicBezTo>
                    <a:pt x="9" y="239"/>
                    <a:pt x="4" y="247"/>
                    <a:pt x="7" y="253"/>
                  </a:cubicBezTo>
                  <a:cubicBezTo>
                    <a:pt x="11" y="259"/>
                    <a:pt x="21" y="261"/>
                    <a:pt x="22" y="265"/>
                  </a:cubicBezTo>
                  <a:cubicBezTo>
                    <a:pt x="23" y="270"/>
                    <a:pt x="17" y="274"/>
                    <a:pt x="17" y="27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265">
              <a:extLst>
                <a:ext uri="{FF2B5EF4-FFF2-40B4-BE49-F238E27FC236}">
                  <a16:creationId xmlns:a16="http://schemas.microsoft.com/office/drawing/2014/main" id="{D5E7A3CA-2908-5F74-BB68-D69D02F39625}"/>
                </a:ext>
              </a:extLst>
            </p:cNvPr>
            <p:cNvSpPr>
              <a:spLocks/>
            </p:cNvSpPr>
            <p:nvPr/>
          </p:nvSpPr>
          <p:spPr bwMode="gray">
            <a:xfrm>
              <a:off x="-6218" y="-15394"/>
              <a:ext cx="47" cy="31"/>
            </a:xfrm>
            <a:custGeom>
              <a:avLst/>
              <a:gdLst>
                <a:gd name="T0" fmla="*/ 5 w 20"/>
                <a:gd name="T1" fmla="*/ 13 h 13"/>
                <a:gd name="T2" fmla="*/ 18 w 20"/>
                <a:gd name="T3" fmla="*/ 10 h 13"/>
                <a:gd name="T4" fmla="*/ 20 w 20"/>
                <a:gd name="T5" fmla="*/ 10 h 13"/>
                <a:gd name="T6" fmla="*/ 19 w 20"/>
                <a:gd name="T7" fmla="*/ 1 h 13"/>
                <a:gd name="T8" fmla="*/ 5 w 20"/>
                <a:gd name="T9" fmla="*/ 1 h 13"/>
                <a:gd name="T10" fmla="*/ 0 w 20"/>
                <a:gd name="T11" fmla="*/ 2 h 13"/>
                <a:gd name="T12" fmla="*/ 5 w 20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3">
                  <a:moveTo>
                    <a:pt x="5" y="13"/>
                  </a:moveTo>
                  <a:cubicBezTo>
                    <a:pt x="5" y="13"/>
                    <a:pt x="14" y="11"/>
                    <a:pt x="18" y="10"/>
                  </a:cubicBezTo>
                  <a:cubicBezTo>
                    <a:pt x="19" y="10"/>
                    <a:pt x="20" y="10"/>
                    <a:pt x="20" y="1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5" y="0"/>
                    <a:pt x="5" y="1"/>
                  </a:cubicBezTo>
                  <a:cubicBezTo>
                    <a:pt x="3" y="1"/>
                    <a:pt x="1" y="1"/>
                    <a:pt x="0" y="2"/>
                  </a:cubicBezTo>
                  <a:lnTo>
                    <a:pt x="5" y="13"/>
                  </a:lnTo>
                  <a:close/>
                </a:path>
              </a:pathLst>
            </a:custGeom>
            <a:grpFill/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266">
              <a:extLst>
                <a:ext uri="{FF2B5EF4-FFF2-40B4-BE49-F238E27FC236}">
                  <a16:creationId xmlns:a16="http://schemas.microsoft.com/office/drawing/2014/main" id="{A23E5D80-F48E-3B53-0731-AE4C52331F73}"/>
                </a:ext>
              </a:extLst>
            </p:cNvPr>
            <p:cNvSpPr>
              <a:spLocks/>
            </p:cNvSpPr>
            <p:nvPr/>
          </p:nvSpPr>
          <p:spPr bwMode="gray">
            <a:xfrm>
              <a:off x="2279" y="-16570"/>
              <a:ext cx="3321" cy="1318"/>
            </a:xfrm>
            <a:custGeom>
              <a:avLst/>
              <a:gdLst>
                <a:gd name="T0" fmla="*/ 1353 w 1406"/>
                <a:gd name="T1" fmla="*/ 245 h 558"/>
                <a:gd name="T2" fmla="*/ 1312 w 1406"/>
                <a:gd name="T3" fmla="*/ 214 h 558"/>
                <a:gd name="T4" fmla="*/ 1247 w 1406"/>
                <a:gd name="T5" fmla="*/ 225 h 558"/>
                <a:gd name="T6" fmla="*/ 1182 w 1406"/>
                <a:gd name="T7" fmla="*/ 215 h 558"/>
                <a:gd name="T8" fmla="*/ 1179 w 1406"/>
                <a:gd name="T9" fmla="*/ 178 h 558"/>
                <a:gd name="T10" fmla="*/ 1162 w 1406"/>
                <a:gd name="T11" fmla="*/ 114 h 558"/>
                <a:gd name="T12" fmla="*/ 1091 w 1406"/>
                <a:gd name="T13" fmla="*/ 102 h 558"/>
                <a:gd name="T14" fmla="*/ 1025 w 1406"/>
                <a:gd name="T15" fmla="*/ 136 h 558"/>
                <a:gd name="T16" fmla="*/ 967 w 1406"/>
                <a:gd name="T17" fmla="*/ 143 h 558"/>
                <a:gd name="T18" fmla="*/ 922 w 1406"/>
                <a:gd name="T19" fmla="*/ 156 h 558"/>
                <a:gd name="T20" fmla="*/ 855 w 1406"/>
                <a:gd name="T21" fmla="*/ 148 h 558"/>
                <a:gd name="T22" fmla="*/ 812 w 1406"/>
                <a:gd name="T23" fmla="*/ 114 h 558"/>
                <a:gd name="T24" fmla="*/ 728 w 1406"/>
                <a:gd name="T25" fmla="*/ 97 h 558"/>
                <a:gd name="T26" fmla="*/ 607 w 1406"/>
                <a:gd name="T27" fmla="*/ 95 h 558"/>
                <a:gd name="T28" fmla="*/ 563 w 1406"/>
                <a:gd name="T29" fmla="*/ 83 h 558"/>
                <a:gd name="T30" fmla="*/ 472 w 1406"/>
                <a:gd name="T31" fmla="*/ 22 h 558"/>
                <a:gd name="T32" fmla="*/ 384 w 1406"/>
                <a:gd name="T33" fmla="*/ 0 h 558"/>
                <a:gd name="T34" fmla="*/ 373 w 1406"/>
                <a:gd name="T35" fmla="*/ 33 h 558"/>
                <a:gd name="T36" fmla="*/ 372 w 1406"/>
                <a:gd name="T37" fmla="*/ 60 h 558"/>
                <a:gd name="T38" fmla="*/ 391 w 1406"/>
                <a:gd name="T39" fmla="*/ 110 h 558"/>
                <a:gd name="T40" fmla="*/ 335 w 1406"/>
                <a:gd name="T41" fmla="*/ 119 h 558"/>
                <a:gd name="T42" fmla="*/ 301 w 1406"/>
                <a:gd name="T43" fmla="*/ 118 h 558"/>
                <a:gd name="T44" fmla="*/ 278 w 1406"/>
                <a:gd name="T45" fmla="*/ 107 h 558"/>
                <a:gd name="T46" fmla="*/ 182 w 1406"/>
                <a:gd name="T47" fmla="*/ 86 h 558"/>
                <a:gd name="T48" fmla="*/ 155 w 1406"/>
                <a:gd name="T49" fmla="*/ 70 h 558"/>
                <a:gd name="T50" fmla="*/ 119 w 1406"/>
                <a:gd name="T51" fmla="*/ 88 h 558"/>
                <a:gd name="T52" fmla="*/ 83 w 1406"/>
                <a:gd name="T53" fmla="*/ 100 h 558"/>
                <a:gd name="T54" fmla="*/ 47 w 1406"/>
                <a:gd name="T55" fmla="*/ 130 h 558"/>
                <a:gd name="T56" fmla="*/ 9 w 1406"/>
                <a:gd name="T57" fmla="*/ 151 h 558"/>
                <a:gd name="T58" fmla="*/ 18 w 1406"/>
                <a:gd name="T59" fmla="*/ 174 h 558"/>
                <a:gd name="T60" fmla="*/ 54 w 1406"/>
                <a:gd name="T61" fmla="*/ 203 h 558"/>
                <a:gd name="T62" fmla="*/ 107 w 1406"/>
                <a:gd name="T63" fmla="*/ 221 h 558"/>
                <a:gd name="T64" fmla="*/ 179 w 1406"/>
                <a:gd name="T65" fmla="*/ 276 h 558"/>
                <a:gd name="T66" fmla="*/ 192 w 1406"/>
                <a:gd name="T67" fmla="*/ 326 h 558"/>
                <a:gd name="T68" fmla="*/ 274 w 1406"/>
                <a:gd name="T69" fmla="*/ 374 h 558"/>
                <a:gd name="T70" fmla="*/ 361 w 1406"/>
                <a:gd name="T71" fmla="*/ 397 h 558"/>
                <a:gd name="T72" fmla="*/ 430 w 1406"/>
                <a:gd name="T73" fmla="*/ 429 h 558"/>
                <a:gd name="T74" fmla="*/ 502 w 1406"/>
                <a:gd name="T75" fmla="*/ 498 h 558"/>
                <a:gd name="T76" fmla="*/ 610 w 1406"/>
                <a:gd name="T77" fmla="*/ 499 h 558"/>
                <a:gd name="T78" fmla="*/ 679 w 1406"/>
                <a:gd name="T79" fmla="*/ 501 h 558"/>
                <a:gd name="T80" fmla="*/ 795 w 1406"/>
                <a:gd name="T81" fmla="*/ 531 h 558"/>
                <a:gd name="T82" fmla="*/ 873 w 1406"/>
                <a:gd name="T83" fmla="*/ 550 h 558"/>
                <a:gd name="T84" fmla="*/ 1066 w 1406"/>
                <a:gd name="T85" fmla="*/ 510 h 558"/>
                <a:gd name="T86" fmla="*/ 1112 w 1406"/>
                <a:gd name="T87" fmla="*/ 463 h 558"/>
                <a:gd name="T88" fmla="*/ 1108 w 1406"/>
                <a:gd name="T89" fmla="*/ 407 h 558"/>
                <a:gd name="T90" fmla="*/ 1160 w 1406"/>
                <a:gd name="T91" fmla="*/ 388 h 558"/>
                <a:gd name="T92" fmla="*/ 1213 w 1406"/>
                <a:gd name="T93" fmla="*/ 350 h 558"/>
                <a:gd name="T94" fmla="*/ 1270 w 1406"/>
                <a:gd name="T95" fmla="*/ 314 h 558"/>
                <a:gd name="T96" fmla="*/ 1320 w 1406"/>
                <a:gd name="T97" fmla="*/ 294 h 558"/>
                <a:gd name="T98" fmla="*/ 1355 w 1406"/>
                <a:gd name="T99" fmla="*/ 279 h 558"/>
                <a:gd name="T100" fmla="*/ 1394 w 1406"/>
                <a:gd name="T101" fmla="*/ 273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06" h="558">
                  <a:moveTo>
                    <a:pt x="1394" y="273"/>
                  </a:moveTo>
                  <a:cubicBezTo>
                    <a:pt x="1385" y="267"/>
                    <a:pt x="1380" y="256"/>
                    <a:pt x="1380" y="256"/>
                  </a:cubicBezTo>
                  <a:cubicBezTo>
                    <a:pt x="1380" y="256"/>
                    <a:pt x="1362" y="252"/>
                    <a:pt x="1353" y="245"/>
                  </a:cubicBezTo>
                  <a:cubicBezTo>
                    <a:pt x="1344" y="238"/>
                    <a:pt x="1336" y="231"/>
                    <a:pt x="1336" y="231"/>
                  </a:cubicBezTo>
                  <a:cubicBezTo>
                    <a:pt x="1336" y="231"/>
                    <a:pt x="1333" y="231"/>
                    <a:pt x="1324" y="230"/>
                  </a:cubicBezTo>
                  <a:cubicBezTo>
                    <a:pt x="1315" y="229"/>
                    <a:pt x="1312" y="214"/>
                    <a:pt x="1312" y="214"/>
                  </a:cubicBezTo>
                  <a:cubicBezTo>
                    <a:pt x="1271" y="214"/>
                    <a:pt x="1271" y="214"/>
                    <a:pt x="1271" y="214"/>
                  </a:cubicBezTo>
                  <a:cubicBezTo>
                    <a:pt x="1271" y="214"/>
                    <a:pt x="1270" y="232"/>
                    <a:pt x="1264" y="234"/>
                  </a:cubicBezTo>
                  <a:cubicBezTo>
                    <a:pt x="1258" y="236"/>
                    <a:pt x="1247" y="225"/>
                    <a:pt x="1247" y="225"/>
                  </a:cubicBezTo>
                  <a:cubicBezTo>
                    <a:pt x="1247" y="225"/>
                    <a:pt x="1237" y="221"/>
                    <a:pt x="1218" y="222"/>
                  </a:cubicBezTo>
                  <a:cubicBezTo>
                    <a:pt x="1199" y="223"/>
                    <a:pt x="1215" y="230"/>
                    <a:pt x="1206" y="233"/>
                  </a:cubicBezTo>
                  <a:cubicBezTo>
                    <a:pt x="1197" y="236"/>
                    <a:pt x="1185" y="225"/>
                    <a:pt x="1182" y="215"/>
                  </a:cubicBezTo>
                  <a:cubicBezTo>
                    <a:pt x="1179" y="205"/>
                    <a:pt x="1184" y="202"/>
                    <a:pt x="1184" y="202"/>
                  </a:cubicBezTo>
                  <a:cubicBezTo>
                    <a:pt x="1180" y="196"/>
                    <a:pt x="1180" y="196"/>
                    <a:pt x="1180" y="196"/>
                  </a:cubicBezTo>
                  <a:cubicBezTo>
                    <a:pt x="1179" y="178"/>
                    <a:pt x="1179" y="178"/>
                    <a:pt x="1179" y="178"/>
                  </a:cubicBezTo>
                  <a:cubicBezTo>
                    <a:pt x="1174" y="172"/>
                    <a:pt x="1174" y="172"/>
                    <a:pt x="1174" y="172"/>
                  </a:cubicBezTo>
                  <a:cubicBezTo>
                    <a:pt x="1173" y="117"/>
                    <a:pt x="1173" y="117"/>
                    <a:pt x="1173" y="117"/>
                  </a:cubicBezTo>
                  <a:cubicBezTo>
                    <a:pt x="1162" y="114"/>
                    <a:pt x="1162" y="114"/>
                    <a:pt x="1162" y="114"/>
                  </a:cubicBezTo>
                  <a:cubicBezTo>
                    <a:pt x="1144" y="111"/>
                    <a:pt x="1144" y="111"/>
                    <a:pt x="1144" y="111"/>
                  </a:cubicBezTo>
                  <a:cubicBezTo>
                    <a:pt x="1144" y="111"/>
                    <a:pt x="1138" y="118"/>
                    <a:pt x="1124" y="118"/>
                  </a:cubicBezTo>
                  <a:cubicBezTo>
                    <a:pt x="1110" y="118"/>
                    <a:pt x="1100" y="102"/>
                    <a:pt x="1091" y="102"/>
                  </a:cubicBezTo>
                  <a:cubicBezTo>
                    <a:pt x="1082" y="102"/>
                    <a:pt x="1055" y="98"/>
                    <a:pt x="1055" y="98"/>
                  </a:cubicBezTo>
                  <a:cubicBezTo>
                    <a:pt x="1032" y="121"/>
                    <a:pt x="1032" y="121"/>
                    <a:pt x="1032" y="121"/>
                  </a:cubicBezTo>
                  <a:cubicBezTo>
                    <a:pt x="1032" y="121"/>
                    <a:pt x="1035" y="132"/>
                    <a:pt x="1025" y="136"/>
                  </a:cubicBezTo>
                  <a:cubicBezTo>
                    <a:pt x="1015" y="140"/>
                    <a:pt x="1003" y="137"/>
                    <a:pt x="1003" y="137"/>
                  </a:cubicBezTo>
                  <a:cubicBezTo>
                    <a:pt x="993" y="142"/>
                    <a:pt x="993" y="142"/>
                    <a:pt x="993" y="142"/>
                  </a:cubicBezTo>
                  <a:cubicBezTo>
                    <a:pt x="993" y="142"/>
                    <a:pt x="976" y="141"/>
                    <a:pt x="967" y="143"/>
                  </a:cubicBezTo>
                  <a:cubicBezTo>
                    <a:pt x="958" y="145"/>
                    <a:pt x="960" y="150"/>
                    <a:pt x="955" y="156"/>
                  </a:cubicBezTo>
                  <a:cubicBezTo>
                    <a:pt x="950" y="162"/>
                    <a:pt x="942" y="153"/>
                    <a:pt x="938" y="151"/>
                  </a:cubicBezTo>
                  <a:cubicBezTo>
                    <a:pt x="934" y="149"/>
                    <a:pt x="922" y="156"/>
                    <a:pt x="922" y="156"/>
                  </a:cubicBezTo>
                  <a:cubicBezTo>
                    <a:pt x="922" y="156"/>
                    <a:pt x="898" y="156"/>
                    <a:pt x="895" y="153"/>
                  </a:cubicBezTo>
                  <a:cubicBezTo>
                    <a:pt x="892" y="150"/>
                    <a:pt x="885" y="147"/>
                    <a:pt x="885" y="147"/>
                  </a:cubicBezTo>
                  <a:cubicBezTo>
                    <a:pt x="885" y="147"/>
                    <a:pt x="875" y="150"/>
                    <a:pt x="855" y="148"/>
                  </a:cubicBezTo>
                  <a:cubicBezTo>
                    <a:pt x="835" y="146"/>
                    <a:pt x="840" y="135"/>
                    <a:pt x="840" y="135"/>
                  </a:cubicBezTo>
                  <a:cubicBezTo>
                    <a:pt x="840" y="135"/>
                    <a:pt x="829" y="132"/>
                    <a:pt x="826" y="133"/>
                  </a:cubicBezTo>
                  <a:cubicBezTo>
                    <a:pt x="823" y="134"/>
                    <a:pt x="815" y="115"/>
                    <a:pt x="812" y="114"/>
                  </a:cubicBezTo>
                  <a:cubicBezTo>
                    <a:pt x="809" y="113"/>
                    <a:pt x="790" y="113"/>
                    <a:pt x="778" y="113"/>
                  </a:cubicBezTo>
                  <a:cubicBezTo>
                    <a:pt x="766" y="113"/>
                    <a:pt x="755" y="94"/>
                    <a:pt x="755" y="94"/>
                  </a:cubicBezTo>
                  <a:cubicBezTo>
                    <a:pt x="728" y="97"/>
                    <a:pt x="728" y="97"/>
                    <a:pt x="728" y="97"/>
                  </a:cubicBezTo>
                  <a:cubicBezTo>
                    <a:pt x="728" y="97"/>
                    <a:pt x="726" y="89"/>
                    <a:pt x="697" y="87"/>
                  </a:cubicBezTo>
                  <a:cubicBezTo>
                    <a:pt x="668" y="85"/>
                    <a:pt x="650" y="103"/>
                    <a:pt x="637" y="104"/>
                  </a:cubicBezTo>
                  <a:cubicBezTo>
                    <a:pt x="624" y="105"/>
                    <a:pt x="607" y="95"/>
                    <a:pt x="607" y="95"/>
                  </a:cubicBezTo>
                  <a:cubicBezTo>
                    <a:pt x="607" y="95"/>
                    <a:pt x="600" y="96"/>
                    <a:pt x="590" y="96"/>
                  </a:cubicBezTo>
                  <a:cubicBezTo>
                    <a:pt x="580" y="96"/>
                    <a:pt x="578" y="80"/>
                    <a:pt x="578" y="80"/>
                  </a:cubicBezTo>
                  <a:cubicBezTo>
                    <a:pt x="563" y="83"/>
                    <a:pt x="563" y="83"/>
                    <a:pt x="563" y="83"/>
                  </a:cubicBezTo>
                  <a:cubicBezTo>
                    <a:pt x="563" y="83"/>
                    <a:pt x="541" y="49"/>
                    <a:pt x="532" y="38"/>
                  </a:cubicBezTo>
                  <a:cubicBezTo>
                    <a:pt x="523" y="27"/>
                    <a:pt x="511" y="40"/>
                    <a:pt x="501" y="38"/>
                  </a:cubicBezTo>
                  <a:cubicBezTo>
                    <a:pt x="491" y="36"/>
                    <a:pt x="472" y="22"/>
                    <a:pt x="472" y="22"/>
                  </a:cubicBezTo>
                  <a:cubicBezTo>
                    <a:pt x="472" y="22"/>
                    <a:pt x="452" y="23"/>
                    <a:pt x="434" y="21"/>
                  </a:cubicBezTo>
                  <a:cubicBezTo>
                    <a:pt x="416" y="19"/>
                    <a:pt x="393" y="2"/>
                    <a:pt x="393" y="2"/>
                  </a:cubicBezTo>
                  <a:cubicBezTo>
                    <a:pt x="384" y="0"/>
                    <a:pt x="384" y="0"/>
                    <a:pt x="384" y="0"/>
                  </a:cubicBezTo>
                  <a:cubicBezTo>
                    <a:pt x="384" y="0"/>
                    <a:pt x="385" y="12"/>
                    <a:pt x="380" y="18"/>
                  </a:cubicBezTo>
                  <a:cubicBezTo>
                    <a:pt x="375" y="24"/>
                    <a:pt x="371" y="22"/>
                    <a:pt x="371" y="22"/>
                  </a:cubicBezTo>
                  <a:cubicBezTo>
                    <a:pt x="373" y="33"/>
                    <a:pt x="373" y="33"/>
                    <a:pt x="373" y="33"/>
                  </a:cubicBezTo>
                  <a:cubicBezTo>
                    <a:pt x="373" y="33"/>
                    <a:pt x="362" y="31"/>
                    <a:pt x="362" y="37"/>
                  </a:cubicBezTo>
                  <a:cubicBezTo>
                    <a:pt x="362" y="43"/>
                    <a:pt x="368" y="46"/>
                    <a:pt x="368" y="46"/>
                  </a:cubicBezTo>
                  <a:cubicBezTo>
                    <a:pt x="372" y="60"/>
                    <a:pt x="372" y="60"/>
                    <a:pt x="372" y="60"/>
                  </a:cubicBezTo>
                  <a:cubicBezTo>
                    <a:pt x="388" y="84"/>
                    <a:pt x="388" y="84"/>
                    <a:pt x="388" y="84"/>
                  </a:cubicBezTo>
                  <a:cubicBezTo>
                    <a:pt x="388" y="84"/>
                    <a:pt x="403" y="84"/>
                    <a:pt x="403" y="102"/>
                  </a:cubicBezTo>
                  <a:cubicBezTo>
                    <a:pt x="403" y="120"/>
                    <a:pt x="391" y="110"/>
                    <a:pt x="391" y="110"/>
                  </a:cubicBezTo>
                  <a:cubicBezTo>
                    <a:pt x="391" y="110"/>
                    <a:pt x="393" y="117"/>
                    <a:pt x="376" y="125"/>
                  </a:cubicBezTo>
                  <a:cubicBezTo>
                    <a:pt x="359" y="133"/>
                    <a:pt x="365" y="117"/>
                    <a:pt x="365" y="117"/>
                  </a:cubicBezTo>
                  <a:cubicBezTo>
                    <a:pt x="335" y="119"/>
                    <a:pt x="335" y="119"/>
                    <a:pt x="335" y="119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4" y="111"/>
                    <a:pt x="325" y="110"/>
                    <a:pt x="314" y="111"/>
                  </a:cubicBezTo>
                  <a:cubicBezTo>
                    <a:pt x="303" y="112"/>
                    <a:pt x="301" y="118"/>
                    <a:pt x="301" y="118"/>
                  </a:cubicBezTo>
                  <a:cubicBezTo>
                    <a:pt x="299" y="113"/>
                    <a:pt x="299" y="113"/>
                    <a:pt x="299" y="113"/>
                  </a:cubicBezTo>
                  <a:cubicBezTo>
                    <a:pt x="280" y="116"/>
                    <a:pt x="280" y="116"/>
                    <a:pt x="280" y="116"/>
                  </a:cubicBezTo>
                  <a:cubicBezTo>
                    <a:pt x="278" y="107"/>
                    <a:pt x="278" y="107"/>
                    <a:pt x="278" y="107"/>
                  </a:cubicBezTo>
                  <a:cubicBezTo>
                    <a:pt x="278" y="107"/>
                    <a:pt x="256" y="109"/>
                    <a:pt x="247" y="102"/>
                  </a:cubicBezTo>
                  <a:cubicBezTo>
                    <a:pt x="238" y="95"/>
                    <a:pt x="240" y="82"/>
                    <a:pt x="233" y="82"/>
                  </a:cubicBezTo>
                  <a:cubicBezTo>
                    <a:pt x="226" y="82"/>
                    <a:pt x="182" y="86"/>
                    <a:pt x="182" y="86"/>
                  </a:cubicBezTo>
                  <a:cubicBezTo>
                    <a:pt x="177" y="75"/>
                    <a:pt x="177" y="75"/>
                    <a:pt x="177" y="75"/>
                  </a:cubicBezTo>
                  <a:cubicBezTo>
                    <a:pt x="177" y="75"/>
                    <a:pt x="161" y="75"/>
                    <a:pt x="158" y="75"/>
                  </a:cubicBezTo>
                  <a:cubicBezTo>
                    <a:pt x="155" y="75"/>
                    <a:pt x="155" y="70"/>
                    <a:pt x="155" y="70"/>
                  </a:cubicBezTo>
                  <a:cubicBezTo>
                    <a:pt x="143" y="77"/>
                    <a:pt x="143" y="77"/>
                    <a:pt x="143" y="77"/>
                  </a:cubicBezTo>
                  <a:cubicBezTo>
                    <a:pt x="143" y="77"/>
                    <a:pt x="134" y="71"/>
                    <a:pt x="127" y="71"/>
                  </a:cubicBezTo>
                  <a:cubicBezTo>
                    <a:pt x="120" y="71"/>
                    <a:pt x="119" y="88"/>
                    <a:pt x="119" y="88"/>
                  </a:cubicBezTo>
                  <a:cubicBezTo>
                    <a:pt x="103" y="88"/>
                    <a:pt x="103" y="88"/>
                    <a:pt x="103" y="88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3" y="100"/>
                    <a:pt x="83" y="100"/>
                    <a:pt x="83" y="100"/>
                  </a:cubicBezTo>
                  <a:cubicBezTo>
                    <a:pt x="83" y="100"/>
                    <a:pt x="72" y="108"/>
                    <a:pt x="63" y="118"/>
                  </a:cubicBezTo>
                  <a:cubicBezTo>
                    <a:pt x="54" y="128"/>
                    <a:pt x="63" y="130"/>
                    <a:pt x="63" y="130"/>
                  </a:cubicBezTo>
                  <a:cubicBezTo>
                    <a:pt x="47" y="130"/>
                    <a:pt x="47" y="130"/>
                    <a:pt x="47" y="130"/>
                  </a:cubicBezTo>
                  <a:cubicBezTo>
                    <a:pt x="49" y="139"/>
                    <a:pt x="49" y="139"/>
                    <a:pt x="49" y="139"/>
                  </a:cubicBezTo>
                  <a:cubicBezTo>
                    <a:pt x="8" y="139"/>
                    <a:pt x="8" y="139"/>
                    <a:pt x="8" y="139"/>
                  </a:cubicBezTo>
                  <a:cubicBezTo>
                    <a:pt x="9" y="151"/>
                    <a:pt x="9" y="151"/>
                    <a:pt x="9" y="151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10" y="162"/>
                    <a:pt x="0" y="174"/>
                    <a:pt x="0" y="174"/>
                  </a:cubicBezTo>
                  <a:cubicBezTo>
                    <a:pt x="18" y="174"/>
                    <a:pt x="18" y="174"/>
                    <a:pt x="18" y="174"/>
                  </a:cubicBezTo>
                  <a:cubicBezTo>
                    <a:pt x="18" y="174"/>
                    <a:pt x="14" y="182"/>
                    <a:pt x="19" y="187"/>
                  </a:cubicBezTo>
                  <a:cubicBezTo>
                    <a:pt x="24" y="192"/>
                    <a:pt x="48" y="195"/>
                    <a:pt x="48" y="195"/>
                  </a:cubicBezTo>
                  <a:cubicBezTo>
                    <a:pt x="54" y="203"/>
                    <a:pt x="54" y="203"/>
                    <a:pt x="54" y="203"/>
                  </a:cubicBezTo>
                  <a:cubicBezTo>
                    <a:pt x="71" y="219"/>
                    <a:pt x="71" y="219"/>
                    <a:pt x="71" y="219"/>
                  </a:cubicBezTo>
                  <a:cubicBezTo>
                    <a:pt x="92" y="213"/>
                    <a:pt x="92" y="213"/>
                    <a:pt x="92" y="213"/>
                  </a:cubicBezTo>
                  <a:cubicBezTo>
                    <a:pt x="107" y="221"/>
                    <a:pt x="107" y="221"/>
                    <a:pt x="107" y="221"/>
                  </a:cubicBezTo>
                  <a:cubicBezTo>
                    <a:pt x="107" y="221"/>
                    <a:pt x="113" y="223"/>
                    <a:pt x="127" y="227"/>
                  </a:cubicBezTo>
                  <a:cubicBezTo>
                    <a:pt x="141" y="231"/>
                    <a:pt x="148" y="245"/>
                    <a:pt x="153" y="252"/>
                  </a:cubicBezTo>
                  <a:cubicBezTo>
                    <a:pt x="158" y="259"/>
                    <a:pt x="167" y="268"/>
                    <a:pt x="179" y="276"/>
                  </a:cubicBezTo>
                  <a:cubicBezTo>
                    <a:pt x="191" y="284"/>
                    <a:pt x="188" y="300"/>
                    <a:pt x="188" y="300"/>
                  </a:cubicBezTo>
                  <a:cubicBezTo>
                    <a:pt x="188" y="300"/>
                    <a:pt x="198" y="308"/>
                    <a:pt x="200" y="315"/>
                  </a:cubicBezTo>
                  <a:cubicBezTo>
                    <a:pt x="202" y="322"/>
                    <a:pt x="192" y="326"/>
                    <a:pt x="192" y="326"/>
                  </a:cubicBezTo>
                  <a:cubicBezTo>
                    <a:pt x="192" y="326"/>
                    <a:pt x="193" y="336"/>
                    <a:pt x="198" y="349"/>
                  </a:cubicBezTo>
                  <a:cubicBezTo>
                    <a:pt x="203" y="362"/>
                    <a:pt x="224" y="364"/>
                    <a:pt x="235" y="368"/>
                  </a:cubicBezTo>
                  <a:cubicBezTo>
                    <a:pt x="246" y="372"/>
                    <a:pt x="260" y="375"/>
                    <a:pt x="274" y="374"/>
                  </a:cubicBezTo>
                  <a:cubicBezTo>
                    <a:pt x="288" y="373"/>
                    <a:pt x="322" y="375"/>
                    <a:pt x="322" y="375"/>
                  </a:cubicBezTo>
                  <a:cubicBezTo>
                    <a:pt x="322" y="375"/>
                    <a:pt x="333" y="380"/>
                    <a:pt x="342" y="382"/>
                  </a:cubicBezTo>
                  <a:cubicBezTo>
                    <a:pt x="351" y="384"/>
                    <a:pt x="358" y="396"/>
                    <a:pt x="361" y="397"/>
                  </a:cubicBezTo>
                  <a:cubicBezTo>
                    <a:pt x="364" y="398"/>
                    <a:pt x="401" y="410"/>
                    <a:pt x="401" y="410"/>
                  </a:cubicBezTo>
                  <a:cubicBezTo>
                    <a:pt x="423" y="413"/>
                    <a:pt x="423" y="413"/>
                    <a:pt x="423" y="413"/>
                  </a:cubicBezTo>
                  <a:cubicBezTo>
                    <a:pt x="430" y="429"/>
                    <a:pt x="430" y="429"/>
                    <a:pt x="430" y="429"/>
                  </a:cubicBezTo>
                  <a:cubicBezTo>
                    <a:pt x="430" y="429"/>
                    <a:pt x="439" y="434"/>
                    <a:pt x="443" y="438"/>
                  </a:cubicBezTo>
                  <a:cubicBezTo>
                    <a:pt x="447" y="442"/>
                    <a:pt x="461" y="461"/>
                    <a:pt x="465" y="467"/>
                  </a:cubicBezTo>
                  <a:cubicBezTo>
                    <a:pt x="469" y="473"/>
                    <a:pt x="502" y="498"/>
                    <a:pt x="502" y="498"/>
                  </a:cubicBezTo>
                  <a:cubicBezTo>
                    <a:pt x="540" y="494"/>
                    <a:pt x="540" y="494"/>
                    <a:pt x="540" y="494"/>
                  </a:cubicBezTo>
                  <a:cubicBezTo>
                    <a:pt x="579" y="499"/>
                    <a:pt x="579" y="499"/>
                    <a:pt x="579" y="499"/>
                  </a:cubicBezTo>
                  <a:cubicBezTo>
                    <a:pt x="610" y="499"/>
                    <a:pt x="610" y="499"/>
                    <a:pt x="610" y="499"/>
                  </a:cubicBezTo>
                  <a:cubicBezTo>
                    <a:pt x="635" y="504"/>
                    <a:pt x="635" y="504"/>
                    <a:pt x="635" y="504"/>
                  </a:cubicBezTo>
                  <a:cubicBezTo>
                    <a:pt x="635" y="504"/>
                    <a:pt x="649" y="493"/>
                    <a:pt x="654" y="493"/>
                  </a:cubicBezTo>
                  <a:cubicBezTo>
                    <a:pt x="659" y="493"/>
                    <a:pt x="679" y="501"/>
                    <a:pt x="679" y="501"/>
                  </a:cubicBezTo>
                  <a:cubicBezTo>
                    <a:pt x="679" y="501"/>
                    <a:pt x="718" y="501"/>
                    <a:pt x="728" y="504"/>
                  </a:cubicBezTo>
                  <a:cubicBezTo>
                    <a:pt x="738" y="507"/>
                    <a:pt x="740" y="522"/>
                    <a:pt x="755" y="527"/>
                  </a:cubicBezTo>
                  <a:cubicBezTo>
                    <a:pt x="770" y="532"/>
                    <a:pt x="781" y="530"/>
                    <a:pt x="795" y="531"/>
                  </a:cubicBezTo>
                  <a:cubicBezTo>
                    <a:pt x="809" y="532"/>
                    <a:pt x="837" y="547"/>
                    <a:pt x="837" y="547"/>
                  </a:cubicBezTo>
                  <a:cubicBezTo>
                    <a:pt x="837" y="547"/>
                    <a:pt x="858" y="538"/>
                    <a:pt x="864" y="538"/>
                  </a:cubicBezTo>
                  <a:cubicBezTo>
                    <a:pt x="870" y="538"/>
                    <a:pt x="873" y="550"/>
                    <a:pt x="873" y="550"/>
                  </a:cubicBezTo>
                  <a:cubicBezTo>
                    <a:pt x="873" y="550"/>
                    <a:pt x="893" y="558"/>
                    <a:pt x="899" y="553"/>
                  </a:cubicBezTo>
                  <a:cubicBezTo>
                    <a:pt x="905" y="548"/>
                    <a:pt x="948" y="519"/>
                    <a:pt x="962" y="513"/>
                  </a:cubicBezTo>
                  <a:cubicBezTo>
                    <a:pt x="976" y="507"/>
                    <a:pt x="1066" y="510"/>
                    <a:pt x="1066" y="510"/>
                  </a:cubicBezTo>
                  <a:cubicBezTo>
                    <a:pt x="1078" y="497"/>
                    <a:pt x="1078" y="497"/>
                    <a:pt x="1078" y="497"/>
                  </a:cubicBezTo>
                  <a:cubicBezTo>
                    <a:pt x="1078" y="497"/>
                    <a:pt x="1095" y="499"/>
                    <a:pt x="1103" y="492"/>
                  </a:cubicBezTo>
                  <a:cubicBezTo>
                    <a:pt x="1111" y="485"/>
                    <a:pt x="1109" y="470"/>
                    <a:pt x="1112" y="463"/>
                  </a:cubicBezTo>
                  <a:cubicBezTo>
                    <a:pt x="1115" y="456"/>
                    <a:pt x="1125" y="459"/>
                    <a:pt x="1129" y="459"/>
                  </a:cubicBezTo>
                  <a:cubicBezTo>
                    <a:pt x="1133" y="459"/>
                    <a:pt x="1143" y="444"/>
                    <a:pt x="1144" y="439"/>
                  </a:cubicBezTo>
                  <a:cubicBezTo>
                    <a:pt x="1145" y="434"/>
                    <a:pt x="1114" y="411"/>
                    <a:pt x="1108" y="407"/>
                  </a:cubicBezTo>
                  <a:cubicBezTo>
                    <a:pt x="1102" y="403"/>
                    <a:pt x="1100" y="383"/>
                    <a:pt x="1106" y="373"/>
                  </a:cubicBezTo>
                  <a:cubicBezTo>
                    <a:pt x="1112" y="363"/>
                    <a:pt x="1130" y="369"/>
                    <a:pt x="1134" y="370"/>
                  </a:cubicBezTo>
                  <a:cubicBezTo>
                    <a:pt x="1138" y="371"/>
                    <a:pt x="1160" y="388"/>
                    <a:pt x="1160" y="388"/>
                  </a:cubicBezTo>
                  <a:cubicBezTo>
                    <a:pt x="1160" y="388"/>
                    <a:pt x="1187" y="387"/>
                    <a:pt x="1194" y="385"/>
                  </a:cubicBezTo>
                  <a:cubicBezTo>
                    <a:pt x="1201" y="383"/>
                    <a:pt x="1212" y="369"/>
                    <a:pt x="1212" y="369"/>
                  </a:cubicBezTo>
                  <a:cubicBezTo>
                    <a:pt x="1212" y="369"/>
                    <a:pt x="1210" y="353"/>
                    <a:pt x="1213" y="350"/>
                  </a:cubicBezTo>
                  <a:cubicBezTo>
                    <a:pt x="1216" y="347"/>
                    <a:pt x="1262" y="350"/>
                    <a:pt x="1262" y="350"/>
                  </a:cubicBezTo>
                  <a:cubicBezTo>
                    <a:pt x="1278" y="336"/>
                    <a:pt x="1278" y="336"/>
                    <a:pt x="1278" y="336"/>
                  </a:cubicBezTo>
                  <a:cubicBezTo>
                    <a:pt x="1278" y="336"/>
                    <a:pt x="1263" y="325"/>
                    <a:pt x="1270" y="314"/>
                  </a:cubicBezTo>
                  <a:cubicBezTo>
                    <a:pt x="1277" y="303"/>
                    <a:pt x="1302" y="302"/>
                    <a:pt x="1302" y="302"/>
                  </a:cubicBezTo>
                  <a:cubicBezTo>
                    <a:pt x="1302" y="291"/>
                    <a:pt x="1302" y="291"/>
                    <a:pt x="1302" y="291"/>
                  </a:cubicBezTo>
                  <a:cubicBezTo>
                    <a:pt x="1320" y="294"/>
                    <a:pt x="1320" y="294"/>
                    <a:pt x="1320" y="294"/>
                  </a:cubicBezTo>
                  <a:cubicBezTo>
                    <a:pt x="1326" y="291"/>
                    <a:pt x="1326" y="291"/>
                    <a:pt x="1326" y="291"/>
                  </a:cubicBezTo>
                  <a:cubicBezTo>
                    <a:pt x="1335" y="282"/>
                    <a:pt x="1335" y="282"/>
                    <a:pt x="1335" y="282"/>
                  </a:cubicBezTo>
                  <a:cubicBezTo>
                    <a:pt x="1335" y="282"/>
                    <a:pt x="1346" y="279"/>
                    <a:pt x="1355" y="279"/>
                  </a:cubicBezTo>
                  <a:cubicBezTo>
                    <a:pt x="1364" y="279"/>
                    <a:pt x="1372" y="288"/>
                    <a:pt x="1372" y="288"/>
                  </a:cubicBezTo>
                  <a:cubicBezTo>
                    <a:pt x="1372" y="288"/>
                    <a:pt x="1390" y="287"/>
                    <a:pt x="1398" y="286"/>
                  </a:cubicBezTo>
                  <a:cubicBezTo>
                    <a:pt x="1406" y="285"/>
                    <a:pt x="1403" y="279"/>
                    <a:pt x="1394" y="27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267">
              <a:extLst>
                <a:ext uri="{FF2B5EF4-FFF2-40B4-BE49-F238E27FC236}">
                  <a16:creationId xmlns:a16="http://schemas.microsoft.com/office/drawing/2014/main" id="{155FAF9E-B127-6988-2098-15F7C99E38BD}"/>
                </a:ext>
              </a:extLst>
            </p:cNvPr>
            <p:cNvSpPr>
              <a:spLocks/>
            </p:cNvSpPr>
            <p:nvPr/>
          </p:nvSpPr>
          <p:spPr bwMode="gray">
            <a:xfrm>
              <a:off x="-2297" y="-15512"/>
              <a:ext cx="728" cy="340"/>
            </a:xfrm>
            <a:custGeom>
              <a:avLst/>
              <a:gdLst>
                <a:gd name="T0" fmla="*/ 4 w 308"/>
                <a:gd name="T1" fmla="*/ 12 h 144"/>
                <a:gd name="T2" fmla="*/ 52 w 308"/>
                <a:gd name="T3" fmla="*/ 37 h 144"/>
                <a:gd name="T4" fmla="*/ 75 w 308"/>
                <a:gd name="T5" fmla="*/ 54 h 144"/>
                <a:gd name="T6" fmla="*/ 79 w 308"/>
                <a:gd name="T7" fmla="*/ 85 h 144"/>
                <a:gd name="T8" fmla="*/ 92 w 308"/>
                <a:gd name="T9" fmla="*/ 103 h 144"/>
                <a:gd name="T10" fmla="*/ 85 w 308"/>
                <a:gd name="T11" fmla="*/ 110 h 144"/>
                <a:gd name="T12" fmla="*/ 111 w 308"/>
                <a:gd name="T13" fmla="*/ 115 h 144"/>
                <a:gd name="T14" fmla="*/ 131 w 308"/>
                <a:gd name="T15" fmla="*/ 108 h 144"/>
                <a:gd name="T16" fmla="*/ 147 w 308"/>
                <a:gd name="T17" fmla="*/ 126 h 144"/>
                <a:gd name="T18" fmla="*/ 164 w 308"/>
                <a:gd name="T19" fmla="*/ 126 h 144"/>
                <a:gd name="T20" fmla="*/ 166 w 308"/>
                <a:gd name="T21" fmla="*/ 134 h 144"/>
                <a:gd name="T22" fmla="*/ 183 w 308"/>
                <a:gd name="T23" fmla="*/ 133 h 144"/>
                <a:gd name="T24" fmla="*/ 188 w 308"/>
                <a:gd name="T25" fmla="*/ 126 h 144"/>
                <a:gd name="T26" fmla="*/ 221 w 308"/>
                <a:gd name="T27" fmla="*/ 130 h 144"/>
                <a:gd name="T28" fmla="*/ 227 w 308"/>
                <a:gd name="T29" fmla="*/ 120 h 144"/>
                <a:gd name="T30" fmla="*/ 235 w 308"/>
                <a:gd name="T31" fmla="*/ 123 h 144"/>
                <a:gd name="T32" fmla="*/ 235 w 308"/>
                <a:gd name="T33" fmla="*/ 123 h 144"/>
                <a:gd name="T34" fmla="*/ 250 w 308"/>
                <a:gd name="T35" fmla="*/ 112 h 144"/>
                <a:gd name="T36" fmla="*/ 261 w 308"/>
                <a:gd name="T37" fmla="*/ 120 h 144"/>
                <a:gd name="T38" fmla="*/ 275 w 308"/>
                <a:gd name="T39" fmla="*/ 130 h 144"/>
                <a:gd name="T40" fmla="*/ 289 w 308"/>
                <a:gd name="T41" fmla="*/ 127 h 144"/>
                <a:gd name="T42" fmla="*/ 306 w 308"/>
                <a:gd name="T43" fmla="*/ 134 h 144"/>
                <a:gd name="T44" fmla="*/ 287 w 308"/>
                <a:gd name="T45" fmla="*/ 113 h 144"/>
                <a:gd name="T46" fmla="*/ 278 w 308"/>
                <a:gd name="T47" fmla="*/ 97 h 144"/>
                <a:gd name="T48" fmla="*/ 286 w 308"/>
                <a:gd name="T49" fmla="*/ 93 h 144"/>
                <a:gd name="T50" fmla="*/ 251 w 308"/>
                <a:gd name="T51" fmla="*/ 75 h 144"/>
                <a:gd name="T52" fmla="*/ 256 w 308"/>
                <a:gd name="T53" fmla="*/ 58 h 144"/>
                <a:gd name="T54" fmla="*/ 236 w 308"/>
                <a:gd name="T55" fmla="*/ 55 h 144"/>
                <a:gd name="T56" fmla="*/ 208 w 308"/>
                <a:gd name="T57" fmla="*/ 42 h 144"/>
                <a:gd name="T58" fmla="*/ 179 w 308"/>
                <a:gd name="T59" fmla="*/ 53 h 144"/>
                <a:gd name="T60" fmla="*/ 160 w 308"/>
                <a:gd name="T61" fmla="*/ 42 h 144"/>
                <a:gd name="T62" fmla="*/ 128 w 308"/>
                <a:gd name="T63" fmla="*/ 22 h 144"/>
                <a:gd name="T64" fmla="*/ 95 w 308"/>
                <a:gd name="T65" fmla="*/ 18 h 144"/>
                <a:gd name="T66" fmla="*/ 54 w 308"/>
                <a:gd name="T67" fmla="*/ 10 h 144"/>
                <a:gd name="T68" fmla="*/ 13 w 308"/>
                <a:gd name="T69" fmla="*/ 0 h 144"/>
                <a:gd name="T70" fmla="*/ 0 w 308"/>
                <a:gd name="T71" fmla="*/ 11 h 144"/>
                <a:gd name="T72" fmla="*/ 4 w 308"/>
                <a:gd name="T73" fmla="*/ 1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08" h="144">
                  <a:moveTo>
                    <a:pt x="4" y="12"/>
                  </a:moveTo>
                  <a:cubicBezTo>
                    <a:pt x="4" y="12"/>
                    <a:pt x="44" y="34"/>
                    <a:pt x="52" y="37"/>
                  </a:cubicBezTo>
                  <a:cubicBezTo>
                    <a:pt x="60" y="40"/>
                    <a:pt x="75" y="54"/>
                    <a:pt x="75" y="54"/>
                  </a:cubicBezTo>
                  <a:cubicBezTo>
                    <a:pt x="75" y="54"/>
                    <a:pt x="79" y="82"/>
                    <a:pt x="79" y="85"/>
                  </a:cubicBezTo>
                  <a:cubicBezTo>
                    <a:pt x="79" y="88"/>
                    <a:pt x="92" y="103"/>
                    <a:pt x="92" y="103"/>
                  </a:cubicBezTo>
                  <a:cubicBezTo>
                    <a:pt x="92" y="103"/>
                    <a:pt x="90" y="105"/>
                    <a:pt x="85" y="110"/>
                  </a:cubicBezTo>
                  <a:cubicBezTo>
                    <a:pt x="111" y="115"/>
                    <a:pt x="111" y="115"/>
                    <a:pt x="111" y="115"/>
                  </a:cubicBezTo>
                  <a:cubicBezTo>
                    <a:pt x="111" y="115"/>
                    <a:pt x="117" y="105"/>
                    <a:pt x="131" y="108"/>
                  </a:cubicBezTo>
                  <a:cubicBezTo>
                    <a:pt x="145" y="111"/>
                    <a:pt x="147" y="126"/>
                    <a:pt x="147" y="126"/>
                  </a:cubicBezTo>
                  <a:cubicBezTo>
                    <a:pt x="164" y="126"/>
                    <a:pt x="164" y="126"/>
                    <a:pt x="164" y="126"/>
                  </a:cubicBezTo>
                  <a:cubicBezTo>
                    <a:pt x="164" y="126"/>
                    <a:pt x="165" y="129"/>
                    <a:pt x="166" y="134"/>
                  </a:cubicBezTo>
                  <a:cubicBezTo>
                    <a:pt x="183" y="133"/>
                    <a:pt x="183" y="133"/>
                    <a:pt x="183" y="133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221" y="130"/>
                    <a:pt x="221" y="130"/>
                    <a:pt x="221" y="130"/>
                  </a:cubicBezTo>
                  <a:cubicBezTo>
                    <a:pt x="221" y="130"/>
                    <a:pt x="224" y="120"/>
                    <a:pt x="227" y="120"/>
                  </a:cubicBezTo>
                  <a:cubicBezTo>
                    <a:pt x="228" y="120"/>
                    <a:pt x="232" y="121"/>
                    <a:pt x="235" y="123"/>
                  </a:cubicBezTo>
                  <a:cubicBezTo>
                    <a:pt x="235" y="123"/>
                    <a:pt x="235" y="123"/>
                    <a:pt x="235" y="123"/>
                  </a:cubicBezTo>
                  <a:cubicBezTo>
                    <a:pt x="236" y="119"/>
                    <a:pt x="240" y="111"/>
                    <a:pt x="250" y="112"/>
                  </a:cubicBezTo>
                  <a:cubicBezTo>
                    <a:pt x="263" y="113"/>
                    <a:pt x="261" y="120"/>
                    <a:pt x="261" y="120"/>
                  </a:cubicBezTo>
                  <a:cubicBezTo>
                    <a:pt x="275" y="130"/>
                    <a:pt x="275" y="130"/>
                    <a:pt x="275" y="130"/>
                  </a:cubicBezTo>
                  <a:cubicBezTo>
                    <a:pt x="275" y="130"/>
                    <a:pt x="286" y="127"/>
                    <a:pt x="289" y="127"/>
                  </a:cubicBezTo>
                  <a:cubicBezTo>
                    <a:pt x="292" y="127"/>
                    <a:pt x="304" y="144"/>
                    <a:pt x="306" y="134"/>
                  </a:cubicBezTo>
                  <a:cubicBezTo>
                    <a:pt x="308" y="124"/>
                    <a:pt x="287" y="113"/>
                    <a:pt x="287" y="113"/>
                  </a:cubicBezTo>
                  <a:cubicBezTo>
                    <a:pt x="287" y="113"/>
                    <a:pt x="272" y="102"/>
                    <a:pt x="278" y="97"/>
                  </a:cubicBezTo>
                  <a:cubicBezTo>
                    <a:pt x="280" y="95"/>
                    <a:pt x="283" y="94"/>
                    <a:pt x="286" y="93"/>
                  </a:cubicBezTo>
                  <a:cubicBezTo>
                    <a:pt x="279" y="86"/>
                    <a:pt x="268" y="76"/>
                    <a:pt x="251" y="75"/>
                  </a:cubicBezTo>
                  <a:cubicBezTo>
                    <a:pt x="251" y="76"/>
                    <a:pt x="256" y="58"/>
                    <a:pt x="256" y="58"/>
                  </a:cubicBezTo>
                  <a:cubicBezTo>
                    <a:pt x="236" y="55"/>
                    <a:pt x="236" y="55"/>
                    <a:pt x="236" y="55"/>
                  </a:cubicBezTo>
                  <a:cubicBezTo>
                    <a:pt x="236" y="55"/>
                    <a:pt x="226" y="40"/>
                    <a:pt x="208" y="42"/>
                  </a:cubicBezTo>
                  <a:cubicBezTo>
                    <a:pt x="190" y="44"/>
                    <a:pt x="198" y="53"/>
                    <a:pt x="179" y="53"/>
                  </a:cubicBezTo>
                  <a:cubicBezTo>
                    <a:pt x="160" y="53"/>
                    <a:pt x="160" y="42"/>
                    <a:pt x="160" y="42"/>
                  </a:cubicBezTo>
                  <a:cubicBezTo>
                    <a:pt x="128" y="22"/>
                    <a:pt x="128" y="22"/>
                    <a:pt x="128" y="22"/>
                  </a:cubicBezTo>
                  <a:cubicBezTo>
                    <a:pt x="128" y="22"/>
                    <a:pt x="108" y="17"/>
                    <a:pt x="95" y="18"/>
                  </a:cubicBezTo>
                  <a:cubicBezTo>
                    <a:pt x="82" y="19"/>
                    <a:pt x="70" y="17"/>
                    <a:pt x="54" y="10"/>
                  </a:cubicBezTo>
                  <a:cubicBezTo>
                    <a:pt x="38" y="3"/>
                    <a:pt x="13" y="0"/>
                    <a:pt x="13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3" y="12"/>
                    <a:pt x="4" y="12"/>
                    <a:pt x="4" y="1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268">
              <a:extLst>
                <a:ext uri="{FF2B5EF4-FFF2-40B4-BE49-F238E27FC236}">
                  <a16:creationId xmlns:a16="http://schemas.microsoft.com/office/drawing/2014/main" id="{86C6A7B4-507C-9CFF-F014-6EDB85C52A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741" y="-15300"/>
              <a:ext cx="567" cy="459"/>
            </a:xfrm>
            <a:custGeom>
              <a:avLst/>
              <a:gdLst>
                <a:gd name="T0" fmla="*/ 42 w 240"/>
                <a:gd name="T1" fmla="*/ 125 h 194"/>
                <a:gd name="T2" fmla="*/ 31 w 240"/>
                <a:gd name="T3" fmla="*/ 127 h 194"/>
                <a:gd name="T4" fmla="*/ 14 w 240"/>
                <a:gd name="T5" fmla="*/ 116 h 194"/>
                <a:gd name="T6" fmla="*/ 4 w 240"/>
                <a:gd name="T7" fmla="*/ 119 h 194"/>
                <a:gd name="T8" fmla="*/ 14 w 240"/>
                <a:gd name="T9" fmla="*/ 141 h 194"/>
                <a:gd name="T10" fmla="*/ 56 w 240"/>
                <a:gd name="T11" fmla="*/ 163 h 194"/>
                <a:gd name="T12" fmla="*/ 59 w 240"/>
                <a:gd name="T13" fmla="*/ 163 h 194"/>
                <a:gd name="T14" fmla="*/ 50 w 240"/>
                <a:gd name="T15" fmla="*/ 141 h 194"/>
                <a:gd name="T16" fmla="*/ 42 w 240"/>
                <a:gd name="T17" fmla="*/ 125 h 194"/>
                <a:gd name="T18" fmla="*/ 235 w 240"/>
                <a:gd name="T19" fmla="*/ 75 h 194"/>
                <a:gd name="T20" fmla="*/ 205 w 240"/>
                <a:gd name="T21" fmla="*/ 74 h 194"/>
                <a:gd name="T22" fmla="*/ 193 w 240"/>
                <a:gd name="T23" fmla="*/ 56 h 194"/>
                <a:gd name="T24" fmla="*/ 176 w 240"/>
                <a:gd name="T25" fmla="*/ 38 h 194"/>
                <a:gd name="T26" fmla="*/ 177 w 240"/>
                <a:gd name="T27" fmla="*/ 29 h 194"/>
                <a:gd name="T28" fmla="*/ 145 w 240"/>
                <a:gd name="T29" fmla="*/ 2 h 194"/>
                <a:gd name="T30" fmla="*/ 143 w 240"/>
                <a:gd name="T31" fmla="*/ 20 h 194"/>
                <a:gd name="T32" fmla="*/ 126 w 240"/>
                <a:gd name="T33" fmla="*/ 24 h 194"/>
                <a:gd name="T34" fmla="*/ 116 w 240"/>
                <a:gd name="T35" fmla="*/ 38 h 194"/>
                <a:gd name="T36" fmla="*/ 78 w 240"/>
                <a:gd name="T37" fmla="*/ 9 h 194"/>
                <a:gd name="T38" fmla="*/ 43 w 240"/>
                <a:gd name="T39" fmla="*/ 7 h 194"/>
                <a:gd name="T40" fmla="*/ 52 w 240"/>
                <a:gd name="T41" fmla="*/ 23 h 194"/>
                <a:gd name="T42" fmla="*/ 71 w 240"/>
                <a:gd name="T43" fmla="*/ 44 h 194"/>
                <a:gd name="T44" fmla="*/ 54 w 240"/>
                <a:gd name="T45" fmla="*/ 37 h 194"/>
                <a:gd name="T46" fmla="*/ 40 w 240"/>
                <a:gd name="T47" fmla="*/ 40 h 194"/>
                <a:gd name="T48" fmla="*/ 26 w 240"/>
                <a:gd name="T49" fmla="*/ 30 h 194"/>
                <a:gd name="T50" fmla="*/ 15 w 240"/>
                <a:gd name="T51" fmla="*/ 22 h 194"/>
                <a:gd name="T52" fmla="*/ 0 w 240"/>
                <a:gd name="T53" fmla="*/ 33 h 194"/>
                <a:gd name="T54" fmla="*/ 7 w 240"/>
                <a:gd name="T55" fmla="*/ 37 h 194"/>
                <a:gd name="T56" fmla="*/ 6 w 240"/>
                <a:gd name="T57" fmla="*/ 46 h 194"/>
                <a:gd name="T58" fmla="*/ 25 w 240"/>
                <a:gd name="T59" fmla="*/ 54 h 194"/>
                <a:gd name="T60" fmla="*/ 19 w 240"/>
                <a:gd name="T61" fmla="*/ 69 h 194"/>
                <a:gd name="T62" fmla="*/ 49 w 240"/>
                <a:gd name="T63" fmla="*/ 91 h 194"/>
                <a:gd name="T64" fmla="*/ 28 w 240"/>
                <a:gd name="T65" fmla="*/ 100 h 194"/>
                <a:gd name="T66" fmla="*/ 46 w 240"/>
                <a:gd name="T67" fmla="*/ 108 h 194"/>
                <a:gd name="T68" fmla="*/ 56 w 240"/>
                <a:gd name="T69" fmla="*/ 122 h 194"/>
                <a:gd name="T70" fmla="*/ 76 w 240"/>
                <a:gd name="T71" fmla="*/ 124 h 194"/>
                <a:gd name="T72" fmla="*/ 74 w 240"/>
                <a:gd name="T73" fmla="*/ 134 h 194"/>
                <a:gd name="T74" fmla="*/ 78 w 240"/>
                <a:gd name="T75" fmla="*/ 141 h 194"/>
                <a:gd name="T76" fmla="*/ 81 w 240"/>
                <a:gd name="T77" fmla="*/ 162 h 194"/>
                <a:gd name="T78" fmla="*/ 83 w 240"/>
                <a:gd name="T79" fmla="*/ 162 h 194"/>
                <a:gd name="T80" fmla="*/ 97 w 240"/>
                <a:gd name="T81" fmla="*/ 146 h 194"/>
                <a:gd name="T82" fmla="*/ 142 w 240"/>
                <a:gd name="T83" fmla="*/ 115 h 194"/>
                <a:gd name="T84" fmla="*/ 157 w 240"/>
                <a:gd name="T85" fmla="*/ 133 h 194"/>
                <a:gd name="T86" fmla="*/ 150 w 240"/>
                <a:gd name="T87" fmla="*/ 144 h 194"/>
                <a:gd name="T88" fmla="*/ 159 w 240"/>
                <a:gd name="T89" fmla="*/ 157 h 194"/>
                <a:gd name="T90" fmla="*/ 149 w 240"/>
                <a:gd name="T91" fmla="*/ 164 h 194"/>
                <a:gd name="T92" fmla="*/ 168 w 240"/>
                <a:gd name="T93" fmla="*/ 180 h 194"/>
                <a:gd name="T94" fmla="*/ 177 w 240"/>
                <a:gd name="T95" fmla="*/ 189 h 194"/>
                <a:gd name="T96" fmla="*/ 187 w 240"/>
                <a:gd name="T97" fmla="*/ 191 h 194"/>
                <a:gd name="T98" fmla="*/ 188 w 240"/>
                <a:gd name="T99" fmla="*/ 194 h 194"/>
                <a:gd name="T100" fmla="*/ 191 w 240"/>
                <a:gd name="T101" fmla="*/ 174 h 194"/>
                <a:gd name="T102" fmla="*/ 179 w 240"/>
                <a:gd name="T103" fmla="*/ 165 h 194"/>
                <a:gd name="T104" fmla="*/ 190 w 240"/>
                <a:gd name="T105" fmla="*/ 161 h 194"/>
                <a:gd name="T106" fmla="*/ 190 w 240"/>
                <a:gd name="T107" fmla="*/ 142 h 194"/>
                <a:gd name="T108" fmla="*/ 208 w 240"/>
                <a:gd name="T109" fmla="*/ 147 h 194"/>
                <a:gd name="T110" fmla="*/ 198 w 240"/>
                <a:gd name="T111" fmla="*/ 129 h 194"/>
                <a:gd name="T112" fmla="*/ 201 w 240"/>
                <a:gd name="T113" fmla="*/ 116 h 194"/>
                <a:gd name="T114" fmla="*/ 200 w 240"/>
                <a:gd name="T115" fmla="*/ 93 h 194"/>
                <a:gd name="T116" fmla="*/ 210 w 240"/>
                <a:gd name="T117" fmla="*/ 95 h 194"/>
                <a:gd name="T118" fmla="*/ 218 w 240"/>
                <a:gd name="T119" fmla="*/ 86 h 194"/>
                <a:gd name="T120" fmla="*/ 240 w 240"/>
                <a:gd name="T121" fmla="*/ 88 h 194"/>
                <a:gd name="T122" fmla="*/ 235 w 240"/>
                <a:gd name="T123" fmla="*/ 7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0" h="194">
                  <a:moveTo>
                    <a:pt x="42" y="125"/>
                  </a:moveTo>
                  <a:cubicBezTo>
                    <a:pt x="33" y="124"/>
                    <a:pt x="31" y="127"/>
                    <a:pt x="31" y="127"/>
                  </a:cubicBezTo>
                  <a:cubicBezTo>
                    <a:pt x="31" y="127"/>
                    <a:pt x="21" y="126"/>
                    <a:pt x="14" y="116"/>
                  </a:cubicBezTo>
                  <a:cubicBezTo>
                    <a:pt x="13" y="116"/>
                    <a:pt x="6" y="118"/>
                    <a:pt x="4" y="119"/>
                  </a:cubicBezTo>
                  <a:cubicBezTo>
                    <a:pt x="6" y="125"/>
                    <a:pt x="7" y="135"/>
                    <a:pt x="14" y="141"/>
                  </a:cubicBezTo>
                  <a:cubicBezTo>
                    <a:pt x="24" y="149"/>
                    <a:pt x="41" y="163"/>
                    <a:pt x="56" y="163"/>
                  </a:cubicBezTo>
                  <a:cubicBezTo>
                    <a:pt x="57" y="163"/>
                    <a:pt x="58" y="163"/>
                    <a:pt x="59" y="163"/>
                  </a:cubicBezTo>
                  <a:cubicBezTo>
                    <a:pt x="57" y="156"/>
                    <a:pt x="52" y="144"/>
                    <a:pt x="50" y="141"/>
                  </a:cubicBezTo>
                  <a:cubicBezTo>
                    <a:pt x="47" y="137"/>
                    <a:pt x="51" y="126"/>
                    <a:pt x="42" y="125"/>
                  </a:cubicBezTo>
                  <a:close/>
                  <a:moveTo>
                    <a:pt x="235" y="75"/>
                  </a:moveTo>
                  <a:cubicBezTo>
                    <a:pt x="231" y="67"/>
                    <a:pt x="215" y="74"/>
                    <a:pt x="205" y="74"/>
                  </a:cubicBezTo>
                  <a:cubicBezTo>
                    <a:pt x="195" y="74"/>
                    <a:pt x="193" y="56"/>
                    <a:pt x="193" y="56"/>
                  </a:cubicBezTo>
                  <a:cubicBezTo>
                    <a:pt x="176" y="38"/>
                    <a:pt x="176" y="38"/>
                    <a:pt x="176" y="38"/>
                  </a:cubicBezTo>
                  <a:cubicBezTo>
                    <a:pt x="177" y="29"/>
                    <a:pt x="177" y="29"/>
                    <a:pt x="177" y="29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2"/>
                    <a:pt x="144" y="13"/>
                    <a:pt x="143" y="20"/>
                  </a:cubicBezTo>
                  <a:cubicBezTo>
                    <a:pt x="142" y="27"/>
                    <a:pt x="126" y="24"/>
                    <a:pt x="126" y="24"/>
                  </a:cubicBezTo>
                  <a:cubicBezTo>
                    <a:pt x="126" y="24"/>
                    <a:pt x="132" y="36"/>
                    <a:pt x="116" y="38"/>
                  </a:cubicBezTo>
                  <a:cubicBezTo>
                    <a:pt x="100" y="40"/>
                    <a:pt x="91" y="18"/>
                    <a:pt x="78" y="9"/>
                  </a:cubicBezTo>
                  <a:cubicBezTo>
                    <a:pt x="65" y="0"/>
                    <a:pt x="49" y="2"/>
                    <a:pt x="43" y="7"/>
                  </a:cubicBezTo>
                  <a:cubicBezTo>
                    <a:pt x="37" y="12"/>
                    <a:pt x="52" y="23"/>
                    <a:pt x="52" y="23"/>
                  </a:cubicBezTo>
                  <a:cubicBezTo>
                    <a:pt x="52" y="23"/>
                    <a:pt x="73" y="34"/>
                    <a:pt x="71" y="44"/>
                  </a:cubicBezTo>
                  <a:cubicBezTo>
                    <a:pt x="69" y="54"/>
                    <a:pt x="57" y="37"/>
                    <a:pt x="54" y="37"/>
                  </a:cubicBezTo>
                  <a:cubicBezTo>
                    <a:pt x="51" y="37"/>
                    <a:pt x="40" y="40"/>
                    <a:pt x="40" y="4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8" y="23"/>
                    <a:pt x="15" y="22"/>
                  </a:cubicBezTo>
                  <a:cubicBezTo>
                    <a:pt x="5" y="21"/>
                    <a:pt x="1" y="29"/>
                    <a:pt x="0" y="33"/>
                  </a:cubicBezTo>
                  <a:cubicBezTo>
                    <a:pt x="3" y="35"/>
                    <a:pt x="7" y="37"/>
                    <a:pt x="7" y="37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25" y="47"/>
                    <a:pt x="25" y="54"/>
                  </a:cubicBezTo>
                  <a:cubicBezTo>
                    <a:pt x="25" y="61"/>
                    <a:pt x="19" y="69"/>
                    <a:pt x="19" y="69"/>
                  </a:cubicBezTo>
                  <a:cubicBezTo>
                    <a:pt x="19" y="69"/>
                    <a:pt x="50" y="82"/>
                    <a:pt x="49" y="91"/>
                  </a:cubicBezTo>
                  <a:cubicBezTo>
                    <a:pt x="48" y="100"/>
                    <a:pt x="28" y="100"/>
                    <a:pt x="28" y="100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56" y="122"/>
                    <a:pt x="56" y="122"/>
                    <a:pt x="56" y="122"/>
                  </a:cubicBezTo>
                  <a:cubicBezTo>
                    <a:pt x="76" y="124"/>
                    <a:pt x="76" y="124"/>
                    <a:pt x="76" y="124"/>
                  </a:cubicBezTo>
                  <a:cubicBezTo>
                    <a:pt x="74" y="134"/>
                    <a:pt x="74" y="134"/>
                    <a:pt x="74" y="134"/>
                  </a:cubicBezTo>
                  <a:cubicBezTo>
                    <a:pt x="78" y="141"/>
                    <a:pt x="78" y="141"/>
                    <a:pt x="78" y="141"/>
                  </a:cubicBezTo>
                  <a:cubicBezTo>
                    <a:pt x="78" y="141"/>
                    <a:pt x="80" y="154"/>
                    <a:pt x="81" y="162"/>
                  </a:cubicBezTo>
                  <a:cubicBezTo>
                    <a:pt x="82" y="162"/>
                    <a:pt x="82" y="162"/>
                    <a:pt x="83" y="162"/>
                  </a:cubicBezTo>
                  <a:cubicBezTo>
                    <a:pt x="86" y="161"/>
                    <a:pt x="94" y="150"/>
                    <a:pt x="97" y="146"/>
                  </a:cubicBezTo>
                  <a:cubicBezTo>
                    <a:pt x="100" y="142"/>
                    <a:pt x="136" y="115"/>
                    <a:pt x="142" y="115"/>
                  </a:cubicBezTo>
                  <a:cubicBezTo>
                    <a:pt x="148" y="115"/>
                    <a:pt x="155" y="127"/>
                    <a:pt x="157" y="133"/>
                  </a:cubicBezTo>
                  <a:cubicBezTo>
                    <a:pt x="159" y="139"/>
                    <a:pt x="150" y="139"/>
                    <a:pt x="150" y="144"/>
                  </a:cubicBezTo>
                  <a:cubicBezTo>
                    <a:pt x="150" y="149"/>
                    <a:pt x="159" y="151"/>
                    <a:pt x="159" y="157"/>
                  </a:cubicBezTo>
                  <a:cubicBezTo>
                    <a:pt x="159" y="163"/>
                    <a:pt x="149" y="159"/>
                    <a:pt x="149" y="164"/>
                  </a:cubicBezTo>
                  <a:cubicBezTo>
                    <a:pt x="149" y="169"/>
                    <a:pt x="162" y="177"/>
                    <a:pt x="168" y="180"/>
                  </a:cubicBezTo>
                  <a:cubicBezTo>
                    <a:pt x="174" y="183"/>
                    <a:pt x="177" y="189"/>
                    <a:pt x="177" y="189"/>
                  </a:cubicBezTo>
                  <a:cubicBezTo>
                    <a:pt x="187" y="191"/>
                    <a:pt x="187" y="191"/>
                    <a:pt x="187" y="191"/>
                  </a:cubicBezTo>
                  <a:cubicBezTo>
                    <a:pt x="187" y="191"/>
                    <a:pt x="187" y="192"/>
                    <a:pt x="188" y="194"/>
                  </a:cubicBezTo>
                  <a:cubicBezTo>
                    <a:pt x="190" y="187"/>
                    <a:pt x="192" y="178"/>
                    <a:pt x="191" y="174"/>
                  </a:cubicBezTo>
                  <a:cubicBezTo>
                    <a:pt x="189" y="168"/>
                    <a:pt x="179" y="165"/>
                    <a:pt x="179" y="165"/>
                  </a:cubicBezTo>
                  <a:cubicBezTo>
                    <a:pt x="190" y="161"/>
                    <a:pt x="190" y="161"/>
                    <a:pt x="190" y="161"/>
                  </a:cubicBezTo>
                  <a:cubicBezTo>
                    <a:pt x="190" y="142"/>
                    <a:pt x="190" y="142"/>
                    <a:pt x="190" y="142"/>
                  </a:cubicBezTo>
                  <a:cubicBezTo>
                    <a:pt x="190" y="142"/>
                    <a:pt x="202" y="155"/>
                    <a:pt x="208" y="147"/>
                  </a:cubicBezTo>
                  <a:cubicBezTo>
                    <a:pt x="214" y="139"/>
                    <a:pt x="198" y="129"/>
                    <a:pt x="198" y="129"/>
                  </a:cubicBezTo>
                  <a:cubicBezTo>
                    <a:pt x="201" y="116"/>
                    <a:pt x="201" y="116"/>
                    <a:pt x="201" y="116"/>
                  </a:cubicBezTo>
                  <a:cubicBezTo>
                    <a:pt x="200" y="93"/>
                    <a:pt x="200" y="93"/>
                    <a:pt x="200" y="93"/>
                  </a:cubicBezTo>
                  <a:cubicBezTo>
                    <a:pt x="210" y="95"/>
                    <a:pt x="210" y="95"/>
                    <a:pt x="210" y="95"/>
                  </a:cubicBezTo>
                  <a:cubicBezTo>
                    <a:pt x="218" y="86"/>
                    <a:pt x="218" y="86"/>
                    <a:pt x="218" y="86"/>
                  </a:cubicBezTo>
                  <a:cubicBezTo>
                    <a:pt x="240" y="88"/>
                    <a:pt x="240" y="88"/>
                    <a:pt x="240" y="88"/>
                  </a:cubicBezTo>
                  <a:cubicBezTo>
                    <a:pt x="240" y="88"/>
                    <a:pt x="239" y="83"/>
                    <a:pt x="235" y="7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269">
              <a:extLst>
                <a:ext uri="{FF2B5EF4-FFF2-40B4-BE49-F238E27FC236}">
                  <a16:creationId xmlns:a16="http://schemas.microsoft.com/office/drawing/2014/main" id="{EEBC5E24-C199-0427-93EC-09EEC16E66A6}"/>
                </a:ext>
              </a:extLst>
            </p:cNvPr>
            <p:cNvSpPr>
              <a:spLocks/>
            </p:cNvSpPr>
            <p:nvPr/>
          </p:nvSpPr>
          <p:spPr bwMode="gray">
            <a:xfrm>
              <a:off x="-4146" y="-16592"/>
              <a:ext cx="1772" cy="981"/>
            </a:xfrm>
            <a:custGeom>
              <a:avLst/>
              <a:gdLst>
                <a:gd name="T0" fmla="*/ 51 w 750"/>
                <a:gd name="T1" fmla="*/ 223 h 415"/>
                <a:gd name="T2" fmla="*/ 79 w 750"/>
                <a:gd name="T3" fmla="*/ 232 h 415"/>
                <a:gd name="T4" fmla="*/ 132 w 750"/>
                <a:gd name="T5" fmla="*/ 230 h 415"/>
                <a:gd name="T6" fmla="*/ 166 w 750"/>
                <a:gd name="T7" fmla="*/ 227 h 415"/>
                <a:gd name="T8" fmla="*/ 209 w 750"/>
                <a:gd name="T9" fmla="*/ 209 h 415"/>
                <a:gd name="T10" fmla="*/ 243 w 750"/>
                <a:gd name="T11" fmla="*/ 208 h 415"/>
                <a:gd name="T12" fmla="*/ 274 w 750"/>
                <a:gd name="T13" fmla="*/ 225 h 415"/>
                <a:gd name="T14" fmla="*/ 296 w 750"/>
                <a:gd name="T15" fmla="*/ 259 h 415"/>
                <a:gd name="T16" fmla="*/ 311 w 750"/>
                <a:gd name="T17" fmla="*/ 278 h 415"/>
                <a:gd name="T18" fmla="*/ 317 w 750"/>
                <a:gd name="T19" fmla="*/ 310 h 415"/>
                <a:gd name="T20" fmla="*/ 304 w 750"/>
                <a:gd name="T21" fmla="*/ 321 h 415"/>
                <a:gd name="T22" fmla="*/ 283 w 750"/>
                <a:gd name="T23" fmla="*/ 356 h 415"/>
                <a:gd name="T24" fmla="*/ 281 w 750"/>
                <a:gd name="T25" fmla="*/ 370 h 415"/>
                <a:gd name="T26" fmla="*/ 323 w 750"/>
                <a:gd name="T27" fmla="*/ 353 h 415"/>
                <a:gd name="T28" fmla="*/ 391 w 750"/>
                <a:gd name="T29" fmla="*/ 301 h 415"/>
                <a:gd name="T30" fmla="*/ 436 w 750"/>
                <a:gd name="T31" fmla="*/ 299 h 415"/>
                <a:gd name="T32" fmla="*/ 420 w 750"/>
                <a:gd name="T33" fmla="*/ 310 h 415"/>
                <a:gd name="T34" fmla="*/ 488 w 750"/>
                <a:gd name="T35" fmla="*/ 324 h 415"/>
                <a:gd name="T36" fmla="*/ 499 w 750"/>
                <a:gd name="T37" fmla="*/ 381 h 415"/>
                <a:gd name="T38" fmla="*/ 542 w 750"/>
                <a:gd name="T39" fmla="*/ 396 h 415"/>
                <a:gd name="T40" fmla="*/ 591 w 750"/>
                <a:gd name="T41" fmla="*/ 385 h 415"/>
                <a:gd name="T42" fmla="*/ 622 w 750"/>
                <a:gd name="T43" fmla="*/ 361 h 415"/>
                <a:gd name="T44" fmla="*/ 553 w 750"/>
                <a:gd name="T45" fmla="*/ 352 h 415"/>
                <a:gd name="T46" fmla="*/ 503 w 750"/>
                <a:gd name="T47" fmla="*/ 328 h 415"/>
                <a:gd name="T48" fmla="*/ 537 w 750"/>
                <a:gd name="T49" fmla="*/ 322 h 415"/>
                <a:gd name="T50" fmla="*/ 588 w 750"/>
                <a:gd name="T51" fmla="*/ 297 h 415"/>
                <a:gd name="T52" fmla="*/ 679 w 750"/>
                <a:gd name="T53" fmla="*/ 273 h 415"/>
                <a:gd name="T54" fmla="*/ 703 w 750"/>
                <a:gd name="T55" fmla="*/ 231 h 415"/>
                <a:gd name="T56" fmla="*/ 727 w 750"/>
                <a:gd name="T57" fmla="*/ 189 h 415"/>
                <a:gd name="T58" fmla="*/ 742 w 750"/>
                <a:gd name="T59" fmla="*/ 166 h 415"/>
                <a:gd name="T60" fmla="*/ 709 w 750"/>
                <a:gd name="T61" fmla="*/ 136 h 415"/>
                <a:gd name="T62" fmla="*/ 662 w 750"/>
                <a:gd name="T63" fmla="*/ 119 h 415"/>
                <a:gd name="T64" fmla="*/ 620 w 750"/>
                <a:gd name="T65" fmla="*/ 100 h 415"/>
                <a:gd name="T66" fmla="*/ 578 w 750"/>
                <a:gd name="T67" fmla="*/ 106 h 415"/>
                <a:gd name="T68" fmla="*/ 540 w 750"/>
                <a:gd name="T69" fmla="*/ 99 h 415"/>
                <a:gd name="T70" fmla="*/ 482 w 750"/>
                <a:gd name="T71" fmla="*/ 56 h 415"/>
                <a:gd name="T72" fmla="*/ 486 w 750"/>
                <a:gd name="T73" fmla="*/ 26 h 415"/>
                <a:gd name="T74" fmla="*/ 431 w 750"/>
                <a:gd name="T75" fmla="*/ 1 h 415"/>
                <a:gd name="T76" fmla="*/ 398 w 750"/>
                <a:gd name="T77" fmla="*/ 16 h 415"/>
                <a:gd name="T78" fmla="*/ 327 w 750"/>
                <a:gd name="T79" fmla="*/ 53 h 415"/>
                <a:gd name="T80" fmla="*/ 273 w 750"/>
                <a:gd name="T81" fmla="*/ 39 h 415"/>
                <a:gd name="T82" fmla="*/ 247 w 750"/>
                <a:gd name="T83" fmla="*/ 46 h 415"/>
                <a:gd name="T84" fmla="*/ 224 w 750"/>
                <a:gd name="T85" fmla="*/ 38 h 415"/>
                <a:gd name="T86" fmla="*/ 202 w 750"/>
                <a:gd name="T87" fmla="*/ 40 h 415"/>
                <a:gd name="T88" fmla="*/ 157 w 750"/>
                <a:gd name="T89" fmla="*/ 28 h 415"/>
                <a:gd name="T90" fmla="*/ 103 w 750"/>
                <a:gd name="T91" fmla="*/ 27 h 415"/>
                <a:gd name="T92" fmla="*/ 47 w 750"/>
                <a:gd name="T93" fmla="*/ 40 h 415"/>
                <a:gd name="T94" fmla="*/ 75 w 750"/>
                <a:gd name="T95" fmla="*/ 76 h 415"/>
                <a:gd name="T96" fmla="*/ 58 w 750"/>
                <a:gd name="T97" fmla="*/ 103 h 415"/>
                <a:gd name="T98" fmla="*/ 30 w 750"/>
                <a:gd name="T99" fmla="*/ 174 h 415"/>
                <a:gd name="T100" fmla="*/ 1 w 750"/>
                <a:gd name="T101" fmla="*/ 194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50" h="415">
                  <a:moveTo>
                    <a:pt x="16" y="215"/>
                  </a:moveTo>
                  <a:cubicBezTo>
                    <a:pt x="22" y="216"/>
                    <a:pt x="38" y="223"/>
                    <a:pt x="38" y="223"/>
                  </a:cubicBezTo>
                  <a:cubicBezTo>
                    <a:pt x="38" y="223"/>
                    <a:pt x="47" y="223"/>
                    <a:pt x="51" y="223"/>
                  </a:cubicBezTo>
                  <a:cubicBezTo>
                    <a:pt x="55" y="223"/>
                    <a:pt x="57" y="230"/>
                    <a:pt x="57" y="230"/>
                  </a:cubicBezTo>
                  <a:cubicBezTo>
                    <a:pt x="73" y="227"/>
                    <a:pt x="73" y="227"/>
                    <a:pt x="73" y="227"/>
                  </a:cubicBezTo>
                  <a:cubicBezTo>
                    <a:pt x="79" y="232"/>
                    <a:pt x="79" y="232"/>
                    <a:pt x="79" y="232"/>
                  </a:cubicBezTo>
                  <a:cubicBezTo>
                    <a:pt x="79" y="232"/>
                    <a:pt x="94" y="224"/>
                    <a:pt x="100" y="225"/>
                  </a:cubicBezTo>
                  <a:cubicBezTo>
                    <a:pt x="106" y="226"/>
                    <a:pt x="112" y="245"/>
                    <a:pt x="122" y="242"/>
                  </a:cubicBezTo>
                  <a:cubicBezTo>
                    <a:pt x="132" y="239"/>
                    <a:pt x="132" y="230"/>
                    <a:pt x="132" y="230"/>
                  </a:cubicBezTo>
                  <a:cubicBezTo>
                    <a:pt x="149" y="233"/>
                    <a:pt x="149" y="233"/>
                    <a:pt x="149" y="233"/>
                  </a:cubicBezTo>
                  <a:cubicBezTo>
                    <a:pt x="153" y="226"/>
                    <a:pt x="153" y="226"/>
                    <a:pt x="153" y="226"/>
                  </a:cubicBezTo>
                  <a:cubicBezTo>
                    <a:pt x="153" y="226"/>
                    <a:pt x="156" y="227"/>
                    <a:pt x="166" y="227"/>
                  </a:cubicBezTo>
                  <a:cubicBezTo>
                    <a:pt x="176" y="227"/>
                    <a:pt x="174" y="209"/>
                    <a:pt x="191" y="212"/>
                  </a:cubicBezTo>
                  <a:cubicBezTo>
                    <a:pt x="193" y="204"/>
                    <a:pt x="193" y="204"/>
                    <a:pt x="193" y="204"/>
                  </a:cubicBezTo>
                  <a:cubicBezTo>
                    <a:pt x="193" y="204"/>
                    <a:pt x="203" y="210"/>
                    <a:pt x="209" y="209"/>
                  </a:cubicBezTo>
                  <a:cubicBezTo>
                    <a:pt x="215" y="208"/>
                    <a:pt x="215" y="203"/>
                    <a:pt x="224" y="202"/>
                  </a:cubicBezTo>
                  <a:cubicBezTo>
                    <a:pt x="233" y="201"/>
                    <a:pt x="239" y="210"/>
                    <a:pt x="239" y="210"/>
                  </a:cubicBezTo>
                  <a:cubicBezTo>
                    <a:pt x="243" y="208"/>
                    <a:pt x="243" y="208"/>
                    <a:pt x="243" y="208"/>
                  </a:cubicBezTo>
                  <a:cubicBezTo>
                    <a:pt x="243" y="208"/>
                    <a:pt x="239" y="213"/>
                    <a:pt x="248" y="213"/>
                  </a:cubicBezTo>
                  <a:cubicBezTo>
                    <a:pt x="257" y="213"/>
                    <a:pt x="264" y="210"/>
                    <a:pt x="269" y="214"/>
                  </a:cubicBezTo>
                  <a:cubicBezTo>
                    <a:pt x="274" y="218"/>
                    <a:pt x="274" y="225"/>
                    <a:pt x="274" y="225"/>
                  </a:cubicBezTo>
                  <a:cubicBezTo>
                    <a:pt x="274" y="225"/>
                    <a:pt x="283" y="219"/>
                    <a:pt x="294" y="227"/>
                  </a:cubicBezTo>
                  <a:cubicBezTo>
                    <a:pt x="305" y="235"/>
                    <a:pt x="296" y="244"/>
                    <a:pt x="296" y="244"/>
                  </a:cubicBezTo>
                  <a:cubicBezTo>
                    <a:pt x="296" y="244"/>
                    <a:pt x="293" y="259"/>
                    <a:pt x="296" y="259"/>
                  </a:cubicBezTo>
                  <a:cubicBezTo>
                    <a:pt x="299" y="259"/>
                    <a:pt x="308" y="257"/>
                    <a:pt x="308" y="257"/>
                  </a:cubicBezTo>
                  <a:cubicBezTo>
                    <a:pt x="313" y="262"/>
                    <a:pt x="313" y="262"/>
                    <a:pt x="313" y="262"/>
                  </a:cubicBezTo>
                  <a:cubicBezTo>
                    <a:pt x="313" y="262"/>
                    <a:pt x="304" y="276"/>
                    <a:pt x="311" y="278"/>
                  </a:cubicBezTo>
                  <a:cubicBezTo>
                    <a:pt x="318" y="280"/>
                    <a:pt x="331" y="277"/>
                    <a:pt x="332" y="284"/>
                  </a:cubicBezTo>
                  <a:cubicBezTo>
                    <a:pt x="333" y="291"/>
                    <a:pt x="334" y="305"/>
                    <a:pt x="334" y="305"/>
                  </a:cubicBezTo>
                  <a:cubicBezTo>
                    <a:pt x="334" y="305"/>
                    <a:pt x="324" y="309"/>
                    <a:pt x="317" y="310"/>
                  </a:cubicBezTo>
                  <a:cubicBezTo>
                    <a:pt x="310" y="311"/>
                    <a:pt x="304" y="303"/>
                    <a:pt x="304" y="303"/>
                  </a:cubicBezTo>
                  <a:cubicBezTo>
                    <a:pt x="304" y="303"/>
                    <a:pt x="287" y="303"/>
                    <a:pt x="288" y="307"/>
                  </a:cubicBezTo>
                  <a:cubicBezTo>
                    <a:pt x="289" y="311"/>
                    <a:pt x="304" y="321"/>
                    <a:pt x="304" y="321"/>
                  </a:cubicBezTo>
                  <a:cubicBezTo>
                    <a:pt x="295" y="330"/>
                    <a:pt x="295" y="330"/>
                    <a:pt x="295" y="330"/>
                  </a:cubicBezTo>
                  <a:cubicBezTo>
                    <a:pt x="295" y="330"/>
                    <a:pt x="279" y="338"/>
                    <a:pt x="279" y="342"/>
                  </a:cubicBezTo>
                  <a:cubicBezTo>
                    <a:pt x="279" y="346"/>
                    <a:pt x="283" y="356"/>
                    <a:pt x="283" y="356"/>
                  </a:cubicBezTo>
                  <a:cubicBezTo>
                    <a:pt x="266" y="359"/>
                    <a:pt x="266" y="359"/>
                    <a:pt x="266" y="359"/>
                  </a:cubicBezTo>
                  <a:cubicBezTo>
                    <a:pt x="263" y="353"/>
                    <a:pt x="264" y="348"/>
                    <a:pt x="264" y="345"/>
                  </a:cubicBezTo>
                  <a:cubicBezTo>
                    <a:pt x="263" y="350"/>
                    <a:pt x="263" y="367"/>
                    <a:pt x="281" y="370"/>
                  </a:cubicBezTo>
                  <a:cubicBezTo>
                    <a:pt x="302" y="373"/>
                    <a:pt x="298" y="359"/>
                    <a:pt x="310" y="360"/>
                  </a:cubicBezTo>
                  <a:cubicBezTo>
                    <a:pt x="319" y="361"/>
                    <a:pt x="323" y="357"/>
                    <a:pt x="324" y="355"/>
                  </a:cubicBezTo>
                  <a:cubicBezTo>
                    <a:pt x="324" y="353"/>
                    <a:pt x="323" y="353"/>
                    <a:pt x="323" y="353"/>
                  </a:cubicBezTo>
                  <a:cubicBezTo>
                    <a:pt x="323" y="353"/>
                    <a:pt x="340" y="346"/>
                    <a:pt x="348" y="340"/>
                  </a:cubicBezTo>
                  <a:cubicBezTo>
                    <a:pt x="357" y="334"/>
                    <a:pt x="370" y="310"/>
                    <a:pt x="370" y="310"/>
                  </a:cubicBezTo>
                  <a:cubicBezTo>
                    <a:pt x="391" y="301"/>
                    <a:pt x="391" y="301"/>
                    <a:pt x="391" y="301"/>
                  </a:cubicBezTo>
                  <a:cubicBezTo>
                    <a:pt x="400" y="290"/>
                    <a:pt x="400" y="290"/>
                    <a:pt x="400" y="290"/>
                  </a:cubicBezTo>
                  <a:cubicBezTo>
                    <a:pt x="411" y="295"/>
                    <a:pt x="411" y="295"/>
                    <a:pt x="411" y="295"/>
                  </a:cubicBezTo>
                  <a:cubicBezTo>
                    <a:pt x="411" y="295"/>
                    <a:pt x="433" y="299"/>
                    <a:pt x="436" y="299"/>
                  </a:cubicBezTo>
                  <a:cubicBezTo>
                    <a:pt x="439" y="299"/>
                    <a:pt x="447" y="293"/>
                    <a:pt x="447" y="293"/>
                  </a:cubicBezTo>
                  <a:cubicBezTo>
                    <a:pt x="435" y="309"/>
                    <a:pt x="435" y="309"/>
                    <a:pt x="435" y="309"/>
                  </a:cubicBezTo>
                  <a:cubicBezTo>
                    <a:pt x="435" y="309"/>
                    <a:pt x="417" y="303"/>
                    <a:pt x="420" y="310"/>
                  </a:cubicBezTo>
                  <a:cubicBezTo>
                    <a:pt x="423" y="317"/>
                    <a:pt x="443" y="322"/>
                    <a:pt x="443" y="322"/>
                  </a:cubicBezTo>
                  <a:cubicBezTo>
                    <a:pt x="475" y="323"/>
                    <a:pt x="475" y="323"/>
                    <a:pt x="475" y="323"/>
                  </a:cubicBezTo>
                  <a:cubicBezTo>
                    <a:pt x="488" y="324"/>
                    <a:pt x="488" y="324"/>
                    <a:pt x="488" y="324"/>
                  </a:cubicBezTo>
                  <a:cubicBezTo>
                    <a:pt x="495" y="335"/>
                    <a:pt x="495" y="335"/>
                    <a:pt x="495" y="335"/>
                  </a:cubicBezTo>
                  <a:cubicBezTo>
                    <a:pt x="495" y="335"/>
                    <a:pt x="449" y="361"/>
                    <a:pt x="452" y="364"/>
                  </a:cubicBezTo>
                  <a:cubicBezTo>
                    <a:pt x="455" y="367"/>
                    <a:pt x="497" y="368"/>
                    <a:pt x="499" y="381"/>
                  </a:cubicBezTo>
                  <a:cubicBezTo>
                    <a:pt x="501" y="395"/>
                    <a:pt x="489" y="409"/>
                    <a:pt x="494" y="411"/>
                  </a:cubicBezTo>
                  <a:cubicBezTo>
                    <a:pt x="500" y="413"/>
                    <a:pt x="521" y="415"/>
                    <a:pt x="521" y="415"/>
                  </a:cubicBezTo>
                  <a:cubicBezTo>
                    <a:pt x="521" y="415"/>
                    <a:pt x="535" y="396"/>
                    <a:pt x="542" y="396"/>
                  </a:cubicBezTo>
                  <a:cubicBezTo>
                    <a:pt x="550" y="396"/>
                    <a:pt x="553" y="402"/>
                    <a:pt x="563" y="396"/>
                  </a:cubicBezTo>
                  <a:cubicBezTo>
                    <a:pt x="573" y="390"/>
                    <a:pt x="571" y="378"/>
                    <a:pt x="578" y="377"/>
                  </a:cubicBezTo>
                  <a:cubicBezTo>
                    <a:pt x="585" y="376"/>
                    <a:pt x="591" y="385"/>
                    <a:pt x="591" y="385"/>
                  </a:cubicBezTo>
                  <a:cubicBezTo>
                    <a:pt x="614" y="381"/>
                    <a:pt x="614" y="381"/>
                    <a:pt x="614" y="381"/>
                  </a:cubicBezTo>
                  <a:cubicBezTo>
                    <a:pt x="616" y="370"/>
                    <a:pt x="616" y="370"/>
                    <a:pt x="616" y="370"/>
                  </a:cubicBezTo>
                  <a:cubicBezTo>
                    <a:pt x="622" y="361"/>
                    <a:pt x="622" y="361"/>
                    <a:pt x="622" y="361"/>
                  </a:cubicBezTo>
                  <a:cubicBezTo>
                    <a:pt x="622" y="361"/>
                    <a:pt x="608" y="355"/>
                    <a:pt x="602" y="361"/>
                  </a:cubicBezTo>
                  <a:cubicBezTo>
                    <a:pt x="596" y="367"/>
                    <a:pt x="572" y="368"/>
                    <a:pt x="572" y="368"/>
                  </a:cubicBezTo>
                  <a:cubicBezTo>
                    <a:pt x="572" y="368"/>
                    <a:pt x="554" y="362"/>
                    <a:pt x="553" y="352"/>
                  </a:cubicBezTo>
                  <a:cubicBezTo>
                    <a:pt x="552" y="342"/>
                    <a:pt x="540" y="343"/>
                    <a:pt x="540" y="343"/>
                  </a:cubicBezTo>
                  <a:cubicBezTo>
                    <a:pt x="528" y="330"/>
                    <a:pt x="528" y="330"/>
                    <a:pt x="528" y="330"/>
                  </a:cubicBezTo>
                  <a:cubicBezTo>
                    <a:pt x="503" y="328"/>
                    <a:pt x="503" y="328"/>
                    <a:pt x="503" y="328"/>
                  </a:cubicBezTo>
                  <a:cubicBezTo>
                    <a:pt x="496" y="320"/>
                    <a:pt x="496" y="320"/>
                    <a:pt x="496" y="320"/>
                  </a:cubicBezTo>
                  <a:cubicBezTo>
                    <a:pt x="512" y="319"/>
                    <a:pt x="512" y="319"/>
                    <a:pt x="512" y="319"/>
                  </a:cubicBezTo>
                  <a:cubicBezTo>
                    <a:pt x="512" y="319"/>
                    <a:pt x="531" y="323"/>
                    <a:pt x="537" y="322"/>
                  </a:cubicBezTo>
                  <a:cubicBezTo>
                    <a:pt x="544" y="320"/>
                    <a:pt x="559" y="308"/>
                    <a:pt x="559" y="308"/>
                  </a:cubicBezTo>
                  <a:cubicBezTo>
                    <a:pt x="565" y="313"/>
                    <a:pt x="565" y="313"/>
                    <a:pt x="565" y="313"/>
                  </a:cubicBezTo>
                  <a:cubicBezTo>
                    <a:pt x="565" y="313"/>
                    <a:pt x="579" y="300"/>
                    <a:pt x="588" y="297"/>
                  </a:cubicBezTo>
                  <a:cubicBezTo>
                    <a:pt x="598" y="294"/>
                    <a:pt x="624" y="293"/>
                    <a:pt x="624" y="293"/>
                  </a:cubicBezTo>
                  <a:cubicBezTo>
                    <a:pt x="652" y="271"/>
                    <a:pt x="652" y="271"/>
                    <a:pt x="652" y="271"/>
                  </a:cubicBezTo>
                  <a:cubicBezTo>
                    <a:pt x="652" y="271"/>
                    <a:pt x="667" y="278"/>
                    <a:pt x="679" y="273"/>
                  </a:cubicBezTo>
                  <a:cubicBezTo>
                    <a:pt x="676" y="248"/>
                    <a:pt x="676" y="248"/>
                    <a:pt x="676" y="248"/>
                  </a:cubicBezTo>
                  <a:cubicBezTo>
                    <a:pt x="676" y="248"/>
                    <a:pt x="689" y="248"/>
                    <a:pt x="692" y="244"/>
                  </a:cubicBezTo>
                  <a:cubicBezTo>
                    <a:pt x="695" y="240"/>
                    <a:pt x="703" y="231"/>
                    <a:pt x="703" y="231"/>
                  </a:cubicBezTo>
                  <a:cubicBezTo>
                    <a:pt x="703" y="231"/>
                    <a:pt x="726" y="233"/>
                    <a:pt x="738" y="229"/>
                  </a:cubicBezTo>
                  <a:cubicBezTo>
                    <a:pt x="750" y="225"/>
                    <a:pt x="742" y="212"/>
                    <a:pt x="741" y="206"/>
                  </a:cubicBezTo>
                  <a:cubicBezTo>
                    <a:pt x="740" y="200"/>
                    <a:pt x="728" y="192"/>
                    <a:pt x="727" y="189"/>
                  </a:cubicBezTo>
                  <a:cubicBezTo>
                    <a:pt x="726" y="186"/>
                    <a:pt x="743" y="188"/>
                    <a:pt x="744" y="182"/>
                  </a:cubicBezTo>
                  <a:cubicBezTo>
                    <a:pt x="745" y="176"/>
                    <a:pt x="728" y="173"/>
                    <a:pt x="728" y="173"/>
                  </a:cubicBezTo>
                  <a:cubicBezTo>
                    <a:pt x="742" y="166"/>
                    <a:pt x="742" y="166"/>
                    <a:pt x="742" y="166"/>
                  </a:cubicBezTo>
                  <a:cubicBezTo>
                    <a:pt x="742" y="166"/>
                    <a:pt x="741" y="159"/>
                    <a:pt x="740" y="149"/>
                  </a:cubicBezTo>
                  <a:cubicBezTo>
                    <a:pt x="739" y="139"/>
                    <a:pt x="722" y="145"/>
                    <a:pt x="722" y="145"/>
                  </a:cubicBezTo>
                  <a:cubicBezTo>
                    <a:pt x="709" y="136"/>
                    <a:pt x="709" y="136"/>
                    <a:pt x="709" y="136"/>
                  </a:cubicBezTo>
                  <a:cubicBezTo>
                    <a:pt x="709" y="136"/>
                    <a:pt x="707" y="130"/>
                    <a:pt x="700" y="128"/>
                  </a:cubicBezTo>
                  <a:cubicBezTo>
                    <a:pt x="693" y="126"/>
                    <a:pt x="679" y="128"/>
                    <a:pt x="679" y="128"/>
                  </a:cubicBezTo>
                  <a:cubicBezTo>
                    <a:pt x="679" y="128"/>
                    <a:pt x="666" y="119"/>
                    <a:pt x="662" y="119"/>
                  </a:cubicBezTo>
                  <a:cubicBezTo>
                    <a:pt x="658" y="119"/>
                    <a:pt x="646" y="125"/>
                    <a:pt x="646" y="125"/>
                  </a:cubicBezTo>
                  <a:cubicBezTo>
                    <a:pt x="646" y="125"/>
                    <a:pt x="643" y="120"/>
                    <a:pt x="637" y="116"/>
                  </a:cubicBezTo>
                  <a:cubicBezTo>
                    <a:pt x="631" y="112"/>
                    <a:pt x="629" y="101"/>
                    <a:pt x="620" y="100"/>
                  </a:cubicBezTo>
                  <a:cubicBezTo>
                    <a:pt x="611" y="99"/>
                    <a:pt x="615" y="109"/>
                    <a:pt x="615" y="109"/>
                  </a:cubicBezTo>
                  <a:cubicBezTo>
                    <a:pt x="615" y="109"/>
                    <a:pt x="606" y="103"/>
                    <a:pt x="595" y="104"/>
                  </a:cubicBezTo>
                  <a:cubicBezTo>
                    <a:pt x="584" y="105"/>
                    <a:pt x="586" y="110"/>
                    <a:pt x="578" y="106"/>
                  </a:cubicBezTo>
                  <a:cubicBezTo>
                    <a:pt x="570" y="102"/>
                    <a:pt x="562" y="98"/>
                    <a:pt x="562" y="98"/>
                  </a:cubicBezTo>
                  <a:cubicBezTo>
                    <a:pt x="544" y="102"/>
                    <a:pt x="544" y="102"/>
                    <a:pt x="544" y="102"/>
                  </a:cubicBezTo>
                  <a:cubicBezTo>
                    <a:pt x="540" y="99"/>
                    <a:pt x="540" y="99"/>
                    <a:pt x="540" y="99"/>
                  </a:cubicBezTo>
                  <a:cubicBezTo>
                    <a:pt x="533" y="70"/>
                    <a:pt x="533" y="70"/>
                    <a:pt x="533" y="70"/>
                  </a:cubicBezTo>
                  <a:cubicBezTo>
                    <a:pt x="505" y="58"/>
                    <a:pt x="505" y="58"/>
                    <a:pt x="505" y="58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481" y="45"/>
                    <a:pt x="481" y="45"/>
                    <a:pt x="481" y="45"/>
                  </a:cubicBezTo>
                  <a:cubicBezTo>
                    <a:pt x="476" y="33"/>
                    <a:pt x="476" y="33"/>
                    <a:pt x="476" y="33"/>
                  </a:cubicBezTo>
                  <a:cubicBezTo>
                    <a:pt x="476" y="33"/>
                    <a:pt x="484" y="32"/>
                    <a:pt x="486" y="26"/>
                  </a:cubicBezTo>
                  <a:cubicBezTo>
                    <a:pt x="488" y="20"/>
                    <a:pt x="467" y="14"/>
                    <a:pt x="467" y="14"/>
                  </a:cubicBezTo>
                  <a:cubicBezTo>
                    <a:pt x="461" y="0"/>
                    <a:pt x="461" y="0"/>
                    <a:pt x="461" y="0"/>
                  </a:cubicBezTo>
                  <a:cubicBezTo>
                    <a:pt x="431" y="1"/>
                    <a:pt x="431" y="1"/>
                    <a:pt x="431" y="1"/>
                  </a:cubicBezTo>
                  <a:cubicBezTo>
                    <a:pt x="420" y="6"/>
                    <a:pt x="420" y="6"/>
                    <a:pt x="420" y="6"/>
                  </a:cubicBezTo>
                  <a:cubicBezTo>
                    <a:pt x="402" y="3"/>
                    <a:pt x="402" y="3"/>
                    <a:pt x="402" y="3"/>
                  </a:cubicBezTo>
                  <a:cubicBezTo>
                    <a:pt x="402" y="3"/>
                    <a:pt x="406" y="12"/>
                    <a:pt x="398" y="16"/>
                  </a:cubicBezTo>
                  <a:cubicBezTo>
                    <a:pt x="390" y="20"/>
                    <a:pt x="356" y="12"/>
                    <a:pt x="349" y="12"/>
                  </a:cubicBezTo>
                  <a:cubicBezTo>
                    <a:pt x="342" y="12"/>
                    <a:pt x="326" y="37"/>
                    <a:pt x="326" y="37"/>
                  </a:cubicBezTo>
                  <a:cubicBezTo>
                    <a:pt x="326" y="37"/>
                    <a:pt x="336" y="50"/>
                    <a:pt x="327" y="53"/>
                  </a:cubicBezTo>
                  <a:cubicBezTo>
                    <a:pt x="318" y="56"/>
                    <a:pt x="304" y="47"/>
                    <a:pt x="304" y="47"/>
                  </a:cubicBezTo>
                  <a:cubicBezTo>
                    <a:pt x="304" y="47"/>
                    <a:pt x="293" y="50"/>
                    <a:pt x="285" y="51"/>
                  </a:cubicBezTo>
                  <a:cubicBezTo>
                    <a:pt x="277" y="52"/>
                    <a:pt x="285" y="40"/>
                    <a:pt x="273" y="39"/>
                  </a:cubicBezTo>
                  <a:cubicBezTo>
                    <a:pt x="261" y="38"/>
                    <a:pt x="262" y="48"/>
                    <a:pt x="262" y="48"/>
                  </a:cubicBezTo>
                  <a:cubicBezTo>
                    <a:pt x="252" y="40"/>
                    <a:pt x="252" y="40"/>
                    <a:pt x="252" y="40"/>
                  </a:cubicBezTo>
                  <a:cubicBezTo>
                    <a:pt x="247" y="46"/>
                    <a:pt x="247" y="46"/>
                    <a:pt x="247" y="46"/>
                  </a:cubicBezTo>
                  <a:cubicBezTo>
                    <a:pt x="241" y="41"/>
                    <a:pt x="241" y="41"/>
                    <a:pt x="241" y="41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24" y="38"/>
                    <a:pt x="224" y="38"/>
                    <a:pt x="224" y="38"/>
                  </a:cubicBezTo>
                  <a:cubicBezTo>
                    <a:pt x="219" y="45"/>
                    <a:pt x="219" y="45"/>
                    <a:pt x="219" y="45"/>
                  </a:cubicBezTo>
                  <a:cubicBezTo>
                    <a:pt x="207" y="37"/>
                    <a:pt x="207" y="37"/>
                    <a:pt x="207" y="37"/>
                  </a:cubicBezTo>
                  <a:cubicBezTo>
                    <a:pt x="202" y="40"/>
                    <a:pt x="202" y="40"/>
                    <a:pt x="202" y="40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72" y="28"/>
                    <a:pt x="172" y="28"/>
                    <a:pt x="172" y="28"/>
                  </a:cubicBezTo>
                  <a:cubicBezTo>
                    <a:pt x="172" y="28"/>
                    <a:pt x="167" y="28"/>
                    <a:pt x="157" y="28"/>
                  </a:cubicBezTo>
                  <a:cubicBezTo>
                    <a:pt x="147" y="28"/>
                    <a:pt x="147" y="20"/>
                    <a:pt x="147" y="20"/>
                  </a:cubicBezTo>
                  <a:cubicBezTo>
                    <a:pt x="147" y="20"/>
                    <a:pt x="120" y="19"/>
                    <a:pt x="117" y="20"/>
                  </a:cubicBezTo>
                  <a:cubicBezTo>
                    <a:pt x="114" y="21"/>
                    <a:pt x="103" y="27"/>
                    <a:pt x="103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6" y="37"/>
                    <a:pt x="68" y="42"/>
                  </a:cubicBezTo>
                  <a:cubicBezTo>
                    <a:pt x="60" y="47"/>
                    <a:pt x="47" y="40"/>
                    <a:pt x="47" y="40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3"/>
                    <a:pt x="57" y="55"/>
                    <a:pt x="60" y="64"/>
                  </a:cubicBezTo>
                  <a:cubicBezTo>
                    <a:pt x="63" y="73"/>
                    <a:pt x="75" y="76"/>
                    <a:pt x="75" y="76"/>
                  </a:cubicBezTo>
                  <a:cubicBezTo>
                    <a:pt x="68" y="84"/>
                    <a:pt x="68" y="84"/>
                    <a:pt x="68" y="84"/>
                  </a:cubicBezTo>
                  <a:cubicBezTo>
                    <a:pt x="68" y="84"/>
                    <a:pt x="74" y="92"/>
                    <a:pt x="76" y="97"/>
                  </a:cubicBezTo>
                  <a:cubicBezTo>
                    <a:pt x="78" y="102"/>
                    <a:pt x="58" y="103"/>
                    <a:pt x="58" y="103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3" y="138"/>
                    <a:pt x="23" y="148"/>
                    <a:pt x="22" y="158"/>
                  </a:cubicBezTo>
                  <a:cubicBezTo>
                    <a:pt x="21" y="168"/>
                    <a:pt x="30" y="174"/>
                    <a:pt x="30" y="174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3"/>
                    <a:pt x="13" y="180"/>
                    <a:pt x="11" y="186"/>
                  </a:cubicBezTo>
                  <a:cubicBezTo>
                    <a:pt x="9" y="192"/>
                    <a:pt x="1" y="194"/>
                    <a:pt x="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8" y="204"/>
                    <a:pt x="10" y="214"/>
                    <a:pt x="16" y="21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270">
              <a:extLst>
                <a:ext uri="{FF2B5EF4-FFF2-40B4-BE49-F238E27FC236}">
                  <a16:creationId xmlns:a16="http://schemas.microsoft.com/office/drawing/2014/main" id="{3C234A57-3134-CCF8-D7F5-D8B2055410CD}"/>
                </a:ext>
              </a:extLst>
            </p:cNvPr>
            <p:cNvSpPr>
              <a:spLocks/>
            </p:cNvSpPr>
            <p:nvPr/>
          </p:nvSpPr>
          <p:spPr bwMode="gray">
            <a:xfrm>
              <a:off x="-4085" y="-17050"/>
              <a:ext cx="903" cy="591"/>
            </a:xfrm>
            <a:custGeom>
              <a:avLst/>
              <a:gdLst>
                <a:gd name="T0" fmla="*/ 19 w 382"/>
                <a:gd name="T1" fmla="*/ 225 h 250"/>
                <a:gd name="T2" fmla="*/ 42 w 382"/>
                <a:gd name="T3" fmla="*/ 236 h 250"/>
                <a:gd name="T4" fmla="*/ 77 w 382"/>
                <a:gd name="T5" fmla="*/ 221 h 250"/>
                <a:gd name="T6" fmla="*/ 121 w 382"/>
                <a:gd name="T7" fmla="*/ 214 h 250"/>
                <a:gd name="T8" fmla="*/ 146 w 382"/>
                <a:gd name="T9" fmla="*/ 222 h 250"/>
                <a:gd name="T10" fmla="*/ 176 w 382"/>
                <a:gd name="T11" fmla="*/ 234 h 250"/>
                <a:gd name="T12" fmla="*/ 193 w 382"/>
                <a:gd name="T13" fmla="*/ 239 h 250"/>
                <a:gd name="T14" fmla="*/ 205 w 382"/>
                <a:gd name="T15" fmla="*/ 237 h 250"/>
                <a:gd name="T16" fmla="*/ 221 w 382"/>
                <a:gd name="T17" fmla="*/ 240 h 250"/>
                <a:gd name="T18" fmla="*/ 236 w 382"/>
                <a:gd name="T19" fmla="*/ 242 h 250"/>
                <a:gd name="T20" fmla="*/ 259 w 382"/>
                <a:gd name="T21" fmla="*/ 245 h 250"/>
                <a:gd name="T22" fmla="*/ 301 w 382"/>
                <a:gd name="T23" fmla="*/ 247 h 250"/>
                <a:gd name="T24" fmla="*/ 323 w 382"/>
                <a:gd name="T25" fmla="*/ 206 h 250"/>
                <a:gd name="T26" fmla="*/ 344 w 382"/>
                <a:gd name="T27" fmla="*/ 191 h 250"/>
                <a:gd name="T28" fmla="*/ 328 w 382"/>
                <a:gd name="T29" fmla="*/ 151 h 250"/>
                <a:gd name="T30" fmla="*/ 365 w 382"/>
                <a:gd name="T31" fmla="*/ 155 h 250"/>
                <a:gd name="T32" fmla="*/ 368 w 382"/>
                <a:gd name="T33" fmla="*/ 131 h 250"/>
                <a:gd name="T34" fmla="*/ 340 w 382"/>
                <a:gd name="T35" fmla="*/ 118 h 250"/>
                <a:gd name="T36" fmla="*/ 318 w 382"/>
                <a:gd name="T37" fmla="*/ 96 h 250"/>
                <a:gd name="T38" fmla="*/ 294 w 382"/>
                <a:gd name="T39" fmla="*/ 66 h 250"/>
                <a:gd name="T40" fmla="*/ 290 w 382"/>
                <a:gd name="T41" fmla="*/ 44 h 250"/>
                <a:gd name="T42" fmla="*/ 260 w 382"/>
                <a:gd name="T43" fmla="*/ 9 h 250"/>
                <a:gd name="T44" fmla="*/ 236 w 382"/>
                <a:gd name="T45" fmla="*/ 11 h 250"/>
                <a:gd name="T46" fmla="*/ 204 w 382"/>
                <a:gd name="T47" fmla="*/ 11 h 250"/>
                <a:gd name="T48" fmla="*/ 176 w 382"/>
                <a:gd name="T49" fmla="*/ 0 h 250"/>
                <a:gd name="T50" fmla="*/ 157 w 382"/>
                <a:gd name="T51" fmla="*/ 19 h 250"/>
                <a:gd name="T52" fmla="*/ 119 w 382"/>
                <a:gd name="T53" fmla="*/ 31 h 250"/>
                <a:gd name="T54" fmla="*/ 120 w 382"/>
                <a:gd name="T55" fmla="*/ 52 h 250"/>
                <a:gd name="T56" fmla="*/ 111 w 382"/>
                <a:gd name="T57" fmla="*/ 60 h 250"/>
                <a:gd name="T58" fmla="*/ 98 w 382"/>
                <a:gd name="T59" fmla="*/ 77 h 250"/>
                <a:gd name="T60" fmla="*/ 96 w 382"/>
                <a:gd name="T61" fmla="*/ 104 h 250"/>
                <a:gd name="T62" fmla="*/ 72 w 382"/>
                <a:gd name="T63" fmla="*/ 103 h 250"/>
                <a:gd name="T64" fmla="*/ 60 w 382"/>
                <a:gd name="T65" fmla="*/ 103 h 250"/>
                <a:gd name="T66" fmla="*/ 40 w 382"/>
                <a:gd name="T67" fmla="*/ 113 h 250"/>
                <a:gd name="T68" fmla="*/ 6 w 382"/>
                <a:gd name="T69" fmla="*/ 113 h 250"/>
                <a:gd name="T70" fmla="*/ 25 w 382"/>
                <a:gd name="T71" fmla="*/ 145 h 250"/>
                <a:gd name="T72" fmla="*/ 27 w 382"/>
                <a:gd name="T73" fmla="*/ 173 h 250"/>
                <a:gd name="T74" fmla="*/ 12 w 382"/>
                <a:gd name="T75" fmla="*/ 190 h 250"/>
                <a:gd name="T76" fmla="*/ 20 w 382"/>
                <a:gd name="T77" fmla="*/ 20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2" h="250">
                  <a:moveTo>
                    <a:pt x="20" y="207"/>
                  </a:moveTo>
                  <a:cubicBezTo>
                    <a:pt x="22" y="211"/>
                    <a:pt x="19" y="225"/>
                    <a:pt x="19" y="225"/>
                  </a:cubicBezTo>
                  <a:cubicBezTo>
                    <a:pt x="22" y="234"/>
                    <a:pt x="22" y="234"/>
                    <a:pt x="22" y="234"/>
                  </a:cubicBezTo>
                  <a:cubicBezTo>
                    <a:pt x="26" y="236"/>
                    <a:pt x="35" y="240"/>
                    <a:pt x="42" y="236"/>
                  </a:cubicBezTo>
                  <a:cubicBezTo>
                    <a:pt x="50" y="231"/>
                    <a:pt x="51" y="221"/>
                    <a:pt x="51" y="221"/>
                  </a:cubicBezTo>
                  <a:cubicBezTo>
                    <a:pt x="77" y="221"/>
                    <a:pt x="77" y="221"/>
                    <a:pt x="77" y="221"/>
                  </a:cubicBezTo>
                  <a:cubicBezTo>
                    <a:pt x="77" y="221"/>
                    <a:pt x="88" y="215"/>
                    <a:pt x="91" y="214"/>
                  </a:cubicBezTo>
                  <a:cubicBezTo>
                    <a:pt x="94" y="213"/>
                    <a:pt x="121" y="214"/>
                    <a:pt x="121" y="214"/>
                  </a:cubicBezTo>
                  <a:cubicBezTo>
                    <a:pt x="121" y="214"/>
                    <a:pt x="121" y="222"/>
                    <a:pt x="131" y="222"/>
                  </a:cubicBezTo>
                  <a:cubicBezTo>
                    <a:pt x="141" y="222"/>
                    <a:pt x="146" y="222"/>
                    <a:pt x="146" y="222"/>
                  </a:cubicBezTo>
                  <a:cubicBezTo>
                    <a:pt x="165" y="225"/>
                    <a:pt x="165" y="225"/>
                    <a:pt x="165" y="225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81" y="231"/>
                    <a:pt x="181" y="231"/>
                    <a:pt x="181" y="231"/>
                  </a:cubicBezTo>
                  <a:cubicBezTo>
                    <a:pt x="193" y="239"/>
                    <a:pt x="193" y="239"/>
                    <a:pt x="193" y="239"/>
                  </a:cubicBezTo>
                  <a:cubicBezTo>
                    <a:pt x="198" y="232"/>
                    <a:pt x="198" y="232"/>
                    <a:pt x="198" y="232"/>
                  </a:cubicBezTo>
                  <a:cubicBezTo>
                    <a:pt x="205" y="237"/>
                    <a:pt x="205" y="237"/>
                    <a:pt x="205" y="237"/>
                  </a:cubicBezTo>
                  <a:cubicBezTo>
                    <a:pt x="215" y="235"/>
                    <a:pt x="215" y="235"/>
                    <a:pt x="215" y="235"/>
                  </a:cubicBezTo>
                  <a:cubicBezTo>
                    <a:pt x="221" y="240"/>
                    <a:pt x="221" y="240"/>
                    <a:pt x="221" y="240"/>
                  </a:cubicBezTo>
                  <a:cubicBezTo>
                    <a:pt x="226" y="234"/>
                    <a:pt x="226" y="234"/>
                    <a:pt x="226" y="234"/>
                  </a:cubicBezTo>
                  <a:cubicBezTo>
                    <a:pt x="236" y="242"/>
                    <a:pt x="236" y="242"/>
                    <a:pt x="236" y="242"/>
                  </a:cubicBezTo>
                  <a:cubicBezTo>
                    <a:pt x="236" y="242"/>
                    <a:pt x="235" y="232"/>
                    <a:pt x="247" y="233"/>
                  </a:cubicBezTo>
                  <a:cubicBezTo>
                    <a:pt x="259" y="234"/>
                    <a:pt x="251" y="246"/>
                    <a:pt x="259" y="245"/>
                  </a:cubicBezTo>
                  <a:cubicBezTo>
                    <a:pt x="267" y="244"/>
                    <a:pt x="278" y="241"/>
                    <a:pt x="278" y="241"/>
                  </a:cubicBezTo>
                  <a:cubicBezTo>
                    <a:pt x="278" y="241"/>
                    <a:pt x="292" y="250"/>
                    <a:pt x="301" y="247"/>
                  </a:cubicBezTo>
                  <a:cubicBezTo>
                    <a:pt x="310" y="244"/>
                    <a:pt x="300" y="231"/>
                    <a:pt x="300" y="231"/>
                  </a:cubicBezTo>
                  <a:cubicBezTo>
                    <a:pt x="300" y="231"/>
                    <a:pt x="316" y="206"/>
                    <a:pt x="323" y="206"/>
                  </a:cubicBezTo>
                  <a:cubicBezTo>
                    <a:pt x="326" y="206"/>
                    <a:pt x="336" y="208"/>
                    <a:pt x="347" y="209"/>
                  </a:cubicBezTo>
                  <a:cubicBezTo>
                    <a:pt x="346" y="201"/>
                    <a:pt x="346" y="191"/>
                    <a:pt x="344" y="191"/>
                  </a:cubicBezTo>
                  <a:cubicBezTo>
                    <a:pt x="341" y="190"/>
                    <a:pt x="341" y="176"/>
                    <a:pt x="341" y="176"/>
                  </a:cubicBezTo>
                  <a:cubicBezTo>
                    <a:pt x="341" y="176"/>
                    <a:pt x="314" y="154"/>
                    <a:pt x="328" y="151"/>
                  </a:cubicBezTo>
                  <a:cubicBezTo>
                    <a:pt x="342" y="148"/>
                    <a:pt x="344" y="154"/>
                    <a:pt x="344" y="154"/>
                  </a:cubicBezTo>
                  <a:cubicBezTo>
                    <a:pt x="344" y="154"/>
                    <a:pt x="357" y="162"/>
                    <a:pt x="365" y="155"/>
                  </a:cubicBezTo>
                  <a:cubicBezTo>
                    <a:pt x="373" y="148"/>
                    <a:pt x="382" y="139"/>
                    <a:pt x="382" y="139"/>
                  </a:cubicBezTo>
                  <a:cubicBezTo>
                    <a:pt x="368" y="131"/>
                    <a:pt x="368" y="131"/>
                    <a:pt x="368" y="131"/>
                  </a:cubicBezTo>
                  <a:cubicBezTo>
                    <a:pt x="368" y="131"/>
                    <a:pt x="376" y="122"/>
                    <a:pt x="363" y="119"/>
                  </a:cubicBezTo>
                  <a:cubicBezTo>
                    <a:pt x="350" y="116"/>
                    <a:pt x="340" y="118"/>
                    <a:pt x="340" y="118"/>
                  </a:cubicBezTo>
                  <a:cubicBezTo>
                    <a:pt x="338" y="103"/>
                    <a:pt x="338" y="103"/>
                    <a:pt x="338" y="103"/>
                  </a:cubicBezTo>
                  <a:cubicBezTo>
                    <a:pt x="318" y="96"/>
                    <a:pt x="318" y="96"/>
                    <a:pt x="318" y="96"/>
                  </a:cubicBezTo>
                  <a:cubicBezTo>
                    <a:pt x="318" y="96"/>
                    <a:pt x="315" y="75"/>
                    <a:pt x="307" y="73"/>
                  </a:cubicBezTo>
                  <a:cubicBezTo>
                    <a:pt x="299" y="71"/>
                    <a:pt x="294" y="66"/>
                    <a:pt x="294" y="66"/>
                  </a:cubicBezTo>
                  <a:cubicBezTo>
                    <a:pt x="298" y="54"/>
                    <a:pt x="298" y="54"/>
                    <a:pt x="298" y="54"/>
                  </a:cubicBezTo>
                  <a:cubicBezTo>
                    <a:pt x="290" y="44"/>
                    <a:pt x="290" y="44"/>
                    <a:pt x="290" y="44"/>
                  </a:cubicBezTo>
                  <a:cubicBezTo>
                    <a:pt x="290" y="44"/>
                    <a:pt x="304" y="30"/>
                    <a:pt x="293" y="25"/>
                  </a:cubicBezTo>
                  <a:cubicBezTo>
                    <a:pt x="282" y="20"/>
                    <a:pt x="260" y="9"/>
                    <a:pt x="260" y="9"/>
                  </a:cubicBezTo>
                  <a:cubicBezTo>
                    <a:pt x="238" y="21"/>
                    <a:pt x="238" y="21"/>
                    <a:pt x="238" y="21"/>
                  </a:cubicBezTo>
                  <a:cubicBezTo>
                    <a:pt x="236" y="11"/>
                    <a:pt x="236" y="11"/>
                    <a:pt x="236" y="11"/>
                  </a:cubicBezTo>
                  <a:cubicBezTo>
                    <a:pt x="210" y="5"/>
                    <a:pt x="210" y="5"/>
                    <a:pt x="210" y="5"/>
                  </a:cubicBezTo>
                  <a:cubicBezTo>
                    <a:pt x="204" y="11"/>
                    <a:pt x="204" y="11"/>
                    <a:pt x="204" y="11"/>
                  </a:cubicBezTo>
                  <a:cubicBezTo>
                    <a:pt x="204" y="11"/>
                    <a:pt x="203" y="4"/>
                    <a:pt x="195" y="3"/>
                  </a:cubicBezTo>
                  <a:cubicBezTo>
                    <a:pt x="187" y="2"/>
                    <a:pt x="176" y="0"/>
                    <a:pt x="176" y="0"/>
                  </a:cubicBezTo>
                  <a:cubicBezTo>
                    <a:pt x="176" y="0"/>
                    <a:pt x="162" y="16"/>
                    <a:pt x="162" y="13"/>
                  </a:cubicBezTo>
                  <a:cubicBezTo>
                    <a:pt x="162" y="10"/>
                    <a:pt x="157" y="19"/>
                    <a:pt x="157" y="19"/>
                  </a:cubicBezTo>
                  <a:cubicBezTo>
                    <a:pt x="157" y="19"/>
                    <a:pt x="146" y="13"/>
                    <a:pt x="141" y="13"/>
                  </a:cubicBezTo>
                  <a:cubicBezTo>
                    <a:pt x="136" y="13"/>
                    <a:pt x="121" y="26"/>
                    <a:pt x="119" y="31"/>
                  </a:cubicBezTo>
                  <a:cubicBezTo>
                    <a:pt x="117" y="36"/>
                    <a:pt x="133" y="46"/>
                    <a:pt x="133" y="46"/>
                  </a:cubicBezTo>
                  <a:cubicBezTo>
                    <a:pt x="133" y="46"/>
                    <a:pt x="126" y="52"/>
                    <a:pt x="120" y="52"/>
                  </a:cubicBezTo>
                  <a:cubicBezTo>
                    <a:pt x="114" y="52"/>
                    <a:pt x="107" y="47"/>
                    <a:pt x="107" y="47"/>
                  </a:cubicBezTo>
                  <a:cubicBezTo>
                    <a:pt x="111" y="60"/>
                    <a:pt x="111" y="60"/>
                    <a:pt x="111" y="60"/>
                  </a:cubicBezTo>
                  <a:cubicBezTo>
                    <a:pt x="111" y="60"/>
                    <a:pt x="98" y="55"/>
                    <a:pt x="96" y="62"/>
                  </a:cubicBezTo>
                  <a:cubicBezTo>
                    <a:pt x="94" y="69"/>
                    <a:pt x="98" y="77"/>
                    <a:pt x="98" y="77"/>
                  </a:cubicBezTo>
                  <a:cubicBezTo>
                    <a:pt x="98" y="77"/>
                    <a:pt x="86" y="76"/>
                    <a:pt x="91" y="84"/>
                  </a:cubicBezTo>
                  <a:cubicBezTo>
                    <a:pt x="96" y="92"/>
                    <a:pt x="103" y="103"/>
                    <a:pt x="96" y="104"/>
                  </a:cubicBezTo>
                  <a:cubicBezTo>
                    <a:pt x="89" y="105"/>
                    <a:pt x="100" y="96"/>
                    <a:pt x="90" y="96"/>
                  </a:cubicBezTo>
                  <a:cubicBezTo>
                    <a:pt x="80" y="96"/>
                    <a:pt x="72" y="103"/>
                    <a:pt x="72" y="103"/>
                  </a:cubicBezTo>
                  <a:cubicBezTo>
                    <a:pt x="68" y="111"/>
                    <a:pt x="68" y="111"/>
                    <a:pt x="68" y="111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58" y="113"/>
                    <a:pt x="58" y="113"/>
                    <a:pt x="58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40" y="113"/>
                    <a:pt x="38" y="107"/>
                    <a:pt x="30" y="108"/>
                  </a:cubicBezTo>
                  <a:cubicBezTo>
                    <a:pt x="22" y="109"/>
                    <a:pt x="6" y="113"/>
                    <a:pt x="6" y="113"/>
                  </a:cubicBezTo>
                  <a:cubicBezTo>
                    <a:pt x="6" y="113"/>
                    <a:pt x="14" y="126"/>
                    <a:pt x="14" y="131"/>
                  </a:cubicBezTo>
                  <a:cubicBezTo>
                    <a:pt x="14" y="136"/>
                    <a:pt x="25" y="145"/>
                    <a:pt x="25" y="145"/>
                  </a:cubicBezTo>
                  <a:cubicBezTo>
                    <a:pt x="25" y="145"/>
                    <a:pt x="33" y="157"/>
                    <a:pt x="31" y="161"/>
                  </a:cubicBezTo>
                  <a:cubicBezTo>
                    <a:pt x="29" y="165"/>
                    <a:pt x="27" y="173"/>
                    <a:pt x="27" y="173"/>
                  </a:cubicBezTo>
                  <a:cubicBezTo>
                    <a:pt x="13" y="178"/>
                    <a:pt x="13" y="178"/>
                    <a:pt x="13" y="178"/>
                  </a:cubicBezTo>
                  <a:cubicBezTo>
                    <a:pt x="13" y="178"/>
                    <a:pt x="15" y="190"/>
                    <a:pt x="12" y="190"/>
                  </a:cubicBezTo>
                  <a:cubicBezTo>
                    <a:pt x="9" y="190"/>
                    <a:pt x="0" y="188"/>
                    <a:pt x="2" y="194"/>
                  </a:cubicBezTo>
                  <a:cubicBezTo>
                    <a:pt x="4" y="200"/>
                    <a:pt x="18" y="203"/>
                    <a:pt x="20" y="20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271">
              <a:extLst>
                <a:ext uri="{FF2B5EF4-FFF2-40B4-BE49-F238E27FC236}">
                  <a16:creationId xmlns:a16="http://schemas.microsoft.com/office/drawing/2014/main" id="{C739A1DF-8A79-84DD-6C4C-1523F3EDBC76}"/>
                </a:ext>
              </a:extLst>
            </p:cNvPr>
            <p:cNvSpPr>
              <a:spLocks/>
            </p:cNvSpPr>
            <p:nvPr/>
          </p:nvSpPr>
          <p:spPr bwMode="gray">
            <a:xfrm>
              <a:off x="-4326" y="-17286"/>
              <a:ext cx="676" cy="290"/>
            </a:xfrm>
            <a:custGeom>
              <a:avLst/>
              <a:gdLst>
                <a:gd name="T0" fmla="*/ 5 w 286"/>
                <a:gd name="T1" fmla="*/ 97 h 123"/>
                <a:gd name="T2" fmla="*/ 18 w 286"/>
                <a:gd name="T3" fmla="*/ 92 h 123"/>
                <a:gd name="T4" fmla="*/ 51 w 286"/>
                <a:gd name="T5" fmla="*/ 86 h 123"/>
                <a:gd name="T6" fmla="*/ 65 w 286"/>
                <a:gd name="T7" fmla="*/ 83 h 123"/>
                <a:gd name="T8" fmla="*/ 78 w 286"/>
                <a:gd name="T9" fmla="*/ 90 h 123"/>
                <a:gd name="T10" fmla="*/ 86 w 286"/>
                <a:gd name="T11" fmla="*/ 88 h 123"/>
                <a:gd name="T12" fmla="*/ 109 w 286"/>
                <a:gd name="T13" fmla="*/ 94 h 123"/>
                <a:gd name="T14" fmla="*/ 118 w 286"/>
                <a:gd name="T15" fmla="*/ 89 h 123"/>
                <a:gd name="T16" fmla="*/ 133 w 286"/>
                <a:gd name="T17" fmla="*/ 93 h 123"/>
                <a:gd name="T18" fmla="*/ 150 w 286"/>
                <a:gd name="T19" fmla="*/ 85 h 123"/>
                <a:gd name="T20" fmla="*/ 162 w 286"/>
                <a:gd name="T21" fmla="*/ 98 h 123"/>
                <a:gd name="T22" fmla="*/ 189 w 286"/>
                <a:gd name="T23" fmla="*/ 101 h 123"/>
                <a:gd name="T24" fmla="*/ 200 w 286"/>
                <a:gd name="T25" fmla="*/ 111 h 123"/>
                <a:gd name="T26" fmla="*/ 215 w 286"/>
                <a:gd name="T27" fmla="*/ 119 h 123"/>
                <a:gd name="T28" fmla="*/ 227 w 286"/>
                <a:gd name="T29" fmla="*/ 123 h 123"/>
                <a:gd name="T30" fmla="*/ 243 w 286"/>
                <a:gd name="T31" fmla="*/ 113 h 123"/>
                <a:gd name="T32" fmla="*/ 259 w 286"/>
                <a:gd name="T33" fmla="*/ 119 h 123"/>
                <a:gd name="T34" fmla="*/ 264 w 286"/>
                <a:gd name="T35" fmla="*/ 113 h 123"/>
                <a:gd name="T36" fmla="*/ 278 w 286"/>
                <a:gd name="T37" fmla="*/ 100 h 123"/>
                <a:gd name="T38" fmla="*/ 286 w 286"/>
                <a:gd name="T39" fmla="*/ 101 h 123"/>
                <a:gd name="T40" fmla="*/ 280 w 286"/>
                <a:gd name="T41" fmla="*/ 82 h 123"/>
                <a:gd name="T42" fmla="*/ 268 w 286"/>
                <a:gd name="T43" fmla="*/ 65 h 123"/>
                <a:gd name="T44" fmla="*/ 255 w 286"/>
                <a:gd name="T45" fmla="*/ 61 h 123"/>
                <a:gd name="T46" fmla="*/ 256 w 286"/>
                <a:gd name="T47" fmla="*/ 52 h 123"/>
                <a:gd name="T48" fmla="*/ 268 w 286"/>
                <a:gd name="T49" fmla="*/ 45 h 123"/>
                <a:gd name="T50" fmla="*/ 246 w 286"/>
                <a:gd name="T51" fmla="*/ 30 h 123"/>
                <a:gd name="T52" fmla="*/ 238 w 286"/>
                <a:gd name="T53" fmla="*/ 31 h 123"/>
                <a:gd name="T54" fmla="*/ 225 w 286"/>
                <a:gd name="T55" fmla="*/ 26 h 123"/>
                <a:gd name="T56" fmla="*/ 214 w 286"/>
                <a:gd name="T57" fmla="*/ 32 h 123"/>
                <a:gd name="T58" fmla="*/ 194 w 286"/>
                <a:gd name="T59" fmla="*/ 20 h 123"/>
                <a:gd name="T60" fmla="*/ 166 w 286"/>
                <a:gd name="T61" fmla="*/ 3 h 123"/>
                <a:gd name="T62" fmla="*/ 145 w 286"/>
                <a:gd name="T63" fmla="*/ 4 h 123"/>
                <a:gd name="T64" fmla="*/ 124 w 286"/>
                <a:gd name="T65" fmla="*/ 10 h 123"/>
                <a:gd name="T66" fmla="*/ 120 w 286"/>
                <a:gd name="T67" fmla="*/ 10 h 123"/>
                <a:gd name="T68" fmla="*/ 119 w 286"/>
                <a:gd name="T69" fmla="*/ 12 h 123"/>
                <a:gd name="T70" fmla="*/ 123 w 286"/>
                <a:gd name="T71" fmla="*/ 55 h 123"/>
                <a:gd name="T72" fmla="*/ 86 w 286"/>
                <a:gd name="T73" fmla="*/ 52 h 123"/>
                <a:gd name="T74" fmla="*/ 79 w 286"/>
                <a:gd name="T75" fmla="*/ 37 h 123"/>
                <a:gd name="T76" fmla="*/ 56 w 286"/>
                <a:gd name="T77" fmla="*/ 18 h 123"/>
                <a:gd name="T78" fmla="*/ 21 w 286"/>
                <a:gd name="T79" fmla="*/ 30 h 123"/>
                <a:gd name="T80" fmla="*/ 16 w 286"/>
                <a:gd name="T81" fmla="*/ 46 h 123"/>
                <a:gd name="T82" fmla="*/ 0 w 286"/>
                <a:gd name="T83" fmla="*/ 69 h 123"/>
                <a:gd name="T84" fmla="*/ 6 w 286"/>
                <a:gd name="T85" fmla="*/ 104 h 123"/>
                <a:gd name="T86" fmla="*/ 5 w 286"/>
                <a:gd name="T87" fmla="*/ 9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6" h="123">
                  <a:moveTo>
                    <a:pt x="5" y="97"/>
                  </a:moveTo>
                  <a:cubicBezTo>
                    <a:pt x="8" y="95"/>
                    <a:pt x="12" y="93"/>
                    <a:pt x="18" y="92"/>
                  </a:cubicBezTo>
                  <a:cubicBezTo>
                    <a:pt x="38" y="89"/>
                    <a:pt x="45" y="89"/>
                    <a:pt x="51" y="86"/>
                  </a:cubicBezTo>
                  <a:cubicBezTo>
                    <a:pt x="57" y="83"/>
                    <a:pt x="59" y="81"/>
                    <a:pt x="65" y="83"/>
                  </a:cubicBezTo>
                  <a:cubicBezTo>
                    <a:pt x="71" y="85"/>
                    <a:pt x="78" y="90"/>
                    <a:pt x="78" y="90"/>
                  </a:cubicBezTo>
                  <a:cubicBezTo>
                    <a:pt x="78" y="90"/>
                    <a:pt x="83" y="89"/>
                    <a:pt x="86" y="88"/>
                  </a:cubicBezTo>
                  <a:cubicBezTo>
                    <a:pt x="89" y="87"/>
                    <a:pt x="109" y="94"/>
                    <a:pt x="109" y="94"/>
                  </a:cubicBezTo>
                  <a:cubicBezTo>
                    <a:pt x="109" y="94"/>
                    <a:pt x="113" y="89"/>
                    <a:pt x="118" y="89"/>
                  </a:cubicBezTo>
                  <a:cubicBezTo>
                    <a:pt x="123" y="89"/>
                    <a:pt x="125" y="93"/>
                    <a:pt x="133" y="93"/>
                  </a:cubicBezTo>
                  <a:cubicBezTo>
                    <a:pt x="141" y="93"/>
                    <a:pt x="144" y="85"/>
                    <a:pt x="150" y="85"/>
                  </a:cubicBezTo>
                  <a:cubicBezTo>
                    <a:pt x="156" y="85"/>
                    <a:pt x="162" y="98"/>
                    <a:pt x="162" y="98"/>
                  </a:cubicBezTo>
                  <a:cubicBezTo>
                    <a:pt x="162" y="98"/>
                    <a:pt x="183" y="99"/>
                    <a:pt x="189" y="101"/>
                  </a:cubicBezTo>
                  <a:cubicBezTo>
                    <a:pt x="195" y="103"/>
                    <a:pt x="200" y="111"/>
                    <a:pt x="200" y="111"/>
                  </a:cubicBezTo>
                  <a:cubicBezTo>
                    <a:pt x="215" y="119"/>
                    <a:pt x="215" y="119"/>
                    <a:pt x="215" y="119"/>
                  </a:cubicBezTo>
                  <a:cubicBezTo>
                    <a:pt x="227" y="123"/>
                    <a:pt x="227" y="123"/>
                    <a:pt x="227" y="123"/>
                  </a:cubicBezTo>
                  <a:cubicBezTo>
                    <a:pt x="233" y="118"/>
                    <a:pt x="240" y="113"/>
                    <a:pt x="243" y="113"/>
                  </a:cubicBezTo>
                  <a:cubicBezTo>
                    <a:pt x="248" y="113"/>
                    <a:pt x="259" y="119"/>
                    <a:pt x="259" y="119"/>
                  </a:cubicBezTo>
                  <a:cubicBezTo>
                    <a:pt x="259" y="119"/>
                    <a:pt x="264" y="110"/>
                    <a:pt x="264" y="113"/>
                  </a:cubicBezTo>
                  <a:cubicBezTo>
                    <a:pt x="264" y="116"/>
                    <a:pt x="278" y="100"/>
                    <a:pt x="278" y="100"/>
                  </a:cubicBezTo>
                  <a:cubicBezTo>
                    <a:pt x="278" y="100"/>
                    <a:pt x="282" y="101"/>
                    <a:pt x="286" y="101"/>
                  </a:cubicBezTo>
                  <a:cubicBezTo>
                    <a:pt x="286" y="97"/>
                    <a:pt x="286" y="87"/>
                    <a:pt x="280" y="82"/>
                  </a:cubicBezTo>
                  <a:cubicBezTo>
                    <a:pt x="273" y="76"/>
                    <a:pt x="268" y="65"/>
                    <a:pt x="268" y="65"/>
                  </a:cubicBezTo>
                  <a:cubicBezTo>
                    <a:pt x="255" y="61"/>
                    <a:pt x="255" y="61"/>
                    <a:pt x="255" y="61"/>
                  </a:cubicBezTo>
                  <a:cubicBezTo>
                    <a:pt x="256" y="52"/>
                    <a:pt x="256" y="52"/>
                    <a:pt x="256" y="52"/>
                  </a:cubicBezTo>
                  <a:cubicBezTo>
                    <a:pt x="256" y="52"/>
                    <a:pt x="269" y="50"/>
                    <a:pt x="268" y="45"/>
                  </a:cubicBezTo>
                  <a:cubicBezTo>
                    <a:pt x="267" y="40"/>
                    <a:pt x="246" y="30"/>
                    <a:pt x="246" y="30"/>
                  </a:cubicBezTo>
                  <a:cubicBezTo>
                    <a:pt x="238" y="31"/>
                    <a:pt x="238" y="31"/>
                    <a:pt x="238" y="31"/>
                  </a:cubicBezTo>
                  <a:cubicBezTo>
                    <a:pt x="238" y="31"/>
                    <a:pt x="228" y="27"/>
                    <a:pt x="225" y="26"/>
                  </a:cubicBezTo>
                  <a:cubicBezTo>
                    <a:pt x="222" y="25"/>
                    <a:pt x="220" y="32"/>
                    <a:pt x="214" y="32"/>
                  </a:cubicBezTo>
                  <a:cubicBezTo>
                    <a:pt x="208" y="32"/>
                    <a:pt x="205" y="29"/>
                    <a:pt x="194" y="20"/>
                  </a:cubicBezTo>
                  <a:cubicBezTo>
                    <a:pt x="183" y="11"/>
                    <a:pt x="181" y="6"/>
                    <a:pt x="166" y="3"/>
                  </a:cubicBezTo>
                  <a:cubicBezTo>
                    <a:pt x="151" y="0"/>
                    <a:pt x="145" y="4"/>
                    <a:pt x="145" y="4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0" y="10"/>
                    <a:pt x="120" y="10"/>
                    <a:pt x="120" y="10"/>
                  </a:cubicBezTo>
                  <a:cubicBezTo>
                    <a:pt x="119" y="12"/>
                    <a:pt x="119" y="12"/>
                    <a:pt x="119" y="12"/>
                  </a:cubicBezTo>
                  <a:cubicBezTo>
                    <a:pt x="119" y="12"/>
                    <a:pt x="136" y="55"/>
                    <a:pt x="123" y="55"/>
                  </a:cubicBezTo>
                  <a:cubicBezTo>
                    <a:pt x="110" y="55"/>
                    <a:pt x="86" y="52"/>
                    <a:pt x="86" y="52"/>
                  </a:cubicBezTo>
                  <a:cubicBezTo>
                    <a:pt x="79" y="37"/>
                    <a:pt x="79" y="37"/>
                    <a:pt x="79" y="37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24" y="23"/>
                    <a:pt x="21" y="30"/>
                  </a:cubicBezTo>
                  <a:cubicBezTo>
                    <a:pt x="18" y="37"/>
                    <a:pt x="16" y="46"/>
                    <a:pt x="16" y="46"/>
                  </a:cubicBezTo>
                  <a:cubicBezTo>
                    <a:pt x="16" y="46"/>
                    <a:pt x="0" y="64"/>
                    <a:pt x="0" y="69"/>
                  </a:cubicBezTo>
                  <a:cubicBezTo>
                    <a:pt x="0" y="74"/>
                    <a:pt x="6" y="104"/>
                    <a:pt x="6" y="104"/>
                  </a:cubicBezTo>
                  <a:cubicBezTo>
                    <a:pt x="6" y="104"/>
                    <a:pt x="5" y="101"/>
                    <a:pt x="5" y="9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 272">
              <a:extLst>
                <a:ext uri="{FF2B5EF4-FFF2-40B4-BE49-F238E27FC236}">
                  <a16:creationId xmlns:a16="http://schemas.microsoft.com/office/drawing/2014/main" id="{D1275ECA-A440-0DAB-2637-B6076292CF9E}"/>
                </a:ext>
              </a:extLst>
            </p:cNvPr>
            <p:cNvSpPr>
              <a:spLocks/>
            </p:cNvSpPr>
            <p:nvPr/>
          </p:nvSpPr>
          <p:spPr bwMode="gray">
            <a:xfrm>
              <a:off x="-4463" y="-18626"/>
              <a:ext cx="997" cy="1134"/>
            </a:xfrm>
            <a:custGeom>
              <a:avLst/>
              <a:gdLst>
                <a:gd name="T0" fmla="*/ 88 w 422"/>
                <a:gd name="T1" fmla="*/ 64 h 480"/>
                <a:gd name="T2" fmla="*/ 64 w 422"/>
                <a:gd name="T3" fmla="*/ 59 h 480"/>
                <a:gd name="T4" fmla="*/ 40 w 422"/>
                <a:gd name="T5" fmla="*/ 47 h 480"/>
                <a:gd name="T6" fmla="*/ 16 w 422"/>
                <a:gd name="T7" fmla="*/ 36 h 480"/>
                <a:gd name="T8" fmla="*/ 2 w 422"/>
                <a:gd name="T9" fmla="*/ 40 h 480"/>
                <a:gd name="T10" fmla="*/ 17 w 422"/>
                <a:gd name="T11" fmla="*/ 56 h 480"/>
                <a:gd name="T12" fmla="*/ 48 w 422"/>
                <a:gd name="T13" fmla="*/ 72 h 480"/>
                <a:gd name="T14" fmla="*/ 92 w 422"/>
                <a:gd name="T15" fmla="*/ 85 h 480"/>
                <a:gd name="T16" fmla="*/ 103 w 422"/>
                <a:gd name="T17" fmla="*/ 114 h 480"/>
                <a:gd name="T18" fmla="*/ 107 w 422"/>
                <a:gd name="T19" fmla="*/ 132 h 480"/>
                <a:gd name="T20" fmla="*/ 113 w 422"/>
                <a:gd name="T21" fmla="*/ 165 h 480"/>
                <a:gd name="T22" fmla="*/ 138 w 422"/>
                <a:gd name="T23" fmla="*/ 204 h 480"/>
                <a:gd name="T24" fmla="*/ 179 w 422"/>
                <a:gd name="T25" fmla="*/ 217 h 480"/>
                <a:gd name="T26" fmla="*/ 167 w 422"/>
                <a:gd name="T27" fmla="*/ 234 h 480"/>
                <a:gd name="T28" fmla="*/ 119 w 422"/>
                <a:gd name="T29" fmla="*/ 283 h 480"/>
                <a:gd name="T30" fmla="*/ 81 w 422"/>
                <a:gd name="T31" fmla="*/ 309 h 480"/>
                <a:gd name="T32" fmla="*/ 45 w 422"/>
                <a:gd name="T33" fmla="*/ 336 h 480"/>
                <a:gd name="T34" fmla="*/ 49 w 422"/>
                <a:gd name="T35" fmla="*/ 364 h 480"/>
                <a:gd name="T36" fmla="*/ 62 w 422"/>
                <a:gd name="T37" fmla="*/ 393 h 480"/>
                <a:gd name="T38" fmla="*/ 71 w 422"/>
                <a:gd name="T39" fmla="*/ 452 h 480"/>
                <a:gd name="T40" fmla="*/ 114 w 422"/>
                <a:gd name="T41" fmla="*/ 460 h 480"/>
                <a:gd name="T42" fmla="*/ 180 w 422"/>
                <a:gd name="T43" fmla="*/ 475 h 480"/>
                <a:gd name="T44" fmla="*/ 222 w 422"/>
                <a:gd name="T45" fmla="*/ 465 h 480"/>
                <a:gd name="T46" fmla="*/ 304 w 422"/>
                <a:gd name="T47" fmla="*/ 451 h 480"/>
                <a:gd name="T48" fmla="*/ 305 w 422"/>
                <a:gd name="T49" fmla="*/ 441 h 480"/>
                <a:gd name="T50" fmla="*/ 382 w 422"/>
                <a:gd name="T51" fmla="*/ 381 h 480"/>
                <a:gd name="T52" fmla="*/ 421 w 422"/>
                <a:gd name="T53" fmla="*/ 340 h 480"/>
                <a:gd name="T54" fmla="*/ 360 w 422"/>
                <a:gd name="T55" fmla="*/ 295 h 480"/>
                <a:gd name="T56" fmla="*/ 368 w 422"/>
                <a:gd name="T57" fmla="*/ 265 h 480"/>
                <a:gd name="T58" fmla="*/ 359 w 422"/>
                <a:gd name="T59" fmla="*/ 247 h 480"/>
                <a:gd name="T60" fmla="*/ 339 w 422"/>
                <a:gd name="T61" fmla="*/ 228 h 480"/>
                <a:gd name="T62" fmla="*/ 337 w 422"/>
                <a:gd name="T63" fmla="*/ 202 h 480"/>
                <a:gd name="T64" fmla="*/ 312 w 422"/>
                <a:gd name="T65" fmla="*/ 156 h 480"/>
                <a:gd name="T66" fmla="*/ 316 w 422"/>
                <a:gd name="T67" fmla="*/ 133 h 480"/>
                <a:gd name="T68" fmla="*/ 312 w 422"/>
                <a:gd name="T69" fmla="*/ 98 h 480"/>
                <a:gd name="T70" fmla="*/ 275 w 422"/>
                <a:gd name="T71" fmla="*/ 82 h 480"/>
                <a:gd name="T72" fmla="*/ 282 w 422"/>
                <a:gd name="T73" fmla="*/ 62 h 480"/>
                <a:gd name="T74" fmla="*/ 280 w 422"/>
                <a:gd name="T75" fmla="*/ 36 h 480"/>
                <a:gd name="T76" fmla="*/ 271 w 422"/>
                <a:gd name="T77" fmla="*/ 13 h 480"/>
                <a:gd name="T78" fmla="*/ 240 w 422"/>
                <a:gd name="T79" fmla="*/ 1 h 480"/>
                <a:gd name="T80" fmla="*/ 198 w 422"/>
                <a:gd name="T81" fmla="*/ 5 h 480"/>
                <a:gd name="T82" fmla="*/ 173 w 422"/>
                <a:gd name="T83" fmla="*/ 30 h 480"/>
                <a:gd name="T84" fmla="*/ 157 w 422"/>
                <a:gd name="T85" fmla="*/ 50 h 480"/>
                <a:gd name="T86" fmla="*/ 123 w 422"/>
                <a:gd name="T87" fmla="*/ 56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22" h="480">
                  <a:moveTo>
                    <a:pt x="107" y="59"/>
                  </a:moveTo>
                  <a:cubicBezTo>
                    <a:pt x="107" y="59"/>
                    <a:pt x="98" y="67"/>
                    <a:pt x="88" y="64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8" y="61"/>
                    <a:pt x="78" y="60"/>
                    <a:pt x="64" y="59"/>
                  </a:cubicBezTo>
                  <a:cubicBezTo>
                    <a:pt x="50" y="58"/>
                    <a:pt x="49" y="48"/>
                    <a:pt x="49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31" y="33"/>
                    <a:pt x="27" y="33"/>
                  </a:cubicBezTo>
                  <a:cubicBezTo>
                    <a:pt x="23" y="33"/>
                    <a:pt x="16" y="36"/>
                    <a:pt x="16" y="36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7" y="52"/>
                    <a:pt x="17" y="56"/>
                  </a:cubicBezTo>
                  <a:cubicBezTo>
                    <a:pt x="27" y="60"/>
                    <a:pt x="40" y="64"/>
                    <a:pt x="40" y="64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2" y="85"/>
                    <a:pt x="92" y="85"/>
                    <a:pt x="92" y="85"/>
                  </a:cubicBezTo>
                  <a:cubicBezTo>
                    <a:pt x="92" y="85"/>
                    <a:pt x="110" y="90"/>
                    <a:pt x="109" y="95"/>
                  </a:cubicBezTo>
                  <a:cubicBezTo>
                    <a:pt x="108" y="100"/>
                    <a:pt x="103" y="114"/>
                    <a:pt x="103" y="114"/>
                  </a:cubicBezTo>
                  <a:cubicBezTo>
                    <a:pt x="111" y="119"/>
                    <a:pt x="111" y="119"/>
                    <a:pt x="111" y="119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4" y="142"/>
                    <a:pt x="111" y="157"/>
                    <a:pt x="113" y="165"/>
                  </a:cubicBezTo>
                  <a:cubicBezTo>
                    <a:pt x="115" y="173"/>
                    <a:pt x="130" y="183"/>
                    <a:pt x="130" y="183"/>
                  </a:cubicBezTo>
                  <a:cubicBezTo>
                    <a:pt x="138" y="204"/>
                    <a:pt x="138" y="204"/>
                    <a:pt x="138" y="204"/>
                  </a:cubicBezTo>
                  <a:cubicBezTo>
                    <a:pt x="148" y="198"/>
                    <a:pt x="148" y="198"/>
                    <a:pt x="148" y="198"/>
                  </a:cubicBezTo>
                  <a:cubicBezTo>
                    <a:pt x="148" y="198"/>
                    <a:pt x="177" y="205"/>
                    <a:pt x="179" y="217"/>
                  </a:cubicBezTo>
                  <a:cubicBezTo>
                    <a:pt x="181" y="229"/>
                    <a:pt x="182" y="239"/>
                    <a:pt x="182" y="239"/>
                  </a:cubicBezTo>
                  <a:cubicBezTo>
                    <a:pt x="182" y="239"/>
                    <a:pt x="170" y="233"/>
                    <a:pt x="167" y="234"/>
                  </a:cubicBezTo>
                  <a:cubicBezTo>
                    <a:pt x="164" y="235"/>
                    <a:pt x="142" y="260"/>
                    <a:pt x="142" y="260"/>
                  </a:cubicBezTo>
                  <a:cubicBezTo>
                    <a:pt x="119" y="283"/>
                    <a:pt x="119" y="283"/>
                    <a:pt x="119" y="283"/>
                  </a:cubicBezTo>
                  <a:cubicBezTo>
                    <a:pt x="96" y="288"/>
                    <a:pt x="96" y="288"/>
                    <a:pt x="96" y="288"/>
                  </a:cubicBezTo>
                  <a:cubicBezTo>
                    <a:pt x="96" y="288"/>
                    <a:pt x="81" y="300"/>
                    <a:pt x="81" y="309"/>
                  </a:cubicBezTo>
                  <a:cubicBezTo>
                    <a:pt x="81" y="318"/>
                    <a:pt x="61" y="318"/>
                    <a:pt x="61" y="318"/>
                  </a:cubicBezTo>
                  <a:cubicBezTo>
                    <a:pt x="45" y="336"/>
                    <a:pt x="45" y="336"/>
                    <a:pt x="45" y="336"/>
                  </a:cubicBezTo>
                  <a:cubicBezTo>
                    <a:pt x="45" y="336"/>
                    <a:pt x="41" y="348"/>
                    <a:pt x="43" y="352"/>
                  </a:cubicBezTo>
                  <a:cubicBezTo>
                    <a:pt x="45" y="356"/>
                    <a:pt x="49" y="364"/>
                    <a:pt x="49" y="364"/>
                  </a:cubicBezTo>
                  <a:cubicBezTo>
                    <a:pt x="47" y="380"/>
                    <a:pt x="47" y="380"/>
                    <a:pt x="47" y="380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2" y="393"/>
                    <a:pt x="52" y="425"/>
                    <a:pt x="56" y="434"/>
                  </a:cubicBezTo>
                  <a:cubicBezTo>
                    <a:pt x="60" y="443"/>
                    <a:pt x="71" y="452"/>
                    <a:pt x="71" y="452"/>
                  </a:cubicBezTo>
                  <a:cubicBezTo>
                    <a:pt x="86" y="463"/>
                    <a:pt x="86" y="463"/>
                    <a:pt x="86" y="463"/>
                  </a:cubicBezTo>
                  <a:cubicBezTo>
                    <a:pt x="114" y="460"/>
                    <a:pt x="114" y="460"/>
                    <a:pt x="114" y="460"/>
                  </a:cubicBezTo>
                  <a:cubicBezTo>
                    <a:pt x="114" y="460"/>
                    <a:pt x="105" y="476"/>
                    <a:pt x="125" y="478"/>
                  </a:cubicBezTo>
                  <a:cubicBezTo>
                    <a:pt x="145" y="480"/>
                    <a:pt x="180" y="475"/>
                    <a:pt x="180" y="475"/>
                  </a:cubicBezTo>
                  <a:cubicBezTo>
                    <a:pt x="199" y="465"/>
                    <a:pt x="199" y="465"/>
                    <a:pt x="199" y="465"/>
                  </a:cubicBezTo>
                  <a:cubicBezTo>
                    <a:pt x="222" y="465"/>
                    <a:pt x="222" y="465"/>
                    <a:pt x="222" y="465"/>
                  </a:cubicBezTo>
                  <a:cubicBezTo>
                    <a:pt x="255" y="448"/>
                    <a:pt x="255" y="448"/>
                    <a:pt x="255" y="448"/>
                  </a:cubicBezTo>
                  <a:cubicBezTo>
                    <a:pt x="304" y="451"/>
                    <a:pt x="304" y="451"/>
                    <a:pt x="304" y="451"/>
                  </a:cubicBezTo>
                  <a:cubicBezTo>
                    <a:pt x="309" y="448"/>
                    <a:pt x="309" y="448"/>
                    <a:pt x="309" y="448"/>
                  </a:cubicBezTo>
                  <a:cubicBezTo>
                    <a:pt x="305" y="441"/>
                    <a:pt x="305" y="441"/>
                    <a:pt x="305" y="441"/>
                  </a:cubicBezTo>
                  <a:cubicBezTo>
                    <a:pt x="305" y="441"/>
                    <a:pt x="346" y="417"/>
                    <a:pt x="350" y="412"/>
                  </a:cubicBezTo>
                  <a:cubicBezTo>
                    <a:pt x="354" y="407"/>
                    <a:pt x="382" y="381"/>
                    <a:pt x="382" y="381"/>
                  </a:cubicBezTo>
                  <a:cubicBezTo>
                    <a:pt x="382" y="381"/>
                    <a:pt x="403" y="369"/>
                    <a:pt x="407" y="362"/>
                  </a:cubicBezTo>
                  <a:cubicBezTo>
                    <a:pt x="411" y="355"/>
                    <a:pt x="420" y="348"/>
                    <a:pt x="421" y="340"/>
                  </a:cubicBezTo>
                  <a:cubicBezTo>
                    <a:pt x="422" y="332"/>
                    <a:pt x="399" y="313"/>
                    <a:pt x="399" y="313"/>
                  </a:cubicBezTo>
                  <a:cubicBezTo>
                    <a:pt x="360" y="295"/>
                    <a:pt x="360" y="295"/>
                    <a:pt x="360" y="295"/>
                  </a:cubicBezTo>
                  <a:cubicBezTo>
                    <a:pt x="360" y="295"/>
                    <a:pt x="381" y="281"/>
                    <a:pt x="380" y="277"/>
                  </a:cubicBezTo>
                  <a:cubicBezTo>
                    <a:pt x="379" y="273"/>
                    <a:pt x="368" y="265"/>
                    <a:pt x="368" y="265"/>
                  </a:cubicBezTo>
                  <a:cubicBezTo>
                    <a:pt x="353" y="262"/>
                    <a:pt x="353" y="262"/>
                    <a:pt x="353" y="262"/>
                  </a:cubicBezTo>
                  <a:cubicBezTo>
                    <a:pt x="353" y="262"/>
                    <a:pt x="360" y="251"/>
                    <a:pt x="359" y="247"/>
                  </a:cubicBezTo>
                  <a:cubicBezTo>
                    <a:pt x="358" y="243"/>
                    <a:pt x="339" y="238"/>
                    <a:pt x="339" y="238"/>
                  </a:cubicBezTo>
                  <a:cubicBezTo>
                    <a:pt x="339" y="228"/>
                    <a:pt x="339" y="228"/>
                    <a:pt x="339" y="228"/>
                  </a:cubicBezTo>
                  <a:cubicBezTo>
                    <a:pt x="332" y="222"/>
                    <a:pt x="332" y="222"/>
                    <a:pt x="332" y="222"/>
                  </a:cubicBezTo>
                  <a:cubicBezTo>
                    <a:pt x="337" y="202"/>
                    <a:pt x="337" y="202"/>
                    <a:pt x="337" y="202"/>
                  </a:cubicBezTo>
                  <a:cubicBezTo>
                    <a:pt x="337" y="202"/>
                    <a:pt x="365" y="208"/>
                    <a:pt x="359" y="198"/>
                  </a:cubicBezTo>
                  <a:cubicBezTo>
                    <a:pt x="353" y="188"/>
                    <a:pt x="312" y="156"/>
                    <a:pt x="312" y="156"/>
                  </a:cubicBezTo>
                  <a:cubicBezTo>
                    <a:pt x="299" y="145"/>
                    <a:pt x="299" y="145"/>
                    <a:pt x="299" y="145"/>
                  </a:cubicBezTo>
                  <a:cubicBezTo>
                    <a:pt x="299" y="145"/>
                    <a:pt x="316" y="138"/>
                    <a:pt x="316" y="133"/>
                  </a:cubicBezTo>
                  <a:cubicBezTo>
                    <a:pt x="316" y="128"/>
                    <a:pt x="340" y="126"/>
                    <a:pt x="331" y="116"/>
                  </a:cubicBezTo>
                  <a:cubicBezTo>
                    <a:pt x="322" y="106"/>
                    <a:pt x="316" y="103"/>
                    <a:pt x="312" y="98"/>
                  </a:cubicBezTo>
                  <a:cubicBezTo>
                    <a:pt x="308" y="93"/>
                    <a:pt x="303" y="86"/>
                    <a:pt x="297" y="86"/>
                  </a:cubicBezTo>
                  <a:cubicBezTo>
                    <a:pt x="291" y="86"/>
                    <a:pt x="277" y="94"/>
                    <a:pt x="275" y="82"/>
                  </a:cubicBezTo>
                  <a:cubicBezTo>
                    <a:pt x="273" y="70"/>
                    <a:pt x="270" y="67"/>
                    <a:pt x="270" y="67"/>
                  </a:cubicBezTo>
                  <a:cubicBezTo>
                    <a:pt x="270" y="67"/>
                    <a:pt x="283" y="65"/>
                    <a:pt x="282" y="62"/>
                  </a:cubicBezTo>
                  <a:cubicBezTo>
                    <a:pt x="281" y="59"/>
                    <a:pt x="277" y="53"/>
                    <a:pt x="277" y="53"/>
                  </a:cubicBezTo>
                  <a:cubicBezTo>
                    <a:pt x="280" y="36"/>
                    <a:pt x="280" y="36"/>
                    <a:pt x="280" y="36"/>
                  </a:cubicBezTo>
                  <a:cubicBezTo>
                    <a:pt x="280" y="36"/>
                    <a:pt x="293" y="48"/>
                    <a:pt x="289" y="31"/>
                  </a:cubicBezTo>
                  <a:cubicBezTo>
                    <a:pt x="285" y="14"/>
                    <a:pt x="271" y="13"/>
                    <a:pt x="271" y="13"/>
                  </a:cubicBezTo>
                  <a:cubicBezTo>
                    <a:pt x="248" y="8"/>
                    <a:pt x="248" y="8"/>
                    <a:pt x="248" y="8"/>
                  </a:cubicBezTo>
                  <a:cubicBezTo>
                    <a:pt x="248" y="8"/>
                    <a:pt x="255" y="2"/>
                    <a:pt x="240" y="1"/>
                  </a:cubicBezTo>
                  <a:cubicBezTo>
                    <a:pt x="225" y="0"/>
                    <a:pt x="214" y="7"/>
                    <a:pt x="214" y="7"/>
                  </a:cubicBezTo>
                  <a:cubicBezTo>
                    <a:pt x="214" y="7"/>
                    <a:pt x="203" y="6"/>
                    <a:pt x="198" y="5"/>
                  </a:cubicBezTo>
                  <a:cubicBezTo>
                    <a:pt x="193" y="4"/>
                    <a:pt x="176" y="13"/>
                    <a:pt x="176" y="13"/>
                  </a:cubicBezTo>
                  <a:cubicBezTo>
                    <a:pt x="176" y="13"/>
                    <a:pt x="172" y="26"/>
                    <a:pt x="173" y="30"/>
                  </a:cubicBezTo>
                  <a:cubicBezTo>
                    <a:pt x="174" y="34"/>
                    <a:pt x="173" y="50"/>
                    <a:pt x="173" y="50"/>
                  </a:cubicBezTo>
                  <a:cubicBezTo>
                    <a:pt x="173" y="50"/>
                    <a:pt x="164" y="45"/>
                    <a:pt x="157" y="50"/>
                  </a:cubicBezTo>
                  <a:cubicBezTo>
                    <a:pt x="150" y="55"/>
                    <a:pt x="156" y="65"/>
                    <a:pt x="148" y="65"/>
                  </a:cubicBezTo>
                  <a:cubicBezTo>
                    <a:pt x="140" y="65"/>
                    <a:pt x="128" y="57"/>
                    <a:pt x="123" y="56"/>
                  </a:cubicBezTo>
                  <a:cubicBezTo>
                    <a:pt x="118" y="55"/>
                    <a:pt x="107" y="59"/>
                    <a:pt x="107" y="59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 273">
              <a:extLst>
                <a:ext uri="{FF2B5EF4-FFF2-40B4-BE49-F238E27FC236}">
                  <a16:creationId xmlns:a16="http://schemas.microsoft.com/office/drawing/2014/main" id="{1052B51F-112E-A3C5-1F6F-9003CF36FE8A}"/>
                </a:ext>
              </a:extLst>
            </p:cNvPr>
            <p:cNvSpPr>
              <a:spLocks/>
            </p:cNvSpPr>
            <p:nvPr/>
          </p:nvSpPr>
          <p:spPr bwMode="gray">
            <a:xfrm>
              <a:off x="-2682" y="-14107"/>
              <a:ext cx="76" cy="166"/>
            </a:xfrm>
            <a:custGeom>
              <a:avLst/>
              <a:gdLst>
                <a:gd name="T0" fmla="*/ 21 w 32"/>
                <a:gd name="T1" fmla="*/ 54 h 70"/>
                <a:gd name="T2" fmla="*/ 27 w 32"/>
                <a:gd name="T3" fmla="*/ 56 h 70"/>
                <a:gd name="T4" fmla="*/ 32 w 32"/>
                <a:gd name="T5" fmla="*/ 47 h 70"/>
                <a:gd name="T6" fmla="*/ 31 w 32"/>
                <a:gd name="T7" fmla="*/ 1 h 70"/>
                <a:gd name="T8" fmla="*/ 13 w 32"/>
                <a:gd name="T9" fmla="*/ 2 h 70"/>
                <a:gd name="T10" fmla="*/ 6 w 32"/>
                <a:gd name="T11" fmla="*/ 21 h 70"/>
                <a:gd name="T12" fmla="*/ 6 w 32"/>
                <a:gd name="T13" fmla="*/ 40 h 70"/>
                <a:gd name="T14" fmla="*/ 7 w 32"/>
                <a:gd name="T15" fmla="*/ 62 h 70"/>
                <a:gd name="T16" fmla="*/ 21 w 32"/>
                <a:gd name="T17" fmla="*/ 5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70">
                  <a:moveTo>
                    <a:pt x="21" y="54"/>
                  </a:moveTo>
                  <a:cubicBezTo>
                    <a:pt x="22" y="53"/>
                    <a:pt x="24" y="54"/>
                    <a:pt x="27" y="56"/>
                  </a:cubicBezTo>
                  <a:cubicBezTo>
                    <a:pt x="29" y="51"/>
                    <a:pt x="32" y="47"/>
                    <a:pt x="32" y="4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26" y="0"/>
                    <a:pt x="17" y="0"/>
                    <a:pt x="13" y="2"/>
                  </a:cubicBezTo>
                  <a:cubicBezTo>
                    <a:pt x="7" y="6"/>
                    <a:pt x="6" y="21"/>
                    <a:pt x="6" y="21"/>
                  </a:cubicBezTo>
                  <a:cubicBezTo>
                    <a:pt x="6" y="21"/>
                    <a:pt x="7" y="34"/>
                    <a:pt x="6" y="40"/>
                  </a:cubicBezTo>
                  <a:cubicBezTo>
                    <a:pt x="5" y="46"/>
                    <a:pt x="0" y="54"/>
                    <a:pt x="7" y="62"/>
                  </a:cubicBezTo>
                  <a:cubicBezTo>
                    <a:pt x="13" y="70"/>
                    <a:pt x="18" y="55"/>
                    <a:pt x="21" y="5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 274">
              <a:extLst>
                <a:ext uri="{FF2B5EF4-FFF2-40B4-BE49-F238E27FC236}">
                  <a16:creationId xmlns:a16="http://schemas.microsoft.com/office/drawing/2014/main" id="{D7F8DA73-AEC0-845A-F0E1-74D0304B0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-2646" y="-14215"/>
              <a:ext cx="439" cy="557"/>
            </a:xfrm>
            <a:custGeom>
              <a:avLst/>
              <a:gdLst>
                <a:gd name="T0" fmla="*/ 169 w 186"/>
                <a:gd name="T1" fmla="*/ 44 h 236"/>
                <a:gd name="T2" fmla="*/ 169 w 186"/>
                <a:gd name="T3" fmla="*/ 30 h 236"/>
                <a:gd name="T4" fmla="*/ 157 w 186"/>
                <a:gd name="T5" fmla="*/ 0 h 236"/>
                <a:gd name="T6" fmla="*/ 73 w 186"/>
                <a:gd name="T7" fmla="*/ 57 h 236"/>
                <a:gd name="T8" fmla="*/ 45 w 186"/>
                <a:gd name="T9" fmla="*/ 45 h 236"/>
                <a:gd name="T10" fmla="*/ 23 w 186"/>
                <a:gd name="T11" fmla="*/ 33 h 236"/>
                <a:gd name="T12" fmla="*/ 19 w 186"/>
                <a:gd name="T13" fmla="*/ 36 h 236"/>
                <a:gd name="T14" fmla="*/ 16 w 186"/>
                <a:gd name="T15" fmla="*/ 45 h 236"/>
                <a:gd name="T16" fmla="*/ 17 w 186"/>
                <a:gd name="T17" fmla="*/ 93 h 236"/>
                <a:gd name="T18" fmla="*/ 10 w 186"/>
                <a:gd name="T19" fmla="*/ 107 h 236"/>
                <a:gd name="T20" fmla="*/ 16 w 186"/>
                <a:gd name="T21" fmla="*/ 115 h 236"/>
                <a:gd name="T22" fmla="*/ 15 w 186"/>
                <a:gd name="T23" fmla="*/ 134 h 236"/>
                <a:gd name="T24" fmla="*/ 4 w 186"/>
                <a:gd name="T25" fmla="*/ 158 h 236"/>
                <a:gd name="T26" fmla="*/ 0 w 186"/>
                <a:gd name="T27" fmla="*/ 211 h 236"/>
                <a:gd name="T28" fmla="*/ 2 w 186"/>
                <a:gd name="T29" fmla="*/ 217 h 236"/>
                <a:gd name="T30" fmla="*/ 3 w 186"/>
                <a:gd name="T31" fmla="*/ 217 h 236"/>
                <a:gd name="T32" fmla="*/ 55 w 186"/>
                <a:gd name="T33" fmla="*/ 225 h 236"/>
                <a:gd name="T34" fmla="*/ 77 w 186"/>
                <a:gd name="T35" fmla="*/ 185 h 236"/>
                <a:gd name="T36" fmla="*/ 108 w 186"/>
                <a:gd name="T37" fmla="*/ 180 h 236"/>
                <a:gd name="T38" fmla="*/ 122 w 186"/>
                <a:gd name="T39" fmla="*/ 147 h 236"/>
                <a:gd name="T40" fmla="*/ 96 w 186"/>
                <a:gd name="T41" fmla="*/ 108 h 236"/>
                <a:gd name="T42" fmla="*/ 64 w 186"/>
                <a:gd name="T43" fmla="*/ 100 h 236"/>
                <a:gd name="T44" fmla="*/ 96 w 186"/>
                <a:gd name="T45" fmla="*/ 94 h 236"/>
                <a:gd name="T46" fmla="*/ 124 w 186"/>
                <a:gd name="T47" fmla="*/ 94 h 236"/>
                <a:gd name="T48" fmla="*/ 132 w 186"/>
                <a:gd name="T49" fmla="*/ 80 h 236"/>
                <a:gd name="T50" fmla="*/ 166 w 186"/>
                <a:gd name="T51" fmla="*/ 76 h 236"/>
                <a:gd name="T52" fmla="*/ 185 w 186"/>
                <a:gd name="T53" fmla="*/ 62 h 236"/>
                <a:gd name="T54" fmla="*/ 186 w 186"/>
                <a:gd name="T55" fmla="*/ 53 h 236"/>
                <a:gd name="T56" fmla="*/ 169 w 186"/>
                <a:gd name="T57" fmla="*/ 4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6" h="236">
                  <a:moveTo>
                    <a:pt x="169" y="44"/>
                  </a:moveTo>
                  <a:cubicBezTo>
                    <a:pt x="169" y="30"/>
                    <a:pt x="169" y="30"/>
                    <a:pt x="169" y="3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54" y="2"/>
                    <a:pt x="94" y="57"/>
                    <a:pt x="73" y="57"/>
                  </a:cubicBezTo>
                  <a:cubicBezTo>
                    <a:pt x="52" y="57"/>
                    <a:pt x="45" y="45"/>
                    <a:pt x="45" y="45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3"/>
                    <a:pt x="10" y="103"/>
                    <a:pt x="10" y="107"/>
                  </a:cubicBezTo>
                  <a:cubicBezTo>
                    <a:pt x="10" y="111"/>
                    <a:pt x="12" y="111"/>
                    <a:pt x="16" y="115"/>
                  </a:cubicBezTo>
                  <a:cubicBezTo>
                    <a:pt x="20" y="119"/>
                    <a:pt x="18" y="127"/>
                    <a:pt x="15" y="134"/>
                  </a:cubicBezTo>
                  <a:cubicBezTo>
                    <a:pt x="12" y="141"/>
                    <a:pt x="4" y="146"/>
                    <a:pt x="4" y="158"/>
                  </a:cubicBezTo>
                  <a:cubicBezTo>
                    <a:pt x="4" y="170"/>
                    <a:pt x="0" y="211"/>
                    <a:pt x="0" y="211"/>
                  </a:cubicBezTo>
                  <a:cubicBezTo>
                    <a:pt x="2" y="217"/>
                    <a:pt x="2" y="217"/>
                    <a:pt x="2" y="217"/>
                  </a:cubicBezTo>
                  <a:cubicBezTo>
                    <a:pt x="2" y="217"/>
                    <a:pt x="3" y="217"/>
                    <a:pt x="3" y="217"/>
                  </a:cubicBezTo>
                  <a:cubicBezTo>
                    <a:pt x="10" y="216"/>
                    <a:pt x="41" y="236"/>
                    <a:pt x="55" y="225"/>
                  </a:cubicBezTo>
                  <a:cubicBezTo>
                    <a:pt x="69" y="214"/>
                    <a:pt x="71" y="187"/>
                    <a:pt x="77" y="185"/>
                  </a:cubicBezTo>
                  <a:cubicBezTo>
                    <a:pt x="83" y="183"/>
                    <a:pt x="100" y="187"/>
                    <a:pt x="108" y="180"/>
                  </a:cubicBezTo>
                  <a:cubicBezTo>
                    <a:pt x="116" y="173"/>
                    <a:pt x="122" y="147"/>
                    <a:pt x="122" y="147"/>
                  </a:cubicBezTo>
                  <a:cubicBezTo>
                    <a:pt x="122" y="147"/>
                    <a:pt x="103" y="112"/>
                    <a:pt x="96" y="108"/>
                  </a:cubicBezTo>
                  <a:cubicBezTo>
                    <a:pt x="89" y="104"/>
                    <a:pt x="57" y="107"/>
                    <a:pt x="64" y="100"/>
                  </a:cubicBezTo>
                  <a:cubicBezTo>
                    <a:pt x="71" y="93"/>
                    <a:pt x="96" y="94"/>
                    <a:pt x="96" y="94"/>
                  </a:cubicBezTo>
                  <a:cubicBezTo>
                    <a:pt x="124" y="94"/>
                    <a:pt x="124" y="94"/>
                    <a:pt x="124" y="94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80"/>
                    <a:pt x="160" y="82"/>
                    <a:pt x="166" y="76"/>
                  </a:cubicBezTo>
                  <a:cubicBezTo>
                    <a:pt x="172" y="70"/>
                    <a:pt x="185" y="62"/>
                    <a:pt x="185" y="62"/>
                  </a:cubicBezTo>
                  <a:cubicBezTo>
                    <a:pt x="186" y="53"/>
                    <a:pt x="186" y="53"/>
                    <a:pt x="186" y="53"/>
                  </a:cubicBezTo>
                  <a:lnTo>
                    <a:pt x="169" y="4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275">
              <a:extLst>
                <a:ext uri="{FF2B5EF4-FFF2-40B4-BE49-F238E27FC236}">
                  <a16:creationId xmlns:a16="http://schemas.microsoft.com/office/drawing/2014/main" id="{76B46188-62BA-9600-EB68-F306761415AB}"/>
                </a:ext>
              </a:extLst>
            </p:cNvPr>
            <p:cNvSpPr>
              <a:spLocks/>
            </p:cNvSpPr>
            <p:nvPr/>
          </p:nvSpPr>
          <p:spPr bwMode="gray">
            <a:xfrm>
              <a:off x="-2743" y="-14227"/>
              <a:ext cx="158" cy="510"/>
            </a:xfrm>
            <a:custGeom>
              <a:avLst/>
              <a:gdLst>
                <a:gd name="T0" fmla="*/ 0 w 67"/>
                <a:gd name="T1" fmla="*/ 113 h 216"/>
                <a:gd name="T2" fmla="*/ 36 w 67"/>
                <a:gd name="T3" fmla="*/ 206 h 216"/>
                <a:gd name="T4" fmla="*/ 41 w 67"/>
                <a:gd name="T5" fmla="*/ 216 h 216"/>
                <a:gd name="T6" fmla="*/ 45 w 67"/>
                <a:gd name="T7" fmla="*/ 163 h 216"/>
                <a:gd name="T8" fmla="*/ 56 w 67"/>
                <a:gd name="T9" fmla="*/ 139 h 216"/>
                <a:gd name="T10" fmla="*/ 57 w 67"/>
                <a:gd name="T11" fmla="*/ 120 h 216"/>
                <a:gd name="T12" fmla="*/ 51 w 67"/>
                <a:gd name="T13" fmla="*/ 112 h 216"/>
                <a:gd name="T14" fmla="*/ 53 w 67"/>
                <a:gd name="T15" fmla="*/ 107 h 216"/>
                <a:gd name="T16" fmla="*/ 47 w 67"/>
                <a:gd name="T17" fmla="*/ 105 h 216"/>
                <a:gd name="T18" fmla="*/ 33 w 67"/>
                <a:gd name="T19" fmla="*/ 113 h 216"/>
                <a:gd name="T20" fmla="*/ 32 w 67"/>
                <a:gd name="T21" fmla="*/ 91 h 216"/>
                <a:gd name="T22" fmla="*/ 32 w 67"/>
                <a:gd name="T23" fmla="*/ 72 h 216"/>
                <a:gd name="T24" fmla="*/ 39 w 67"/>
                <a:gd name="T25" fmla="*/ 53 h 216"/>
                <a:gd name="T26" fmla="*/ 57 w 67"/>
                <a:gd name="T27" fmla="*/ 52 h 216"/>
                <a:gd name="T28" fmla="*/ 57 w 67"/>
                <a:gd name="T29" fmla="*/ 50 h 216"/>
                <a:gd name="T30" fmla="*/ 60 w 67"/>
                <a:gd name="T31" fmla="*/ 41 h 216"/>
                <a:gd name="T32" fmla="*/ 57 w 67"/>
                <a:gd name="T33" fmla="*/ 11 h 216"/>
                <a:gd name="T34" fmla="*/ 67 w 67"/>
                <a:gd name="T35" fmla="*/ 0 h 216"/>
                <a:gd name="T36" fmla="*/ 52 w 67"/>
                <a:gd name="T37" fmla="*/ 3 h 216"/>
                <a:gd name="T38" fmla="*/ 48 w 67"/>
                <a:gd name="T39" fmla="*/ 20 h 216"/>
                <a:gd name="T40" fmla="*/ 34 w 67"/>
                <a:gd name="T41" fmla="*/ 21 h 216"/>
                <a:gd name="T42" fmla="*/ 27 w 67"/>
                <a:gd name="T43" fmla="*/ 34 h 216"/>
                <a:gd name="T44" fmla="*/ 22 w 67"/>
                <a:gd name="T45" fmla="*/ 39 h 216"/>
                <a:gd name="T46" fmla="*/ 27 w 67"/>
                <a:gd name="T47" fmla="*/ 63 h 216"/>
                <a:gd name="T48" fmla="*/ 13 w 67"/>
                <a:gd name="T49" fmla="*/ 89 h 216"/>
                <a:gd name="T50" fmla="*/ 11 w 67"/>
                <a:gd name="T51" fmla="*/ 105 h 216"/>
                <a:gd name="T52" fmla="*/ 0 w 67"/>
                <a:gd name="T53" fmla="*/ 113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7" h="216">
                  <a:moveTo>
                    <a:pt x="0" y="113"/>
                  </a:moveTo>
                  <a:cubicBezTo>
                    <a:pt x="36" y="206"/>
                    <a:pt x="36" y="206"/>
                    <a:pt x="36" y="206"/>
                  </a:cubicBezTo>
                  <a:cubicBezTo>
                    <a:pt x="41" y="216"/>
                    <a:pt x="41" y="216"/>
                    <a:pt x="41" y="216"/>
                  </a:cubicBezTo>
                  <a:cubicBezTo>
                    <a:pt x="41" y="216"/>
                    <a:pt x="45" y="175"/>
                    <a:pt x="45" y="163"/>
                  </a:cubicBezTo>
                  <a:cubicBezTo>
                    <a:pt x="45" y="151"/>
                    <a:pt x="53" y="146"/>
                    <a:pt x="56" y="139"/>
                  </a:cubicBezTo>
                  <a:cubicBezTo>
                    <a:pt x="59" y="132"/>
                    <a:pt x="61" y="124"/>
                    <a:pt x="57" y="120"/>
                  </a:cubicBezTo>
                  <a:cubicBezTo>
                    <a:pt x="53" y="116"/>
                    <a:pt x="51" y="116"/>
                    <a:pt x="51" y="112"/>
                  </a:cubicBezTo>
                  <a:cubicBezTo>
                    <a:pt x="51" y="111"/>
                    <a:pt x="52" y="109"/>
                    <a:pt x="53" y="107"/>
                  </a:cubicBezTo>
                  <a:cubicBezTo>
                    <a:pt x="50" y="105"/>
                    <a:pt x="48" y="104"/>
                    <a:pt x="47" y="105"/>
                  </a:cubicBezTo>
                  <a:cubicBezTo>
                    <a:pt x="44" y="106"/>
                    <a:pt x="39" y="121"/>
                    <a:pt x="33" y="113"/>
                  </a:cubicBezTo>
                  <a:cubicBezTo>
                    <a:pt x="26" y="105"/>
                    <a:pt x="31" y="97"/>
                    <a:pt x="32" y="91"/>
                  </a:cubicBezTo>
                  <a:cubicBezTo>
                    <a:pt x="33" y="85"/>
                    <a:pt x="32" y="72"/>
                    <a:pt x="32" y="72"/>
                  </a:cubicBezTo>
                  <a:cubicBezTo>
                    <a:pt x="32" y="72"/>
                    <a:pt x="33" y="57"/>
                    <a:pt x="39" y="53"/>
                  </a:cubicBezTo>
                  <a:cubicBezTo>
                    <a:pt x="43" y="51"/>
                    <a:pt x="52" y="51"/>
                    <a:pt x="57" y="52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3"/>
                    <a:pt x="53" y="13"/>
                    <a:pt x="48" y="20"/>
                  </a:cubicBezTo>
                  <a:cubicBezTo>
                    <a:pt x="43" y="27"/>
                    <a:pt x="34" y="21"/>
                    <a:pt x="34" y="21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3" y="52"/>
                    <a:pt x="27" y="63"/>
                    <a:pt x="27" y="63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1" y="105"/>
                    <a:pt x="11" y="105"/>
                    <a:pt x="11" y="105"/>
                  </a:cubicBezTo>
                  <a:lnTo>
                    <a:pt x="0" y="113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96" name="Freeform 276">
              <a:extLst>
                <a:ext uri="{FF2B5EF4-FFF2-40B4-BE49-F238E27FC236}">
                  <a16:creationId xmlns:a16="http://schemas.microsoft.com/office/drawing/2014/main" id="{1388E0F7-586A-F348-997E-2D595372EA3D}"/>
                </a:ext>
              </a:extLst>
            </p:cNvPr>
            <p:cNvSpPr>
              <a:spLocks/>
            </p:cNvSpPr>
            <p:nvPr/>
          </p:nvSpPr>
          <p:spPr bwMode="gray">
            <a:xfrm>
              <a:off x="-8308" y="-13495"/>
              <a:ext cx="947" cy="810"/>
            </a:xfrm>
            <a:custGeom>
              <a:avLst/>
              <a:gdLst>
                <a:gd name="T0" fmla="*/ 364 w 401"/>
                <a:gd name="T1" fmla="*/ 0 h 343"/>
                <a:gd name="T2" fmla="*/ 192 w 401"/>
                <a:gd name="T3" fmla="*/ 0 h 343"/>
                <a:gd name="T4" fmla="*/ 186 w 401"/>
                <a:gd name="T5" fmla="*/ 12 h 343"/>
                <a:gd name="T6" fmla="*/ 176 w 401"/>
                <a:gd name="T7" fmla="*/ 47 h 343"/>
                <a:gd name="T8" fmla="*/ 160 w 401"/>
                <a:gd name="T9" fmla="*/ 61 h 343"/>
                <a:gd name="T10" fmla="*/ 140 w 401"/>
                <a:gd name="T11" fmla="*/ 66 h 343"/>
                <a:gd name="T12" fmla="*/ 125 w 401"/>
                <a:gd name="T13" fmla="*/ 72 h 343"/>
                <a:gd name="T14" fmla="*/ 123 w 401"/>
                <a:gd name="T15" fmla="*/ 97 h 343"/>
                <a:gd name="T16" fmla="*/ 104 w 401"/>
                <a:gd name="T17" fmla="*/ 122 h 343"/>
                <a:gd name="T18" fmla="*/ 108 w 401"/>
                <a:gd name="T19" fmla="*/ 158 h 343"/>
                <a:gd name="T20" fmla="*/ 92 w 401"/>
                <a:gd name="T21" fmla="*/ 171 h 343"/>
                <a:gd name="T22" fmla="*/ 78 w 401"/>
                <a:gd name="T23" fmla="*/ 190 h 343"/>
                <a:gd name="T24" fmla="*/ 58 w 401"/>
                <a:gd name="T25" fmla="*/ 201 h 343"/>
                <a:gd name="T26" fmla="*/ 52 w 401"/>
                <a:gd name="T27" fmla="*/ 212 h 343"/>
                <a:gd name="T28" fmla="*/ 60 w 401"/>
                <a:gd name="T29" fmla="*/ 216 h 343"/>
                <a:gd name="T30" fmla="*/ 45 w 401"/>
                <a:gd name="T31" fmla="*/ 237 h 343"/>
                <a:gd name="T32" fmla="*/ 41 w 401"/>
                <a:gd name="T33" fmla="*/ 259 h 343"/>
                <a:gd name="T34" fmla="*/ 32 w 401"/>
                <a:gd name="T35" fmla="*/ 259 h 343"/>
                <a:gd name="T36" fmla="*/ 31 w 401"/>
                <a:gd name="T37" fmla="*/ 281 h 343"/>
                <a:gd name="T38" fmla="*/ 18 w 401"/>
                <a:gd name="T39" fmla="*/ 286 h 343"/>
                <a:gd name="T40" fmla="*/ 1 w 401"/>
                <a:gd name="T41" fmla="*/ 318 h 343"/>
                <a:gd name="T42" fmla="*/ 0 w 401"/>
                <a:gd name="T43" fmla="*/ 343 h 343"/>
                <a:gd name="T44" fmla="*/ 186 w 401"/>
                <a:gd name="T45" fmla="*/ 341 h 343"/>
                <a:gd name="T46" fmla="*/ 187 w 401"/>
                <a:gd name="T47" fmla="*/ 272 h 343"/>
                <a:gd name="T48" fmla="*/ 189 w 401"/>
                <a:gd name="T49" fmla="*/ 247 h 343"/>
                <a:gd name="T50" fmla="*/ 208 w 401"/>
                <a:gd name="T51" fmla="*/ 236 h 343"/>
                <a:gd name="T52" fmla="*/ 235 w 401"/>
                <a:gd name="T53" fmla="*/ 231 h 343"/>
                <a:gd name="T54" fmla="*/ 238 w 401"/>
                <a:gd name="T55" fmla="*/ 101 h 343"/>
                <a:gd name="T56" fmla="*/ 243 w 401"/>
                <a:gd name="T57" fmla="*/ 98 h 343"/>
                <a:gd name="T58" fmla="*/ 243 w 401"/>
                <a:gd name="T59" fmla="*/ 88 h 343"/>
                <a:gd name="T60" fmla="*/ 391 w 401"/>
                <a:gd name="T61" fmla="*/ 87 h 343"/>
                <a:gd name="T62" fmla="*/ 392 w 401"/>
                <a:gd name="T63" fmla="*/ 62 h 343"/>
                <a:gd name="T64" fmla="*/ 397 w 401"/>
                <a:gd name="T65" fmla="*/ 58 h 343"/>
                <a:gd name="T66" fmla="*/ 401 w 401"/>
                <a:gd name="T67" fmla="*/ 2 h 343"/>
                <a:gd name="T68" fmla="*/ 364 w 401"/>
                <a:gd name="T69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1" h="343">
                  <a:moveTo>
                    <a:pt x="364" y="0"/>
                  </a:moveTo>
                  <a:cubicBezTo>
                    <a:pt x="192" y="0"/>
                    <a:pt x="192" y="0"/>
                    <a:pt x="192" y="0"/>
                  </a:cubicBezTo>
                  <a:cubicBezTo>
                    <a:pt x="190" y="3"/>
                    <a:pt x="188" y="8"/>
                    <a:pt x="186" y="12"/>
                  </a:cubicBezTo>
                  <a:cubicBezTo>
                    <a:pt x="181" y="25"/>
                    <a:pt x="176" y="47"/>
                    <a:pt x="176" y="47"/>
                  </a:cubicBezTo>
                  <a:cubicBezTo>
                    <a:pt x="176" y="47"/>
                    <a:pt x="164" y="57"/>
                    <a:pt x="160" y="61"/>
                  </a:cubicBezTo>
                  <a:cubicBezTo>
                    <a:pt x="156" y="65"/>
                    <a:pt x="140" y="66"/>
                    <a:pt x="140" y="66"/>
                  </a:cubicBezTo>
                  <a:cubicBezTo>
                    <a:pt x="140" y="66"/>
                    <a:pt x="129" y="63"/>
                    <a:pt x="125" y="72"/>
                  </a:cubicBezTo>
                  <a:cubicBezTo>
                    <a:pt x="121" y="81"/>
                    <a:pt x="123" y="97"/>
                    <a:pt x="123" y="97"/>
                  </a:cubicBezTo>
                  <a:cubicBezTo>
                    <a:pt x="123" y="97"/>
                    <a:pt x="104" y="116"/>
                    <a:pt x="104" y="122"/>
                  </a:cubicBezTo>
                  <a:cubicBezTo>
                    <a:pt x="104" y="128"/>
                    <a:pt x="115" y="145"/>
                    <a:pt x="108" y="158"/>
                  </a:cubicBezTo>
                  <a:cubicBezTo>
                    <a:pt x="101" y="171"/>
                    <a:pt x="92" y="171"/>
                    <a:pt x="92" y="171"/>
                  </a:cubicBezTo>
                  <a:cubicBezTo>
                    <a:pt x="92" y="171"/>
                    <a:pt x="83" y="185"/>
                    <a:pt x="78" y="190"/>
                  </a:cubicBezTo>
                  <a:cubicBezTo>
                    <a:pt x="73" y="195"/>
                    <a:pt x="62" y="197"/>
                    <a:pt x="58" y="201"/>
                  </a:cubicBezTo>
                  <a:cubicBezTo>
                    <a:pt x="54" y="205"/>
                    <a:pt x="52" y="212"/>
                    <a:pt x="52" y="212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49" y="227"/>
                    <a:pt x="45" y="237"/>
                  </a:cubicBezTo>
                  <a:cubicBezTo>
                    <a:pt x="41" y="247"/>
                    <a:pt x="41" y="259"/>
                    <a:pt x="41" y="259"/>
                  </a:cubicBezTo>
                  <a:cubicBezTo>
                    <a:pt x="32" y="259"/>
                    <a:pt x="32" y="259"/>
                    <a:pt x="32" y="259"/>
                  </a:cubicBezTo>
                  <a:cubicBezTo>
                    <a:pt x="32" y="259"/>
                    <a:pt x="42" y="271"/>
                    <a:pt x="31" y="281"/>
                  </a:cubicBezTo>
                  <a:cubicBezTo>
                    <a:pt x="20" y="291"/>
                    <a:pt x="18" y="286"/>
                    <a:pt x="18" y="286"/>
                  </a:cubicBezTo>
                  <a:cubicBezTo>
                    <a:pt x="18" y="286"/>
                    <a:pt x="1" y="304"/>
                    <a:pt x="1" y="318"/>
                  </a:cubicBezTo>
                  <a:cubicBezTo>
                    <a:pt x="1" y="325"/>
                    <a:pt x="1" y="335"/>
                    <a:pt x="0" y="343"/>
                  </a:cubicBezTo>
                  <a:cubicBezTo>
                    <a:pt x="186" y="341"/>
                    <a:pt x="186" y="341"/>
                    <a:pt x="186" y="341"/>
                  </a:cubicBezTo>
                  <a:cubicBezTo>
                    <a:pt x="187" y="272"/>
                    <a:pt x="187" y="272"/>
                    <a:pt x="187" y="272"/>
                  </a:cubicBezTo>
                  <a:cubicBezTo>
                    <a:pt x="187" y="272"/>
                    <a:pt x="178" y="257"/>
                    <a:pt x="189" y="247"/>
                  </a:cubicBezTo>
                  <a:cubicBezTo>
                    <a:pt x="200" y="237"/>
                    <a:pt x="208" y="236"/>
                    <a:pt x="208" y="236"/>
                  </a:cubicBezTo>
                  <a:cubicBezTo>
                    <a:pt x="208" y="236"/>
                    <a:pt x="233" y="237"/>
                    <a:pt x="235" y="231"/>
                  </a:cubicBezTo>
                  <a:cubicBezTo>
                    <a:pt x="237" y="225"/>
                    <a:pt x="238" y="101"/>
                    <a:pt x="238" y="101"/>
                  </a:cubicBezTo>
                  <a:cubicBezTo>
                    <a:pt x="243" y="98"/>
                    <a:pt x="243" y="98"/>
                    <a:pt x="243" y="98"/>
                  </a:cubicBezTo>
                  <a:cubicBezTo>
                    <a:pt x="243" y="88"/>
                    <a:pt x="243" y="88"/>
                    <a:pt x="243" y="88"/>
                  </a:cubicBezTo>
                  <a:cubicBezTo>
                    <a:pt x="391" y="87"/>
                    <a:pt x="391" y="87"/>
                    <a:pt x="391" y="87"/>
                  </a:cubicBezTo>
                  <a:cubicBezTo>
                    <a:pt x="392" y="62"/>
                    <a:pt x="392" y="62"/>
                    <a:pt x="392" y="62"/>
                  </a:cubicBezTo>
                  <a:cubicBezTo>
                    <a:pt x="397" y="58"/>
                    <a:pt x="397" y="58"/>
                    <a:pt x="397" y="58"/>
                  </a:cubicBezTo>
                  <a:cubicBezTo>
                    <a:pt x="401" y="2"/>
                    <a:pt x="401" y="2"/>
                    <a:pt x="401" y="2"/>
                  </a:cubicBezTo>
                  <a:lnTo>
                    <a:pt x="364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97" name="Freeform 277">
              <a:extLst>
                <a:ext uri="{FF2B5EF4-FFF2-40B4-BE49-F238E27FC236}">
                  <a16:creationId xmlns:a16="http://schemas.microsoft.com/office/drawing/2014/main" id="{EA032EAF-8F18-5636-0267-61A46D664D10}"/>
                </a:ext>
              </a:extLst>
            </p:cNvPr>
            <p:cNvSpPr>
              <a:spLocks/>
            </p:cNvSpPr>
            <p:nvPr/>
          </p:nvSpPr>
          <p:spPr bwMode="gray">
            <a:xfrm>
              <a:off x="-8273" y="-11600"/>
              <a:ext cx="295" cy="243"/>
            </a:xfrm>
            <a:custGeom>
              <a:avLst/>
              <a:gdLst>
                <a:gd name="T0" fmla="*/ 85 w 125"/>
                <a:gd name="T1" fmla="*/ 67 h 103"/>
                <a:gd name="T2" fmla="*/ 102 w 125"/>
                <a:gd name="T3" fmla="*/ 60 h 103"/>
                <a:gd name="T4" fmla="*/ 124 w 125"/>
                <a:gd name="T5" fmla="*/ 49 h 103"/>
                <a:gd name="T6" fmla="*/ 108 w 125"/>
                <a:gd name="T7" fmla="*/ 28 h 103"/>
                <a:gd name="T8" fmla="*/ 124 w 125"/>
                <a:gd name="T9" fmla="*/ 19 h 103"/>
                <a:gd name="T10" fmla="*/ 123 w 125"/>
                <a:gd name="T11" fmla="*/ 2 h 103"/>
                <a:gd name="T12" fmla="*/ 56 w 125"/>
                <a:gd name="T13" fmla="*/ 0 h 103"/>
                <a:gd name="T14" fmla="*/ 39 w 125"/>
                <a:gd name="T15" fmla="*/ 15 h 103"/>
                <a:gd name="T16" fmla="*/ 12 w 125"/>
                <a:gd name="T17" fmla="*/ 15 h 103"/>
                <a:gd name="T18" fmla="*/ 4 w 125"/>
                <a:gd name="T19" fmla="*/ 25 h 103"/>
                <a:gd name="T20" fmla="*/ 0 w 125"/>
                <a:gd name="T21" fmla="*/ 48 h 103"/>
                <a:gd name="T22" fmla="*/ 15 w 125"/>
                <a:gd name="T23" fmla="*/ 50 h 103"/>
                <a:gd name="T24" fmla="*/ 46 w 125"/>
                <a:gd name="T25" fmla="*/ 45 h 103"/>
                <a:gd name="T26" fmla="*/ 63 w 125"/>
                <a:gd name="T27" fmla="*/ 39 h 103"/>
                <a:gd name="T28" fmla="*/ 63 w 125"/>
                <a:gd name="T29" fmla="*/ 54 h 103"/>
                <a:gd name="T30" fmla="*/ 37 w 125"/>
                <a:gd name="T31" fmla="*/ 52 h 103"/>
                <a:gd name="T32" fmla="*/ 42 w 125"/>
                <a:gd name="T33" fmla="*/ 68 h 103"/>
                <a:gd name="T34" fmla="*/ 63 w 125"/>
                <a:gd name="T35" fmla="*/ 63 h 103"/>
                <a:gd name="T36" fmla="*/ 39 w 125"/>
                <a:gd name="T37" fmla="*/ 75 h 103"/>
                <a:gd name="T38" fmla="*/ 58 w 125"/>
                <a:gd name="T39" fmla="*/ 103 h 103"/>
                <a:gd name="T40" fmla="*/ 63 w 125"/>
                <a:gd name="T41" fmla="*/ 88 h 103"/>
                <a:gd name="T42" fmla="*/ 72 w 125"/>
                <a:gd name="T43" fmla="*/ 68 h 103"/>
                <a:gd name="T44" fmla="*/ 85 w 125"/>
                <a:gd name="T45" fmla="*/ 67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103">
                  <a:moveTo>
                    <a:pt x="85" y="67"/>
                  </a:moveTo>
                  <a:cubicBezTo>
                    <a:pt x="85" y="67"/>
                    <a:pt x="92" y="60"/>
                    <a:pt x="102" y="60"/>
                  </a:cubicBezTo>
                  <a:cubicBezTo>
                    <a:pt x="112" y="60"/>
                    <a:pt x="123" y="64"/>
                    <a:pt x="124" y="49"/>
                  </a:cubicBezTo>
                  <a:cubicBezTo>
                    <a:pt x="125" y="34"/>
                    <a:pt x="108" y="39"/>
                    <a:pt x="108" y="28"/>
                  </a:cubicBezTo>
                  <a:cubicBezTo>
                    <a:pt x="108" y="17"/>
                    <a:pt x="124" y="19"/>
                    <a:pt x="124" y="19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8" y="56"/>
                    <a:pt x="15" y="50"/>
                  </a:cubicBezTo>
                  <a:cubicBezTo>
                    <a:pt x="22" y="44"/>
                    <a:pt x="46" y="45"/>
                    <a:pt x="46" y="45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3" y="54"/>
                    <a:pt x="39" y="42"/>
                    <a:pt x="37" y="52"/>
                  </a:cubicBezTo>
                  <a:cubicBezTo>
                    <a:pt x="35" y="62"/>
                    <a:pt x="42" y="68"/>
                    <a:pt x="42" y="68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72" y="68"/>
                    <a:pt x="72" y="68"/>
                    <a:pt x="72" y="68"/>
                  </a:cubicBezTo>
                  <a:lnTo>
                    <a:pt x="85" y="67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98" name="Freeform 278">
              <a:extLst>
                <a:ext uri="{FF2B5EF4-FFF2-40B4-BE49-F238E27FC236}">
                  <a16:creationId xmlns:a16="http://schemas.microsoft.com/office/drawing/2014/main" id="{B4C29054-B1CC-1748-5E65-10CCDF98145B}"/>
                </a:ext>
              </a:extLst>
            </p:cNvPr>
            <p:cNvSpPr>
              <a:spLocks/>
            </p:cNvSpPr>
            <p:nvPr/>
          </p:nvSpPr>
          <p:spPr bwMode="gray">
            <a:xfrm>
              <a:off x="-8323" y="-11742"/>
              <a:ext cx="364" cy="92"/>
            </a:xfrm>
            <a:custGeom>
              <a:avLst/>
              <a:gdLst>
                <a:gd name="T0" fmla="*/ 11 w 154"/>
                <a:gd name="T1" fmla="*/ 15 h 39"/>
                <a:gd name="T2" fmla="*/ 0 w 154"/>
                <a:gd name="T3" fmla="*/ 37 h 39"/>
                <a:gd name="T4" fmla="*/ 0 w 154"/>
                <a:gd name="T5" fmla="*/ 39 h 39"/>
                <a:gd name="T6" fmla="*/ 43 w 154"/>
                <a:gd name="T7" fmla="*/ 39 h 39"/>
                <a:gd name="T8" fmla="*/ 47 w 154"/>
                <a:gd name="T9" fmla="*/ 30 h 39"/>
                <a:gd name="T10" fmla="*/ 72 w 154"/>
                <a:gd name="T11" fmla="*/ 27 h 39"/>
                <a:gd name="T12" fmla="*/ 84 w 154"/>
                <a:gd name="T13" fmla="*/ 15 h 39"/>
                <a:gd name="T14" fmla="*/ 118 w 154"/>
                <a:gd name="T15" fmla="*/ 34 h 39"/>
                <a:gd name="T16" fmla="*/ 137 w 154"/>
                <a:gd name="T17" fmla="*/ 15 h 39"/>
                <a:gd name="T18" fmla="*/ 116 w 154"/>
                <a:gd name="T19" fmla="*/ 20 h 39"/>
                <a:gd name="T20" fmla="*/ 103 w 154"/>
                <a:gd name="T21" fmla="*/ 8 h 39"/>
                <a:gd name="T22" fmla="*/ 95 w 154"/>
                <a:gd name="T23" fmla="*/ 10 h 39"/>
                <a:gd name="T24" fmla="*/ 84 w 154"/>
                <a:gd name="T25" fmla="*/ 2 h 39"/>
                <a:gd name="T26" fmla="*/ 59 w 154"/>
                <a:gd name="T27" fmla="*/ 3 h 39"/>
                <a:gd name="T28" fmla="*/ 59 w 154"/>
                <a:gd name="T29" fmla="*/ 13 h 39"/>
                <a:gd name="T30" fmla="*/ 9 w 154"/>
                <a:gd name="T31" fmla="*/ 13 h 39"/>
                <a:gd name="T32" fmla="*/ 11 w 154"/>
                <a:gd name="T33" fmla="*/ 1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39">
                  <a:moveTo>
                    <a:pt x="11" y="15"/>
                  </a:moveTo>
                  <a:cubicBezTo>
                    <a:pt x="11" y="15"/>
                    <a:pt x="1" y="30"/>
                    <a:pt x="0" y="37"/>
                  </a:cubicBezTo>
                  <a:cubicBezTo>
                    <a:pt x="0" y="38"/>
                    <a:pt x="0" y="38"/>
                    <a:pt x="0" y="39"/>
                  </a:cubicBezTo>
                  <a:cubicBezTo>
                    <a:pt x="11" y="39"/>
                    <a:pt x="41" y="39"/>
                    <a:pt x="43" y="39"/>
                  </a:cubicBezTo>
                  <a:cubicBezTo>
                    <a:pt x="46" y="39"/>
                    <a:pt x="47" y="30"/>
                    <a:pt x="47" y="30"/>
                  </a:cubicBezTo>
                  <a:cubicBezTo>
                    <a:pt x="47" y="30"/>
                    <a:pt x="66" y="28"/>
                    <a:pt x="72" y="27"/>
                  </a:cubicBezTo>
                  <a:cubicBezTo>
                    <a:pt x="78" y="26"/>
                    <a:pt x="84" y="15"/>
                    <a:pt x="84" y="15"/>
                  </a:cubicBezTo>
                  <a:cubicBezTo>
                    <a:pt x="84" y="15"/>
                    <a:pt x="100" y="34"/>
                    <a:pt x="118" y="34"/>
                  </a:cubicBezTo>
                  <a:cubicBezTo>
                    <a:pt x="136" y="34"/>
                    <a:pt x="154" y="19"/>
                    <a:pt x="137" y="15"/>
                  </a:cubicBezTo>
                  <a:cubicBezTo>
                    <a:pt x="120" y="11"/>
                    <a:pt x="121" y="21"/>
                    <a:pt x="116" y="20"/>
                  </a:cubicBezTo>
                  <a:cubicBezTo>
                    <a:pt x="111" y="19"/>
                    <a:pt x="103" y="8"/>
                    <a:pt x="103" y="8"/>
                  </a:cubicBezTo>
                  <a:cubicBezTo>
                    <a:pt x="95" y="10"/>
                    <a:pt x="95" y="10"/>
                    <a:pt x="95" y="10"/>
                  </a:cubicBezTo>
                  <a:cubicBezTo>
                    <a:pt x="95" y="10"/>
                    <a:pt x="97" y="0"/>
                    <a:pt x="84" y="2"/>
                  </a:cubicBezTo>
                  <a:cubicBezTo>
                    <a:pt x="71" y="4"/>
                    <a:pt x="59" y="3"/>
                    <a:pt x="59" y="3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0" y="14"/>
                    <a:pt x="11" y="15"/>
                    <a:pt x="11" y="1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99" name="Freeform 279">
              <a:extLst>
                <a:ext uri="{FF2B5EF4-FFF2-40B4-BE49-F238E27FC236}">
                  <a16:creationId xmlns:a16="http://schemas.microsoft.com/office/drawing/2014/main" id="{7412AE26-2E8B-0875-0018-1DA5EBE41EBF}"/>
                </a:ext>
              </a:extLst>
            </p:cNvPr>
            <p:cNvSpPr>
              <a:spLocks/>
            </p:cNvSpPr>
            <p:nvPr/>
          </p:nvSpPr>
          <p:spPr bwMode="gray">
            <a:xfrm>
              <a:off x="-7775" y="-11090"/>
              <a:ext cx="489" cy="558"/>
            </a:xfrm>
            <a:custGeom>
              <a:avLst/>
              <a:gdLst>
                <a:gd name="T0" fmla="*/ 207 w 207"/>
                <a:gd name="T1" fmla="*/ 175 h 236"/>
                <a:gd name="T2" fmla="*/ 186 w 207"/>
                <a:gd name="T3" fmla="*/ 146 h 236"/>
                <a:gd name="T4" fmla="*/ 185 w 207"/>
                <a:gd name="T5" fmla="*/ 129 h 236"/>
                <a:gd name="T6" fmla="*/ 161 w 207"/>
                <a:gd name="T7" fmla="*/ 133 h 236"/>
                <a:gd name="T8" fmla="*/ 161 w 207"/>
                <a:gd name="T9" fmla="*/ 123 h 236"/>
                <a:gd name="T10" fmla="*/ 148 w 207"/>
                <a:gd name="T11" fmla="*/ 121 h 236"/>
                <a:gd name="T12" fmla="*/ 162 w 207"/>
                <a:gd name="T13" fmla="*/ 89 h 236"/>
                <a:gd name="T14" fmla="*/ 149 w 207"/>
                <a:gd name="T15" fmla="*/ 55 h 236"/>
                <a:gd name="T16" fmla="*/ 145 w 207"/>
                <a:gd name="T17" fmla="*/ 56 h 236"/>
                <a:gd name="T18" fmla="*/ 129 w 207"/>
                <a:gd name="T19" fmla="*/ 82 h 236"/>
                <a:gd name="T20" fmla="*/ 117 w 207"/>
                <a:gd name="T21" fmla="*/ 72 h 236"/>
                <a:gd name="T22" fmla="*/ 109 w 207"/>
                <a:gd name="T23" fmla="*/ 72 h 236"/>
                <a:gd name="T24" fmla="*/ 99 w 207"/>
                <a:gd name="T25" fmla="*/ 13 h 236"/>
                <a:gd name="T26" fmla="*/ 83 w 207"/>
                <a:gd name="T27" fmla="*/ 18 h 236"/>
                <a:gd name="T28" fmla="*/ 67 w 207"/>
                <a:gd name="T29" fmla="*/ 14 h 236"/>
                <a:gd name="T30" fmla="*/ 69 w 207"/>
                <a:gd name="T31" fmla="*/ 31 h 236"/>
                <a:gd name="T32" fmla="*/ 55 w 207"/>
                <a:gd name="T33" fmla="*/ 34 h 236"/>
                <a:gd name="T34" fmla="*/ 55 w 207"/>
                <a:gd name="T35" fmla="*/ 48 h 236"/>
                <a:gd name="T36" fmla="*/ 16 w 207"/>
                <a:gd name="T37" fmla="*/ 82 h 236"/>
                <a:gd name="T38" fmla="*/ 14 w 207"/>
                <a:gd name="T39" fmla="*/ 105 h 236"/>
                <a:gd name="T40" fmla="*/ 0 w 207"/>
                <a:gd name="T41" fmla="*/ 89 h 236"/>
                <a:gd name="T42" fmla="*/ 0 w 207"/>
                <a:gd name="T43" fmla="*/ 89 h 236"/>
                <a:gd name="T44" fmla="*/ 23 w 207"/>
                <a:gd name="T45" fmla="*/ 115 h 236"/>
                <a:gd name="T46" fmla="*/ 40 w 207"/>
                <a:gd name="T47" fmla="*/ 117 h 236"/>
                <a:gd name="T48" fmla="*/ 48 w 207"/>
                <a:gd name="T49" fmla="*/ 135 h 236"/>
                <a:gd name="T50" fmla="*/ 70 w 207"/>
                <a:gd name="T51" fmla="*/ 139 h 236"/>
                <a:gd name="T52" fmla="*/ 105 w 207"/>
                <a:gd name="T53" fmla="*/ 187 h 236"/>
                <a:gd name="T54" fmla="*/ 156 w 207"/>
                <a:gd name="T55" fmla="*/ 213 h 236"/>
                <a:gd name="T56" fmla="*/ 195 w 207"/>
                <a:gd name="T57" fmla="*/ 236 h 236"/>
                <a:gd name="T58" fmla="*/ 198 w 207"/>
                <a:gd name="T59" fmla="*/ 236 h 236"/>
                <a:gd name="T60" fmla="*/ 197 w 207"/>
                <a:gd name="T61" fmla="*/ 209 h 236"/>
                <a:gd name="T62" fmla="*/ 207 w 207"/>
                <a:gd name="T63" fmla="*/ 17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7" h="236">
                  <a:moveTo>
                    <a:pt x="207" y="175"/>
                  </a:moveTo>
                  <a:cubicBezTo>
                    <a:pt x="207" y="162"/>
                    <a:pt x="186" y="146"/>
                    <a:pt x="186" y="146"/>
                  </a:cubicBezTo>
                  <a:cubicBezTo>
                    <a:pt x="185" y="129"/>
                    <a:pt x="185" y="129"/>
                    <a:pt x="185" y="129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61" y="123"/>
                    <a:pt x="161" y="123"/>
                    <a:pt x="161" y="123"/>
                  </a:cubicBezTo>
                  <a:cubicBezTo>
                    <a:pt x="161" y="123"/>
                    <a:pt x="149" y="124"/>
                    <a:pt x="148" y="121"/>
                  </a:cubicBezTo>
                  <a:cubicBezTo>
                    <a:pt x="147" y="118"/>
                    <a:pt x="162" y="104"/>
                    <a:pt x="162" y="89"/>
                  </a:cubicBezTo>
                  <a:cubicBezTo>
                    <a:pt x="162" y="79"/>
                    <a:pt x="154" y="64"/>
                    <a:pt x="149" y="55"/>
                  </a:cubicBezTo>
                  <a:cubicBezTo>
                    <a:pt x="147" y="55"/>
                    <a:pt x="146" y="55"/>
                    <a:pt x="145" y="56"/>
                  </a:cubicBezTo>
                  <a:cubicBezTo>
                    <a:pt x="140" y="60"/>
                    <a:pt x="140" y="82"/>
                    <a:pt x="129" y="82"/>
                  </a:cubicBezTo>
                  <a:cubicBezTo>
                    <a:pt x="118" y="82"/>
                    <a:pt x="117" y="72"/>
                    <a:pt x="117" y="72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18" y="26"/>
                    <a:pt x="99" y="13"/>
                  </a:cubicBezTo>
                  <a:cubicBezTo>
                    <a:pt x="80" y="0"/>
                    <a:pt x="83" y="18"/>
                    <a:pt x="83" y="18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9" y="38"/>
                    <a:pt x="55" y="48"/>
                  </a:cubicBezTo>
                  <a:cubicBezTo>
                    <a:pt x="51" y="58"/>
                    <a:pt x="17" y="75"/>
                    <a:pt x="16" y="82"/>
                  </a:cubicBezTo>
                  <a:cubicBezTo>
                    <a:pt x="15" y="86"/>
                    <a:pt x="15" y="97"/>
                    <a:pt x="14" y="1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3" y="115"/>
                    <a:pt x="23" y="115"/>
                    <a:pt x="23" y="115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48" y="135"/>
                    <a:pt x="48" y="135"/>
                    <a:pt x="48" y="135"/>
                  </a:cubicBezTo>
                  <a:cubicBezTo>
                    <a:pt x="48" y="135"/>
                    <a:pt x="66" y="131"/>
                    <a:pt x="70" y="139"/>
                  </a:cubicBezTo>
                  <a:cubicBezTo>
                    <a:pt x="74" y="147"/>
                    <a:pt x="89" y="173"/>
                    <a:pt x="105" y="187"/>
                  </a:cubicBezTo>
                  <a:cubicBezTo>
                    <a:pt x="121" y="201"/>
                    <a:pt x="149" y="208"/>
                    <a:pt x="156" y="213"/>
                  </a:cubicBezTo>
                  <a:cubicBezTo>
                    <a:pt x="163" y="218"/>
                    <a:pt x="180" y="236"/>
                    <a:pt x="195" y="236"/>
                  </a:cubicBezTo>
                  <a:cubicBezTo>
                    <a:pt x="196" y="236"/>
                    <a:pt x="197" y="236"/>
                    <a:pt x="198" y="236"/>
                  </a:cubicBezTo>
                  <a:cubicBezTo>
                    <a:pt x="197" y="209"/>
                    <a:pt x="197" y="209"/>
                    <a:pt x="197" y="209"/>
                  </a:cubicBezTo>
                  <a:cubicBezTo>
                    <a:pt x="197" y="209"/>
                    <a:pt x="207" y="188"/>
                    <a:pt x="207" y="17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00" name="Freeform 280">
              <a:extLst>
                <a:ext uri="{FF2B5EF4-FFF2-40B4-BE49-F238E27FC236}">
                  <a16:creationId xmlns:a16="http://schemas.microsoft.com/office/drawing/2014/main" id="{A3185A7A-811A-F183-BCA4-5F8FE822C739}"/>
                </a:ext>
              </a:extLst>
            </p:cNvPr>
            <p:cNvSpPr>
              <a:spLocks/>
            </p:cNvSpPr>
            <p:nvPr/>
          </p:nvSpPr>
          <p:spPr bwMode="gray">
            <a:xfrm>
              <a:off x="-7942" y="-11265"/>
              <a:ext cx="330" cy="423"/>
            </a:xfrm>
            <a:custGeom>
              <a:avLst/>
              <a:gdLst>
                <a:gd name="T0" fmla="*/ 126 w 140"/>
                <a:gd name="T1" fmla="*/ 122 h 179"/>
                <a:gd name="T2" fmla="*/ 126 w 140"/>
                <a:gd name="T3" fmla="*/ 108 h 179"/>
                <a:gd name="T4" fmla="*/ 140 w 140"/>
                <a:gd name="T5" fmla="*/ 105 h 179"/>
                <a:gd name="T6" fmla="*/ 138 w 140"/>
                <a:gd name="T7" fmla="*/ 88 h 179"/>
                <a:gd name="T8" fmla="*/ 119 w 140"/>
                <a:gd name="T9" fmla="*/ 99 h 179"/>
                <a:gd name="T10" fmla="*/ 120 w 140"/>
                <a:gd name="T11" fmla="*/ 86 h 179"/>
                <a:gd name="T12" fmla="*/ 131 w 140"/>
                <a:gd name="T13" fmla="*/ 70 h 179"/>
                <a:gd name="T14" fmla="*/ 120 w 140"/>
                <a:gd name="T15" fmla="*/ 50 h 179"/>
                <a:gd name="T16" fmla="*/ 123 w 140"/>
                <a:gd name="T17" fmla="*/ 41 h 179"/>
                <a:gd name="T18" fmla="*/ 95 w 140"/>
                <a:gd name="T19" fmla="*/ 0 h 179"/>
                <a:gd name="T20" fmla="*/ 69 w 140"/>
                <a:gd name="T21" fmla="*/ 0 h 179"/>
                <a:gd name="T22" fmla="*/ 65 w 140"/>
                <a:gd name="T23" fmla="*/ 12 h 179"/>
                <a:gd name="T24" fmla="*/ 40 w 140"/>
                <a:gd name="T25" fmla="*/ 12 h 179"/>
                <a:gd name="T26" fmla="*/ 9 w 140"/>
                <a:gd name="T27" fmla="*/ 54 h 179"/>
                <a:gd name="T28" fmla="*/ 0 w 140"/>
                <a:gd name="T29" fmla="*/ 59 h 179"/>
                <a:gd name="T30" fmla="*/ 9 w 140"/>
                <a:gd name="T31" fmla="*/ 66 h 179"/>
                <a:gd name="T32" fmla="*/ 1 w 140"/>
                <a:gd name="T33" fmla="*/ 84 h 179"/>
                <a:gd name="T34" fmla="*/ 16 w 140"/>
                <a:gd name="T35" fmla="*/ 103 h 179"/>
                <a:gd name="T36" fmla="*/ 15 w 140"/>
                <a:gd name="T37" fmla="*/ 121 h 179"/>
                <a:gd name="T38" fmla="*/ 29 w 140"/>
                <a:gd name="T39" fmla="*/ 132 h 179"/>
                <a:gd name="T40" fmla="*/ 37 w 140"/>
                <a:gd name="T41" fmla="*/ 148 h 179"/>
                <a:gd name="T42" fmla="*/ 65 w 140"/>
                <a:gd name="T43" fmla="*/ 157 h 179"/>
                <a:gd name="T44" fmla="*/ 85 w 140"/>
                <a:gd name="T45" fmla="*/ 179 h 179"/>
                <a:gd name="T46" fmla="*/ 87 w 140"/>
                <a:gd name="T47" fmla="*/ 156 h 179"/>
                <a:gd name="T48" fmla="*/ 126 w 140"/>
                <a:gd name="T49" fmla="*/ 12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0" h="179">
                  <a:moveTo>
                    <a:pt x="126" y="122"/>
                  </a:moveTo>
                  <a:cubicBezTo>
                    <a:pt x="130" y="112"/>
                    <a:pt x="126" y="108"/>
                    <a:pt x="126" y="108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38" y="88"/>
                    <a:pt x="138" y="88"/>
                    <a:pt x="138" y="88"/>
                  </a:cubicBezTo>
                  <a:cubicBezTo>
                    <a:pt x="119" y="99"/>
                    <a:pt x="119" y="99"/>
                    <a:pt x="119" y="99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31" y="78"/>
                    <a:pt x="131" y="70"/>
                  </a:cubicBezTo>
                  <a:cubicBezTo>
                    <a:pt x="131" y="62"/>
                    <a:pt x="120" y="50"/>
                    <a:pt x="120" y="50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21" y="54"/>
                    <a:pt x="9" y="54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9" y="66"/>
                    <a:pt x="1" y="75"/>
                    <a:pt x="1" y="84"/>
                  </a:cubicBezTo>
                  <a:cubicBezTo>
                    <a:pt x="1" y="93"/>
                    <a:pt x="16" y="103"/>
                    <a:pt x="16" y="103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29" y="132"/>
                    <a:pt x="29" y="132"/>
                    <a:pt x="29" y="132"/>
                  </a:cubicBezTo>
                  <a:cubicBezTo>
                    <a:pt x="29" y="132"/>
                    <a:pt x="28" y="139"/>
                    <a:pt x="37" y="148"/>
                  </a:cubicBezTo>
                  <a:cubicBezTo>
                    <a:pt x="46" y="157"/>
                    <a:pt x="65" y="157"/>
                    <a:pt x="65" y="157"/>
                  </a:cubicBezTo>
                  <a:cubicBezTo>
                    <a:pt x="85" y="179"/>
                    <a:pt x="85" y="179"/>
                    <a:pt x="85" y="179"/>
                  </a:cubicBezTo>
                  <a:cubicBezTo>
                    <a:pt x="86" y="171"/>
                    <a:pt x="86" y="160"/>
                    <a:pt x="87" y="156"/>
                  </a:cubicBezTo>
                  <a:cubicBezTo>
                    <a:pt x="88" y="149"/>
                    <a:pt x="122" y="132"/>
                    <a:pt x="126" y="12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01" name="Freeform 281">
              <a:extLst>
                <a:ext uri="{FF2B5EF4-FFF2-40B4-BE49-F238E27FC236}">
                  <a16:creationId xmlns:a16="http://schemas.microsoft.com/office/drawing/2014/main" id="{348A27DB-17ED-59E9-47DA-9BFD53E67EA7}"/>
                </a:ext>
              </a:extLst>
            </p:cNvPr>
            <p:cNvSpPr>
              <a:spLocks/>
            </p:cNvSpPr>
            <p:nvPr/>
          </p:nvSpPr>
          <p:spPr bwMode="gray">
            <a:xfrm>
              <a:off x="-3511" y="-6361"/>
              <a:ext cx="262" cy="270"/>
            </a:xfrm>
            <a:custGeom>
              <a:avLst/>
              <a:gdLst>
                <a:gd name="T0" fmla="*/ 0 w 111"/>
                <a:gd name="T1" fmla="*/ 58 h 114"/>
                <a:gd name="T2" fmla="*/ 17 w 111"/>
                <a:gd name="T3" fmla="*/ 83 h 114"/>
                <a:gd name="T4" fmla="*/ 17 w 111"/>
                <a:gd name="T5" fmla="*/ 94 h 114"/>
                <a:gd name="T6" fmla="*/ 35 w 111"/>
                <a:gd name="T7" fmla="*/ 114 h 114"/>
                <a:gd name="T8" fmla="*/ 50 w 111"/>
                <a:gd name="T9" fmla="*/ 113 h 114"/>
                <a:gd name="T10" fmla="*/ 61 w 111"/>
                <a:gd name="T11" fmla="*/ 89 h 114"/>
                <a:gd name="T12" fmla="*/ 82 w 111"/>
                <a:gd name="T13" fmla="*/ 85 h 114"/>
                <a:gd name="T14" fmla="*/ 99 w 111"/>
                <a:gd name="T15" fmla="*/ 75 h 114"/>
                <a:gd name="T16" fmla="*/ 96 w 111"/>
                <a:gd name="T17" fmla="*/ 63 h 114"/>
                <a:gd name="T18" fmla="*/ 111 w 111"/>
                <a:gd name="T19" fmla="*/ 50 h 114"/>
                <a:gd name="T20" fmla="*/ 110 w 111"/>
                <a:gd name="T21" fmla="*/ 34 h 114"/>
                <a:gd name="T22" fmla="*/ 100 w 111"/>
                <a:gd name="T23" fmla="*/ 31 h 114"/>
                <a:gd name="T24" fmla="*/ 83 w 111"/>
                <a:gd name="T25" fmla="*/ 6 h 114"/>
                <a:gd name="T26" fmla="*/ 62 w 111"/>
                <a:gd name="T27" fmla="*/ 5 h 114"/>
                <a:gd name="T28" fmla="*/ 54 w 111"/>
                <a:gd name="T29" fmla="*/ 8 h 114"/>
                <a:gd name="T30" fmla="*/ 53 w 111"/>
                <a:gd name="T31" fmla="*/ 18 h 114"/>
                <a:gd name="T32" fmla="*/ 38 w 111"/>
                <a:gd name="T33" fmla="*/ 19 h 114"/>
                <a:gd name="T34" fmla="*/ 31 w 111"/>
                <a:gd name="T35" fmla="*/ 33 h 114"/>
                <a:gd name="T36" fmla="*/ 19 w 111"/>
                <a:gd name="T37" fmla="*/ 46 h 114"/>
                <a:gd name="T38" fmla="*/ 17 w 111"/>
                <a:gd name="T39" fmla="*/ 56 h 114"/>
                <a:gd name="T40" fmla="*/ 0 w 111"/>
                <a:gd name="T41" fmla="*/ 58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1" h="114">
                  <a:moveTo>
                    <a:pt x="0" y="58"/>
                  </a:moveTo>
                  <a:cubicBezTo>
                    <a:pt x="17" y="83"/>
                    <a:pt x="17" y="83"/>
                    <a:pt x="17" y="83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0" y="113"/>
                    <a:pt x="51" y="93"/>
                    <a:pt x="61" y="89"/>
                  </a:cubicBezTo>
                  <a:cubicBezTo>
                    <a:pt x="71" y="85"/>
                    <a:pt x="74" y="87"/>
                    <a:pt x="82" y="85"/>
                  </a:cubicBezTo>
                  <a:cubicBezTo>
                    <a:pt x="90" y="83"/>
                    <a:pt x="99" y="75"/>
                    <a:pt x="99" y="75"/>
                  </a:cubicBezTo>
                  <a:cubicBezTo>
                    <a:pt x="96" y="63"/>
                    <a:pt x="96" y="63"/>
                    <a:pt x="96" y="63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0" y="31"/>
                    <a:pt x="88" y="12"/>
                    <a:pt x="83" y="6"/>
                  </a:cubicBezTo>
                  <a:cubicBezTo>
                    <a:pt x="78" y="0"/>
                    <a:pt x="62" y="5"/>
                    <a:pt x="62" y="5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8"/>
                    <a:pt x="43" y="15"/>
                    <a:pt x="38" y="19"/>
                  </a:cubicBezTo>
                  <a:cubicBezTo>
                    <a:pt x="33" y="23"/>
                    <a:pt x="31" y="33"/>
                    <a:pt x="31" y="33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56"/>
                    <a:pt x="17" y="56"/>
                    <a:pt x="17" y="56"/>
                  </a:cubicBezTo>
                  <a:lnTo>
                    <a:pt x="0" y="5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02" name="Freeform 282">
              <a:extLst>
                <a:ext uri="{FF2B5EF4-FFF2-40B4-BE49-F238E27FC236}">
                  <a16:creationId xmlns:a16="http://schemas.microsoft.com/office/drawing/2014/main" id="{B223559A-CE48-A4B9-E69E-CFD7F99BA13C}"/>
                </a:ext>
              </a:extLst>
            </p:cNvPr>
            <p:cNvSpPr>
              <a:spLocks/>
            </p:cNvSpPr>
            <p:nvPr/>
          </p:nvSpPr>
          <p:spPr bwMode="gray">
            <a:xfrm>
              <a:off x="-5488" y="-10284"/>
              <a:ext cx="664" cy="800"/>
            </a:xfrm>
            <a:custGeom>
              <a:avLst/>
              <a:gdLst>
                <a:gd name="T0" fmla="*/ 261 w 281"/>
                <a:gd name="T1" fmla="*/ 153 h 339"/>
                <a:gd name="T2" fmla="*/ 244 w 281"/>
                <a:gd name="T3" fmla="*/ 140 h 339"/>
                <a:gd name="T4" fmla="*/ 254 w 281"/>
                <a:gd name="T5" fmla="*/ 100 h 339"/>
                <a:gd name="T6" fmla="*/ 273 w 281"/>
                <a:gd name="T7" fmla="*/ 74 h 339"/>
                <a:gd name="T8" fmla="*/ 263 w 281"/>
                <a:gd name="T9" fmla="*/ 56 h 339"/>
                <a:gd name="T10" fmla="*/ 229 w 281"/>
                <a:gd name="T11" fmla="*/ 62 h 339"/>
                <a:gd name="T12" fmla="*/ 210 w 281"/>
                <a:gd name="T13" fmla="*/ 36 h 339"/>
                <a:gd name="T14" fmla="*/ 220 w 281"/>
                <a:gd name="T15" fmla="*/ 4 h 339"/>
                <a:gd name="T16" fmla="*/ 177 w 281"/>
                <a:gd name="T17" fmla="*/ 1 h 339"/>
                <a:gd name="T18" fmla="*/ 147 w 281"/>
                <a:gd name="T19" fmla="*/ 9 h 339"/>
                <a:gd name="T20" fmla="*/ 125 w 281"/>
                <a:gd name="T21" fmla="*/ 10 h 339"/>
                <a:gd name="T22" fmla="*/ 128 w 281"/>
                <a:gd name="T23" fmla="*/ 37 h 339"/>
                <a:gd name="T24" fmla="*/ 56 w 281"/>
                <a:gd name="T25" fmla="*/ 75 h 339"/>
                <a:gd name="T26" fmla="*/ 46 w 281"/>
                <a:gd name="T27" fmla="*/ 71 h 339"/>
                <a:gd name="T28" fmla="*/ 40 w 281"/>
                <a:gd name="T29" fmla="*/ 77 h 339"/>
                <a:gd name="T30" fmla="*/ 30 w 281"/>
                <a:gd name="T31" fmla="*/ 107 h 339"/>
                <a:gd name="T32" fmla="*/ 0 w 281"/>
                <a:gd name="T33" fmla="*/ 166 h 339"/>
                <a:gd name="T34" fmla="*/ 28 w 281"/>
                <a:gd name="T35" fmla="*/ 195 h 339"/>
                <a:gd name="T36" fmla="*/ 27 w 281"/>
                <a:gd name="T37" fmla="*/ 228 h 339"/>
                <a:gd name="T38" fmla="*/ 46 w 281"/>
                <a:gd name="T39" fmla="*/ 259 h 339"/>
                <a:gd name="T40" fmla="*/ 61 w 281"/>
                <a:gd name="T41" fmla="*/ 271 h 339"/>
                <a:gd name="T42" fmla="*/ 91 w 281"/>
                <a:gd name="T43" fmla="*/ 311 h 339"/>
                <a:gd name="T44" fmla="*/ 114 w 281"/>
                <a:gd name="T45" fmla="*/ 339 h 339"/>
                <a:gd name="T46" fmla="*/ 133 w 281"/>
                <a:gd name="T47" fmla="*/ 317 h 339"/>
                <a:gd name="T48" fmla="*/ 152 w 281"/>
                <a:gd name="T49" fmla="*/ 304 h 339"/>
                <a:gd name="T50" fmla="*/ 149 w 281"/>
                <a:gd name="T51" fmla="*/ 287 h 339"/>
                <a:gd name="T52" fmla="*/ 139 w 281"/>
                <a:gd name="T53" fmla="*/ 274 h 339"/>
                <a:gd name="T54" fmla="*/ 172 w 281"/>
                <a:gd name="T55" fmla="*/ 257 h 339"/>
                <a:gd name="T56" fmla="*/ 178 w 281"/>
                <a:gd name="T57" fmla="*/ 225 h 339"/>
                <a:gd name="T58" fmla="*/ 204 w 281"/>
                <a:gd name="T59" fmla="*/ 255 h 339"/>
                <a:gd name="T60" fmla="*/ 241 w 281"/>
                <a:gd name="T61" fmla="*/ 239 h 339"/>
                <a:gd name="T62" fmla="*/ 260 w 281"/>
                <a:gd name="T63" fmla="*/ 244 h 339"/>
                <a:gd name="T64" fmla="*/ 269 w 281"/>
                <a:gd name="T65" fmla="*/ 212 h 339"/>
                <a:gd name="T66" fmla="*/ 272 w 281"/>
                <a:gd name="T67" fmla="*/ 171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1" h="339">
                  <a:moveTo>
                    <a:pt x="279" y="160"/>
                  </a:moveTo>
                  <a:cubicBezTo>
                    <a:pt x="277" y="154"/>
                    <a:pt x="261" y="153"/>
                    <a:pt x="261" y="153"/>
                  </a:cubicBezTo>
                  <a:cubicBezTo>
                    <a:pt x="256" y="141"/>
                    <a:pt x="256" y="141"/>
                    <a:pt x="256" y="141"/>
                  </a:cubicBezTo>
                  <a:cubicBezTo>
                    <a:pt x="244" y="140"/>
                    <a:pt x="244" y="140"/>
                    <a:pt x="244" y="140"/>
                  </a:cubicBezTo>
                  <a:cubicBezTo>
                    <a:pt x="245" y="116"/>
                    <a:pt x="245" y="116"/>
                    <a:pt x="245" y="116"/>
                  </a:cubicBezTo>
                  <a:cubicBezTo>
                    <a:pt x="254" y="100"/>
                    <a:pt x="254" y="100"/>
                    <a:pt x="254" y="100"/>
                  </a:cubicBezTo>
                  <a:cubicBezTo>
                    <a:pt x="254" y="100"/>
                    <a:pt x="261" y="101"/>
                    <a:pt x="267" y="94"/>
                  </a:cubicBezTo>
                  <a:cubicBezTo>
                    <a:pt x="273" y="87"/>
                    <a:pt x="273" y="74"/>
                    <a:pt x="273" y="74"/>
                  </a:cubicBezTo>
                  <a:cubicBezTo>
                    <a:pt x="267" y="70"/>
                    <a:pt x="267" y="70"/>
                    <a:pt x="267" y="70"/>
                  </a:cubicBezTo>
                  <a:cubicBezTo>
                    <a:pt x="267" y="70"/>
                    <a:pt x="266" y="60"/>
                    <a:pt x="263" y="56"/>
                  </a:cubicBezTo>
                  <a:cubicBezTo>
                    <a:pt x="260" y="52"/>
                    <a:pt x="248" y="47"/>
                    <a:pt x="243" y="47"/>
                  </a:cubicBezTo>
                  <a:cubicBezTo>
                    <a:pt x="238" y="47"/>
                    <a:pt x="238" y="62"/>
                    <a:pt x="229" y="62"/>
                  </a:cubicBezTo>
                  <a:cubicBezTo>
                    <a:pt x="220" y="62"/>
                    <a:pt x="212" y="57"/>
                    <a:pt x="212" y="57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20" y="14"/>
                    <a:pt x="220" y="14"/>
                    <a:pt x="220" y="14"/>
                  </a:cubicBezTo>
                  <a:cubicBezTo>
                    <a:pt x="220" y="4"/>
                    <a:pt x="220" y="4"/>
                    <a:pt x="220" y="4"/>
                  </a:cubicBezTo>
                  <a:cubicBezTo>
                    <a:pt x="188" y="5"/>
                    <a:pt x="188" y="5"/>
                    <a:pt x="188" y="5"/>
                  </a:cubicBezTo>
                  <a:cubicBezTo>
                    <a:pt x="188" y="5"/>
                    <a:pt x="181" y="1"/>
                    <a:pt x="177" y="1"/>
                  </a:cubicBezTo>
                  <a:cubicBezTo>
                    <a:pt x="173" y="1"/>
                    <a:pt x="168" y="9"/>
                    <a:pt x="168" y="9"/>
                  </a:cubicBezTo>
                  <a:cubicBezTo>
                    <a:pt x="147" y="9"/>
                    <a:pt x="147" y="9"/>
                    <a:pt x="147" y="9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72"/>
                    <a:pt x="123" y="73"/>
                  </a:cubicBezTo>
                  <a:cubicBezTo>
                    <a:pt x="118" y="74"/>
                    <a:pt x="56" y="75"/>
                    <a:pt x="56" y="75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7" y="72"/>
                    <a:pt x="48" y="72"/>
                    <a:pt x="48" y="72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0" y="77"/>
                    <a:pt x="49" y="105"/>
                    <a:pt x="45" y="107"/>
                  </a:cubicBezTo>
                  <a:cubicBezTo>
                    <a:pt x="41" y="109"/>
                    <a:pt x="30" y="107"/>
                    <a:pt x="30" y="107"/>
                  </a:cubicBezTo>
                  <a:cubicBezTo>
                    <a:pt x="30" y="107"/>
                    <a:pt x="33" y="148"/>
                    <a:pt x="23" y="159"/>
                  </a:cubicBezTo>
                  <a:cubicBezTo>
                    <a:pt x="13" y="170"/>
                    <a:pt x="0" y="166"/>
                    <a:pt x="0" y="166"/>
                  </a:cubicBezTo>
                  <a:cubicBezTo>
                    <a:pt x="17" y="203"/>
                    <a:pt x="17" y="203"/>
                    <a:pt x="17" y="203"/>
                  </a:cubicBezTo>
                  <a:cubicBezTo>
                    <a:pt x="28" y="195"/>
                    <a:pt x="28" y="195"/>
                    <a:pt x="28" y="195"/>
                  </a:cubicBezTo>
                  <a:cubicBezTo>
                    <a:pt x="34" y="208"/>
                    <a:pt x="34" y="208"/>
                    <a:pt x="34" y="208"/>
                  </a:cubicBezTo>
                  <a:cubicBezTo>
                    <a:pt x="34" y="208"/>
                    <a:pt x="25" y="221"/>
                    <a:pt x="27" y="228"/>
                  </a:cubicBezTo>
                  <a:cubicBezTo>
                    <a:pt x="29" y="235"/>
                    <a:pt x="42" y="232"/>
                    <a:pt x="42" y="232"/>
                  </a:cubicBezTo>
                  <a:cubicBezTo>
                    <a:pt x="46" y="259"/>
                    <a:pt x="46" y="259"/>
                    <a:pt x="46" y="259"/>
                  </a:cubicBezTo>
                  <a:cubicBezTo>
                    <a:pt x="66" y="263"/>
                    <a:pt x="66" y="263"/>
                    <a:pt x="66" y="263"/>
                  </a:cubicBezTo>
                  <a:cubicBezTo>
                    <a:pt x="61" y="271"/>
                    <a:pt x="61" y="271"/>
                    <a:pt x="61" y="271"/>
                  </a:cubicBezTo>
                  <a:cubicBezTo>
                    <a:pt x="94" y="306"/>
                    <a:pt x="94" y="306"/>
                    <a:pt x="94" y="306"/>
                  </a:cubicBezTo>
                  <a:cubicBezTo>
                    <a:pt x="91" y="311"/>
                    <a:pt x="91" y="311"/>
                    <a:pt x="91" y="311"/>
                  </a:cubicBezTo>
                  <a:cubicBezTo>
                    <a:pt x="113" y="338"/>
                    <a:pt x="113" y="338"/>
                    <a:pt x="113" y="338"/>
                  </a:cubicBezTo>
                  <a:cubicBezTo>
                    <a:pt x="114" y="339"/>
                    <a:pt x="114" y="339"/>
                    <a:pt x="114" y="339"/>
                  </a:cubicBezTo>
                  <a:cubicBezTo>
                    <a:pt x="119" y="326"/>
                    <a:pt x="119" y="326"/>
                    <a:pt x="119" y="326"/>
                  </a:cubicBezTo>
                  <a:cubicBezTo>
                    <a:pt x="133" y="317"/>
                    <a:pt x="133" y="317"/>
                    <a:pt x="133" y="317"/>
                  </a:cubicBezTo>
                  <a:cubicBezTo>
                    <a:pt x="133" y="317"/>
                    <a:pt x="148" y="335"/>
                    <a:pt x="152" y="326"/>
                  </a:cubicBezTo>
                  <a:cubicBezTo>
                    <a:pt x="156" y="317"/>
                    <a:pt x="152" y="304"/>
                    <a:pt x="152" y="304"/>
                  </a:cubicBezTo>
                  <a:cubicBezTo>
                    <a:pt x="140" y="296"/>
                    <a:pt x="140" y="296"/>
                    <a:pt x="140" y="296"/>
                  </a:cubicBezTo>
                  <a:cubicBezTo>
                    <a:pt x="149" y="287"/>
                    <a:pt x="149" y="287"/>
                    <a:pt x="149" y="287"/>
                  </a:cubicBezTo>
                  <a:cubicBezTo>
                    <a:pt x="132" y="274"/>
                    <a:pt x="132" y="274"/>
                    <a:pt x="132" y="274"/>
                  </a:cubicBezTo>
                  <a:cubicBezTo>
                    <a:pt x="139" y="274"/>
                    <a:pt x="139" y="274"/>
                    <a:pt x="139" y="274"/>
                  </a:cubicBezTo>
                  <a:cubicBezTo>
                    <a:pt x="139" y="274"/>
                    <a:pt x="132" y="249"/>
                    <a:pt x="138" y="251"/>
                  </a:cubicBezTo>
                  <a:cubicBezTo>
                    <a:pt x="144" y="253"/>
                    <a:pt x="168" y="262"/>
                    <a:pt x="172" y="257"/>
                  </a:cubicBezTo>
                  <a:cubicBezTo>
                    <a:pt x="176" y="252"/>
                    <a:pt x="185" y="244"/>
                    <a:pt x="185" y="244"/>
                  </a:cubicBezTo>
                  <a:cubicBezTo>
                    <a:pt x="185" y="244"/>
                    <a:pt x="172" y="226"/>
                    <a:pt x="178" y="225"/>
                  </a:cubicBezTo>
                  <a:cubicBezTo>
                    <a:pt x="184" y="224"/>
                    <a:pt x="195" y="226"/>
                    <a:pt x="195" y="226"/>
                  </a:cubicBezTo>
                  <a:cubicBezTo>
                    <a:pt x="204" y="255"/>
                    <a:pt x="204" y="255"/>
                    <a:pt x="204" y="255"/>
                  </a:cubicBezTo>
                  <a:cubicBezTo>
                    <a:pt x="204" y="255"/>
                    <a:pt x="218" y="256"/>
                    <a:pt x="226" y="254"/>
                  </a:cubicBezTo>
                  <a:cubicBezTo>
                    <a:pt x="234" y="252"/>
                    <a:pt x="237" y="236"/>
                    <a:pt x="241" y="239"/>
                  </a:cubicBezTo>
                  <a:cubicBezTo>
                    <a:pt x="245" y="242"/>
                    <a:pt x="238" y="264"/>
                    <a:pt x="248" y="264"/>
                  </a:cubicBezTo>
                  <a:cubicBezTo>
                    <a:pt x="258" y="264"/>
                    <a:pt x="260" y="258"/>
                    <a:pt x="260" y="244"/>
                  </a:cubicBezTo>
                  <a:cubicBezTo>
                    <a:pt x="260" y="230"/>
                    <a:pt x="273" y="226"/>
                    <a:pt x="273" y="226"/>
                  </a:cubicBezTo>
                  <a:cubicBezTo>
                    <a:pt x="269" y="212"/>
                    <a:pt x="269" y="212"/>
                    <a:pt x="269" y="212"/>
                  </a:cubicBezTo>
                  <a:cubicBezTo>
                    <a:pt x="273" y="201"/>
                    <a:pt x="273" y="201"/>
                    <a:pt x="273" y="201"/>
                  </a:cubicBezTo>
                  <a:cubicBezTo>
                    <a:pt x="272" y="171"/>
                    <a:pt x="272" y="171"/>
                    <a:pt x="272" y="171"/>
                  </a:cubicBezTo>
                  <a:cubicBezTo>
                    <a:pt x="272" y="171"/>
                    <a:pt x="281" y="166"/>
                    <a:pt x="279" y="16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03" name="Freeform 283">
              <a:extLst>
                <a:ext uri="{FF2B5EF4-FFF2-40B4-BE49-F238E27FC236}">
                  <a16:creationId xmlns:a16="http://schemas.microsoft.com/office/drawing/2014/main" id="{28640B84-31A1-A434-E142-C5FB19CF5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-3083" y="-6717"/>
              <a:ext cx="172" cy="205"/>
            </a:xfrm>
            <a:custGeom>
              <a:avLst/>
              <a:gdLst>
                <a:gd name="T0" fmla="*/ 59 w 73"/>
                <a:gd name="T1" fmla="*/ 35 h 87"/>
                <a:gd name="T2" fmla="*/ 62 w 73"/>
                <a:gd name="T3" fmla="*/ 11 h 87"/>
                <a:gd name="T4" fmla="*/ 46 w 73"/>
                <a:gd name="T5" fmla="*/ 14 h 87"/>
                <a:gd name="T6" fmla="*/ 27 w 73"/>
                <a:gd name="T7" fmla="*/ 0 h 87"/>
                <a:gd name="T8" fmla="*/ 11 w 73"/>
                <a:gd name="T9" fmla="*/ 29 h 87"/>
                <a:gd name="T10" fmla="*/ 2 w 73"/>
                <a:gd name="T11" fmla="*/ 58 h 87"/>
                <a:gd name="T12" fmla="*/ 34 w 73"/>
                <a:gd name="T13" fmla="*/ 86 h 87"/>
                <a:gd name="T14" fmla="*/ 56 w 73"/>
                <a:gd name="T15" fmla="*/ 87 h 87"/>
                <a:gd name="T16" fmla="*/ 63 w 73"/>
                <a:gd name="T17" fmla="*/ 62 h 87"/>
                <a:gd name="T18" fmla="*/ 73 w 73"/>
                <a:gd name="T19" fmla="*/ 58 h 87"/>
                <a:gd name="T20" fmla="*/ 69 w 73"/>
                <a:gd name="T21" fmla="*/ 42 h 87"/>
                <a:gd name="T22" fmla="*/ 59 w 73"/>
                <a:gd name="T23" fmla="*/ 3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87">
                  <a:moveTo>
                    <a:pt x="59" y="35"/>
                  </a:moveTo>
                  <a:cubicBezTo>
                    <a:pt x="57" y="28"/>
                    <a:pt x="62" y="11"/>
                    <a:pt x="62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34" y="0"/>
                    <a:pt x="27" y="0"/>
                  </a:cubicBezTo>
                  <a:cubicBezTo>
                    <a:pt x="20" y="0"/>
                    <a:pt x="14" y="25"/>
                    <a:pt x="11" y="29"/>
                  </a:cubicBezTo>
                  <a:cubicBezTo>
                    <a:pt x="8" y="33"/>
                    <a:pt x="0" y="46"/>
                    <a:pt x="2" y="58"/>
                  </a:cubicBezTo>
                  <a:cubicBezTo>
                    <a:pt x="4" y="70"/>
                    <a:pt x="27" y="86"/>
                    <a:pt x="34" y="86"/>
                  </a:cubicBezTo>
                  <a:cubicBezTo>
                    <a:pt x="41" y="86"/>
                    <a:pt x="56" y="87"/>
                    <a:pt x="56" y="87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3" y="62"/>
                    <a:pt x="68" y="59"/>
                    <a:pt x="73" y="58"/>
                  </a:cubicBezTo>
                  <a:cubicBezTo>
                    <a:pt x="69" y="42"/>
                    <a:pt x="69" y="42"/>
                    <a:pt x="69" y="42"/>
                  </a:cubicBezTo>
                  <a:cubicBezTo>
                    <a:pt x="69" y="42"/>
                    <a:pt x="62" y="42"/>
                    <a:pt x="59" y="3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04" name="Freeform 284">
              <a:extLst>
                <a:ext uri="{FF2B5EF4-FFF2-40B4-BE49-F238E27FC236}">
                  <a16:creationId xmlns:a16="http://schemas.microsoft.com/office/drawing/2014/main" id="{36DA4E13-41D8-CF19-3685-09837B185B73}"/>
                </a:ext>
              </a:extLst>
            </p:cNvPr>
            <p:cNvSpPr>
              <a:spLocks/>
            </p:cNvSpPr>
            <p:nvPr/>
          </p:nvSpPr>
          <p:spPr bwMode="gray">
            <a:xfrm>
              <a:off x="-5157" y="-7830"/>
              <a:ext cx="1500" cy="1531"/>
            </a:xfrm>
            <a:custGeom>
              <a:avLst/>
              <a:gdLst>
                <a:gd name="T0" fmla="*/ 257 w 635"/>
                <a:gd name="T1" fmla="*/ 609 h 648"/>
                <a:gd name="T2" fmla="*/ 281 w 635"/>
                <a:gd name="T3" fmla="*/ 636 h 648"/>
                <a:gd name="T4" fmla="*/ 304 w 635"/>
                <a:gd name="T5" fmla="*/ 648 h 648"/>
                <a:gd name="T6" fmla="*/ 330 w 635"/>
                <a:gd name="T7" fmla="*/ 646 h 648"/>
                <a:gd name="T8" fmla="*/ 345 w 635"/>
                <a:gd name="T9" fmla="*/ 632 h 648"/>
                <a:gd name="T10" fmla="*/ 358 w 635"/>
                <a:gd name="T11" fmla="*/ 622 h 648"/>
                <a:gd name="T12" fmla="*/ 384 w 635"/>
                <a:gd name="T13" fmla="*/ 273 h 648"/>
                <a:gd name="T14" fmla="*/ 431 w 635"/>
                <a:gd name="T15" fmla="*/ 192 h 648"/>
                <a:gd name="T16" fmla="*/ 435 w 635"/>
                <a:gd name="T17" fmla="*/ 71 h 648"/>
                <a:gd name="T18" fmla="*/ 541 w 635"/>
                <a:gd name="T19" fmla="*/ 55 h 648"/>
                <a:gd name="T20" fmla="*/ 554 w 635"/>
                <a:gd name="T21" fmla="*/ 69 h 648"/>
                <a:gd name="T22" fmla="*/ 577 w 635"/>
                <a:gd name="T23" fmla="*/ 63 h 648"/>
                <a:gd name="T24" fmla="*/ 601 w 635"/>
                <a:gd name="T25" fmla="*/ 55 h 648"/>
                <a:gd name="T26" fmla="*/ 635 w 635"/>
                <a:gd name="T27" fmla="*/ 45 h 648"/>
                <a:gd name="T28" fmla="*/ 602 w 635"/>
                <a:gd name="T29" fmla="*/ 34 h 648"/>
                <a:gd name="T30" fmla="*/ 576 w 635"/>
                <a:gd name="T31" fmla="*/ 31 h 648"/>
                <a:gd name="T32" fmla="*/ 548 w 635"/>
                <a:gd name="T33" fmla="*/ 35 h 648"/>
                <a:gd name="T34" fmla="*/ 414 w 635"/>
                <a:gd name="T35" fmla="*/ 55 h 648"/>
                <a:gd name="T36" fmla="*/ 362 w 635"/>
                <a:gd name="T37" fmla="*/ 50 h 648"/>
                <a:gd name="T38" fmla="*/ 335 w 635"/>
                <a:gd name="T39" fmla="*/ 44 h 648"/>
                <a:gd name="T40" fmla="*/ 116 w 635"/>
                <a:gd name="T41" fmla="*/ 25 h 648"/>
                <a:gd name="T42" fmla="*/ 58 w 635"/>
                <a:gd name="T43" fmla="*/ 0 h 648"/>
                <a:gd name="T44" fmla="*/ 28 w 635"/>
                <a:gd name="T45" fmla="*/ 16 h 648"/>
                <a:gd name="T46" fmla="*/ 10 w 635"/>
                <a:gd name="T47" fmla="*/ 15 h 648"/>
                <a:gd name="T48" fmla="*/ 4 w 635"/>
                <a:gd name="T49" fmla="*/ 62 h 648"/>
                <a:gd name="T50" fmla="*/ 65 w 635"/>
                <a:gd name="T51" fmla="*/ 170 h 648"/>
                <a:gd name="T52" fmla="*/ 102 w 635"/>
                <a:gd name="T53" fmla="*/ 245 h 648"/>
                <a:gd name="T54" fmla="*/ 131 w 635"/>
                <a:gd name="T55" fmla="*/ 296 h 648"/>
                <a:gd name="T56" fmla="*/ 146 w 635"/>
                <a:gd name="T57" fmla="*/ 431 h 648"/>
                <a:gd name="T58" fmla="*/ 149 w 635"/>
                <a:gd name="T59" fmla="*/ 484 h 648"/>
                <a:gd name="T60" fmla="*/ 159 w 635"/>
                <a:gd name="T61" fmla="*/ 508 h 648"/>
                <a:gd name="T62" fmla="*/ 168 w 635"/>
                <a:gd name="T63" fmla="*/ 544 h 648"/>
                <a:gd name="T64" fmla="*/ 190 w 635"/>
                <a:gd name="T65" fmla="*/ 606 h 648"/>
                <a:gd name="T66" fmla="*/ 216 w 635"/>
                <a:gd name="T67" fmla="*/ 625 h 648"/>
                <a:gd name="T68" fmla="*/ 243 w 635"/>
                <a:gd name="T69" fmla="*/ 59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5" h="648">
                  <a:moveTo>
                    <a:pt x="243" y="596"/>
                  </a:moveTo>
                  <a:cubicBezTo>
                    <a:pt x="247" y="597"/>
                    <a:pt x="257" y="609"/>
                    <a:pt x="257" y="609"/>
                  </a:cubicBezTo>
                  <a:cubicBezTo>
                    <a:pt x="257" y="609"/>
                    <a:pt x="256" y="624"/>
                    <a:pt x="261" y="631"/>
                  </a:cubicBezTo>
                  <a:cubicBezTo>
                    <a:pt x="265" y="638"/>
                    <a:pt x="274" y="632"/>
                    <a:pt x="281" y="636"/>
                  </a:cubicBezTo>
                  <a:cubicBezTo>
                    <a:pt x="288" y="640"/>
                    <a:pt x="292" y="648"/>
                    <a:pt x="292" y="648"/>
                  </a:cubicBezTo>
                  <a:cubicBezTo>
                    <a:pt x="304" y="648"/>
                    <a:pt x="304" y="648"/>
                    <a:pt x="304" y="648"/>
                  </a:cubicBezTo>
                  <a:cubicBezTo>
                    <a:pt x="304" y="648"/>
                    <a:pt x="310" y="640"/>
                    <a:pt x="318" y="640"/>
                  </a:cubicBezTo>
                  <a:cubicBezTo>
                    <a:pt x="326" y="640"/>
                    <a:pt x="330" y="646"/>
                    <a:pt x="330" y="646"/>
                  </a:cubicBezTo>
                  <a:cubicBezTo>
                    <a:pt x="330" y="646"/>
                    <a:pt x="337" y="646"/>
                    <a:pt x="342" y="646"/>
                  </a:cubicBezTo>
                  <a:cubicBezTo>
                    <a:pt x="348" y="646"/>
                    <a:pt x="345" y="632"/>
                    <a:pt x="345" y="632"/>
                  </a:cubicBezTo>
                  <a:cubicBezTo>
                    <a:pt x="353" y="630"/>
                    <a:pt x="353" y="630"/>
                    <a:pt x="353" y="630"/>
                  </a:cubicBezTo>
                  <a:cubicBezTo>
                    <a:pt x="353" y="630"/>
                    <a:pt x="351" y="625"/>
                    <a:pt x="358" y="622"/>
                  </a:cubicBezTo>
                  <a:cubicBezTo>
                    <a:pt x="365" y="619"/>
                    <a:pt x="379" y="618"/>
                    <a:pt x="379" y="618"/>
                  </a:cubicBezTo>
                  <a:cubicBezTo>
                    <a:pt x="384" y="273"/>
                    <a:pt x="384" y="273"/>
                    <a:pt x="384" y="273"/>
                  </a:cubicBezTo>
                  <a:cubicBezTo>
                    <a:pt x="432" y="273"/>
                    <a:pt x="432" y="273"/>
                    <a:pt x="432" y="273"/>
                  </a:cubicBezTo>
                  <a:cubicBezTo>
                    <a:pt x="431" y="192"/>
                    <a:pt x="431" y="192"/>
                    <a:pt x="431" y="192"/>
                  </a:cubicBezTo>
                  <a:cubicBezTo>
                    <a:pt x="435" y="188"/>
                    <a:pt x="435" y="188"/>
                    <a:pt x="435" y="188"/>
                  </a:cubicBezTo>
                  <a:cubicBezTo>
                    <a:pt x="435" y="71"/>
                    <a:pt x="435" y="71"/>
                    <a:pt x="435" y="71"/>
                  </a:cubicBezTo>
                  <a:cubicBezTo>
                    <a:pt x="435" y="71"/>
                    <a:pt x="474" y="68"/>
                    <a:pt x="496" y="65"/>
                  </a:cubicBezTo>
                  <a:cubicBezTo>
                    <a:pt x="517" y="63"/>
                    <a:pt x="533" y="55"/>
                    <a:pt x="541" y="55"/>
                  </a:cubicBezTo>
                  <a:cubicBezTo>
                    <a:pt x="550" y="55"/>
                    <a:pt x="548" y="69"/>
                    <a:pt x="548" y="69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6" y="83"/>
                    <a:pt x="559" y="82"/>
                  </a:cubicBezTo>
                  <a:cubicBezTo>
                    <a:pt x="562" y="81"/>
                    <a:pt x="572" y="68"/>
                    <a:pt x="577" y="63"/>
                  </a:cubicBezTo>
                  <a:cubicBezTo>
                    <a:pt x="583" y="57"/>
                    <a:pt x="593" y="55"/>
                    <a:pt x="593" y="55"/>
                  </a:cubicBezTo>
                  <a:cubicBezTo>
                    <a:pt x="601" y="55"/>
                    <a:pt x="601" y="55"/>
                    <a:pt x="601" y="55"/>
                  </a:cubicBezTo>
                  <a:cubicBezTo>
                    <a:pt x="612" y="47"/>
                    <a:pt x="612" y="47"/>
                    <a:pt x="612" y="47"/>
                  </a:cubicBezTo>
                  <a:cubicBezTo>
                    <a:pt x="635" y="45"/>
                    <a:pt x="635" y="45"/>
                    <a:pt x="635" y="45"/>
                  </a:cubicBezTo>
                  <a:cubicBezTo>
                    <a:pt x="622" y="32"/>
                    <a:pt x="622" y="32"/>
                    <a:pt x="622" y="32"/>
                  </a:cubicBezTo>
                  <a:cubicBezTo>
                    <a:pt x="602" y="34"/>
                    <a:pt x="602" y="34"/>
                    <a:pt x="602" y="34"/>
                  </a:cubicBezTo>
                  <a:cubicBezTo>
                    <a:pt x="602" y="34"/>
                    <a:pt x="601" y="26"/>
                    <a:pt x="592" y="26"/>
                  </a:cubicBezTo>
                  <a:cubicBezTo>
                    <a:pt x="583" y="26"/>
                    <a:pt x="576" y="31"/>
                    <a:pt x="576" y="31"/>
                  </a:cubicBezTo>
                  <a:cubicBezTo>
                    <a:pt x="563" y="39"/>
                    <a:pt x="563" y="39"/>
                    <a:pt x="563" y="39"/>
                  </a:cubicBezTo>
                  <a:cubicBezTo>
                    <a:pt x="548" y="35"/>
                    <a:pt x="548" y="35"/>
                    <a:pt x="548" y="35"/>
                  </a:cubicBezTo>
                  <a:cubicBezTo>
                    <a:pt x="548" y="35"/>
                    <a:pt x="488" y="55"/>
                    <a:pt x="460" y="55"/>
                  </a:cubicBezTo>
                  <a:cubicBezTo>
                    <a:pt x="432" y="55"/>
                    <a:pt x="414" y="55"/>
                    <a:pt x="414" y="55"/>
                  </a:cubicBezTo>
                  <a:cubicBezTo>
                    <a:pt x="408" y="49"/>
                    <a:pt x="408" y="49"/>
                    <a:pt x="408" y="49"/>
                  </a:cubicBezTo>
                  <a:cubicBezTo>
                    <a:pt x="362" y="50"/>
                    <a:pt x="362" y="50"/>
                    <a:pt x="362" y="50"/>
                  </a:cubicBezTo>
                  <a:cubicBezTo>
                    <a:pt x="358" y="44"/>
                    <a:pt x="358" y="44"/>
                    <a:pt x="358" y="44"/>
                  </a:cubicBezTo>
                  <a:cubicBezTo>
                    <a:pt x="358" y="44"/>
                    <a:pt x="342" y="46"/>
                    <a:pt x="335" y="44"/>
                  </a:cubicBezTo>
                  <a:cubicBezTo>
                    <a:pt x="328" y="42"/>
                    <a:pt x="319" y="23"/>
                    <a:pt x="319" y="23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82" y="12"/>
                    <a:pt x="78" y="1"/>
                  </a:cubicBezTo>
                  <a:cubicBezTo>
                    <a:pt x="79" y="2"/>
                    <a:pt x="58" y="0"/>
                    <a:pt x="58" y="0"/>
                  </a:cubicBezTo>
                  <a:cubicBezTo>
                    <a:pt x="58" y="0"/>
                    <a:pt x="54" y="14"/>
                    <a:pt x="47" y="15"/>
                  </a:cubicBezTo>
                  <a:cubicBezTo>
                    <a:pt x="40" y="16"/>
                    <a:pt x="28" y="16"/>
                    <a:pt x="28" y="16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2"/>
                    <a:pt x="13" y="79"/>
                    <a:pt x="22" y="92"/>
                  </a:cubicBezTo>
                  <a:cubicBezTo>
                    <a:pt x="31" y="105"/>
                    <a:pt x="64" y="153"/>
                    <a:pt x="65" y="170"/>
                  </a:cubicBezTo>
                  <a:cubicBezTo>
                    <a:pt x="66" y="187"/>
                    <a:pt x="79" y="204"/>
                    <a:pt x="83" y="217"/>
                  </a:cubicBezTo>
                  <a:cubicBezTo>
                    <a:pt x="87" y="230"/>
                    <a:pt x="102" y="245"/>
                    <a:pt x="102" y="245"/>
                  </a:cubicBezTo>
                  <a:cubicBezTo>
                    <a:pt x="102" y="259"/>
                    <a:pt x="102" y="259"/>
                    <a:pt x="102" y="259"/>
                  </a:cubicBezTo>
                  <a:cubicBezTo>
                    <a:pt x="102" y="259"/>
                    <a:pt x="131" y="280"/>
                    <a:pt x="131" y="296"/>
                  </a:cubicBezTo>
                  <a:cubicBezTo>
                    <a:pt x="131" y="312"/>
                    <a:pt x="129" y="386"/>
                    <a:pt x="129" y="386"/>
                  </a:cubicBezTo>
                  <a:cubicBezTo>
                    <a:pt x="129" y="386"/>
                    <a:pt x="144" y="411"/>
                    <a:pt x="146" y="431"/>
                  </a:cubicBezTo>
                  <a:cubicBezTo>
                    <a:pt x="148" y="451"/>
                    <a:pt x="140" y="451"/>
                    <a:pt x="140" y="451"/>
                  </a:cubicBezTo>
                  <a:cubicBezTo>
                    <a:pt x="149" y="484"/>
                    <a:pt x="149" y="484"/>
                    <a:pt x="149" y="484"/>
                  </a:cubicBezTo>
                  <a:cubicBezTo>
                    <a:pt x="151" y="508"/>
                    <a:pt x="151" y="508"/>
                    <a:pt x="151" y="508"/>
                  </a:cubicBezTo>
                  <a:cubicBezTo>
                    <a:pt x="159" y="508"/>
                    <a:pt x="159" y="508"/>
                    <a:pt x="159" y="508"/>
                  </a:cubicBezTo>
                  <a:cubicBezTo>
                    <a:pt x="159" y="508"/>
                    <a:pt x="156" y="528"/>
                    <a:pt x="157" y="532"/>
                  </a:cubicBezTo>
                  <a:cubicBezTo>
                    <a:pt x="158" y="536"/>
                    <a:pt x="168" y="544"/>
                    <a:pt x="168" y="544"/>
                  </a:cubicBezTo>
                  <a:cubicBezTo>
                    <a:pt x="169" y="563"/>
                    <a:pt x="169" y="563"/>
                    <a:pt x="169" y="563"/>
                  </a:cubicBezTo>
                  <a:cubicBezTo>
                    <a:pt x="169" y="563"/>
                    <a:pt x="184" y="595"/>
                    <a:pt x="190" y="606"/>
                  </a:cubicBezTo>
                  <a:cubicBezTo>
                    <a:pt x="196" y="617"/>
                    <a:pt x="216" y="624"/>
                    <a:pt x="216" y="624"/>
                  </a:cubicBezTo>
                  <a:cubicBezTo>
                    <a:pt x="216" y="624"/>
                    <a:pt x="216" y="624"/>
                    <a:pt x="216" y="625"/>
                  </a:cubicBezTo>
                  <a:cubicBezTo>
                    <a:pt x="228" y="619"/>
                    <a:pt x="228" y="619"/>
                    <a:pt x="228" y="619"/>
                  </a:cubicBezTo>
                  <a:cubicBezTo>
                    <a:pt x="228" y="619"/>
                    <a:pt x="239" y="595"/>
                    <a:pt x="243" y="59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05" name="Freeform 285">
              <a:extLst>
                <a:ext uri="{FF2B5EF4-FFF2-40B4-BE49-F238E27FC236}">
                  <a16:creationId xmlns:a16="http://schemas.microsoft.com/office/drawing/2014/main" id="{45F853AB-E6DD-DFEF-80F0-002D2437AB30}"/>
                </a:ext>
              </a:extLst>
            </p:cNvPr>
            <p:cNvSpPr>
              <a:spLocks/>
            </p:cNvSpPr>
            <p:nvPr/>
          </p:nvSpPr>
          <p:spPr bwMode="gray">
            <a:xfrm>
              <a:off x="-3657" y="-8000"/>
              <a:ext cx="879" cy="864"/>
            </a:xfrm>
            <a:custGeom>
              <a:avLst/>
              <a:gdLst>
                <a:gd name="T0" fmla="*/ 11 w 372"/>
                <a:gd name="T1" fmla="*/ 136 h 366"/>
                <a:gd name="T2" fmla="*/ 11 w 372"/>
                <a:gd name="T3" fmla="*/ 156 h 366"/>
                <a:gd name="T4" fmla="*/ 23 w 372"/>
                <a:gd name="T5" fmla="*/ 160 h 366"/>
                <a:gd name="T6" fmla="*/ 33 w 372"/>
                <a:gd name="T7" fmla="*/ 181 h 366"/>
                <a:gd name="T8" fmla="*/ 42 w 372"/>
                <a:gd name="T9" fmla="*/ 213 h 366"/>
                <a:gd name="T10" fmla="*/ 70 w 372"/>
                <a:gd name="T11" fmla="*/ 234 h 366"/>
                <a:gd name="T12" fmla="*/ 90 w 372"/>
                <a:gd name="T13" fmla="*/ 238 h 366"/>
                <a:gd name="T14" fmla="*/ 91 w 372"/>
                <a:gd name="T15" fmla="*/ 260 h 366"/>
                <a:gd name="T16" fmla="*/ 112 w 372"/>
                <a:gd name="T17" fmla="*/ 261 h 366"/>
                <a:gd name="T18" fmla="*/ 114 w 372"/>
                <a:gd name="T19" fmla="*/ 276 h 366"/>
                <a:gd name="T20" fmla="*/ 110 w 372"/>
                <a:gd name="T21" fmla="*/ 281 h 366"/>
                <a:gd name="T22" fmla="*/ 110 w 372"/>
                <a:gd name="T23" fmla="*/ 299 h 366"/>
                <a:gd name="T24" fmla="*/ 122 w 372"/>
                <a:gd name="T25" fmla="*/ 304 h 366"/>
                <a:gd name="T26" fmla="*/ 122 w 372"/>
                <a:gd name="T27" fmla="*/ 319 h 366"/>
                <a:gd name="T28" fmla="*/ 161 w 372"/>
                <a:gd name="T29" fmla="*/ 327 h 366"/>
                <a:gd name="T30" fmla="*/ 180 w 372"/>
                <a:gd name="T31" fmla="*/ 352 h 366"/>
                <a:gd name="T32" fmla="*/ 167 w 372"/>
                <a:gd name="T33" fmla="*/ 353 h 366"/>
                <a:gd name="T34" fmla="*/ 206 w 372"/>
                <a:gd name="T35" fmla="*/ 351 h 366"/>
                <a:gd name="T36" fmla="*/ 230 w 372"/>
                <a:gd name="T37" fmla="*/ 359 h 366"/>
                <a:gd name="T38" fmla="*/ 265 w 372"/>
                <a:gd name="T39" fmla="*/ 359 h 366"/>
                <a:gd name="T40" fmla="*/ 277 w 372"/>
                <a:gd name="T41" fmla="*/ 366 h 366"/>
                <a:gd name="T42" fmla="*/ 324 w 372"/>
                <a:gd name="T43" fmla="*/ 310 h 366"/>
                <a:gd name="T44" fmla="*/ 334 w 372"/>
                <a:gd name="T45" fmla="*/ 307 h 366"/>
                <a:gd name="T46" fmla="*/ 325 w 372"/>
                <a:gd name="T47" fmla="*/ 294 h 366"/>
                <a:gd name="T48" fmla="*/ 333 w 372"/>
                <a:gd name="T49" fmla="*/ 289 h 366"/>
                <a:gd name="T50" fmla="*/ 334 w 372"/>
                <a:gd name="T51" fmla="*/ 266 h 366"/>
                <a:gd name="T52" fmla="*/ 350 w 372"/>
                <a:gd name="T53" fmla="*/ 257 h 366"/>
                <a:gd name="T54" fmla="*/ 354 w 372"/>
                <a:gd name="T55" fmla="*/ 242 h 366"/>
                <a:gd name="T56" fmla="*/ 364 w 372"/>
                <a:gd name="T57" fmla="*/ 229 h 366"/>
                <a:gd name="T58" fmla="*/ 346 w 372"/>
                <a:gd name="T59" fmla="*/ 206 h 366"/>
                <a:gd name="T60" fmla="*/ 360 w 372"/>
                <a:gd name="T61" fmla="*/ 190 h 366"/>
                <a:gd name="T62" fmla="*/ 346 w 372"/>
                <a:gd name="T63" fmla="*/ 174 h 366"/>
                <a:gd name="T64" fmla="*/ 360 w 372"/>
                <a:gd name="T65" fmla="*/ 167 h 366"/>
                <a:gd name="T66" fmla="*/ 360 w 372"/>
                <a:gd name="T67" fmla="*/ 158 h 366"/>
                <a:gd name="T68" fmla="*/ 366 w 372"/>
                <a:gd name="T69" fmla="*/ 145 h 366"/>
                <a:gd name="T70" fmla="*/ 358 w 372"/>
                <a:gd name="T71" fmla="*/ 119 h 366"/>
                <a:gd name="T72" fmla="*/ 366 w 372"/>
                <a:gd name="T73" fmla="*/ 107 h 366"/>
                <a:gd name="T74" fmla="*/ 360 w 372"/>
                <a:gd name="T75" fmla="*/ 99 h 366"/>
                <a:gd name="T76" fmla="*/ 366 w 372"/>
                <a:gd name="T77" fmla="*/ 90 h 366"/>
                <a:gd name="T78" fmla="*/ 358 w 372"/>
                <a:gd name="T79" fmla="*/ 81 h 366"/>
                <a:gd name="T80" fmla="*/ 368 w 372"/>
                <a:gd name="T81" fmla="*/ 63 h 366"/>
                <a:gd name="T82" fmla="*/ 349 w 372"/>
                <a:gd name="T83" fmla="*/ 55 h 366"/>
                <a:gd name="T84" fmla="*/ 336 w 372"/>
                <a:gd name="T85" fmla="*/ 43 h 366"/>
                <a:gd name="T86" fmla="*/ 318 w 372"/>
                <a:gd name="T87" fmla="*/ 46 h 366"/>
                <a:gd name="T88" fmla="*/ 308 w 372"/>
                <a:gd name="T89" fmla="*/ 30 h 366"/>
                <a:gd name="T90" fmla="*/ 293 w 372"/>
                <a:gd name="T91" fmla="*/ 33 h 366"/>
                <a:gd name="T92" fmla="*/ 285 w 372"/>
                <a:gd name="T93" fmla="*/ 21 h 366"/>
                <a:gd name="T94" fmla="*/ 246 w 372"/>
                <a:gd name="T95" fmla="*/ 21 h 366"/>
                <a:gd name="T96" fmla="*/ 245 w 372"/>
                <a:gd name="T97" fmla="*/ 1 h 366"/>
                <a:gd name="T98" fmla="*/ 205 w 372"/>
                <a:gd name="T99" fmla="*/ 5 h 366"/>
                <a:gd name="T100" fmla="*/ 170 w 372"/>
                <a:gd name="T101" fmla="*/ 25 h 366"/>
                <a:gd name="T102" fmla="*/ 172 w 372"/>
                <a:gd name="T103" fmla="*/ 49 h 366"/>
                <a:gd name="T104" fmla="*/ 125 w 372"/>
                <a:gd name="T105" fmla="*/ 68 h 366"/>
                <a:gd name="T106" fmla="*/ 116 w 372"/>
                <a:gd name="T107" fmla="*/ 91 h 366"/>
                <a:gd name="T108" fmla="*/ 77 w 372"/>
                <a:gd name="T109" fmla="*/ 127 h 366"/>
                <a:gd name="T110" fmla="*/ 51 w 372"/>
                <a:gd name="T111" fmla="*/ 121 h 366"/>
                <a:gd name="T112" fmla="*/ 38 w 372"/>
                <a:gd name="T113" fmla="*/ 127 h 366"/>
                <a:gd name="T114" fmla="*/ 26 w 372"/>
                <a:gd name="T115" fmla="*/ 117 h 366"/>
                <a:gd name="T116" fmla="*/ 0 w 372"/>
                <a:gd name="T117" fmla="*/ 117 h 366"/>
                <a:gd name="T118" fmla="*/ 2 w 372"/>
                <a:gd name="T119" fmla="*/ 127 h 366"/>
                <a:gd name="T120" fmla="*/ 11 w 372"/>
                <a:gd name="T121" fmla="*/ 13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2" h="366">
                  <a:moveTo>
                    <a:pt x="11" y="136"/>
                  </a:moveTo>
                  <a:cubicBezTo>
                    <a:pt x="11" y="156"/>
                    <a:pt x="11" y="156"/>
                    <a:pt x="11" y="156"/>
                  </a:cubicBezTo>
                  <a:cubicBezTo>
                    <a:pt x="11" y="156"/>
                    <a:pt x="19" y="150"/>
                    <a:pt x="23" y="160"/>
                  </a:cubicBezTo>
                  <a:cubicBezTo>
                    <a:pt x="27" y="170"/>
                    <a:pt x="33" y="181"/>
                    <a:pt x="33" y="181"/>
                  </a:cubicBezTo>
                  <a:cubicBezTo>
                    <a:pt x="33" y="181"/>
                    <a:pt x="35" y="204"/>
                    <a:pt x="42" y="213"/>
                  </a:cubicBezTo>
                  <a:cubicBezTo>
                    <a:pt x="49" y="222"/>
                    <a:pt x="70" y="234"/>
                    <a:pt x="70" y="234"/>
                  </a:cubicBezTo>
                  <a:cubicBezTo>
                    <a:pt x="70" y="234"/>
                    <a:pt x="88" y="231"/>
                    <a:pt x="90" y="238"/>
                  </a:cubicBezTo>
                  <a:cubicBezTo>
                    <a:pt x="92" y="245"/>
                    <a:pt x="91" y="260"/>
                    <a:pt x="91" y="260"/>
                  </a:cubicBezTo>
                  <a:cubicBezTo>
                    <a:pt x="112" y="261"/>
                    <a:pt x="112" y="261"/>
                    <a:pt x="112" y="261"/>
                  </a:cubicBezTo>
                  <a:cubicBezTo>
                    <a:pt x="114" y="276"/>
                    <a:pt x="114" y="276"/>
                    <a:pt x="114" y="276"/>
                  </a:cubicBezTo>
                  <a:cubicBezTo>
                    <a:pt x="110" y="281"/>
                    <a:pt x="110" y="281"/>
                    <a:pt x="110" y="281"/>
                  </a:cubicBezTo>
                  <a:cubicBezTo>
                    <a:pt x="110" y="299"/>
                    <a:pt x="110" y="299"/>
                    <a:pt x="110" y="299"/>
                  </a:cubicBezTo>
                  <a:cubicBezTo>
                    <a:pt x="110" y="299"/>
                    <a:pt x="122" y="297"/>
                    <a:pt x="122" y="304"/>
                  </a:cubicBezTo>
                  <a:cubicBezTo>
                    <a:pt x="122" y="311"/>
                    <a:pt x="122" y="319"/>
                    <a:pt x="122" y="319"/>
                  </a:cubicBezTo>
                  <a:cubicBezTo>
                    <a:pt x="122" y="319"/>
                    <a:pt x="148" y="322"/>
                    <a:pt x="161" y="327"/>
                  </a:cubicBezTo>
                  <a:cubicBezTo>
                    <a:pt x="171" y="331"/>
                    <a:pt x="177" y="345"/>
                    <a:pt x="180" y="352"/>
                  </a:cubicBezTo>
                  <a:cubicBezTo>
                    <a:pt x="167" y="353"/>
                    <a:pt x="167" y="353"/>
                    <a:pt x="167" y="353"/>
                  </a:cubicBezTo>
                  <a:cubicBezTo>
                    <a:pt x="206" y="351"/>
                    <a:pt x="206" y="351"/>
                    <a:pt x="206" y="351"/>
                  </a:cubicBezTo>
                  <a:cubicBezTo>
                    <a:pt x="206" y="351"/>
                    <a:pt x="222" y="358"/>
                    <a:pt x="230" y="359"/>
                  </a:cubicBezTo>
                  <a:cubicBezTo>
                    <a:pt x="238" y="360"/>
                    <a:pt x="265" y="359"/>
                    <a:pt x="265" y="359"/>
                  </a:cubicBezTo>
                  <a:cubicBezTo>
                    <a:pt x="277" y="366"/>
                    <a:pt x="277" y="366"/>
                    <a:pt x="277" y="366"/>
                  </a:cubicBezTo>
                  <a:cubicBezTo>
                    <a:pt x="324" y="310"/>
                    <a:pt x="324" y="310"/>
                    <a:pt x="324" y="310"/>
                  </a:cubicBezTo>
                  <a:cubicBezTo>
                    <a:pt x="334" y="307"/>
                    <a:pt x="334" y="307"/>
                    <a:pt x="334" y="307"/>
                  </a:cubicBezTo>
                  <a:cubicBezTo>
                    <a:pt x="325" y="294"/>
                    <a:pt x="325" y="294"/>
                    <a:pt x="325" y="294"/>
                  </a:cubicBezTo>
                  <a:cubicBezTo>
                    <a:pt x="333" y="289"/>
                    <a:pt x="333" y="289"/>
                    <a:pt x="333" y="289"/>
                  </a:cubicBezTo>
                  <a:cubicBezTo>
                    <a:pt x="334" y="266"/>
                    <a:pt x="334" y="266"/>
                    <a:pt x="334" y="266"/>
                  </a:cubicBezTo>
                  <a:cubicBezTo>
                    <a:pt x="334" y="266"/>
                    <a:pt x="349" y="265"/>
                    <a:pt x="350" y="257"/>
                  </a:cubicBezTo>
                  <a:cubicBezTo>
                    <a:pt x="352" y="249"/>
                    <a:pt x="354" y="242"/>
                    <a:pt x="354" y="242"/>
                  </a:cubicBezTo>
                  <a:cubicBezTo>
                    <a:pt x="354" y="242"/>
                    <a:pt x="365" y="235"/>
                    <a:pt x="364" y="229"/>
                  </a:cubicBezTo>
                  <a:cubicBezTo>
                    <a:pt x="362" y="222"/>
                    <a:pt x="345" y="211"/>
                    <a:pt x="346" y="206"/>
                  </a:cubicBezTo>
                  <a:cubicBezTo>
                    <a:pt x="348" y="201"/>
                    <a:pt x="360" y="190"/>
                    <a:pt x="360" y="190"/>
                  </a:cubicBezTo>
                  <a:cubicBezTo>
                    <a:pt x="346" y="174"/>
                    <a:pt x="346" y="174"/>
                    <a:pt x="346" y="174"/>
                  </a:cubicBezTo>
                  <a:cubicBezTo>
                    <a:pt x="360" y="167"/>
                    <a:pt x="360" y="167"/>
                    <a:pt x="360" y="167"/>
                  </a:cubicBezTo>
                  <a:cubicBezTo>
                    <a:pt x="360" y="158"/>
                    <a:pt x="360" y="158"/>
                    <a:pt x="360" y="158"/>
                  </a:cubicBezTo>
                  <a:cubicBezTo>
                    <a:pt x="360" y="158"/>
                    <a:pt x="369" y="158"/>
                    <a:pt x="366" y="145"/>
                  </a:cubicBezTo>
                  <a:cubicBezTo>
                    <a:pt x="364" y="131"/>
                    <a:pt x="356" y="125"/>
                    <a:pt x="358" y="119"/>
                  </a:cubicBezTo>
                  <a:cubicBezTo>
                    <a:pt x="361" y="114"/>
                    <a:pt x="366" y="107"/>
                    <a:pt x="366" y="107"/>
                  </a:cubicBezTo>
                  <a:cubicBezTo>
                    <a:pt x="360" y="99"/>
                    <a:pt x="360" y="99"/>
                    <a:pt x="360" y="99"/>
                  </a:cubicBezTo>
                  <a:cubicBezTo>
                    <a:pt x="366" y="90"/>
                    <a:pt x="366" y="90"/>
                    <a:pt x="366" y="90"/>
                  </a:cubicBezTo>
                  <a:cubicBezTo>
                    <a:pt x="358" y="81"/>
                    <a:pt x="358" y="81"/>
                    <a:pt x="358" y="81"/>
                  </a:cubicBezTo>
                  <a:cubicBezTo>
                    <a:pt x="358" y="81"/>
                    <a:pt x="372" y="71"/>
                    <a:pt x="368" y="63"/>
                  </a:cubicBezTo>
                  <a:cubicBezTo>
                    <a:pt x="364" y="55"/>
                    <a:pt x="349" y="55"/>
                    <a:pt x="349" y="55"/>
                  </a:cubicBezTo>
                  <a:cubicBezTo>
                    <a:pt x="349" y="55"/>
                    <a:pt x="344" y="43"/>
                    <a:pt x="336" y="43"/>
                  </a:cubicBezTo>
                  <a:cubicBezTo>
                    <a:pt x="328" y="43"/>
                    <a:pt x="318" y="46"/>
                    <a:pt x="318" y="46"/>
                  </a:cubicBezTo>
                  <a:cubicBezTo>
                    <a:pt x="308" y="30"/>
                    <a:pt x="308" y="30"/>
                    <a:pt x="308" y="30"/>
                  </a:cubicBezTo>
                  <a:cubicBezTo>
                    <a:pt x="293" y="33"/>
                    <a:pt x="293" y="33"/>
                    <a:pt x="293" y="33"/>
                  </a:cubicBezTo>
                  <a:cubicBezTo>
                    <a:pt x="285" y="21"/>
                    <a:pt x="285" y="21"/>
                    <a:pt x="285" y="21"/>
                  </a:cubicBezTo>
                  <a:cubicBezTo>
                    <a:pt x="246" y="21"/>
                    <a:pt x="246" y="21"/>
                    <a:pt x="246" y="21"/>
                  </a:cubicBezTo>
                  <a:cubicBezTo>
                    <a:pt x="245" y="1"/>
                    <a:pt x="245" y="1"/>
                    <a:pt x="245" y="1"/>
                  </a:cubicBezTo>
                  <a:cubicBezTo>
                    <a:pt x="236" y="0"/>
                    <a:pt x="218" y="0"/>
                    <a:pt x="205" y="5"/>
                  </a:cubicBezTo>
                  <a:cubicBezTo>
                    <a:pt x="188" y="11"/>
                    <a:pt x="170" y="25"/>
                    <a:pt x="170" y="25"/>
                  </a:cubicBezTo>
                  <a:cubicBezTo>
                    <a:pt x="170" y="25"/>
                    <a:pt x="173" y="48"/>
                    <a:pt x="172" y="49"/>
                  </a:cubicBezTo>
                  <a:cubicBezTo>
                    <a:pt x="171" y="50"/>
                    <a:pt x="132" y="61"/>
                    <a:pt x="125" y="68"/>
                  </a:cubicBezTo>
                  <a:cubicBezTo>
                    <a:pt x="118" y="75"/>
                    <a:pt x="116" y="91"/>
                    <a:pt x="116" y="91"/>
                  </a:cubicBezTo>
                  <a:cubicBezTo>
                    <a:pt x="116" y="91"/>
                    <a:pt x="95" y="118"/>
                    <a:pt x="77" y="127"/>
                  </a:cubicBezTo>
                  <a:cubicBezTo>
                    <a:pt x="59" y="136"/>
                    <a:pt x="58" y="127"/>
                    <a:pt x="51" y="121"/>
                  </a:cubicBezTo>
                  <a:cubicBezTo>
                    <a:pt x="44" y="115"/>
                    <a:pt x="42" y="127"/>
                    <a:pt x="38" y="127"/>
                  </a:cubicBezTo>
                  <a:cubicBezTo>
                    <a:pt x="34" y="127"/>
                    <a:pt x="28" y="121"/>
                    <a:pt x="26" y="117"/>
                  </a:cubicBezTo>
                  <a:cubicBezTo>
                    <a:pt x="24" y="113"/>
                    <a:pt x="0" y="117"/>
                    <a:pt x="0" y="117"/>
                  </a:cubicBezTo>
                  <a:cubicBezTo>
                    <a:pt x="2" y="127"/>
                    <a:pt x="2" y="127"/>
                    <a:pt x="2" y="127"/>
                  </a:cubicBezTo>
                  <a:lnTo>
                    <a:pt x="11" y="136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06" name="Freeform 286">
              <a:extLst>
                <a:ext uri="{FF2B5EF4-FFF2-40B4-BE49-F238E27FC236}">
                  <a16:creationId xmlns:a16="http://schemas.microsoft.com/office/drawing/2014/main" id="{19B329FE-4A71-FE1E-2083-C8D3E4DF6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-4255" y="-7724"/>
              <a:ext cx="1023" cy="1158"/>
            </a:xfrm>
            <a:custGeom>
              <a:avLst/>
              <a:gdLst>
                <a:gd name="T0" fmla="*/ 0 w 433"/>
                <a:gd name="T1" fmla="*/ 377 h 490"/>
                <a:gd name="T2" fmla="*/ 22 w 433"/>
                <a:gd name="T3" fmla="*/ 394 h 490"/>
                <a:gd name="T4" fmla="*/ 30 w 433"/>
                <a:gd name="T5" fmla="*/ 423 h 490"/>
                <a:gd name="T6" fmla="*/ 37 w 433"/>
                <a:gd name="T7" fmla="*/ 443 h 490"/>
                <a:gd name="T8" fmla="*/ 27 w 433"/>
                <a:gd name="T9" fmla="*/ 465 h 490"/>
                <a:gd name="T10" fmla="*/ 27 w 433"/>
                <a:gd name="T11" fmla="*/ 487 h 490"/>
                <a:gd name="T12" fmla="*/ 78 w 433"/>
                <a:gd name="T13" fmla="*/ 485 h 490"/>
                <a:gd name="T14" fmla="*/ 83 w 433"/>
                <a:gd name="T15" fmla="*/ 473 h 490"/>
                <a:gd name="T16" fmla="*/ 97 w 433"/>
                <a:gd name="T17" fmla="*/ 474 h 490"/>
                <a:gd name="T18" fmla="*/ 106 w 433"/>
                <a:gd name="T19" fmla="*/ 454 h 490"/>
                <a:gd name="T20" fmla="*/ 124 w 433"/>
                <a:gd name="T21" fmla="*/ 446 h 490"/>
                <a:gd name="T22" fmla="*/ 142 w 433"/>
                <a:gd name="T23" fmla="*/ 401 h 490"/>
                <a:gd name="T24" fmla="*/ 171 w 433"/>
                <a:gd name="T25" fmla="*/ 413 h 490"/>
                <a:gd name="T26" fmla="*/ 181 w 433"/>
                <a:gd name="T27" fmla="*/ 423 h 490"/>
                <a:gd name="T28" fmla="*/ 198 w 433"/>
                <a:gd name="T29" fmla="*/ 424 h 490"/>
                <a:gd name="T30" fmla="*/ 223 w 433"/>
                <a:gd name="T31" fmla="*/ 433 h 490"/>
                <a:gd name="T32" fmla="*/ 236 w 433"/>
                <a:gd name="T33" fmla="*/ 426 h 490"/>
                <a:gd name="T34" fmla="*/ 255 w 433"/>
                <a:gd name="T35" fmla="*/ 426 h 490"/>
                <a:gd name="T36" fmla="*/ 270 w 433"/>
                <a:gd name="T37" fmla="*/ 386 h 490"/>
                <a:gd name="T38" fmla="*/ 284 w 433"/>
                <a:gd name="T39" fmla="*/ 374 h 490"/>
                <a:gd name="T40" fmla="*/ 295 w 433"/>
                <a:gd name="T41" fmla="*/ 371 h 490"/>
                <a:gd name="T42" fmla="*/ 318 w 433"/>
                <a:gd name="T43" fmla="*/ 347 h 490"/>
                <a:gd name="T44" fmla="*/ 329 w 433"/>
                <a:gd name="T45" fmla="*/ 311 h 490"/>
                <a:gd name="T46" fmla="*/ 353 w 433"/>
                <a:gd name="T47" fmla="*/ 298 h 490"/>
                <a:gd name="T48" fmla="*/ 383 w 433"/>
                <a:gd name="T49" fmla="*/ 259 h 490"/>
                <a:gd name="T50" fmla="*/ 412 w 433"/>
                <a:gd name="T51" fmla="*/ 252 h 490"/>
                <a:gd name="T52" fmla="*/ 420 w 433"/>
                <a:gd name="T53" fmla="*/ 236 h 490"/>
                <a:gd name="T54" fmla="*/ 433 w 433"/>
                <a:gd name="T55" fmla="*/ 235 h 490"/>
                <a:gd name="T56" fmla="*/ 414 w 433"/>
                <a:gd name="T57" fmla="*/ 210 h 490"/>
                <a:gd name="T58" fmla="*/ 375 w 433"/>
                <a:gd name="T59" fmla="*/ 202 h 490"/>
                <a:gd name="T60" fmla="*/ 375 w 433"/>
                <a:gd name="T61" fmla="*/ 187 h 490"/>
                <a:gd name="T62" fmla="*/ 363 w 433"/>
                <a:gd name="T63" fmla="*/ 182 h 490"/>
                <a:gd name="T64" fmla="*/ 363 w 433"/>
                <a:gd name="T65" fmla="*/ 164 h 490"/>
                <a:gd name="T66" fmla="*/ 367 w 433"/>
                <a:gd name="T67" fmla="*/ 159 h 490"/>
                <a:gd name="T68" fmla="*/ 365 w 433"/>
                <a:gd name="T69" fmla="*/ 144 h 490"/>
                <a:gd name="T70" fmla="*/ 344 w 433"/>
                <a:gd name="T71" fmla="*/ 143 h 490"/>
                <a:gd name="T72" fmla="*/ 343 w 433"/>
                <a:gd name="T73" fmla="*/ 121 h 490"/>
                <a:gd name="T74" fmla="*/ 323 w 433"/>
                <a:gd name="T75" fmla="*/ 117 h 490"/>
                <a:gd name="T76" fmla="*/ 295 w 433"/>
                <a:gd name="T77" fmla="*/ 96 h 490"/>
                <a:gd name="T78" fmla="*/ 286 w 433"/>
                <a:gd name="T79" fmla="*/ 64 h 490"/>
                <a:gd name="T80" fmla="*/ 276 w 433"/>
                <a:gd name="T81" fmla="*/ 43 h 490"/>
                <a:gd name="T82" fmla="*/ 264 w 433"/>
                <a:gd name="T83" fmla="*/ 39 h 490"/>
                <a:gd name="T84" fmla="*/ 264 w 433"/>
                <a:gd name="T85" fmla="*/ 19 h 490"/>
                <a:gd name="T86" fmla="*/ 255 w 433"/>
                <a:gd name="T87" fmla="*/ 10 h 490"/>
                <a:gd name="T88" fmla="*/ 253 w 433"/>
                <a:gd name="T89" fmla="*/ 0 h 490"/>
                <a:gd name="T90" fmla="*/ 230 w 433"/>
                <a:gd name="T91" fmla="*/ 2 h 490"/>
                <a:gd name="T92" fmla="*/ 219 w 433"/>
                <a:gd name="T93" fmla="*/ 10 h 490"/>
                <a:gd name="T94" fmla="*/ 211 w 433"/>
                <a:gd name="T95" fmla="*/ 10 h 490"/>
                <a:gd name="T96" fmla="*/ 195 w 433"/>
                <a:gd name="T97" fmla="*/ 18 h 490"/>
                <a:gd name="T98" fmla="*/ 177 w 433"/>
                <a:gd name="T99" fmla="*/ 37 h 490"/>
                <a:gd name="T100" fmla="*/ 172 w 433"/>
                <a:gd name="T101" fmla="*/ 24 h 490"/>
                <a:gd name="T102" fmla="*/ 166 w 433"/>
                <a:gd name="T103" fmla="*/ 24 h 490"/>
                <a:gd name="T104" fmla="*/ 159 w 433"/>
                <a:gd name="T105" fmla="*/ 10 h 490"/>
                <a:gd name="T106" fmla="*/ 114 w 433"/>
                <a:gd name="T107" fmla="*/ 20 h 490"/>
                <a:gd name="T108" fmla="*/ 53 w 433"/>
                <a:gd name="T109" fmla="*/ 26 h 490"/>
                <a:gd name="T110" fmla="*/ 53 w 433"/>
                <a:gd name="T111" fmla="*/ 143 h 490"/>
                <a:gd name="T112" fmla="*/ 49 w 433"/>
                <a:gd name="T113" fmla="*/ 147 h 490"/>
                <a:gd name="T114" fmla="*/ 50 w 433"/>
                <a:gd name="T115" fmla="*/ 228 h 490"/>
                <a:gd name="T116" fmla="*/ 2 w 433"/>
                <a:gd name="T117" fmla="*/ 228 h 490"/>
                <a:gd name="T118" fmla="*/ 0 w 433"/>
                <a:gd name="T119" fmla="*/ 377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3" h="490">
                  <a:moveTo>
                    <a:pt x="0" y="377"/>
                  </a:moveTo>
                  <a:cubicBezTo>
                    <a:pt x="9" y="381"/>
                    <a:pt x="18" y="386"/>
                    <a:pt x="22" y="394"/>
                  </a:cubicBezTo>
                  <a:cubicBezTo>
                    <a:pt x="31" y="413"/>
                    <a:pt x="30" y="423"/>
                    <a:pt x="30" y="423"/>
                  </a:cubicBezTo>
                  <a:cubicBezTo>
                    <a:pt x="30" y="423"/>
                    <a:pt x="39" y="434"/>
                    <a:pt x="37" y="443"/>
                  </a:cubicBezTo>
                  <a:cubicBezTo>
                    <a:pt x="35" y="452"/>
                    <a:pt x="27" y="465"/>
                    <a:pt x="27" y="465"/>
                  </a:cubicBezTo>
                  <a:cubicBezTo>
                    <a:pt x="27" y="465"/>
                    <a:pt x="22" y="484"/>
                    <a:pt x="27" y="487"/>
                  </a:cubicBezTo>
                  <a:cubicBezTo>
                    <a:pt x="32" y="490"/>
                    <a:pt x="78" y="485"/>
                    <a:pt x="78" y="485"/>
                  </a:cubicBezTo>
                  <a:cubicBezTo>
                    <a:pt x="78" y="485"/>
                    <a:pt x="79" y="474"/>
                    <a:pt x="83" y="473"/>
                  </a:cubicBezTo>
                  <a:cubicBezTo>
                    <a:pt x="87" y="472"/>
                    <a:pt x="97" y="474"/>
                    <a:pt x="97" y="474"/>
                  </a:cubicBezTo>
                  <a:cubicBezTo>
                    <a:pt x="97" y="474"/>
                    <a:pt x="99" y="457"/>
                    <a:pt x="106" y="454"/>
                  </a:cubicBezTo>
                  <a:cubicBezTo>
                    <a:pt x="113" y="451"/>
                    <a:pt x="124" y="453"/>
                    <a:pt x="124" y="446"/>
                  </a:cubicBezTo>
                  <a:cubicBezTo>
                    <a:pt x="124" y="439"/>
                    <a:pt x="129" y="401"/>
                    <a:pt x="142" y="401"/>
                  </a:cubicBezTo>
                  <a:cubicBezTo>
                    <a:pt x="155" y="401"/>
                    <a:pt x="171" y="413"/>
                    <a:pt x="171" y="413"/>
                  </a:cubicBezTo>
                  <a:cubicBezTo>
                    <a:pt x="181" y="423"/>
                    <a:pt x="181" y="423"/>
                    <a:pt x="181" y="423"/>
                  </a:cubicBezTo>
                  <a:cubicBezTo>
                    <a:pt x="198" y="424"/>
                    <a:pt x="198" y="424"/>
                    <a:pt x="198" y="424"/>
                  </a:cubicBezTo>
                  <a:cubicBezTo>
                    <a:pt x="198" y="424"/>
                    <a:pt x="213" y="435"/>
                    <a:pt x="223" y="433"/>
                  </a:cubicBezTo>
                  <a:cubicBezTo>
                    <a:pt x="233" y="431"/>
                    <a:pt x="236" y="426"/>
                    <a:pt x="236" y="426"/>
                  </a:cubicBezTo>
                  <a:cubicBezTo>
                    <a:pt x="236" y="426"/>
                    <a:pt x="244" y="433"/>
                    <a:pt x="255" y="426"/>
                  </a:cubicBezTo>
                  <a:cubicBezTo>
                    <a:pt x="266" y="419"/>
                    <a:pt x="270" y="386"/>
                    <a:pt x="270" y="386"/>
                  </a:cubicBezTo>
                  <a:cubicBezTo>
                    <a:pt x="284" y="374"/>
                    <a:pt x="284" y="374"/>
                    <a:pt x="284" y="374"/>
                  </a:cubicBezTo>
                  <a:cubicBezTo>
                    <a:pt x="295" y="371"/>
                    <a:pt x="295" y="371"/>
                    <a:pt x="295" y="371"/>
                  </a:cubicBezTo>
                  <a:cubicBezTo>
                    <a:pt x="295" y="371"/>
                    <a:pt x="318" y="353"/>
                    <a:pt x="318" y="347"/>
                  </a:cubicBezTo>
                  <a:cubicBezTo>
                    <a:pt x="318" y="341"/>
                    <a:pt x="319" y="318"/>
                    <a:pt x="329" y="311"/>
                  </a:cubicBezTo>
                  <a:cubicBezTo>
                    <a:pt x="339" y="304"/>
                    <a:pt x="342" y="305"/>
                    <a:pt x="353" y="298"/>
                  </a:cubicBezTo>
                  <a:cubicBezTo>
                    <a:pt x="364" y="291"/>
                    <a:pt x="378" y="265"/>
                    <a:pt x="383" y="259"/>
                  </a:cubicBezTo>
                  <a:cubicBezTo>
                    <a:pt x="388" y="253"/>
                    <a:pt x="412" y="252"/>
                    <a:pt x="412" y="252"/>
                  </a:cubicBezTo>
                  <a:cubicBezTo>
                    <a:pt x="420" y="236"/>
                    <a:pt x="420" y="236"/>
                    <a:pt x="420" y="236"/>
                  </a:cubicBezTo>
                  <a:cubicBezTo>
                    <a:pt x="433" y="235"/>
                    <a:pt x="433" y="235"/>
                    <a:pt x="433" y="235"/>
                  </a:cubicBezTo>
                  <a:cubicBezTo>
                    <a:pt x="430" y="228"/>
                    <a:pt x="424" y="214"/>
                    <a:pt x="414" y="210"/>
                  </a:cubicBezTo>
                  <a:cubicBezTo>
                    <a:pt x="401" y="205"/>
                    <a:pt x="375" y="202"/>
                    <a:pt x="375" y="202"/>
                  </a:cubicBezTo>
                  <a:cubicBezTo>
                    <a:pt x="375" y="202"/>
                    <a:pt x="375" y="194"/>
                    <a:pt x="375" y="187"/>
                  </a:cubicBezTo>
                  <a:cubicBezTo>
                    <a:pt x="375" y="180"/>
                    <a:pt x="363" y="182"/>
                    <a:pt x="363" y="182"/>
                  </a:cubicBezTo>
                  <a:cubicBezTo>
                    <a:pt x="363" y="164"/>
                    <a:pt x="363" y="164"/>
                    <a:pt x="363" y="164"/>
                  </a:cubicBezTo>
                  <a:cubicBezTo>
                    <a:pt x="367" y="159"/>
                    <a:pt x="367" y="159"/>
                    <a:pt x="367" y="159"/>
                  </a:cubicBezTo>
                  <a:cubicBezTo>
                    <a:pt x="365" y="144"/>
                    <a:pt x="365" y="144"/>
                    <a:pt x="365" y="144"/>
                  </a:cubicBezTo>
                  <a:cubicBezTo>
                    <a:pt x="344" y="143"/>
                    <a:pt x="344" y="143"/>
                    <a:pt x="344" y="143"/>
                  </a:cubicBezTo>
                  <a:cubicBezTo>
                    <a:pt x="344" y="143"/>
                    <a:pt x="345" y="128"/>
                    <a:pt x="343" y="121"/>
                  </a:cubicBezTo>
                  <a:cubicBezTo>
                    <a:pt x="341" y="114"/>
                    <a:pt x="323" y="117"/>
                    <a:pt x="323" y="117"/>
                  </a:cubicBezTo>
                  <a:cubicBezTo>
                    <a:pt x="323" y="117"/>
                    <a:pt x="302" y="105"/>
                    <a:pt x="295" y="96"/>
                  </a:cubicBezTo>
                  <a:cubicBezTo>
                    <a:pt x="288" y="87"/>
                    <a:pt x="286" y="64"/>
                    <a:pt x="286" y="64"/>
                  </a:cubicBezTo>
                  <a:cubicBezTo>
                    <a:pt x="286" y="64"/>
                    <a:pt x="280" y="53"/>
                    <a:pt x="276" y="43"/>
                  </a:cubicBezTo>
                  <a:cubicBezTo>
                    <a:pt x="272" y="33"/>
                    <a:pt x="264" y="39"/>
                    <a:pt x="264" y="39"/>
                  </a:cubicBezTo>
                  <a:cubicBezTo>
                    <a:pt x="264" y="19"/>
                    <a:pt x="264" y="19"/>
                    <a:pt x="264" y="19"/>
                  </a:cubicBezTo>
                  <a:cubicBezTo>
                    <a:pt x="255" y="10"/>
                    <a:pt x="255" y="10"/>
                    <a:pt x="255" y="10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11" y="10"/>
                    <a:pt x="211" y="10"/>
                    <a:pt x="211" y="10"/>
                  </a:cubicBezTo>
                  <a:cubicBezTo>
                    <a:pt x="211" y="10"/>
                    <a:pt x="201" y="12"/>
                    <a:pt x="195" y="18"/>
                  </a:cubicBezTo>
                  <a:cubicBezTo>
                    <a:pt x="190" y="23"/>
                    <a:pt x="180" y="36"/>
                    <a:pt x="177" y="37"/>
                  </a:cubicBezTo>
                  <a:cubicBezTo>
                    <a:pt x="174" y="38"/>
                    <a:pt x="172" y="24"/>
                    <a:pt x="172" y="24"/>
                  </a:cubicBezTo>
                  <a:cubicBezTo>
                    <a:pt x="166" y="24"/>
                    <a:pt x="166" y="24"/>
                    <a:pt x="166" y="24"/>
                  </a:cubicBezTo>
                  <a:cubicBezTo>
                    <a:pt x="166" y="24"/>
                    <a:pt x="168" y="10"/>
                    <a:pt x="159" y="10"/>
                  </a:cubicBezTo>
                  <a:cubicBezTo>
                    <a:pt x="151" y="10"/>
                    <a:pt x="135" y="18"/>
                    <a:pt x="114" y="20"/>
                  </a:cubicBezTo>
                  <a:cubicBezTo>
                    <a:pt x="92" y="23"/>
                    <a:pt x="53" y="26"/>
                    <a:pt x="53" y="26"/>
                  </a:cubicBezTo>
                  <a:cubicBezTo>
                    <a:pt x="53" y="143"/>
                    <a:pt x="53" y="143"/>
                    <a:pt x="53" y="143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0" y="228"/>
                    <a:pt x="50" y="228"/>
                    <a:pt x="50" y="228"/>
                  </a:cubicBezTo>
                  <a:cubicBezTo>
                    <a:pt x="2" y="228"/>
                    <a:pt x="2" y="228"/>
                    <a:pt x="2" y="228"/>
                  </a:cubicBezTo>
                  <a:lnTo>
                    <a:pt x="0" y="377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07" name="Freeform 287">
              <a:extLst>
                <a:ext uri="{FF2B5EF4-FFF2-40B4-BE49-F238E27FC236}">
                  <a16:creationId xmlns:a16="http://schemas.microsoft.com/office/drawing/2014/main" id="{AE6179CC-10AE-28E2-CB97-26721161561A}"/>
                </a:ext>
              </a:extLst>
            </p:cNvPr>
            <p:cNvSpPr>
              <a:spLocks/>
            </p:cNvSpPr>
            <p:nvPr/>
          </p:nvSpPr>
          <p:spPr bwMode="gray">
            <a:xfrm>
              <a:off x="-1864" y="-11510"/>
              <a:ext cx="1134" cy="1745"/>
            </a:xfrm>
            <a:custGeom>
              <a:avLst/>
              <a:gdLst>
                <a:gd name="T0" fmla="*/ 70 w 480"/>
                <a:gd name="T1" fmla="*/ 77 h 739"/>
                <a:gd name="T2" fmla="*/ 79 w 480"/>
                <a:gd name="T3" fmla="*/ 85 h 739"/>
                <a:gd name="T4" fmla="*/ 78 w 480"/>
                <a:gd name="T5" fmla="*/ 93 h 739"/>
                <a:gd name="T6" fmla="*/ 97 w 480"/>
                <a:gd name="T7" fmla="*/ 117 h 739"/>
                <a:gd name="T8" fmla="*/ 107 w 480"/>
                <a:gd name="T9" fmla="*/ 142 h 739"/>
                <a:gd name="T10" fmla="*/ 122 w 480"/>
                <a:gd name="T11" fmla="*/ 142 h 739"/>
                <a:gd name="T12" fmla="*/ 143 w 480"/>
                <a:gd name="T13" fmla="*/ 167 h 739"/>
                <a:gd name="T14" fmla="*/ 225 w 480"/>
                <a:gd name="T15" fmla="*/ 194 h 739"/>
                <a:gd name="T16" fmla="*/ 277 w 480"/>
                <a:gd name="T17" fmla="*/ 220 h 739"/>
                <a:gd name="T18" fmla="*/ 325 w 480"/>
                <a:gd name="T19" fmla="*/ 217 h 739"/>
                <a:gd name="T20" fmla="*/ 185 w 480"/>
                <a:gd name="T21" fmla="*/ 382 h 739"/>
                <a:gd name="T22" fmla="*/ 129 w 480"/>
                <a:gd name="T23" fmla="*/ 382 h 739"/>
                <a:gd name="T24" fmla="*/ 96 w 480"/>
                <a:gd name="T25" fmla="*/ 396 h 739"/>
                <a:gd name="T26" fmla="*/ 89 w 480"/>
                <a:gd name="T27" fmla="*/ 414 h 739"/>
                <a:gd name="T28" fmla="*/ 50 w 480"/>
                <a:gd name="T29" fmla="*/ 421 h 739"/>
                <a:gd name="T30" fmla="*/ 42 w 480"/>
                <a:gd name="T31" fmla="*/ 435 h 739"/>
                <a:gd name="T32" fmla="*/ 22 w 480"/>
                <a:gd name="T33" fmla="*/ 471 h 739"/>
                <a:gd name="T34" fmla="*/ 1 w 480"/>
                <a:gd name="T35" fmla="*/ 492 h 739"/>
                <a:gd name="T36" fmla="*/ 0 w 480"/>
                <a:gd name="T37" fmla="*/ 695 h 739"/>
                <a:gd name="T38" fmla="*/ 28 w 480"/>
                <a:gd name="T39" fmla="*/ 735 h 739"/>
                <a:gd name="T40" fmla="*/ 26 w 480"/>
                <a:gd name="T41" fmla="*/ 739 h 739"/>
                <a:gd name="T42" fmla="*/ 26 w 480"/>
                <a:gd name="T43" fmla="*/ 739 h 739"/>
                <a:gd name="T44" fmla="*/ 58 w 480"/>
                <a:gd name="T45" fmla="*/ 680 h 739"/>
                <a:gd name="T46" fmla="*/ 100 w 480"/>
                <a:gd name="T47" fmla="*/ 639 h 739"/>
                <a:gd name="T48" fmla="*/ 157 w 480"/>
                <a:gd name="T49" fmla="*/ 573 h 739"/>
                <a:gd name="T50" fmla="*/ 210 w 480"/>
                <a:gd name="T51" fmla="*/ 536 h 739"/>
                <a:gd name="T52" fmla="*/ 281 w 480"/>
                <a:gd name="T53" fmla="*/ 473 h 739"/>
                <a:gd name="T54" fmla="*/ 335 w 480"/>
                <a:gd name="T55" fmla="*/ 399 h 739"/>
                <a:gd name="T56" fmla="*/ 370 w 480"/>
                <a:gd name="T57" fmla="*/ 334 h 739"/>
                <a:gd name="T58" fmla="*/ 384 w 480"/>
                <a:gd name="T59" fmla="*/ 308 h 739"/>
                <a:gd name="T60" fmla="*/ 397 w 480"/>
                <a:gd name="T61" fmla="*/ 262 h 739"/>
                <a:gd name="T62" fmla="*/ 417 w 480"/>
                <a:gd name="T63" fmla="*/ 228 h 739"/>
                <a:gd name="T64" fmla="*/ 427 w 480"/>
                <a:gd name="T65" fmla="*/ 205 h 739"/>
                <a:gd name="T66" fmla="*/ 440 w 480"/>
                <a:gd name="T67" fmla="*/ 169 h 739"/>
                <a:gd name="T68" fmla="*/ 457 w 480"/>
                <a:gd name="T69" fmla="*/ 147 h 739"/>
                <a:gd name="T70" fmla="*/ 457 w 480"/>
                <a:gd name="T71" fmla="*/ 93 h 739"/>
                <a:gd name="T72" fmla="*/ 471 w 480"/>
                <a:gd name="T73" fmla="*/ 84 h 739"/>
                <a:gd name="T74" fmla="*/ 467 w 480"/>
                <a:gd name="T75" fmla="*/ 38 h 739"/>
                <a:gd name="T76" fmla="*/ 474 w 480"/>
                <a:gd name="T77" fmla="*/ 8 h 739"/>
                <a:gd name="T78" fmla="*/ 447 w 480"/>
                <a:gd name="T79" fmla="*/ 0 h 739"/>
                <a:gd name="T80" fmla="*/ 432 w 480"/>
                <a:gd name="T81" fmla="*/ 21 h 739"/>
                <a:gd name="T82" fmla="*/ 382 w 480"/>
                <a:gd name="T83" fmla="*/ 37 h 739"/>
                <a:gd name="T84" fmla="*/ 345 w 480"/>
                <a:gd name="T85" fmla="*/ 35 h 739"/>
                <a:gd name="T86" fmla="*/ 318 w 480"/>
                <a:gd name="T87" fmla="*/ 54 h 739"/>
                <a:gd name="T88" fmla="*/ 296 w 480"/>
                <a:gd name="T89" fmla="*/ 43 h 739"/>
                <a:gd name="T90" fmla="*/ 252 w 480"/>
                <a:gd name="T91" fmla="*/ 73 h 739"/>
                <a:gd name="T92" fmla="*/ 221 w 480"/>
                <a:gd name="T93" fmla="*/ 62 h 739"/>
                <a:gd name="T94" fmla="*/ 181 w 480"/>
                <a:gd name="T95" fmla="*/ 84 h 739"/>
                <a:gd name="T96" fmla="*/ 141 w 480"/>
                <a:gd name="T97" fmla="*/ 85 h 739"/>
                <a:gd name="T98" fmla="*/ 111 w 480"/>
                <a:gd name="T99" fmla="*/ 48 h 739"/>
                <a:gd name="T100" fmla="*/ 99 w 480"/>
                <a:gd name="T101" fmla="*/ 35 h 739"/>
                <a:gd name="T102" fmla="*/ 84 w 480"/>
                <a:gd name="T103" fmla="*/ 55 h 739"/>
                <a:gd name="T104" fmla="*/ 70 w 480"/>
                <a:gd name="T105" fmla="*/ 77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0" h="739">
                  <a:moveTo>
                    <a:pt x="70" y="77"/>
                  </a:moveTo>
                  <a:cubicBezTo>
                    <a:pt x="79" y="85"/>
                    <a:pt x="79" y="85"/>
                    <a:pt x="79" y="85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78" y="93"/>
                    <a:pt x="91" y="109"/>
                    <a:pt x="97" y="117"/>
                  </a:cubicBezTo>
                  <a:cubicBezTo>
                    <a:pt x="103" y="125"/>
                    <a:pt x="107" y="142"/>
                    <a:pt x="107" y="142"/>
                  </a:cubicBezTo>
                  <a:cubicBezTo>
                    <a:pt x="122" y="142"/>
                    <a:pt x="122" y="142"/>
                    <a:pt x="122" y="142"/>
                  </a:cubicBezTo>
                  <a:cubicBezTo>
                    <a:pt x="122" y="142"/>
                    <a:pt x="132" y="159"/>
                    <a:pt x="143" y="167"/>
                  </a:cubicBezTo>
                  <a:cubicBezTo>
                    <a:pt x="154" y="175"/>
                    <a:pt x="206" y="188"/>
                    <a:pt x="225" y="194"/>
                  </a:cubicBezTo>
                  <a:cubicBezTo>
                    <a:pt x="244" y="200"/>
                    <a:pt x="277" y="220"/>
                    <a:pt x="277" y="220"/>
                  </a:cubicBezTo>
                  <a:cubicBezTo>
                    <a:pt x="325" y="217"/>
                    <a:pt x="325" y="217"/>
                    <a:pt x="325" y="217"/>
                  </a:cubicBezTo>
                  <a:cubicBezTo>
                    <a:pt x="185" y="382"/>
                    <a:pt x="185" y="382"/>
                    <a:pt x="185" y="382"/>
                  </a:cubicBezTo>
                  <a:cubicBezTo>
                    <a:pt x="185" y="382"/>
                    <a:pt x="137" y="380"/>
                    <a:pt x="129" y="382"/>
                  </a:cubicBezTo>
                  <a:cubicBezTo>
                    <a:pt x="121" y="384"/>
                    <a:pt x="96" y="396"/>
                    <a:pt x="96" y="396"/>
                  </a:cubicBezTo>
                  <a:cubicBezTo>
                    <a:pt x="96" y="396"/>
                    <a:pt x="95" y="408"/>
                    <a:pt x="89" y="414"/>
                  </a:cubicBezTo>
                  <a:cubicBezTo>
                    <a:pt x="83" y="420"/>
                    <a:pt x="58" y="418"/>
                    <a:pt x="50" y="421"/>
                  </a:cubicBezTo>
                  <a:cubicBezTo>
                    <a:pt x="42" y="424"/>
                    <a:pt x="42" y="435"/>
                    <a:pt x="42" y="435"/>
                  </a:cubicBezTo>
                  <a:cubicBezTo>
                    <a:pt x="42" y="435"/>
                    <a:pt x="29" y="463"/>
                    <a:pt x="22" y="471"/>
                  </a:cubicBezTo>
                  <a:cubicBezTo>
                    <a:pt x="15" y="479"/>
                    <a:pt x="1" y="492"/>
                    <a:pt x="1" y="492"/>
                  </a:cubicBezTo>
                  <a:cubicBezTo>
                    <a:pt x="0" y="695"/>
                    <a:pt x="0" y="695"/>
                    <a:pt x="0" y="695"/>
                  </a:cubicBezTo>
                  <a:cubicBezTo>
                    <a:pt x="28" y="735"/>
                    <a:pt x="28" y="735"/>
                    <a:pt x="28" y="735"/>
                  </a:cubicBezTo>
                  <a:cubicBezTo>
                    <a:pt x="27" y="737"/>
                    <a:pt x="27" y="738"/>
                    <a:pt x="26" y="739"/>
                  </a:cubicBezTo>
                  <a:cubicBezTo>
                    <a:pt x="26" y="739"/>
                    <a:pt x="26" y="739"/>
                    <a:pt x="26" y="739"/>
                  </a:cubicBezTo>
                  <a:cubicBezTo>
                    <a:pt x="35" y="722"/>
                    <a:pt x="52" y="690"/>
                    <a:pt x="58" y="680"/>
                  </a:cubicBezTo>
                  <a:cubicBezTo>
                    <a:pt x="65" y="669"/>
                    <a:pt x="97" y="654"/>
                    <a:pt x="100" y="639"/>
                  </a:cubicBezTo>
                  <a:cubicBezTo>
                    <a:pt x="103" y="624"/>
                    <a:pt x="146" y="586"/>
                    <a:pt x="157" y="573"/>
                  </a:cubicBezTo>
                  <a:cubicBezTo>
                    <a:pt x="168" y="560"/>
                    <a:pt x="202" y="541"/>
                    <a:pt x="210" y="536"/>
                  </a:cubicBezTo>
                  <a:cubicBezTo>
                    <a:pt x="218" y="531"/>
                    <a:pt x="275" y="484"/>
                    <a:pt x="281" y="473"/>
                  </a:cubicBezTo>
                  <a:cubicBezTo>
                    <a:pt x="287" y="462"/>
                    <a:pt x="331" y="413"/>
                    <a:pt x="335" y="399"/>
                  </a:cubicBezTo>
                  <a:cubicBezTo>
                    <a:pt x="339" y="385"/>
                    <a:pt x="364" y="339"/>
                    <a:pt x="370" y="334"/>
                  </a:cubicBezTo>
                  <a:cubicBezTo>
                    <a:pt x="376" y="329"/>
                    <a:pt x="384" y="316"/>
                    <a:pt x="384" y="308"/>
                  </a:cubicBezTo>
                  <a:cubicBezTo>
                    <a:pt x="384" y="300"/>
                    <a:pt x="390" y="271"/>
                    <a:pt x="397" y="262"/>
                  </a:cubicBezTo>
                  <a:cubicBezTo>
                    <a:pt x="404" y="253"/>
                    <a:pt x="417" y="241"/>
                    <a:pt x="417" y="228"/>
                  </a:cubicBezTo>
                  <a:cubicBezTo>
                    <a:pt x="417" y="215"/>
                    <a:pt x="427" y="205"/>
                    <a:pt x="427" y="205"/>
                  </a:cubicBezTo>
                  <a:cubicBezTo>
                    <a:pt x="440" y="169"/>
                    <a:pt x="440" y="169"/>
                    <a:pt x="440" y="169"/>
                  </a:cubicBezTo>
                  <a:cubicBezTo>
                    <a:pt x="440" y="169"/>
                    <a:pt x="457" y="173"/>
                    <a:pt x="457" y="147"/>
                  </a:cubicBezTo>
                  <a:cubicBezTo>
                    <a:pt x="457" y="121"/>
                    <a:pt x="457" y="93"/>
                    <a:pt x="457" y="93"/>
                  </a:cubicBezTo>
                  <a:cubicBezTo>
                    <a:pt x="471" y="84"/>
                    <a:pt x="471" y="84"/>
                    <a:pt x="471" y="84"/>
                  </a:cubicBezTo>
                  <a:cubicBezTo>
                    <a:pt x="467" y="38"/>
                    <a:pt x="467" y="38"/>
                    <a:pt x="467" y="38"/>
                  </a:cubicBezTo>
                  <a:cubicBezTo>
                    <a:pt x="467" y="38"/>
                    <a:pt x="480" y="14"/>
                    <a:pt x="474" y="8"/>
                  </a:cubicBezTo>
                  <a:cubicBezTo>
                    <a:pt x="468" y="2"/>
                    <a:pt x="447" y="0"/>
                    <a:pt x="447" y="0"/>
                  </a:cubicBezTo>
                  <a:cubicBezTo>
                    <a:pt x="447" y="0"/>
                    <a:pt x="439" y="14"/>
                    <a:pt x="432" y="21"/>
                  </a:cubicBezTo>
                  <a:cubicBezTo>
                    <a:pt x="425" y="28"/>
                    <a:pt x="388" y="37"/>
                    <a:pt x="382" y="37"/>
                  </a:cubicBezTo>
                  <a:cubicBezTo>
                    <a:pt x="376" y="37"/>
                    <a:pt x="355" y="31"/>
                    <a:pt x="345" y="35"/>
                  </a:cubicBezTo>
                  <a:cubicBezTo>
                    <a:pt x="335" y="39"/>
                    <a:pt x="322" y="54"/>
                    <a:pt x="318" y="54"/>
                  </a:cubicBezTo>
                  <a:cubicBezTo>
                    <a:pt x="314" y="54"/>
                    <a:pt x="304" y="42"/>
                    <a:pt x="296" y="43"/>
                  </a:cubicBezTo>
                  <a:cubicBezTo>
                    <a:pt x="288" y="44"/>
                    <a:pt x="261" y="72"/>
                    <a:pt x="252" y="73"/>
                  </a:cubicBezTo>
                  <a:cubicBezTo>
                    <a:pt x="243" y="74"/>
                    <a:pt x="235" y="58"/>
                    <a:pt x="221" y="62"/>
                  </a:cubicBezTo>
                  <a:cubicBezTo>
                    <a:pt x="207" y="66"/>
                    <a:pt x="189" y="83"/>
                    <a:pt x="181" y="84"/>
                  </a:cubicBezTo>
                  <a:cubicBezTo>
                    <a:pt x="173" y="85"/>
                    <a:pt x="141" y="85"/>
                    <a:pt x="141" y="85"/>
                  </a:cubicBezTo>
                  <a:cubicBezTo>
                    <a:pt x="141" y="85"/>
                    <a:pt x="111" y="58"/>
                    <a:pt x="111" y="48"/>
                  </a:cubicBezTo>
                  <a:cubicBezTo>
                    <a:pt x="111" y="40"/>
                    <a:pt x="102" y="36"/>
                    <a:pt x="99" y="35"/>
                  </a:cubicBezTo>
                  <a:cubicBezTo>
                    <a:pt x="84" y="55"/>
                    <a:pt x="84" y="55"/>
                    <a:pt x="84" y="55"/>
                  </a:cubicBezTo>
                  <a:lnTo>
                    <a:pt x="70" y="77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08" name="Freeform 288">
              <a:extLst>
                <a:ext uri="{FF2B5EF4-FFF2-40B4-BE49-F238E27FC236}">
                  <a16:creationId xmlns:a16="http://schemas.microsoft.com/office/drawing/2014/main" id="{1389998D-07F9-236E-3963-C9A2FB542894}"/>
                </a:ext>
              </a:extLst>
            </p:cNvPr>
            <p:cNvSpPr>
              <a:spLocks/>
            </p:cNvSpPr>
            <p:nvPr/>
          </p:nvSpPr>
          <p:spPr bwMode="gray">
            <a:xfrm>
              <a:off x="-1808" y="-11595"/>
              <a:ext cx="201" cy="224"/>
            </a:xfrm>
            <a:custGeom>
              <a:avLst/>
              <a:gdLst>
                <a:gd name="T0" fmla="*/ 47 w 85"/>
                <a:gd name="T1" fmla="*/ 18 h 95"/>
                <a:gd name="T2" fmla="*/ 31 w 85"/>
                <a:gd name="T3" fmla="*/ 8 h 95"/>
                <a:gd name="T4" fmla="*/ 13 w 85"/>
                <a:gd name="T5" fmla="*/ 47 h 95"/>
                <a:gd name="T6" fmla="*/ 0 w 85"/>
                <a:gd name="T7" fmla="*/ 56 h 95"/>
                <a:gd name="T8" fmla="*/ 11 w 85"/>
                <a:gd name="T9" fmla="*/ 94 h 95"/>
                <a:gd name="T10" fmla="*/ 36 w 85"/>
                <a:gd name="T11" fmla="*/ 91 h 95"/>
                <a:gd name="T12" fmla="*/ 46 w 85"/>
                <a:gd name="T13" fmla="*/ 84 h 95"/>
                <a:gd name="T14" fmla="*/ 59 w 85"/>
                <a:gd name="T15" fmla="*/ 93 h 95"/>
                <a:gd name="T16" fmla="*/ 60 w 85"/>
                <a:gd name="T17" fmla="*/ 91 h 95"/>
                <a:gd name="T18" fmla="*/ 75 w 85"/>
                <a:gd name="T19" fmla="*/ 71 h 95"/>
                <a:gd name="T20" fmla="*/ 74 w 85"/>
                <a:gd name="T21" fmla="*/ 71 h 95"/>
                <a:gd name="T22" fmla="*/ 67 w 85"/>
                <a:gd name="T23" fmla="*/ 61 h 95"/>
                <a:gd name="T24" fmla="*/ 44 w 85"/>
                <a:gd name="T25" fmla="*/ 63 h 95"/>
                <a:gd name="T26" fmla="*/ 76 w 85"/>
                <a:gd name="T27" fmla="*/ 17 h 95"/>
                <a:gd name="T28" fmla="*/ 63 w 85"/>
                <a:gd name="T29" fmla="*/ 0 h 95"/>
                <a:gd name="T30" fmla="*/ 54 w 85"/>
                <a:gd name="T31" fmla="*/ 6 h 95"/>
                <a:gd name="T32" fmla="*/ 47 w 85"/>
                <a:gd name="T33" fmla="*/ 1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5" h="95">
                  <a:moveTo>
                    <a:pt x="47" y="18"/>
                  </a:moveTo>
                  <a:cubicBezTo>
                    <a:pt x="31" y="8"/>
                    <a:pt x="31" y="8"/>
                    <a:pt x="31" y="8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6"/>
                    <a:pt x="3" y="93"/>
                    <a:pt x="11" y="94"/>
                  </a:cubicBezTo>
                  <a:cubicBezTo>
                    <a:pt x="19" y="95"/>
                    <a:pt x="36" y="91"/>
                    <a:pt x="36" y="91"/>
                  </a:cubicBezTo>
                  <a:cubicBezTo>
                    <a:pt x="36" y="91"/>
                    <a:pt x="39" y="83"/>
                    <a:pt x="46" y="84"/>
                  </a:cubicBezTo>
                  <a:cubicBezTo>
                    <a:pt x="50" y="85"/>
                    <a:pt x="55" y="89"/>
                    <a:pt x="59" y="93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4" y="63"/>
                    <a:pt x="85" y="30"/>
                    <a:pt x="76" y="17"/>
                  </a:cubicBezTo>
                  <a:cubicBezTo>
                    <a:pt x="73" y="12"/>
                    <a:pt x="68" y="6"/>
                    <a:pt x="63" y="0"/>
                  </a:cubicBezTo>
                  <a:cubicBezTo>
                    <a:pt x="54" y="6"/>
                    <a:pt x="54" y="6"/>
                    <a:pt x="54" y="6"/>
                  </a:cubicBezTo>
                  <a:lnTo>
                    <a:pt x="47" y="1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289">
              <a:extLst>
                <a:ext uri="{FF2B5EF4-FFF2-40B4-BE49-F238E27FC236}">
                  <a16:creationId xmlns:a16="http://schemas.microsoft.com/office/drawing/2014/main" id="{DEADE2FC-8935-6EB5-31A7-734D6C60C79D}"/>
                </a:ext>
              </a:extLst>
            </p:cNvPr>
            <p:cNvSpPr>
              <a:spLocks/>
            </p:cNvSpPr>
            <p:nvPr/>
          </p:nvSpPr>
          <p:spPr bwMode="gray">
            <a:xfrm>
              <a:off x="-2415" y="-12273"/>
              <a:ext cx="756" cy="720"/>
            </a:xfrm>
            <a:custGeom>
              <a:avLst/>
              <a:gdLst>
                <a:gd name="T0" fmla="*/ 51 w 320"/>
                <a:gd name="T1" fmla="*/ 35 h 305"/>
                <a:gd name="T2" fmla="*/ 50 w 320"/>
                <a:gd name="T3" fmla="*/ 50 h 305"/>
                <a:gd name="T4" fmla="*/ 31 w 320"/>
                <a:gd name="T5" fmla="*/ 57 h 305"/>
                <a:gd name="T6" fmla="*/ 31 w 320"/>
                <a:gd name="T7" fmla="*/ 67 h 305"/>
                <a:gd name="T8" fmla="*/ 20 w 320"/>
                <a:gd name="T9" fmla="*/ 75 h 305"/>
                <a:gd name="T10" fmla="*/ 26 w 320"/>
                <a:gd name="T11" fmla="*/ 106 h 305"/>
                <a:gd name="T12" fmla="*/ 14 w 320"/>
                <a:gd name="T13" fmla="*/ 126 h 305"/>
                <a:gd name="T14" fmla="*/ 13 w 320"/>
                <a:gd name="T15" fmla="*/ 143 h 305"/>
                <a:gd name="T16" fmla="*/ 1 w 320"/>
                <a:gd name="T17" fmla="*/ 157 h 305"/>
                <a:gd name="T18" fmla="*/ 6 w 320"/>
                <a:gd name="T19" fmla="*/ 167 h 305"/>
                <a:gd name="T20" fmla="*/ 8 w 320"/>
                <a:gd name="T21" fmla="*/ 200 h 305"/>
                <a:gd name="T22" fmla="*/ 31 w 320"/>
                <a:gd name="T23" fmla="*/ 201 h 305"/>
                <a:gd name="T24" fmla="*/ 41 w 320"/>
                <a:gd name="T25" fmla="*/ 191 h 305"/>
                <a:gd name="T26" fmla="*/ 57 w 320"/>
                <a:gd name="T27" fmla="*/ 211 h 305"/>
                <a:gd name="T28" fmla="*/ 73 w 320"/>
                <a:gd name="T29" fmla="*/ 170 h 305"/>
                <a:gd name="T30" fmla="*/ 89 w 320"/>
                <a:gd name="T31" fmla="*/ 179 h 305"/>
                <a:gd name="T32" fmla="*/ 99 w 320"/>
                <a:gd name="T33" fmla="*/ 194 h 305"/>
                <a:gd name="T34" fmla="*/ 116 w 320"/>
                <a:gd name="T35" fmla="*/ 194 h 305"/>
                <a:gd name="T36" fmla="*/ 128 w 320"/>
                <a:gd name="T37" fmla="*/ 181 h 305"/>
                <a:gd name="T38" fmla="*/ 137 w 320"/>
                <a:gd name="T39" fmla="*/ 194 h 305"/>
                <a:gd name="T40" fmla="*/ 155 w 320"/>
                <a:gd name="T41" fmla="*/ 187 h 305"/>
                <a:gd name="T42" fmla="*/ 165 w 320"/>
                <a:gd name="T43" fmla="*/ 192 h 305"/>
                <a:gd name="T44" fmla="*/ 185 w 320"/>
                <a:gd name="T45" fmla="*/ 193 h 305"/>
                <a:gd name="T46" fmla="*/ 196 w 320"/>
                <a:gd name="T47" fmla="*/ 207 h 305"/>
                <a:gd name="T48" fmla="*/ 216 w 320"/>
                <a:gd name="T49" fmla="*/ 216 h 305"/>
                <a:gd name="T50" fmla="*/ 231 w 320"/>
                <a:gd name="T51" fmla="*/ 242 h 305"/>
                <a:gd name="T52" fmla="*/ 257 w 320"/>
                <a:gd name="T53" fmla="*/ 257 h 305"/>
                <a:gd name="T54" fmla="*/ 262 w 320"/>
                <a:gd name="T55" fmla="*/ 277 h 305"/>
                <a:gd name="T56" fmla="*/ 280 w 320"/>
                <a:gd name="T57" fmla="*/ 283 h 305"/>
                <a:gd name="T58" fmla="*/ 288 w 320"/>
                <a:gd name="T59" fmla="*/ 295 h 305"/>
                <a:gd name="T60" fmla="*/ 304 w 320"/>
                <a:gd name="T61" fmla="*/ 305 h 305"/>
                <a:gd name="T62" fmla="*/ 311 w 320"/>
                <a:gd name="T63" fmla="*/ 293 h 305"/>
                <a:gd name="T64" fmla="*/ 320 w 320"/>
                <a:gd name="T65" fmla="*/ 287 h 305"/>
                <a:gd name="T66" fmla="*/ 304 w 320"/>
                <a:gd name="T67" fmla="*/ 268 h 305"/>
                <a:gd name="T68" fmla="*/ 285 w 320"/>
                <a:gd name="T69" fmla="*/ 264 h 305"/>
                <a:gd name="T70" fmla="*/ 283 w 320"/>
                <a:gd name="T71" fmla="*/ 239 h 305"/>
                <a:gd name="T72" fmla="*/ 241 w 320"/>
                <a:gd name="T73" fmla="*/ 216 h 305"/>
                <a:gd name="T74" fmla="*/ 231 w 320"/>
                <a:gd name="T75" fmla="*/ 181 h 305"/>
                <a:gd name="T76" fmla="*/ 204 w 320"/>
                <a:gd name="T77" fmla="*/ 177 h 305"/>
                <a:gd name="T78" fmla="*/ 190 w 320"/>
                <a:gd name="T79" fmla="*/ 159 h 305"/>
                <a:gd name="T80" fmla="*/ 177 w 320"/>
                <a:gd name="T81" fmla="*/ 165 h 305"/>
                <a:gd name="T82" fmla="*/ 169 w 320"/>
                <a:gd name="T83" fmla="*/ 152 h 305"/>
                <a:gd name="T84" fmla="*/ 157 w 320"/>
                <a:gd name="T85" fmla="*/ 149 h 305"/>
                <a:gd name="T86" fmla="*/ 134 w 320"/>
                <a:gd name="T87" fmla="*/ 117 h 305"/>
                <a:gd name="T88" fmla="*/ 128 w 320"/>
                <a:gd name="T89" fmla="*/ 62 h 305"/>
                <a:gd name="T90" fmla="*/ 100 w 320"/>
                <a:gd name="T91" fmla="*/ 1 h 305"/>
                <a:gd name="T92" fmla="*/ 98 w 320"/>
                <a:gd name="T93" fmla="*/ 0 h 305"/>
                <a:gd name="T94" fmla="*/ 87 w 320"/>
                <a:gd name="T95" fmla="*/ 25 h 305"/>
                <a:gd name="T96" fmla="*/ 51 w 320"/>
                <a:gd name="T97" fmla="*/ 3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0" h="305">
                  <a:moveTo>
                    <a:pt x="51" y="35"/>
                  </a:moveTo>
                  <a:cubicBezTo>
                    <a:pt x="51" y="35"/>
                    <a:pt x="51" y="43"/>
                    <a:pt x="50" y="50"/>
                  </a:cubicBezTo>
                  <a:cubicBezTo>
                    <a:pt x="49" y="57"/>
                    <a:pt x="31" y="57"/>
                    <a:pt x="31" y="5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20" y="72"/>
                    <a:pt x="20" y="75"/>
                  </a:cubicBezTo>
                  <a:cubicBezTo>
                    <a:pt x="20" y="78"/>
                    <a:pt x="26" y="88"/>
                    <a:pt x="26" y="106"/>
                  </a:cubicBezTo>
                  <a:cubicBezTo>
                    <a:pt x="26" y="124"/>
                    <a:pt x="14" y="126"/>
                    <a:pt x="14" y="126"/>
                  </a:cubicBezTo>
                  <a:cubicBezTo>
                    <a:pt x="14" y="126"/>
                    <a:pt x="13" y="136"/>
                    <a:pt x="13" y="143"/>
                  </a:cubicBezTo>
                  <a:cubicBezTo>
                    <a:pt x="13" y="150"/>
                    <a:pt x="2" y="149"/>
                    <a:pt x="1" y="157"/>
                  </a:cubicBezTo>
                  <a:cubicBezTo>
                    <a:pt x="0" y="165"/>
                    <a:pt x="6" y="167"/>
                    <a:pt x="6" y="167"/>
                  </a:cubicBezTo>
                  <a:cubicBezTo>
                    <a:pt x="8" y="200"/>
                    <a:pt x="8" y="200"/>
                    <a:pt x="8" y="200"/>
                  </a:cubicBezTo>
                  <a:cubicBezTo>
                    <a:pt x="31" y="201"/>
                    <a:pt x="31" y="201"/>
                    <a:pt x="31" y="201"/>
                  </a:cubicBezTo>
                  <a:cubicBezTo>
                    <a:pt x="31" y="201"/>
                    <a:pt x="36" y="191"/>
                    <a:pt x="41" y="191"/>
                  </a:cubicBezTo>
                  <a:cubicBezTo>
                    <a:pt x="46" y="191"/>
                    <a:pt x="49" y="211"/>
                    <a:pt x="57" y="211"/>
                  </a:cubicBezTo>
                  <a:cubicBezTo>
                    <a:pt x="65" y="211"/>
                    <a:pt x="73" y="170"/>
                    <a:pt x="73" y="170"/>
                  </a:cubicBezTo>
                  <a:cubicBezTo>
                    <a:pt x="73" y="170"/>
                    <a:pt x="85" y="177"/>
                    <a:pt x="89" y="179"/>
                  </a:cubicBezTo>
                  <a:cubicBezTo>
                    <a:pt x="93" y="181"/>
                    <a:pt x="99" y="194"/>
                    <a:pt x="99" y="194"/>
                  </a:cubicBezTo>
                  <a:cubicBezTo>
                    <a:pt x="99" y="194"/>
                    <a:pt x="113" y="194"/>
                    <a:pt x="116" y="194"/>
                  </a:cubicBezTo>
                  <a:cubicBezTo>
                    <a:pt x="119" y="194"/>
                    <a:pt x="128" y="181"/>
                    <a:pt x="128" y="181"/>
                  </a:cubicBezTo>
                  <a:cubicBezTo>
                    <a:pt x="128" y="181"/>
                    <a:pt x="134" y="194"/>
                    <a:pt x="137" y="194"/>
                  </a:cubicBezTo>
                  <a:cubicBezTo>
                    <a:pt x="140" y="194"/>
                    <a:pt x="151" y="187"/>
                    <a:pt x="155" y="187"/>
                  </a:cubicBezTo>
                  <a:cubicBezTo>
                    <a:pt x="159" y="187"/>
                    <a:pt x="165" y="192"/>
                    <a:pt x="165" y="192"/>
                  </a:cubicBezTo>
                  <a:cubicBezTo>
                    <a:pt x="185" y="193"/>
                    <a:pt x="185" y="193"/>
                    <a:pt x="185" y="193"/>
                  </a:cubicBezTo>
                  <a:cubicBezTo>
                    <a:pt x="196" y="207"/>
                    <a:pt x="196" y="207"/>
                    <a:pt x="196" y="207"/>
                  </a:cubicBezTo>
                  <a:cubicBezTo>
                    <a:pt x="196" y="207"/>
                    <a:pt x="208" y="208"/>
                    <a:pt x="216" y="216"/>
                  </a:cubicBezTo>
                  <a:cubicBezTo>
                    <a:pt x="224" y="224"/>
                    <a:pt x="227" y="234"/>
                    <a:pt x="231" y="242"/>
                  </a:cubicBezTo>
                  <a:cubicBezTo>
                    <a:pt x="235" y="250"/>
                    <a:pt x="253" y="252"/>
                    <a:pt x="257" y="257"/>
                  </a:cubicBezTo>
                  <a:cubicBezTo>
                    <a:pt x="261" y="262"/>
                    <a:pt x="261" y="271"/>
                    <a:pt x="262" y="277"/>
                  </a:cubicBezTo>
                  <a:cubicBezTo>
                    <a:pt x="263" y="283"/>
                    <a:pt x="280" y="283"/>
                    <a:pt x="280" y="283"/>
                  </a:cubicBezTo>
                  <a:cubicBezTo>
                    <a:pt x="288" y="295"/>
                    <a:pt x="288" y="295"/>
                    <a:pt x="288" y="295"/>
                  </a:cubicBezTo>
                  <a:cubicBezTo>
                    <a:pt x="304" y="305"/>
                    <a:pt x="304" y="305"/>
                    <a:pt x="304" y="305"/>
                  </a:cubicBezTo>
                  <a:cubicBezTo>
                    <a:pt x="311" y="293"/>
                    <a:pt x="311" y="293"/>
                    <a:pt x="311" y="293"/>
                  </a:cubicBezTo>
                  <a:cubicBezTo>
                    <a:pt x="320" y="287"/>
                    <a:pt x="320" y="287"/>
                    <a:pt x="320" y="287"/>
                  </a:cubicBezTo>
                  <a:cubicBezTo>
                    <a:pt x="312" y="277"/>
                    <a:pt x="304" y="268"/>
                    <a:pt x="304" y="268"/>
                  </a:cubicBezTo>
                  <a:cubicBezTo>
                    <a:pt x="304" y="268"/>
                    <a:pt x="287" y="271"/>
                    <a:pt x="285" y="264"/>
                  </a:cubicBezTo>
                  <a:cubicBezTo>
                    <a:pt x="283" y="257"/>
                    <a:pt x="283" y="239"/>
                    <a:pt x="283" y="239"/>
                  </a:cubicBezTo>
                  <a:cubicBezTo>
                    <a:pt x="283" y="239"/>
                    <a:pt x="244" y="225"/>
                    <a:pt x="241" y="216"/>
                  </a:cubicBezTo>
                  <a:cubicBezTo>
                    <a:pt x="238" y="207"/>
                    <a:pt x="238" y="185"/>
                    <a:pt x="231" y="181"/>
                  </a:cubicBezTo>
                  <a:cubicBezTo>
                    <a:pt x="224" y="177"/>
                    <a:pt x="207" y="181"/>
                    <a:pt x="204" y="177"/>
                  </a:cubicBezTo>
                  <a:cubicBezTo>
                    <a:pt x="201" y="173"/>
                    <a:pt x="190" y="159"/>
                    <a:pt x="190" y="159"/>
                  </a:cubicBezTo>
                  <a:cubicBezTo>
                    <a:pt x="177" y="165"/>
                    <a:pt x="177" y="165"/>
                    <a:pt x="177" y="165"/>
                  </a:cubicBezTo>
                  <a:cubicBezTo>
                    <a:pt x="169" y="152"/>
                    <a:pt x="169" y="152"/>
                    <a:pt x="169" y="152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7" y="149"/>
                    <a:pt x="137" y="129"/>
                    <a:pt x="134" y="117"/>
                  </a:cubicBezTo>
                  <a:cubicBezTo>
                    <a:pt x="131" y="105"/>
                    <a:pt x="135" y="85"/>
                    <a:pt x="128" y="62"/>
                  </a:cubicBezTo>
                  <a:cubicBezTo>
                    <a:pt x="121" y="39"/>
                    <a:pt x="100" y="1"/>
                    <a:pt x="100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9"/>
                    <a:pt x="92" y="21"/>
                    <a:pt x="87" y="25"/>
                  </a:cubicBezTo>
                  <a:cubicBezTo>
                    <a:pt x="78" y="33"/>
                    <a:pt x="51" y="35"/>
                    <a:pt x="51" y="3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10" name="Freeform 290">
              <a:extLst>
                <a:ext uri="{FF2B5EF4-FFF2-40B4-BE49-F238E27FC236}">
                  <a16:creationId xmlns:a16="http://schemas.microsoft.com/office/drawing/2014/main" id="{43FB707A-A5FD-7983-B7FE-CFC4460EC484}"/>
                </a:ext>
              </a:extLst>
            </p:cNvPr>
            <p:cNvSpPr>
              <a:spLocks/>
            </p:cNvSpPr>
            <p:nvPr/>
          </p:nvSpPr>
          <p:spPr bwMode="gray">
            <a:xfrm>
              <a:off x="-2771" y="-11872"/>
              <a:ext cx="1674" cy="1453"/>
            </a:xfrm>
            <a:custGeom>
              <a:avLst/>
              <a:gdLst>
                <a:gd name="T0" fmla="*/ 75 w 709"/>
                <a:gd name="T1" fmla="*/ 428 h 615"/>
                <a:gd name="T2" fmla="*/ 87 w 709"/>
                <a:gd name="T3" fmla="*/ 442 h 615"/>
                <a:gd name="T4" fmla="*/ 96 w 709"/>
                <a:gd name="T5" fmla="*/ 471 h 615"/>
                <a:gd name="T6" fmla="*/ 133 w 709"/>
                <a:gd name="T7" fmla="*/ 513 h 615"/>
                <a:gd name="T8" fmla="*/ 138 w 709"/>
                <a:gd name="T9" fmla="*/ 545 h 615"/>
                <a:gd name="T10" fmla="*/ 191 w 709"/>
                <a:gd name="T11" fmla="*/ 562 h 615"/>
                <a:gd name="T12" fmla="*/ 282 w 709"/>
                <a:gd name="T13" fmla="*/ 606 h 615"/>
                <a:gd name="T14" fmla="*/ 326 w 709"/>
                <a:gd name="T15" fmla="*/ 601 h 615"/>
                <a:gd name="T16" fmla="*/ 360 w 709"/>
                <a:gd name="T17" fmla="*/ 577 h 615"/>
                <a:gd name="T18" fmla="*/ 388 w 709"/>
                <a:gd name="T19" fmla="*/ 585 h 615"/>
                <a:gd name="T20" fmla="*/ 410 w 709"/>
                <a:gd name="T21" fmla="*/ 582 h 615"/>
                <a:gd name="T22" fmla="*/ 434 w 709"/>
                <a:gd name="T23" fmla="*/ 574 h 615"/>
                <a:gd name="T24" fmla="*/ 480 w 709"/>
                <a:gd name="T25" fmla="*/ 549 h 615"/>
                <a:gd name="T26" fmla="*/ 569 w 709"/>
                <a:gd name="T27" fmla="*/ 535 h 615"/>
                <a:gd name="T28" fmla="*/ 661 w 709"/>
                <a:gd name="T29" fmla="*/ 373 h 615"/>
                <a:gd name="T30" fmla="*/ 527 w 709"/>
                <a:gd name="T31" fmla="*/ 320 h 615"/>
                <a:gd name="T32" fmla="*/ 491 w 709"/>
                <a:gd name="T33" fmla="*/ 295 h 615"/>
                <a:gd name="T34" fmla="*/ 462 w 709"/>
                <a:gd name="T35" fmla="*/ 246 h 615"/>
                <a:gd name="T36" fmla="*/ 454 w 709"/>
                <a:gd name="T37" fmla="*/ 230 h 615"/>
                <a:gd name="T38" fmla="*/ 454 w 709"/>
                <a:gd name="T39" fmla="*/ 201 h 615"/>
                <a:gd name="T40" fmla="*/ 419 w 709"/>
                <a:gd name="T41" fmla="*/ 211 h 615"/>
                <a:gd name="T42" fmla="*/ 421 w 709"/>
                <a:gd name="T43" fmla="*/ 164 h 615"/>
                <a:gd name="T44" fmla="*/ 431 w 709"/>
                <a:gd name="T45" fmla="*/ 113 h 615"/>
                <a:gd name="T46" fmla="*/ 408 w 709"/>
                <a:gd name="T47" fmla="*/ 87 h 615"/>
                <a:gd name="T48" fmla="*/ 367 w 709"/>
                <a:gd name="T49" fmla="*/ 46 h 615"/>
                <a:gd name="T50" fmla="*/ 336 w 709"/>
                <a:gd name="T51" fmla="*/ 23 h 615"/>
                <a:gd name="T52" fmla="*/ 306 w 709"/>
                <a:gd name="T53" fmla="*/ 17 h 615"/>
                <a:gd name="T54" fmla="*/ 279 w 709"/>
                <a:gd name="T55" fmla="*/ 11 h 615"/>
                <a:gd name="T56" fmla="*/ 250 w 709"/>
                <a:gd name="T57" fmla="*/ 24 h 615"/>
                <a:gd name="T58" fmla="*/ 224 w 709"/>
                <a:gd name="T59" fmla="*/ 0 h 615"/>
                <a:gd name="T60" fmla="*/ 192 w 709"/>
                <a:gd name="T61" fmla="*/ 21 h 615"/>
                <a:gd name="T62" fmla="*/ 159 w 709"/>
                <a:gd name="T63" fmla="*/ 30 h 615"/>
                <a:gd name="T64" fmla="*/ 143 w 709"/>
                <a:gd name="T65" fmla="*/ 88 h 615"/>
                <a:gd name="T66" fmla="*/ 123 w 709"/>
                <a:gd name="T67" fmla="*/ 116 h 615"/>
                <a:gd name="T68" fmla="*/ 110 w 709"/>
                <a:gd name="T69" fmla="*/ 155 h 615"/>
                <a:gd name="T70" fmla="*/ 96 w 709"/>
                <a:gd name="T71" fmla="*/ 179 h 615"/>
                <a:gd name="T72" fmla="*/ 90 w 709"/>
                <a:gd name="T73" fmla="*/ 221 h 615"/>
                <a:gd name="T74" fmla="*/ 71 w 709"/>
                <a:gd name="T75" fmla="*/ 215 h 615"/>
                <a:gd name="T76" fmla="*/ 65 w 709"/>
                <a:gd name="T77" fmla="*/ 256 h 615"/>
                <a:gd name="T78" fmla="*/ 54 w 709"/>
                <a:gd name="T79" fmla="*/ 305 h 615"/>
                <a:gd name="T80" fmla="*/ 36 w 709"/>
                <a:gd name="T81" fmla="*/ 351 h 615"/>
                <a:gd name="T82" fmla="*/ 8 w 709"/>
                <a:gd name="T83" fmla="*/ 345 h 615"/>
                <a:gd name="T84" fmla="*/ 3 w 709"/>
                <a:gd name="T85" fmla="*/ 383 h 615"/>
                <a:gd name="T86" fmla="*/ 55 w 709"/>
                <a:gd name="T87" fmla="*/ 40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09" h="615">
                  <a:moveTo>
                    <a:pt x="60" y="425"/>
                  </a:moveTo>
                  <a:cubicBezTo>
                    <a:pt x="64" y="430"/>
                    <a:pt x="75" y="428"/>
                    <a:pt x="75" y="428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9" y="467"/>
                    <a:pt x="89" y="467"/>
                    <a:pt x="89" y="467"/>
                  </a:cubicBezTo>
                  <a:cubicBezTo>
                    <a:pt x="96" y="471"/>
                    <a:pt x="96" y="471"/>
                    <a:pt x="96" y="471"/>
                  </a:cubicBezTo>
                  <a:cubicBezTo>
                    <a:pt x="96" y="471"/>
                    <a:pt x="98" y="498"/>
                    <a:pt x="108" y="506"/>
                  </a:cubicBezTo>
                  <a:cubicBezTo>
                    <a:pt x="118" y="514"/>
                    <a:pt x="128" y="505"/>
                    <a:pt x="133" y="513"/>
                  </a:cubicBezTo>
                  <a:cubicBezTo>
                    <a:pt x="138" y="521"/>
                    <a:pt x="137" y="535"/>
                    <a:pt x="137" y="535"/>
                  </a:cubicBezTo>
                  <a:cubicBezTo>
                    <a:pt x="138" y="545"/>
                    <a:pt x="138" y="545"/>
                    <a:pt x="138" y="545"/>
                  </a:cubicBezTo>
                  <a:cubicBezTo>
                    <a:pt x="144" y="560"/>
                    <a:pt x="144" y="560"/>
                    <a:pt x="144" y="560"/>
                  </a:cubicBezTo>
                  <a:cubicBezTo>
                    <a:pt x="191" y="562"/>
                    <a:pt x="191" y="562"/>
                    <a:pt x="191" y="562"/>
                  </a:cubicBezTo>
                  <a:cubicBezTo>
                    <a:pt x="242" y="602"/>
                    <a:pt x="242" y="602"/>
                    <a:pt x="242" y="602"/>
                  </a:cubicBezTo>
                  <a:cubicBezTo>
                    <a:pt x="242" y="602"/>
                    <a:pt x="269" y="604"/>
                    <a:pt x="282" y="606"/>
                  </a:cubicBezTo>
                  <a:cubicBezTo>
                    <a:pt x="295" y="608"/>
                    <a:pt x="313" y="615"/>
                    <a:pt x="313" y="615"/>
                  </a:cubicBezTo>
                  <a:cubicBezTo>
                    <a:pt x="326" y="601"/>
                    <a:pt x="326" y="601"/>
                    <a:pt x="326" y="601"/>
                  </a:cubicBezTo>
                  <a:cubicBezTo>
                    <a:pt x="326" y="601"/>
                    <a:pt x="324" y="597"/>
                    <a:pt x="331" y="591"/>
                  </a:cubicBezTo>
                  <a:cubicBezTo>
                    <a:pt x="338" y="585"/>
                    <a:pt x="360" y="577"/>
                    <a:pt x="360" y="577"/>
                  </a:cubicBezTo>
                  <a:cubicBezTo>
                    <a:pt x="372" y="568"/>
                    <a:pt x="372" y="568"/>
                    <a:pt x="372" y="568"/>
                  </a:cubicBezTo>
                  <a:cubicBezTo>
                    <a:pt x="388" y="585"/>
                    <a:pt x="388" y="585"/>
                    <a:pt x="388" y="585"/>
                  </a:cubicBezTo>
                  <a:cubicBezTo>
                    <a:pt x="406" y="586"/>
                    <a:pt x="406" y="586"/>
                    <a:pt x="406" y="586"/>
                  </a:cubicBezTo>
                  <a:cubicBezTo>
                    <a:pt x="410" y="582"/>
                    <a:pt x="410" y="582"/>
                    <a:pt x="410" y="582"/>
                  </a:cubicBezTo>
                  <a:cubicBezTo>
                    <a:pt x="426" y="588"/>
                    <a:pt x="426" y="588"/>
                    <a:pt x="426" y="588"/>
                  </a:cubicBezTo>
                  <a:cubicBezTo>
                    <a:pt x="426" y="588"/>
                    <a:pt x="426" y="577"/>
                    <a:pt x="434" y="574"/>
                  </a:cubicBezTo>
                  <a:cubicBezTo>
                    <a:pt x="442" y="571"/>
                    <a:pt x="467" y="573"/>
                    <a:pt x="473" y="567"/>
                  </a:cubicBezTo>
                  <a:cubicBezTo>
                    <a:pt x="479" y="561"/>
                    <a:pt x="480" y="549"/>
                    <a:pt x="480" y="549"/>
                  </a:cubicBezTo>
                  <a:cubicBezTo>
                    <a:pt x="480" y="549"/>
                    <a:pt x="505" y="537"/>
                    <a:pt x="513" y="535"/>
                  </a:cubicBezTo>
                  <a:cubicBezTo>
                    <a:pt x="521" y="533"/>
                    <a:pt x="569" y="535"/>
                    <a:pt x="569" y="535"/>
                  </a:cubicBezTo>
                  <a:cubicBezTo>
                    <a:pt x="709" y="370"/>
                    <a:pt x="709" y="370"/>
                    <a:pt x="709" y="370"/>
                  </a:cubicBezTo>
                  <a:cubicBezTo>
                    <a:pt x="661" y="373"/>
                    <a:pt x="661" y="373"/>
                    <a:pt x="661" y="373"/>
                  </a:cubicBezTo>
                  <a:cubicBezTo>
                    <a:pt x="661" y="373"/>
                    <a:pt x="628" y="353"/>
                    <a:pt x="609" y="347"/>
                  </a:cubicBezTo>
                  <a:cubicBezTo>
                    <a:pt x="590" y="341"/>
                    <a:pt x="538" y="328"/>
                    <a:pt x="527" y="320"/>
                  </a:cubicBezTo>
                  <a:cubicBezTo>
                    <a:pt x="516" y="312"/>
                    <a:pt x="506" y="295"/>
                    <a:pt x="506" y="295"/>
                  </a:cubicBezTo>
                  <a:cubicBezTo>
                    <a:pt x="491" y="295"/>
                    <a:pt x="491" y="295"/>
                    <a:pt x="491" y="295"/>
                  </a:cubicBezTo>
                  <a:cubicBezTo>
                    <a:pt x="491" y="295"/>
                    <a:pt x="487" y="278"/>
                    <a:pt x="481" y="270"/>
                  </a:cubicBezTo>
                  <a:cubicBezTo>
                    <a:pt x="475" y="262"/>
                    <a:pt x="462" y="246"/>
                    <a:pt x="462" y="246"/>
                  </a:cubicBezTo>
                  <a:cubicBezTo>
                    <a:pt x="463" y="238"/>
                    <a:pt x="463" y="238"/>
                    <a:pt x="463" y="238"/>
                  </a:cubicBezTo>
                  <a:cubicBezTo>
                    <a:pt x="454" y="230"/>
                    <a:pt x="454" y="230"/>
                    <a:pt x="454" y="230"/>
                  </a:cubicBezTo>
                  <a:cubicBezTo>
                    <a:pt x="467" y="210"/>
                    <a:pt x="467" y="210"/>
                    <a:pt x="467" y="210"/>
                  </a:cubicBezTo>
                  <a:cubicBezTo>
                    <a:pt x="463" y="206"/>
                    <a:pt x="458" y="202"/>
                    <a:pt x="454" y="201"/>
                  </a:cubicBezTo>
                  <a:cubicBezTo>
                    <a:pt x="447" y="200"/>
                    <a:pt x="444" y="208"/>
                    <a:pt x="444" y="208"/>
                  </a:cubicBezTo>
                  <a:cubicBezTo>
                    <a:pt x="444" y="208"/>
                    <a:pt x="427" y="212"/>
                    <a:pt x="419" y="211"/>
                  </a:cubicBezTo>
                  <a:cubicBezTo>
                    <a:pt x="411" y="210"/>
                    <a:pt x="408" y="173"/>
                    <a:pt x="408" y="173"/>
                  </a:cubicBezTo>
                  <a:cubicBezTo>
                    <a:pt x="421" y="164"/>
                    <a:pt x="421" y="164"/>
                    <a:pt x="421" y="164"/>
                  </a:cubicBezTo>
                  <a:cubicBezTo>
                    <a:pt x="439" y="125"/>
                    <a:pt x="439" y="125"/>
                    <a:pt x="439" y="125"/>
                  </a:cubicBezTo>
                  <a:cubicBezTo>
                    <a:pt x="431" y="113"/>
                    <a:pt x="431" y="113"/>
                    <a:pt x="431" y="113"/>
                  </a:cubicBezTo>
                  <a:cubicBezTo>
                    <a:pt x="431" y="113"/>
                    <a:pt x="414" y="113"/>
                    <a:pt x="413" y="107"/>
                  </a:cubicBezTo>
                  <a:cubicBezTo>
                    <a:pt x="412" y="101"/>
                    <a:pt x="412" y="92"/>
                    <a:pt x="408" y="87"/>
                  </a:cubicBezTo>
                  <a:cubicBezTo>
                    <a:pt x="404" y="82"/>
                    <a:pt x="386" y="80"/>
                    <a:pt x="382" y="72"/>
                  </a:cubicBezTo>
                  <a:cubicBezTo>
                    <a:pt x="378" y="64"/>
                    <a:pt x="375" y="54"/>
                    <a:pt x="367" y="46"/>
                  </a:cubicBezTo>
                  <a:cubicBezTo>
                    <a:pt x="359" y="38"/>
                    <a:pt x="347" y="37"/>
                    <a:pt x="347" y="37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16" y="22"/>
                    <a:pt x="316" y="22"/>
                    <a:pt x="316" y="22"/>
                  </a:cubicBezTo>
                  <a:cubicBezTo>
                    <a:pt x="316" y="22"/>
                    <a:pt x="310" y="17"/>
                    <a:pt x="306" y="17"/>
                  </a:cubicBezTo>
                  <a:cubicBezTo>
                    <a:pt x="302" y="17"/>
                    <a:pt x="291" y="24"/>
                    <a:pt x="288" y="24"/>
                  </a:cubicBezTo>
                  <a:cubicBezTo>
                    <a:pt x="285" y="24"/>
                    <a:pt x="279" y="11"/>
                    <a:pt x="279" y="11"/>
                  </a:cubicBezTo>
                  <a:cubicBezTo>
                    <a:pt x="279" y="11"/>
                    <a:pt x="270" y="24"/>
                    <a:pt x="267" y="24"/>
                  </a:cubicBezTo>
                  <a:cubicBezTo>
                    <a:pt x="264" y="24"/>
                    <a:pt x="250" y="24"/>
                    <a:pt x="250" y="24"/>
                  </a:cubicBezTo>
                  <a:cubicBezTo>
                    <a:pt x="250" y="24"/>
                    <a:pt x="244" y="11"/>
                    <a:pt x="240" y="9"/>
                  </a:cubicBezTo>
                  <a:cubicBezTo>
                    <a:pt x="236" y="7"/>
                    <a:pt x="224" y="0"/>
                    <a:pt x="224" y="0"/>
                  </a:cubicBezTo>
                  <a:cubicBezTo>
                    <a:pt x="224" y="0"/>
                    <a:pt x="216" y="41"/>
                    <a:pt x="208" y="41"/>
                  </a:cubicBezTo>
                  <a:cubicBezTo>
                    <a:pt x="200" y="41"/>
                    <a:pt x="197" y="21"/>
                    <a:pt x="192" y="21"/>
                  </a:cubicBezTo>
                  <a:cubicBezTo>
                    <a:pt x="187" y="21"/>
                    <a:pt x="182" y="31"/>
                    <a:pt x="182" y="31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60"/>
                    <a:pt x="159" y="60"/>
                    <a:pt x="159" y="60"/>
                  </a:cubicBezTo>
                  <a:cubicBezTo>
                    <a:pt x="159" y="60"/>
                    <a:pt x="143" y="80"/>
                    <a:pt x="143" y="88"/>
                  </a:cubicBezTo>
                  <a:cubicBezTo>
                    <a:pt x="143" y="96"/>
                    <a:pt x="145" y="114"/>
                    <a:pt x="145" y="114"/>
                  </a:cubicBezTo>
                  <a:cubicBezTo>
                    <a:pt x="123" y="116"/>
                    <a:pt x="123" y="116"/>
                    <a:pt x="123" y="116"/>
                  </a:cubicBezTo>
                  <a:cubicBezTo>
                    <a:pt x="123" y="116"/>
                    <a:pt x="112" y="130"/>
                    <a:pt x="111" y="135"/>
                  </a:cubicBezTo>
                  <a:cubicBezTo>
                    <a:pt x="110" y="140"/>
                    <a:pt x="115" y="150"/>
                    <a:pt x="110" y="155"/>
                  </a:cubicBezTo>
                  <a:cubicBezTo>
                    <a:pt x="105" y="160"/>
                    <a:pt x="94" y="164"/>
                    <a:pt x="94" y="164"/>
                  </a:cubicBezTo>
                  <a:cubicBezTo>
                    <a:pt x="96" y="179"/>
                    <a:pt x="96" y="179"/>
                    <a:pt x="96" y="179"/>
                  </a:cubicBezTo>
                  <a:cubicBezTo>
                    <a:pt x="89" y="190"/>
                    <a:pt x="89" y="190"/>
                    <a:pt x="89" y="190"/>
                  </a:cubicBezTo>
                  <a:cubicBezTo>
                    <a:pt x="89" y="190"/>
                    <a:pt x="96" y="213"/>
                    <a:pt x="90" y="221"/>
                  </a:cubicBezTo>
                  <a:cubicBezTo>
                    <a:pt x="84" y="229"/>
                    <a:pt x="78" y="226"/>
                    <a:pt x="78" y="226"/>
                  </a:cubicBezTo>
                  <a:cubicBezTo>
                    <a:pt x="78" y="226"/>
                    <a:pt x="76" y="215"/>
                    <a:pt x="71" y="215"/>
                  </a:cubicBezTo>
                  <a:cubicBezTo>
                    <a:pt x="66" y="215"/>
                    <a:pt x="60" y="228"/>
                    <a:pt x="60" y="235"/>
                  </a:cubicBezTo>
                  <a:cubicBezTo>
                    <a:pt x="60" y="242"/>
                    <a:pt x="66" y="253"/>
                    <a:pt x="65" y="256"/>
                  </a:cubicBezTo>
                  <a:cubicBezTo>
                    <a:pt x="64" y="259"/>
                    <a:pt x="49" y="270"/>
                    <a:pt x="48" y="278"/>
                  </a:cubicBezTo>
                  <a:cubicBezTo>
                    <a:pt x="47" y="286"/>
                    <a:pt x="54" y="305"/>
                    <a:pt x="54" y="305"/>
                  </a:cubicBezTo>
                  <a:cubicBezTo>
                    <a:pt x="54" y="305"/>
                    <a:pt x="57" y="336"/>
                    <a:pt x="50" y="341"/>
                  </a:cubicBezTo>
                  <a:cubicBezTo>
                    <a:pt x="43" y="346"/>
                    <a:pt x="36" y="351"/>
                    <a:pt x="36" y="351"/>
                  </a:cubicBezTo>
                  <a:cubicBezTo>
                    <a:pt x="31" y="346"/>
                    <a:pt x="31" y="346"/>
                    <a:pt x="31" y="346"/>
                  </a:cubicBezTo>
                  <a:cubicBezTo>
                    <a:pt x="8" y="345"/>
                    <a:pt x="8" y="345"/>
                    <a:pt x="8" y="345"/>
                  </a:cubicBezTo>
                  <a:cubicBezTo>
                    <a:pt x="10" y="361"/>
                    <a:pt x="10" y="361"/>
                    <a:pt x="10" y="361"/>
                  </a:cubicBezTo>
                  <a:cubicBezTo>
                    <a:pt x="10" y="361"/>
                    <a:pt x="0" y="378"/>
                    <a:pt x="3" y="383"/>
                  </a:cubicBezTo>
                  <a:cubicBezTo>
                    <a:pt x="6" y="388"/>
                    <a:pt x="22" y="382"/>
                    <a:pt x="30" y="386"/>
                  </a:cubicBezTo>
                  <a:cubicBezTo>
                    <a:pt x="38" y="390"/>
                    <a:pt x="55" y="405"/>
                    <a:pt x="55" y="405"/>
                  </a:cubicBezTo>
                  <a:cubicBezTo>
                    <a:pt x="55" y="405"/>
                    <a:pt x="56" y="420"/>
                    <a:pt x="60" y="42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11" name="Freeform 291">
              <a:extLst>
                <a:ext uri="{FF2B5EF4-FFF2-40B4-BE49-F238E27FC236}">
                  <a16:creationId xmlns:a16="http://schemas.microsoft.com/office/drawing/2014/main" id="{6B720ACB-6C49-94BF-A586-9778C3ECA0BC}"/>
                </a:ext>
              </a:extLst>
            </p:cNvPr>
            <p:cNvSpPr>
              <a:spLocks/>
            </p:cNvSpPr>
            <p:nvPr/>
          </p:nvSpPr>
          <p:spPr bwMode="gray">
            <a:xfrm>
              <a:off x="-3771" y="-14005"/>
              <a:ext cx="1252" cy="1290"/>
            </a:xfrm>
            <a:custGeom>
              <a:avLst/>
              <a:gdLst>
                <a:gd name="T0" fmla="*/ 11 w 530"/>
                <a:gd name="T1" fmla="*/ 13 h 546"/>
                <a:gd name="T2" fmla="*/ 7 w 530"/>
                <a:gd name="T3" fmla="*/ 34 h 546"/>
                <a:gd name="T4" fmla="*/ 17 w 530"/>
                <a:gd name="T5" fmla="*/ 54 h 546"/>
                <a:gd name="T6" fmla="*/ 3 w 530"/>
                <a:gd name="T7" fmla="*/ 82 h 546"/>
                <a:gd name="T8" fmla="*/ 21 w 530"/>
                <a:gd name="T9" fmla="*/ 120 h 546"/>
                <a:gd name="T10" fmla="*/ 34 w 530"/>
                <a:gd name="T11" fmla="*/ 518 h 546"/>
                <a:gd name="T12" fmla="*/ 320 w 530"/>
                <a:gd name="T13" fmla="*/ 522 h 546"/>
                <a:gd name="T14" fmla="*/ 329 w 530"/>
                <a:gd name="T15" fmla="*/ 510 h 546"/>
                <a:gd name="T16" fmla="*/ 334 w 530"/>
                <a:gd name="T17" fmla="*/ 518 h 546"/>
                <a:gd name="T18" fmla="*/ 413 w 530"/>
                <a:gd name="T19" fmla="*/ 521 h 546"/>
                <a:gd name="T20" fmla="*/ 438 w 530"/>
                <a:gd name="T21" fmla="*/ 539 h 546"/>
                <a:gd name="T22" fmla="*/ 460 w 530"/>
                <a:gd name="T23" fmla="*/ 508 h 546"/>
                <a:gd name="T24" fmla="*/ 482 w 530"/>
                <a:gd name="T25" fmla="*/ 505 h 546"/>
                <a:gd name="T26" fmla="*/ 492 w 530"/>
                <a:gd name="T27" fmla="*/ 478 h 546"/>
                <a:gd name="T28" fmla="*/ 509 w 530"/>
                <a:gd name="T29" fmla="*/ 477 h 546"/>
                <a:gd name="T30" fmla="*/ 525 w 530"/>
                <a:gd name="T31" fmla="*/ 462 h 546"/>
                <a:gd name="T32" fmla="*/ 520 w 530"/>
                <a:gd name="T33" fmla="*/ 445 h 546"/>
                <a:gd name="T34" fmla="*/ 518 w 530"/>
                <a:gd name="T35" fmla="*/ 416 h 546"/>
                <a:gd name="T36" fmla="*/ 530 w 530"/>
                <a:gd name="T37" fmla="*/ 415 h 546"/>
                <a:gd name="T38" fmla="*/ 490 w 530"/>
                <a:gd name="T39" fmla="*/ 369 h 546"/>
                <a:gd name="T40" fmla="*/ 469 w 530"/>
                <a:gd name="T41" fmla="*/ 315 h 546"/>
                <a:gd name="T42" fmla="*/ 448 w 530"/>
                <a:gd name="T43" fmla="*/ 288 h 546"/>
                <a:gd name="T44" fmla="*/ 440 w 530"/>
                <a:gd name="T45" fmla="*/ 252 h 546"/>
                <a:gd name="T46" fmla="*/ 415 w 530"/>
                <a:gd name="T47" fmla="*/ 225 h 546"/>
                <a:gd name="T48" fmla="*/ 412 w 530"/>
                <a:gd name="T49" fmla="*/ 204 h 546"/>
                <a:gd name="T50" fmla="*/ 378 w 530"/>
                <a:gd name="T51" fmla="*/ 161 h 546"/>
                <a:gd name="T52" fmla="*/ 368 w 530"/>
                <a:gd name="T53" fmla="*/ 147 h 546"/>
                <a:gd name="T54" fmla="*/ 368 w 530"/>
                <a:gd name="T55" fmla="*/ 126 h 546"/>
                <a:gd name="T56" fmla="*/ 350 w 530"/>
                <a:gd name="T57" fmla="*/ 112 h 546"/>
                <a:gd name="T58" fmla="*/ 361 w 530"/>
                <a:gd name="T59" fmla="*/ 99 h 546"/>
                <a:gd name="T60" fmla="*/ 373 w 530"/>
                <a:gd name="T61" fmla="*/ 107 h 546"/>
                <a:gd name="T62" fmla="*/ 381 w 530"/>
                <a:gd name="T63" fmla="*/ 130 h 546"/>
                <a:gd name="T64" fmla="*/ 395 w 530"/>
                <a:gd name="T65" fmla="*/ 145 h 546"/>
                <a:gd name="T66" fmla="*/ 394 w 530"/>
                <a:gd name="T67" fmla="*/ 162 h 546"/>
                <a:gd name="T68" fmla="*/ 438 w 530"/>
                <a:gd name="T69" fmla="*/ 207 h 546"/>
                <a:gd name="T70" fmla="*/ 456 w 530"/>
                <a:gd name="T71" fmla="*/ 195 h 546"/>
                <a:gd name="T72" fmla="*/ 449 w 530"/>
                <a:gd name="T73" fmla="*/ 183 h 546"/>
                <a:gd name="T74" fmla="*/ 462 w 530"/>
                <a:gd name="T75" fmla="*/ 143 h 546"/>
                <a:gd name="T76" fmla="*/ 471 w 530"/>
                <a:gd name="T77" fmla="*/ 112 h 546"/>
                <a:gd name="T78" fmla="*/ 435 w 530"/>
                <a:gd name="T79" fmla="*/ 19 h 546"/>
                <a:gd name="T80" fmla="*/ 388 w 530"/>
                <a:gd name="T81" fmla="*/ 30 h 546"/>
                <a:gd name="T82" fmla="*/ 373 w 530"/>
                <a:gd name="T83" fmla="*/ 22 h 546"/>
                <a:gd name="T84" fmla="*/ 350 w 530"/>
                <a:gd name="T85" fmla="*/ 26 h 546"/>
                <a:gd name="T86" fmla="*/ 325 w 530"/>
                <a:gd name="T87" fmla="*/ 7 h 546"/>
                <a:gd name="T88" fmla="*/ 288 w 530"/>
                <a:gd name="T89" fmla="*/ 14 h 546"/>
                <a:gd name="T90" fmla="*/ 262 w 530"/>
                <a:gd name="T91" fmla="*/ 11 h 546"/>
                <a:gd name="T92" fmla="*/ 243 w 530"/>
                <a:gd name="T93" fmla="*/ 30 h 546"/>
                <a:gd name="T94" fmla="*/ 227 w 530"/>
                <a:gd name="T95" fmla="*/ 30 h 546"/>
                <a:gd name="T96" fmla="*/ 210 w 530"/>
                <a:gd name="T97" fmla="*/ 43 h 546"/>
                <a:gd name="T98" fmla="*/ 170 w 530"/>
                <a:gd name="T99" fmla="*/ 29 h 546"/>
                <a:gd name="T100" fmla="*/ 140 w 530"/>
                <a:gd name="T101" fmla="*/ 29 h 546"/>
                <a:gd name="T102" fmla="*/ 112 w 530"/>
                <a:gd name="T103" fmla="*/ 13 h 546"/>
                <a:gd name="T104" fmla="*/ 89 w 530"/>
                <a:gd name="T105" fmla="*/ 12 h 546"/>
                <a:gd name="T106" fmla="*/ 60 w 530"/>
                <a:gd name="T107" fmla="*/ 1 h 546"/>
                <a:gd name="T108" fmla="*/ 31 w 530"/>
                <a:gd name="T109" fmla="*/ 6 h 546"/>
                <a:gd name="T110" fmla="*/ 24 w 530"/>
                <a:gd name="T111" fmla="*/ 0 h 546"/>
                <a:gd name="T112" fmla="*/ 11 w 530"/>
                <a:gd name="T113" fmla="*/ 13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0" h="546">
                  <a:moveTo>
                    <a:pt x="11" y="13"/>
                  </a:moveTo>
                  <a:cubicBezTo>
                    <a:pt x="6" y="16"/>
                    <a:pt x="6" y="30"/>
                    <a:pt x="7" y="34"/>
                  </a:cubicBezTo>
                  <a:cubicBezTo>
                    <a:pt x="8" y="38"/>
                    <a:pt x="20" y="45"/>
                    <a:pt x="17" y="54"/>
                  </a:cubicBezTo>
                  <a:cubicBezTo>
                    <a:pt x="14" y="63"/>
                    <a:pt x="0" y="75"/>
                    <a:pt x="3" y="82"/>
                  </a:cubicBezTo>
                  <a:cubicBezTo>
                    <a:pt x="6" y="89"/>
                    <a:pt x="21" y="107"/>
                    <a:pt x="21" y="120"/>
                  </a:cubicBezTo>
                  <a:cubicBezTo>
                    <a:pt x="21" y="133"/>
                    <a:pt x="34" y="518"/>
                    <a:pt x="34" y="518"/>
                  </a:cubicBezTo>
                  <a:cubicBezTo>
                    <a:pt x="320" y="522"/>
                    <a:pt x="320" y="522"/>
                    <a:pt x="320" y="522"/>
                  </a:cubicBezTo>
                  <a:cubicBezTo>
                    <a:pt x="320" y="522"/>
                    <a:pt x="322" y="512"/>
                    <a:pt x="329" y="510"/>
                  </a:cubicBezTo>
                  <a:cubicBezTo>
                    <a:pt x="336" y="508"/>
                    <a:pt x="334" y="518"/>
                    <a:pt x="334" y="518"/>
                  </a:cubicBezTo>
                  <a:cubicBezTo>
                    <a:pt x="413" y="521"/>
                    <a:pt x="413" y="521"/>
                    <a:pt x="413" y="521"/>
                  </a:cubicBezTo>
                  <a:cubicBezTo>
                    <a:pt x="413" y="521"/>
                    <a:pt x="425" y="546"/>
                    <a:pt x="438" y="539"/>
                  </a:cubicBezTo>
                  <a:cubicBezTo>
                    <a:pt x="451" y="532"/>
                    <a:pt x="450" y="511"/>
                    <a:pt x="460" y="508"/>
                  </a:cubicBezTo>
                  <a:cubicBezTo>
                    <a:pt x="470" y="505"/>
                    <a:pt x="472" y="509"/>
                    <a:pt x="482" y="505"/>
                  </a:cubicBezTo>
                  <a:cubicBezTo>
                    <a:pt x="492" y="501"/>
                    <a:pt x="492" y="478"/>
                    <a:pt x="492" y="478"/>
                  </a:cubicBezTo>
                  <a:cubicBezTo>
                    <a:pt x="509" y="477"/>
                    <a:pt x="509" y="477"/>
                    <a:pt x="509" y="477"/>
                  </a:cubicBezTo>
                  <a:cubicBezTo>
                    <a:pt x="525" y="462"/>
                    <a:pt x="525" y="462"/>
                    <a:pt x="525" y="462"/>
                  </a:cubicBezTo>
                  <a:cubicBezTo>
                    <a:pt x="522" y="456"/>
                    <a:pt x="520" y="450"/>
                    <a:pt x="520" y="445"/>
                  </a:cubicBezTo>
                  <a:cubicBezTo>
                    <a:pt x="519" y="430"/>
                    <a:pt x="518" y="416"/>
                    <a:pt x="518" y="416"/>
                  </a:cubicBezTo>
                  <a:cubicBezTo>
                    <a:pt x="530" y="415"/>
                    <a:pt x="530" y="415"/>
                    <a:pt x="530" y="415"/>
                  </a:cubicBezTo>
                  <a:cubicBezTo>
                    <a:pt x="530" y="415"/>
                    <a:pt x="503" y="397"/>
                    <a:pt x="490" y="369"/>
                  </a:cubicBezTo>
                  <a:cubicBezTo>
                    <a:pt x="477" y="341"/>
                    <a:pt x="478" y="326"/>
                    <a:pt x="469" y="315"/>
                  </a:cubicBezTo>
                  <a:cubicBezTo>
                    <a:pt x="460" y="304"/>
                    <a:pt x="456" y="302"/>
                    <a:pt x="448" y="288"/>
                  </a:cubicBezTo>
                  <a:cubicBezTo>
                    <a:pt x="440" y="274"/>
                    <a:pt x="440" y="252"/>
                    <a:pt x="440" y="252"/>
                  </a:cubicBezTo>
                  <a:cubicBezTo>
                    <a:pt x="415" y="225"/>
                    <a:pt x="415" y="225"/>
                    <a:pt x="415" y="225"/>
                  </a:cubicBezTo>
                  <a:cubicBezTo>
                    <a:pt x="415" y="225"/>
                    <a:pt x="418" y="216"/>
                    <a:pt x="412" y="204"/>
                  </a:cubicBezTo>
                  <a:cubicBezTo>
                    <a:pt x="406" y="192"/>
                    <a:pt x="380" y="170"/>
                    <a:pt x="378" y="161"/>
                  </a:cubicBezTo>
                  <a:cubicBezTo>
                    <a:pt x="376" y="152"/>
                    <a:pt x="368" y="147"/>
                    <a:pt x="368" y="147"/>
                  </a:cubicBezTo>
                  <a:cubicBezTo>
                    <a:pt x="368" y="147"/>
                    <a:pt x="376" y="137"/>
                    <a:pt x="368" y="126"/>
                  </a:cubicBezTo>
                  <a:cubicBezTo>
                    <a:pt x="360" y="115"/>
                    <a:pt x="350" y="112"/>
                    <a:pt x="350" y="112"/>
                  </a:cubicBezTo>
                  <a:cubicBezTo>
                    <a:pt x="361" y="99"/>
                    <a:pt x="361" y="99"/>
                    <a:pt x="361" y="99"/>
                  </a:cubicBezTo>
                  <a:cubicBezTo>
                    <a:pt x="373" y="107"/>
                    <a:pt x="373" y="107"/>
                    <a:pt x="373" y="107"/>
                  </a:cubicBezTo>
                  <a:cubicBezTo>
                    <a:pt x="373" y="107"/>
                    <a:pt x="372" y="124"/>
                    <a:pt x="381" y="130"/>
                  </a:cubicBezTo>
                  <a:cubicBezTo>
                    <a:pt x="390" y="136"/>
                    <a:pt x="395" y="145"/>
                    <a:pt x="395" y="145"/>
                  </a:cubicBezTo>
                  <a:cubicBezTo>
                    <a:pt x="394" y="162"/>
                    <a:pt x="394" y="162"/>
                    <a:pt x="394" y="162"/>
                  </a:cubicBezTo>
                  <a:cubicBezTo>
                    <a:pt x="394" y="162"/>
                    <a:pt x="426" y="214"/>
                    <a:pt x="438" y="207"/>
                  </a:cubicBezTo>
                  <a:cubicBezTo>
                    <a:pt x="450" y="200"/>
                    <a:pt x="456" y="195"/>
                    <a:pt x="456" y="195"/>
                  </a:cubicBezTo>
                  <a:cubicBezTo>
                    <a:pt x="449" y="183"/>
                    <a:pt x="449" y="183"/>
                    <a:pt x="449" y="183"/>
                  </a:cubicBezTo>
                  <a:cubicBezTo>
                    <a:pt x="449" y="183"/>
                    <a:pt x="462" y="157"/>
                    <a:pt x="462" y="143"/>
                  </a:cubicBezTo>
                  <a:cubicBezTo>
                    <a:pt x="462" y="129"/>
                    <a:pt x="471" y="112"/>
                    <a:pt x="471" y="112"/>
                  </a:cubicBezTo>
                  <a:cubicBezTo>
                    <a:pt x="435" y="19"/>
                    <a:pt x="435" y="19"/>
                    <a:pt x="435" y="19"/>
                  </a:cubicBezTo>
                  <a:cubicBezTo>
                    <a:pt x="435" y="19"/>
                    <a:pt x="397" y="34"/>
                    <a:pt x="388" y="30"/>
                  </a:cubicBezTo>
                  <a:cubicBezTo>
                    <a:pt x="379" y="26"/>
                    <a:pt x="373" y="22"/>
                    <a:pt x="373" y="22"/>
                  </a:cubicBezTo>
                  <a:cubicBezTo>
                    <a:pt x="373" y="22"/>
                    <a:pt x="364" y="33"/>
                    <a:pt x="350" y="26"/>
                  </a:cubicBezTo>
                  <a:cubicBezTo>
                    <a:pt x="336" y="19"/>
                    <a:pt x="341" y="10"/>
                    <a:pt x="325" y="7"/>
                  </a:cubicBezTo>
                  <a:cubicBezTo>
                    <a:pt x="309" y="4"/>
                    <a:pt x="288" y="14"/>
                    <a:pt x="288" y="14"/>
                  </a:cubicBezTo>
                  <a:cubicBezTo>
                    <a:pt x="288" y="14"/>
                    <a:pt x="273" y="7"/>
                    <a:pt x="262" y="11"/>
                  </a:cubicBezTo>
                  <a:cubicBezTo>
                    <a:pt x="251" y="15"/>
                    <a:pt x="243" y="30"/>
                    <a:pt x="243" y="30"/>
                  </a:cubicBezTo>
                  <a:cubicBezTo>
                    <a:pt x="243" y="30"/>
                    <a:pt x="231" y="28"/>
                    <a:pt x="227" y="30"/>
                  </a:cubicBezTo>
                  <a:cubicBezTo>
                    <a:pt x="223" y="32"/>
                    <a:pt x="210" y="43"/>
                    <a:pt x="210" y="43"/>
                  </a:cubicBezTo>
                  <a:cubicBezTo>
                    <a:pt x="210" y="43"/>
                    <a:pt x="176" y="29"/>
                    <a:pt x="170" y="29"/>
                  </a:cubicBezTo>
                  <a:cubicBezTo>
                    <a:pt x="164" y="29"/>
                    <a:pt x="153" y="32"/>
                    <a:pt x="140" y="29"/>
                  </a:cubicBezTo>
                  <a:cubicBezTo>
                    <a:pt x="127" y="26"/>
                    <a:pt x="125" y="14"/>
                    <a:pt x="112" y="13"/>
                  </a:cubicBezTo>
                  <a:cubicBezTo>
                    <a:pt x="99" y="12"/>
                    <a:pt x="89" y="12"/>
                    <a:pt x="89" y="12"/>
                  </a:cubicBezTo>
                  <a:cubicBezTo>
                    <a:pt x="89" y="12"/>
                    <a:pt x="69" y="1"/>
                    <a:pt x="60" y="1"/>
                  </a:cubicBezTo>
                  <a:cubicBezTo>
                    <a:pt x="51" y="1"/>
                    <a:pt x="46" y="15"/>
                    <a:pt x="31" y="6"/>
                  </a:cubicBezTo>
                  <a:cubicBezTo>
                    <a:pt x="28" y="4"/>
                    <a:pt x="26" y="2"/>
                    <a:pt x="24" y="0"/>
                  </a:cubicBezTo>
                  <a:cubicBezTo>
                    <a:pt x="21" y="4"/>
                    <a:pt x="15" y="11"/>
                    <a:pt x="11" y="13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12" name="Freeform 292">
              <a:extLst>
                <a:ext uri="{FF2B5EF4-FFF2-40B4-BE49-F238E27FC236}">
                  <a16:creationId xmlns:a16="http://schemas.microsoft.com/office/drawing/2014/main" id="{81280F1F-21D8-5C83-2464-378C0E551B08}"/>
                </a:ext>
              </a:extLst>
            </p:cNvPr>
            <p:cNvSpPr>
              <a:spLocks/>
            </p:cNvSpPr>
            <p:nvPr/>
          </p:nvSpPr>
          <p:spPr bwMode="gray">
            <a:xfrm>
              <a:off x="-5504" y="-11645"/>
              <a:ext cx="857" cy="1450"/>
            </a:xfrm>
            <a:custGeom>
              <a:avLst/>
              <a:gdLst>
                <a:gd name="T0" fmla="*/ 275 w 363"/>
                <a:gd name="T1" fmla="*/ 0 h 614"/>
                <a:gd name="T2" fmla="*/ 263 w 363"/>
                <a:gd name="T3" fmla="*/ 43 h 614"/>
                <a:gd name="T4" fmla="*/ 282 w 363"/>
                <a:gd name="T5" fmla="*/ 70 h 614"/>
                <a:gd name="T6" fmla="*/ 256 w 363"/>
                <a:gd name="T7" fmla="*/ 100 h 614"/>
                <a:gd name="T8" fmla="*/ 236 w 363"/>
                <a:gd name="T9" fmla="*/ 136 h 614"/>
                <a:gd name="T10" fmla="*/ 227 w 363"/>
                <a:gd name="T11" fmla="*/ 159 h 614"/>
                <a:gd name="T12" fmla="*/ 207 w 363"/>
                <a:gd name="T13" fmla="*/ 198 h 614"/>
                <a:gd name="T14" fmla="*/ 181 w 363"/>
                <a:gd name="T15" fmla="*/ 250 h 614"/>
                <a:gd name="T16" fmla="*/ 157 w 363"/>
                <a:gd name="T17" fmla="*/ 302 h 614"/>
                <a:gd name="T18" fmla="*/ 140 w 363"/>
                <a:gd name="T19" fmla="*/ 337 h 614"/>
                <a:gd name="T20" fmla="*/ 119 w 363"/>
                <a:gd name="T21" fmla="*/ 342 h 614"/>
                <a:gd name="T22" fmla="*/ 95 w 363"/>
                <a:gd name="T23" fmla="*/ 334 h 614"/>
                <a:gd name="T24" fmla="*/ 56 w 363"/>
                <a:gd name="T25" fmla="*/ 353 h 614"/>
                <a:gd name="T26" fmla="*/ 13 w 363"/>
                <a:gd name="T27" fmla="*/ 428 h 614"/>
                <a:gd name="T28" fmla="*/ 4 w 363"/>
                <a:gd name="T29" fmla="*/ 449 h 614"/>
                <a:gd name="T30" fmla="*/ 18 w 363"/>
                <a:gd name="T31" fmla="*/ 455 h 614"/>
                <a:gd name="T32" fmla="*/ 44 w 363"/>
                <a:gd name="T33" fmla="*/ 497 h 614"/>
                <a:gd name="T34" fmla="*/ 45 w 363"/>
                <a:gd name="T35" fmla="*/ 504 h 614"/>
                <a:gd name="T36" fmla="*/ 70 w 363"/>
                <a:gd name="T37" fmla="*/ 527 h 614"/>
                <a:gd name="T38" fmla="*/ 61 w 363"/>
                <a:gd name="T39" fmla="*/ 559 h 614"/>
                <a:gd name="T40" fmla="*/ 68 w 363"/>
                <a:gd name="T41" fmla="*/ 586 h 614"/>
                <a:gd name="T42" fmla="*/ 144 w 363"/>
                <a:gd name="T43" fmla="*/ 576 h 614"/>
                <a:gd name="T44" fmla="*/ 175 w 363"/>
                <a:gd name="T45" fmla="*/ 585 h 614"/>
                <a:gd name="T46" fmla="*/ 195 w 363"/>
                <a:gd name="T47" fmla="*/ 581 h 614"/>
                <a:gd name="T48" fmla="*/ 227 w 363"/>
                <a:gd name="T49" fmla="*/ 590 h 614"/>
                <a:gd name="T50" fmla="*/ 320 w 363"/>
                <a:gd name="T51" fmla="*/ 600 h 614"/>
                <a:gd name="T52" fmla="*/ 358 w 363"/>
                <a:gd name="T53" fmla="*/ 614 h 614"/>
                <a:gd name="T54" fmla="*/ 363 w 363"/>
                <a:gd name="T55" fmla="*/ 581 h 614"/>
                <a:gd name="T56" fmla="*/ 358 w 363"/>
                <a:gd name="T57" fmla="*/ 556 h 614"/>
                <a:gd name="T58" fmla="*/ 332 w 363"/>
                <a:gd name="T59" fmla="*/ 526 h 614"/>
                <a:gd name="T60" fmla="*/ 313 w 363"/>
                <a:gd name="T61" fmla="*/ 472 h 614"/>
                <a:gd name="T62" fmla="*/ 294 w 363"/>
                <a:gd name="T63" fmla="*/ 427 h 614"/>
                <a:gd name="T64" fmla="*/ 289 w 363"/>
                <a:gd name="T65" fmla="*/ 412 h 614"/>
                <a:gd name="T66" fmla="*/ 276 w 363"/>
                <a:gd name="T67" fmla="*/ 378 h 614"/>
                <a:gd name="T68" fmla="*/ 304 w 363"/>
                <a:gd name="T69" fmla="*/ 338 h 614"/>
                <a:gd name="T70" fmla="*/ 312 w 363"/>
                <a:gd name="T71" fmla="*/ 318 h 614"/>
                <a:gd name="T72" fmla="*/ 317 w 363"/>
                <a:gd name="T73" fmla="*/ 243 h 614"/>
                <a:gd name="T74" fmla="*/ 261 w 363"/>
                <a:gd name="T75" fmla="*/ 174 h 614"/>
                <a:gd name="T76" fmla="*/ 336 w 363"/>
                <a:gd name="T77" fmla="*/ 165 h 614"/>
                <a:gd name="T78" fmla="*/ 304 w 363"/>
                <a:gd name="T79" fmla="*/ 91 h 614"/>
                <a:gd name="T80" fmla="*/ 296 w 363"/>
                <a:gd name="T81" fmla="*/ 52 h 614"/>
                <a:gd name="T82" fmla="*/ 280 w 363"/>
                <a:gd name="T83" fmla="*/ 17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63" h="614">
                  <a:moveTo>
                    <a:pt x="280" y="17"/>
                  </a:moveTo>
                  <a:cubicBezTo>
                    <a:pt x="276" y="12"/>
                    <a:pt x="275" y="0"/>
                    <a:pt x="275" y="0"/>
                  </a:cubicBezTo>
                  <a:cubicBezTo>
                    <a:pt x="259" y="2"/>
                    <a:pt x="259" y="2"/>
                    <a:pt x="259" y="2"/>
                  </a:cubicBezTo>
                  <a:cubicBezTo>
                    <a:pt x="260" y="11"/>
                    <a:pt x="261" y="40"/>
                    <a:pt x="263" y="43"/>
                  </a:cubicBezTo>
                  <a:cubicBezTo>
                    <a:pt x="265" y="46"/>
                    <a:pt x="284" y="35"/>
                    <a:pt x="285" y="46"/>
                  </a:cubicBezTo>
                  <a:cubicBezTo>
                    <a:pt x="286" y="57"/>
                    <a:pt x="282" y="70"/>
                    <a:pt x="282" y="70"/>
                  </a:cubicBezTo>
                  <a:cubicBezTo>
                    <a:pt x="282" y="70"/>
                    <a:pt x="290" y="79"/>
                    <a:pt x="280" y="88"/>
                  </a:cubicBezTo>
                  <a:cubicBezTo>
                    <a:pt x="270" y="97"/>
                    <a:pt x="256" y="100"/>
                    <a:pt x="256" y="100"/>
                  </a:cubicBezTo>
                  <a:cubicBezTo>
                    <a:pt x="256" y="100"/>
                    <a:pt x="248" y="117"/>
                    <a:pt x="247" y="120"/>
                  </a:cubicBezTo>
                  <a:cubicBezTo>
                    <a:pt x="246" y="123"/>
                    <a:pt x="236" y="136"/>
                    <a:pt x="236" y="136"/>
                  </a:cubicBezTo>
                  <a:cubicBezTo>
                    <a:pt x="234" y="155"/>
                    <a:pt x="234" y="155"/>
                    <a:pt x="234" y="155"/>
                  </a:cubicBezTo>
                  <a:cubicBezTo>
                    <a:pt x="227" y="159"/>
                    <a:pt x="227" y="159"/>
                    <a:pt x="227" y="159"/>
                  </a:cubicBezTo>
                  <a:cubicBezTo>
                    <a:pt x="227" y="159"/>
                    <a:pt x="229" y="180"/>
                    <a:pt x="224" y="189"/>
                  </a:cubicBezTo>
                  <a:cubicBezTo>
                    <a:pt x="219" y="198"/>
                    <a:pt x="209" y="191"/>
                    <a:pt x="207" y="198"/>
                  </a:cubicBezTo>
                  <a:cubicBezTo>
                    <a:pt x="205" y="205"/>
                    <a:pt x="210" y="223"/>
                    <a:pt x="205" y="233"/>
                  </a:cubicBezTo>
                  <a:cubicBezTo>
                    <a:pt x="200" y="243"/>
                    <a:pt x="181" y="250"/>
                    <a:pt x="181" y="250"/>
                  </a:cubicBezTo>
                  <a:cubicBezTo>
                    <a:pt x="173" y="282"/>
                    <a:pt x="173" y="282"/>
                    <a:pt x="173" y="282"/>
                  </a:cubicBezTo>
                  <a:cubicBezTo>
                    <a:pt x="157" y="302"/>
                    <a:pt x="157" y="302"/>
                    <a:pt x="157" y="302"/>
                  </a:cubicBezTo>
                  <a:cubicBezTo>
                    <a:pt x="157" y="302"/>
                    <a:pt x="161" y="316"/>
                    <a:pt x="156" y="322"/>
                  </a:cubicBezTo>
                  <a:cubicBezTo>
                    <a:pt x="151" y="328"/>
                    <a:pt x="140" y="337"/>
                    <a:pt x="140" y="337"/>
                  </a:cubicBezTo>
                  <a:cubicBezTo>
                    <a:pt x="140" y="337"/>
                    <a:pt x="140" y="358"/>
                    <a:pt x="128" y="358"/>
                  </a:cubicBezTo>
                  <a:cubicBezTo>
                    <a:pt x="116" y="358"/>
                    <a:pt x="119" y="342"/>
                    <a:pt x="119" y="342"/>
                  </a:cubicBezTo>
                  <a:cubicBezTo>
                    <a:pt x="119" y="342"/>
                    <a:pt x="105" y="318"/>
                    <a:pt x="98" y="318"/>
                  </a:cubicBezTo>
                  <a:cubicBezTo>
                    <a:pt x="91" y="318"/>
                    <a:pt x="104" y="332"/>
                    <a:pt x="95" y="334"/>
                  </a:cubicBezTo>
                  <a:cubicBezTo>
                    <a:pt x="86" y="336"/>
                    <a:pt x="78" y="323"/>
                    <a:pt x="72" y="328"/>
                  </a:cubicBezTo>
                  <a:cubicBezTo>
                    <a:pt x="66" y="333"/>
                    <a:pt x="56" y="353"/>
                    <a:pt x="56" y="353"/>
                  </a:cubicBezTo>
                  <a:cubicBezTo>
                    <a:pt x="13" y="390"/>
                    <a:pt x="13" y="390"/>
                    <a:pt x="13" y="390"/>
                  </a:cubicBezTo>
                  <a:cubicBezTo>
                    <a:pt x="13" y="390"/>
                    <a:pt x="15" y="422"/>
                    <a:pt x="13" y="428"/>
                  </a:cubicBezTo>
                  <a:cubicBezTo>
                    <a:pt x="11" y="434"/>
                    <a:pt x="4" y="449"/>
                    <a:pt x="4" y="449"/>
                  </a:cubicBezTo>
                  <a:cubicBezTo>
                    <a:pt x="4" y="449"/>
                    <a:pt x="4" y="449"/>
                    <a:pt x="4" y="449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18" y="455"/>
                    <a:pt x="18" y="455"/>
                    <a:pt x="18" y="455"/>
                  </a:cubicBezTo>
                  <a:cubicBezTo>
                    <a:pt x="18" y="455"/>
                    <a:pt x="17" y="477"/>
                    <a:pt x="27" y="486"/>
                  </a:cubicBezTo>
                  <a:cubicBezTo>
                    <a:pt x="37" y="495"/>
                    <a:pt x="44" y="497"/>
                    <a:pt x="44" y="497"/>
                  </a:cubicBezTo>
                  <a:cubicBezTo>
                    <a:pt x="58" y="484"/>
                    <a:pt x="58" y="484"/>
                    <a:pt x="58" y="484"/>
                  </a:cubicBezTo>
                  <a:cubicBezTo>
                    <a:pt x="45" y="504"/>
                    <a:pt x="45" y="504"/>
                    <a:pt x="45" y="504"/>
                  </a:cubicBezTo>
                  <a:cubicBezTo>
                    <a:pt x="57" y="522"/>
                    <a:pt x="57" y="522"/>
                    <a:pt x="57" y="522"/>
                  </a:cubicBezTo>
                  <a:cubicBezTo>
                    <a:pt x="70" y="527"/>
                    <a:pt x="70" y="527"/>
                    <a:pt x="70" y="527"/>
                  </a:cubicBezTo>
                  <a:cubicBezTo>
                    <a:pt x="68" y="557"/>
                    <a:pt x="68" y="557"/>
                    <a:pt x="68" y="557"/>
                  </a:cubicBezTo>
                  <a:cubicBezTo>
                    <a:pt x="61" y="559"/>
                    <a:pt x="61" y="559"/>
                    <a:pt x="61" y="559"/>
                  </a:cubicBezTo>
                  <a:cubicBezTo>
                    <a:pt x="62" y="580"/>
                    <a:pt x="62" y="580"/>
                    <a:pt x="62" y="580"/>
                  </a:cubicBezTo>
                  <a:cubicBezTo>
                    <a:pt x="68" y="586"/>
                    <a:pt x="68" y="586"/>
                    <a:pt x="68" y="586"/>
                  </a:cubicBezTo>
                  <a:cubicBezTo>
                    <a:pt x="132" y="586"/>
                    <a:pt x="132" y="586"/>
                    <a:pt x="132" y="586"/>
                  </a:cubicBezTo>
                  <a:cubicBezTo>
                    <a:pt x="144" y="576"/>
                    <a:pt x="144" y="576"/>
                    <a:pt x="144" y="576"/>
                  </a:cubicBezTo>
                  <a:cubicBezTo>
                    <a:pt x="154" y="585"/>
                    <a:pt x="154" y="585"/>
                    <a:pt x="154" y="585"/>
                  </a:cubicBezTo>
                  <a:cubicBezTo>
                    <a:pt x="175" y="585"/>
                    <a:pt x="175" y="585"/>
                    <a:pt x="175" y="585"/>
                  </a:cubicBezTo>
                  <a:cubicBezTo>
                    <a:pt x="175" y="585"/>
                    <a:pt x="180" y="577"/>
                    <a:pt x="184" y="577"/>
                  </a:cubicBezTo>
                  <a:cubicBezTo>
                    <a:pt x="188" y="577"/>
                    <a:pt x="195" y="581"/>
                    <a:pt x="195" y="581"/>
                  </a:cubicBezTo>
                  <a:cubicBezTo>
                    <a:pt x="227" y="580"/>
                    <a:pt x="227" y="580"/>
                    <a:pt x="227" y="580"/>
                  </a:cubicBezTo>
                  <a:cubicBezTo>
                    <a:pt x="227" y="590"/>
                    <a:pt x="227" y="590"/>
                    <a:pt x="227" y="590"/>
                  </a:cubicBezTo>
                  <a:cubicBezTo>
                    <a:pt x="227" y="590"/>
                    <a:pt x="282" y="587"/>
                    <a:pt x="287" y="587"/>
                  </a:cubicBezTo>
                  <a:cubicBezTo>
                    <a:pt x="292" y="587"/>
                    <a:pt x="320" y="600"/>
                    <a:pt x="320" y="600"/>
                  </a:cubicBezTo>
                  <a:cubicBezTo>
                    <a:pt x="340" y="599"/>
                    <a:pt x="340" y="599"/>
                    <a:pt x="340" y="599"/>
                  </a:cubicBezTo>
                  <a:cubicBezTo>
                    <a:pt x="358" y="614"/>
                    <a:pt x="358" y="614"/>
                    <a:pt x="358" y="614"/>
                  </a:cubicBezTo>
                  <a:cubicBezTo>
                    <a:pt x="359" y="587"/>
                    <a:pt x="359" y="587"/>
                    <a:pt x="359" y="587"/>
                  </a:cubicBezTo>
                  <a:cubicBezTo>
                    <a:pt x="363" y="581"/>
                    <a:pt x="363" y="581"/>
                    <a:pt x="363" y="581"/>
                  </a:cubicBezTo>
                  <a:cubicBezTo>
                    <a:pt x="358" y="575"/>
                    <a:pt x="358" y="575"/>
                    <a:pt x="358" y="575"/>
                  </a:cubicBezTo>
                  <a:cubicBezTo>
                    <a:pt x="358" y="556"/>
                    <a:pt x="358" y="556"/>
                    <a:pt x="358" y="556"/>
                  </a:cubicBezTo>
                  <a:cubicBezTo>
                    <a:pt x="354" y="542"/>
                    <a:pt x="354" y="542"/>
                    <a:pt x="354" y="542"/>
                  </a:cubicBezTo>
                  <a:cubicBezTo>
                    <a:pt x="354" y="542"/>
                    <a:pt x="342" y="534"/>
                    <a:pt x="332" y="526"/>
                  </a:cubicBezTo>
                  <a:cubicBezTo>
                    <a:pt x="322" y="518"/>
                    <a:pt x="311" y="495"/>
                    <a:pt x="311" y="495"/>
                  </a:cubicBezTo>
                  <a:cubicBezTo>
                    <a:pt x="311" y="495"/>
                    <a:pt x="315" y="475"/>
                    <a:pt x="313" y="472"/>
                  </a:cubicBezTo>
                  <a:cubicBezTo>
                    <a:pt x="311" y="469"/>
                    <a:pt x="294" y="458"/>
                    <a:pt x="294" y="458"/>
                  </a:cubicBezTo>
                  <a:cubicBezTo>
                    <a:pt x="294" y="427"/>
                    <a:pt x="294" y="427"/>
                    <a:pt x="294" y="427"/>
                  </a:cubicBezTo>
                  <a:cubicBezTo>
                    <a:pt x="282" y="420"/>
                    <a:pt x="282" y="420"/>
                    <a:pt x="282" y="420"/>
                  </a:cubicBezTo>
                  <a:cubicBezTo>
                    <a:pt x="289" y="412"/>
                    <a:pt x="289" y="412"/>
                    <a:pt x="289" y="412"/>
                  </a:cubicBezTo>
                  <a:cubicBezTo>
                    <a:pt x="290" y="387"/>
                    <a:pt x="290" y="387"/>
                    <a:pt x="290" y="387"/>
                  </a:cubicBezTo>
                  <a:cubicBezTo>
                    <a:pt x="290" y="387"/>
                    <a:pt x="275" y="386"/>
                    <a:pt x="276" y="378"/>
                  </a:cubicBezTo>
                  <a:cubicBezTo>
                    <a:pt x="277" y="370"/>
                    <a:pt x="299" y="363"/>
                    <a:pt x="299" y="363"/>
                  </a:cubicBezTo>
                  <a:cubicBezTo>
                    <a:pt x="304" y="338"/>
                    <a:pt x="304" y="338"/>
                    <a:pt x="304" y="338"/>
                  </a:cubicBezTo>
                  <a:cubicBezTo>
                    <a:pt x="310" y="338"/>
                    <a:pt x="310" y="338"/>
                    <a:pt x="310" y="338"/>
                  </a:cubicBezTo>
                  <a:cubicBezTo>
                    <a:pt x="310" y="338"/>
                    <a:pt x="311" y="326"/>
                    <a:pt x="312" y="318"/>
                  </a:cubicBezTo>
                  <a:cubicBezTo>
                    <a:pt x="313" y="310"/>
                    <a:pt x="331" y="300"/>
                    <a:pt x="331" y="300"/>
                  </a:cubicBezTo>
                  <a:cubicBezTo>
                    <a:pt x="331" y="300"/>
                    <a:pt x="326" y="253"/>
                    <a:pt x="317" y="243"/>
                  </a:cubicBezTo>
                  <a:cubicBezTo>
                    <a:pt x="308" y="233"/>
                    <a:pt x="287" y="224"/>
                    <a:pt x="279" y="216"/>
                  </a:cubicBezTo>
                  <a:cubicBezTo>
                    <a:pt x="271" y="208"/>
                    <a:pt x="256" y="187"/>
                    <a:pt x="261" y="174"/>
                  </a:cubicBezTo>
                  <a:cubicBezTo>
                    <a:pt x="266" y="161"/>
                    <a:pt x="306" y="168"/>
                    <a:pt x="314" y="167"/>
                  </a:cubicBezTo>
                  <a:cubicBezTo>
                    <a:pt x="322" y="166"/>
                    <a:pt x="336" y="165"/>
                    <a:pt x="336" y="165"/>
                  </a:cubicBezTo>
                  <a:cubicBezTo>
                    <a:pt x="336" y="165"/>
                    <a:pt x="315" y="147"/>
                    <a:pt x="310" y="133"/>
                  </a:cubicBezTo>
                  <a:cubicBezTo>
                    <a:pt x="305" y="119"/>
                    <a:pt x="304" y="91"/>
                    <a:pt x="304" y="91"/>
                  </a:cubicBezTo>
                  <a:cubicBezTo>
                    <a:pt x="304" y="91"/>
                    <a:pt x="310" y="81"/>
                    <a:pt x="310" y="70"/>
                  </a:cubicBezTo>
                  <a:cubicBezTo>
                    <a:pt x="310" y="59"/>
                    <a:pt x="296" y="52"/>
                    <a:pt x="296" y="52"/>
                  </a:cubicBezTo>
                  <a:cubicBezTo>
                    <a:pt x="300" y="25"/>
                    <a:pt x="300" y="25"/>
                    <a:pt x="300" y="25"/>
                  </a:cubicBezTo>
                  <a:cubicBezTo>
                    <a:pt x="300" y="25"/>
                    <a:pt x="284" y="22"/>
                    <a:pt x="280" y="1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13" name="Freeform 293">
              <a:extLst>
                <a:ext uri="{FF2B5EF4-FFF2-40B4-BE49-F238E27FC236}">
                  <a16:creationId xmlns:a16="http://schemas.microsoft.com/office/drawing/2014/main" id="{FF5177D8-919F-5E67-BA97-E859D8BA15BA}"/>
                </a:ext>
              </a:extLst>
            </p:cNvPr>
            <p:cNvSpPr>
              <a:spLocks/>
            </p:cNvSpPr>
            <p:nvPr/>
          </p:nvSpPr>
          <p:spPr bwMode="gray">
            <a:xfrm>
              <a:off x="-7855" y="-14529"/>
              <a:ext cx="1335" cy="1034"/>
            </a:xfrm>
            <a:custGeom>
              <a:avLst/>
              <a:gdLst>
                <a:gd name="T0" fmla="*/ 547 w 565"/>
                <a:gd name="T1" fmla="*/ 165 h 438"/>
                <a:gd name="T2" fmla="*/ 550 w 565"/>
                <a:gd name="T3" fmla="*/ 145 h 438"/>
                <a:gd name="T4" fmla="*/ 536 w 565"/>
                <a:gd name="T5" fmla="*/ 145 h 438"/>
                <a:gd name="T6" fmla="*/ 543 w 565"/>
                <a:gd name="T7" fmla="*/ 124 h 438"/>
                <a:gd name="T8" fmla="*/ 537 w 565"/>
                <a:gd name="T9" fmla="*/ 113 h 438"/>
                <a:gd name="T10" fmla="*/ 540 w 565"/>
                <a:gd name="T11" fmla="*/ 68 h 438"/>
                <a:gd name="T12" fmla="*/ 532 w 565"/>
                <a:gd name="T13" fmla="*/ 68 h 438"/>
                <a:gd name="T14" fmla="*/ 536 w 565"/>
                <a:gd name="T15" fmla="*/ 56 h 438"/>
                <a:gd name="T16" fmla="*/ 521 w 565"/>
                <a:gd name="T17" fmla="*/ 39 h 438"/>
                <a:gd name="T18" fmla="*/ 487 w 565"/>
                <a:gd name="T19" fmla="*/ 26 h 438"/>
                <a:gd name="T20" fmla="*/ 470 w 565"/>
                <a:gd name="T21" fmla="*/ 34 h 438"/>
                <a:gd name="T22" fmla="*/ 439 w 565"/>
                <a:gd name="T23" fmla="*/ 29 h 438"/>
                <a:gd name="T24" fmla="*/ 408 w 565"/>
                <a:gd name="T25" fmla="*/ 33 h 438"/>
                <a:gd name="T26" fmla="*/ 374 w 565"/>
                <a:gd name="T27" fmla="*/ 2 h 438"/>
                <a:gd name="T28" fmla="*/ 354 w 565"/>
                <a:gd name="T29" fmla="*/ 0 h 438"/>
                <a:gd name="T30" fmla="*/ 337 w 565"/>
                <a:gd name="T31" fmla="*/ 48 h 438"/>
                <a:gd name="T32" fmla="*/ 300 w 565"/>
                <a:gd name="T33" fmla="*/ 107 h 438"/>
                <a:gd name="T34" fmla="*/ 267 w 565"/>
                <a:gd name="T35" fmla="*/ 116 h 438"/>
                <a:gd name="T36" fmla="*/ 251 w 565"/>
                <a:gd name="T37" fmla="*/ 131 h 438"/>
                <a:gd name="T38" fmla="*/ 239 w 565"/>
                <a:gd name="T39" fmla="*/ 128 h 438"/>
                <a:gd name="T40" fmla="*/ 222 w 565"/>
                <a:gd name="T41" fmla="*/ 137 h 438"/>
                <a:gd name="T42" fmla="*/ 211 w 565"/>
                <a:gd name="T43" fmla="*/ 158 h 438"/>
                <a:gd name="T44" fmla="*/ 191 w 565"/>
                <a:gd name="T45" fmla="*/ 174 h 438"/>
                <a:gd name="T46" fmla="*/ 188 w 565"/>
                <a:gd name="T47" fmla="*/ 199 h 438"/>
                <a:gd name="T48" fmla="*/ 165 w 565"/>
                <a:gd name="T49" fmla="*/ 244 h 438"/>
                <a:gd name="T50" fmla="*/ 166 w 565"/>
                <a:gd name="T51" fmla="*/ 269 h 438"/>
                <a:gd name="T52" fmla="*/ 158 w 565"/>
                <a:gd name="T53" fmla="*/ 276 h 438"/>
                <a:gd name="T54" fmla="*/ 170 w 565"/>
                <a:gd name="T55" fmla="*/ 292 h 438"/>
                <a:gd name="T56" fmla="*/ 169 w 565"/>
                <a:gd name="T57" fmla="*/ 316 h 438"/>
                <a:gd name="T58" fmla="*/ 154 w 565"/>
                <a:gd name="T59" fmla="*/ 321 h 438"/>
                <a:gd name="T60" fmla="*/ 130 w 565"/>
                <a:gd name="T61" fmla="*/ 359 h 438"/>
                <a:gd name="T62" fmla="*/ 101 w 565"/>
                <a:gd name="T63" fmla="*/ 376 h 438"/>
                <a:gd name="T64" fmla="*/ 80 w 565"/>
                <a:gd name="T65" fmla="*/ 404 h 438"/>
                <a:gd name="T66" fmla="*/ 32 w 565"/>
                <a:gd name="T67" fmla="*/ 421 h 438"/>
                <a:gd name="T68" fmla="*/ 9 w 565"/>
                <a:gd name="T69" fmla="*/ 423 h 438"/>
                <a:gd name="T70" fmla="*/ 0 w 565"/>
                <a:gd name="T71" fmla="*/ 438 h 438"/>
                <a:gd name="T72" fmla="*/ 207 w 565"/>
                <a:gd name="T73" fmla="*/ 438 h 438"/>
                <a:gd name="T74" fmla="*/ 209 w 565"/>
                <a:gd name="T75" fmla="*/ 399 h 438"/>
                <a:gd name="T76" fmla="*/ 212 w 565"/>
                <a:gd name="T77" fmla="*/ 381 h 438"/>
                <a:gd name="T78" fmla="*/ 232 w 565"/>
                <a:gd name="T79" fmla="*/ 369 h 438"/>
                <a:gd name="T80" fmla="*/ 253 w 565"/>
                <a:gd name="T81" fmla="*/ 344 h 438"/>
                <a:gd name="T82" fmla="*/ 265 w 565"/>
                <a:gd name="T83" fmla="*/ 345 h 438"/>
                <a:gd name="T84" fmla="*/ 283 w 565"/>
                <a:gd name="T85" fmla="*/ 331 h 438"/>
                <a:gd name="T86" fmla="*/ 302 w 565"/>
                <a:gd name="T87" fmla="*/ 339 h 438"/>
                <a:gd name="T88" fmla="*/ 308 w 565"/>
                <a:gd name="T89" fmla="*/ 326 h 438"/>
                <a:gd name="T90" fmla="*/ 326 w 565"/>
                <a:gd name="T91" fmla="*/ 325 h 438"/>
                <a:gd name="T92" fmla="*/ 327 w 565"/>
                <a:gd name="T93" fmla="*/ 317 h 438"/>
                <a:gd name="T94" fmla="*/ 361 w 565"/>
                <a:gd name="T95" fmla="*/ 318 h 438"/>
                <a:gd name="T96" fmla="*/ 384 w 565"/>
                <a:gd name="T97" fmla="*/ 284 h 438"/>
                <a:gd name="T98" fmla="*/ 414 w 565"/>
                <a:gd name="T99" fmla="*/ 283 h 438"/>
                <a:gd name="T100" fmla="*/ 432 w 565"/>
                <a:gd name="T101" fmla="*/ 264 h 438"/>
                <a:gd name="T102" fmla="*/ 449 w 565"/>
                <a:gd name="T103" fmla="*/ 257 h 438"/>
                <a:gd name="T104" fmla="*/ 439 w 565"/>
                <a:gd name="T105" fmla="*/ 245 h 438"/>
                <a:gd name="T106" fmla="*/ 438 w 565"/>
                <a:gd name="T107" fmla="*/ 221 h 438"/>
                <a:gd name="T108" fmla="*/ 475 w 565"/>
                <a:gd name="T109" fmla="*/ 215 h 438"/>
                <a:gd name="T110" fmla="*/ 480 w 565"/>
                <a:gd name="T111" fmla="*/ 200 h 438"/>
                <a:gd name="T112" fmla="*/ 493 w 565"/>
                <a:gd name="T113" fmla="*/ 202 h 438"/>
                <a:gd name="T114" fmla="*/ 501 w 565"/>
                <a:gd name="T115" fmla="*/ 195 h 438"/>
                <a:gd name="T116" fmla="*/ 515 w 565"/>
                <a:gd name="T117" fmla="*/ 201 h 438"/>
                <a:gd name="T118" fmla="*/ 553 w 565"/>
                <a:gd name="T119" fmla="*/ 196 h 438"/>
                <a:gd name="T120" fmla="*/ 554 w 565"/>
                <a:gd name="T121" fmla="*/ 186 h 438"/>
                <a:gd name="T122" fmla="*/ 565 w 565"/>
                <a:gd name="T123" fmla="*/ 177 h 438"/>
                <a:gd name="T124" fmla="*/ 547 w 565"/>
                <a:gd name="T125" fmla="*/ 165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5" h="438">
                  <a:moveTo>
                    <a:pt x="547" y="165"/>
                  </a:moveTo>
                  <a:cubicBezTo>
                    <a:pt x="550" y="145"/>
                    <a:pt x="550" y="145"/>
                    <a:pt x="550" y="145"/>
                  </a:cubicBezTo>
                  <a:cubicBezTo>
                    <a:pt x="536" y="145"/>
                    <a:pt x="536" y="145"/>
                    <a:pt x="536" y="145"/>
                  </a:cubicBezTo>
                  <a:cubicBezTo>
                    <a:pt x="543" y="124"/>
                    <a:pt x="543" y="124"/>
                    <a:pt x="543" y="124"/>
                  </a:cubicBezTo>
                  <a:cubicBezTo>
                    <a:pt x="537" y="113"/>
                    <a:pt x="537" y="113"/>
                    <a:pt x="537" y="113"/>
                  </a:cubicBezTo>
                  <a:cubicBezTo>
                    <a:pt x="540" y="68"/>
                    <a:pt x="540" y="68"/>
                    <a:pt x="540" y="68"/>
                  </a:cubicBezTo>
                  <a:cubicBezTo>
                    <a:pt x="532" y="68"/>
                    <a:pt x="532" y="68"/>
                    <a:pt x="532" y="68"/>
                  </a:cubicBezTo>
                  <a:cubicBezTo>
                    <a:pt x="532" y="68"/>
                    <a:pt x="536" y="57"/>
                    <a:pt x="536" y="56"/>
                  </a:cubicBezTo>
                  <a:cubicBezTo>
                    <a:pt x="526" y="52"/>
                    <a:pt x="522" y="43"/>
                    <a:pt x="521" y="39"/>
                  </a:cubicBezTo>
                  <a:cubicBezTo>
                    <a:pt x="508" y="36"/>
                    <a:pt x="496" y="26"/>
                    <a:pt x="487" y="26"/>
                  </a:cubicBezTo>
                  <a:cubicBezTo>
                    <a:pt x="477" y="26"/>
                    <a:pt x="470" y="34"/>
                    <a:pt x="470" y="34"/>
                  </a:cubicBezTo>
                  <a:cubicBezTo>
                    <a:pt x="470" y="34"/>
                    <a:pt x="447" y="29"/>
                    <a:pt x="439" y="29"/>
                  </a:cubicBezTo>
                  <a:cubicBezTo>
                    <a:pt x="431" y="29"/>
                    <a:pt x="423" y="38"/>
                    <a:pt x="408" y="33"/>
                  </a:cubicBezTo>
                  <a:cubicBezTo>
                    <a:pt x="393" y="28"/>
                    <a:pt x="378" y="4"/>
                    <a:pt x="374" y="2"/>
                  </a:cubicBezTo>
                  <a:cubicBezTo>
                    <a:pt x="370" y="0"/>
                    <a:pt x="354" y="0"/>
                    <a:pt x="354" y="0"/>
                  </a:cubicBezTo>
                  <a:cubicBezTo>
                    <a:pt x="354" y="0"/>
                    <a:pt x="343" y="35"/>
                    <a:pt x="337" y="48"/>
                  </a:cubicBezTo>
                  <a:cubicBezTo>
                    <a:pt x="331" y="61"/>
                    <a:pt x="312" y="98"/>
                    <a:pt x="300" y="107"/>
                  </a:cubicBezTo>
                  <a:cubicBezTo>
                    <a:pt x="288" y="116"/>
                    <a:pt x="272" y="112"/>
                    <a:pt x="267" y="116"/>
                  </a:cubicBezTo>
                  <a:cubicBezTo>
                    <a:pt x="262" y="120"/>
                    <a:pt x="251" y="131"/>
                    <a:pt x="251" y="131"/>
                  </a:cubicBezTo>
                  <a:cubicBezTo>
                    <a:pt x="239" y="128"/>
                    <a:pt x="239" y="128"/>
                    <a:pt x="239" y="128"/>
                  </a:cubicBezTo>
                  <a:cubicBezTo>
                    <a:pt x="222" y="137"/>
                    <a:pt x="222" y="137"/>
                    <a:pt x="222" y="137"/>
                  </a:cubicBezTo>
                  <a:cubicBezTo>
                    <a:pt x="222" y="137"/>
                    <a:pt x="217" y="150"/>
                    <a:pt x="211" y="158"/>
                  </a:cubicBezTo>
                  <a:cubicBezTo>
                    <a:pt x="211" y="158"/>
                    <a:pt x="191" y="170"/>
                    <a:pt x="191" y="174"/>
                  </a:cubicBezTo>
                  <a:cubicBezTo>
                    <a:pt x="191" y="178"/>
                    <a:pt x="195" y="192"/>
                    <a:pt x="188" y="199"/>
                  </a:cubicBezTo>
                  <a:cubicBezTo>
                    <a:pt x="181" y="206"/>
                    <a:pt x="164" y="230"/>
                    <a:pt x="165" y="244"/>
                  </a:cubicBezTo>
                  <a:cubicBezTo>
                    <a:pt x="166" y="258"/>
                    <a:pt x="166" y="269"/>
                    <a:pt x="166" y="269"/>
                  </a:cubicBezTo>
                  <a:cubicBezTo>
                    <a:pt x="166" y="269"/>
                    <a:pt x="158" y="273"/>
                    <a:pt x="158" y="276"/>
                  </a:cubicBezTo>
                  <a:cubicBezTo>
                    <a:pt x="158" y="279"/>
                    <a:pt x="173" y="277"/>
                    <a:pt x="170" y="292"/>
                  </a:cubicBezTo>
                  <a:cubicBezTo>
                    <a:pt x="167" y="307"/>
                    <a:pt x="169" y="316"/>
                    <a:pt x="169" y="316"/>
                  </a:cubicBezTo>
                  <a:cubicBezTo>
                    <a:pt x="169" y="316"/>
                    <a:pt x="163" y="310"/>
                    <a:pt x="154" y="321"/>
                  </a:cubicBezTo>
                  <a:cubicBezTo>
                    <a:pt x="145" y="332"/>
                    <a:pt x="138" y="348"/>
                    <a:pt x="130" y="359"/>
                  </a:cubicBezTo>
                  <a:cubicBezTo>
                    <a:pt x="122" y="370"/>
                    <a:pt x="108" y="366"/>
                    <a:pt x="101" y="376"/>
                  </a:cubicBezTo>
                  <a:cubicBezTo>
                    <a:pt x="94" y="386"/>
                    <a:pt x="86" y="398"/>
                    <a:pt x="80" y="404"/>
                  </a:cubicBezTo>
                  <a:cubicBezTo>
                    <a:pt x="74" y="410"/>
                    <a:pt x="36" y="420"/>
                    <a:pt x="32" y="421"/>
                  </a:cubicBezTo>
                  <a:cubicBezTo>
                    <a:pt x="28" y="422"/>
                    <a:pt x="9" y="423"/>
                    <a:pt x="9" y="423"/>
                  </a:cubicBezTo>
                  <a:cubicBezTo>
                    <a:pt x="9" y="423"/>
                    <a:pt x="4" y="429"/>
                    <a:pt x="0" y="438"/>
                  </a:cubicBezTo>
                  <a:cubicBezTo>
                    <a:pt x="207" y="438"/>
                    <a:pt x="207" y="438"/>
                    <a:pt x="207" y="438"/>
                  </a:cubicBezTo>
                  <a:cubicBezTo>
                    <a:pt x="209" y="399"/>
                    <a:pt x="209" y="399"/>
                    <a:pt x="209" y="399"/>
                  </a:cubicBezTo>
                  <a:cubicBezTo>
                    <a:pt x="212" y="381"/>
                    <a:pt x="212" y="381"/>
                    <a:pt x="212" y="381"/>
                  </a:cubicBezTo>
                  <a:cubicBezTo>
                    <a:pt x="212" y="381"/>
                    <a:pt x="225" y="374"/>
                    <a:pt x="232" y="369"/>
                  </a:cubicBezTo>
                  <a:cubicBezTo>
                    <a:pt x="239" y="364"/>
                    <a:pt x="253" y="344"/>
                    <a:pt x="253" y="344"/>
                  </a:cubicBezTo>
                  <a:cubicBezTo>
                    <a:pt x="265" y="345"/>
                    <a:pt x="265" y="345"/>
                    <a:pt x="265" y="345"/>
                  </a:cubicBezTo>
                  <a:cubicBezTo>
                    <a:pt x="283" y="331"/>
                    <a:pt x="283" y="331"/>
                    <a:pt x="283" y="331"/>
                  </a:cubicBezTo>
                  <a:cubicBezTo>
                    <a:pt x="283" y="331"/>
                    <a:pt x="296" y="340"/>
                    <a:pt x="302" y="339"/>
                  </a:cubicBezTo>
                  <a:cubicBezTo>
                    <a:pt x="308" y="338"/>
                    <a:pt x="308" y="326"/>
                    <a:pt x="308" y="326"/>
                  </a:cubicBezTo>
                  <a:cubicBezTo>
                    <a:pt x="326" y="325"/>
                    <a:pt x="326" y="325"/>
                    <a:pt x="326" y="325"/>
                  </a:cubicBezTo>
                  <a:cubicBezTo>
                    <a:pt x="327" y="317"/>
                    <a:pt x="327" y="317"/>
                    <a:pt x="327" y="317"/>
                  </a:cubicBezTo>
                  <a:cubicBezTo>
                    <a:pt x="327" y="317"/>
                    <a:pt x="353" y="321"/>
                    <a:pt x="361" y="318"/>
                  </a:cubicBezTo>
                  <a:cubicBezTo>
                    <a:pt x="369" y="315"/>
                    <a:pt x="384" y="284"/>
                    <a:pt x="384" y="284"/>
                  </a:cubicBezTo>
                  <a:cubicBezTo>
                    <a:pt x="384" y="284"/>
                    <a:pt x="408" y="283"/>
                    <a:pt x="414" y="283"/>
                  </a:cubicBezTo>
                  <a:cubicBezTo>
                    <a:pt x="420" y="283"/>
                    <a:pt x="432" y="264"/>
                    <a:pt x="432" y="264"/>
                  </a:cubicBezTo>
                  <a:cubicBezTo>
                    <a:pt x="449" y="257"/>
                    <a:pt x="449" y="257"/>
                    <a:pt x="449" y="257"/>
                  </a:cubicBezTo>
                  <a:cubicBezTo>
                    <a:pt x="439" y="245"/>
                    <a:pt x="439" y="245"/>
                    <a:pt x="439" y="245"/>
                  </a:cubicBezTo>
                  <a:cubicBezTo>
                    <a:pt x="439" y="245"/>
                    <a:pt x="430" y="228"/>
                    <a:pt x="438" y="221"/>
                  </a:cubicBezTo>
                  <a:cubicBezTo>
                    <a:pt x="446" y="214"/>
                    <a:pt x="468" y="220"/>
                    <a:pt x="475" y="215"/>
                  </a:cubicBezTo>
                  <a:cubicBezTo>
                    <a:pt x="482" y="210"/>
                    <a:pt x="475" y="203"/>
                    <a:pt x="480" y="200"/>
                  </a:cubicBezTo>
                  <a:cubicBezTo>
                    <a:pt x="485" y="197"/>
                    <a:pt x="493" y="202"/>
                    <a:pt x="493" y="202"/>
                  </a:cubicBezTo>
                  <a:cubicBezTo>
                    <a:pt x="493" y="202"/>
                    <a:pt x="497" y="195"/>
                    <a:pt x="501" y="195"/>
                  </a:cubicBezTo>
                  <a:cubicBezTo>
                    <a:pt x="505" y="195"/>
                    <a:pt x="515" y="201"/>
                    <a:pt x="515" y="201"/>
                  </a:cubicBezTo>
                  <a:cubicBezTo>
                    <a:pt x="553" y="196"/>
                    <a:pt x="553" y="196"/>
                    <a:pt x="553" y="196"/>
                  </a:cubicBezTo>
                  <a:cubicBezTo>
                    <a:pt x="553" y="196"/>
                    <a:pt x="552" y="189"/>
                    <a:pt x="554" y="186"/>
                  </a:cubicBezTo>
                  <a:cubicBezTo>
                    <a:pt x="556" y="183"/>
                    <a:pt x="565" y="177"/>
                    <a:pt x="565" y="177"/>
                  </a:cubicBezTo>
                  <a:lnTo>
                    <a:pt x="547" y="165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294">
              <a:extLst>
                <a:ext uri="{FF2B5EF4-FFF2-40B4-BE49-F238E27FC236}">
                  <a16:creationId xmlns:a16="http://schemas.microsoft.com/office/drawing/2014/main" id="{FD0CD239-6E29-B23D-8EC6-1DF67E4493FE}"/>
                </a:ext>
              </a:extLst>
            </p:cNvPr>
            <p:cNvSpPr>
              <a:spLocks/>
            </p:cNvSpPr>
            <p:nvPr/>
          </p:nvSpPr>
          <p:spPr bwMode="gray">
            <a:xfrm>
              <a:off x="-5601" y="-14735"/>
              <a:ext cx="441" cy="914"/>
            </a:xfrm>
            <a:custGeom>
              <a:avLst/>
              <a:gdLst>
                <a:gd name="T0" fmla="*/ 25 w 187"/>
                <a:gd name="T1" fmla="*/ 48 h 387"/>
                <a:gd name="T2" fmla="*/ 38 w 187"/>
                <a:gd name="T3" fmla="*/ 52 h 387"/>
                <a:gd name="T4" fmla="*/ 33 w 187"/>
                <a:gd name="T5" fmla="*/ 90 h 387"/>
                <a:gd name="T6" fmla="*/ 38 w 187"/>
                <a:gd name="T7" fmla="*/ 119 h 387"/>
                <a:gd name="T8" fmla="*/ 30 w 187"/>
                <a:gd name="T9" fmla="*/ 151 h 387"/>
                <a:gd name="T10" fmla="*/ 16 w 187"/>
                <a:gd name="T11" fmla="*/ 162 h 387"/>
                <a:gd name="T12" fmla="*/ 0 w 187"/>
                <a:gd name="T13" fmla="*/ 185 h 387"/>
                <a:gd name="T14" fmla="*/ 0 w 187"/>
                <a:gd name="T15" fmla="*/ 208 h 387"/>
                <a:gd name="T16" fmla="*/ 7 w 187"/>
                <a:gd name="T17" fmla="*/ 208 h 387"/>
                <a:gd name="T18" fmla="*/ 7 w 187"/>
                <a:gd name="T19" fmla="*/ 227 h 387"/>
                <a:gd name="T20" fmla="*/ 34 w 187"/>
                <a:gd name="T21" fmla="*/ 240 h 387"/>
                <a:gd name="T22" fmla="*/ 35 w 187"/>
                <a:gd name="T23" fmla="*/ 266 h 387"/>
                <a:gd name="T24" fmla="*/ 67 w 187"/>
                <a:gd name="T25" fmla="*/ 291 h 387"/>
                <a:gd name="T26" fmla="*/ 88 w 187"/>
                <a:gd name="T27" fmla="*/ 387 h 387"/>
                <a:gd name="T28" fmla="*/ 104 w 187"/>
                <a:gd name="T29" fmla="*/ 381 h 387"/>
                <a:gd name="T30" fmla="*/ 123 w 187"/>
                <a:gd name="T31" fmla="*/ 355 h 387"/>
                <a:gd name="T32" fmla="*/ 114 w 187"/>
                <a:gd name="T33" fmla="*/ 317 h 387"/>
                <a:gd name="T34" fmla="*/ 129 w 187"/>
                <a:gd name="T35" fmla="*/ 306 h 387"/>
                <a:gd name="T36" fmla="*/ 148 w 187"/>
                <a:gd name="T37" fmla="*/ 283 h 387"/>
                <a:gd name="T38" fmla="*/ 183 w 187"/>
                <a:gd name="T39" fmla="*/ 265 h 387"/>
                <a:gd name="T40" fmla="*/ 172 w 187"/>
                <a:gd name="T41" fmla="*/ 255 h 387"/>
                <a:gd name="T42" fmla="*/ 175 w 187"/>
                <a:gd name="T43" fmla="*/ 228 h 387"/>
                <a:gd name="T44" fmla="*/ 167 w 187"/>
                <a:gd name="T45" fmla="*/ 226 h 387"/>
                <a:gd name="T46" fmla="*/ 160 w 187"/>
                <a:gd name="T47" fmla="*/ 207 h 387"/>
                <a:gd name="T48" fmla="*/ 150 w 187"/>
                <a:gd name="T49" fmla="*/ 201 h 387"/>
                <a:gd name="T50" fmla="*/ 148 w 187"/>
                <a:gd name="T51" fmla="*/ 212 h 387"/>
                <a:gd name="T52" fmla="*/ 142 w 187"/>
                <a:gd name="T53" fmla="*/ 203 h 387"/>
                <a:gd name="T54" fmla="*/ 111 w 187"/>
                <a:gd name="T55" fmla="*/ 183 h 387"/>
                <a:gd name="T56" fmla="*/ 132 w 187"/>
                <a:gd name="T57" fmla="*/ 154 h 387"/>
                <a:gd name="T58" fmla="*/ 156 w 187"/>
                <a:gd name="T59" fmla="*/ 102 h 387"/>
                <a:gd name="T60" fmla="*/ 132 w 187"/>
                <a:gd name="T61" fmla="*/ 73 h 387"/>
                <a:gd name="T62" fmla="*/ 145 w 187"/>
                <a:gd name="T63" fmla="*/ 50 h 387"/>
                <a:gd name="T64" fmla="*/ 156 w 187"/>
                <a:gd name="T65" fmla="*/ 18 h 387"/>
                <a:gd name="T66" fmla="*/ 125 w 187"/>
                <a:gd name="T67" fmla="*/ 45 h 387"/>
                <a:gd name="T68" fmla="*/ 108 w 187"/>
                <a:gd name="T69" fmla="*/ 33 h 387"/>
                <a:gd name="T70" fmla="*/ 110 w 187"/>
                <a:gd name="T71" fmla="*/ 8 h 387"/>
                <a:gd name="T72" fmla="*/ 60 w 187"/>
                <a:gd name="T73" fmla="*/ 23 h 387"/>
                <a:gd name="T74" fmla="*/ 53 w 187"/>
                <a:gd name="T75" fmla="*/ 25 h 387"/>
                <a:gd name="T76" fmla="*/ 53 w 187"/>
                <a:gd name="T77" fmla="*/ 35 h 387"/>
                <a:gd name="T78" fmla="*/ 25 w 187"/>
                <a:gd name="T79" fmla="*/ 48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387">
                  <a:moveTo>
                    <a:pt x="25" y="48"/>
                  </a:move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29" y="83"/>
                    <a:pt x="33" y="90"/>
                  </a:cubicBezTo>
                  <a:cubicBezTo>
                    <a:pt x="37" y="97"/>
                    <a:pt x="39" y="109"/>
                    <a:pt x="38" y="119"/>
                  </a:cubicBezTo>
                  <a:cubicBezTo>
                    <a:pt x="37" y="129"/>
                    <a:pt x="30" y="151"/>
                    <a:pt x="30" y="151"/>
                  </a:cubicBezTo>
                  <a:cubicBezTo>
                    <a:pt x="16" y="162"/>
                    <a:pt x="16" y="162"/>
                    <a:pt x="16" y="162"/>
                  </a:cubicBezTo>
                  <a:cubicBezTo>
                    <a:pt x="16" y="162"/>
                    <a:pt x="0" y="175"/>
                    <a:pt x="0" y="185"/>
                  </a:cubicBezTo>
                  <a:cubicBezTo>
                    <a:pt x="0" y="195"/>
                    <a:pt x="0" y="208"/>
                    <a:pt x="0" y="208"/>
                  </a:cubicBezTo>
                  <a:cubicBezTo>
                    <a:pt x="7" y="208"/>
                    <a:pt x="7" y="208"/>
                    <a:pt x="7" y="208"/>
                  </a:cubicBezTo>
                  <a:cubicBezTo>
                    <a:pt x="7" y="227"/>
                    <a:pt x="7" y="227"/>
                    <a:pt x="7" y="227"/>
                  </a:cubicBezTo>
                  <a:cubicBezTo>
                    <a:pt x="7" y="227"/>
                    <a:pt x="33" y="232"/>
                    <a:pt x="34" y="240"/>
                  </a:cubicBezTo>
                  <a:cubicBezTo>
                    <a:pt x="35" y="248"/>
                    <a:pt x="35" y="266"/>
                    <a:pt x="35" y="266"/>
                  </a:cubicBezTo>
                  <a:cubicBezTo>
                    <a:pt x="35" y="266"/>
                    <a:pt x="67" y="278"/>
                    <a:pt x="67" y="291"/>
                  </a:cubicBezTo>
                  <a:cubicBezTo>
                    <a:pt x="67" y="302"/>
                    <a:pt x="82" y="364"/>
                    <a:pt x="88" y="387"/>
                  </a:cubicBezTo>
                  <a:cubicBezTo>
                    <a:pt x="95" y="384"/>
                    <a:pt x="104" y="381"/>
                    <a:pt x="104" y="381"/>
                  </a:cubicBezTo>
                  <a:cubicBezTo>
                    <a:pt x="104" y="381"/>
                    <a:pt x="124" y="367"/>
                    <a:pt x="123" y="355"/>
                  </a:cubicBezTo>
                  <a:cubicBezTo>
                    <a:pt x="122" y="343"/>
                    <a:pt x="112" y="323"/>
                    <a:pt x="114" y="317"/>
                  </a:cubicBezTo>
                  <a:cubicBezTo>
                    <a:pt x="116" y="311"/>
                    <a:pt x="129" y="306"/>
                    <a:pt x="129" y="306"/>
                  </a:cubicBezTo>
                  <a:cubicBezTo>
                    <a:pt x="129" y="306"/>
                    <a:pt x="142" y="289"/>
                    <a:pt x="148" y="283"/>
                  </a:cubicBezTo>
                  <a:cubicBezTo>
                    <a:pt x="154" y="277"/>
                    <a:pt x="179" y="273"/>
                    <a:pt x="183" y="265"/>
                  </a:cubicBezTo>
                  <a:cubicBezTo>
                    <a:pt x="187" y="257"/>
                    <a:pt x="172" y="255"/>
                    <a:pt x="172" y="255"/>
                  </a:cubicBezTo>
                  <a:cubicBezTo>
                    <a:pt x="175" y="228"/>
                    <a:pt x="175" y="228"/>
                    <a:pt x="175" y="228"/>
                  </a:cubicBezTo>
                  <a:cubicBezTo>
                    <a:pt x="170" y="227"/>
                    <a:pt x="167" y="226"/>
                    <a:pt x="167" y="226"/>
                  </a:cubicBezTo>
                  <a:cubicBezTo>
                    <a:pt x="160" y="207"/>
                    <a:pt x="160" y="207"/>
                    <a:pt x="160" y="207"/>
                  </a:cubicBezTo>
                  <a:cubicBezTo>
                    <a:pt x="150" y="201"/>
                    <a:pt x="150" y="201"/>
                    <a:pt x="150" y="201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42" y="203"/>
                    <a:pt x="142" y="203"/>
                    <a:pt x="142" y="203"/>
                  </a:cubicBezTo>
                  <a:cubicBezTo>
                    <a:pt x="142" y="203"/>
                    <a:pt x="111" y="202"/>
                    <a:pt x="111" y="183"/>
                  </a:cubicBezTo>
                  <a:cubicBezTo>
                    <a:pt x="111" y="164"/>
                    <a:pt x="109" y="174"/>
                    <a:pt x="132" y="154"/>
                  </a:cubicBezTo>
                  <a:cubicBezTo>
                    <a:pt x="155" y="134"/>
                    <a:pt x="169" y="118"/>
                    <a:pt x="156" y="102"/>
                  </a:cubicBezTo>
                  <a:cubicBezTo>
                    <a:pt x="143" y="86"/>
                    <a:pt x="128" y="89"/>
                    <a:pt x="132" y="73"/>
                  </a:cubicBezTo>
                  <a:cubicBezTo>
                    <a:pt x="136" y="57"/>
                    <a:pt x="135" y="59"/>
                    <a:pt x="145" y="50"/>
                  </a:cubicBezTo>
                  <a:cubicBezTo>
                    <a:pt x="155" y="41"/>
                    <a:pt x="163" y="19"/>
                    <a:pt x="156" y="18"/>
                  </a:cubicBezTo>
                  <a:cubicBezTo>
                    <a:pt x="149" y="17"/>
                    <a:pt x="130" y="43"/>
                    <a:pt x="125" y="45"/>
                  </a:cubicBezTo>
                  <a:cubicBezTo>
                    <a:pt x="120" y="47"/>
                    <a:pt x="108" y="33"/>
                    <a:pt x="108" y="33"/>
                  </a:cubicBezTo>
                  <a:cubicBezTo>
                    <a:pt x="108" y="33"/>
                    <a:pt x="127" y="16"/>
                    <a:pt x="110" y="8"/>
                  </a:cubicBezTo>
                  <a:cubicBezTo>
                    <a:pt x="93" y="0"/>
                    <a:pt x="66" y="19"/>
                    <a:pt x="60" y="23"/>
                  </a:cubicBezTo>
                  <a:cubicBezTo>
                    <a:pt x="58" y="24"/>
                    <a:pt x="56" y="25"/>
                    <a:pt x="53" y="25"/>
                  </a:cubicBezTo>
                  <a:cubicBezTo>
                    <a:pt x="53" y="35"/>
                    <a:pt x="53" y="35"/>
                    <a:pt x="53" y="35"/>
                  </a:cubicBezTo>
                  <a:lnTo>
                    <a:pt x="25" y="48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15" name="Freeform 295">
              <a:extLst>
                <a:ext uri="{FF2B5EF4-FFF2-40B4-BE49-F238E27FC236}">
                  <a16:creationId xmlns:a16="http://schemas.microsoft.com/office/drawing/2014/main" id="{60AB4CA2-6D47-C297-9AAF-C2FF153680A4}"/>
                </a:ext>
              </a:extLst>
            </p:cNvPr>
            <p:cNvSpPr>
              <a:spLocks/>
            </p:cNvSpPr>
            <p:nvPr/>
          </p:nvSpPr>
          <p:spPr bwMode="gray">
            <a:xfrm>
              <a:off x="-6830" y="-11395"/>
              <a:ext cx="504" cy="825"/>
            </a:xfrm>
            <a:custGeom>
              <a:avLst/>
              <a:gdLst>
                <a:gd name="T0" fmla="*/ 185 w 213"/>
                <a:gd name="T1" fmla="*/ 228 h 349"/>
                <a:gd name="T2" fmla="*/ 190 w 213"/>
                <a:gd name="T3" fmla="*/ 205 h 349"/>
                <a:gd name="T4" fmla="*/ 182 w 213"/>
                <a:gd name="T5" fmla="*/ 198 h 349"/>
                <a:gd name="T6" fmla="*/ 185 w 213"/>
                <a:gd name="T7" fmla="*/ 186 h 349"/>
                <a:gd name="T8" fmla="*/ 187 w 213"/>
                <a:gd name="T9" fmla="*/ 157 h 349"/>
                <a:gd name="T10" fmla="*/ 191 w 213"/>
                <a:gd name="T11" fmla="*/ 148 h 349"/>
                <a:gd name="T12" fmla="*/ 173 w 213"/>
                <a:gd name="T13" fmla="*/ 134 h 349"/>
                <a:gd name="T14" fmla="*/ 185 w 213"/>
                <a:gd name="T15" fmla="*/ 123 h 349"/>
                <a:gd name="T16" fmla="*/ 178 w 213"/>
                <a:gd name="T17" fmla="*/ 113 h 349"/>
                <a:gd name="T18" fmla="*/ 182 w 213"/>
                <a:gd name="T19" fmla="*/ 88 h 349"/>
                <a:gd name="T20" fmla="*/ 166 w 213"/>
                <a:gd name="T21" fmla="*/ 91 h 349"/>
                <a:gd name="T22" fmla="*/ 174 w 213"/>
                <a:gd name="T23" fmla="*/ 42 h 349"/>
                <a:gd name="T24" fmla="*/ 152 w 213"/>
                <a:gd name="T25" fmla="*/ 24 h 349"/>
                <a:gd name="T26" fmla="*/ 159 w 213"/>
                <a:gd name="T27" fmla="*/ 15 h 349"/>
                <a:gd name="T28" fmla="*/ 159 w 213"/>
                <a:gd name="T29" fmla="*/ 4 h 349"/>
                <a:gd name="T30" fmla="*/ 145 w 213"/>
                <a:gd name="T31" fmla="*/ 0 h 349"/>
                <a:gd name="T32" fmla="*/ 129 w 213"/>
                <a:gd name="T33" fmla="*/ 10 h 349"/>
                <a:gd name="T34" fmla="*/ 109 w 213"/>
                <a:gd name="T35" fmla="*/ 7 h 349"/>
                <a:gd name="T36" fmla="*/ 98 w 213"/>
                <a:gd name="T37" fmla="*/ 10 h 349"/>
                <a:gd name="T38" fmla="*/ 86 w 213"/>
                <a:gd name="T39" fmla="*/ 7 h 349"/>
                <a:gd name="T40" fmla="*/ 81 w 213"/>
                <a:gd name="T41" fmla="*/ 10 h 349"/>
                <a:gd name="T42" fmla="*/ 26 w 213"/>
                <a:gd name="T43" fmla="*/ 7 h 349"/>
                <a:gd name="T44" fmla="*/ 18 w 213"/>
                <a:gd name="T45" fmla="*/ 24 h 349"/>
                <a:gd name="T46" fmla="*/ 24 w 213"/>
                <a:gd name="T47" fmla="*/ 33 h 349"/>
                <a:gd name="T48" fmla="*/ 25 w 213"/>
                <a:gd name="T49" fmla="*/ 51 h 349"/>
                <a:gd name="T50" fmla="*/ 26 w 213"/>
                <a:gd name="T51" fmla="*/ 87 h 349"/>
                <a:gd name="T52" fmla="*/ 30 w 213"/>
                <a:gd name="T53" fmla="*/ 86 h 349"/>
                <a:gd name="T54" fmla="*/ 34 w 213"/>
                <a:gd name="T55" fmla="*/ 105 h 349"/>
                <a:gd name="T56" fmla="*/ 26 w 213"/>
                <a:gd name="T57" fmla="*/ 106 h 349"/>
                <a:gd name="T58" fmla="*/ 38 w 213"/>
                <a:gd name="T59" fmla="*/ 152 h 349"/>
                <a:gd name="T60" fmla="*/ 21 w 213"/>
                <a:gd name="T61" fmla="*/ 179 h 349"/>
                <a:gd name="T62" fmla="*/ 20 w 213"/>
                <a:gd name="T63" fmla="*/ 209 h 349"/>
                <a:gd name="T64" fmla="*/ 0 w 213"/>
                <a:gd name="T65" fmla="*/ 241 h 349"/>
                <a:gd name="T66" fmla="*/ 13 w 213"/>
                <a:gd name="T67" fmla="*/ 291 h 349"/>
                <a:gd name="T68" fmla="*/ 31 w 213"/>
                <a:gd name="T69" fmla="*/ 297 h 349"/>
                <a:gd name="T70" fmla="*/ 32 w 213"/>
                <a:gd name="T71" fmla="*/ 332 h 349"/>
                <a:gd name="T72" fmla="*/ 47 w 213"/>
                <a:gd name="T73" fmla="*/ 334 h 349"/>
                <a:gd name="T74" fmla="*/ 61 w 213"/>
                <a:gd name="T75" fmla="*/ 345 h 349"/>
                <a:gd name="T76" fmla="*/ 99 w 213"/>
                <a:gd name="T77" fmla="*/ 321 h 349"/>
                <a:gd name="T78" fmla="*/ 117 w 213"/>
                <a:gd name="T79" fmla="*/ 321 h 349"/>
                <a:gd name="T80" fmla="*/ 141 w 213"/>
                <a:gd name="T81" fmla="*/ 302 h 349"/>
                <a:gd name="T82" fmla="*/ 159 w 213"/>
                <a:gd name="T83" fmla="*/ 298 h 349"/>
                <a:gd name="T84" fmla="*/ 173 w 213"/>
                <a:gd name="T85" fmla="*/ 283 h 349"/>
                <a:gd name="T86" fmla="*/ 196 w 213"/>
                <a:gd name="T87" fmla="*/ 287 h 349"/>
                <a:gd name="T88" fmla="*/ 213 w 213"/>
                <a:gd name="T89" fmla="*/ 273 h 349"/>
                <a:gd name="T90" fmla="*/ 193 w 213"/>
                <a:gd name="T91" fmla="*/ 256 h 349"/>
                <a:gd name="T92" fmla="*/ 185 w 213"/>
                <a:gd name="T93" fmla="*/ 228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3" h="349">
                  <a:moveTo>
                    <a:pt x="185" y="228"/>
                  </a:moveTo>
                  <a:cubicBezTo>
                    <a:pt x="185" y="228"/>
                    <a:pt x="191" y="211"/>
                    <a:pt x="190" y="205"/>
                  </a:cubicBezTo>
                  <a:cubicBezTo>
                    <a:pt x="189" y="199"/>
                    <a:pt x="182" y="203"/>
                    <a:pt x="182" y="198"/>
                  </a:cubicBezTo>
                  <a:cubicBezTo>
                    <a:pt x="182" y="193"/>
                    <a:pt x="185" y="186"/>
                    <a:pt x="185" y="186"/>
                  </a:cubicBezTo>
                  <a:cubicBezTo>
                    <a:pt x="187" y="157"/>
                    <a:pt x="187" y="157"/>
                    <a:pt x="187" y="157"/>
                  </a:cubicBezTo>
                  <a:cubicBezTo>
                    <a:pt x="187" y="157"/>
                    <a:pt x="192" y="154"/>
                    <a:pt x="191" y="148"/>
                  </a:cubicBezTo>
                  <a:cubicBezTo>
                    <a:pt x="190" y="142"/>
                    <a:pt x="173" y="134"/>
                    <a:pt x="173" y="134"/>
                  </a:cubicBezTo>
                  <a:cubicBezTo>
                    <a:pt x="173" y="134"/>
                    <a:pt x="184" y="126"/>
                    <a:pt x="185" y="123"/>
                  </a:cubicBezTo>
                  <a:cubicBezTo>
                    <a:pt x="186" y="120"/>
                    <a:pt x="178" y="113"/>
                    <a:pt x="178" y="113"/>
                  </a:cubicBezTo>
                  <a:cubicBezTo>
                    <a:pt x="178" y="113"/>
                    <a:pt x="186" y="95"/>
                    <a:pt x="182" y="88"/>
                  </a:cubicBezTo>
                  <a:cubicBezTo>
                    <a:pt x="178" y="81"/>
                    <a:pt x="166" y="91"/>
                    <a:pt x="166" y="91"/>
                  </a:cubicBezTo>
                  <a:cubicBezTo>
                    <a:pt x="174" y="42"/>
                    <a:pt x="174" y="42"/>
                    <a:pt x="174" y="42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9" y="15"/>
                    <a:pt x="159" y="15"/>
                    <a:pt x="159" y="15"/>
                  </a:cubicBezTo>
                  <a:cubicBezTo>
                    <a:pt x="159" y="4"/>
                    <a:pt x="159" y="4"/>
                    <a:pt x="159" y="4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9" y="10"/>
                    <a:pt x="129" y="10"/>
                    <a:pt x="129" y="10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18" y="16"/>
                    <a:pt x="18" y="24"/>
                  </a:cubicBezTo>
                  <a:cubicBezTo>
                    <a:pt x="18" y="32"/>
                    <a:pt x="24" y="33"/>
                    <a:pt x="24" y="33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4" y="105"/>
                    <a:pt x="34" y="105"/>
                    <a:pt x="34" y="105"/>
                  </a:cubicBezTo>
                  <a:cubicBezTo>
                    <a:pt x="26" y="106"/>
                    <a:pt x="26" y="106"/>
                    <a:pt x="26" y="106"/>
                  </a:cubicBezTo>
                  <a:cubicBezTo>
                    <a:pt x="26" y="106"/>
                    <a:pt x="38" y="140"/>
                    <a:pt x="38" y="152"/>
                  </a:cubicBezTo>
                  <a:cubicBezTo>
                    <a:pt x="38" y="164"/>
                    <a:pt x="21" y="171"/>
                    <a:pt x="21" y="179"/>
                  </a:cubicBezTo>
                  <a:cubicBezTo>
                    <a:pt x="21" y="187"/>
                    <a:pt x="20" y="209"/>
                    <a:pt x="20" y="209"/>
                  </a:cubicBezTo>
                  <a:cubicBezTo>
                    <a:pt x="20" y="209"/>
                    <a:pt x="0" y="227"/>
                    <a:pt x="0" y="241"/>
                  </a:cubicBezTo>
                  <a:cubicBezTo>
                    <a:pt x="0" y="255"/>
                    <a:pt x="13" y="291"/>
                    <a:pt x="13" y="291"/>
                  </a:cubicBezTo>
                  <a:cubicBezTo>
                    <a:pt x="31" y="297"/>
                    <a:pt x="31" y="297"/>
                    <a:pt x="31" y="297"/>
                  </a:cubicBezTo>
                  <a:cubicBezTo>
                    <a:pt x="32" y="332"/>
                    <a:pt x="32" y="332"/>
                    <a:pt x="32" y="332"/>
                  </a:cubicBezTo>
                  <a:cubicBezTo>
                    <a:pt x="41" y="334"/>
                    <a:pt x="47" y="334"/>
                    <a:pt x="47" y="334"/>
                  </a:cubicBezTo>
                  <a:cubicBezTo>
                    <a:pt x="47" y="334"/>
                    <a:pt x="51" y="349"/>
                    <a:pt x="61" y="345"/>
                  </a:cubicBezTo>
                  <a:cubicBezTo>
                    <a:pt x="71" y="341"/>
                    <a:pt x="92" y="323"/>
                    <a:pt x="99" y="321"/>
                  </a:cubicBezTo>
                  <a:cubicBezTo>
                    <a:pt x="106" y="319"/>
                    <a:pt x="117" y="321"/>
                    <a:pt x="117" y="321"/>
                  </a:cubicBezTo>
                  <a:cubicBezTo>
                    <a:pt x="117" y="321"/>
                    <a:pt x="138" y="303"/>
                    <a:pt x="141" y="302"/>
                  </a:cubicBezTo>
                  <a:cubicBezTo>
                    <a:pt x="144" y="301"/>
                    <a:pt x="159" y="298"/>
                    <a:pt x="159" y="298"/>
                  </a:cubicBezTo>
                  <a:cubicBezTo>
                    <a:pt x="159" y="298"/>
                    <a:pt x="165" y="282"/>
                    <a:pt x="173" y="283"/>
                  </a:cubicBezTo>
                  <a:cubicBezTo>
                    <a:pt x="181" y="284"/>
                    <a:pt x="187" y="292"/>
                    <a:pt x="196" y="287"/>
                  </a:cubicBezTo>
                  <a:cubicBezTo>
                    <a:pt x="201" y="284"/>
                    <a:pt x="207" y="278"/>
                    <a:pt x="213" y="273"/>
                  </a:cubicBezTo>
                  <a:cubicBezTo>
                    <a:pt x="193" y="256"/>
                    <a:pt x="193" y="256"/>
                    <a:pt x="193" y="256"/>
                  </a:cubicBezTo>
                  <a:lnTo>
                    <a:pt x="185" y="22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296">
              <a:extLst>
                <a:ext uri="{FF2B5EF4-FFF2-40B4-BE49-F238E27FC236}">
                  <a16:creationId xmlns:a16="http://schemas.microsoft.com/office/drawing/2014/main" id="{1F8F339E-D754-2796-FD32-7F6885E326CF}"/>
                </a:ext>
              </a:extLst>
            </p:cNvPr>
            <p:cNvSpPr>
              <a:spLocks/>
            </p:cNvSpPr>
            <p:nvPr/>
          </p:nvSpPr>
          <p:spPr bwMode="gray">
            <a:xfrm>
              <a:off x="-6471" y="-11388"/>
              <a:ext cx="215" cy="638"/>
            </a:xfrm>
            <a:custGeom>
              <a:avLst/>
              <a:gdLst>
                <a:gd name="T0" fmla="*/ 82 w 91"/>
                <a:gd name="T1" fmla="*/ 239 h 270"/>
                <a:gd name="T2" fmla="*/ 80 w 91"/>
                <a:gd name="T3" fmla="*/ 195 h 270"/>
                <a:gd name="T4" fmla="*/ 85 w 91"/>
                <a:gd name="T5" fmla="*/ 188 h 270"/>
                <a:gd name="T6" fmla="*/ 79 w 91"/>
                <a:gd name="T7" fmla="*/ 182 h 270"/>
                <a:gd name="T8" fmla="*/ 80 w 91"/>
                <a:gd name="T9" fmla="*/ 143 h 270"/>
                <a:gd name="T10" fmla="*/ 85 w 91"/>
                <a:gd name="T11" fmla="*/ 135 h 270"/>
                <a:gd name="T12" fmla="*/ 81 w 91"/>
                <a:gd name="T13" fmla="*/ 108 h 270"/>
                <a:gd name="T14" fmla="*/ 69 w 91"/>
                <a:gd name="T15" fmla="*/ 91 h 270"/>
                <a:gd name="T16" fmla="*/ 69 w 91"/>
                <a:gd name="T17" fmla="*/ 60 h 270"/>
                <a:gd name="T18" fmla="*/ 42 w 91"/>
                <a:gd name="T19" fmla="*/ 37 h 270"/>
                <a:gd name="T20" fmla="*/ 41 w 91"/>
                <a:gd name="T21" fmla="*/ 18 h 270"/>
                <a:gd name="T22" fmla="*/ 47 w 91"/>
                <a:gd name="T23" fmla="*/ 6 h 270"/>
                <a:gd name="T24" fmla="*/ 33 w 91"/>
                <a:gd name="T25" fmla="*/ 7 h 270"/>
                <a:gd name="T26" fmla="*/ 18 w 91"/>
                <a:gd name="T27" fmla="*/ 0 h 270"/>
                <a:gd name="T28" fmla="*/ 7 w 91"/>
                <a:gd name="T29" fmla="*/ 1 h 270"/>
                <a:gd name="T30" fmla="*/ 7 w 91"/>
                <a:gd name="T31" fmla="*/ 12 h 270"/>
                <a:gd name="T32" fmla="*/ 0 w 91"/>
                <a:gd name="T33" fmla="*/ 21 h 270"/>
                <a:gd name="T34" fmla="*/ 22 w 91"/>
                <a:gd name="T35" fmla="*/ 39 h 270"/>
                <a:gd name="T36" fmla="*/ 14 w 91"/>
                <a:gd name="T37" fmla="*/ 88 h 270"/>
                <a:gd name="T38" fmla="*/ 30 w 91"/>
                <a:gd name="T39" fmla="*/ 85 h 270"/>
                <a:gd name="T40" fmla="*/ 26 w 91"/>
                <a:gd name="T41" fmla="*/ 110 h 270"/>
                <a:gd name="T42" fmla="*/ 33 w 91"/>
                <a:gd name="T43" fmla="*/ 120 h 270"/>
                <a:gd name="T44" fmla="*/ 21 w 91"/>
                <a:gd name="T45" fmla="*/ 131 h 270"/>
                <a:gd name="T46" fmla="*/ 39 w 91"/>
                <a:gd name="T47" fmla="*/ 145 h 270"/>
                <a:gd name="T48" fmla="*/ 35 w 91"/>
                <a:gd name="T49" fmla="*/ 154 h 270"/>
                <a:gd name="T50" fmla="*/ 33 w 91"/>
                <a:gd name="T51" fmla="*/ 183 h 270"/>
                <a:gd name="T52" fmla="*/ 30 w 91"/>
                <a:gd name="T53" fmla="*/ 195 h 270"/>
                <a:gd name="T54" fmla="*/ 38 w 91"/>
                <a:gd name="T55" fmla="*/ 202 h 270"/>
                <a:gd name="T56" fmla="*/ 33 w 91"/>
                <a:gd name="T57" fmla="*/ 225 h 270"/>
                <a:gd name="T58" fmla="*/ 41 w 91"/>
                <a:gd name="T59" fmla="*/ 253 h 270"/>
                <a:gd name="T60" fmla="*/ 61 w 91"/>
                <a:gd name="T61" fmla="*/ 270 h 270"/>
                <a:gd name="T62" fmla="*/ 78 w 91"/>
                <a:gd name="T63" fmla="*/ 259 h 270"/>
                <a:gd name="T64" fmla="*/ 91 w 91"/>
                <a:gd name="T65" fmla="*/ 258 h 270"/>
                <a:gd name="T66" fmla="*/ 82 w 91"/>
                <a:gd name="T67" fmla="*/ 239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270">
                  <a:moveTo>
                    <a:pt x="82" y="239"/>
                  </a:moveTo>
                  <a:cubicBezTo>
                    <a:pt x="80" y="195"/>
                    <a:pt x="80" y="195"/>
                    <a:pt x="80" y="195"/>
                  </a:cubicBezTo>
                  <a:cubicBezTo>
                    <a:pt x="85" y="188"/>
                    <a:pt x="85" y="188"/>
                    <a:pt x="85" y="188"/>
                  </a:cubicBezTo>
                  <a:cubicBezTo>
                    <a:pt x="79" y="182"/>
                    <a:pt x="79" y="182"/>
                    <a:pt x="79" y="182"/>
                  </a:cubicBezTo>
                  <a:cubicBezTo>
                    <a:pt x="80" y="143"/>
                    <a:pt x="80" y="143"/>
                    <a:pt x="80" y="143"/>
                  </a:cubicBezTo>
                  <a:cubicBezTo>
                    <a:pt x="85" y="135"/>
                    <a:pt x="85" y="135"/>
                    <a:pt x="85" y="135"/>
                  </a:cubicBezTo>
                  <a:cubicBezTo>
                    <a:pt x="85" y="135"/>
                    <a:pt x="80" y="116"/>
                    <a:pt x="81" y="108"/>
                  </a:cubicBezTo>
                  <a:cubicBezTo>
                    <a:pt x="82" y="100"/>
                    <a:pt x="69" y="91"/>
                    <a:pt x="69" y="91"/>
                  </a:cubicBezTo>
                  <a:cubicBezTo>
                    <a:pt x="69" y="91"/>
                    <a:pt x="71" y="68"/>
                    <a:pt x="69" y="60"/>
                  </a:cubicBezTo>
                  <a:cubicBezTo>
                    <a:pt x="67" y="52"/>
                    <a:pt x="42" y="37"/>
                    <a:pt x="42" y="37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26" y="78"/>
                    <a:pt x="30" y="85"/>
                  </a:cubicBezTo>
                  <a:cubicBezTo>
                    <a:pt x="34" y="92"/>
                    <a:pt x="26" y="110"/>
                    <a:pt x="26" y="110"/>
                  </a:cubicBezTo>
                  <a:cubicBezTo>
                    <a:pt x="26" y="110"/>
                    <a:pt x="34" y="117"/>
                    <a:pt x="33" y="120"/>
                  </a:cubicBezTo>
                  <a:cubicBezTo>
                    <a:pt x="32" y="123"/>
                    <a:pt x="21" y="131"/>
                    <a:pt x="21" y="131"/>
                  </a:cubicBezTo>
                  <a:cubicBezTo>
                    <a:pt x="21" y="131"/>
                    <a:pt x="38" y="139"/>
                    <a:pt x="39" y="145"/>
                  </a:cubicBezTo>
                  <a:cubicBezTo>
                    <a:pt x="40" y="151"/>
                    <a:pt x="35" y="154"/>
                    <a:pt x="35" y="154"/>
                  </a:cubicBezTo>
                  <a:cubicBezTo>
                    <a:pt x="33" y="183"/>
                    <a:pt x="33" y="183"/>
                    <a:pt x="33" y="183"/>
                  </a:cubicBezTo>
                  <a:cubicBezTo>
                    <a:pt x="33" y="183"/>
                    <a:pt x="30" y="190"/>
                    <a:pt x="30" y="195"/>
                  </a:cubicBezTo>
                  <a:cubicBezTo>
                    <a:pt x="30" y="200"/>
                    <a:pt x="37" y="196"/>
                    <a:pt x="38" y="202"/>
                  </a:cubicBezTo>
                  <a:cubicBezTo>
                    <a:pt x="39" y="208"/>
                    <a:pt x="33" y="225"/>
                    <a:pt x="33" y="225"/>
                  </a:cubicBezTo>
                  <a:cubicBezTo>
                    <a:pt x="41" y="253"/>
                    <a:pt x="41" y="253"/>
                    <a:pt x="41" y="253"/>
                  </a:cubicBezTo>
                  <a:cubicBezTo>
                    <a:pt x="61" y="270"/>
                    <a:pt x="61" y="270"/>
                    <a:pt x="61" y="270"/>
                  </a:cubicBezTo>
                  <a:cubicBezTo>
                    <a:pt x="66" y="264"/>
                    <a:pt x="72" y="260"/>
                    <a:pt x="78" y="259"/>
                  </a:cubicBezTo>
                  <a:cubicBezTo>
                    <a:pt x="82" y="258"/>
                    <a:pt x="86" y="258"/>
                    <a:pt x="91" y="258"/>
                  </a:cubicBezTo>
                  <a:cubicBezTo>
                    <a:pt x="91" y="248"/>
                    <a:pt x="82" y="239"/>
                    <a:pt x="82" y="239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17" name="Freeform 297">
              <a:extLst>
                <a:ext uri="{FF2B5EF4-FFF2-40B4-BE49-F238E27FC236}">
                  <a16:creationId xmlns:a16="http://schemas.microsoft.com/office/drawing/2014/main" id="{8C58DEE1-7D78-FCF2-40A0-FAE1F815D22B}"/>
                </a:ext>
              </a:extLst>
            </p:cNvPr>
            <p:cNvSpPr>
              <a:spLocks/>
            </p:cNvSpPr>
            <p:nvPr/>
          </p:nvSpPr>
          <p:spPr bwMode="gray">
            <a:xfrm>
              <a:off x="-6374" y="-11555"/>
              <a:ext cx="355" cy="784"/>
            </a:xfrm>
            <a:custGeom>
              <a:avLst/>
              <a:gdLst>
                <a:gd name="T0" fmla="*/ 94 w 150"/>
                <a:gd name="T1" fmla="*/ 247 h 332"/>
                <a:gd name="T2" fmla="*/ 97 w 150"/>
                <a:gd name="T3" fmla="*/ 228 h 332"/>
                <a:gd name="T4" fmla="*/ 94 w 150"/>
                <a:gd name="T5" fmla="*/ 206 h 332"/>
                <a:gd name="T6" fmla="*/ 96 w 150"/>
                <a:gd name="T7" fmla="*/ 183 h 332"/>
                <a:gd name="T8" fmla="*/ 112 w 150"/>
                <a:gd name="T9" fmla="*/ 177 h 332"/>
                <a:gd name="T10" fmla="*/ 118 w 150"/>
                <a:gd name="T11" fmla="*/ 148 h 332"/>
                <a:gd name="T12" fmla="*/ 133 w 150"/>
                <a:gd name="T13" fmla="*/ 132 h 332"/>
                <a:gd name="T14" fmla="*/ 135 w 150"/>
                <a:gd name="T15" fmla="*/ 105 h 332"/>
                <a:gd name="T16" fmla="*/ 148 w 150"/>
                <a:gd name="T17" fmla="*/ 95 h 332"/>
                <a:gd name="T18" fmla="*/ 144 w 150"/>
                <a:gd name="T19" fmla="*/ 85 h 332"/>
                <a:gd name="T20" fmla="*/ 145 w 150"/>
                <a:gd name="T21" fmla="*/ 76 h 332"/>
                <a:gd name="T22" fmla="*/ 131 w 150"/>
                <a:gd name="T23" fmla="*/ 51 h 332"/>
                <a:gd name="T24" fmla="*/ 139 w 150"/>
                <a:gd name="T25" fmla="*/ 31 h 332"/>
                <a:gd name="T26" fmla="*/ 118 w 150"/>
                <a:gd name="T27" fmla="*/ 22 h 332"/>
                <a:gd name="T28" fmla="*/ 96 w 150"/>
                <a:gd name="T29" fmla="*/ 0 h 332"/>
                <a:gd name="T30" fmla="*/ 79 w 150"/>
                <a:gd name="T31" fmla="*/ 7 h 332"/>
                <a:gd name="T32" fmla="*/ 76 w 150"/>
                <a:gd name="T33" fmla="*/ 23 h 332"/>
                <a:gd name="T34" fmla="*/ 83 w 150"/>
                <a:gd name="T35" fmla="*/ 26 h 332"/>
                <a:gd name="T36" fmla="*/ 77 w 150"/>
                <a:gd name="T37" fmla="*/ 28 h 332"/>
                <a:gd name="T38" fmla="*/ 74 w 150"/>
                <a:gd name="T39" fmla="*/ 39 h 332"/>
                <a:gd name="T40" fmla="*/ 63 w 150"/>
                <a:gd name="T41" fmla="*/ 43 h 332"/>
                <a:gd name="T42" fmla="*/ 58 w 150"/>
                <a:gd name="T43" fmla="*/ 53 h 332"/>
                <a:gd name="T44" fmla="*/ 32 w 150"/>
                <a:gd name="T45" fmla="*/ 51 h 332"/>
                <a:gd name="T46" fmla="*/ 19 w 150"/>
                <a:gd name="T47" fmla="*/ 70 h 332"/>
                <a:gd name="T48" fmla="*/ 11 w 150"/>
                <a:gd name="T49" fmla="*/ 70 h 332"/>
                <a:gd name="T50" fmla="*/ 6 w 150"/>
                <a:gd name="T51" fmla="*/ 77 h 332"/>
                <a:gd name="T52" fmla="*/ 0 w 150"/>
                <a:gd name="T53" fmla="*/ 89 h 332"/>
                <a:gd name="T54" fmla="*/ 1 w 150"/>
                <a:gd name="T55" fmla="*/ 108 h 332"/>
                <a:gd name="T56" fmla="*/ 28 w 150"/>
                <a:gd name="T57" fmla="*/ 131 h 332"/>
                <a:gd name="T58" fmla="*/ 28 w 150"/>
                <a:gd name="T59" fmla="*/ 162 h 332"/>
                <a:gd name="T60" fmla="*/ 40 w 150"/>
                <a:gd name="T61" fmla="*/ 179 h 332"/>
                <a:gd name="T62" fmla="*/ 44 w 150"/>
                <a:gd name="T63" fmla="*/ 206 h 332"/>
                <a:gd name="T64" fmla="*/ 39 w 150"/>
                <a:gd name="T65" fmla="*/ 214 h 332"/>
                <a:gd name="T66" fmla="*/ 38 w 150"/>
                <a:gd name="T67" fmla="*/ 253 h 332"/>
                <a:gd name="T68" fmla="*/ 44 w 150"/>
                <a:gd name="T69" fmla="*/ 259 h 332"/>
                <a:gd name="T70" fmla="*/ 39 w 150"/>
                <a:gd name="T71" fmla="*/ 266 h 332"/>
                <a:gd name="T72" fmla="*/ 41 w 150"/>
                <a:gd name="T73" fmla="*/ 310 h 332"/>
                <a:gd name="T74" fmla="*/ 50 w 150"/>
                <a:gd name="T75" fmla="*/ 329 h 332"/>
                <a:gd name="T76" fmla="*/ 50 w 150"/>
                <a:gd name="T77" fmla="*/ 329 h 332"/>
                <a:gd name="T78" fmla="*/ 73 w 150"/>
                <a:gd name="T79" fmla="*/ 332 h 332"/>
                <a:gd name="T80" fmla="*/ 81 w 150"/>
                <a:gd name="T81" fmla="*/ 318 h 332"/>
                <a:gd name="T82" fmla="*/ 91 w 150"/>
                <a:gd name="T83" fmla="*/ 323 h 332"/>
                <a:gd name="T84" fmla="*/ 95 w 150"/>
                <a:gd name="T85" fmla="*/ 306 h 332"/>
                <a:gd name="T86" fmla="*/ 94 w 150"/>
                <a:gd name="T87" fmla="*/ 24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0" h="332">
                  <a:moveTo>
                    <a:pt x="94" y="247"/>
                  </a:moveTo>
                  <a:cubicBezTo>
                    <a:pt x="97" y="228"/>
                    <a:pt x="97" y="228"/>
                    <a:pt x="97" y="228"/>
                  </a:cubicBezTo>
                  <a:cubicBezTo>
                    <a:pt x="94" y="206"/>
                    <a:pt x="94" y="206"/>
                    <a:pt x="94" y="206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6" y="183"/>
                    <a:pt x="104" y="187"/>
                    <a:pt x="112" y="177"/>
                  </a:cubicBezTo>
                  <a:cubicBezTo>
                    <a:pt x="120" y="167"/>
                    <a:pt x="115" y="155"/>
                    <a:pt x="118" y="148"/>
                  </a:cubicBezTo>
                  <a:cubicBezTo>
                    <a:pt x="121" y="141"/>
                    <a:pt x="133" y="132"/>
                    <a:pt x="133" y="132"/>
                  </a:cubicBezTo>
                  <a:cubicBezTo>
                    <a:pt x="135" y="105"/>
                    <a:pt x="135" y="105"/>
                    <a:pt x="135" y="105"/>
                  </a:cubicBezTo>
                  <a:cubicBezTo>
                    <a:pt x="135" y="105"/>
                    <a:pt x="146" y="102"/>
                    <a:pt x="148" y="95"/>
                  </a:cubicBezTo>
                  <a:cubicBezTo>
                    <a:pt x="150" y="88"/>
                    <a:pt x="144" y="85"/>
                    <a:pt x="144" y="85"/>
                  </a:cubicBezTo>
                  <a:cubicBezTo>
                    <a:pt x="144" y="85"/>
                    <a:pt x="145" y="82"/>
                    <a:pt x="145" y="76"/>
                  </a:cubicBezTo>
                  <a:cubicBezTo>
                    <a:pt x="145" y="70"/>
                    <a:pt x="130" y="58"/>
                    <a:pt x="131" y="51"/>
                  </a:cubicBezTo>
                  <a:cubicBezTo>
                    <a:pt x="132" y="44"/>
                    <a:pt x="139" y="31"/>
                    <a:pt x="139" y="31"/>
                  </a:cubicBezTo>
                  <a:cubicBezTo>
                    <a:pt x="139" y="31"/>
                    <a:pt x="123" y="25"/>
                    <a:pt x="118" y="22"/>
                  </a:cubicBezTo>
                  <a:cubicBezTo>
                    <a:pt x="113" y="19"/>
                    <a:pt x="96" y="0"/>
                    <a:pt x="96" y="0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67" y="40"/>
                    <a:pt x="63" y="43"/>
                  </a:cubicBezTo>
                  <a:cubicBezTo>
                    <a:pt x="59" y="46"/>
                    <a:pt x="58" y="53"/>
                    <a:pt x="58" y="53"/>
                  </a:cubicBezTo>
                  <a:cubicBezTo>
                    <a:pt x="58" y="53"/>
                    <a:pt x="32" y="52"/>
                    <a:pt x="32" y="51"/>
                  </a:cubicBezTo>
                  <a:cubicBezTo>
                    <a:pt x="21" y="56"/>
                    <a:pt x="19" y="70"/>
                    <a:pt x="19" y="70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26" y="123"/>
                    <a:pt x="28" y="131"/>
                  </a:cubicBezTo>
                  <a:cubicBezTo>
                    <a:pt x="30" y="139"/>
                    <a:pt x="28" y="162"/>
                    <a:pt x="28" y="162"/>
                  </a:cubicBezTo>
                  <a:cubicBezTo>
                    <a:pt x="28" y="162"/>
                    <a:pt x="41" y="171"/>
                    <a:pt x="40" y="179"/>
                  </a:cubicBezTo>
                  <a:cubicBezTo>
                    <a:pt x="39" y="187"/>
                    <a:pt x="44" y="206"/>
                    <a:pt x="44" y="206"/>
                  </a:cubicBezTo>
                  <a:cubicBezTo>
                    <a:pt x="39" y="214"/>
                    <a:pt x="39" y="214"/>
                    <a:pt x="39" y="214"/>
                  </a:cubicBezTo>
                  <a:cubicBezTo>
                    <a:pt x="38" y="253"/>
                    <a:pt x="38" y="253"/>
                    <a:pt x="38" y="253"/>
                  </a:cubicBezTo>
                  <a:cubicBezTo>
                    <a:pt x="44" y="259"/>
                    <a:pt x="44" y="259"/>
                    <a:pt x="44" y="259"/>
                  </a:cubicBezTo>
                  <a:cubicBezTo>
                    <a:pt x="39" y="266"/>
                    <a:pt x="39" y="266"/>
                    <a:pt x="39" y="266"/>
                  </a:cubicBezTo>
                  <a:cubicBezTo>
                    <a:pt x="41" y="310"/>
                    <a:pt x="41" y="310"/>
                    <a:pt x="41" y="310"/>
                  </a:cubicBezTo>
                  <a:cubicBezTo>
                    <a:pt x="41" y="310"/>
                    <a:pt x="50" y="319"/>
                    <a:pt x="50" y="329"/>
                  </a:cubicBezTo>
                  <a:cubicBezTo>
                    <a:pt x="50" y="329"/>
                    <a:pt x="50" y="329"/>
                    <a:pt x="50" y="329"/>
                  </a:cubicBezTo>
                  <a:cubicBezTo>
                    <a:pt x="61" y="330"/>
                    <a:pt x="73" y="332"/>
                    <a:pt x="73" y="332"/>
                  </a:cubicBezTo>
                  <a:cubicBezTo>
                    <a:pt x="81" y="318"/>
                    <a:pt x="81" y="318"/>
                    <a:pt x="81" y="318"/>
                  </a:cubicBezTo>
                  <a:cubicBezTo>
                    <a:pt x="81" y="318"/>
                    <a:pt x="85" y="320"/>
                    <a:pt x="91" y="323"/>
                  </a:cubicBezTo>
                  <a:cubicBezTo>
                    <a:pt x="95" y="306"/>
                    <a:pt x="95" y="306"/>
                    <a:pt x="95" y="306"/>
                  </a:cubicBezTo>
                  <a:lnTo>
                    <a:pt x="94" y="247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18" name="Freeform 298">
              <a:extLst>
                <a:ext uri="{FF2B5EF4-FFF2-40B4-BE49-F238E27FC236}">
                  <a16:creationId xmlns:a16="http://schemas.microsoft.com/office/drawing/2014/main" id="{25766F1A-0173-2F7A-A3DF-BEF2C38607D4}"/>
                </a:ext>
              </a:extLst>
            </p:cNvPr>
            <p:cNvSpPr>
              <a:spLocks/>
            </p:cNvSpPr>
            <p:nvPr/>
          </p:nvSpPr>
          <p:spPr bwMode="gray">
            <a:xfrm>
              <a:off x="-6159" y="-11742"/>
              <a:ext cx="1340" cy="1207"/>
            </a:xfrm>
            <a:custGeom>
              <a:avLst/>
              <a:gdLst>
                <a:gd name="T0" fmla="*/ 290 w 567"/>
                <a:gd name="T1" fmla="*/ 469 h 511"/>
                <a:gd name="T2" fmla="*/ 333 w 567"/>
                <a:gd name="T3" fmla="*/ 394 h 511"/>
                <a:gd name="T4" fmla="*/ 372 w 567"/>
                <a:gd name="T5" fmla="*/ 375 h 511"/>
                <a:gd name="T6" fmla="*/ 396 w 567"/>
                <a:gd name="T7" fmla="*/ 383 h 511"/>
                <a:gd name="T8" fmla="*/ 417 w 567"/>
                <a:gd name="T9" fmla="*/ 378 h 511"/>
                <a:gd name="T10" fmla="*/ 434 w 567"/>
                <a:gd name="T11" fmla="*/ 343 h 511"/>
                <a:gd name="T12" fmla="*/ 458 w 567"/>
                <a:gd name="T13" fmla="*/ 291 h 511"/>
                <a:gd name="T14" fmla="*/ 484 w 567"/>
                <a:gd name="T15" fmla="*/ 239 h 511"/>
                <a:gd name="T16" fmla="*/ 504 w 567"/>
                <a:gd name="T17" fmla="*/ 200 h 511"/>
                <a:gd name="T18" fmla="*/ 513 w 567"/>
                <a:gd name="T19" fmla="*/ 177 h 511"/>
                <a:gd name="T20" fmla="*/ 533 w 567"/>
                <a:gd name="T21" fmla="*/ 141 h 511"/>
                <a:gd name="T22" fmla="*/ 559 w 567"/>
                <a:gd name="T23" fmla="*/ 111 h 511"/>
                <a:gd name="T24" fmla="*/ 540 w 567"/>
                <a:gd name="T25" fmla="*/ 84 h 511"/>
                <a:gd name="T26" fmla="*/ 517 w 567"/>
                <a:gd name="T27" fmla="*/ 8 h 511"/>
                <a:gd name="T28" fmla="*/ 499 w 567"/>
                <a:gd name="T29" fmla="*/ 22 h 511"/>
                <a:gd name="T30" fmla="*/ 458 w 567"/>
                <a:gd name="T31" fmla="*/ 40 h 511"/>
                <a:gd name="T32" fmla="*/ 382 w 567"/>
                <a:gd name="T33" fmla="*/ 25 h 511"/>
                <a:gd name="T34" fmla="*/ 293 w 567"/>
                <a:gd name="T35" fmla="*/ 55 h 511"/>
                <a:gd name="T36" fmla="*/ 205 w 567"/>
                <a:gd name="T37" fmla="*/ 47 h 511"/>
                <a:gd name="T38" fmla="*/ 174 w 567"/>
                <a:gd name="T39" fmla="*/ 12 h 511"/>
                <a:gd name="T40" fmla="*/ 135 w 567"/>
                <a:gd name="T41" fmla="*/ 1 h 511"/>
                <a:gd name="T42" fmla="*/ 88 w 567"/>
                <a:gd name="T43" fmla="*/ 7 h 511"/>
                <a:gd name="T44" fmla="*/ 68 w 567"/>
                <a:gd name="T45" fmla="*/ 50 h 511"/>
                <a:gd name="T46" fmla="*/ 48 w 567"/>
                <a:gd name="T47" fmla="*/ 110 h 511"/>
                <a:gd name="T48" fmla="*/ 54 w 567"/>
                <a:gd name="T49" fmla="*/ 155 h 511"/>
                <a:gd name="T50" fmla="*/ 57 w 567"/>
                <a:gd name="T51" fmla="*/ 174 h 511"/>
                <a:gd name="T52" fmla="*/ 42 w 567"/>
                <a:gd name="T53" fmla="*/ 211 h 511"/>
                <a:gd name="T54" fmla="*/ 21 w 567"/>
                <a:gd name="T55" fmla="*/ 256 h 511"/>
                <a:gd name="T56" fmla="*/ 3 w 567"/>
                <a:gd name="T57" fmla="*/ 285 h 511"/>
                <a:gd name="T58" fmla="*/ 3 w 567"/>
                <a:gd name="T59" fmla="*/ 326 h 511"/>
                <a:gd name="T60" fmla="*/ 0 w 567"/>
                <a:gd name="T61" fmla="*/ 402 h 511"/>
                <a:gd name="T62" fmla="*/ 44 w 567"/>
                <a:gd name="T63" fmla="*/ 394 h 511"/>
                <a:gd name="T64" fmla="*/ 96 w 567"/>
                <a:gd name="T65" fmla="*/ 413 h 511"/>
                <a:gd name="T66" fmla="*/ 127 w 567"/>
                <a:gd name="T67" fmla="*/ 440 h 511"/>
                <a:gd name="T68" fmla="*/ 133 w 567"/>
                <a:gd name="T69" fmla="*/ 453 h 511"/>
                <a:gd name="T70" fmla="*/ 157 w 567"/>
                <a:gd name="T71" fmla="*/ 510 h 511"/>
                <a:gd name="T72" fmla="*/ 194 w 567"/>
                <a:gd name="T73" fmla="*/ 491 h 511"/>
                <a:gd name="T74" fmla="*/ 228 w 567"/>
                <a:gd name="T75" fmla="*/ 496 h 511"/>
                <a:gd name="T76" fmla="*/ 265 w 567"/>
                <a:gd name="T77" fmla="*/ 504 h 511"/>
                <a:gd name="T78" fmla="*/ 282 w 567"/>
                <a:gd name="T79" fmla="*/ 48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67" h="511">
                  <a:moveTo>
                    <a:pt x="281" y="490"/>
                  </a:moveTo>
                  <a:cubicBezTo>
                    <a:pt x="281" y="490"/>
                    <a:pt x="288" y="475"/>
                    <a:pt x="290" y="469"/>
                  </a:cubicBezTo>
                  <a:cubicBezTo>
                    <a:pt x="292" y="463"/>
                    <a:pt x="290" y="431"/>
                    <a:pt x="290" y="431"/>
                  </a:cubicBezTo>
                  <a:cubicBezTo>
                    <a:pt x="333" y="394"/>
                    <a:pt x="333" y="394"/>
                    <a:pt x="333" y="394"/>
                  </a:cubicBezTo>
                  <a:cubicBezTo>
                    <a:pt x="333" y="394"/>
                    <a:pt x="343" y="374"/>
                    <a:pt x="349" y="369"/>
                  </a:cubicBezTo>
                  <a:cubicBezTo>
                    <a:pt x="355" y="364"/>
                    <a:pt x="363" y="377"/>
                    <a:pt x="372" y="375"/>
                  </a:cubicBezTo>
                  <a:cubicBezTo>
                    <a:pt x="381" y="373"/>
                    <a:pt x="368" y="359"/>
                    <a:pt x="375" y="359"/>
                  </a:cubicBezTo>
                  <a:cubicBezTo>
                    <a:pt x="382" y="359"/>
                    <a:pt x="396" y="383"/>
                    <a:pt x="396" y="383"/>
                  </a:cubicBezTo>
                  <a:cubicBezTo>
                    <a:pt x="396" y="383"/>
                    <a:pt x="393" y="399"/>
                    <a:pt x="405" y="399"/>
                  </a:cubicBezTo>
                  <a:cubicBezTo>
                    <a:pt x="417" y="399"/>
                    <a:pt x="417" y="378"/>
                    <a:pt x="417" y="378"/>
                  </a:cubicBezTo>
                  <a:cubicBezTo>
                    <a:pt x="417" y="378"/>
                    <a:pt x="428" y="369"/>
                    <a:pt x="433" y="363"/>
                  </a:cubicBezTo>
                  <a:cubicBezTo>
                    <a:pt x="438" y="357"/>
                    <a:pt x="434" y="343"/>
                    <a:pt x="434" y="343"/>
                  </a:cubicBezTo>
                  <a:cubicBezTo>
                    <a:pt x="450" y="323"/>
                    <a:pt x="450" y="323"/>
                    <a:pt x="450" y="323"/>
                  </a:cubicBezTo>
                  <a:cubicBezTo>
                    <a:pt x="458" y="291"/>
                    <a:pt x="458" y="291"/>
                    <a:pt x="458" y="291"/>
                  </a:cubicBezTo>
                  <a:cubicBezTo>
                    <a:pt x="458" y="291"/>
                    <a:pt x="477" y="284"/>
                    <a:pt x="482" y="274"/>
                  </a:cubicBezTo>
                  <a:cubicBezTo>
                    <a:pt x="487" y="264"/>
                    <a:pt x="482" y="246"/>
                    <a:pt x="484" y="239"/>
                  </a:cubicBezTo>
                  <a:cubicBezTo>
                    <a:pt x="486" y="232"/>
                    <a:pt x="496" y="239"/>
                    <a:pt x="501" y="230"/>
                  </a:cubicBezTo>
                  <a:cubicBezTo>
                    <a:pt x="506" y="221"/>
                    <a:pt x="504" y="200"/>
                    <a:pt x="504" y="200"/>
                  </a:cubicBezTo>
                  <a:cubicBezTo>
                    <a:pt x="511" y="196"/>
                    <a:pt x="511" y="196"/>
                    <a:pt x="511" y="196"/>
                  </a:cubicBezTo>
                  <a:cubicBezTo>
                    <a:pt x="513" y="177"/>
                    <a:pt x="513" y="177"/>
                    <a:pt x="513" y="177"/>
                  </a:cubicBezTo>
                  <a:cubicBezTo>
                    <a:pt x="513" y="177"/>
                    <a:pt x="523" y="164"/>
                    <a:pt x="524" y="161"/>
                  </a:cubicBezTo>
                  <a:cubicBezTo>
                    <a:pt x="525" y="158"/>
                    <a:pt x="533" y="141"/>
                    <a:pt x="533" y="141"/>
                  </a:cubicBezTo>
                  <a:cubicBezTo>
                    <a:pt x="533" y="141"/>
                    <a:pt x="547" y="138"/>
                    <a:pt x="557" y="129"/>
                  </a:cubicBezTo>
                  <a:cubicBezTo>
                    <a:pt x="567" y="120"/>
                    <a:pt x="559" y="111"/>
                    <a:pt x="559" y="111"/>
                  </a:cubicBezTo>
                  <a:cubicBezTo>
                    <a:pt x="559" y="111"/>
                    <a:pt x="563" y="98"/>
                    <a:pt x="562" y="87"/>
                  </a:cubicBezTo>
                  <a:cubicBezTo>
                    <a:pt x="561" y="76"/>
                    <a:pt x="542" y="87"/>
                    <a:pt x="540" y="84"/>
                  </a:cubicBezTo>
                  <a:cubicBezTo>
                    <a:pt x="538" y="81"/>
                    <a:pt x="536" y="40"/>
                    <a:pt x="536" y="40"/>
                  </a:cubicBezTo>
                  <a:cubicBezTo>
                    <a:pt x="517" y="8"/>
                    <a:pt x="517" y="8"/>
                    <a:pt x="517" y="8"/>
                  </a:cubicBezTo>
                  <a:cubicBezTo>
                    <a:pt x="517" y="8"/>
                    <a:pt x="511" y="8"/>
                    <a:pt x="507" y="8"/>
                  </a:cubicBezTo>
                  <a:cubicBezTo>
                    <a:pt x="503" y="8"/>
                    <a:pt x="499" y="22"/>
                    <a:pt x="499" y="22"/>
                  </a:cubicBezTo>
                  <a:cubicBezTo>
                    <a:pt x="499" y="22"/>
                    <a:pt x="490" y="19"/>
                    <a:pt x="483" y="23"/>
                  </a:cubicBezTo>
                  <a:cubicBezTo>
                    <a:pt x="476" y="27"/>
                    <a:pt x="458" y="40"/>
                    <a:pt x="458" y="40"/>
                  </a:cubicBezTo>
                  <a:cubicBezTo>
                    <a:pt x="440" y="39"/>
                    <a:pt x="440" y="39"/>
                    <a:pt x="440" y="39"/>
                  </a:cubicBezTo>
                  <a:cubicBezTo>
                    <a:pt x="440" y="39"/>
                    <a:pt x="424" y="25"/>
                    <a:pt x="382" y="25"/>
                  </a:cubicBezTo>
                  <a:cubicBezTo>
                    <a:pt x="340" y="25"/>
                    <a:pt x="328" y="60"/>
                    <a:pt x="328" y="60"/>
                  </a:cubicBezTo>
                  <a:cubicBezTo>
                    <a:pt x="328" y="60"/>
                    <a:pt x="312" y="56"/>
                    <a:pt x="293" y="55"/>
                  </a:cubicBezTo>
                  <a:cubicBezTo>
                    <a:pt x="274" y="54"/>
                    <a:pt x="262" y="26"/>
                    <a:pt x="250" y="26"/>
                  </a:cubicBezTo>
                  <a:cubicBezTo>
                    <a:pt x="238" y="26"/>
                    <a:pt x="214" y="46"/>
                    <a:pt x="205" y="47"/>
                  </a:cubicBezTo>
                  <a:cubicBezTo>
                    <a:pt x="196" y="48"/>
                    <a:pt x="191" y="26"/>
                    <a:pt x="191" y="26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4" y="12"/>
                    <a:pt x="162" y="12"/>
                    <a:pt x="155" y="11"/>
                  </a:cubicBezTo>
                  <a:cubicBezTo>
                    <a:pt x="148" y="10"/>
                    <a:pt x="149" y="0"/>
                    <a:pt x="135" y="1"/>
                  </a:cubicBezTo>
                  <a:cubicBezTo>
                    <a:pt x="121" y="2"/>
                    <a:pt x="122" y="8"/>
                    <a:pt x="122" y="8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35"/>
                    <a:pt x="68" y="50"/>
                  </a:cubicBezTo>
                  <a:cubicBezTo>
                    <a:pt x="67" y="65"/>
                    <a:pt x="45" y="76"/>
                    <a:pt x="45" y="76"/>
                  </a:cubicBezTo>
                  <a:cubicBezTo>
                    <a:pt x="48" y="110"/>
                    <a:pt x="48" y="110"/>
                    <a:pt x="48" y="110"/>
                  </a:cubicBezTo>
                  <a:cubicBezTo>
                    <a:pt x="48" y="110"/>
                    <a:pt x="41" y="123"/>
                    <a:pt x="40" y="130"/>
                  </a:cubicBezTo>
                  <a:cubicBezTo>
                    <a:pt x="39" y="137"/>
                    <a:pt x="54" y="149"/>
                    <a:pt x="54" y="155"/>
                  </a:cubicBezTo>
                  <a:cubicBezTo>
                    <a:pt x="54" y="161"/>
                    <a:pt x="53" y="164"/>
                    <a:pt x="53" y="164"/>
                  </a:cubicBezTo>
                  <a:cubicBezTo>
                    <a:pt x="53" y="164"/>
                    <a:pt x="59" y="167"/>
                    <a:pt x="57" y="174"/>
                  </a:cubicBezTo>
                  <a:cubicBezTo>
                    <a:pt x="55" y="181"/>
                    <a:pt x="44" y="184"/>
                    <a:pt x="44" y="184"/>
                  </a:cubicBezTo>
                  <a:cubicBezTo>
                    <a:pt x="42" y="211"/>
                    <a:pt x="42" y="211"/>
                    <a:pt x="42" y="211"/>
                  </a:cubicBezTo>
                  <a:cubicBezTo>
                    <a:pt x="42" y="211"/>
                    <a:pt x="30" y="220"/>
                    <a:pt x="27" y="227"/>
                  </a:cubicBezTo>
                  <a:cubicBezTo>
                    <a:pt x="24" y="234"/>
                    <a:pt x="29" y="246"/>
                    <a:pt x="21" y="256"/>
                  </a:cubicBezTo>
                  <a:cubicBezTo>
                    <a:pt x="13" y="266"/>
                    <a:pt x="5" y="262"/>
                    <a:pt x="5" y="262"/>
                  </a:cubicBezTo>
                  <a:cubicBezTo>
                    <a:pt x="3" y="285"/>
                    <a:pt x="3" y="285"/>
                    <a:pt x="3" y="285"/>
                  </a:cubicBezTo>
                  <a:cubicBezTo>
                    <a:pt x="6" y="307"/>
                    <a:pt x="6" y="307"/>
                    <a:pt x="6" y="307"/>
                  </a:cubicBezTo>
                  <a:cubicBezTo>
                    <a:pt x="3" y="326"/>
                    <a:pt x="3" y="326"/>
                    <a:pt x="3" y="326"/>
                  </a:cubicBezTo>
                  <a:cubicBezTo>
                    <a:pt x="4" y="385"/>
                    <a:pt x="4" y="385"/>
                    <a:pt x="4" y="385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7" y="405"/>
                    <a:pt x="17" y="408"/>
                    <a:pt x="23" y="406"/>
                  </a:cubicBezTo>
                  <a:cubicBezTo>
                    <a:pt x="34" y="402"/>
                    <a:pt x="44" y="394"/>
                    <a:pt x="44" y="394"/>
                  </a:cubicBezTo>
                  <a:cubicBezTo>
                    <a:pt x="47" y="401"/>
                    <a:pt x="47" y="401"/>
                    <a:pt x="47" y="401"/>
                  </a:cubicBezTo>
                  <a:cubicBezTo>
                    <a:pt x="47" y="401"/>
                    <a:pt x="80" y="394"/>
                    <a:pt x="96" y="413"/>
                  </a:cubicBezTo>
                  <a:cubicBezTo>
                    <a:pt x="112" y="432"/>
                    <a:pt x="113" y="441"/>
                    <a:pt x="113" y="441"/>
                  </a:cubicBezTo>
                  <a:cubicBezTo>
                    <a:pt x="127" y="440"/>
                    <a:pt x="127" y="440"/>
                    <a:pt x="127" y="440"/>
                  </a:cubicBezTo>
                  <a:cubicBezTo>
                    <a:pt x="127" y="440"/>
                    <a:pt x="117" y="455"/>
                    <a:pt x="120" y="456"/>
                  </a:cubicBezTo>
                  <a:cubicBezTo>
                    <a:pt x="123" y="457"/>
                    <a:pt x="133" y="450"/>
                    <a:pt x="133" y="453"/>
                  </a:cubicBezTo>
                  <a:cubicBezTo>
                    <a:pt x="133" y="456"/>
                    <a:pt x="128" y="464"/>
                    <a:pt x="128" y="472"/>
                  </a:cubicBezTo>
                  <a:cubicBezTo>
                    <a:pt x="128" y="480"/>
                    <a:pt x="136" y="509"/>
                    <a:pt x="157" y="510"/>
                  </a:cubicBezTo>
                  <a:cubicBezTo>
                    <a:pt x="178" y="511"/>
                    <a:pt x="191" y="509"/>
                    <a:pt x="191" y="509"/>
                  </a:cubicBezTo>
                  <a:cubicBezTo>
                    <a:pt x="194" y="491"/>
                    <a:pt x="194" y="491"/>
                    <a:pt x="194" y="491"/>
                  </a:cubicBezTo>
                  <a:cubicBezTo>
                    <a:pt x="212" y="501"/>
                    <a:pt x="212" y="501"/>
                    <a:pt x="212" y="501"/>
                  </a:cubicBezTo>
                  <a:cubicBezTo>
                    <a:pt x="228" y="496"/>
                    <a:pt x="228" y="496"/>
                    <a:pt x="228" y="496"/>
                  </a:cubicBezTo>
                  <a:cubicBezTo>
                    <a:pt x="237" y="505"/>
                    <a:pt x="237" y="505"/>
                    <a:pt x="237" y="505"/>
                  </a:cubicBezTo>
                  <a:cubicBezTo>
                    <a:pt x="265" y="504"/>
                    <a:pt x="265" y="504"/>
                    <a:pt x="265" y="504"/>
                  </a:cubicBezTo>
                  <a:cubicBezTo>
                    <a:pt x="265" y="488"/>
                    <a:pt x="265" y="488"/>
                    <a:pt x="265" y="488"/>
                  </a:cubicBezTo>
                  <a:cubicBezTo>
                    <a:pt x="282" y="487"/>
                    <a:pt x="282" y="487"/>
                    <a:pt x="282" y="487"/>
                  </a:cubicBezTo>
                  <a:cubicBezTo>
                    <a:pt x="281" y="490"/>
                    <a:pt x="281" y="490"/>
                    <a:pt x="281" y="49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19" name="Freeform 299">
              <a:extLst>
                <a:ext uri="{FF2B5EF4-FFF2-40B4-BE49-F238E27FC236}">
                  <a16:creationId xmlns:a16="http://schemas.microsoft.com/office/drawing/2014/main" id="{80DE3666-8437-E107-40C1-C296D235A465}"/>
                </a:ext>
              </a:extLst>
            </p:cNvPr>
            <p:cNvSpPr>
              <a:spLocks/>
            </p:cNvSpPr>
            <p:nvPr/>
          </p:nvSpPr>
          <p:spPr bwMode="gray">
            <a:xfrm>
              <a:off x="-4961" y="-12966"/>
              <a:ext cx="1172" cy="2046"/>
            </a:xfrm>
            <a:custGeom>
              <a:avLst/>
              <a:gdLst>
                <a:gd name="T0" fmla="*/ 496 w 496"/>
                <a:gd name="T1" fmla="*/ 420 h 866"/>
                <a:gd name="T2" fmla="*/ 119 w 496"/>
                <a:gd name="T3" fmla="*/ 0 h 866"/>
                <a:gd name="T4" fmla="*/ 83 w 496"/>
                <a:gd name="T5" fmla="*/ 72 h 866"/>
                <a:gd name="T6" fmla="*/ 95 w 496"/>
                <a:gd name="T7" fmla="*/ 129 h 866"/>
                <a:gd name="T8" fmla="*/ 120 w 496"/>
                <a:gd name="T9" fmla="*/ 169 h 866"/>
                <a:gd name="T10" fmla="*/ 96 w 496"/>
                <a:gd name="T11" fmla="*/ 356 h 866"/>
                <a:gd name="T12" fmla="*/ 13 w 496"/>
                <a:gd name="T13" fmla="*/ 479 h 866"/>
                <a:gd name="T14" fmla="*/ 3 w 496"/>
                <a:gd name="T15" fmla="*/ 526 h 866"/>
                <a:gd name="T16" fmla="*/ 29 w 496"/>
                <a:gd name="T17" fmla="*/ 558 h 866"/>
                <a:gd name="T18" fmla="*/ 29 w 496"/>
                <a:gd name="T19" fmla="*/ 561 h 866"/>
                <a:gd name="T20" fmla="*/ 50 w 496"/>
                <a:gd name="T21" fmla="*/ 576 h 866"/>
                <a:gd name="T22" fmla="*/ 66 w 496"/>
                <a:gd name="T23" fmla="*/ 611 h 866"/>
                <a:gd name="T24" fmla="*/ 74 w 496"/>
                <a:gd name="T25" fmla="*/ 650 h 866"/>
                <a:gd name="T26" fmla="*/ 106 w 496"/>
                <a:gd name="T27" fmla="*/ 724 h 866"/>
                <a:gd name="T28" fmla="*/ 31 w 496"/>
                <a:gd name="T29" fmla="*/ 733 h 866"/>
                <a:gd name="T30" fmla="*/ 87 w 496"/>
                <a:gd name="T31" fmla="*/ 802 h 866"/>
                <a:gd name="T32" fmla="*/ 123 w 496"/>
                <a:gd name="T33" fmla="*/ 860 h 866"/>
                <a:gd name="T34" fmla="*/ 165 w 496"/>
                <a:gd name="T35" fmla="*/ 858 h 866"/>
                <a:gd name="T36" fmla="*/ 248 w 496"/>
                <a:gd name="T37" fmla="*/ 833 h 866"/>
                <a:gd name="T38" fmla="*/ 253 w 496"/>
                <a:gd name="T39" fmla="*/ 788 h 866"/>
                <a:gd name="T40" fmla="*/ 338 w 496"/>
                <a:gd name="T41" fmla="*/ 765 h 866"/>
                <a:gd name="T42" fmla="*/ 378 w 496"/>
                <a:gd name="T43" fmla="*/ 723 h 866"/>
                <a:gd name="T44" fmla="*/ 393 w 496"/>
                <a:gd name="T45" fmla="*/ 691 h 866"/>
                <a:gd name="T46" fmla="*/ 446 w 496"/>
                <a:gd name="T47" fmla="*/ 674 h 866"/>
                <a:gd name="T48" fmla="*/ 451 w 496"/>
                <a:gd name="T49" fmla="*/ 656 h 866"/>
                <a:gd name="T50" fmla="*/ 426 w 496"/>
                <a:gd name="T51" fmla="*/ 625 h 866"/>
                <a:gd name="T52" fmla="*/ 428 w 496"/>
                <a:gd name="T53" fmla="*/ 612 h 866"/>
                <a:gd name="T54" fmla="*/ 406 w 496"/>
                <a:gd name="T55" fmla="*/ 587 h 866"/>
                <a:gd name="T56" fmla="*/ 417 w 496"/>
                <a:gd name="T57" fmla="*/ 549 h 866"/>
                <a:gd name="T58" fmla="*/ 419 w 496"/>
                <a:gd name="T59" fmla="*/ 508 h 866"/>
                <a:gd name="T60" fmla="*/ 425 w 496"/>
                <a:gd name="T61" fmla="*/ 490 h 866"/>
                <a:gd name="T62" fmla="*/ 432 w 496"/>
                <a:gd name="T63" fmla="*/ 474 h 866"/>
                <a:gd name="T64" fmla="*/ 449 w 496"/>
                <a:gd name="T65" fmla="*/ 442 h 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96" h="866">
                  <a:moveTo>
                    <a:pt x="451" y="419"/>
                  </a:moveTo>
                  <a:cubicBezTo>
                    <a:pt x="464" y="415"/>
                    <a:pt x="496" y="420"/>
                    <a:pt x="496" y="420"/>
                  </a:cubicBezTo>
                  <a:cubicBezTo>
                    <a:pt x="492" y="216"/>
                    <a:pt x="492" y="216"/>
                    <a:pt x="492" y="216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94" y="15"/>
                    <a:pt x="71" y="28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95" y="129"/>
                    <a:pt x="95" y="129"/>
                    <a:pt x="95" y="129"/>
                  </a:cubicBezTo>
                  <a:cubicBezTo>
                    <a:pt x="100" y="145"/>
                    <a:pt x="100" y="145"/>
                    <a:pt x="100" y="145"/>
                  </a:cubicBezTo>
                  <a:cubicBezTo>
                    <a:pt x="120" y="169"/>
                    <a:pt x="120" y="169"/>
                    <a:pt x="120" y="169"/>
                  </a:cubicBezTo>
                  <a:cubicBezTo>
                    <a:pt x="106" y="194"/>
                    <a:pt x="106" y="194"/>
                    <a:pt x="106" y="194"/>
                  </a:cubicBezTo>
                  <a:cubicBezTo>
                    <a:pt x="96" y="356"/>
                    <a:pt x="96" y="356"/>
                    <a:pt x="96" y="356"/>
                  </a:cubicBezTo>
                  <a:cubicBezTo>
                    <a:pt x="96" y="356"/>
                    <a:pt x="46" y="409"/>
                    <a:pt x="35" y="426"/>
                  </a:cubicBezTo>
                  <a:cubicBezTo>
                    <a:pt x="23" y="442"/>
                    <a:pt x="13" y="479"/>
                    <a:pt x="13" y="479"/>
                  </a:cubicBezTo>
                  <a:cubicBezTo>
                    <a:pt x="0" y="484"/>
                    <a:pt x="0" y="484"/>
                    <a:pt x="0" y="484"/>
                  </a:cubicBezTo>
                  <a:cubicBezTo>
                    <a:pt x="3" y="526"/>
                    <a:pt x="3" y="526"/>
                    <a:pt x="3" y="526"/>
                  </a:cubicBezTo>
                  <a:cubicBezTo>
                    <a:pt x="7" y="526"/>
                    <a:pt x="10" y="526"/>
                    <a:pt x="10" y="526"/>
                  </a:cubicBezTo>
                  <a:cubicBezTo>
                    <a:pt x="29" y="558"/>
                    <a:pt x="29" y="558"/>
                    <a:pt x="29" y="558"/>
                  </a:cubicBezTo>
                  <a:cubicBezTo>
                    <a:pt x="29" y="558"/>
                    <a:pt x="29" y="560"/>
                    <a:pt x="29" y="563"/>
                  </a:cubicBezTo>
                  <a:cubicBezTo>
                    <a:pt x="29" y="562"/>
                    <a:pt x="29" y="561"/>
                    <a:pt x="29" y="561"/>
                  </a:cubicBezTo>
                  <a:cubicBezTo>
                    <a:pt x="45" y="559"/>
                    <a:pt x="45" y="559"/>
                    <a:pt x="45" y="559"/>
                  </a:cubicBezTo>
                  <a:cubicBezTo>
                    <a:pt x="45" y="559"/>
                    <a:pt x="46" y="571"/>
                    <a:pt x="50" y="576"/>
                  </a:cubicBezTo>
                  <a:cubicBezTo>
                    <a:pt x="54" y="581"/>
                    <a:pt x="70" y="584"/>
                    <a:pt x="70" y="584"/>
                  </a:cubicBezTo>
                  <a:cubicBezTo>
                    <a:pt x="66" y="611"/>
                    <a:pt x="66" y="611"/>
                    <a:pt x="66" y="611"/>
                  </a:cubicBezTo>
                  <a:cubicBezTo>
                    <a:pt x="66" y="611"/>
                    <a:pt x="80" y="618"/>
                    <a:pt x="80" y="629"/>
                  </a:cubicBezTo>
                  <a:cubicBezTo>
                    <a:pt x="80" y="640"/>
                    <a:pt x="74" y="650"/>
                    <a:pt x="74" y="650"/>
                  </a:cubicBezTo>
                  <a:cubicBezTo>
                    <a:pt x="74" y="650"/>
                    <a:pt x="75" y="678"/>
                    <a:pt x="80" y="692"/>
                  </a:cubicBezTo>
                  <a:cubicBezTo>
                    <a:pt x="85" y="706"/>
                    <a:pt x="106" y="724"/>
                    <a:pt x="106" y="724"/>
                  </a:cubicBezTo>
                  <a:cubicBezTo>
                    <a:pt x="106" y="724"/>
                    <a:pt x="92" y="725"/>
                    <a:pt x="84" y="726"/>
                  </a:cubicBezTo>
                  <a:cubicBezTo>
                    <a:pt x="76" y="727"/>
                    <a:pt x="36" y="720"/>
                    <a:pt x="31" y="733"/>
                  </a:cubicBezTo>
                  <a:cubicBezTo>
                    <a:pt x="26" y="746"/>
                    <a:pt x="41" y="767"/>
                    <a:pt x="49" y="775"/>
                  </a:cubicBezTo>
                  <a:cubicBezTo>
                    <a:pt x="57" y="783"/>
                    <a:pt x="78" y="792"/>
                    <a:pt x="87" y="802"/>
                  </a:cubicBezTo>
                  <a:cubicBezTo>
                    <a:pt x="96" y="812"/>
                    <a:pt x="101" y="859"/>
                    <a:pt x="101" y="859"/>
                  </a:cubicBezTo>
                  <a:cubicBezTo>
                    <a:pt x="101" y="859"/>
                    <a:pt x="113" y="866"/>
                    <a:pt x="123" y="860"/>
                  </a:cubicBezTo>
                  <a:cubicBezTo>
                    <a:pt x="133" y="853"/>
                    <a:pt x="153" y="838"/>
                    <a:pt x="153" y="838"/>
                  </a:cubicBezTo>
                  <a:cubicBezTo>
                    <a:pt x="153" y="838"/>
                    <a:pt x="146" y="863"/>
                    <a:pt x="165" y="858"/>
                  </a:cubicBezTo>
                  <a:cubicBezTo>
                    <a:pt x="183" y="853"/>
                    <a:pt x="178" y="833"/>
                    <a:pt x="196" y="833"/>
                  </a:cubicBezTo>
                  <a:cubicBezTo>
                    <a:pt x="215" y="833"/>
                    <a:pt x="248" y="833"/>
                    <a:pt x="248" y="833"/>
                  </a:cubicBezTo>
                  <a:cubicBezTo>
                    <a:pt x="248" y="833"/>
                    <a:pt x="263" y="811"/>
                    <a:pt x="268" y="805"/>
                  </a:cubicBezTo>
                  <a:cubicBezTo>
                    <a:pt x="273" y="798"/>
                    <a:pt x="253" y="788"/>
                    <a:pt x="253" y="788"/>
                  </a:cubicBezTo>
                  <a:cubicBezTo>
                    <a:pt x="267" y="780"/>
                    <a:pt x="267" y="780"/>
                    <a:pt x="267" y="780"/>
                  </a:cubicBezTo>
                  <a:cubicBezTo>
                    <a:pt x="267" y="780"/>
                    <a:pt x="307" y="780"/>
                    <a:pt x="338" y="765"/>
                  </a:cubicBezTo>
                  <a:cubicBezTo>
                    <a:pt x="370" y="750"/>
                    <a:pt x="365" y="728"/>
                    <a:pt x="365" y="728"/>
                  </a:cubicBezTo>
                  <a:cubicBezTo>
                    <a:pt x="378" y="723"/>
                    <a:pt x="378" y="723"/>
                    <a:pt x="378" y="723"/>
                  </a:cubicBezTo>
                  <a:cubicBezTo>
                    <a:pt x="390" y="711"/>
                    <a:pt x="390" y="711"/>
                    <a:pt x="390" y="71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430" y="673"/>
                    <a:pt x="430" y="673"/>
                    <a:pt x="430" y="673"/>
                  </a:cubicBezTo>
                  <a:cubicBezTo>
                    <a:pt x="446" y="674"/>
                    <a:pt x="446" y="674"/>
                    <a:pt x="446" y="674"/>
                  </a:cubicBezTo>
                  <a:cubicBezTo>
                    <a:pt x="445" y="665"/>
                    <a:pt x="445" y="665"/>
                    <a:pt x="445" y="665"/>
                  </a:cubicBezTo>
                  <a:cubicBezTo>
                    <a:pt x="445" y="665"/>
                    <a:pt x="463" y="669"/>
                    <a:pt x="451" y="656"/>
                  </a:cubicBezTo>
                  <a:cubicBezTo>
                    <a:pt x="439" y="643"/>
                    <a:pt x="430" y="642"/>
                    <a:pt x="430" y="642"/>
                  </a:cubicBezTo>
                  <a:cubicBezTo>
                    <a:pt x="426" y="625"/>
                    <a:pt x="426" y="625"/>
                    <a:pt x="426" y="625"/>
                  </a:cubicBezTo>
                  <a:cubicBezTo>
                    <a:pt x="437" y="620"/>
                    <a:pt x="437" y="620"/>
                    <a:pt x="437" y="620"/>
                  </a:cubicBezTo>
                  <a:cubicBezTo>
                    <a:pt x="428" y="612"/>
                    <a:pt x="428" y="612"/>
                    <a:pt x="428" y="612"/>
                  </a:cubicBezTo>
                  <a:cubicBezTo>
                    <a:pt x="428" y="612"/>
                    <a:pt x="430" y="585"/>
                    <a:pt x="423" y="582"/>
                  </a:cubicBezTo>
                  <a:cubicBezTo>
                    <a:pt x="416" y="579"/>
                    <a:pt x="411" y="589"/>
                    <a:pt x="406" y="587"/>
                  </a:cubicBezTo>
                  <a:cubicBezTo>
                    <a:pt x="401" y="585"/>
                    <a:pt x="395" y="580"/>
                    <a:pt x="398" y="569"/>
                  </a:cubicBezTo>
                  <a:cubicBezTo>
                    <a:pt x="401" y="558"/>
                    <a:pt x="415" y="558"/>
                    <a:pt x="417" y="549"/>
                  </a:cubicBezTo>
                  <a:cubicBezTo>
                    <a:pt x="419" y="540"/>
                    <a:pt x="416" y="536"/>
                    <a:pt x="410" y="526"/>
                  </a:cubicBezTo>
                  <a:cubicBezTo>
                    <a:pt x="404" y="516"/>
                    <a:pt x="419" y="508"/>
                    <a:pt x="419" y="508"/>
                  </a:cubicBezTo>
                  <a:cubicBezTo>
                    <a:pt x="430" y="501"/>
                    <a:pt x="430" y="501"/>
                    <a:pt x="430" y="501"/>
                  </a:cubicBezTo>
                  <a:cubicBezTo>
                    <a:pt x="425" y="490"/>
                    <a:pt x="425" y="490"/>
                    <a:pt x="425" y="490"/>
                  </a:cubicBezTo>
                  <a:cubicBezTo>
                    <a:pt x="422" y="474"/>
                    <a:pt x="422" y="474"/>
                    <a:pt x="422" y="474"/>
                  </a:cubicBezTo>
                  <a:cubicBezTo>
                    <a:pt x="432" y="474"/>
                    <a:pt x="432" y="474"/>
                    <a:pt x="432" y="474"/>
                  </a:cubicBezTo>
                  <a:cubicBezTo>
                    <a:pt x="432" y="474"/>
                    <a:pt x="430" y="462"/>
                    <a:pt x="436" y="456"/>
                  </a:cubicBezTo>
                  <a:cubicBezTo>
                    <a:pt x="442" y="450"/>
                    <a:pt x="451" y="450"/>
                    <a:pt x="449" y="442"/>
                  </a:cubicBezTo>
                  <a:cubicBezTo>
                    <a:pt x="447" y="434"/>
                    <a:pt x="438" y="423"/>
                    <a:pt x="451" y="419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20" name="Freeform 300">
              <a:extLst>
                <a:ext uri="{FF2B5EF4-FFF2-40B4-BE49-F238E27FC236}">
                  <a16:creationId xmlns:a16="http://schemas.microsoft.com/office/drawing/2014/main" id="{236654E2-66A7-6465-4E42-B11498297C5F}"/>
                </a:ext>
              </a:extLst>
            </p:cNvPr>
            <p:cNvSpPr>
              <a:spLocks/>
            </p:cNvSpPr>
            <p:nvPr/>
          </p:nvSpPr>
          <p:spPr bwMode="gray">
            <a:xfrm>
              <a:off x="-7817" y="-13159"/>
              <a:ext cx="1838" cy="1889"/>
            </a:xfrm>
            <a:custGeom>
              <a:avLst/>
              <a:gdLst>
                <a:gd name="T0" fmla="*/ 424 w 778"/>
                <a:gd name="T1" fmla="*/ 631 h 800"/>
                <a:gd name="T2" fmla="*/ 437 w 778"/>
                <a:gd name="T3" fmla="*/ 607 h 800"/>
                <a:gd name="T4" fmla="*/ 481 w 778"/>
                <a:gd name="T5" fmla="*/ 585 h 800"/>
                <a:gd name="T6" fmla="*/ 502 w 778"/>
                <a:gd name="T7" fmla="*/ 563 h 800"/>
                <a:gd name="T8" fmla="*/ 527 w 778"/>
                <a:gd name="T9" fmla="*/ 547 h 800"/>
                <a:gd name="T10" fmla="*/ 572 w 778"/>
                <a:gd name="T11" fmla="*/ 537 h 800"/>
                <a:gd name="T12" fmla="*/ 620 w 778"/>
                <a:gd name="T13" fmla="*/ 537 h 800"/>
                <a:gd name="T14" fmla="*/ 680 w 778"/>
                <a:gd name="T15" fmla="*/ 526 h 800"/>
                <a:gd name="T16" fmla="*/ 712 w 778"/>
                <a:gd name="T17" fmla="*/ 519 h 800"/>
                <a:gd name="T18" fmla="*/ 748 w 778"/>
                <a:gd name="T19" fmla="*/ 509 h 800"/>
                <a:gd name="T20" fmla="*/ 778 w 778"/>
                <a:gd name="T21" fmla="*/ 454 h 800"/>
                <a:gd name="T22" fmla="*/ 766 w 778"/>
                <a:gd name="T23" fmla="*/ 320 h 800"/>
                <a:gd name="T24" fmla="*/ 738 w 778"/>
                <a:gd name="T25" fmla="*/ 300 h 800"/>
                <a:gd name="T26" fmla="*/ 694 w 778"/>
                <a:gd name="T27" fmla="*/ 270 h 800"/>
                <a:gd name="T28" fmla="*/ 666 w 778"/>
                <a:gd name="T29" fmla="*/ 251 h 800"/>
                <a:gd name="T30" fmla="*/ 637 w 778"/>
                <a:gd name="T31" fmla="*/ 229 h 800"/>
                <a:gd name="T32" fmla="*/ 364 w 778"/>
                <a:gd name="T33" fmla="*/ 3 h 800"/>
                <a:gd name="T34" fmla="*/ 314 w 778"/>
                <a:gd name="T35" fmla="*/ 459 h 800"/>
                <a:gd name="T36" fmla="*/ 323 w 778"/>
                <a:gd name="T37" fmla="*/ 483 h 800"/>
                <a:gd name="T38" fmla="*/ 141 w 778"/>
                <a:gd name="T39" fmla="*/ 513 h 800"/>
                <a:gd name="T40" fmla="*/ 127 w 778"/>
                <a:gd name="T41" fmla="*/ 517 h 800"/>
                <a:gd name="T42" fmla="*/ 96 w 778"/>
                <a:gd name="T43" fmla="*/ 515 h 800"/>
                <a:gd name="T44" fmla="*/ 64 w 778"/>
                <a:gd name="T45" fmla="*/ 532 h 800"/>
                <a:gd name="T46" fmla="*/ 24 w 778"/>
                <a:gd name="T47" fmla="*/ 535 h 800"/>
                <a:gd name="T48" fmla="*/ 0 w 778"/>
                <a:gd name="T49" fmla="*/ 550 h 800"/>
                <a:gd name="T50" fmla="*/ 9 w 778"/>
                <a:gd name="T51" fmla="*/ 578 h 800"/>
                <a:gd name="T52" fmla="*/ 14 w 778"/>
                <a:gd name="T53" fmla="*/ 623 h 800"/>
                <a:gd name="T54" fmla="*/ 37 w 778"/>
                <a:gd name="T55" fmla="*/ 644 h 800"/>
                <a:gd name="T56" fmla="*/ 44 w 778"/>
                <a:gd name="T57" fmla="*/ 703 h 800"/>
                <a:gd name="T58" fmla="*/ 73 w 778"/>
                <a:gd name="T59" fmla="*/ 706 h 800"/>
                <a:gd name="T60" fmla="*/ 119 w 778"/>
                <a:gd name="T61" fmla="*/ 698 h 800"/>
                <a:gd name="T62" fmla="*/ 145 w 778"/>
                <a:gd name="T63" fmla="*/ 673 h 800"/>
                <a:gd name="T64" fmla="*/ 163 w 778"/>
                <a:gd name="T65" fmla="*/ 697 h 800"/>
                <a:gd name="T66" fmla="*/ 180 w 778"/>
                <a:gd name="T67" fmla="*/ 730 h 800"/>
                <a:gd name="T68" fmla="*/ 182 w 778"/>
                <a:gd name="T69" fmla="*/ 752 h 800"/>
                <a:gd name="T70" fmla="*/ 201 w 778"/>
                <a:gd name="T71" fmla="*/ 796 h 800"/>
                <a:gd name="T72" fmla="*/ 220 w 778"/>
                <a:gd name="T73" fmla="*/ 784 h 800"/>
                <a:gd name="T74" fmla="*/ 250 w 778"/>
                <a:gd name="T75" fmla="*/ 788 h 800"/>
                <a:gd name="T76" fmla="*/ 264 w 778"/>
                <a:gd name="T77" fmla="*/ 770 h 800"/>
                <a:gd name="T78" fmla="*/ 281 w 778"/>
                <a:gd name="T79" fmla="*/ 769 h 800"/>
                <a:gd name="T80" fmla="*/ 296 w 778"/>
                <a:gd name="T81" fmla="*/ 795 h 800"/>
                <a:gd name="T82" fmla="*/ 312 w 778"/>
                <a:gd name="T83" fmla="*/ 744 h 800"/>
                <a:gd name="T84" fmla="*/ 335 w 778"/>
                <a:gd name="T85" fmla="*/ 729 h 800"/>
                <a:gd name="T86" fmla="*/ 333 w 778"/>
                <a:gd name="T87" fmla="*/ 700 h 800"/>
                <a:gd name="T88" fmla="*/ 359 w 778"/>
                <a:gd name="T89" fmla="*/ 685 h 800"/>
                <a:gd name="T90" fmla="*/ 367 w 778"/>
                <a:gd name="T91" fmla="*/ 659 h 800"/>
                <a:gd name="T92" fmla="*/ 375 w 778"/>
                <a:gd name="T93" fmla="*/ 637 h 800"/>
                <a:gd name="T94" fmla="*/ 409 w 778"/>
                <a:gd name="T95" fmla="*/ 63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8" h="800">
                  <a:moveTo>
                    <a:pt x="409" y="636"/>
                  </a:moveTo>
                  <a:cubicBezTo>
                    <a:pt x="424" y="631"/>
                    <a:pt x="424" y="631"/>
                    <a:pt x="424" y="631"/>
                  </a:cubicBezTo>
                  <a:cubicBezTo>
                    <a:pt x="424" y="607"/>
                    <a:pt x="424" y="607"/>
                    <a:pt x="424" y="607"/>
                  </a:cubicBezTo>
                  <a:cubicBezTo>
                    <a:pt x="437" y="607"/>
                    <a:pt x="437" y="607"/>
                    <a:pt x="437" y="607"/>
                  </a:cubicBezTo>
                  <a:cubicBezTo>
                    <a:pt x="437" y="607"/>
                    <a:pt x="454" y="578"/>
                    <a:pt x="460" y="576"/>
                  </a:cubicBezTo>
                  <a:cubicBezTo>
                    <a:pt x="466" y="574"/>
                    <a:pt x="478" y="586"/>
                    <a:pt x="481" y="585"/>
                  </a:cubicBezTo>
                  <a:cubicBezTo>
                    <a:pt x="484" y="584"/>
                    <a:pt x="485" y="563"/>
                    <a:pt x="485" y="563"/>
                  </a:cubicBezTo>
                  <a:cubicBezTo>
                    <a:pt x="502" y="563"/>
                    <a:pt x="502" y="563"/>
                    <a:pt x="502" y="563"/>
                  </a:cubicBezTo>
                  <a:cubicBezTo>
                    <a:pt x="513" y="549"/>
                    <a:pt x="513" y="549"/>
                    <a:pt x="513" y="549"/>
                  </a:cubicBezTo>
                  <a:cubicBezTo>
                    <a:pt x="513" y="549"/>
                    <a:pt x="517" y="551"/>
                    <a:pt x="527" y="547"/>
                  </a:cubicBezTo>
                  <a:cubicBezTo>
                    <a:pt x="537" y="543"/>
                    <a:pt x="539" y="535"/>
                    <a:pt x="539" y="535"/>
                  </a:cubicBezTo>
                  <a:cubicBezTo>
                    <a:pt x="572" y="537"/>
                    <a:pt x="572" y="537"/>
                    <a:pt x="572" y="537"/>
                  </a:cubicBezTo>
                  <a:cubicBezTo>
                    <a:pt x="588" y="544"/>
                    <a:pt x="588" y="544"/>
                    <a:pt x="588" y="544"/>
                  </a:cubicBezTo>
                  <a:cubicBezTo>
                    <a:pt x="620" y="537"/>
                    <a:pt x="620" y="537"/>
                    <a:pt x="620" y="537"/>
                  </a:cubicBezTo>
                  <a:cubicBezTo>
                    <a:pt x="638" y="525"/>
                    <a:pt x="638" y="525"/>
                    <a:pt x="638" y="525"/>
                  </a:cubicBezTo>
                  <a:cubicBezTo>
                    <a:pt x="680" y="526"/>
                    <a:pt x="680" y="526"/>
                    <a:pt x="680" y="526"/>
                  </a:cubicBezTo>
                  <a:cubicBezTo>
                    <a:pt x="681" y="517"/>
                    <a:pt x="681" y="517"/>
                    <a:pt x="681" y="517"/>
                  </a:cubicBezTo>
                  <a:cubicBezTo>
                    <a:pt x="712" y="519"/>
                    <a:pt x="712" y="519"/>
                    <a:pt x="712" y="519"/>
                  </a:cubicBezTo>
                  <a:cubicBezTo>
                    <a:pt x="719" y="514"/>
                    <a:pt x="719" y="514"/>
                    <a:pt x="719" y="514"/>
                  </a:cubicBezTo>
                  <a:cubicBezTo>
                    <a:pt x="719" y="514"/>
                    <a:pt x="726" y="520"/>
                    <a:pt x="748" y="509"/>
                  </a:cubicBezTo>
                  <a:cubicBezTo>
                    <a:pt x="763" y="502"/>
                    <a:pt x="763" y="469"/>
                    <a:pt x="763" y="469"/>
                  </a:cubicBezTo>
                  <a:cubicBezTo>
                    <a:pt x="778" y="454"/>
                    <a:pt x="778" y="454"/>
                    <a:pt x="778" y="454"/>
                  </a:cubicBezTo>
                  <a:cubicBezTo>
                    <a:pt x="778" y="317"/>
                    <a:pt x="778" y="317"/>
                    <a:pt x="778" y="317"/>
                  </a:cubicBezTo>
                  <a:cubicBezTo>
                    <a:pt x="771" y="319"/>
                    <a:pt x="766" y="320"/>
                    <a:pt x="766" y="320"/>
                  </a:cubicBezTo>
                  <a:cubicBezTo>
                    <a:pt x="766" y="320"/>
                    <a:pt x="744" y="328"/>
                    <a:pt x="729" y="321"/>
                  </a:cubicBezTo>
                  <a:cubicBezTo>
                    <a:pt x="714" y="314"/>
                    <a:pt x="738" y="300"/>
                    <a:pt x="738" y="300"/>
                  </a:cubicBezTo>
                  <a:cubicBezTo>
                    <a:pt x="738" y="300"/>
                    <a:pt x="737" y="280"/>
                    <a:pt x="727" y="272"/>
                  </a:cubicBezTo>
                  <a:cubicBezTo>
                    <a:pt x="717" y="264"/>
                    <a:pt x="694" y="270"/>
                    <a:pt x="694" y="270"/>
                  </a:cubicBezTo>
                  <a:cubicBezTo>
                    <a:pt x="689" y="252"/>
                    <a:pt x="689" y="252"/>
                    <a:pt x="689" y="252"/>
                  </a:cubicBezTo>
                  <a:cubicBezTo>
                    <a:pt x="689" y="252"/>
                    <a:pt x="676" y="254"/>
                    <a:pt x="666" y="251"/>
                  </a:cubicBezTo>
                  <a:cubicBezTo>
                    <a:pt x="656" y="248"/>
                    <a:pt x="658" y="241"/>
                    <a:pt x="656" y="233"/>
                  </a:cubicBezTo>
                  <a:cubicBezTo>
                    <a:pt x="654" y="225"/>
                    <a:pt x="637" y="229"/>
                    <a:pt x="637" y="229"/>
                  </a:cubicBezTo>
                  <a:cubicBezTo>
                    <a:pt x="638" y="212"/>
                    <a:pt x="638" y="212"/>
                    <a:pt x="638" y="212"/>
                  </a:cubicBezTo>
                  <a:cubicBezTo>
                    <a:pt x="364" y="3"/>
                    <a:pt x="364" y="3"/>
                    <a:pt x="364" y="3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4" y="459"/>
                    <a:pt x="314" y="459"/>
                    <a:pt x="314" y="459"/>
                  </a:cubicBezTo>
                  <a:cubicBezTo>
                    <a:pt x="314" y="459"/>
                    <a:pt x="327" y="465"/>
                    <a:pt x="328" y="472"/>
                  </a:cubicBezTo>
                  <a:cubicBezTo>
                    <a:pt x="329" y="479"/>
                    <a:pt x="323" y="483"/>
                    <a:pt x="323" y="483"/>
                  </a:cubicBezTo>
                  <a:cubicBezTo>
                    <a:pt x="318" y="510"/>
                    <a:pt x="318" y="510"/>
                    <a:pt x="318" y="510"/>
                  </a:cubicBezTo>
                  <a:cubicBezTo>
                    <a:pt x="141" y="513"/>
                    <a:pt x="141" y="513"/>
                    <a:pt x="141" y="513"/>
                  </a:cubicBezTo>
                  <a:cubicBezTo>
                    <a:pt x="141" y="513"/>
                    <a:pt x="141" y="502"/>
                    <a:pt x="137" y="503"/>
                  </a:cubicBezTo>
                  <a:cubicBezTo>
                    <a:pt x="133" y="504"/>
                    <a:pt x="135" y="516"/>
                    <a:pt x="127" y="517"/>
                  </a:cubicBezTo>
                  <a:cubicBezTo>
                    <a:pt x="119" y="518"/>
                    <a:pt x="102" y="521"/>
                    <a:pt x="102" y="521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74" y="515"/>
                    <a:pt x="74" y="515"/>
                    <a:pt x="74" y="515"/>
                  </a:cubicBezTo>
                  <a:cubicBezTo>
                    <a:pt x="64" y="532"/>
                    <a:pt x="64" y="532"/>
                    <a:pt x="64" y="532"/>
                  </a:cubicBezTo>
                  <a:cubicBezTo>
                    <a:pt x="64" y="532"/>
                    <a:pt x="52" y="507"/>
                    <a:pt x="39" y="507"/>
                  </a:cubicBezTo>
                  <a:cubicBezTo>
                    <a:pt x="26" y="507"/>
                    <a:pt x="24" y="516"/>
                    <a:pt x="24" y="535"/>
                  </a:cubicBezTo>
                  <a:cubicBezTo>
                    <a:pt x="25" y="536"/>
                    <a:pt x="28" y="546"/>
                    <a:pt x="20" y="549"/>
                  </a:cubicBezTo>
                  <a:cubicBezTo>
                    <a:pt x="12" y="552"/>
                    <a:pt x="0" y="550"/>
                    <a:pt x="0" y="550"/>
                  </a:cubicBezTo>
                  <a:cubicBezTo>
                    <a:pt x="1" y="568"/>
                    <a:pt x="1" y="568"/>
                    <a:pt x="1" y="568"/>
                  </a:cubicBezTo>
                  <a:cubicBezTo>
                    <a:pt x="9" y="578"/>
                    <a:pt x="9" y="578"/>
                    <a:pt x="9" y="578"/>
                  </a:cubicBezTo>
                  <a:cubicBezTo>
                    <a:pt x="9" y="578"/>
                    <a:pt x="21" y="600"/>
                    <a:pt x="16" y="604"/>
                  </a:cubicBezTo>
                  <a:cubicBezTo>
                    <a:pt x="11" y="608"/>
                    <a:pt x="7" y="612"/>
                    <a:pt x="14" y="623"/>
                  </a:cubicBezTo>
                  <a:cubicBezTo>
                    <a:pt x="21" y="634"/>
                    <a:pt x="25" y="622"/>
                    <a:pt x="30" y="625"/>
                  </a:cubicBezTo>
                  <a:cubicBezTo>
                    <a:pt x="35" y="628"/>
                    <a:pt x="37" y="644"/>
                    <a:pt x="37" y="644"/>
                  </a:cubicBezTo>
                  <a:cubicBezTo>
                    <a:pt x="36" y="678"/>
                    <a:pt x="36" y="678"/>
                    <a:pt x="36" y="678"/>
                  </a:cubicBezTo>
                  <a:cubicBezTo>
                    <a:pt x="36" y="678"/>
                    <a:pt x="40" y="705"/>
                    <a:pt x="44" y="703"/>
                  </a:cubicBezTo>
                  <a:cubicBezTo>
                    <a:pt x="48" y="701"/>
                    <a:pt x="52" y="685"/>
                    <a:pt x="61" y="685"/>
                  </a:cubicBezTo>
                  <a:cubicBezTo>
                    <a:pt x="70" y="685"/>
                    <a:pt x="73" y="706"/>
                    <a:pt x="73" y="706"/>
                  </a:cubicBezTo>
                  <a:cubicBezTo>
                    <a:pt x="73" y="706"/>
                    <a:pt x="87" y="683"/>
                    <a:pt x="92" y="685"/>
                  </a:cubicBezTo>
                  <a:cubicBezTo>
                    <a:pt x="97" y="687"/>
                    <a:pt x="119" y="698"/>
                    <a:pt x="119" y="698"/>
                  </a:cubicBezTo>
                  <a:cubicBezTo>
                    <a:pt x="131" y="689"/>
                    <a:pt x="131" y="689"/>
                    <a:pt x="131" y="689"/>
                  </a:cubicBezTo>
                  <a:cubicBezTo>
                    <a:pt x="131" y="689"/>
                    <a:pt x="129" y="665"/>
                    <a:pt x="145" y="673"/>
                  </a:cubicBezTo>
                  <a:cubicBezTo>
                    <a:pt x="161" y="681"/>
                    <a:pt x="154" y="688"/>
                    <a:pt x="154" y="688"/>
                  </a:cubicBezTo>
                  <a:cubicBezTo>
                    <a:pt x="163" y="697"/>
                    <a:pt x="163" y="697"/>
                    <a:pt x="163" y="697"/>
                  </a:cubicBezTo>
                  <a:cubicBezTo>
                    <a:pt x="157" y="714"/>
                    <a:pt x="157" y="714"/>
                    <a:pt x="157" y="714"/>
                  </a:cubicBezTo>
                  <a:cubicBezTo>
                    <a:pt x="180" y="730"/>
                    <a:pt x="180" y="730"/>
                    <a:pt x="180" y="730"/>
                  </a:cubicBezTo>
                  <a:cubicBezTo>
                    <a:pt x="163" y="753"/>
                    <a:pt x="163" y="753"/>
                    <a:pt x="163" y="753"/>
                  </a:cubicBezTo>
                  <a:cubicBezTo>
                    <a:pt x="182" y="752"/>
                    <a:pt x="182" y="752"/>
                    <a:pt x="182" y="752"/>
                  </a:cubicBezTo>
                  <a:cubicBezTo>
                    <a:pt x="182" y="777"/>
                    <a:pt x="182" y="777"/>
                    <a:pt x="182" y="777"/>
                  </a:cubicBezTo>
                  <a:cubicBezTo>
                    <a:pt x="201" y="796"/>
                    <a:pt x="201" y="796"/>
                    <a:pt x="201" y="796"/>
                  </a:cubicBezTo>
                  <a:cubicBezTo>
                    <a:pt x="207" y="799"/>
                    <a:pt x="207" y="799"/>
                    <a:pt x="207" y="799"/>
                  </a:cubicBezTo>
                  <a:cubicBezTo>
                    <a:pt x="207" y="799"/>
                    <a:pt x="204" y="782"/>
                    <a:pt x="220" y="784"/>
                  </a:cubicBezTo>
                  <a:cubicBezTo>
                    <a:pt x="236" y="786"/>
                    <a:pt x="246" y="800"/>
                    <a:pt x="246" y="800"/>
                  </a:cubicBezTo>
                  <a:cubicBezTo>
                    <a:pt x="250" y="788"/>
                    <a:pt x="250" y="788"/>
                    <a:pt x="250" y="788"/>
                  </a:cubicBezTo>
                  <a:cubicBezTo>
                    <a:pt x="260" y="788"/>
                    <a:pt x="260" y="788"/>
                    <a:pt x="260" y="788"/>
                  </a:cubicBezTo>
                  <a:cubicBezTo>
                    <a:pt x="264" y="770"/>
                    <a:pt x="264" y="770"/>
                    <a:pt x="264" y="770"/>
                  </a:cubicBezTo>
                  <a:cubicBezTo>
                    <a:pt x="273" y="782"/>
                    <a:pt x="273" y="782"/>
                    <a:pt x="273" y="782"/>
                  </a:cubicBezTo>
                  <a:cubicBezTo>
                    <a:pt x="281" y="769"/>
                    <a:pt x="281" y="769"/>
                    <a:pt x="281" y="769"/>
                  </a:cubicBezTo>
                  <a:cubicBezTo>
                    <a:pt x="281" y="793"/>
                    <a:pt x="281" y="793"/>
                    <a:pt x="281" y="793"/>
                  </a:cubicBezTo>
                  <a:cubicBezTo>
                    <a:pt x="296" y="795"/>
                    <a:pt x="296" y="795"/>
                    <a:pt x="296" y="795"/>
                  </a:cubicBezTo>
                  <a:cubicBezTo>
                    <a:pt x="296" y="795"/>
                    <a:pt x="300" y="781"/>
                    <a:pt x="315" y="781"/>
                  </a:cubicBezTo>
                  <a:cubicBezTo>
                    <a:pt x="312" y="744"/>
                    <a:pt x="312" y="744"/>
                    <a:pt x="312" y="744"/>
                  </a:cubicBezTo>
                  <a:cubicBezTo>
                    <a:pt x="327" y="744"/>
                    <a:pt x="327" y="744"/>
                    <a:pt x="327" y="744"/>
                  </a:cubicBezTo>
                  <a:cubicBezTo>
                    <a:pt x="335" y="729"/>
                    <a:pt x="335" y="729"/>
                    <a:pt x="335" y="729"/>
                  </a:cubicBezTo>
                  <a:cubicBezTo>
                    <a:pt x="320" y="708"/>
                    <a:pt x="320" y="708"/>
                    <a:pt x="320" y="708"/>
                  </a:cubicBezTo>
                  <a:cubicBezTo>
                    <a:pt x="333" y="700"/>
                    <a:pt x="333" y="700"/>
                    <a:pt x="333" y="700"/>
                  </a:cubicBezTo>
                  <a:cubicBezTo>
                    <a:pt x="333" y="700"/>
                    <a:pt x="348" y="697"/>
                    <a:pt x="360" y="696"/>
                  </a:cubicBezTo>
                  <a:cubicBezTo>
                    <a:pt x="372" y="695"/>
                    <a:pt x="359" y="685"/>
                    <a:pt x="359" y="685"/>
                  </a:cubicBezTo>
                  <a:cubicBezTo>
                    <a:pt x="359" y="685"/>
                    <a:pt x="366" y="684"/>
                    <a:pt x="369" y="680"/>
                  </a:cubicBezTo>
                  <a:cubicBezTo>
                    <a:pt x="372" y="676"/>
                    <a:pt x="367" y="659"/>
                    <a:pt x="367" y="659"/>
                  </a:cubicBezTo>
                  <a:cubicBezTo>
                    <a:pt x="367" y="659"/>
                    <a:pt x="379" y="661"/>
                    <a:pt x="381" y="656"/>
                  </a:cubicBezTo>
                  <a:cubicBezTo>
                    <a:pt x="383" y="651"/>
                    <a:pt x="375" y="637"/>
                    <a:pt x="375" y="637"/>
                  </a:cubicBezTo>
                  <a:cubicBezTo>
                    <a:pt x="388" y="617"/>
                    <a:pt x="388" y="617"/>
                    <a:pt x="388" y="617"/>
                  </a:cubicBezTo>
                  <a:lnTo>
                    <a:pt x="409" y="63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301">
              <a:extLst>
                <a:ext uri="{FF2B5EF4-FFF2-40B4-BE49-F238E27FC236}">
                  <a16:creationId xmlns:a16="http://schemas.microsoft.com/office/drawing/2014/main" id="{9BBB01F9-5EA1-3621-7AE0-A95B4435DEDC}"/>
                </a:ext>
              </a:extLst>
            </p:cNvPr>
            <p:cNvSpPr>
              <a:spLocks/>
            </p:cNvSpPr>
            <p:nvPr/>
          </p:nvSpPr>
          <p:spPr bwMode="gray">
            <a:xfrm>
              <a:off x="-8382" y="-12110"/>
              <a:ext cx="652" cy="581"/>
            </a:xfrm>
            <a:custGeom>
              <a:avLst/>
              <a:gdLst>
                <a:gd name="T0" fmla="*/ 269 w 276"/>
                <a:gd name="T1" fmla="*/ 181 h 246"/>
                <a:gd name="T2" fmla="*/ 253 w 276"/>
                <a:gd name="T3" fmla="*/ 179 h 246"/>
                <a:gd name="T4" fmla="*/ 255 w 276"/>
                <a:gd name="T5" fmla="*/ 160 h 246"/>
                <a:gd name="T6" fmla="*/ 248 w 276"/>
                <a:gd name="T7" fmla="*/ 134 h 246"/>
                <a:gd name="T8" fmla="*/ 240 w 276"/>
                <a:gd name="T9" fmla="*/ 124 h 246"/>
                <a:gd name="T10" fmla="*/ 239 w 276"/>
                <a:gd name="T11" fmla="*/ 106 h 246"/>
                <a:gd name="T12" fmla="*/ 230 w 276"/>
                <a:gd name="T13" fmla="*/ 92 h 246"/>
                <a:gd name="T14" fmla="*/ 213 w 276"/>
                <a:gd name="T15" fmla="*/ 86 h 246"/>
                <a:gd name="T16" fmla="*/ 210 w 276"/>
                <a:gd name="T17" fmla="*/ 70 h 246"/>
                <a:gd name="T18" fmla="*/ 196 w 276"/>
                <a:gd name="T19" fmla="*/ 68 h 246"/>
                <a:gd name="T20" fmla="*/ 188 w 276"/>
                <a:gd name="T21" fmla="*/ 31 h 246"/>
                <a:gd name="T22" fmla="*/ 167 w 276"/>
                <a:gd name="T23" fmla="*/ 34 h 246"/>
                <a:gd name="T24" fmla="*/ 146 w 276"/>
                <a:gd name="T25" fmla="*/ 10 h 246"/>
                <a:gd name="T26" fmla="*/ 122 w 276"/>
                <a:gd name="T27" fmla="*/ 7 h 246"/>
                <a:gd name="T28" fmla="*/ 109 w 276"/>
                <a:gd name="T29" fmla="*/ 0 h 246"/>
                <a:gd name="T30" fmla="*/ 109 w 276"/>
                <a:gd name="T31" fmla="*/ 10 h 246"/>
                <a:gd name="T32" fmla="*/ 86 w 276"/>
                <a:gd name="T33" fmla="*/ 9 h 246"/>
                <a:gd name="T34" fmla="*/ 78 w 276"/>
                <a:gd name="T35" fmla="*/ 13 h 246"/>
                <a:gd name="T36" fmla="*/ 59 w 276"/>
                <a:gd name="T37" fmla="*/ 11 h 246"/>
                <a:gd name="T38" fmla="*/ 41 w 276"/>
                <a:gd name="T39" fmla="*/ 43 h 246"/>
                <a:gd name="T40" fmla="*/ 40 w 276"/>
                <a:gd name="T41" fmla="*/ 57 h 246"/>
                <a:gd name="T42" fmla="*/ 22 w 276"/>
                <a:gd name="T43" fmla="*/ 80 h 246"/>
                <a:gd name="T44" fmla="*/ 0 w 276"/>
                <a:gd name="T45" fmla="*/ 106 h 246"/>
                <a:gd name="T46" fmla="*/ 2 w 276"/>
                <a:gd name="T47" fmla="*/ 113 h 246"/>
                <a:gd name="T48" fmla="*/ 8 w 276"/>
                <a:gd name="T49" fmla="*/ 112 h 246"/>
                <a:gd name="T50" fmla="*/ 17 w 276"/>
                <a:gd name="T51" fmla="*/ 128 h 246"/>
                <a:gd name="T52" fmla="*/ 20 w 276"/>
                <a:gd name="T53" fmla="*/ 141 h 246"/>
                <a:gd name="T54" fmla="*/ 29 w 276"/>
                <a:gd name="T55" fmla="*/ 149 h 246"/>
                <a:gd name="T56" fmla="*/ 28 w 276"/>
                <a:gd name="T57" fmla="*/ 157 h 246"/>
                <a:gd name="T58" fmla="*/ 34 w 276"/>
                <a:gd name="T59" fmla="*/ 169 h 246"/>
                <a:gd name="T60" fmla="*/ 84 w 276"/>
                <a:gd name="T61" fmla="*/ 169 h 246"/>
                <a:gd name="T62" fmla="*/ 84 w 276"/>
                <a:gd name="T63" fmla="*/ 159 h 246"/>
                <a:gd name="T64" fmla="*/ 109 w 276"/>
                <a:gd name="T65" fmla="*/ 158 h 246"/>
                <a:gd name="T66" fmla="*/ 120 w 276"/>
                <a:gd name="T67" fmla="*/ 166 h 246"/>
                <a:gd name="T68" fmla="*/ 128 w 276"/>
                <a:gd name="T69" fmla="*/ 164 h 246"/>
                <a:gd name="T70" fmla="*/ 141 w 276"/>
                <a:gd name="T71" fmla="*/ 176 h 246"/>
                <a:gd name="T72" fmla="*/ 162 w 276"/>
                <a:gd name="T73" fmla="*/ 171 h 246"/>
                <a:gd name="T74" fmla="*/ 143 w 276"/>
                <a:gd name="T75" fmla="*/ 190 h 246"/>
                <a:gd name="T76" fmla="*/ 109 w 276"/>
                <a:gd name="T77" fmla="*/ 171 h 246"/>
                <a:gd name="T78" fmla="*/ 97 w 276"/>
                <a:gd name="T79" fmla="*/ 183 h 246"/>
                <a:gd name="T80" fmla="*/ 72 w 276"/>
                <a:gd name="T81" fmla="*/ 186 h 246"/>
                <a:gd name="T82" fmla="*/ 68 w 276"/>
                <a:gd name="T83" fmla="*/ 195 h 246"/>
                <a:gd name="T84" fmla="*/ 25 w 276"/>
                <a:gd name="T85" fmla="*/ 195 h 246"/>
                <a:gd name="T86" fmla="*/ 24 w 276"/>
                <a:gd name="T87" fmla="*/ 212 h 246"/>
                <a:gd name="T88" fmla="*/ 18 w 276"/>
                <a:gd name="T89" fmla="*/ 215 h 246"/>
                <a:gd name="T90" fmla="*/ 31 w 276"/>
                <a:gd name="T91" fmla="*/ 241 h 246"/>
                <a:gd name="T92" fmla="*/ 50 w 276"/>
                <a:gd name="T93" fmla="*/ 241 h 246"/>
                <a:gd name="T94" fmla="*/ 58 w 276"/>
                <a:gd name="T95" fmla="*/ 231 h 246"/>
                <a:gd name="T96" fmla="*/ 85 w 276"/>
                <a:gd name="T97" fmla="*/ 231 h 246"/>
                <a:gd name="T98" fmla="*/ 102 w 276"/>
                <a:gd name="T99" fmla="*/ 216 h 246"/>
                <a:gd name="T100" fmla="*/ 196 w 276"/>
                <a:gd name="T101" fmla="*/ 219 h 246"/>
                <a:gd name="T102" fmla="*/ 204 w 276"/>
                <a:gd name="T103" fmla="*/ 232 h 246"/>
                <a:gd name="T104" fmla="*/ 215 w 276"/>
                <a:gd name="T105" fmla="*/ 226 h 246"/>
                <a:gd name="T106" fmla="*/ 231 w 276"/>
                <a:gd name="T107" fmla="*/ 242 h 246"/>
                <a:gd name="T108" fmla="*/ 247 w 276"/>
                <a:gd name="T109" fmla="*/ 235 h 246"/>
                <a:gd name="T110" fmla="*/ 275 w 276"/>
                <a:gd name="T111" fmla="*/ 234 h 246"/>
                <a:gd name="T112" fmla="*/ 276 w 276"/>
                <a:gd name="T113" fmla="*/ 200 h 246"/>
                <a:gd name="T114" fmla="*/ 269 w 276"/>
                <a:gd name="T115" fmla="*/ 181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6" h="246">
                  <a:moveTo>
                    <a:pt x="269" y="181"/>
                  </a:moveTo>
                  <a:cubicBezTo>
                    <a:pt x="264" y="178"/>
                    <a:pt x="260" y="190"/>
                    <a:pt x="253" y="179"/>
                  </a:cubicBezTo>
                  <a:cubicBezTo>
                    <a:pt x="246" y="168"/>
                    <a:pt x="250" y="164"/>
                    <a:pt x="255" y="160"/>
                  </a:cubicBezTo>
                  <a:cubicBezTo>
                    <a:pt x="260" y="156"/>
                    <a:pt x="248" y="134"/>
                    <a:pt x="248" y="134"/>
                  </a:cubicBezTo>
                  <a:cubicBezTo>
                    <a:pt x="240" y="124"/>
                    <a:pt x="240" y="124"/>
                    <a:pt x="240" y="124"/>
                  </a:cubicBezTo>
                  <a:cubicBezTo>
                    <a:pt x="239" y="106"/>
                    <a:pt x="239" y="106"/>
                    <a:pt x="239" y="106"/>
                  </a:cubicBezTo>
                  <a:cubicBezTo>
                    <a:pt x="230" y="92"/>
                    <a:pt x="230" y="92"/>
                    <a:pt x="230" y="92"/>
                  </a:cubicBezTo>
                  <a:cubicBezTo>
                    <a:pt x="213" y="86"/>
                    <a:pt x="213" y="86"/>
                    <a:pt x="213" y="86"/>
                  </a:cubicBezTo>
                  <a:cubicBezTo>
                    <a:pt x="213" y="86"/>
                    <a:pt x="213" y="71"/>
                    <a:pt x="210" y="70"/>
                  </a:cubicBezTo>
                  <a:cubicBezTo>
                    <a:pt x="207" y="69"/>
                    <a:pt x="196" y="68"/>
                    <a:pt x="196" y="68"/>
                  </a:cubicBezTo>
                  <a:cubicBezTo>
                    <a:pt x="196" y="68"/>
                    <a:pt x="195" y="32"/>
                    <a:pt x="188" y="31"/>
                  </a:cubicBezTo>
                  <a:cubicBezTo>
                    <a:pt x="181" y="30"/>
                    <a:pt x="167" y="34"/>
                    <a:pt x="167" y="34"/>
                  </a:cubicBezTo>
                  <a:cubicBezTo>
                    <a:pt x="167" y="34"/>
                    <a:pt x="156" y="12"/>
                    <a:pt x="146" y="10"/>
                  </a:cubicBezTo>
                  <a:cubicBezTo>
                    <a:pt x="136" y="8"/>
                    <a:pt x="122" y="7"/>
                    <a:pt x="122" y="7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8" y="13"/>
                    <a:pt x="68" y="5"/>
                    <a:pt x="59" y="11"/>
                  </a:cubicBezTo>
                  <a:cubicBezTo>
                    <a:pt x="50" y="17"/>
                    <a:pt x="53" y="41"/>
                    <a:pt x="41" y="43"/>
                  </a:cubicBezTo>
                  <a:cubicBezTo>
                    <a:pt x="40" y="50"/>
                    <a:pt x="40" y="56"/>
                    <a:pt x="40" y="57"/>
                  </a:cubicBezTo>
                  <a:cubicBezTo>
                    <a:pt x="39" y="60"/>
                    <a:pt x="29" y="67"/>
                    <a:pt x="22" y="80"/>
                  </a:cubicBezTo>
                  <a:cubicBezTo>
                    <a:pt x="15" y="93"/>
                    <a:pt x="0" y="106"/>
                    <a:pt x="0" y="106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8" y="112"/>
                    <a:pt x="8" y="112"/>
                    <a:pt x="8" y="112"/>
                  </a:cubicBezTo>
                  <a:cubicBezTo>
                    <a:pt x="8" y="112"/>
                    <a:pt x="17" y="121"/>
                    <a:pt x="17" y="128"/>
                  </a:cubicBezTo>
                  <a:cubicBezTo>
                    <a:pt x="17" y="135"/>
                    <a:pt x="20" y="141"/>
                    <a:pt x="20" y="141"/>
                  </a:cubicBezTo>
                  <a:cubicBezTo>
                    <a:pt x="29" y="149"/>
                    <a:pt x="29" y="149"/>
                    <a:pt x="29" y="149"/>
                  </a:cubicBezTo>
                  <a:cubicBezTo>
                    <a:pt x="29" y="149"/>
                    <a:pt x="28" y="150"/>
                    <a:pt x="28" y="157"/>
                  </a:cubicBezTo>
                  <a:cubicBezTo>
                    <a:pt x="28" y="162"/>
                    <a:pt x="32" y="166"/>
                    <a:pt x="34" y="169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84" y="159"/>
                    <a:pt x="84" y="159"/>
                    <a:pt x="84" y="159"/>
                  </a:cubicBezTo>
                  <a:cubicBezTo>
                    <a:pt x="84" y="159"/>
                    <a:pt x="96" y="160"/>
                    <a:pt x="109" y="158"/>
                  </a:cubicBezTo>
                  <a:cubicBezTo>
                    <a:pt x="122" y="156"/>
                    <a:pt x="120" y="166"/>
                    <a:pt x="120" y="166"/>
                  </a:cubicBezTo>
                  <a:cubicBezTo>
                    <a:pt x="128" y="164"/>
                    <a:pt x="128" y="164"/>
                    <a:pt x="128" y="164"/>
                  </a:cubicBezTo>
                  <a:cubicBezTo>
                    <a:pt x="128" y="164"/>
                    <a:pt x="136" y="175"/>
                    <a:pt x="141" y="176"/>
                  </a:cubicBezTo>
                  <a:cubicBezTo>
                    <a:pt x="146" y="177"/>
                    <a:pt x="145" y="167"/>
                    <a:pt x="162" y="171"/>
                  </a:cubicBezTo>
                  <a:cubicBezTo>
                    <a:pt x="179" y="175"/>
                    <a:pt x="161" y="190"/>
                    <a:pt x="143" y="190"/>
                  </a:cubicBezTo>
                  <a:cubicBezTo>
                    <a:pt x="125" y="190"/>
                    <a:pt x="109" y="171"/>
                    <a:pt x="109" y="171"/>
                  </a:cubicBezTo>
                  <a:cubicBezTo>
                    <a:pt x="109" y="171"/>
                    <a:pt x="103" y="182"/>
                    <a:pt x="97" y="183"/>
                  </a:cubicBezTo>
                  <a:cubicBezTo>
                    <a:pt x="91" y="184"/>
                    <a:pt x="72" y="186"/>
                    <a:pt x="72" y="186"/>
                  </a:cubicBezTo>
                  <a:cubicBezTo>
                    <a:pt x="72" y="186"/>
                    <a:pt x="71" y="195"/>
                    <a:pt x="68" y="195"/>
                  </a:cubicBezTo>
                  <a:cubicBezTo>
                    <a:pt x="66" y="195"/>
                    <a:pt x="36" y="195"/>
                    <a:pt x="25" y="195"/>
                  </a:cubicBezTo>
                  <a:cubicBezTo>
                    <a:pt x="24" y="202"/>
                    <a:pt x="24" y="212"/>
                    <a:pt x="24" y="212"/>
                  </a:cubicBezTo>
                  <a:cubicBezTo>
                    <a:pt x="18" y="215"/>
                    <a:pt x="18" y="215"/>
                    <a:pt x="18" y="215"/>
                  </a:cubicBezTo>
                  <a:cubicBezTo>
                    <a:pt x="18" y="215"/>
                    <a:pt x="22" y="236"/>
                    <a:pt x="31" y="241"/>
                  </a:cubicBezTo>
                  <a:cubicBezTo>
                    <a:pt x="40" y="246"/>
                    <a:pt x="50" y="241"/>
                    <a:pt x="50" y="241"/>
                  </a:cubicBezTo>
                  <a:cubicBezTo>
                    <a:pt x="58" y="231"/>
                    <a:pt x="58" y="231"/>
                    <a:pt x="58" y="231"/>
                  </a:cubicBezTo>
                  <a:cubicBezTo>
                    <a:pt x="85" y="231"/>
                    <a:pt x="85" y="231"/>
                    <a:pt x="85" y="231"/>
                  </a:cubicBezTo>
                  <a:cubicBezTo>
                    <a:pt x="102" y="216"/>
                    <a:pt x="102" y="216"/>
                    <a:pt x="102" y="216"/>
                  </a:cubicBezTo>
                  <a:cubicBezTo>
                    <a:pt x="196" y="219"/>
                    <a:pt x="196" y="219"/>
                    <a:pt x="196" y="219"/>
                  </a:cubicBezTo>
                  <a:cubicBezTo>
                    <a:pt x="196" y="219"/>
                    <a:pt x="196" y="230"/>
                    <a:pt x="204" y="232"/>
                  </a:cubicBezTo>
                  <a:cubicBezTo>
                    <a:pt x="212" y="234"/>
                    <a:pt x="215" y="226"/>
                    <a:pt x="215" y="226"/>
                  </a:cubicBezTo>
                  <a:cubicBezTo>
                    <a:pt x="215" y="226"/>
                    <a:pt x="224" y="242"/>
                    <a:pt x="231" y="242"/>
                  </a:cubicBezTo>
                  <a:cubicBezTo>
                    <a:pt x="238" y="242"/>
                    <a:pt x="247" y="235"/>
                    <a:pt x="247" y="235"/>
                  </a:cubicBezTo>
                  <a:cubicBezTo>
                    <a:pt x="275" y="234"/>
                    <a:pt x="275" y="234"/>
                    <a:pt x="275" y="234"/>
                  </a:cubicBezTo>
                  <a:cubicBezTo>
                    <a:pt x="276" y="200"/>
                    <a:pt x="276" y="200"/>
                    <a:pt x="276" y="200"/>
                  </a:cubicBezTo>
                  <a:cubicBezTo>
                    <a:pt x="276" y="200"/>
                    <a:pt x="274" y="184"/>
                    <a:pt x="269" y="18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302">
              <a:extLst>
                <a:ext uri="{FF2B5EF4-FFF2-40B4-BE49-F238E27FC236}">
                  <a16:creationId xmlns:a16="http://schemas.microsoft.com/office/drawing/2014/main" id="{0A558288-131A-5E34-4E51-F4C07ECC20E3}"/>
                </a:ext>
              </a:extLst>
            </p:cNvPr>
            <p:cNvSpPr>
              <a:spLocks/>
            </p:cNvSpPr>
            <p:nvPr/>
          </p:nvSpPr>
          <p:spPr bwMode="gray">
            <a:xfrm>
              <a:off x="-8124" y="-11595"/>
              <a:ext cx="815" cy="699"/>
            </a:xfrm>
            <a:custGeom>
              <a:avLst/>
              <a:gdLst>
                <a:gd name="T0" fmla="*/ 61 w 345"/>
                <a:gd name="T1" fmla="*/ 17 h 296"/>
                <a:gd name="T2" fmla="*/ 61 w 345"/>
                <a:gd name="T3" fmla="*/ 47 h 296"/>
                <a:gd name="T4" fmla="*/ 22 w 345"/>
                <a:gd name="T5" fmla="*/ 65 h 296"/>
                <a:gd name="T6" fmla="*/ 0 w 345"/>
                <a:gd name="T7" fmla="*/ 86 h 296"/>
                <a:gd name="T8" fmla="*/ 19 w 345"/>
                <a:gd name="T9" fmla="*/ 103 h 296"/>
                <a:gd name="T10" fmla="*/ 45 w 345"/>
                <a:gd name="T11" fmla="*/ 138 h 296"/>
                <a:gd name="T12" fmla="*/ 59 w 345"/>
                <a:gd name="T13" fmla="*/ 149 h 296"/>
                <a:gd name="T14" fmla="*/ 86 w 345"/>
                <a:gd name="T15" fmla="*/ 194 h 296"/>
                <a:gd name="T16" fmla="*/ 142 w 345"/>
                <a:gd name="T17" fmla="*/ 152 h 296"/>
                <a:gd name="T18" fmla="*/ 172 w 345"/>
                <a:gd name="T19" fmla="*/ 140 h 296"/>
                <a:gd name="T20" fmla="*/ 197 w 345"/>
                <a:gd name="T21" fmla="*/ 190 h 296"/>
                <a:gd name="T22" fmla="*/ 197 w 345"/>
                <a:gd name="T23" fmla="*/ 226 h 296"/>
                <a:gd name="T24" fmla="*/ 215 w 345"/>
                <a:gd name="T25" fmla="*/ 228 h 296"/>
                <a:gd name="T26" fmla="*/ 247 w 345"/>
                <a:gd name="T27" fmla="*/ 227 h 296"/>
                <a:gd name="T28" fmla="*/ 265 w 345"/>
                <a:gd name="T29" fmla="*/ 286 h 296"/>
                <a:gd name="T30" fmla="*/ 293 w 345"/>
                <a:gd name="T31" fmla="*/ 270 h 296"/>
                <a:gd name="T32" fmla="*/ 320 w 345"/>
                <a:gd name="T33" fmla="*/ 255 h 296"/>
                <a:gd name="T34" fmla="*/ 314 w 345"/>
                <a:gd name="T35" fmla="*/ 229 h 296"/>
                <a:gd name="T36" fmla="*/ 345 w 345"/>
                <a:gd name="T37" fmla="*/ 220 h 296"/>
                <a:gd name="T38" fmla="*/ 338 w 345"/>
                <a:gd name="T39" fmla="*/ 193 h 296"/>
                <a:gd name="T40" fmla="*/ 335 w 345"/>
                <a:gd name="T41" fmla="*/ 176 h 296"/>
                <a:gd name="T42" fmla="*/ 318 w 345"/>
                <a:gd name="T43" fmla="*/ 148 h 296"/>
                <a:gd name="T44" fmla="*/ 312 w 345"/>
                <a:gd name="T45" fmla="*/ 115 h 296"/>
                <a:gd name="T46" fmla="*/ 293 w 345"/>
                <a:gd name="T47" fmla="*/ 91 h 296"/>
                <a:gd name="T48" fmla="*/ 287 w 345"/>
                <a:gd name="T49" fmla="*/ 52 h 296"/>
                <a:gd name="T50" fmla="*/ 284 w 345"/>
                <a:gd name="T51" fmla="*/ 26 h 296"/>
                <a:gd name="T52" fmla="*/ 261 w 345"/>
                <a:gd name="T53" fmla="*/ 27 h 296"/>
                <a:gd name="T54" fmla="*/ 222 w 345"/>
                <a:gd name="T55" fmla="*/ 23 h 296"/>
                <a:gd name="T56" fmla="*/ 191 w 345"/>
                <a:gd name="T57" fmla="*/ 23 h 296"/>
                <a:gd name="T58" fmla="*/ 166 w 345"/>
                <a:gd name="T59" fmla="*/ 16 h 296"/>
                <a:gd name="T60" fmla="*/ 122 w 345"/>
                <a:gd name="T61" fmla="*/ 24 h 296"/>
                <a:gd name="T62" fmla="*/ 95 w 345"/>
                <a:gd name="T63" fmla="*/ 14 h 296"/>
                <a:gd name="T64" fmla="*/ 60 w 345"/>
                <a:gd name="T65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5" h="296">
                  <a:moveTo>
                    <a:pt x="60" y="0"/>
                  </a:move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45" y="15"/>
                    <a:pt x="45" y="26"/>
                  </a:cubicBezTo>
                  <a:cubicBezTo>
                    <a:pt x="45" y="37"/>
                    <a:pt x="62" y="32"/>
                    <a:pt x="61" y="47"/>
                  </a:cubicBezTo>
                  <a:cubicBezTo>
                    <a:pt x="60" y="62"/>
                    <a:pt x="49" y="58"/>
                    <a:pt x="39" y="58"/>
                  </a:cubicBezTo>
                  <a:cubicBezTo>
                    <a:pt x="29" y="58"/>
                    <a:pt x="22" y="65"/>
                    <a:pt x="22" y="65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6"/>
                    <a:pt x="4" y="100"/>
                    <a:pt x="9" y="102"/>
                  </a:cubicBezTo>
                  <a:cubicBezTo>
                    <a:pt x="14" y="104"/>
                    <a:pt x="19" y="103"/>
                    <a:pt x="19" y="103"/>
                  </a:cubicBezTo>
                  <a:cubicBezTo>
                    <a:pt x="19" y="103"/>
                    <a:pt x="10" y="127"/>
                    <a:pt x="25" y="134"/>
                  </a:cubicBezTo>
                  <a:cubicBezTo>
                    <a:pt x="40" y="141"/>
                    <a:pt x="45" y="138"/>
                    <a:pt x="45" y="138"/>
                  </a:cubicBezTo>
                  <a:cubicBezTo>
                    <a:pt x="45" y="138"/>
                    <a:pt x="42" y="150"/>
                    <a:pt x="46" y="154"/>
                  </a:cubicBezTo>
                  <a:cubicBezTo>
                    <a:pt x="50" y="158"/>
                    <a:pt x="59" y="149"/>
                    <a:pt x="59" y="149"/>
                  </a:cubicBezTo>
                  <a:cubicBezTo>
                    <a:pt x="59" y="149"/>
                    <a:pt x="63" y="169"/>
                    <a:pt x="67" y="176"/>
                  </a:cubicBezTo>
                  <a:cubicBezTo>
                    <a:pt x="71" y="183"/>
                    <a:pt x="86" y="194"/>
                    <a:pt x="86" y="194"/>
                  </a:cubicBezTo>
                  <a:cubicBezTo>
                    <a:pt x="98" y="194"/>
                    <a:pt x="117" y="152"/>
                    <a:pt x="117" y="152"/>
                  </a:cubicBezTo>
                  <a:cubicBezTo>
                    <a:pt x="142" y="152"/>
                    <a:pt x="142" y="152"/>
                    <a:pt x="142" y="152"/>
                  </a:cubicBezTo>
                  <a:cubicBezTo>
                    <a:pt x="146" y="140"/>
                    <a:pt x="146" y="140"/>
                    <a:pt x="146" y="140"/>
                  </a:cubicBezTo>
                  <a:cubicBezTo>
                    <a:pt x="172" y="140"/>
                    <a:pt x="172" y="140"/>
                    <a:pt x="172" y="140"/>
                  </a:cubicBezTo>
                  <a:cubicBezTo>
                    <a:pt x="200" y="181"/>
                    <a:pt x="200" y="181"/>
                    <a:pt x="200" y="181"/>
                  </a:cubicBezTo>
                  <a:cubicBezTo>
                    <a:pt x="197" y="190"/>
                    <a:pt x="197" y="190"/>
                    <a:pt x="197" y="190"/>
                  </a:cubicBezTo>
                  <a:cubicBezTo>
                    <a:pt x="197" y="190"/>
                    <a:pt x="208" y="202"/>
                    <a:pt x="208" y="210"/>
                  </a:cubicBezTo>
                  <a:cubicBezTo>
                    <a:pt x="208" y="218"/>
                    <a:pt x="197" y="226"/>
                    <a:pt x="197" y="226"/>
                  </a:cubicBezTo>
                  <a:cubicBezTo>
                    <a:pt x="196" y="239"/>
                    <a:pt x="196" y="239"/>
                    <a:pt x="196" y="239"/>
                  </a:cubicBezTo>
                  <a:cubicBezTo>
                    <a:pt x="215" y="228"/>
                    <a:pt x="215" y="228"/>
                    <a:pt x="215" y="228"/>
                  </a:cubicBezTo>
                  <a:cubicBezTo>
                    <a:pt x="231" y="232"/>
                    <a:pt x="231" y="232"/>
                    <a:pt x="231" y="232"/>
                  </a:cubicBezTo>
                  <a:cubicBezTo>
                    <a:pt x="231" y="232"/>
                    <a:pt x="228" y="214"/>
                    <a:pt x="247" y="227"/>
                  </a:cubicBezTo>
                  <a:cubicBezTo>
                    <a:pt x="266" y="240"/>
                    <a:pt x="257" y="286"/>
                    <a:pt x="257" y="286"/>
                  </a:cubicBezTo>
                  <a:cubicBezTo>
                    <a:pt x="265" y="286"/>
                    <a:pt x="265" y="286"/>
                    <a:pt x="265" y="286"/>
                  </a:cubicBezTo>
                  <a:cubicBezTo>
                    <a:pt x="265" y="286"/>
                    <a:pt x="266" y="296"/>
                    <a:pt x="277" y="296"/>
                  </a:cubicBezTo>
                  <a:cubicBezTo>
                    <a:pt x="288" y="296"/>
                    <a:pt x="288" y="274"/>
                    <a:pt x="293" y="270"/>
                  </a:cubicBezTo>
                  <a:cubicBezTo>
                    <a:pt x="298" y="266"/>
                    <a:pt x="313" y="279"/>
                    <a:pt x="320" y="276"/>
                  </a:cubicBezTo>
                  <a:cubicBezTo>
                    <a:pt x="327" y="273"/>
                    <a:pt x="320" y="255"/>
                    <a:pt x="320" y="255"/>
                  </a:cubicBezTo>
                  <a:cubicBezTo>
                    <a:pt x="332" y="252"/>
                    <a:pt x="332" y="252"/>
                    <a:pt x="332" y="252"/>
                  </a:cubicBezTo>
                  <a:cubicBezTo>
                    <a:pt x="332" y="252"/>
                    <a:pt x="314" y="239"/>
                    <a:pt x="314" y="229"/>
                  </a:cubicBezTo>
                  <a:cubicBezTo>
                    <a:pt x="314" y="219"/>
                    <a:pt x="344" y="233"/>
                    <a:pt x="344" y="233"/>
                  </a:cubicBezTo>
                  <a:cubicBezTo>
                    <a:pt x="344" y="233"/>
                    <a:pt x="345" y="227"/>
                    <a:pt x="345" y="220"/>
                  </a:cubicBezTo>
                  <a:cubicBezTo>
                    <a:pt x="345" y="213"/>
                    <a:pt x="330" y="218"/>
                    <a:pt x="329" y="210"/>
                  </a:cubicBezTo>
                  <a:cubicBezTo>
                    <a:pt x="328" y="202"/>
                    <a:pt x="338" y="193"/>
                    <a:pt x="338" y="193"/>
                  </a:cubicBezTo>
                  <a:cubicBezTo>
                    <a:pt x="328" y="189"/>
                    <a:pt x="328" y="189"/>
                    <a:pt x="328" y="189"/>
                  </a:cubicBezTo>
                  <a:cubicBezTo>
                    <a:pt x="335" y="176"/>
                    <a:pt x="335" y="176"/>
                    <a:pt x="335" y="176"/>
                  </a:cubicBezTo>
                  <a:cubicBezTo>
                    <a:pt x="323" y="175"/>
                    <a:pt x="323" y="175"/>
                    <a:pt x="323" y="175"/>
                  </a:cubicBezTo>
                  <a:cubicBezTo>
                    <a:pt x="318" y="148"/>
                    <a:pt x="318" y="148"/>
                    <a:pt x="318" y="148"/>
                  </a:cubicBezTo>
                  <a:cubicBezTo>
                    <a:pt x="331" y="134"/>
                    <a:pt x="331" y="134"/>
                    <a:pt x="331" y="134"/>
                  </a:cubicBezTo>
                  <a:cubicBezTo>
                    <a:pt x="312" y="115"/>
                    <a:pt x="312" y="115"/>
                    <a:pt x="312" y="115"/>
                  </a:cubicBezTo>
                  <a:cubicBezTo>
                    <a:pt x="312" y="90"/>
                    <a:pt x="312" y="90"/>
                    <a:pt x="312" y="90"/>
                  </a:cubicBezTo>
                  <a:cubicBezTo>
                    <a:pt x="293" y="91"/>
                    <a:pt x="293" y="91"/>
                    <a:pt x="293" y="91"/>
                  </a:cubicBezTo>
                  <a:cubicBezTo>
                    <a:pt x="310" y="68"/>
                    <a:pt x="310" y="68"/>
                    <a:pt x="310" y="68"/>
                  </a:cubicBezTo>
                  <a:cubicBezTo>
                    <a:pt x="287" y="52"/>
                    <a:pt x="287" y="52"/>
                    <a:pt x="287" y="52"/>
                  </a:cubicBezTo>
                  <a:cubicBezTo>
                    <a:pt x="293" y="35"/>
                    <a:pt x="293" y="35"/>
                    <a:pt x="293" y="35"/>
                  </a:cubicBezTo>
                  <a:cubicBezTo>
                    <a:pt x="284" y="26"/>
                    <a:pt x="284" y="26"/>
                    <a:pt x="284" y="26"/>
                  </a:cubicBezTo>
                  <a:cubicBezTo>
                    <a:pt x="284" y="26"/>
                    <a:pt x="291" y="19"/>
                    <a:pt x="275" y="11"/>
                  </a:cubicBezTo>
                  <a:cubicBezTo>
                    <a:pt x="259" y="3"/>
                    <a:pt x="261" y="27"/>
                    <a:pt x="261" y="27"/>
                  </a:cubicBezTo>
                  <a:cubicBezTo>
                    <a:pt x="249" y="36"/>
                    <a:pt x="249" y="36"/>
                    <a:pt x="249" y="36"/>
                  </a:cubicBezTo>
                  <a:cubicBezTo>
                    <a:pt x="249" y="36"/>
                    <a:pt x="227" y="25"/>
                    <a:pt x="222" y="23"/>
                  </a:cubicBezTo>
                  <a:cubicBezTo>
                    <a:pt x="217" y="21"/>
                    <a:pt x="203" y="44"/>
                    <a:pt x="203" y="44"/>
                  </a:cubicBezTo>
                  <a:cubicBezTo>
                    <a:pt x="203" y="44"/>
                    <a:pt x="200" y="23"/>
                    <a:pt x="191" y="23"/>
                  </a:cubicBezTo>
                  <a:cubicBezTo>
                    <a:pt x="182" y="23"/>
                    <a:pt x="178" y="39"/>
                    <a:pt x="174" y="41"/>
                  </a:cubicBezTo>
                  <a:cubicBezTo>
                    <a:pt x="170" y="43"/>
                    <a:pt x="166" y="16"/>
                    <a:pt x="166" y="16"/>
                  </a:cubicBezTo>
                  <a:cubicBezTo>
                    <a:pt x="138" y="17"/>
                    <a:pt x="138" y="17"/>
                    <a:pt x="138" y="17"/>
                  </a:cubicBezTo>
                  <a:cubicBezTo>
                    <a:pt x="138" y="17"/>
                    <a:pt x="129" y="24"/>
                    <a:pt x="122" y="24"/>
                  </a:cubicBezTo>
                  <a:cubicBezTo>
                    <a:pt x="115" y="24"/>
                    <a:pt x="106" y="8"/>
                    <a:pt x="106" y="8"/>
                  </a:cubicBezTo>
                  <a:cubicBezTo>
                    <a:pt x="106" y="8"/>
                    <a:pt x="103" y="16"/>
                    <a:pt x="95" y="14"/>
                  </a:cubicBezTo>
                  <a:cubicBezTo>
                    <a:pt x="87" y="12"/>
                    <a:pt x="87" y="1"/>
                    <a:pt x="87" y="1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303">
              <a:extLst>
                <a:ext uri="{FF2B5EF4-FFF2-40B4-BE49-F238E27FC236}">
                  <a16:creationId xmlns:a16="http://schemas.microsoft.com/office/drawing/2014/main" id="{B64D69DA-2CB2-D1CA-237A-BB35C442A5F7}"/>
                </a:ext>
              </a:extLst>
            </p:cNvPr>
            <p:cNvSpPr>
              <a:spLocks/>
            </p:cNvSpPr>
            <p:nvPr/>
          </p:nvSpPr>
          <p:spPr bwMode="gray">
            <a:xfrm>
              <a:off x="-8308" y="-13438"/>
              <a:ext cx="1351" cy="1583"/>
            </a:xfrm>
            <a:custGeom>
              <a:avLst/>
              <a:gdLst>
                <a:gd name="T0" fmla="*/ 0 w 572"/>
                <a:gd name="T1" fmla="*/ 332 h 670"/>
                <a:gd name="T2" fmla="*/ 11 w 572"/>
                <a:gd name="T3" fmla="*/ 336 h 670"/>
                <a:gd name="T4" fmla="*/ 15 w 572"/>
                <a:gd name="T5" fmla="*/ 357 h 670"/>
                <a:gd name="T6" fmla="*/ 24 w 572"/>
                <a:gd name="T7" fmla="*/ 349 h 670"/>
                <a:gd name="T8" fmla="*/ 32 w 572"/>
                <a:gd name="T9" fmla="*/ 372 h 670"/>
                <a:gd name="T10" fmla="*/ 30 w 572"/>
                <a:gd name="T11" fmla="*/ 403 h 670"/>
                <a:gd name="T12" fmla="*/ 21 w 572"/>
                <a:gd name="T13" fmla="*/ 403 h 670"/>
                <a:gd name="T14" fmla="*/ 24 w 572"/>
                <a:gd name="T15" fmla="*/ 417 h 670"/>
                <a:gd name="T16" fmla="*/ 16 w 572"/>
                <a:gd name="T17" fmla="*/ 423 h 670"/>
                <a:gd name="T18" fmla="*/ 39 w 572"/>
                <a:gd name="T19" fmla="*/ 470 h 670"/>
                <a:gd name="T20" fmla="*/ 33 w 572"/>
                <a:gd name="T21" fmla="*/ 509 h 670"/>
                <a:gd name="T22" fmla="*/ 31 w 572"/>
                <a:gd name="T23" fmla="*/ 538 h 670"/>
                <a:gd name="T24" fmla="*/ 12 w 572"/>
                <a:gd name="T25" fmla="*/ 570 h 670"/>
                <a:gd name="T26" fmla="*/ 10 w 572"/>
                <a:gd name="T27" fmla="*/ 605 h 670"/>
                <a:gd name="T28" fmla="*/ 28 w 572"/>
                <a:gd name="T29" fmla="*/ 573 h 670"/>
                <a:gd name="T30" fmla="*/ 47 w 572"/>
                <a:gd name="T31" fmla="*/ 575 h 670"/>
                <a:gd name="T32" fmla="*/ 55 w 572"/>
                <a:gd name="T33" fmla="*/ 571 h 670"/>
                <a:gd name="T34" fmla="*/ 78 w 572"/>
                <a:gd name="T35" fmla="*/ 572 h 670"/>
                <a:gd name="T36" fmla="*/ 78 w 572"/>
                <a:gd name="T37" fmla="*/ 562 h 670"/>
                <a:gd name="T38" fmla="*/ 91 w 572"/>
                <a:gd name="T39" fmla="*/ 569 h 670"/>
                <a:gd name="T40" fmla="*/ 115 w 572"/>
                <a:gd name="T41" fmla="*/ 572 h 670"/>
                <a:gd name="T42" fmla="*/ 136 w 572"/>
                <a:gd name="T43" fmla="*/ 596 h 670"/>
                <a:gd name="T44" fmla="*/ 157 w 572"/>
                <a:gd name="T45" fmla="*/ 593 h 670"/>
                <a:gd name="T46" fmla="*/ 165 w 572"/>
                <a:gd name="T47" fmla="*/ 630 h 670"/>
                <a:gd name="T48" fmla="*/ 179 w 572"/>
                <a:gd name="T49" fmla="*/ 632 h 670"/>
                <a:gd name="T50" fmla="*/ 182 w 572"/>
                <a:gd name="T51" fmla="*/ 648 h 670"/>
                <a:gd name="T52" fmla="*/ 199 w 572"/>
                <a:gd name="T53" fmla="*/ 654 h 670"/>
                <a:gd name="T54" fmla="*/ 208 w 572"/>
                <a:gd name="T55" fmla="*/ 668 h 670"/>
                <a:gd name="T56" fmla="*/ 228 w 572"/>
                <a:gd name="T57" fmla="*/ 667 h 670"/>
                <a:gd name="T58" fmla="*/ 232 w 572"/>
                <a:gd name="T59" fmla="*/ 653 h 670"/>
                <a:gd name="T60" fmla="*/ 247 w 572"/>
                <a:gd name="T61" fmla="*/ 625 h 670"/>
                <a:gd name="T62" fmla="*/ 272 w 572"/>
                <a:gd name="T63" fmla="*/ 650 h 670"/>
                <a:gd name="T64" fmla="*/ 282 w 572"/>
                <a:gd name="T65" fmla="*/ 633 h 670"/>
                <a:gd name="T66" fmla="*/ 304 w 572"/>
                <a:gd name="T67" fmla="*/ 633 h 670"/>
                <a:gd name="T68" fmla="*/ 310 w 572"/>
                <a:gd name="T69" fmla="*/ 639 h 670"/>
                <a:gd name="T70" fmla="*/ 335 w 572"/>
                <a:gd name="T71" fmla="*/ 635 h 670"/>
                <a:gd name="T72" fmla="*/ 345 w 572"/>
                <a:gd name="T73" fmla="*/ 621 h 670"/>
                <a:gd name="T74" fmla="*/ 349 w 572"/>
                <a:gd name="T75" fmla="*/ 631 h 670"/>
                <a:gd name="T76" fmla="*/ 526 w 572"/>
                <a:gd name="T77" fmla="*/ 628 h 670"/>
                <a:gd name="T78" fmla="*/ 531 w 572"/>
                <a:gd name="T79" fmla="*/ 601 h 670"/>
                <a:gd name="T80" fmla="*/ 536 w 572"/>
                <a:gd name="T81" fmla="*/ 590 h 670"/>
                <a:gd name="T82" fmla="*/ 522 w 572"/>
                <a:gd name="T83" fmla="*/ 577 h 670"/>
                <a:gd name="T84" fmla="*/ 491 w 572"/>
                <a:gd name="T85" fmla="*/ 118 h 670"/>
                <a:gd name="T86" fmla="*/ 572 w 572"/>
                <a:gd name="T87" fmla="*/ 121 h 670"/>
                <a:gd name="T88" fmla="*/ 399 w 572"/>
                <a:gd name="T89" fmla="*/ 0 h 670"/>
                <a:gd name="T90" fmla="*/ 397 w 572"/>
                <a:gd name="T91" fmla="*/ 34 h 670"/>
                <a:gd name="T92" fmla="*/ 392 w 572"/>
                <a:gd name="T93" fmla="*/ 38 h 670"/>
                <a:gd name="T94" fmla="*/ 391 w 572"/>
                <a:gd name="T95" fmla="*/ 63 h 670"/>
                <a:gd name="T96" fmla="*/ 243 w 572"/>
                <a:gd name="T97" fmla="*/ 64 h 670"/>
                <a:gd name="T98" fmla="*/ 243 w 572"/>
                <a:gd name="T99" fmla="*/ 74 h 670"/>
                <a:gd name="T100" fmla="*/ 238 w 572"/>
                <a:gd name="T101" fmla="*/ 77 h 670"/>
                <a:gd name="T102" fmla="*/ 235 w 572"/>
                <a:gd name="T103" fmla="*/ 207 h 670"/>
                <a:gd name="T104" fmla="*/ 208 w 572"/>
                <a:gd name="T105" fmla="*/ 212 h 670"/>
                <a:gd name="T106" fmla="*/ 189 w 572"/>
                <a:gd name="T107" fmla="*/ 223 h 670"/>
                <a:gd name="T108" fmla="*/ 187 w 572"/>
                <a:gd name="T109" fmla="*/ 248 h 670"/>
                <a:gd name="T110" fmla="*/ 186 w 572"/>
                <a:gd name="T111" fmla="*/ 317 h 670"/>
                <a:gd name="T112" fmla="*/ 0 w 572"/>
                <a:gd name="T113" fmla="*/ 319 h 670"/>
                <a:gd name="T114" fmla="*/ 0 w 572"/>
                <a:gd name="T115" fmla="*/ 319 h 670"/>
                <a:gd name="T116" fmla="*/ 0 w 572"/>
                <a:gd name="T117" fmla="*/ 332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2" h="670">
                  <a:moveTo>
                    <a:pt x="0" y="332"/>
                  </a:moveTo>
                  <a:cubicBezTo>
                    <a:pt x="0" y="332"/>
                    <a:pt x="11" y="331"/>
                    <a:pt x="11" y="336"/>
                  </a:cubicBezTo>
                  <a:cubicBezTo>
                    <a:pt x="11" y="341"/>
                    <a:pt x="11" y="354"/>
                    <a:pt x="15" y="357"/>
                  </a:cubicBezTo>
                  <a:cubicBezTo>
                    <a:pt x="19" y="360"/>
                    <a:pt x="24" y="349"/>
                    <a:pt x="24" y="349"/>
                  </a:cubicBezTo>
                  <a:cubicBezTo>
                    <a:pt x="32" y="372"/>
                    <a:pt x="32" y="372"/>
                    <a:pt x="32" y="372"/>
                  </a:cubicBezTo>
                  <a:cubicBezTo>
                    <a:pt x="30" y="403"/>
                    <a:pt x="30" y="403"/>
                    <a:pt x="30" y="403"/>
                  </a:cubicBezTo>
                  <a:cubicBezTo>
                    <a:pt x="21" y="403"/>
                    <a:pt x="21" y="403"/>
                    <a:pt x="21" y="403"/>
                  </a:cubicBezTo>
                  <a:cubicBezTo>
                    <a:pt x="24" y="417"/>
                    <a:pt x="24" y="417"/>
                    <a:pt x="24" y="417"/>
                  </a:cubicBezTo>
                  <a:cubicBezTo>
                    <a:pt x="16" y="423"/>
                    <a:pt x="16" y="423"/>
                    <a:pt x="16" y="423"/>
                  </a:cubicBezTo>
                  <a:cubicBezTo>
                    <a:pt x="16" y="423"/>
                    <a:pt x="39" y="452"/>
                    <a:pt x="39" y="470"/>
                  </a:cubicBezTo>
                  <a:cubicBezTo>
                    <a:pt x="39" y="488"/>
                    <a:pt x="33" y="509"/>
                    <a:pt x="33" y="509"/>
                  </a:cubicBezTo>
                  <a:cubicBezTo>
                    <a:pt x="31" y="538"/>
                    <a:pt x="31" y="538"/>
                    <a:pt x="31" y="538"/>
                  </a:cubicBezTo>
                  <a:cubicBezTo>
                    <a:pt x="31" y="538"/>
                    <a:pt x="15" y="555"/>
                    <a:pt x="12" y="570"/>
                  </a:cubicBezTo>
                  <a:cubicBezTo>
                    <a:pt x="10" y="579"/>
                    <a:pt x="10" y="594"/>
                    <a:pt x="10" y="605"/>
                  </a:cubicBezTo>
                  <a:cubicBezTo>
                    <a:pt x="22" y="603"/>
                    <a:pt x="19" y="579"/>
                    <a:pt x="28" y="573"/>
                  </a:cubicBezTo>
                  <a:cubicBezTo>
                    <a:pt x="37" y="567"/>
                    <a:pt x="47" y="575"/>
                    <a:pt x="47" y="575"/>
                  </a:cubicBezTo>
                  <a:cubicBezTo>
                    <a:pt x="55" y="571"/>
                    <a:pt x="55" y="571"/>
                    <a:pt x="55" y="571"/>
                  </a:cubicBezTo>
                  <a:cubicBezTo>
                    <a:pt x="78" y="572"/>
                    <a:pt x="78" y="572"/>
                    <a:pt x="78" y="572"/>
                  </a:cubicBezTo>
                  <a:cubicBezTo>
                    <a:pt x="78" y="562"/>
                    <a:pt x="78" y="562"/>
                    <a:pt x="78" y="562"/>
                  </a:cubicBezTo>
                  <a:cubicBezTo>
                    <a:pt x="91" y="569"/>
                    <a:pt x="91" y="569"/>
                    <a:pt x="91" y="569"/>
                  </a:cubicBezTo>
                  <a:cubicBezTo>
                    <a:pt x="91" y="569"/>
                    <a:pt x="105" y="570"/>
                    <a:pt x="115" y="572"/>
                  </a:cubicBezTo>
                  <a:cubicBezTo>
                    <a:pt x="125" y="574"/>
                    <a:pt x="136" y="596"/>
                    <a:pt x="136" y="596"/>
                  </a:cubicBezTo>
                  <a:cubicBezTo>
                    <a:pt x="136" y="596"/>
                    <a:pt x="150" y="592"/>
                    <a:pt x="157" y="593"/>
                  </a:cubicBezTo>
                  <a:cubicBezTo>
                    <a:pt x="164" y="594"/>
                    <a:pt x="165" y="630"/>
                    <a:pt x="165" y="630"/>
                  </a:cubicBezTo>
                  <a:cubicBezTo>
                    <a:pt x="165" y="630"/>
                    <a:pt x="176" y="631"/>
                    <a:pt x="179" y="632"/>
                  </a:cubicBezTo>
                  <a:cubicBezTo>
                    <a:pt x="182" y="633"/>
                    <a:pt x="182" y="648"/>
                    <a:pt x="182" y="648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8" y="668"/>
                    <a:pt x="208" y="668"/>
                    <a:pt x="208" y="668"/>
                  </a:cubicBezTo>
                  <a:cubicBezTo>
                    <a:pt x="208" y="668"/>
                    <a:pt x="220" y="670"/>
                    <a:pt x="228" y="667"/>
                  </a:cubicBezTo>
                  <a:cubicBezTo>
                    <a:pt x="236" y="664"/>
                    <a:pt x="233" y="654"/>
                    <a:pt x="232" y="653"/>
                  </a:cubicBezTo>
                  <a:cubicBezTo>
                    <a:pt x="232" y="634"/>
                    <a:pt x="234" y="625"/>
                    <a:pt x="247" y="625"/>
                  </a:cubicBezTo>
                  <a:cubicBezTo>
                    <a:pt x="260" y="625"/>
                    <a:pt x="272" y="650"/>
                    <a:pt x="272" y="650"/>
                  </a:cubicBezTo>
                  <a:cubicBezTo>
                    <a:pt x="282" y="633"/>
                    <a:pt x="282" y="633"/>
                    <a:pt x="282" y="633"/>
                  </a:cubicBezTo>
                  <a:cubicBezTo>
                    <a:pt x="304" y="633"/>
                    <a:pt x="304" y="633"/>
                    <a:pt x="304" y="633"/>
                  </a:cubicBezTo>
                  <a:cubicBezTo>
                    <a:pt x="310" y="639"/>
                    <a:pt x="310" y="639"/>
                    <a:pt x="310" y="639"/>
                  </a:cubicBezTo>
                  <a:cubicBezTo>
                    <a:pt x="310" y="639"/>
                    <a:pt x="327" y="636"/>
                    <a:pt x="335" y="635"/>
                  </a:cubicBezTo>
                  <a:cubicBezTo>
                    <a:pt x="343" y="634"/>
                    <a:pt x="341" y="622"/>
                    <a:pt x="345" y="621"/>
                  </a:cubicBezTo>
                  <a:cubicBezTo>
                    <a:pt x="349" y="620"/>
                    <a:pt x="349" y="631"/>
                    <a:pt x="349" y="631"/>
                  </a:cubicBezTo>
                  <a:cubicBezTo>
                    <a:pt x="526" y="628"/>
                    <a:pt x="526" y="628"/>
                    <a:pt x="526" y="628"/>
                  </a:cubicBezTo>
                  <a:cubicBezTo>
                    <a:pt x="531" y="601"/>
                    <a:pt x="531" y="601"/>
                    <a:pt x="531" y="601"/>
                  </a:cubicBezTo>
                  <a:cubicBezTo>
                    <a:pt x="531" y="601"/>
                    <a:pt x="537" y="597"/>
                    <a:pt x="536" y="590"/>
                  </a:cubicBezTo>
                  <a:cubicBezTo>
                    <a:pt x="535" y="583"/>
                    <a:pt x="522" y="577"/>
                    <a:pt x="522" y="577"/>
                  </a:cubicBezTo>
                  <a:cubicBezTo>
                    <a:pt x="491" y="118"/>
                    <a:pt x="491" y="118"/>
                    <a:pt x="491" y="118"/>
                  </a:cubicBezTo>
                  <a:cubicBezTo>
                    <a:pt x="572" y="121"/>
                    <a:pt x="572" y="121"/>
                    <a:pt x="572" y="121"/>
                  </a:cubicBezTo>
                  <a:cubicBezTo>
                    <a:pt x="399" y="0"/>
                    <a:pt x="399" y="0"/>
                    <a:pt x="399" y="0"/>
                  </a:cubicBezTo>
                  <a:cubicBezTo>
                    <a:pt x="397" y="34"/>
                    <a:pt x="397" y="34"/>
                    <a:pt x="397" y="34"/>
                  </a:cubicBezTo>
                  <a:cubicBezTo>
                    <a:pt x="392" y="38"/>
                    <a:pt x="392" y="38"/>
                    <a:pt x="392" y="38"/>
                  </a:cubicBezTo>
                  <a:cubicBezTo>
                    <a:pt x="391" y="63"/>
                    <a:pt x="391" y="63"/>
                    <a:pt x="391" y="63"/>
                  </a:cubicBezTo>
                  <a:cubicBezTo>
                    <a:pt x="243" y="64"/>
                    <a:pt x="243" y="64"/>
                    <a:pt x="243" y="64"/>
                  </a:cubicBezTo>
                  <a:cubicBezTo>
                    <a:pt x="243" y="74"/>
                    <a:pt x="243" y="74"/>
                    <a:pt x="243" y="74"/>
                  </a:cubicBezTo>
                  <a:cubicBezTo>
                    <a:pt x="238" y="77"/>
                    <a:pt x="238" y="77"/>
                    <a:pt x="238" y="77"/>
                  </a:cubicBezTo>
                  <a:cubicBezTo>
                    <a:pt x="238" y="77"/>
                    <a:pt x="237" y="201"/>
                    <a:pt x="235" y="207"/>
                  </a:cubicBezTo>
                  <a:cubicBezTo>
                    <a:pt x="233" y="213"/>
                    <a:pt x="208" y="212"/>
                    <a:pt x="208" y="212"/>
                  </a:cubicBezTo>
                  <a:cubicBezTo>
                    <a:pt x="208" y="212"/>
                    <a:pt x="200" y="213"/>
                    <a:pt x="189" y="223"/>
                  </a:cubicBezTo>
                  <a:cubicBezTo>
                    <a:pt x="178" y="233"/>
                    <a:pt x="187" y="248"/>
                    <a:pt x="187" y="248"/>
                  </a:cubicBezTo>
                  <a:cubicBezTo>
                    <a:pt x="186" y="317"/>
                    <a:pt x="186" y="317"/>
                    <a:pt x="186" y="317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26"/>
                    <a:pt x="0" y="332"/>
                    <a:pt x="0" y="33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24" name="Freeform 304">
              <a:extLst>
                <a:ext uri="{FF2B5EF4-FFF2-40B4-BE49-F238E27FC236}">
                  <a16:creationId xmlns:a16="http://schemas.microsoft.com/office/drawing/2014/main" id="{B77F90DE-8D36-6089-71B4-8236FDD24B83}"/>
                </a:ext>
              </a:extLst>
            </p:cNvPr>
            <p:cNvSpPr>
              <a:spLocks/>
            </p:cNvSpPr>
            <p:nvPr/>
          </p:nvSpPr>
          <p:spPr bwMode="gray">
            <a:xfrm>
              <a:off x="-7080" y="-11896"/>
              <a:ext cx="902" cy="709"/>
            </a:xfrm>
            <a:custGeom>
              <a:avLst/>
              <a:gdLst>
                <a:gd name="T0" fmla="*/ 3 w 382"/>
                <a:gd name="T1" fmla="*/ 246 h 300"/>
                <a:gd name="T2" fmla="*/ 19 w 382"/>
                <a:gd name="T3" fmla="*/ 256 h 300"/>
                <a:gd name="T4" fmla="*/ 59 w 382"/>
                <a:gd name="T5" fmla="*/ 293 h 300"/>
                <a:gd name="T6" fmla="*/ 124 w 382"/>
                <a:gd name="T7" fmla="*/ 300 h 300"/>
                <a:gd name="T8" fmla="*/ 132 w 382"/>
                <a:gd name="T9" fmla="*/ 299 h 300"/>
                <a:gd name="T10" fmla="*/ 130 w 382"/>
                <a:gd name="T11" fmla="*/ 245 h 300"/>
                <a:gd name="T12" fmla="*/ 132 w 382"/>
                <a:gd name="T13" fmla="*/ 219 h 300"/>
                <a:gd name="T14" fmla="*/ 192 w 382"/>
                <a:gd name="T15" fmla="*/ 219 h 300"/>
                <a:gd name="T16" fmla="*/ 215 w 382"/>
                <a:gd name="T17" fmla="*/ 219 h 300"/>
                <a:gd name="T18" fmla="*/ 251 w 382"/>
                <a:gd name="T19" fmla="*/ 212 h 300"/>
                <a:gd name="T20" fmla="*/ 276 w 382"/>
                <a:gd name="T21" fmla="*/ 215 h 300"/>
                <a:gd name="T22" fmla="*/ 305 w 382"/>
                <a:gd name="T23" fmla="*/ 221 h 300"/>
                <a:gd name="T24" fmla="*/ 318 w 382"/>
                <a:gd name="T25" fmla="*/ 214 h 300"/>
                <a:gd name="T26" fmla="*/ 357 w 382"/>
                <a:gd name="T27" fmla="*/ 197 h 300"/>
                <a:gd name="T28" fmla="*/ 373 w 382"/>
                <a:gd name="T29" fmla="*/ 183 h 300"/>
                <a:gd name="T30" fmla="*/ 382 w 382"/>
                <a:gd name="T31" fmla="*/ 170 h 300"/>
                <a:gd name="T32" fmla="*/ 360 w 382"/>
                <a:gd name="T33" fmla="*/ 145 h 300"/>
                <a:gd name="T34" fmla="*/ 364 w 382"/>
                <a:gd name="T35" fmla="*/ 126 h 300"/>
                <a:gd name="T36" fmla="*/ 310 w 382"/>
                <a:gd name="T37" fmla="*/ 104 h 300"/>
                <a:gd name="T38" fmla="*/ 312 w 382"/>
                <a:gd name="T39" fmla="*/ 87 h 300"/>
                <a:gd name="T40" fmla="*/ 289 w 382"/>
                <a:gd name="T41" fmla="*/ 72 h 300"/>
                <a:gd name="T42" fmla="*/ 277 w 382"/>
                <a:gd name="T43" fmla="*/ 32 h 300"/>
                <a:gd name="T44" fmla="*/ 260 w 382"/>
                <a:gd name="T45" fmla="*/ 2 h 300"/>
                <a:gd name="T46" fmla="*/ 215 w 382"/>
                <a:gd name="T47" fmla="*/ 12 h 300"/>
                <a:gd name="T48" fmla="*/ 190 w 382"/>
                <a:gd name="T49" fmla="*/ 28 h 300"/>
                <a:gd name="T50" fmla="*/ 169 w 382"/>
                <a:gd name="T51" fmla="*/ 50 h 300"/>
                <a:gd name="T52" fmla="*/ 125 w 382"/>
                <a:gd name="T53" fmla="*/ 72 h 300"/>
                <a:gd name="T54" fmla="*/ 112 w 382"/>
                <a:gd name="T55" fmla="*/ 96 h 300"/>
                <a:gd name="T56" fmla="*/ 76 w 382"/>
                <a:gd name="T57" fmla="*/ 82 h 300"/>
                <a:gd name="T58" fmla="*/ 69 w 382"/>
                <a:gd name="T59" fmla="*/ 121 h 300"/>
                <a:gd name="T60" fmla="*/ 57 w 382"/>
                <a:gd name="T61" fmla="*/ 145 h 300"/>
                <a:gd name="T62" fmla="*/ 48 w 382"/>
                <a:gd name="T63" fmla="*/ 161 h 300"/>
                <a:gd name="T64" fmla="*/ 8 w 382"/>
                <a:gd name="T65" fmla="*/ 173 h 300"/>
                <a:gd name="T66" fmla="*/ 15 w 382"/>
                <a:gd name="T67" fmla="*/ 209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2" h="300">
                  <a:moveTo>
                    <a:pt x="0" y="209"/>
                  </a:moveTo>
                  <a:cubicBezTo>
                    <a:pt x="3" y="246"/>
                    <a:pt x="3" y="246"/>
                    <a:pt x="3" y="246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19" y="256"/>
                    <a:pt x="19" y="256"/>
                    <a:pt x="19" y="256"/>
                  </a:cubicBezTo>
                  <a:cubicBezTo>
                    <a:pt x="19" y="256"/>
                    <a:pt x="29" y="287"/>
                    <a:pt x="39" y="288"/>
                  </a:cubicBezTo>
                  <a:cubicBezTo>
                    <a:pt x="49" y="289"/>
                    <a:pt x="59" y="293"/>
                    <a:pt x="59" y="293"/>
                  </a:cubicBezTo>
                  <a:cubicBezTo>
                    <a:pt x="59" y="293"/>
                    <a:pt x="70" y="271"/>
                    <a:pt x="100" y="275"/>
                  </a:cubicBezTo>
                  <a:cubicBezTo>
                    <a:pt x="130" y="279"/>
                    <a:pt x="124" y="300"/>
                    <a:pt x="124" y="300"/>
                  </a:cubicBezTo>
                  <a:cubicBezTo>
                    <a:pt x="136" y="298"/>
                    <a:pt x="136" y="298"/>
                    <a:pt x="136" y="298"/>
                  </a:cubicBezTo>
                  <a:cubicBezTo>
                    <a:pt x="132" y="299"/>
                    <a:pt x="132" y="299"/>
                    <a:pt x="132" y="299"/>
                  </a:cubicBezTo>
                  <a:cubicBezTo>
                    <a:pt x="131" y="263"/>
                    <a:pt x="131" y="263"/>
                    <a:pt x="131" y="263"/>
                  </a:cubicBezTo>
                  <a:cubicBezTo>
                    <a:pt x="130" y="245"/>
                    <a:pt x="130" y="245"/>
                    <a:pt x="130" y="245"/>
                  </a:cubicBezTo>
                  <a:cubicBezTo>
                    <a:pt x="130" y="245"/>
                    <a:pt x="124" y="244"/>
                    <a:pt x="124" y="236"/>
                  </a:cubicBezTo>
                  <a:cubicBezTo>
                    <a:pt x="124" y="228"/>
                    <a:pt x="132" y="219"/>
                    <a:pt x="132" y="219"/>
                  </a:cubicBezTo>
                  <a:cubicBezTo>
                    <a:pt x="187" y="222"/>
                    <a:pt x="187" y="222"/>
                    <a:pt x="187" y="222"/>
                  </a:cubicBezTo>
                  <a:cubicBezTo>
                    <a:pt x="192" y="219"/>
                    <a:pt x="192" y="219"/>
                    <a:pt x="192" y="219"/>
                  </a:cubicBezTo>
                  <a:cubicBezTo>
                    <a:pt x="204" y="222"/>
                    <a:pt x="204" y="222"/>
                    <a:pt x="204" y="222"/>
                  </a:cubicBezTo>
                  <a:cubicBezTo>
                    <a:pt x="215" y="219"/>
                    <a:pt x="215" y="219"/>
                    <a:pt x="215" y="219"/>
                  </a:cubicBezTo>
                  <a:cubicBezTo>
                    <a:pt x="235" y="222"/>
                    <a:pt x="235" y="222"/>
                    <a:pt x="235" y="222"/>
                  </a:cubicBezTo>
                  <a:cubicBezTo>
                    <a:pt x="251" y="212"/>
                    <a:pt x="251" y="212"/>
                    <a:pt x="251" y="212"/>
                  </a:cubicBezTo>
                  <a:cubicBezTo>
                    <a:pt x="265" y="216"/>
                    <a:pt x="265" y="216"/>
                    <a:pt x="265" y="216"/>
                  </a:cubicBezTo>
                  <a:cubicBezTo>
                    <a:pt x="276" y="215"/>
                    <a:pt x="276" y="215"/>
                    <a:pt x="276" y="215"/>
                  </a:cubicBezTo>
                  <a:cubicBezTo>
                    <a:pt x="291" y="222"/>
                    <a:pt x="291" y="222"/>
                    <a:pt x="291" y="222"/>
                  </a:cubicBezTo>
                  <a:cubicBezTo>
                    <a:pt x="305" y="221"/>
                    <a:pt x="305" y="221"/>
                    <a:pt x="305" y="221"/>
                  </a:cubicBezTo>
                  <a:cubicBezTo>
                    <a:pt x="310" y="214"/>
                    <a:pt x="310" y="214"/>
                    <a:pt x="310" y="214"/>
                  </a:cubicBezTo>
                  <a:cubicBezTo>
                    <a:pt x="318" y="214"/>
                    <a:pt x="318" y="214"/>
                    <a:pt x="318" y="214"/>
                  </a:cubicBezTo>
                  <a:cubicBezTo>
                    <a:pt x="318" y="214"/>
                    <a:pt x="320" y="200"/>
                    <a:pt x="331" y="195"/>
                  </a:cubicBezTo>
                  <a:cubicBezTo>
                    <a:pt x="331" y="196"/>
                    <a:pt x="357" y="197"/>
                    <a:pt x="357" y="197"/>
                  </a:cubicBezTo>
                  <a:cubicBezTo>
                    <a:pt x="357" y="197"/>
                    <a:pt x="358" y="190"/>
                    <a:pt x="362" y="187"/>
                  </a:cubicBezTo>
                  <a:cubicBezTo>
                    <a:pt x="366" y="184"/>
                    <a:pt x="373" y="183"/>
                    <a:pt x="373" y="183"/>
                  </a:cubicBezTo>
                  <a:cubicBezTo>
                    <a:pt x="376" y="172"/>
                    <a:pt x="376" y="172"/>
                    <a:pt x="376" y="172"/>
                  </a:cubicBezTo>
                  <a:cubicBezTo>
                    <a:pt x="382" y="170"/>
                    <a:pt x="382" y="170"/>
                    <a:pt x="382" y="170"/>
                  </a:cubicBezTo>
                  <a:cubicBezTo>
                    <a:pt x="375" y="167"/>
                    <a:pt x="375" y="167"/>
                    <a:pt x="375" y="167"/>
                  </a:cubicBezTo>
                  <a:cubicBezTo>
                    <a:pt x="360" y="145"/>
                    <a:pt x="360" y="145"/>
                    <a:pt x="360" y="145"/>
                  </a:cubicBezTo>
                  <a:cubicBezTo>
                    <a:pt x="375" y="140"/>
                    <a:pt x="375" y="140"/>
                    <a:pt x="375" y="140"/>
                  </a:cubicBezTo>
                  <a:cubicBezTo>
                    <a:pt x="375" y="140"/>
                    <a:pt x="373" y="130"/>
                    <a:pt x="364" y="126"/>
                  </a:cubicBezTo>
                  <a:cubicBezTo>
                    <a:pt x="355" y="122"/>
                    <a:pt x="356" y="131"/>
                    <a:pt x="344" y="131"/>
                  </a:cubicBezTo>
                  <a:cubicBezTo>
                    <a:pt x="332" y="131"/>
                    <a:pt x="313" y="109"/>
                    <a:pt x="310" y="104"/>
                  </a:cubicBezTo>
                  <a:cubicBezTo>
                    <a:pt x="307" y="99"/>
                    <a:pt x="322" y="88"/>
                    <a:pt x="322" y="88"/>
                  </a:cubicBezTo>
                  <a:cubicBezTo>
                    <a:pt x="312" y="87"/>
                    <a:pt x="312" y="87"/>
                    <a:pt x="312" y="87"/>
                  </a:cubicBezTo>
                  <a:cubicBezTo>
                    <a:pt x="311" y="78"/>
                    <a:pt x="311" y="78"/>
                    <a:pt x="311" y="78"/>
                  </a:cubicBezTo>
                  <a:cubicBezTo>
                    <a:pt x="311" y="78"/>
                    <a:pt x="299" y="79"/>
                    <a:pt x="289" y="72"/>
                  </a:cubicBezTo>
                  <a:cubicBezTo>
                    <a:pt x="279" y="65"/>
                    <a:pt x="280" y="41"/>
                    <a:pt x="280" y="41"/>
                  </a:cubicBezTo>
                  <a:cubicBezTo>
                    <a:pt x="277" y="32"/>
                    <a:pt x="277" y="32"/>
                    <a:pt x="277" y="32"/>
                  </a:cubicBezTo>
                  <a:cubicBezTo>
                    <a:pt x="276" y="9"/>
                    <a:pt x="276" y="9"/>
                    <a:pt x="276" y="9"/>
                  </a:cubicBezTo>
                  <a:cubicBezTo>
                    <a:pt x="260" y="2"/>
                    <a:pt x="260" y="2"/>
                    <a:pt x="260" y="2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27" y="0"/>
                    <a:pt x="225" y="8"/>
                    <a:pt x="215" y="12"/>
                  </a:cubicBezTo>
                  <a:cubicBezTo>
                    <a:pt x="205" y="16"/>
                    <a:pt x="201" y="14"/>
                    <a:pt x="201" y="14"/>
                  </a:cubicBezTo>
                  <a:cubicBezTo>
                    <a:pt x="190" y="28"/>
                    <a:pt x="190" y="28"/>
                    <a:pt x="190" y="28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173" y="28"/>
                    <a:pt x="172" y="49"/>
                    <a:pt x="169" y="50"/>
                  </a:cubicBezTo>
                  <a:cubicBezTo>
                    <a:pt x="166" y="51"/>
                    <a:pt x="154" y="39"/>
                    <a:pt x="148" y="41"/>
                  </a:cubicBezTo>
                  <a:cubicBezTo>
                    <a:pt x="142" y="43"/>
                    <a:pt x="125" y="72"/>
                    <a:pt x="125" y="72"/>
                  </a:cubicBezTo>
                  <a:cubicBezTo>
                    <a:pt x="112" y="72"/>
                    <a:pt x="112" y="72"/>
                    <a:pt x="112" y="72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97" y="101"/>
                    <a:pt x="97" y="101"/>
                    <a:pt x="97" y="101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63" y="102"/>
                    <a:pt x="63" y="102"/>
                    <a:pt x="63" y="102"/>
                  </a:cubicBezTo>
                  <a:cubicBezTo>
                    <a:pt x="63" y="102"/>
                    <a:pt x="71" y="116"/>
                    <a:pt x="69" y="121"/>
                  </a:cubicBezTo>
                  <a:cubicBezTo>
                    <a:pt x="67" y="126"/>
                    <a:pt x="55" y="124"/>
                    <a:pt x="55" y="124"/>
                  </a:cubicBezTo>
                  <a:cubicBezTo>
                    <a:pt x="55" y="124"/>
                    <a:pt x="60" y="141"/>
                    <a:pt x="57" y="145"/>
                  </a:cubicBezTo>
                  <a:cubicBezTo>
                    <a:pt x="54" y="149"/>
                    <a:pt x="47" y="150"/>
                    <a:pt x="47" y="150"/>
                  </a:cubicBezTo>
                  <a:cubicBezTo>
                    <a:pt x="47" y="150"/>
                    <a:pt x="60" y="160"/>
                    <a:pt x="48" y="161"/>
                  </a:cubicBezTo>
                  <a:cubicBezTo>
                    <a:pt x="36" y="162"/>
                    <a:pt x="21" y="165"/>
                    <a:pt x="21" y="16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23" y="194"/>
                    <a:pt x="23" y="194"/>
                    <a:pt x="23" y="194"/>
                  </a:cubicBezTo>
                  <a:cubicBezTo>
                    <a:pt x="15" y="209"/>
                    <a:pt x="15" y="209"/>
                    <a:pt x="15" y="209"/>
                  </a:cubicBezTo>
                  <a:lnTo>
                    <a:pt x="0" y="20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305">
              <a:extLst>
                <a:ext uri="{FF2B5EF4-FFF2-40B4-BE49-F238E27FC236}">
                  <a16:creationId xmlns:a16="http://schemas.microsoft.com/office/drawing/2014/main" id="{8FB72915-A257-C5C1-089C-C67E78E6085B}"/>
                </a:ext>
              </a:extLst>
            </p:cNvPr>
            <p:cNvSpPr>
              <a:spLocks/>
            </p:cNvSpPr>
            <p:nvPr/>
          </p:nvSpPr>
          <p:spPr bwMode="gray">
            <a:xfrm>
              <a:off x="-7427" y="-11343"/>
              <a:ext cx="687" cy="811"/>
            </a:xfrm>
            <a:custGeom>
              <a:avLst/>
              <a:gdLst>
                <a:gd name="T0" fmla="*/ 266 w 291"/>
                <a:gd name="T1" fmla="*/ 269 h 343"/>
                <a:gd name="T2" fmla="*/ 253 w 291"/>
                <a:gd name="T3" fmla="*/ 219 h 343"/>
                <a:gd name="T4" fmla="*/ 273 w 291"/>
                <a:gd name="T5" fmla="*/ 187 h 343"/>
                <a:gd name="T6" fmla="*/ 274 w 291"/>
                <a:gd name="T7" fmla="*/ 157 h 343"/>
                <a:gd name="T8" fmla="*/ 291 w 291"/>
                <a:gd name="T9" fmla="*/ 130 h 343"/>
                <a:gd name="T10" fmla="*/ 279 w 291"/>
                <a:gd name="T11" fmla="*/ 84 h 343"/>
                <a:gd name="T12" fmla="*/ 287 w 291"/>
                <a:gd name="T13" fmla="*/ 83 h 343"/>
                <a:gd name="T14" fmla="*/ 283 w 291"/>
                <a:gd name="T15" fmla="*/ 64 h 343"/>
                <a:gd name="T16" fmla="*/ 271 w 291"/>
                <a:gd name="T17" fmla="*/ 66 h 343"/>
                <a:gd name="T18" fmla="*/ 247 w 291"/>
                <a:gd name="T19" fmla="*/ 41 h 343"/>
                <a:gd name="T20" fmla="*/ 206 w 291"/>
                <a:gd name="T21" fmla="*/ 59 h 343"/>
                <a:gd name="T22" fmla="*/ 186 w 291"/>
                <a:gd name="T23" fmla="*/ 54 h 343"/>
                <a:gd name="T24" fmla="*/ 166 w 291"/>
                <a:gd name="T25" fmla="*/ 22 h 343"/>
                <a:gd name="T26" fmla="*/ 153 w 291"/>
                <a:gd name="T27" fmla="*/ 26 h 343"/>
                <a:gd name="T28" fmla="*/ 150 w 291"/>
                <a:gd name="T29" fmla="*/ 12 h 343"/>
                <a:gd name="T30" fmla="*/ 131 w 291"/>
                <a:gd name="T31" fmla="*/ 26 h 343"/>
                <a:gd name="T32" fmla="*/ 116 w 291"/>
                <a:gd name="T33" fmla="*/ 24 h 343"/>
                <a:gd name="T34" fmla="*/ 116 w 291"/>
                <a:gd name="T35" fmla="*/ 0 h 343"/>
                <a:gd name="T36" fmla="*/ 108 w 291"/>
                <a:gd name="T37" fmla="*/ 13 h 343"/>
                <a:gd name="T38" fmla="*/ 99 w 291"/>
                <a:gd name="T39" fmla="*/ 1 h 343"/>
                <a:gd name="T40" fmla="*/ 95 w 291"/>
                <a:gd name="T41" fmla="*/ 19 h 343"/>
                <a:gd name="T42" fmla="*/ 85 w 291"/>
                <a:gd name="T43" fmla="*/ 19 h 343"/>
                <a:gd name="T44" fmla="*/ 81 w 291"/>
                <a:gd name="T45" fmla="*/ 31 h 343"/>
                <a:gd name="T46" fmla="*/ 55 w 291"/>
                <a:gd name="T47" fmla="*/ 15 h 343"/>
                <a:gd name="T48" fmla="*/ 42 w 291"/>
                <a:gd name="T49" fmla="*/ 30 h 343"/>
                <a:gd name="T50" fmla="*/ 36 w 291"/>
                <a:gd name="T51" fmla="*/ 27 h 343"/>
                <a:gd name="T52" fmla="*/ 23 w 291"/>
                <a:gd name="T53" fmla="*/ 41 h 343"/>
                <a:gd name="T54" fmla="*/ 28 w 291"/>
                <a:gd name="T55" fmla="*/ 68 h 343"/>
                <a:gd name="T56" fmla="*/ 40 w 291"/>
                <a:gd name="T57" fmla="*/ 69 h 343"/>
                <a:gd name="T58" fmla="*/ 33 w 291"/>
                <a:gd name="T59" fmla="*/ 82 h 343"/>
                <a:gd name="T60" fmla="*/ 43 w 291"/>
                <a:gd name="T61" fmla="*/ 86 h 343"/>
                <a:gd name="T62" fmla="*/ 34 w 291"/>
                <a:gd name="T63" fmla="*/ 103 h 343"/>
                <a:gd name="T64" fmla="*/ 50 w 291"/>
                <a:gd name="T65" fmla="*/ 113 h 343"/>
                <a:gd name="T66" fmla="*/ 49 w 291"/>
                <a:gd name="T67" fmla="*/ 126 h 343"/>
                <a:gd name="T68" fmla="*/ 19 w 291"/>
                <a:gd name="T69" fmla="*/ 122 h 343"/>
                <a:gd name="T70" fmla="*/ 37 w 291"/>
                <a:gd name="T71" fmla="*/ 145 h 343"/>
                <a:gd name="T72" fmla="*/ 25 w 291"/>
                <a:gd name="T73" fmla="*/ 148 h 343"/>
                <a:gd name="T74" fmla="*/ 25 w 291"/>
                <a:gd name="T75" fmla="*/ 169 h 343"/>
                <a:gd name="T76" fmla="*/ 2 w 291"/>
                <a:gd name="T77" fmla="*/ 162 h 343"/>
                <a:gd name="T78" fmla="*/ 15 w 291"/>
                <a:gd name="T79" fmla="*/ 196 h 343"/>
                <a:gd name="T80" fmla="*/ 1 w 291"/>
                <a:gd name="T81" fmla="*/ 228 h 343"/>
                <a:gd name="T82" fmla="*/ 14 w 291"/>
                <a:gd name="T83" fmla="*/ 230 h 343"/>
                <a:gd name="T84" fmla="*/ 14 w 291"/>
                <a:gd name="T85" fmla="*/ 240 h 343"/>
                <a:gd name="T86" fmla="*/ 38 w 291"/>
                <a:gd name="T87" fmla="*/ 236 h 343"/>
                <a:gd name="T88" fmla="*/ 39 w 291"/>
                <a:gd name="T89" fmla="*/ 253 h 343"/>
                <a:gd name="T90" fmla="*/ 60 w 291"/>
                <a:gd name="T91" fmla="*/ 282 h 343"/>
                <a:gd name="T92" fmla="*/ 50 w 291"/>
                <a:gd name="T93" fmla="*/ 316 h 343"/>
                <a:gd name="T94" fmla="*/ 51 w 291"/>
                <a:gd name="T95" fmla="*/ 343 h 343"/>
                <a:gd name="T96" fmla="*/ 66 w 291"/>
                <a:gd name="T97" fmla="*/ 331 h 343"/>
                <a:gd name="T98" fmla="*/ 75 w 291"/>
                <a:gd name="T99" fmla="*/ 331 h 343"/>
                <a:gd name="T100" fmla="*/ 85 w 291"/>
                <a:gd name="T101" fmla="*/ 323 h 343"/>
                <a:gd name="T102" fmla="*/ 151 w 291"/>
                <a:gd name="T103" fmla="*/ 300 h 343"/>
                <a:gd name="T104" fmla="*/ 178 w 291"/>
                <a:gd name="T105" fmla="*/ 296 h 343"/>
                <a:gd name="T106" fmla="*/ 218 w 291"/>
                <a:gd name="T107" fmla="*/ 290 h 343"/>
                <a:gd name="T108" fmla="*/ 236 w 291"/>
                <a:gd name="T109" fmla="*/ 299 h 343"/>
                <a:gd name="T110" fmla="*/ 256 w 291"/>
                <a:gd name="T111" fmla="*/ 289 h 343"/>
                <a:gd name="T112" fmla="*/ 273 w 291"/>
                <a:gd name="T113" fmla="*/ 306 h 343"/>
                <a:gd name="T114" fmla="*/ 285 w 291"/>
                <a:gd name="T115" fmla="*/ 310 h 343"/>
                <a:gd name="T116" fmla="*/ 284 w 291"/>
                <a:gd name="T117" fmla="*/ 275 h 343"/>
                <a:gd name="T118" fmla="*/ 266 w 291"/>
                <a:gd name="T119" fmla="*/ 269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1" h="343">
                  <a:moveTo>
                    <a:pt x="266" y="269"/>
                  </a:moveTo>
                  <a:cubicBezTo>
                    <a:pt x="266" y="269"/>
                    <a:pt x="253" y="233"/>
                    <a:pt x="253" y="219"/>
                  </a:cubicBezTo>
                  <a:cubicBezTo>
                    <a:pt x="253" y="205"/>
                    <a:pt x="273" y="187"/>
                    <a:pt x="273" y="187"/>
                  </a:cubicBezTo>
                  <a:cubicBezTo>
                    <a:pt x="273" y="187"/>
                    <a:pt x="274" y="165"/>
                    <a:pt x="274" y="157"/>
                  </a:cubicBezTo>
                  <a:cubicBezTo>
                    <a:pt x="274" y="149"/>
                    <a:pt x="291" y="142"/>
                    <a:pt x="291" y="130"/>
                  </a:cubicBezTo>
                  <a:cubicBezTo>
                    <a:pt x="291" y="118"/>
                    <a:pt x="279" y="84"/>
                    <a:pt x="279" y="84"/>
                  </a:cubicBezTo>
                  <a:cubicBezTo>
                    <a:pt x="287" y="83"/>
                    <a:pt x="287" y="83"/>
                    <a:pt x="287" y="83"/>
                  </a:cubicBezTo>
                  <a:cubicBezTo>
                    <a:pt x="283" y="64"/>
                    <a:pt x="283" y="64"/>
                    <a:pt x="283" y="64"/>
                  </a:cubicBezTo>
                  <a:cubicBezTo>
                    <a:pt x="271" y="66"/>
                    <a:pt x="271" y="66"/>
                    <a:pt x="271" y="66"/>
                  </a:cubicBezTo>
                  <a:cubicBezTo>
                    <a:pt x="271" y="66"/>
                    <a:pt x="277" y="45"/>
                    <a:pt x="247" y="41"/>
                  </a:cubicBezTo>
                  <a:cubicBezTo>
                    <a:pt x="217" y="37"/>
                    <a:pt x="206" y="59"/>
                    <a:pt x="206" y="59"/>
                  </a:cubicBezTo>
                  <a:cubicBezTo>
                    <a:pt x="206" y="59"/>
                    <a:pt x="196" y="55"/>
                    <a:pt x="186" y="54"/>
                  </a:cubicBezTo>
                  <a:cubicBezTo>
                    <a:pt x="176" y="53"/>
                    <a:pt x="166" y="22"/>
                    <a:pt x="166" y="22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35" y="12"/>
                    <a:pt x="131" y="26"/>
                    <a:pt x="131" y="26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71" y="17"/>
                    <a:pt x="55" y="15"/>
                  </a:cubicBezTo>
                  <a:cubicBezTo>
                    <a:pt x="39" y="13"/>
                    <a:pt x="42" y="30"/>
                    <a:pt x="42" y="30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3" y="86"/>
                    <a:pt x="33" y="95"/>
                    <a:pt x="34" y="103"/>
                  </a:cubicBezTo>
                  <a:cubicBezTo>
                    <a:pt x="35" y="111"/>
                    <a:pt x="50" y="106"/>
                    <a:pt x="50" y="113"/>
                  </a:cubicBezTo>
                  <a:cubicBezTo>
                    <a:pt x="50" y="120"/>
                    <a:pt x="49" y="126"/>
                    <a:pt x="49" y="126"/>
                  </a:cubicBezTo>
                  <a:cubicBezTo>
                    <a:pt x="49" y="126"/>
                    <a:pt x="19" y="112"/>
                    <a:pt x="19" y="122"/>
                  </a:cubicBezTo>
                  <a:cubicBezTo>
                    <a:pt x="19" y="132"/>
                    <a:pt x="37" y="145"/>
                    <a:pt x="37" y="145"/>
                  </a:cubicBezTo>
                  <a:cubicBezTo>
                    <a:pt x="25" y="148"/>
                    <a:pt x="25" y="148"/>
                    <a:pt x="25" y="148"/>
                  </a:cubicBezTo>
                  <a:cubicBezTo>
                    <a:pt x="25" y="148"/>
                    <a:pt x="32" y="166"/>
                    <a:pt x="25" y="169"/>
                  </a:cubicBezTo>
                  <a:cubicBezTo>
                    <a:pt x="19" y="171"/>
                    <a:pt x="9" y="164"/>
                    <a:pt x="2" y="162"/>
                  </a:cubicBezTo>
                  <a:cubicBezTo>
                    <a:pt x="7" y="172"/>
                    <a:pt x="15" y="186"/>
                    <a:pt x="15" y="196"/>
                  </a:cubicBezTo>
                  <a:cubicBezTo>
                    <a:pt x="15" y="211"/>
                    <a:pt x="0" y="225"/>
                    <a:pt x="1" y="228"/>
                  </a:cubicBezTo>
                  <a:cubicBezTo>
                    <a:pt x="2" y="231"/>
                    <a:pt x="14" y="230"/>
                    <a:pt x="14" y="230"/>
                  </a:cubicBezTo>
                  <a:cubicBezTo>
                    <a:pt x="14" y="240"/>
                    <a:pt x="14" y="240"/>
                    <a:pt x="14" y="240"/>
                  </a:cubicBezTo>
                  <a:cubicBezTo>
                    <a:pt x="38" y="236"/>
                    <a:pt x="38" y="236"/>
                    <a:pt x="38" y="236"/>
                  </a:cubicBezTo>
                  <a:cubicBezTo>
                    <a:pt x="39" y="253"/>
                    <a:pt x="39" y="253"/>
                    <a:pt x="39" y="253"/>
                  </a:cubicBezTo>
                  <a:cubicBezTo>
                    <a:pt x="39" y="253"/>
                    <a:pt x="60" y="269"/>
                    <a:pt x="60" y="282"/>
                  </a:cubicBezTo>
                  <a:cubicBezTo>
                    <a:pt x="60" y="295"/>
                    <a:pt x="50" y="316"/>
                    <a:pt x="50" y="316"/>
                  </a:cubicBezTo>
                  <a:cubicBezTo>
                    <a:pt x="51" y="343"/>
                    <a:pt x="51" y="343"/>
                    <a:pt x="51" y="343"/>
                  </a:cubicBezTo>
                  <a:cubicBezTo>
                    <a:pt x="63" y="341"/>
                    <a:pt x="66" y="331"/>
                    <a:pt x="66" y="331"/>
                  </a:cubicBezTo>
                  <a:cubicBezTo>
                    <a:pt x="75" y="331"/>
                    <a:pt x="75" y="331"/>
                    <a:pt x="75" y="331"/>
                  </a:cubicBezTo>
                  <a:cubicBezTo>
                    <a:pt x="85" y="323"/>
                    <a:pt x="85" y="323"/>
                    <a:pt x="85" y="323"/>
                  </a:cubicBezTo>
                  <a:cubicBezTo>
                    <a:pt x="85" y="323"/>
                    <a:pt x="131" y="298"/>
                    <a:pt x="151" y="300"/>
                  </a:cubicBezTo>
                  <a:cubicBezTo>
                    <a:pt x="171" y="302"/>
                    <a:pt x="178" y="296"/>
                    <a:pt x="178" y="296"/>
                  </a:cubicBezTo>
                  <a:cubicBezTo>
                    <a:pt x="178" y="296"/>
                    <a:pt x="209" y="285"/>
                    <a:pt x="218" y="290"/>
                  </a:cubicBezTo>
                  <a:cubicBezTo>
                    <a:pt x="227" y="295"/>
                    <a:pt x="229" y="300"/>
                    <a:pt x="236" y="299"/>
                  </a:cubicBezTo>
                  <a:cubicBezTo>
                    <a:pt x="243" y="298"/>
                    <a:pt x="256" y="289"/>
                    <a:pt x="256" y="289"/>
                  </a:cubicBezTo>
                  <a:cubicBezTo>
                    <a:pt x="256" y="289"/>
                    <a:pt x="257" y="299"/>
                    <a:pt x="273" y="306"/>
                  </a:cubicBezTo>
                  <a:cubicBezTo>
                    <a:pt x="277" y="308"/>
                    <a:pt x="281" y="309"/>
                    <a:pt x="285" y="310"/>
                  </a:cubicBezTo>
                  <a:cubicBezTo>
                    <a:pt x="284" y="275"/>
                    <a:pt x="284" y="275"/>
                    <a:pt x="284" y="275"/>
                  </a:cubicBezTo>
                  <a:lnTo>
                    <a:pt x="266" y="26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306">
              <a:extLst>
                <a:ext uri="{FF2B5EF4-FFF2-40B4-BE49-F238E27FC236}">
                  <a16:creationId xmlns:a16="http://schemas.microsoft.com/office/drawing/2014/main" id="{CE658E61-4DB7-283F-E6FC-4E080EF745AE}"/>
                </a:ext>
              </a:extLst>
            </p:cNvPr>
            <p:cNvSpPr>
              <a:spLocks/>
            </p:cNvSpPr>
            <p:nvPr/>
          </p:nvSpPr>
          <p:spPr bwMode="gray">
            <a:xfrm>
              <a:off x="-6428" y="-12966"/>
              <a:ext cx="1750" cy="1484"/>
            </a:xfrm>
            <a:custGeom>
              <a:avLst/>
              <a:gdLst>
                <a:gd name="T0" fmla="*/ 36 w 741"/>
                <a:gd name="T1" fmla="*/ 540 h 628"/>
                <a:gd name="T2" fmla="*/ 34 w 741"/>
                <a:gd name="T3" fmla="*/ 557 h 628"/>
                <a:gd name="T4" fmla="*/ 88 w 741"/>
                <a:gd name="T5" fmla="*/ 579 h 628"/>
                <a:gd name="T6" fmla="*/ 84 w 741"/>
                <a:gd name="T7" fmla="*/ 598 h 628"/>
                <a:gd name="T8" fmla="*/ 102 w 741"/>
                <a:gd name="T9" fmla="*/ 604 h 628"/>
                <a:gd name="T10" fmla="*/ 141 w 741"/>
                <a:gd name="T11" fmla="*/ 619 h 628"/>
                <a:gd name="T12" fmla="*/ 159 w 741"/>
                <a:gd name="T13" fmla="*/ 594 h 628"/>
                <a:gd name="T14" fmla="*/ 183 w 741"/>
                <a:gd name="T15" fmla="*/ 542 h 628"/>
                <a:gd name="T16" fmla="*/ 236 w 741"/>
                <a:gd name="T17" fmla="*/ 526 h 628"/>
                <a:gd name="T18" fmla="*/ 269 w 741"/>
                <a:gd name="T19" fmla="*/ 529 h 628"/>
                <a:gd name="T20" fmla="*/ 305 w 741"/>
                <a:gd name="T21" fmla="*/ 544 h 628"/>
                <a:gd name="T22" fmla="*/ 364 w 741"/>
                <a:gd name="T23" fmla="*/ 544 h 628"/>
                <a:gd name="T24" fmla="*/ 442 w 741"/>
                <a:gd name="T25" fmla="*/ 578 h 628"/>
                <a:gd name="T26" fmla="*/ 554 w 741"/>
                <a:gd name="T27" fmla="*/ 557 h 628"/>
                <a:gd name="T28" fmla="*/ 597 w 741"/>
                <a:gd name="T29" fmla="*/ 541 h 628"/>
                <a:gd name="T30" fmla="*/ 621 w 741"/>
                <a:gd name="T31" fmla="*/ 526 h 628"/>
                <a:gd name="T32" fmla="*/ 621 w 741"/>
                <a:gd name="T33" fmla="*/ 484 h 628"/>
                <a:gd name="T34" fmla="*/ 656 w 741"/>
                <a:gd name="T35" fmla="*/ 426 h 628"/>
                <a:gd name="T36" fmla="*/ 727 w 741"/>
                <a:gd name="T37" fmla="*/ 194 h 628"/>
                <a:gd name="T38" fmla="*/ 721 w 741"/>
                <a:gd name="T39" fmla="*/ 145 h 628"/>
                <a:gd name="T40" fmla="*/ 697 w 741"/>
                <a:gd name="T41" fmla="*/ 105 h 628"/>
                <a:gd name="T42" fmla="*/ 692 w 741"/>
                <a:gd name="T43" fmla="*/ 28 h 628"/>
                <a:gd name="T44" fmla="*/ 623 w 741"/>
                <a:gd name="T45" fmla="*/ 16 h 628"/>
                <a:gd name="T46" fmla="*/ 551 w 741"/>
                <a:gd name="T47" fmla="*/ 0 h 628"/>
                <a:gd name="T48" fmla="*/ 261 w 741"/>
                <a:gd name="T49" fmla="*/ 221 h 628"/>
                <a:gd name="T50" fmla="*/ 190 w 741"/>
                <a:gd name="T51" fmla="*/ 372 h 628"/>
                <a:gd name="T52" fmla="*/ 160 w 741"/>
                <a:gd name="T53" fmla="*/ 427 h 628"/>
                <a:gd name="T54" fmla="*/ 124 w 741"/>
                <a:gd name="T55" fmla="*/ 437 h 628"/>
                <a:gd name="T56" fmla="*/ 92 w 741"/>
                <a:gd name="T57" fmla="*/ 444 h 628"/>
                <a:gd name="T58" fmla="*/ 32 w 741"/>
                <a:gd name="T59" fmla="*/ 455 h 628"/>
                <a:gd name="T60" fmla="*/ 1 w 741"/>
                <a:gd name="T61" fmla="*/ 485 h 628"/>
                <a:gd name="T62" fmla="*/ 13 w 741"/>
                <a:gd name="T63" fmla="*/ 525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41" h="628">
                  <a:moveTo>
                    <a:pt x="35" y="531"/>
                  </a:moveTo>
                  <a:cubicBezTo>
                    <a:pt x="36" y="540"/>
                    <a:pt x="36" y="540"/>
                    <a:pt x="36" y="540"/>
                  </a:cubicBezTo>
                  <a:cubicBezTo>
                    <a:pt x="46" y="541"/>
                    <a:pt x="46" y="541"/>
                    <a:pt x="46" y="541"/>
                  </a:cubicBezTo>
                  <a:cubicBezTo>
                    <a:pt x="46" y="541"/>
                    <a:pt x="31" y="552"/>
                    <a:pt x="34" y="557"/>
                  </a:cubicBezTo>
                  <a:cubicBezTo>
                    <a:pt x="37" y="562"/>
                    <a:pt x="56" y="584"/>
                    <a:pt x="68" y="584"/>
                  </a:cubicBezTo>
                  <a:cubicBezTo>
                    <a:pt x="80" y="584"/>
                    <a:pt x="79" y="575"/>
                    <a:pt x="88" y="579"/>
                  </a:cubicBezTo>
                  <a:cubicBezTo>
                    <a:pt x="97" y="583"/>
                    <a:pt x="99" y="593"/>
                    <a:pt x="99" y="593"/>
                  </a:cubicBezTo>
                  <a:cubicBezTo>
                    <a:pt x="84" y="598"/>
                    <a:pt x="84" y="598"/>
                    <a:pt x="84" y="598"/>
                  </a:cubicBezTo>
                  <a:cubicBezTo>
                    <a:pt x="99" y="620"/>
                    <a:pt x="99" y="620"/>
                    <a:pt x="99" y="620"/>
                  </a:cubicBezTo>
                  <a:cubicBezTo>
                    <a:pt x="102" y="604"/>
                    <a:pt x="102" y="604"/>
                    <a:pt x="102" y="604"/>
                  </a:cubicBezTo>
                  <a:cubicBezTo>
                    <a:pt x="119" y="597"/>
                    <a:pt x="119" y="597"/>
                    <a:pt x="119" y="597"/>
                  </a:cubicBezTo>
                  <a:cubicBezTo>
                    <a:pt x="119" y="597"/>
                    <a:pt x="136" y="616"/>
                    <a:pt x="141" y="619"/>
                  </a:cubicBezTo>
                  <a:cubicBezTo>
                    <a:pt x="146" y="622"/>
                    <a:pt x="162" y="628"/>
                    <a:pt x="162" y="628"/>
                  </a:cubicBezTo>
                  <a:cubicBezTo>
                    <a:pt x="159" y="594"/>
                    <a:pt x="159" y="594"/>
                    <a:pt x="159" y="594"/>
                  </a:cubicBezTo>
                  <a:cubicBezTo>
                    <a:pt x="159" y="594"/>
                    <a:pt x="181" y="583"/>
                    <a:pt x="182" y="568"/>
                  </a:cubicBezTo>
                  <a:cubicBezTo>
                    <a:pt x="183" y="553"/>
                    <a:pt x="183" y="542"/>
                    <a:pt x="183" y="542"/>
                  </a:cubicBezTo>
                  <a:cubicBezTo>
                    <a:pt x="202" y="525"/>
                    <a:pt x="202" y="525"/>
                    <a:pt x="202" y="525"/>
                  </a:cubicBezTo>
                  <a:cubicBezTo>
                    <a:pt x="236" y="526"/>
                    <a:pt x="236" y="526"/>
                    <a:pt x="236" y="526"/>
                  </a:cubicBezTo>
                  <a:cubicBezTo>
                    <a:pt x="236" y="526"/>
                    <a:pt x="235" y="520"/>
                    <a:pt x="249" y="519"/>
                  </a:cubicBezTo>
                  <a:cubicBezTo>
                    <a:pt x="263" y="518"/>
                    <a:pt x="262" y="528"/>
                    <a:pt x="269" y="529"/>
                  </a:cubicBezTo>
                  <a:cubicBezTo>
                    <a:pt x="276" y="530"/>
                    <a:pt x="288" y="530"/>
                    <a:pt x="288" y="530"/>
                  </a:cubicBezTo>
                  <a:cubicBezTo>
                    <a:pt x="305" y="544"/>
                    <a:pt x="305" y="544"/>
                    <a:pt x="305" y="544"/>
                  </a:cubicBezTo>
                  <a:cubicBezTo>
                    <a:pt x="305" y="544"/>
                    <a:pt x="310" y="566"/>
                    <a:pt x="319" y="565"/>
                  </a:cubicBezTo>
                  <a:cubicBezTo>
                    <a:pt x="328" y="564"/>
                    <a:pt x="352" y="544"/>
                    <a:pt x="364" y="544"/>
                  </a:cubicBezTo>
                  <a:cubicBezTo>
                    <a:pt x="376" y="544"/>
                    <a:pt x="388" y="572"/>
                    <a:pt x="407" y="573"/>
                  </a:cubicBezTo>
                  <a:cubicBezTo>
                    <a:pt x="426" y="574"/>
                    <a:pt x="442" y="578"/>
                    <a:pt x="442" y="578"/>
                  </a:cubicBezTo>
                  <a:cubicBezTo>
                    <a:pt x="442" y="578"/>
                    <a:pt x="454" y="543"/>
                    <a:pt x="496" y="543"/>
                  </a:cubicBezTo>
                  <a:cubicBezTo>
                    <a:pt x="538" y="543"/>
                    <a:pt x="554" y="557"/>
                    <a:pt x="554" y="557"/>
                  </a:cubicBezTo>
                  <a:cubicBezTo>
                    <a:pt x="572" y="558"/>
                    <a:pt x="572" y="558"/>
                    <a:pt x="572" y="558"/>
                  </a:cubicBezTo>
                  <a:cubicBezTo>
                    <a:pt x="572" y="558"/>
                    <a:pt x="590" y="545"/>
                    <a:pt x="597" y="541"/>
                  </a:cubicBezTo>
                  <a:cubicBezTo>
                    <a:pt x="604" y="537"/>
                    <a:pt x="613" y="540"/>
                    <a:pt x="613" y="540"/>
                  </a:cubicBezTo>
                  <a:cubicBezTo>
                    <a:pt x="613" y="540"/>
                    <a:pt x="617" y="526"/>
                    <a:pt x="621" y="526"/>
                  </a:cubicBezTo>
                  <a:cubicBezTo>
                    <a:pt x="622" y="526"/>
                    <a:pt x="623" y="526"/>
                    <a:pt x="624" y="526"/>
                  </a:cubicBezTo>
                  <a:cubicBezTo>
                    <a:pt x="621" y="484"/>
                    <a:pt x="621" y="484"/>
                    <a:pt x="621" y="484"/>
                  </a:cubicBezTo>
                  <a:cubicBezTo>
                    <a:pt x="634" y="479"/>
                    <a:pt x="634" y="479"/>
                    <a:pt x="634" y="479"/>
                  </a:cubicBezTo>
                  <a:cubicBezTo>
                    <a:pt x="634" y="479"/>
                    <a:pt x="644" y="442"/>
                    <a:pt x="656" y="426"/>
                  </a:cubicBezTo>
                  <a:cubicBezTo>
                    <a:pt x="667" y="409"/>
                    <a:pt x="717" y="356"/>
                    <a:pt x="717" y="356"/>
                  </a:cubicBezTo>
                  <a:cubicBezTo>
                    <a:pt x="727" y="194"/>
                    <a:pt x="727" y="194"/>
                    <a:pt x="727" y="194"/>
                  </a:cubicBezTo>
                  <a:cubicBezTo>
                    <a:pt x="741" y="169"/>
                    <a:pt x="741" y="169"/>
                    <a:pt x="741" y="169"/>
                  </a:cubicBezTo>
                  <a:cubicBezTo>
                    <a:pt x="721" y="145"/>
                    <a:pt x="721" y="145"/>
                    <a:pt x="721" y="145"/>
                  </a:cubicBezTo>
                  <a:cubicBezTo>
                    <a:pt x="716" y="129"/>
                    <a:pt x="716" y="129"/>
                    <a:pt x="716" y="129"/>
                  </a:cubicBezTo>
                  <a:cubicBezTo>
                    <a:pt x="697" y="105"/>
                    <a:pt x="697" y="105"/>
                    <a:pt x="697" y="105"/>
                  </a:cubicBezTo>
                  <a:cubicBezTo>
                    <a:pt x="704" y="72"/>
                    <a:pt x="704" y="72"/>
                    <a:pt x="704" y="72"/>
                  </a:cubicBezTo>
                  <a:cubicBezTo>
                    <a:pt x="692" y="28"/>
                    <a:pt x="692" y="28"/>
                    <a:pt x="692" y="28"/>
                  </a:cubicBezTo>
                  <a:cubicBezTo>
                    <a:pt x="676" y="37"/>
                    <a:pt x="662" y="44"/>
                    <a:pt x="657" y="45"/>
                  </a:cubicBezTo>
                  <a:cubicBezTo>
                    <a:pt x="646" y="46"/>
                    <a:pt x="630" y="18"/>
                    <a:pt x="623" y="16"/>
                  </a:cubicBezTo>
                  <a:cubicBezTo>
                    <a:pt x="616" y="14"/>
                    <a:pt x="576" y="6"/>
                    <a:pt x="576" y="6"/>
                  </a:cubicBezTo>
                  <a:cubicBezTo>
                    <a:pt x="551" y="0"/>
                    <a:pt x="551" y="0"/>
                    <a:pt x="551" y="0"/>
                  </a:cubicBezTo>
                  <a:cubicBezTo>
                    <a:pt x="551" y="0"/>
                    <a:pt x="364" y="136"/>
                    <a:pt x="342" y="151"/>
                  </a:cubicBezTo>
                  <a:cubicBezTo>
                    <a:pt x="320" y="166"/>
                    <a:pt x="275" y="219"/>
                    <a:pt x="261" y="221"/>
                  </a:cubicBezTo>
                  <a:cubicBezTo>
                    <a:pt x="251" y="222"/>
                    <a:pt x="210" y="231"/>
                    <a:pt x="190" y="235"/>
                  </a:cubicBezTo>
                  <a:cubicBezTo>
                    <a:pt x="190" y="372"/>
                    <a:pt x="190" y="372"/>
                    <a:pt x="190" y="372"/>
                  </a:cubicBezTo>
                  <a:cubicBezTo>
                    <a:pt x="175" y="387"/>
                    <a:pt x="175" y="387"/>
                    <a:pt x="175" y="387"/>
                  </a:cubicBezTo>
                  <a:cubicBezTo>
                    <a:pt x="175" y="387"/>
                    <a:pt x="175" y="420"/>
                    <a:pt x="160" y="427"/>
                  </a:cubicBezTo>
                  <a:cubicBezTo>
                    <a:pt x="138" y="438"/>
                    <a:pt x="131" y="432"/>
                    <a:pt x="131" y="432"/>
                  </a:cubicBezTo>
                  <a:cubicBezTo>
                    <a:pt x="124" y="437"/>
                    <a:pt x="124" y="437"/>
                    <a:pt x="124" y="437"/>
                  </a:cubicBezTo>
                  <a:cubicBezTo>
                    <a:pt x="93" y="435"/>
                    <a:pt x="93" y="435"/>
                    <a:pt x="93" y="435"/>
                  </a:cubicBezTo>
                  <a:cubicBezTo>
                    <a:pt x="92" y="444"/>
                    <a:pt x="92" y="444"/>
                    <a:pt x="92" y="444"/>
                  </a:cubicBezTo>
                  <a:cubicBezTo>
                    <a:pt x="50" y="443"/>
                    <a:pt x="50" y="443"/>
                    <a:pt x="50" y="443"/>
                  </a:cubicBezTo>
                  <a:cubicBezTo>
                    <a:pt x="32" y="455"/>
                    <a:pt x="32" y="455"/>
                    <a:pt x="32" y="455"/>
                  </a:cubicBezTo>
                  <a:cubicBezTo>
                    <a:pt x="0" y="462"/>
                    <a:pt x="0" y="462"/>
                    <a:pt x="0" y="462"/>
                  </a:cubicBezTo>
                  <a:cubicBezTo>
                    <a:pt x="1" y="485"/>
                    <a:pt x="1" y="485"/>
                    <a:pt x="1" y="485"/>
                  </a:cubicBezTo>
                  <a:cubicBezTo>
                    <a:pt x="4" y="494"/>
                    <a:pt x="4" y="494"/>
                    <a:pt x="4" y="494"/>
                  </a:cubicBezTo>
                  <a:cubicBezTo>
                    <a:pt x="4" y="494"/>
                    <a:pt x="3" y="518"/>
                    <a:pt x="13" y="525"/>
                  </a:cubicBezTo>
                  <a:cubicBezTo>
                    <a:pt x="23" y="532"/>
                    <a:pt x="35" y="531"/>
                    <a:pt x="35" y="53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307">
              <a:extLst>
                <a:ext uri="{FF2B5EF4-FFF2-40B4-BE49-F238E27FC236}">
                  <a16:creationId xmlns:a16="http://schemas.microsoft.com/office/drawing/2014/main" id="{6FA482A6-044B-5839-53F2-7C80475797C5}"/>
                </a:ext>
              </a:extLst>
            </p:cNvPr>
            <p:cNvSpPr>
              <a:spLocks/>
            </p:cNvSpPr>
            <p:nvPr/>
          </p:nvSpPr>
          <p:spPr bwMode="gray">
            <a:xfrm>
              <a:off x="-7449" y="-14702"/>
              <a:ext cx="2323" cy="2318"/>
            </a:xfrm>
            <a:custGeom>
              <a:avLst/>
              <a:gdLst>
                <a:gd name="T0" fmla="*/ 212 w 983"/>
                <a:gd name="T1" fmla="*/ 357 h 981"/>
                <a:gd name="T2" fmla="*/ 155 w 983"/>
                <a:gd name="T3" fmla="*/ 390 h 981"/>
                <a:gd name="T4" fmla="*/ 136 w 983"/>
                <a:gd name="T5" fmla="*/ 399 h 981"/>
                <a:gd name="T6" fmla="*/ 111 w 983"/>
                <a:gd name="T7" fmla="*/ 404 h 981"/>
                <a:gd name="T8" fmla="*/ 81 w 983"/>
                <a:gd name="T9" fmla="*/ 417 h 981"/>
                <a:gd name="T10" fmla="*/ 40 w 983"/>
                <a:gd name="T11" fmla="*/ 454 h 981"/>
                <a:gd name="T12" fmla="*/ 35 w 983"/>
                <a:gd name="T13" fmla="*/ 511 h 981"/>
                <a:gd name="T14" fmla="*/ 37 w 983"/>
                <a:gd name="T15" fmla="*/ 513 h 981"/>
                <a:gd name="T16" fmla="*/ 208 w 983"/>
                <a:gd name="T17" fmla="*/ 656 h 981"/>
                <a:gd name="T18" fmla="*/ 481 w 983"/>
                <a:gd name="T19" fmla="*/ 882 h 981"/>
                <a:gd name="T20" fmla="*/ 510 w 983"/>
                <a:gd name="T21" fmla="*/ 904 h 981"/>
                <a:gd name="T22" fmla="*/ 538 w 983"/>
                <a:gd name="T23" fmla="*/ 923 h 981"/>
                <a:gd name="T24" fmla="*/ 582 w 983"/>
                <a:gd name="T25" fmla="*/ 953 h 981"/>
                <a:gd name="T26" fmla="*/ 610 w 983"/>
                <a:gd name="T27" fmla="*/ 973 h 981"/>
                <a:gd name="T28" fmla="*/ 774 w 983"/>
                <a:gd name="T29" fmla="*/ 886 h 981"/>
                <a:gd name="T30" fmla="*/ 963 w 983"/>
                <a:gd name="T31" fmla="*/ 691 h 981"/>
                <a:gd name="T32" fmla="*/ 909 w 983"/>
                <a:gd name="T33" fmla="*/ 684 h 981"/>
                <a:gd name="T34" fmla="*/ 893 w 983"/>
                <a:gd name="T35" fmla="*/ 639 h 981"/>
                <a:gd name="T36" fmla="*/ 889 w 983"/>
                <a:gd name="T37" fmla="*/ 569 h 981"/>
                <a:gd name="T38" fmla="*/ 880 w 983"/>
                <a:gd name="T39" fmla="*/ 515 h 981"/>
                <a:gd name="T40" fmla="*/ 883 w 983"/>
                <a:gd name="T41" fmla="*/ 488 h 981"/>
                <a:gd name="T42" fmla="*/ 862 w 983"/>
                <a:gd name="T43" fmla="*/ 381 h 981"/>
                <a:gd name="T44" fmla="*/ 870 w 983"/>
                <a:gd name="T45" fmla="*/ 373 h 981"/>
                <a:gd name="T46" fmla="*/ 817 w 983"/>
                <a:gd name="T47" fmla="*/ 252 h 981"/>
                <a:gd name="T48" fmla="*/ 789 w 983"/>
                <a:gd name="T49" fmla="*/ 213 h 981"/>
                <a:gd name="T50" fmla="*/ 782 w 983"/>
                <a:gd name="T51" fmla="*/ 194 h 981"/>
                <a:gd name="T52" fmla="*/ 798 w 983"/>
                <a:gd name="T53" fmla="*/ 148 h 981"/>
                <a:gd name="T54" fmla="*/ 820 w 983"/>
                <a:gd name="T55" fmla="*/ 105 h 981"/>
                <a:gd name="T56" fmla="*/ 820 w 983"/>
                <a:gd name="T57" fmla="*/ 38 h 981"/>
                <a:gd name="T58" fmla="*/ 835 w 983"/>
                <a:gd name="T59" fmla="*/ 21 h 981"/>
                <a:gd name="T60" fmla="*/ 815 w 983"/>
                <a:gd name="T61" fmla="*/ 10 h 981"/>
                <a:gd name="T62" fmla="*/ 779 w 983"/>
                <a:gd name="T63" fmla="*/ 3 h 981"/>
                <a:gd name="T64" fmla="*/ 769 w 983"/>
                <a:gd name="T65" fmla="*/ 14 h 981"/>
                <a:gd name="T66" fmla="*/ 728 w 983"/>
                <a:gd name="T67" fmla="*/ 0 h 981"/>
                <a:gd name="T68" fmla="*/ 704 w 983"/>
                <a:gd name="T69" fmla="*/ 14 h 981"/>
                <a:gd name="T70" fmla="*/ 631 w 983"/>
                <a:gd name="T71" fmla="*/ 18 h 981"/>
                <a:gd name="T72" fmla="*/ 545 w 983"/>
                <a:gd name="T73" fmla="*/ 27 h 981"/>
                <a:gd name="T74" fmla="*/ 503 w 983"/>
                <a:gd name="T75" fmla="*/ 33 h 981"/>
                <a:gd name="T76" fmla="*/ 446 w 983"/>
                <a:gd name="T77" fmla="*/ 72 h 981"/>
                <a:gd name="T78" fmla="*/ 355 w 983"/>
                <a:gd name="T79" fmla="*/ 113 h 981"/>
                <a:gd name="T80" fmla="*/ 349 w 983"/>
                <a:gd name="T81" fmla="*/ 112 h 981"/>
                <a:gd name="T82" fmla="*/ 360 w 983"/>
                <a:gd name="T83" fmla="*/ 141 h 981"/>
                <a:gd name="T84" fmla="*/ 365 w 983"/>
                <a:gd name="T85" fmla="*/ 186 h 981"/>
                <a:gd name="T86" fmla="*/ 364 w 983"/>
                <a:gd name="T87" fmla="*/ 218 h 981"/>
                <a:gd name="T88" fmla="*/ 375 w 983"/>
                <a:gd name="T89" fmla="*/ 238 h 981"/>
                <a:gd name="T90" fmla="*/ 382 w 983"/>
                <a:gd name="T91" fmla="*/ 259 h 981"/>
                <a:gd name="T92" fmla="*/ 343 w 983"/>
                <a:gd name="T93" fmla="*/ 274 h 981"/>
                <a:gd name="T94" fmla="*/ 321 w 983"/>
                <a:gd name="T95" fmla="*/ 275 h 981"/>
                <a:gd name="T96" fmla="*/ 303 w 983"/>
                <a:gd name="T97" fmla="*/ 288 h 981"/>
                <a:gd name="T98" fmla="*/ 267 w 983"/>
                <a:gd name="T99" fmla="*/ 318 h 981"/>
                <a:gd name="T100" fmla="*/ 260 w 983"/>
                <a:gd name="T101" fmla="*/ 337 h 9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83" h="981">
                  <a:moveTo>
                    <a:pt x="242" y="356"/>
                  </a:moveTo>
                  <a:cubicBezTo>
                    <a:pt x="236" y="356"/>
                    <a:pt x="212" y="357"/>
                    <a:pt x="212" y="357"/>
                  </a:cubicBezTo>
                  <a:cubicBezTo>
                    <a:pt x="212" y="357"/>
                    <a:pt x="197" y="388"/>
                    <a:pt x="189" y="391"/>
                  </a:cubicBezTo>
                  <a:cubicBezTo>
                    <a:pt x="181" y="394"/>
                    <a:pt x="155" y="390"/>
                    <a:pt x="155" y="390"/>
                  </a:cubicBezTo>
                  <a:cubicBezTo>
                    <a:pt x="154" y="398"/>
                    <a:pt x="154" y="398"/>
                    <a:pt x="154" y="398"/>
                  </a:cubicBezTo>
                  <a:cubicBezTo>
                    <a:pt x="136" y="399"/>
                    <a:pt x="136" y="399"/>
                    <a:pt x="136" y="399"/>
                  </a:cubicBezTo>
                  <a:cubicBezTo>
                    <a:pt x="136" y="399"/>
                    <a:pt x="136" y="411"/>
                    <a:pt x="130" y="412"/>
                  </a:cubicBezTo>
                  <a:cubicBezTo>
                    <a:pt x="124" y="413"/>
                    <a:pt x="111" y="404"/>
                    <a:pt x="111" y="404"/>
                  </a:cubicBezTo>
                  <a:cubicBezTo>
                    <a:pt x="93" y="418"/>
                    <a:pt x="93" y="418"/>
                    <a:pt x="93" y="418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81" y="417"/>
                    <a:pt x="67" y="437"/>
                    <a:pt x="60" y="442"/>
                  </a:cubicBezTo>
                  <a:cubicBezTo>
                    <a:pt x="53" y="447"/>
                    <a:pt x="40" y="454"/>
                    <a:pt x="40" y="454"/>
                  </a:cubicBezTo>
                  <a:cubicBezTo>
                    <a:pt x="37" y="472"/>
                    <a:pt x="37" y="472"/>
                    <a:pt x="37" y="472"/>
                  </a:cubicBezTo>
                  <a:cubicBezTo>
                    <a:pt x="35" y="511"/>
                    <a:pt x="35" y="511"/>
                    <a:pt x="35" y="511"/>
                  </a:cubicBezTo>
                  <a:cubicBezTo>
                    <a:pt x="0" y="511"/>
                    <a:pt x="0" y="511"/>
                    <a:pt x="0" y="511"/>
                  </a:cubicBezTo>
                  <a:cubicBezTo>
                    <a:pt x="37" y="513"/>
                    <a:pt x="37" y="513"/>
                    <a:pt x="37" y="513"/>
                  </a:cubicBezTo>
                  <a:cubicBezTo>
                    <a:pt x="35" y="535"/>
                    <a:pt x="35" y="535"/>
                    <a:pt x="35" y="535"/>
                  </a:cubicBezTo>
                  <a:cubicBezTo>
                    <a:pt x="208" y="656"/>
                    <a:pt x="208" y="656"/>
                    <a:pt x="208" y="656"/>
                  </a:cubicBezTo>
                  <a:cubicBezTo>
                    <a:pt x="482" y="865"/>
                    <a:pt x="482" y="865"/>
                    <a:pt x="482" y="865"/>
                  </a:cubicBezTo>
                  <a:cubicBezTo>
                    <a:pt x="481" y="882"/>
                    <a:pt x="481" y="882"/>
                    <a:pt x="481" y="882"/>
                  </a:cubicBezTo>
                  <a:cubicBezTo>
                    <a:pt x="481" y="882"/>
                    <a:pt x="498" y="878"/>
                    <a:pt x="500" y="886"/>
                  </a:cubicBezTo>
                  <a:cubicBezTo>
                    <a:pt x="502" y="894"/>
                    <a:pt x="500" y="901"/>
                    <a:pt x="510" y="904"/>
                  </a:cubicBezTo>
                  <a:cubicBezTo>
                    <a:pt x="520" y="907"/>
                    <a:pt x="533" y="905"/>
                    <a:pt x="533" y="905"/>
                  </a:cubicBezTo>
                  <a:cubicBezTo>
                    <a:pt x="538" y="923"/>
                    <a:pt x="538" y="923"/>
                    <a:pt x="538" y="923"/>
                  </a:cubicBezTo>
                  <a:cubicBezTo>
                    <a:pt x="538" y="923"/>
                    <a:pt x="561" y="917"/>
                    <a:pt x="571" y="925"/>
                  </a:cubicBezTo>
                  <a:cubicBezTo>
                    <a:pt x="581" y="933"/>
                    <a:pt x="582" y="953"/>
                    <a:pt x="582" y="953"/>
                  </a:cubicBezTo>
                  <a:cubicBezTo>
                    <a:pt x="582" y="953"/>
                    <a:pt x="558" y="967"/>
                    <a:pt x="573" y="974"/>
                  </a:cubicBezTo>
                  <a:cubicBezTo>
                    <a:pt x="588" y="981"/>
                    <a:pt x="610" y="973"/>
                    <a:pt x="610" y="973"/>
                  </a:cubicBezTo>
                  <a:cubicBezTo>
                    <a:pt x="610" y="973"/>
                    <a:pt x="679" y="958"/>
                    <a:pt x="693" y="956"/>
                  </a:cubicBezTo>
                  <a:cubicBezTo>
                    <a:pt x="707" y="954"/>
                    <a:pt x="752" y="901"/>
                    <a:pt x="774" y="886"/>
                  </a:cubicBezTo>
                  <a:cubicBezTo>
                    <a:pt x="796" y="871"/>
                    <a:pt x="983" y="735"/>
                    <a:pt x="983" y="735"/>
                  </a:cubicBezTo>
                  <a:cubicBezTo>
                    <a:pt x="983" y="735"/>
                    <a:pt x="968" y="694"/>
                    <a:pt x="963" y="691"/>
                  </a:cubicBezTo>
                  <a:cubicBezTo>
                    <a:pt x="958" y="688"/>
                    <a:pt x="930" y="675"/>
                    <a:pt x="924" y="678"/>
                  </a:cubicBezTo>
                  <a:cubicBezTo>
                    <a:pt x="918" y="681"/>
                    <a:pt x="913" y="686"/>
                    <a:pt x="909" y="684"/>
                  </a:cubicBezTo>
                  <a:cubicBezTo>
                    <a:pt x="905" y="682"/>
                    <a:pt x="893" y="671"/>
                    <a:pt x="893" y="664"/>
                  </a:cubicBezTo>
                  <a:cubicBezTo>
                    <a:pt x="893" y="657"/>
                    <a:pt x="898" y="647"/>
                    <a:pt x="893" y="639"/>
                  </a:cubicBezTo>
                  <a:cubicBezTo>
                    <a:pt x="888" y="631"/>
                    <a:pt x="861" y="595"/>
                    <a:pt x="862" y="589"/>
                  </a:cubicBezTo>
                  <a:cubicBezTo>
                    <a:pt x="863" y="583"/>
                    <a:pt x="889" y="581"/>
                    <a:pt x="889" y="569"/>
                  </a:cubicBezTo>
                  <a:cubicBezTo>
                    <a:pt x="889" y="557"/>
                    <a:pt x="885" y="551"/>
                    <a:pt x="885" y="551"/>
                  </a:cubicBezTo>
                  <a:cubicBezTo>
                    <a:pt x="880" y="515"/>
                    <a:pt x="880" y="515"/>
                    <a:pt x="880" y="515"/>
                  </a:cubicBezTo>
                  <a:cubicBezTo>
                    <a:pt x="889" y="502"/>
                    <a:pt x="889" y="502"/>
                    <a:pt x="889" y="502"/>
                  </a:cubicBezTo>
                  <a:cubicBezTo>
                    <a:pt x="883" y="488"/>
                    <a:pt x="883" y="488"/>
                    <a:pt x="883" y="488"/>
                  </a:cubicBezTo>
                  <a:cubicBezTo>
                    <a:pt x="883" y="488"/>
                    <a:pt x="892" y="458"/>
                    <a:pt x="891" y="448"/>
                  </a:cubicBezTo>
                  <a:cubicBezTo>
                    <a:pt x="890" y="438"/>
                    <a:pt x="863" y="387"/>
                    <a:pt x="862" y="381"/>
                  </a:cubicBezTo>
                  <a:cubicBezTo>
                    <a:pt x="862" y="378"/>
                    <a:pt x="866" y="376"/>
                    <a:pt x="870" y="373"/>
                  </a:cubicBezTo>
                  <a:cubicBezTo>
                    <a:pt x="870" y="373"/>
                    <a:pt x="870" y="373"/>
                    <a:pt x="870" y="373"/>
                  </a:cubicBezTo>
                  <a:cubicBezTo>
                    <a:pt x="864" y="350"/>
                    <a:pt x="849" y="288"/>
                    <a:pt x="849" y="277"/>
                  </a:cubicBezTo>
                  <a:cubicBezTo>
                    <a:pt x="849" y="264"/>
                    <a:pt x="817" y="252"/>
                    <a:pt x="817" y="252"/>
                  </a:cubicBezTo>
                  <a:cubicBezTo>
                    <a:pt x="817" y="252"/>
                    <a:pt x="817" y="234"/>
                    <a:pt x="816" y="226"/>
                  </a:cubicBezTo>
                  <a:cubicBezTo>
                    <a:pt x="815" y="218"/>
                    <a:pt x="789" y="213"/>
                    <a:pt x="789" y="213"/>
                  </a:cubicBezTo>
                  <a:cubicBezTo>
                    <a:pt x="789" y="194"/>
                    <a:pt x="789" y="194"/>
                    <a:pt x="789" y="194"/>
                  </a:cubicBezTo>
                  <a:cubicBezTo>
                    <a:pt x="782" y="194"/>
                    <a:pt x="782" y="194"/>
                    <a:pt x="782" y="194"/>
                  </a:cubicBezTo>
                  <a:cubicBezTo>
                    <a:pt x="782" y="194"/>
                    <a:pt x="782" y="181"/>
                    <a:pt x="782" y="171"/>
                  </a:cubicBezTo>
                  <a:cubicBezTo>
                    <a:pt x="782" y="161"/>
                    <a:pt x="798" y="148"/>
                    <a:pt x="798" y="148"/>
                  </a:cubicBezTo>
                  <a:cubicBezTo>
                    <a:pt x="812" y="137"/>
                    <a:pt x="812" y="137"/>
                    <a:pt x="812" y="137"/>
                  </a:cubicBezTo>
                  <a:cubicBezTo>
                    <a:pt x="812" y="137"/>
                    <a:pt x="819" y="115"/>
                    <a:pt x="820" y="105"/>
                  </a:cubicBezTo>
                  <a:cubicBezTo>
                    <a:pt x="821" y="95"/>
                    <a:pt x="819" y="83"/>
                    <a:pt x="815" y="76"/>
                  </a:cubicBezTo>
                  <a:cubicBezTo>
                    <a:pt x="811" y="69"/>
                    <a:pt x="820" y="38"/>
                    <a:pt x="820" y="38"/>
                  </a:cubicBezTo>
                  <a:cubicBezTo>
                    <a:pt x="807" y="34"/>
                    <a:pt x="807" y="34"/>
                    <a:pt x="807" y="34"/>
                  </a:cubicBezTo>
                  <a:cubicBezTo>
                    <a:pt x="835" y="21"/>
                    <a:pt x="835" y="21"/>
                    <a:pt x="835" y="21"/>
                  </a:cubicBezTo>
                  <a:cubicBezTo>
                    <a:pt x="835" y="11"/>
                    <a:pt x="835" y="11"/>
                    <a:pt x="835" y="11"/>
                  </a:cubicBezTo>
                  <a:cubicBezTo>
                    <a:pt x="826" y="11"/>
                    <a:pt x="815" y="10"/>
                    <a:pt x="815" y="10"/>
                  </a:cubicBezTo>
                  <a:cubicBezTo>
                    <a:pt x="806" y="15"/>
                    <a:pt x="806" y="15"/>
                    <a:pt x="806" y="15"/>
                  </a:cubicBezTo>
                  <a:cubicBezTo>
                    <a:pt x="779" y="3"/>
                    <a:pt x="779" y="3"/>
                    <a:pt x="779" y="3"/>
                  </a:cubicBezTo>
                  <a:cubicBezTo>
                    <a:pt x="769" y="5"/>
                    <a:pt x="769" y="5"/>
                    <a:pt x="769" y="5"/>
                  </a:cubicBezTo>
                  <a:cubicBezTo>
                    <a:pt x="769" y="14"/>
                    <a:pt x="769" y="14"/>
                    <a:pt x="769" y="14"/>
                  </a:cubicBezTo>
                  <a:cubicBezTo>
                    <a:pt x="744" y="12"/>
                    <a:pt x="744" y="12"/>
                    <a:pt x="744" y="12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724" y="19"/>
                    <a:pt x="724" y="19"/>
                    <a:pt x="724" y="19"/>
                  </a:cubicBezTo>
                  <a:cubicBezTo>
                    <a:pt x="704" y="14"/>
                    <a:pt x="704" y="14"/>
                    <a:pt x="704" y="14"/>
                  </a:cubicBezTo>
                  <a:cubicBezTo>
                    <a:pt x="686" y="29"/>
                    <a:pt x="686" y="29"/>
                    <a:pt x="686" y="29"/>
                  </a:cubicBezTo>
                  <a:cubicBezTo>
                    <a:pt x="686" y="29"/>
                    <a:pt x="662" y="17"/>
                    <a:pt x="631" y="18"/>
                  </a:cubicBezTo>
                  <a:cubicBezTo>
                    <a:pt x="600" y="19"/>
                    <a:pt x="599" y="26"/>
                    <a:pt x="585" y="27"/>
                  </a:cubicBezTo>
                  <a:cubicBezTo>
                    <a:pt x="571" y="28"/>
                    <a:pt x="545" y="27"/>
                    <a:pt x="545" y="27"/>
                  </a:cubicBezTo>
                  <a:cubicBezTo>
                    <a:pt x="542" y="34"/>
                    <a:pt x="542" y="34"/>
                    <a:pt x="542" y="34"/>
                  </a:cubicBezTo>
                  <a:cubicBezTo>
                    <a:pt x="503" y="33"/>
                    <a:pt x="503" y="33"/>
                    <a:pt x="503" y="33"/>
                  </a:cubicBezTo>
                  <a:cubicBezTo>
                    <a:pt x="503" y="33"/>
                    <a:pt x="456" y="43"/>
                    <a:pt x="455" y="51"/>
                  </a:cubicBezTo>
                  <a:cubicBezTo>
                    <a:pt x="454" y="59"/>
                    <a:pt x="446" y="72"/>
                    <a:pt x="446" y="72"/>
                  </a:cubicBezTo>
                  <a:cubicBezTo>
                    <a:pt x="446" y="72"/>
                    <a:pt x="396" y="74"/>
                    <a:pt x="394" y="83"/>
                  </a:cubicBezTo>
                  <a:cubicBezTo>
                    <a:pt x="392" y="92"/>
                    <a:pt x="370" y="113"/>
                    <a:pt x="355" y="113"/>
                  </a:cubicBezTo>
                  <a:cubicBezTo>
                    <a:pt x="353" y="113"/>
                    <a:pt x="351" y="113"/>
                    <a:pt x="349" y="112"/>
                  </a:cubicBezTo>
                  <a:cubicBezTo>
                    <a:pt x="349" y="112"/>
                    <a:pt x="349" y="112"/>
                    <a:pt x="349" y="112"/>
                  </a:cubicBezTo>
                  <a:cubicBezTo>
                    <a:pt x="350" y="116"/>
                    <a:pt x="354" y="125"/>
                    <a:pt x="364" y="129"/>
                  </a:cubicBezTo>
                  <a:cubicBezTo>
                    <a:pt x="364" y="130"/>
                    <a:pt x="360" y="141"/>
                    <a:pt x="360" y="141"/>
                  </a:cubicBezTo>
                  <a:cubicBezTo>
                    <a:pt x="368" y="141"/>
                    <a:pt x="368" y="141"/>
                    <a:pt x="368" y="141"/>
                  </a:cubicBezTo>
                  <a:cubicBezTo>
                    <a:pt x="365" y="186"/>
                    <a:pt x="365" y="186"/>
                    <a:pt x="365" y="186"/>
                  </a:cubicBezTo>
                  <a:cubicBezTo>
                    <a:pt x="371" y="197"/>
                    <a:pt x="371" y="197"/>
                    <a:pt x="371" y="197"/>
                  </a:cubicBezTo>
                  <a:cubicBezTo>
                    <a:pt x="364" y="218"/>
                    <a:pt x="364" y="218"/>
                    <a:pt x="364" y="218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5" y="238"/>
                    <a:pt x="375" y="238"/>
                    <a:pt x="375" y="238"/>
                  </a:cubicBezTo>
                  <a:cubicBezTo>
                    <a:pt x="393" y="250"/>
                    <a:pt x="393" y="250"/>
                    <a:pt x="393" y="250"/>
                  </a:cubicBezTo>
                  <a:cubicBezTo>
                    <a:pt x="393" y="250"/>
                    <a:pt x="384" y="256"/>
                    <a:pt x="382" y="259"/>
                  </a:cubicBezTo>
                  <a:cubicBezTo>
                    <a:pt x="380" y="262"/>
                    <a:pt x="381" y="269"/>
                    <a:pt x="381" y="269"/>
                  </a:cubicBezTo>
                  <a:cubicBezTo>
                    <a:pt x="343" y="274"/>
                    <a:pt x="343" y="274"/>
                    <a:pt x="343" y="274"/>
                  </a:cubicBezTo>
                  <a:cubicBezTo>
                    <a:pt x="343" y="274"/>
                    <a:pt x="333" y="268"/>
                    <a:pt x="329" y="268"/>
                  </a:cubicBezTo>
                  <a:cubicBezTo>
                    <a:pt x="325" y="268"/>
                    <a:pt x="321" y="275"/>
                    <a:pt x="321" y="275"/>
                  </a:cubicBezTo>
                  <a:cubicBezTo>
                    <a:pt x="321" y="275"/>
                    <a:pt x="313" y="270"/>
                    <a:pt x="308" y="273"/>
                  </a:cubicBezTo>
                  <a:cubicBezTo>
                    <a:pt x="303" y="276"/>
                    <a:pt x="310" y="283"/>
                    <a:pt x="303" y="288"/>
                  </a:cubicBezTo>
                  <a:cubicBezTo>
                    <a:pt x="296" y="293"/>
                    <a:pt x="274" y="287"/>
                    <a:pt x="266" y="294"/>
                  </a:cubicBezTo>
                  <a:cubicBezTo>
                    <a:pt x="258" y="301"/>
                    <a:pt x="267" y="318"/>
                    <a:pt x="267" y="318"/>
                  </a:cubicBezTo>
                  <a:cubicBezTo>
                    <a:pt x="277" y="330"/>
                    <a:pt x="277" y="330"/>
                    <a:pt x="277" y="330"/>
                  </a:cubicBezTo>
                  <a:cubicBezTo>
                    <a:pt x="260" y="337"/>
                    <a:pt x="260" y="337"/>
                    <a:pt x="260" y="337"/>
                  </a:cubicBezTo>
                  <a:cubicBezTo>
                    <a:pt x="260" y="337"/>
                    <a:pt x="248" y="356"/>
                    <a:pt x="242" y="35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28" name="Freeform 308">
              <a:extLst>
                <a:ext uri="{FF2B5EF4-FFF2-40B4-BE49-F238E27FC236}">
                  <a16:creationId xmlns:a16="http://schemas.microsoft.com/office/drawing/2014/main" id="{8B07CF5D-5AD3-30AB-9BC7-1E92B8142137}"/>
                </a:ext>
              </a:extLst>
            </p:cNvPr>
            <p:cNvSpPr>
              <a:spLocks/>
            </p:cNvSpPr>
            <p:nvPr/>
          </p:nvSpPr>
          <p:spPr bwMode="gray">
            <a:xfrm>
              <a:off x="-5415" y="-14196"/>
              <a:ext cx="1727" cy="1741"/>
            </a:xfrm>
            <a:custGeom>
              <a:avLst/>
              <a:gdLst>
                <a:gd name="T0" fmla="*/ 104 w 731"/>
                <a:gd name="T1" fmla="*/ 37 h 737"/>
                <a:gd name="T2" fmla="*/ 69 w 731"/>
                <a:gd name="T3" fmla="*/ 55 h 737"/>
                <a:gd name="T4" fmla="*/ 50 w 731"/>
                <a:gd name="T5" fmla="*/ 78 h 737"/>
                <a:gd name="T6" fmla="*/ 35 w 731"/>
                <a:gd name="T7" fmla="*/ 89 h 737"/>
                <a:gd name="T8" fmla="*/ 44 w 731"/>
                <a:gd name="T9" fmla="*/ 127 h 737"/>
                <a:gd name="T10" fmla="*/ 25 w 731"/>
                <a:gd name="T11" fmla="*/ 153 h 737"/>
                <a:gd name="T12" fmla="*/ 1 w 731"/>
                <a:gd name="T13" fmla="*/ 167 h 737"/>
                <a:gd name="T14" fmla="*/ 30 w 731"/>
                <a:gd name="T15" fmla="*/ 234 h 737"/>
                <a:gd name="T16" fmla="*/ 22 w 731"/>
                <a:gd name="T17" fmla="*/ 274 h 737"/>
                <a:gd name="T18" fmla="*/ 28 w 731"/>
                <a:gd name="T19" fmla="*/ 288 h 737"/>
                <a:gd name="T20" fmla="*/ 19 w 731"/>
                <a:gd name="T21" fmla="*/ 301 h 737"/>
                <a:gd name="T22" fmla="*/ 24 w 731"/>
                <a:gd name="T23" fmla="*/ 337 h 737"/>
                <a:gd name="T24" fmla="*/ 28 w 731"/>
                <a:gd name="T25" fmla="*/ 355 h 737"/>
                <a:gd name="T26" fmla="*/ 1 w 731"/>
                <a:gd name="T27" fmla="*/ 375 h 737"/>
                <a:gd name="T28" fmla="*/ 32 w 731"/>
                <a:gd name="T29" fmla="*/ 425 h 737"/>
                <a:gd name="T30" fmla="*/ 32 w 731"/>
                <a:gd name="T31" fmla="*/ 450 h 737"/>
                <a:gd name="T32" fmla="*/ 48 w 731"/>
                <a:gd name="T33" fmla="*/ 470 h 737"/>
                <a:gd name="T34" fmla="*/ 63 w 731"/>
                <a:gd name="T35" fmla="*/ 464 h 737"/>
                <a:gd name="T36" fmla="*/ 102 w 731"/>
                <a:gd name="T37" fmla="*/ 477 h 737"/>
                <a:gd name="T38" fmla="*/ 122 w 731"/>
                <a:gd name="T39" fmla="*/ 521 h 737"/>
                <a:gd name="T40" fmla="*/ 147 w 731"/>
                <a:gd name="T41" fmla="*/ 527 h 737"/>
                <a:gd name="T42" fmla="*/ 194 w 731"/>
                <a:gd name="T43" fmla="*/ 537 h 737"/>
                <a:gd name="T44" fmla="*/ 228 w 731"/>
                <a:gd name="T45" fmla="*/ 566 h 737"/>
                <a:gd name="T46" fmla="*/ 311 w 731"/>
                <a:gd name="T47" fmla="*/ 521 h 737"/>
                <a:gd name="T48" fmla="*/ 684 w 731"/>
                <a:gd name="T49" fmla="*/ 737 h 737"/>
                <a:gd name="T50" fmla="*/ 683 w 731"/>
                <a:gd name="T51" fmla="*/ 708 h 737"/>
                <a:gd name="T52" fmla="*/ 731 w 731"/>
                <a:gd name="T53" fmla="*/ 707 h 737"/>
                <a:gd name="T54" fmla="*/ 730 w 731"/>
                <a:gd name="T55" fmla="*/ 599 h 737"/>
                <a:gd name="T56" fmla="*/ 717 w 731"/>
                <a:gd name="T57" fmla="*/ 201 h 737"/>
                <a:gd name="T58" fmla="*/ 699 w 731"/>
                <a:gd name="T59" fmla="*/ 163 h 737"/>
                <a:gd name="T60" fmla="*/ 713 w 731"/>
                <a:gd name="T61" fmla="*/ 135 h 737"/>
                <a:gd name="T62" fmla="*/ 703 w 731"/>
                <a:gd name="T63" fmla="*/ 115 h 737"/>
                <a:gd name="T64" fmla="*/ 707 w 731"/>
                <a:gd name="T65" fmla="*/ 94 h 737"/>
                <a:gd name="T66" fmla="*/ 720 w 731"/>
                <a:gd name="T67" fmla="*/ 81 h 737"/>
                <a:gd name="T68" fmla="*/ 716 w 731"/>
                <a:gd name="T69" fmla="*/ 63 h 737"/>
                <a:gd name="T70" fmla="*/ 701 w 731"/>
                <a:gd name="T71" fmla="*/ 68 h 737"/>
                <a:gd name="T72" fmla="*/ 694 w 731"/>
                <a:gd name="T73" fmla="*/ 59 h 737"/>
                <a:gd name="T74" fmla="*/ 682 w 731"/>
                <a:gd name="T75" fmla="*/ 67 h 737"/>
                <a:gd name="T76" fmla="*/ 658 w 731"/>
                <a:gd name="T77" fmla="*/ 50 h 737"/>
                <a:gd name="T78" fmla="*/ 628 w 731"/>
                <a:gd name="T79" fmla="*/ 49 h 737"/>
                <a:gd name="T80" fmla="*/ 617 w 731"/>
                <a:gd name="T81" fmla="*/ 28 h 737"/>
                <a:gd name="T82" fmla="*/ 590 w 731"/>
                <a:gd name="T83" fmla="*/ 23 h 737"/>
                <a:gd name="T84" fmla="*/ 561 w 731"/>
                <a:gd name="T85" fmla="*/ 15 h 737"/>
                <a:gd name="T86" fmla="*/ 553 w 731"/>
                <a:gd name="T87" fmla="*/ 23 h 737"/>
                <a:gd name="T88" fmla="*/ 510 w 731"/>
                <a:gd name="T89" fmla="*/ 31 h 737"/>
                <a:gd name="T90" fmla="*/ 480 w 731"/>
                <a:gd name="T91" fmla="*/ 70 h 737"/>
                <a:gd name="T92" fmla="*/ 496 w 731"/>
                <a:gd name="T93" fmla="*/ 114 h 737"/>
                <a:gd name="T94" fmla="*/ 463 w 731"/>
                <a:gd name="T95" fmla="*/ 154 h 737"/>
                <a:gd name="T96" fmla="*/ 419 w 731"/>
                <a:gd name="T97" fmla="*/ 144 h 737"/>
                <a:gd name="T98" fmla="*/ 351 w 731"/>
                <a:gd name="T99" fmla="*/ 105 h 737"/>
                <a:gd name="T100" fmla="*/ 289 w 731"/>
                <a:gd name="T101" fmla="*/ 97 h 737"/>
                <a:gd name="T102" fmla="*/ 271 w 731"/>
                <a:gd name="T103" fmla="*/ 53 h 737"/>
                <a:gd name="T104" fmla="*/ 244 w 731"/>
                <a:gd name="T105" fmla="*/ 40 h 737"/>
                <a:gd name="T106" fmla="*/ 212 w 731"/>
                <a:gd name="T107" fmla="*/ 21 h 737"/>
                <a:gd name="T108" fmla="*/ 173 w 731"/>
                <a:gd name="T109" fmla="*/ 20 h 737"/>
                <a:gd name="T110" fmla="*/ 143 w 731"/>
                <a:gd name="T111" fmla="*/ 24 h 737"/>
                <a:gd name="T112" fmla="*/ 107 w 731"/>
                <a:gd name="T113" fmla="*/ 3 h 737"/>
                <a:gd name="T114" fmla="*/ 96 w 731"/>
                <a:gd name="T115" fmla="*/ 0 h 737"/>
                <a:gd name="T116" fmla="*/ 93 w 731"/>
                <a:gd name="T117" fmla="*/ 27 h 737"/>
                <a:gd name="T118" fmla="*/ 104 w 731"/>
                <a:gd name="T119" fmla="*/ 37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31" h="737">
                  <a:moveTo>
                    <a:pt x="104" y="37"/>
                  </a:moveTo>
                  <a:cubicBezTo>
                    <a:pt x="100" y="45"/>
                    <a:pt x="75" y="49"/>
                    <a:pt x="69" y="55"/>
                  </a:cubicBezTo>
                  <a:cubicBezTo>
                    <a:pt x="63" y="61"/>
                    <a:pt x="50" y="78"/>
                    <a:pt x="50" y="78"/>
                  </a:cubicBezTo>
                  <a:cubicBezTo>
                    <a:pt x="50" y="78"/>
                    <a:pt x="37" y="83"/>
                    <a:pt x="35" y="89"/>
                  </a:cubicBezTo>
                  <a:cubicBezTo>
                    <a:pt x="33" y="95"/>
                    <a:pt x="43" y="115"/>
                    <a:pt x="44" y="127"/>
                  </a:cubicBezTo>
                  <a:cubicBezTo>
                    <a:pt x="45" y="139"/>
                    <a:pt x="25" y="153"/>
                    <a:pt x="25" y="153"/>
                  </a:cubicBezTo>
                  <a:cubicBezTo>
                    <a:pt x="25" y="153"/>
                    <a:pt x="0" y="161"/>
                    <a:pt x="1" y="167"/>
                  </a:cubicBezTo>
                  <a:cubicBezTo>
                    <a:pt x="2" y="173"/>
                    <a:pt x="29" y="224"/>
                    <a:pt x="30" y="234"/>
                  </a:cubicBezTo>
                  <a:cubicBezTo>
                    <a:pt x="31" y="244"/>
                    <a:pt x="22" y="274"/>
                    <a:pt x="22" y="274"/>
                  </a:cubicBezTo>
                  <a:cubicBezTo>
                    <a:pt x="28" y="288"/>
                    <a:pt x="28" y="288"/>
                    <a:pt x="28" y="288"/>
                  </a:cubicBezTo>
                  <a:cubicBezTo>
                    <a:pt x="19" y="301"/>
                    <a:pt x="19" y="301"/>
                    <a:pt x="19" y="301"/>
                  </a:cubicBezTo>
                  <a:cubicBezTo>
                    <a:pt x="24" y="337"/>
                    <a:pt x="24" y="337"/>
                    <a:pt x="24" y="337"/>
                  </a:cubicBezTo>
                  <a:cubicBezTo>
                    <a:pt x="24" y="337"/>
                    <a:pt x="28" y="343"/>
                    <a:pt x="28" y="355"/>
                  </a:cubicBezTo>
                  <a:cubicBezTo>
                    <a:pt x="28" y="367"/>
                    <a:pt x="2" y="369"/>
                    <a:pt x="1" y="375"/>
                  </a:cubicBezTo>
                  <a:cubicBezTo>
                    <a:pt x="0" y="381"/>
                    <a:pt x="27" y="417"/>
                    <a:pt x="32" y="425"/>
                  </a:cubicBezTo>
                  <a:cubicBezTo>
                    <a:pt x="37" y="433"/>
                    <a:pt x="32" y="443"/>
                    <a:pt x="32" y="450"/>
                  </a:cubicBezTo>
                  <a:cubicBezTo>
                    <a:pt x="32" y="457"/>
                    <a:pt x="44" y="468"/>
                    <a:pt x="48" y="470"/>
                  </a:cubicBezTo>
                  <a:cubicBezTo>
                    <a:pt x="52" y="472"/>
                    <a:pt x="57" y="467"/>
                    <a:pt x="63" y="464"/>
                  </a:cubicBezTo>
                  <a:cubicBezTo>
                    <a:pt x="69" y="461"/>
                    <a:pt x="97" y="474"/>
                    <a:pt x="102" y="477"/>
                  </a:cubicBezTo>
                  <a:cubicBezTo>
                    <a:pt x="107" y="480"/>
                    <a:pt x="122" y="521"/>
                    <a:pt x="122" y="521"/>
                  </a:cubicBezTo>
                  <a:cubicBezTo>
                    <a:pt x="147" y="527"/>
                    <a:pt x="147" y="527"/>
                    <a:pt x="147" y="527"/>
                  </a:cubicBezTo>
                  <a:cubicBezTo>
                    <a:pt x="147" y="527"/>
                    <a:pt x="187" y="535"/>
                    <a:pt x="194" y="537"/>
                  </a:cubicBezTo>
                  <a:cubicBezTo>
                    <a:pt x="201" y="539"/>
                    <a:pt x="217" y="567"/>
                    <a:pt x="228" y="566"/>
                  </a:cubicBezTo>
                  <a:cubicBezTo>
                    <a:pt x="239" y="565"/>
                    <a:pt x="311" y="521"/>
                    <a:pt x="311" y="521"/>
                  </a:cubicBezTo>
                  <a:cubicBezTo>
                    <a:pt x="684" y="737"/>
                    <a:pt x="684" y="737"/>
                    <a:pt x="684" y="737"/>
                  </a:cubicBezTo>
                  <a:cubicBezTo>
                    <a:pt x="683" y="708"/>
                    <a:pt x="683" y="708"/>
                    <a:pt x="683" y="708"/>
                  </a:cubicBezTo>
                  <a:cubicBezTo>
                    <a:pt x="731" y="707"/>
                    <a:pt x="731" y="707"/>
                    <a:pt x="731" y="707"/>
                  </a:cubicBezTo>
                  <a:cubicBezTo>
                    <a:pt x="730" y="599"/>
                    <a:pt x="730" y="599"/>
                    <a:pt x="730" y="599"/>
                  </a:cubicBezTo>
                  <a:cubicBezTo>
                    <a:pt x="730" y="599"/>
                    <a:pt x="717" y="214"/>
                    <a:pt x="717" y="201"/>
                  </a:cubicBezTo>
                  <a:cubicBezTo>
                    <a:pt x="717" y="188"/>
                    <a:pt x="702" y="170"/>
                    <a:pt x="699" y="163"/>
                  </a:cubicBezTo>
                  <a:cubicBezTo>
                    <a:pt x="696" y="156"/>
                    <a:pt x="710" y="144"/>
                    <a:pt x="713" y="135"/>
                  </a:cubicBezTo>
                  <a:cubicBezTo>
                    <a:pt x="716" y="126"/>
                    <a:pt x="704" y="119"/>
                    <a:pt x="703" y="115"/>
                  </a:cubicBezTo>
                  <a:cubicBezTo>
                    <a:pt x="702" y="111"/>
                    <a:pt x="702" y="97"/>
                    <a:pt x="707" y="94"/>
                  </a:cubicBezTo>
                  <a:cubicBezTo>
                    <a:pt x="711" y="92"/>
                    <a:pt x="717" y="85"/>
                    <a:pt x="720" y="81"/>
                  </a:cubicBezTo>
                  <a:cubicBezTo>
                    <a:pt x="714" y="72"/>
                    <a:pt x="716" y="63"/>
                    <a:pt x="716" y="63"/>
                  </a:cubicBezTo>
                  <a:cubicBezTo>
                    <a:pt x="701" y="68"/>
                    <a:pt x="701" y="68"/>
                    <a:pt x="701" y="68"/>
                  </a:cubicBezTo>
                  <a:cubicBezTo>
                    <a:pt x="694" y="59"/>
                    <a:pt x="694" y="59"/>
                    <a:pt x="694" y="59"/>
                  </a:cubicBezTo>
                  <a:cubicBezTo>
                    <a:pt x="694" y="59"/>
                    <a:pt x="689" y="67"/>
                    <a:pt x="682" y="67"/>
                  </a:cubicBezTo>
                  <a:cubicBezTo>
                    <a:pt x="675" y="67"/>
                    <a:pt x="667" y="50"/>
                    <a:pt x="658" y="50"/>
                  </a:cubicBezTo>
                  <a:cubicBezTo>
                    <a:pt x="649" y="50"/>
                    <a:pt x="639" y="57"/>
                    <a:pt x="628" y="49"/>
                  </a:cubicBezTo>
                  <a:cubicBezTo>
                    <a:pt x="617" y="41"/>
                    <a:pt x="626" y="32"/>
                    <a:pt x="617" y="28"/>
                  </a:cubicBezTo>
                  <a:cubicBezTo>
                    <a:pt x="608" y="24"/>
                    <a:pt x="590" y="23"/>
                    <a:pt x="590" y="23"/>
                  </a:cubicBezTo>
                  <a:cubicBezTo>
                    <a:pt x="590" y="23"/>
                    <a:pt x="569" y="15"/>
                    <a:pt x="561" y="15"/>
                  </a:cubicBezTo>
                  <a:cubicBezTo>
                    <a:pt x="553" y="15"/>
                    <a:pt x="553" y="23"/>
                    <a:pt x="553" y="23"/>
                  </a:cubicBezTo>
                  <a:cubicBezTo>
                    <a:pt x="553" y="23"/>
                    <a:pt x="523" y="21"/>
                    <a:pt x="510" y="31"/>
                  </a:cubicBezTo>
                  <a:cubicBezTo>
                    <a:pt x="497" y="41"/>
                    <a:pt x="480" y="54"/>
                    <a:pt x="480" y="70"/>
                  </a:cubicBezTo>
                  <a:cubicBezTo>
                    <a:pt x="480" y="86"/>
                    <a:pt x="496" y="105"/>
                    <a:pt x="496" y="114"/>
                  </a:cubicBezTo>
                  <a:cubicBezTo>
                    <a:pt x="496" y="123"/>
                    <a:pt x="475" y="152"/>
                    <a:pt x="463" y="154"/>
                  </a:cubicBezTo>
                  <a:cubicBezTo>
                    <a:pt x="451" y="156"/>
                    <a:pt x="433" y="159"/>
                    <a:pt x="419" y="144"/>
                  </a:cubicBezTo>
                  <a:cubicBezTo>
                    <a:pt x="405" y="129"/>
                    <a:pt x="366" y="106"/>
                    <a:pt x="351" y="105"/>
                  </a:cubicBezTo>
                  <a:cubicBezTo>
                    <a:pt x="336" y="104"/>
                    <a:pt x="302" y="113"/>
                    <a:pt x="289" y="97"/>
                  </a:cubicBezTo>
                  <a:cubicBezTo>
                    <a:pt x="276" y="81"/>
                    <a:pt x="280" y="69"/>
                    <a:pt x="271" y="53"/>
                  </a:cubicBezTo>
                  <a:cubicBezTo>
                    <a:pt x="262" y="37"/>
                    <a:pt x="244" y="40"/>
                    <a:pt x="244" y="40"/>
                  </a:cubicBezTo>
                  <a:cubicBezTo>
                    <a:pt x="244" y="40"/>
                    <a:pt x="220" y="22"/>
                    <a:pt x="212" y="21"/>
                  </a:cubicBezTo>
                  <a:cubicBezTo>
                    <a:pt x="204" y="20"/>
                    <a:pt x="180" y="19"/>
                    <a:pt x="173" y="20"/>
                  </a:cubicBezTo>
                  <a:cubicBezTo>
                    <a:pt x="166" y="21"/>
                    <a:pt x="154" y="28"/>
                    <a:pt x="143" y="24"/>
                  </a:cubicBezTo>
                  <a:cubicBezTo>
                    <a:pt x="132" y="20"/>
                    <a:pt x="112" y="4"/>
                    <a:pt x="107" y="3"/>
                  </a:cubicBezTo>
                  <a:cubicBezTo>
                    <a:pt x="104" y="2"/>
                    <a:pt x="100" y="1"/>
                    <a:pt x="96" y="0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7"/>
                    <a:pt x="108" y="29"/>
                    <a:pt x="104" y="3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29" name="Freeform 309">
              <a:extLst>
                <a:ext uri="{FF2B5EF4-FFF2-40B4-BE49-F238E27FC236}">
                  <a16:creationId xmlns:a16="http://schemas.microsoft.com/office/drawing/2014/main" id="{8C69B96B-56DD-C0D7-DB44-81A9B69037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5164" y="-9436"/>
              <a:ext cx="1410" cy="1736"/>
            </a:xfrm>
            <a:custGeom>
              <a:avLst/>
              <a:gdLst>
                <a:gd name="T0" fmla="*/ 32 w 597"/>
                <a:gd name="T1" fmla="*/ 79 h 735"/>
                <a:gd name="T2" fmla="*/ 41 w 597"/>
                <a:gd name="T3" fmla="*/ 42 h 735"/>
                <a:gd name="T4" fmla="*/ 68 w 597"/>
                <a:gd name="T5" fmla="*/ 17 h 735"/>
                <a:gd name="T6" fmla="*/ 38 w 597"/>
                <a:gd name="T7" fmla="*/ 15 h 735"/>
                <a:gd name="T8" fmla="*/ 27 w 597"/>
                <a:gd name="T9" fmla="*/ 29 h 735"/>
                <a:gd name="T10" fmla="*/ 26 w 597"/>
                <a:gd name="T11" fmla="*/ 39 h 735"/>
                <a:gd name="T12" fmla="*/ 583 w 597"/>
                <a:gd name="T13" fmla="*/ 362 h 735"/>
                <a:gd name="T14" fmla="*/ 558 w 597"/>
                <a:gd name="T15" fmla="*/ 357 h 735"/>
                <a:gd name="T16" fmla="*/ 535 w 597"/>
                <a:gd name="T17" fmla="*/ 367 h 735"/>
                <a:gd name="T18" fmla="*/ 511 w 597"/>
                <a:gd name="T19" fmla="*/ 375 h 735"/>
                <a:gd name="T20" fmla="*/ 503 w 597"/>
                <a:gd name="T21" fmla="*/ 346 h 735"/>
                <a:gd name="T22" fmla="*/ 496 w 597"/>
                <a:gd name="T23" fmla="*/ 299 h 735"/>
                <a:gd name="T24" fmla="*/ 488 w 597"/>
                <a:gd name="T25" fmla="*/ 256 h 735"/>
                <a:gd name="T26" fmla="*/ 493 w 597"/>
                <a:gd name="T27" fmla="*/ 224 h 735"/>
                <a:gd name="T28" fmla="*/ 477 w 597"/>
                <a:gd name="T29" fmla="*/ 190 h 735"/>
                <a:gd name="T30" fmla="*/ 484 w 597"/>
                <a:gd name="T31" fmla="*/ 162 h 735"/>
                <a:gd name="T32" fmla="*/ 423 w 597"/>
                <a:gd name="T33" fmla="*/ 155 h 735"/>
                <a:gd name="T34" fmla="*/ 409 w 597"/>
                <a:gd name="T35" fmla="*/ 148 h 735"/>
                <a:gd name="T36" fmla="*/ 381 w 597"/>
                <a:gd name="T37" fmla="*/ 170 h 735"/>
                <a:gd name="T38" fmla="*/ 369 w 597"/>
                <a:gd name="T39" fmla="*/ 197 h 735"/>
                <a:gd name="T40" fmla="*/ 335 w 597"/>
                <a:gd name="T41" fmla="*/ 195 h 735"/>
                <a:gd name="T42" fmla="*/ 313 w 597"/>
                <a:gd name="T43" fmla="*/ 201 h 735"/>
                <a:gd name="T44" fmla="*/ 302 w 597"/>
                <a:gd name="T45" fmla="*/ 203 h 735"/>
                <a:gd name="T46" fmla="*/ 278 w 597"/>
                <a:gd name="T47" fmla="*/ 194 h 735"/>
                <a:gd name="T48" fmla="*/ 265 w 597"/>
                <a:gd name="T49" fmla="*/ 172 h 735"/>
                <a:gd name="T50" fmla="*/ 255 w 597"/>
                <a:gd name="T51" fmla="*/ 141 h 735"/>
                <a:gd name="T52" fmla="*/ 243 w 597"/>
                <a:gd name="T53" fmla="*/ 98 h 735"/>
                <a:gd name="T54" fmla="*/ 209 w 597"/>
                <a:gd name="T55" fmla="*/ 84 h 735"/>
                <a:gd name="T56" fmla="*/ 185 w 597"/>
                <a:gd name="T57" fmla="*/ 86 h 735"/>
                <a:gd name="T58" fmla="*/ 155 w 597"/>
                <a:gd name="T59" fmla="*/ 84 h 735"/>
                <a:gd name="T60" fmla="*/ 112 w 597"/>
                <a:gd name="T61" fmla="*/ 82 h 735"/>
                <a:gd name="T62" fmla="*/ 89 w 597"/>
                <a:gd name="T63" fmla="*/ 84 h 735"/>
                <a:gd name="T64" fmla="*/ 67 w 597"/>
                <a:gd name="T65" fmla="*/ 84 h 735"/>
                <a:gd name="T66" fmla="*/ 43 w 597"/>
                <a:gd name="T67" fmla="*/ 97 h 735"/>
                <a:gd name="T68" fmla="*/ 48 w 597"/>
                <a:gd name="T69" fmla="*/ 128 h 735"/>
                <a:gd name="T70" fmla="*/ 56 w 597"/>
                <a:gd name="T71" fmla="*/ 157 h 735"/>
                <a:gd name="T72" fmla="*/ 69 w 597"/>
                <a:gd name="T73" fmla="*/ 254 h 735"/>
                <a:gd name="T74" fmla="*/ 75 w 597"/>
                <a:gd name="T75" fmla="*/ 270 h 735"/>
                <a:gd name="T76" fmla="*/ 108 w 597"/>
                <a:gd name="T77" fmla="*/ 388 h 735"/>
                <a:gd name="T78" fmla="*/ 93 w 597"/>
                <a:gd name="T79" fmla="*/ 442 h 735"/>
                <a:gd name="T80" fmla="*/ 66 w 597"/>
                <a:gd name="T81" fmla="*/ 460 h 735"/>
                <a:gd name="T82" fmla="*/ 44 w 597"/>
                <a:gd name="T83" fmla="*/ 484 h 735"/>
                <a:gd name="T84" fmla="*/ 34 w 597"/>
                <a:gd name="T85" fmla="*/ 524 h 735"/>
                <a:gd name="T86" fmla="*/ 21 w 597"/>
                <a:gd name="T87" fmla="*/ 579 h 735"/>
                <a:gd name="T88" fmla="*/ 6 w 597"/>
                <a:gd name="T89" fmla="*/ 618 h 735"/>
                <a:gd name="T90" fmla="*/ 13 w 597"/>
                <a:gd name="T91" fmla="*/ 654 h 735"/>
                <a:gd name="T92" fmla="*/ 3 w 597"/>
                <a:gd name="T93" fmla="*/ 696 h 735"/>
                <a:gd name="T94" fmla="*/ 24 w 597"/>
                <a:gd name="T95" fmla="*/ 691 h 735"/>
                <a:gd name="T96" fmla="*/ 50 w 597"/>
                <a:gd name="T97" fmla="*/ 695 h 735"/>
                <a:gd name="T98" fmla="*/ 81 w 597"/>
                <a:gd name="T99" fmla="*/ 681 h 735"/>
                <a:gd name="T100" fmla="*/ 322 w 597"/>
                <a:gd name="T101" fmla="*/ 703 h 735"/>
                <a:gd name="T102" fmla="*/ 361 w 597"/>
                <a:gd name="T103" fmla="*/ 724 h 735"/>
                <a:gd name="T104" fmla="*/ 411 w 597"/>
                <a:gd name="T105" fmla="*/ 729 h 735"/>
                <a:gd name="T106" fmla="*/ 463 w 597"/>
                <a:gd name="T107" fmla="*/ 735 h 735"/>
                <a:gd name="T108" fmla="*/ 493 w 597"/>
                <a:gd name="T109" fmla="*/ 657 h 735"/>
                <a:gd name="T110" fmla="*/ 487 w 597"/>
                <a:gd name="T111" fmla="*/ 635 h 735"/>
                <a:gd name="T112" fmla="*/ 571 w 597"/>
                <a:gd name="T113" fmla="*/ 470 h 735"/>
                <a:gd name="T114" fmla="*/ 580 w 597"/>
                <a:gd name="T115" fmla="*/ 440 h 735"/>
                <a:gd name="T116" fmla="*/ 585 w 597"/>
                <a:gd name="T117" fmla="*/ 426 h 735"/>
                <a:gd name="T118" fmla="*/ 594 w 597"/>
                <a:gd name="T119" fmla="*/ 386 h 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7" h="735">
                  <a:moveTo>
                    <a:pt x="30" y="77"/>
                  </a:moveTo>
                  <a:cubicBezTo>
                    <a:pt x="30" y="77"/>
                    <a:pt x="31" y="78"/>
                    <a:pt x="32" y="79"/>
                  </a:cubicBezTo>
                  <a:cubicBezTo>
                    <a:pt x="37" y="76"/>
                    <a:pt x="42" y="74"/>
                    <a:pt x="45" y="72"/>
                  </a:cubicBezTo>
                  <a:cubicBezTo>
                    <a:pt x="53" y="68"/>
                    <a:pt x="41" y="42"/>
                    <a:pt x="41" y="42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8" y="17"/>
                    <a:pt x="66" y="0"/>
                    <a:pt x="59" y="1"/>
                  </a:cubicBezTo>
                  <a:cubicBezTo>
                    <a:pt x="52" y="2"/>
                    <a:pt x="38" y="15"/>
                    <a:pt x="38" y="15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6" y="39"/>
                    <a:pt x="26" y="39"/>
                    <a:pt x="26" y="39"/>
                  </a:cubicBezTo>
                  <a:lnTo>
                    <a:pt x="30" y="77"/>
                  </a:lnTo>
                  <a:close/>
                  <a:moveTo>
                    <a:pt x="583" y="362"/>
                  </a:moveTo>
                  <a:cubicBezTo>
                    <a:pt x="569" y="364"/>
                    <a:pt x="569" y="364"/>
                    <a:pt x="569" y="364"/>
                  </a:cubicBezTo>
                  <a:cubicBezTo>
                    <a:pt x="569" y="364"/>
                    <a:pt x="565" y="357"/>
                    <a:pt x="558" y="357"/>
                  </a:cubicBezTo>
                  <a:cubicBezTo>
                    <a:pt x="551" y="357"/>
                    <a:pt x="551" y="362"/>
                    <a:pt x="551" y="362"/>
                  </a:cubicBezTo>
                  <a:cubicBezTo>
                    <a:pt x="535" y="367"/>
                    <a:pt x="535" y="367"/>
                    <a:pt x="535" y="367"/>
                  </a:cubicBezTo>
                  <a:cubicBezTo>
                    <a:pt x="517" y="363"/>
                    <a:pt x="517" y="363"/>
                    <a:pt x="517" y="363"/>
                  </a:cubicBezTo>
                  <a:cubicBezTo>
                    <a:pt x="511" y="375"/>
                    <a:pt x="511" y="375"/>
                    <a:pt x="511" y="375"/>
                  </a:cubicBezTo>
                  <a:cubicBezTo>
                    <a:pt x="511" y="375"/>
                    <a:pt x="503" y="373"/>
                    <a:pt x="500" y="369"/>
                  </a:cubicBezTo>
                  <a:cubicBezTo>
                    <a:pt x="497" y="365"/>
                    <a:pt x="500" y="353"/>
                    <a:pt x="503" y="346"/>
                  </a:cubicBezTo>
                  <a:cubicBezTo>
                    <a:pt x="506" y="339"/>
                    <a:pt x="507" y="324"/>
                    <a:pt x="507" y="324"/>
                  </a:cubicBezTo>
                  <a:cubicBezTo>
                    <a:pt x="507" y="324"/>
                    <a:pt x="503" y="306"/>
                    <a:pt x="496" y="299"/>
                  </a:cubicBezTo>
                  <a:cubicBezTo>
                    <a:pt x="489" y="292"/>
                    <a:pt x="483" y="284"/>
                    <a:pt x="483" y="276"/>
                  </a:cubicBezTo>
                  <a:cubicBezTo>
                    <a:pt x="483" y="268"/>
                    <a:pt x="488" y="256"/>
                    <a:pt x="488" y="256"/>
                  </a:cubicBezTo>
                  <a:cubicBezTo>
                    <a:pt x="485" y="240"/>
                    <a:pt x="485" y="240"/>
                    <a:pt x="485" y="240"/>
                  </a:cubicBezTo>
                  <a:cubicBezTo>
                    <a:pt x="485" y="240"/>
                    <a:pt x="493" y="231"/>
                    <a:pt x="493" y="224"/>
                  </a:cubicBezTo>
                  <a:cubicBezTo>
                    <a:pt x="493" y="217"/>
                    <a:pt x="480" y="204"/>
                    <a:pt x="480" y="204"/>
                  </a:cubicBezTo>
                  <a:cubicBezTo>
                    <a:pt x="477" y="190"/>
                    <a:pt x="477" y="190"/>
                    <a:pt x="477" y="190"/>
                  </a:cubicBezTo>
                  <a:cubicBezTo>
                    <a:pt x="484" y="180"/>
                    <a:pt x="484" y="180"/>
                    <a:pt x="484" y="180"/>
                  </a:cubicBezTo>
                  <a:cubicBezTo>
                    <a:pt x="484" y="162"/>
                    <a:pt x="484" y="162"/>
                    <a:pt x="484" y="162"/>
                  </a:cubicBezTo>
                  <a:cubicBezTo>
                    <a:pt x="424" y="163"/>
                    <a:pt x="424" y="163"/>
                    <a:pt x="424" y="163"/>
                  </a:cubicBezTo>
                  <a:cubicBezTo>
                    <a:pt x="423" y="155"/>
                    <a:pt x="423" y="155"/>
                    <a:pt x="423" y="155"/>
                  </a:cubicBezTo>
                  <a:cubicBezTo>
                    <a:pt x="423" y="155"/>
                    <a:pt x="427" y="146"/>
                    <a:pt x="418" y="143"/>
                  </a:cubicBezTo>
                  <a:cubicBezTo>
                    <a:pt x="409" y="140"/>
                    <a:pt x="409" y="148"/>
                    <a:pt x="409" y="148"/>
                  </a:cubicBezTo>
                  <a:cubicBezTo>
                    <a:pt x="409" y="148"/>
                    <a:pt x="380" y="145"/>
                    <a:pt x="375" y="149"/>
                  </a:cubicBezTo>
                  <a:cubicBezTo>
                    <a:pt x="370" y="153"/>
                    <a:pt x="381" y="165"/>
                    <a:pt x="381" y="170"/>
                  </a:cubicBezTo>
                  <a:cubicBezTo>
                    <a:pt x="381" y="175"/>
                    <a:pt x="374" y="175"/>
                    <a:pt x="371" y="179"/>
                  </a:cubicBezTo>
                  <a:cubicBezTo>
                    <a:pt x="368" y="183"/>
                    <a:pt x="369" y="197"/>
                    <a:pt x="369" y="197"/>
                  </a:cubicBezTo>
                  <a:cubicBezTo>
                    <a:pt x="339" y="200"/>
                    <a:pt x="339" y="200"/>
                    <a:pt x="339" y="200"/>
                  </a:cubicBezTo>
                  <a:cubicBezTo>
                    <a:pt x="335" y="195"/>
                    <a:pt x="335" y="195"/>
                    <a:pt x="335" y="195"/>
                  </a:cubicBezTo>
                  <a:cubicBezTo>
                    <a:pt x="328" y="201"/>
                    <a:pt x="328" y="201"/>
                    <a:pt x="328" y="201"/>
                  </a:cubicBezTo>
                  <a:cubicBezTo>
                    <a:pt x="313" y="201"/>
                    <a:pt x="313" y="201"/>
                    <a:pt x="313" y="201"/>
                  </a:cubicBezTo>
                  <a:cubicBezTo>
                    <a:pt x="309" y="208"/>
                    <a:pt x="309" y="208"/>
                    <a:pt x="309" y="208"/>
                  </a:cubicBezTo>
                  <a:cubicBezTo>
                    <a:pt x="302" y="203"/>
                    <a:pt x="302" y="203"/>
                    <a:pt x="302" y="203"/>
                  </a:cubicBezTo>
                  <a:cubicBezTo>
                    <a:pt x="281" y="204"/>
                    <a:pt x="281" y="204"/>
                    <a:pt x="281" y="204"/>
                  </a:cubicBezTo>
                  <a:cubicBezTo>
                    <a:pt x="278" y="194"/>
                    <a:pt x="278" y="194"/>
                    <a:pt x="278" y="194"/>
                  </a:cubicBezTo>
                  <a:cubicBezTo>
                    <a:pt x="272" y="186"/>
                    <a:pt x="272" y="186"/>
                    <a:pt x="272" y="186"/>
                  </a:cubicBezTo>
                  <a:cubicBezTo>
                    <a:pt x="272" y="186"/>
                    <a:pt x="270" y="178"/>
                    <a:pt x="265" y="172"/>
                  </a:cubicBezTo>
                  <a:cubicBezTo>
                    <a:pt x="260" y="166"/>
                    <a:pt x="254" y="163"/>
                    <a:pt x="254" y="163"/>
                  </a:cubicBezTo>
                  <a:cubicBezTo>
                    <a:pt x="254" y="163"/>
                    <a:pt x="256" y="147"/>
                    <a:pt x="255" y="141"/>
                  </a:cubicBezTo>
                  <a:cubicBezTo>
                    <a:pt x="254" y="135"/>
                    <a:pt x="244" y="128"/>
                    <a:pt x="244" y="128"/>
                  </a:cubicBezTo>
                  <a:cubicBezTo>
                    <a:pt x="243" y="98"/>
                    <a:pt x="243" y="98"/>
                    <a:pt x="243" y="98"/>
                  </a:cubicBezTo>
                  <a:cubicBezTo>
                    <a:pt x="243" y="98"/>
                    <a:pt x="237" y="94"/>
                    <a:pt x="232" y="85"/>
                  </a:cubicBezTo>
                  <a:cubicBezTo>
                    <a:pt x="227" y="76"/>
                    <a:pt x="209" y="84"/>
                    <a:pt x="209" y="84"/>
                  </a:cubicBezTo>
                  <a:cubicBezTo>
                    <a:pt x="195" y="83"/>
                    <a:pt x="195" y="83"/>
                    <a:pt x="195" y="83"/>
                  </a:cubicBezTo>
                  <a:cubicBezTo>
                    <a:pt x="185" y="86"/>
                    <a:pt x="185" y="86"/>
                    <a:pt x="185" y="86"/>
                  </a:cubicBezTo>
                  <a:cubicBezTo>
                    <a:pt x="185" y="86"/>
                    <a:pt x="178" y="86"/>
                    <a:pt x="173" y="86"/>
                  </a:cubicBezTo>
                  <a:cubicBezTo>
                    <a:pt x="168" y="86"/>
                    <a:pt x="155" y="84"/>
                    <a:pt x="155" y="84"/>
                  </a:cubicBezTo>
                  <a:cubicBezTo>
                    <a:pt x="155" y="84"/>
                    <a:pt x="137" y="87"/>
                    <a:pt x="130" y="88"/>
                  </a:cubicBezTo>
                  <a:cubicBezTo>
                    <a:pt x="123" y="89"/>
                    <a:pt x="112" y="82"/>
                    <a:pt x="112" y="82"/>
                  </a:cubicBezTo>
                  <a:cubicBezTo>
                    <a:pt x="97" y="86"/>
                    <a:pt x="97" y="86"/>
                    <a:pt x="97" y="86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84" y="86"/>
                    <a:pt x="84" y="86"/>
                    <a:pt x="84" y="86"/>
                  </a:cubicBezTo>
                  <a:cubicBezTo>
                    <a:pt x="67" y="84"/>
                    <a:pt x="67" y="84"/>
                    <a:pt x="67" y="84"/>
                  </a:cubicBezTo>
                  <a:cubicBezTo>
                    <a:pt x="44" y="94"/>
                    <a:pt x="44" y="94"/>
                    <a:pt x="44" y="94"/>
                  </a:cubicBezTo>
                  <a:cubicBezTo>
                    <a:pt x="44" y="95"/>
                    <a:pt x="44" y="96"/>
                    <a:pt x="43" y="97"/>
                  </a:cubicBezTo>
                  <a:cubicBezTo>
                    <a:pt x="37" y="101"/>
                    <a:pt x="32" y="102"/>
                    <a:pt x="32" y="102"/>
                  </a:cubicBezTo>
                  <a:cubicBezTo>
                    <a:pt x="32" y="102"/>
                    <a:pt x="45" y="121"/>
                    <a:pt x="48" y="128"/>
                  </a:cubicBezTo>
                  <a:cubicBezTo>
                    <a:pt x="51" y="135"/>
                    <a:pt x="60" y="138"/>
                    <a:pt x="60" y="138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157"/>
                    <a:pt x="88" y="194"/>
                    <a:pt x="85" y="221"/>
                  </a:cubicBezTo>
                  <a:cubicBezTo>
                    <a:pt x="82" y="248"/>
                    <a:pt x="69" y="254"/>
                    <a:pt x="69" y="254"/>
                  </a:cubicBezTo>
                  <a:cubicBezTo>
                    <a:pt x="68" y="271"/>
                    <a:pt x="68" y="271"/>
                    <a:pt x="68" y="271"/>
                  </a:cubicBezTo>
                  <a:cubicBezTo>
                    <a:pt x="75" y="270"/>
                    <a:pt x="75" y="270"/>
                    <a:pt x="75" y="270"/>
                  </a:cubicBezTo>
                  <a:cubicBezTo>
                    <a:pt x="75" y="270"/>
                    <a:pt x="71" y="293"/>
                    <a:pt x="85" y="314"/>
                  </a:cubicBezTo>
                  <a:cubicBezTo>
                    <a:pt x="99" y="335"/>
                    <a:pt x="111" y="373"/>
                    <a:pt x="108" y="388"/>
                  </a:cubicBezTo>
                  <a:cubicBezTo>
                    <a:pt x="105" y="403"/>
                    <a:pt x="94" y="420"/>
                    <a:pt x="94" y="420"/>
                  </a:cubicBezTo>
                  <a:cubicBezTo>
                    <a:pt x="94" y="420"/>
                    <a:pt x="101" y="436"/>
                    <a:pt x="93" y="442"/>
                  </a:cubicBezTo>
                  <a:cubicBezTo>
                    <a:pt x="85" y="448"/>
                    <a:pt x="72" y="446"/>
                    <a:pt x="72" y="446"/>
                  </a:cubicBezTo>
                  <a:cubicBezTo>
                    <a:pt x="66" y="460"/>
                    <a:pt x="66" y="460"/>
                    <a:pt x="66" y="460"/>
                  </a:cubicBezTo>
                  <a:cubicBezTo>
                    <a:pt x="68" y="475"/>
                    <a:pt x="68" y="475"/>
                    <a:pt x="68" y="475"/>
                  </a:cubicBezTo>
                  <a:cubicBezTo>
                    <a:pt x="68" y="475"/>
                    <a:pt x="43" y="472"/>
                    <a:pt x="44" y="484"/>
                  </a:cubicBezTo>
                  <a:cubicBezTo>
                    <a:pt x="45" y="496"/>
                    <a:pt x="41" y="514"/>
                    <a:pt x="41" y="514"/>
                  </a:cubicBezTo>
                  <a:cubicBezTo>
                    <a:pt x="34" y="524"/>
                    <a:pt x="34" y="524"/>
                    <a:pt x="34" y="524"/>
                  </a:cubicBezTo>
                  <a:cubicBezTo>
                    <a:pt x="34" y="524"/>
                    <a:pt x="38" y="556"/>
                    <a:pt x="35" y="566"/>
                  </a:cubicBezTo>
                  <a:cubicBezTo>
                    <a:pt x="32" y="576"/>
                    <a:pt x="21" y="579"/>
                    <a:pt x="21" y="579"/>
                  </a:cubicBezTo>
                  <a:cubicBezTo>
                    <a:pt x="21" y="606"/>
                    <a:pt x="21" y="606"/>
                    <a:pt x="21" y="606"/>
                  </a:cubicBezTo>
                  <a:cubicBezTo>
                    <a:pt x="6" y="618"/>
                    <a:pt x="6" y="618"/>
                    <a:pt x="6" y="618"/>
                  </a:cubicBezTo>
                  <a:cubicBezTo>
                    <a:pt x="6" y="645"/>
                    <a:pt x="6" y="645"/>
                    <a:pt x="6" y="645"/>
                  </a:cubicBezTo>
                  <a:cubicBezTo>
                    <a:pt x="13" y="654"/>
                    <a:pt x="13" y="654"/>
                    <a:pt x="13" y="654"/>
                  </a:cubicBezTo>
                  <a:cubicBezTo>
                    <a:pt x="0" y="669"/>
                    <a:pt x="0" y="669"/>
                    <a:pt x="0" y="669"/>
                  </a:cubicBezTo>
                  <a:cubicBezTo>
                    <a:pt x="3" y="696"/>
                    <a:pt x="3" y="696"/>
                    <a:pt x="3" y="696"/>
                  </a:cubicBezTo>
                  <a:cubicBezTo>
                    <a:pt x="13" y="695"/>
                    <a:pt x="13" y="695"/>
                    <a:pt x="13" y="695"/>
                  </a:cubicBezTo>
                  <a:cubicBezTo>
                    <a:pt x="24" y="691"/>
                    <a:pt x="24" y="691"/>
                    <a:pt x="24" y="691"/>
                  </a:cubicBezTo>
                  <a:cubicBezTo>
                    <a:pt x="31" y="696"/>
                    <a:pt x="31" y="696"/>
                    <a:pt x="31" y="696"/>
                  </a:cubicBezTo>
                  <a:cubicBezTo>
                    <a:pt x="31" y="696"/>
                    <a:pt x="43" y="696"/>
                    <a:pt x="50" y="695"/>
                  </a:cubicBezTo>
                  <a:cubicBezTo>
                    <a:pt x="57" y="694"/>
                    <a:pt x="61" y="680"/>
                    <a:pt x="61" y="680"/>
                  </a:cubicBezTo>
                  <a:cubicBezTo>
                    <a:pt x="61" y="680"/>
                    <a:pt x="82" y="682"/>
                    <a:pt x="81" y="681"/>
                  </a:cubicBezTo>
                  <a:cubicBezTo>
                    <a:pt x="85" y="692"/>
                    <a:pt x="119" y="705"/>
                    <a:pt x="119" y="705"/>
                  </a:cubicBezTo>
                  <a:cubicBezTo>
                    <a:pt x="322" y="703"/>
                    <a:pt x="322" y="703"/>
                    <a:pt x="322" y="703"/>
                  </a:cubicBezTo>
                  <a:cubicBezTo>
                    <a:pt x="322" y="703"/>
                    <a:pt x="331" y="722"/>
                    <a:pt x="338" y="724"/>
                  </a:cubicBezTo>
                  <a:cubicBezTo>
                    <a:pt x="345" y="726"/>
                    <a:pt x="361" y="724"/>
                    <a:pt x="361" y="724"/>
                  </a:cubicBezTo>
                  <a:cubicBezTo>
                    <a:pt x="365" y="730"/>
                    <a:pt x="365" y="730"/>
                    <a:pt x="365" y="730"/>
                  </a:cubicBezTo>
                  <a:cubicBezTo>
                    <a:pt x="411" y="729"/>
                    <a:pt x="411" y="729"/>
                    <a:pt x="411" y="729"/>
                  </a:cubicBezTo>
                  <a:cubicBezTo>
                    <a:pt x="417" y="735"/>
                    <a:pt x="417" y="735"/>
                    <a:pt x="417" y="735"/>
                  </a:cubicBezTo>
                  <a:cubicBezTo>
                    <a:pt x="417" y="735"/>
                    <a:pt x="435" y="735"/>
                    <a:pt x="463" y="735"/>
                  </a:cubicBezTo>
                  <a:cubicBezTo>
                    <a:pt x="491" y="735"/>
                    <a:pt x="551" y="715"/>
                    <a:pt x="551" y="715"/>
                  </a:cubicBezTo>
                  <a:cubicBezTo>
                    <a:pt x="493" y="657"/>
                    <a:pt x="493" y="657"/>
                    <a:pt x="493" y="657"/>
                  </a:cubicBezTo>
                  <a:cubicBezTo>
                    <a:pt x="493" y="645"/>
                    <a:pt x="493" y="645"/>
                    <a:pt x="493" y="645"/>
                  </a:cubicBezTo>
                  <a:cubicBezTo>
                    <a:pt x="487" y="635"/>
                    <a:pt x="487" y="635"/>
                    <a:pt x="487" y="635"/>
                  </a:cubicBezTo>
                  <a:cubicBezTo>
                    <a:pt x="488" y="468"/>
                    <a:pt x="488" y="468"/>
                    <a:pt x="488" y="468"/>
                  </a:cubicBezTo>
                  <a:cubicBezTo>
                    <a:pt x="571" y="470"/>
                    <a:pt x="571" y="470"/>
                    <a:pt x="571" y="470"/>
                  </a:cubicBezTo>
                  <a:cubicBezTo>
                    <a:pt x="571" y="470"/>
                    <a:pt x="582" y="470"/>
                    <a:pt x="584" y="463"/>
                  </a:cubicBezTo>
                  <a:cubicBezTo>
                    <a:pt x="586" y="456"/>
                    <a:pt x="580" y="440"/>
                    <a:pt x="580" y="440"/>
                  </a:cubicBezTo>
                  <a:cubicBezTo>
                    <a:pt x="593" y="437"/>
                    <a:pt x="593" y="437"/>
                    <a:pt x="593" y="437"/>
                  </a:cubicBezTo>
                  <a:cubicBezTo>
                    <a:pt x="585" y="426"/>
                    <a:pt x="585" y="426"/>
                    <a:pt x="585" y="426"/>
                  </a:cubicBezTo>
                  <a:cubicBezTo>
                    <a:pt x="583" y="391"/>
                    <a:pt x="583" y="391"/>
                    <a:pt x="583" y="391"/>
                  </a:cubicBezTo>
                  <a:cubicBezTo>
                    <a:pt x="583" y="391"/>
                    <a:pt x="591" y="389"/>
                    <a:pt x="594" y="386"/>
                  </a:cubicBezTo>
                  <a:cubicBezTo>
                    <a:pt x="597" y="383"/>
                    <a:pt x="583" y="362"/>
                    <a:pt x="583" y="36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30" name="Freeform 310">
              <a:extLst>
                <a:ext uri="{FF2B5EF4-FFF2-40B4-BE49-F238E27FC236}">
                  <a16:creationId xmlns:a16="http://schemas.microsoft.com/office/drawing/2014/main" id="{82858315-F768-4C65-EF3D-34F27E1C58A1}"/>
                </a:ext>
              </a:extLst>
            </p:cNvPr>
            <p:cNvSpPr>
              <a:spLocks/>
            </p:cNvSpPr>
            <p:nvPr/>
          </p:nvSpPr>
          <p:spPr bwMode="gray">
            <a:xfrm>
              <a:off x="-3241" y="-9850"/>
              <a:ext cx="245" cy="232"/>
            </a:xfrm>
            <a:custGeom>
              <a:avLst/>
              <a:gdLst>
                <a:gd name="T0" fmla="*/ 35 w 104"/>
                <a:gd name="T1" fmla="*/ 98 h 98"/>
                <a:gd name="T2" fmla="*/ 52 w 104"/>
                <a:gd name="T3" fmla="*/ 91 h 98"/>
                <a:gd name="T4" fmla="*/ 57 w 104"/>
                <a:gd name="T5" fmla="*/ 74 h 98"/>
                <a:gd name="T6" fmla="*/ 87 w 104"/>
                <a:gd name="T7" fmla="*/ 74 h 98"/>
                <a:gd name="T8" fmla="*/ 90 w 104"/>
                <a:gd name="T9" fmla="*/ 74 h 98"/>
                <a:gd name="T10" fmla="*/ 104 w 104"/>
                <a:gd name="T11" fmla="*/ 64 h 98"/>
                <a:gd name="T12" fmla="*/ 98 w 104"/>
                <a:gd name="T13" fmla="*/ 44 h 98"/>
                <a:gd name="T14" fmla="*/ 100 w 104"/>
                <a:gd name="T15" fmla="*/ 31 h 98"/>
                <a:gd name="T16" fmla="*/ 86 w 104"/>
                <a:gd name="T17" fmla="*/ 13 h 98"/>
                <a:gd name="T18" fmla="*/ 91 w 104"/>
                <a:gd name="T19" fmla="*/ 0 h 98"/>
                <a:gd name="T20" fmla="*/ 75 w 104"/>
                <a:gd name="T21" fmla="*/ 1 h 98"/>
                <a:gd name="T22" fmla="*/ 64 w 104"/>
                <a:gd name="T23" fmla="*/ 25 h 98"/>
                <a:gd name="T24" fmla="*/ 52 w 104"/>
                <a:gd name="T25" fmla="*/ 17 h 98"/>
                <a:gd name="T26" fmla="*/ 42 w 104"/>
                <a:gd name="T27" fmla="*/ 17 h 98"/>
                <a:gd name="T28" fmla="*/ 17 w 104"/>
                <a:gd name="T29" fmla="*/ 36 h 98"/>
                <a:gd name="T30" fmla="*/ 24 w 104"/>
                <a:gd name="T31" fmla="*/ 58 h 98"/>
                <a:gd name="T32" fmla="*/ 4 w 104"/>
                <a:gd name="T33" fmla="*/ 80 h 98"/>
                <a:gd name="T34" fmla="*/ 22 w 104"/>
                <a:gd name="T35" fmla="*/ 85 h 98"/>
                <a:gd name="T36" fmla="*/ 35 w 104"/>
                <a:gd name="T3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98">
                  <a:moveTo>
                    <a:pt x="35" y="98"/>
                  </a:moveTo>
                  <a:cubicBezTo>
                    <a:pt x="39" y="98"/>
                    <a:pt x="52" y="91"/>
                    <a:pt x="52" y="91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87" y="74"/>
                    <a:pt x="87" y="74"/>
                    <a:pt x="87" y="74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96" y="73"/>
                    <a:pt x="104" y="71"/>
                    <a:pt x="104" y="64"/>
                  </a:cubicBezTo>
                  <a:cubicBezTo>
                    <a:pt x="104" y="52"/>
                    <a:pt x="98" y="44"/>
                    <a:pt x="98" y="44"/>
                  </a:cubicBezTo>
                  <a:cubicBezTo>
                    <a:pt x="98" y="44"/>
                    <a:pt x="104" y="39"/>
                    <a:pt x="100" y="31"/>
                  </a:cubicBezTo>
                  <a:cubicBezTo>
                    <a:pt x="96" y="23"/>
                    <a:pt x="86" y="13"/>
                    <a:pt x="86" y="1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1" y="17"/>
                    <a:pt x="64" y="25"/>
                  </a:cubicBezTo>
                  <a:cubicBezTo>
                    <a:pt x="58" y="32"/>
                    <a:pt x="52" y="17"/>
                    <a:pt x="5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18" y="28"/>
                    <a:pt x="17" y="36"/>
                  </a:cubicBezTo>
                  <a:cubicBezTo>
                    <a:pt x="15" y="44"/>
                    <a:pt x="25" y="55"/>
                    <a:pt x="24" y="58"/>
                  </a:cubicBezTo>
                  <a:cubicBezTo>
                    <a:pt x="22" y="62"/>
                    <a:pt x="0" y="72"/>
                    <a:pt x="4" y="80"/>
                  </a:cubicBezTo>
                  <a:cubicBezTo>
                    <a:pt x="8" y="88"/>
                    <a:pt x="22" y="85"/>
                    <a:pt x="22" y="85"/>
                  </a:cubicBezTo>
                  <a:cubicBezTo>
                    <a:pt x="22" y="85"/>
                    <a:pt x="31" y="98"/>
                    <a:pt x="35" y="98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31" name="Freeform 311">
              <a:extLst>
                <a:ext uri="{FF2B5EF4-FFF2-40B4-BE49-F238E27FC236}">
                  <a16:creationId xmlns:a16="http://schemas.microsoft.com/office/drawing/2014/main" id="{BE9CFCBF-D14F-0509-BF2D-D962028AE9A2}"/>
                </a:ext>
              </a:extLst>
            </p:cNvPr>
            <p:cNvSpPr>
              <a:spLocks/>
            </p:cNvSpPr>
            <p:nvPr/>
          </p:nvSpPr>
          <p:spPr bwMode="gray">
            <a:xfrm>
              <a:off x="-4855" y="-11376"/>
              <a:ext cx="1451" cy="1103"/>
            </a:xfrm>
            <a:custGeom>
              <a:avLst/>
              <a:gdLst>
                <a:gd name="T0" fmla="*/ 589 w 614"/>
                <a:gd name="T1" fmla="*/ 267 h 467"/>
                <a:gd name="T2" fmla="*/ 575 w 614"/>
                <a:gd name="T3" fmla="*/ 253 h 467"/>
                <a:gd name="T4" fmla="*/ 573 w 614"/>
                <a:gd name="T5" fmla="*/ 236 h 467"/>
                <a:gd name="T6" fmla="*/ 542 w 614"/>
                <a:gd name="T7" fmla="*/ 203 h 467"/>
                <a:gd name="T8" fmla="*/ 521 w 614"/>
                <a:gd name="T9" fmla="*/ 175 h 467"/>
                <a:gd name="T10" fmla="*/ 502 w 614"/>
                <a:gd name="T11" fmla="*/ 152 h 467"/>
                <a:gd name="T12" fmla="*/ 467 w 614"/>
                <a:gd name="T13" fmla="*/ 130 h 467"/>
                <a:gd name="T14" fmla="*/ 433 w 614"/>
                <a:gd name="T15" fmla="*/ 120 h 467"/>
                <a:gd name="T16" fmla="*/ 431 w 614"/>
                <a:gd name="T17" fmla="*/ 102 h 467"/>
                <a:gd name="T18" fmla="*/ 402 w 614"/>
                <a:gd name="T19" fmla="*/ 8 h 467"/>
                <a:gd name="T20" fmla="*/ 385 w 614"/>
                <a:gd name="T21" fmla="*/ 0 h 467"/>
                <a:gd name="T22" fmla="*/ 345 w 614"/>
                <a:gd name="T23" fmla="*/ 38 h 467"/>
                <a:gd name="T24" fmla="*/ 320 w 614"/>
                <a:gd name="T25" fmla="*/ 55 h 467"/>
                <a:gd name="T26" fmla="*/ 222 w 614"/>
                <a:gd name="T27" fmla="*/ 107 h 467"/>
                <a:gd name="T28" fmla="*/ 223 w 614"/>
                <a:gd name="T29" fmla="*/ 132 h 467"/>
                <a:gd name="T30" fmla="*/ 151 w 614"/>
                <a:gd name="T31" fmla="*/ 160 h 467"/>
                <a:gd name="T32" fmla="*/ 108 w 614"/>
                <a:gd name="T33" fmla="*/ 165 h 467"/>
                <a:gd name="T34" fmla="*/ 56 w 614"/>
                <a:gd name="T35" fmla="*/ 186 h 467"/>
                <a:gd name="T36" fmla="*/ 35 w 614"/>
                <a:gd name="T37" fmla="*/ 224 h 467"/>
                <a:gd name="T38" fmla="*/ 24 w 614"/>
                <a:gd name="T39" fmla="*/ 249 h 467"/>
                <a:gd name="T40" fmla="*/ 15 w 614"/>
                <a:gd name="T41" fmla="*/ 273 h 467"/>
                <a:gd name="T42" fmla="*/ 7 w 614"/>
                <a:gd name="T43" fmla="*/ 306 h 467"/>
                <a:gd name="T44" fmla="*/ 19 w 614"/>
                <a:gd name="T45" fmla="*/ 344 h 467"/>
                <a:gd name="T46" fmla="*/ 36 w 614"/>
                <a:gd name="T47" fmla="*/ 381 h 467"/>
                <a:gd name="T48" fmla="*/ 79 w 614"/>
                <a:gd name="T49" fmla="*/ 428 h 467"/>
                <a:gd name="T50" fmla="*/ 83 w 614"/>
                <a:gd name="T51" fmla="*/ 461 h 467"/>
                <a:gd name="T52" fmla="*/ 106 w 614"/>
                <a:gd name="T53" fmla="*/ 441 h 467"/>
                <a:gd name="T54" fmla="*/ 108 w 614"/>
                <a:gd name="T55" fmla="*/ 400 h 467"/>
                <a:gd name="T56" fmla="*/ 147 w 614"/>
                <a:gd name="T57" fmla="*/ 390 h 467"/>
                <a:gd name="T58" fmla="*/ 193 w 614"/>
                <a:gd name="T59" fmla="*/ 394 h 467"/>
                <a:gd name="T60" fmla="*/ 203 w 614"/>
                <a:gd name="T61" fmla="*/ 370 h 467"/>
                <a:gd name="T62" fmla="*/ 218 w 614"/>
                <a:gd name="T63" fmla="*/ 344 h 467"/>
                <a:gd name="T64" fmla="*/ 273 w 614"/>
                <a:gd name="T65" fmla="*/ 330 h 467"/>
                <a:gd name="T66" fmla="*/ 295 w 614"/>
                <a:gd name="T67" fmla="*/ 351 h 467"/>
                <a:gd name="T68" fmla="*/ 335 w 614"/>
                <a:gd name="T69" fmla="*/ 362 h 467"/>
                <a:gd name="T70" fmla="*/ 385 w 614"/>
                <a:gd name="T71" fmla="*/ 368 h 467"/>
                <a:gd name="T72" fmla="*/ 410 w 614"/>
                <a:gd name="T73" fmla="*/ 328 h 467"/>
                <a:gd name="T74" fmla="*/ 449 w 614"/>
                <a:gd name="T75" fmla="*/ 330 h 467"/>
                <a:gd name="T76" fmla="*/ 477 w 614"/>
                <a:gd name="T77" fmla="*/ 316 h 467"/>
                <a:gd name="T78" fmla="*/ 512 w 614"/>
                <a:gd name="T79" fmla="*/ 321 h 467"/>
                <a:gd name="T80" fmla="*/ 539 w 614"/>
                <a:gd name="T81" fmla="*/ 311 h 467"/>
                <a:gd name="T82" fmla="*/ 586 w 614"/>
                <a:gd name="T83" fmla="*/ 319 h 467"/>
                <a:gd name="T84" fmla="*/ 606 w 614"/>
                <a:gd name="T85" fmla="*/ 281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14" h="467">
                  <a:moveTo>
                    <a:pt x="606" y="281"/>
                  </a:moveTo>
                  <a:cubicBezTo>
                    <a:pt x="598" y="273"/>
                    <a:pt x="589" y="267"/>
                    <a:pt x="589" y="267"/>
                  </a:cubicBezTo>
                  <a:cubicBezTo>
                    <a:pt x="574" y="266"/>
                    <a:pt x="574" y="266"/>
                    <a:pt x="574" y="266"/>
                  </a:cubicBezTo>
                  <a:cubicBezTo>
                    <a:pt x="575" y="253"/>
                    <a:pt x="575" y="253"/>
                    <a:pt x="575" y="253"/>
                  </a:cubicBezTo>
                  <a:cubicBezTo>
                    <a:pt x="575" y="253"/>
                    <a:pt x="568" y="250"/>
                    <a:pt x="567" y="244"/>
                  </a:cubicBezTo>
                  <a:cubicBezTo>
                    <a:pt x="566" y="238"/>
                    <a:pt x="573" y="244"/>
                    <a:pt x="573" y="236"/>
                  </a:cubicBezTo>
                  <a:cubicBezTo>
                    <a:pt x="573" y="228"/>
                    <a:pt x="558" y="227"/>
                    <a:pt x="558" y="227"/>
                  </a:cubicBezTo>
                  <a:cubicBezTo>
                    <a:pt x="558" y="227"/>
                    <a:pt x="549" y="204"/>
                    <a:pt x="542" y="203"/>
                  </a:cubicBezTo>
                  <a:cubicBezTo>
                    <a:pt x="535" y="202"/>
                    <a:pt x="521" y="200"/>
                    <a:pt x="515" y="190"/>
                  </a:cubicBezTo>
                  <a:cubicBezTo>
                    <a:pt x="509" y="180"/>
                    <a:pt x="524" y="186"/>
                    <a:pt x="521" y="175"/>
                  </a:cubicBezTo>
                  <a:cubicBezTo>
                    <a:pt x="518" y="164"/>
                    <a:pt x="502" y="165"/>
                    <a:pt x="502" y="165"/>
                  </a:cubicBezTo>
                  <a:cubicBezTo>
                    <a:pt x="502" y="152"/>
                    <a:pt x="502" y="152"/>
                    <a:pt x="502" y="152"/>
                  </a:cubicBezTo>
                  <a:cubicBezTo>
                    <a:pt x="502" y="152"/>
                    <a:pt x="472" y="154"/>
                    <a:pt x="466" y="146"/>
                  </a:cubicBezTo>
                  <a:cubicBezTo>
                    <a:pt x="460" y="138"/>
                    <a:pt x="467" y="130"/>
                    <a:pt x="467" y="130"/>
                  </a:cubicBezTo>
                  <a:cubicBezTo>
                    <a:pt x="467" y="123"/>
                    <a:pt x="467" y="123"/>
                    <a:pt x="467" y="123"/>
                  </a:cubicBezTo>
                  <a:cubicBezTo>
                    <a:pt x="433" y="120"/>
                    <a:pt x="433" y="120"/>
                    <a:pt x="433" y="120"/>
                  </a:cubicBezTo>
                  <a:cubicBezTo>
                    <a:pt x="439" y="109"/>
                    <a:pt x="439" y="109"/>
                    <a:pt x="439" y="109"/>
                  </a:cubicBezTo>
                  <a:cubicBezTo>
                    <a:pt x="439" y="109"/>
                    <a:pt x="430" y="112"/>
                    <a:pt x="431" y="102"/>
                  </a:cubicBezTo>
                  <a:cubicBezTo>
                    <a:pt x="432" y="92"/>
                    <a:pt x="447" y="85"/>
                    <a:pt x="443" y="63"/>
                  </a:cubicBezTo>
                  <a:cubicBezTo>
                    <a:pt x="439" y="41"/>
                    <a:pt x="402" y="8"/>
                    <a:pt x="402" y="8"/>
                  </a:cubicBezTo>
                  <a:cubicBezTo>
                    <a:pt x="401" y="1"/>
                    <a:pt x="401" y="1"/>
                    <a:pt x="401" y="1"/>
                  </a:cubicBezTo>
                  <a:cubicBezTo>
                    <a:pt x="385" y="0"/>
                    <a:pt x="385" y="0"/>
                    <a:pt x="385" y="0"/>
                  </a:cubicBezTo>
                  <a:cubicBezTo>
                    <a:pt x="348" y="18"/>
                    <a:pt x="348" y="18"/>
                    <a:pt x="348" y="18"/>
                  </a:cubicBezTo>
                  <a:cubicBezTo>
                    <a:pt x="345" y="38"/>
                    <a:pt x="345" y="38"/>
                    <a:pt x="345" y="38"/>
                  </a:cubicBezTo>
                  <a:cubicBezTo>
                    <a:pt x="333" y="50"/>
                    <a:pt x="333" y="50"/>
                    <a:pt x="333" y="50"/>
                  </a:cubicBezTo>
                  <a:cubicBezTo>
                    <a:pt x="320" y="55"/>
                    <a:pt x="320" y="55"/>
                    <a:pt x="320" y="55"/>
                  </a:cubicBezTo>
                  <a:cubicBezTo>
                    <a:pt x="320" y="55"/>
                    <a:pt x="325" y="77"/>
                    <a:pt x="293" y="92"/>
                  </a:cubicBezTo>
                  <a:cubicBezTo>
                    <a:pt x="262" y="107"/>
                    <a:pt x="222" y="107"/>
                    <a:pt x="222" y="107"/>
                  </a:cubicBezTo>
                  <a:cubicBezTo>
                    <a:pt x="208" y="115"/>
                    <a:pt x="208" y="115"/>
                    <a:pt x="208" y="115"/>
                  </a:cubicBezTo>
                  <a:cubicBezTo>
                    <a:pt x="208" y="115"/>
                    <a:pt x="228" y="125"/>
                    <a:pt x="223" y="132"/>
                  </a:cubicBezTo>
                  <a:cubicBezTo>
                    <a:pt x="218" y="138"/>
                    <a:pt x="203" y="160"/>
                    <a:pt x="203" y="160"/>
                  </a:cubicBezTo>
                  <a:cubicBezTo>
                    <a:pt x="203" y="160"/>
                    <a:pt x="170" y="160"/>
                    <a:pt x="151" y="160"/>
                  </a:cubicBezTo>
                  <a:cubicBezTo>
                    <a:pt x="133" y="160"/>
                    <a:pt x="138" y="180"/>
                    <a:pt x="120" y="185"/>
                  </a:cubicBezTo>
                  <a:cubicBezTo>
                    <a:pt x="101" y="190"/>
                    <a:pt x="108" y="165"/>
                    <a:pt x="108" y="165"/>
                  </a:cubicBezTo>
                  <a:cubicBezTo>
                    <a:pt x="108" y="165"/>
                    <a:pt x="88" y="180"/>
                    <a:pt x="78" y="187"/>
                  </a:cubicBezTo>
                  <a:cubicBezTo>
                    <a:pt x="68" y="193"/>
                    <a:pt x="56" y="186"/>
                    <a:pt x="56" y="186"/>
                  </a:cubicBezTo>
                  <a:cubicBezTo>
                    <a:pt x="56" y="186"/>
                    <a:pt x="38" y="196"/>
                    <a:pt x="37" y="204"/>
                  </a:cubicBezTo>
                  <a:cubicBezTo>
                    <a:pt x="36" y="212"/>
                    <a:pt x="35" y="224"/>
                    <a:pt x="35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24" y="249"/>
                    <a:pt x="24" y="249"/>
                    <a:pt x="24" y="249"/>
                  </a:cubicBezTo>
                  <a:cubicBezTo>
                    <a:pt x="24" y="249"/>
                    <a:pt x="2" y="256"/>
                    <a:pt x="1" y="264"/>
                  </a:cubicBezTo>
                  <a:cubicBezTo>
                    <a:pt x="0" y="272"/>
                    <a:pt x="15" y="273"/>
                    <a:pt x="15" y="273"/>
                  </a:cubicBezTo>
                  <a:cubicBezTo>
                    <a:pt x="14" y="298"/>
                    <a:pt x="14" y="298"/>
                    <a:pt x="14" y="298"/>
                  </a:cubicBezTo>
                  <a:cubicBezTo>
                    <a:pt x="7" y="306"/>
                    <a:pt x="7" y="306"/>
                    <a:pt x="7" y="306"/>
                  </a:cubicBezTo>
                  <a:cubicBezTo>
                    <a:pt x="19" y="313"/>
                    <a:pt x="19" y="313"/>
                    <a:pt x="19" y="313"/>
                  </a:cubicBezTo>
                  <a:cubicBezTo>
                    <a:pt x="19" y="344"/>
                    <a:pt x="19" y="344"/>
                    <a:pt x="19" y="344"/>
                  </a:cubicBezTo>
                  <a:cubicBezTo>
                    <a:pt x="19" y="344"/>
                    <a:pt x="36" y="355"/>
                    <a:pt x="38" y="358"/>
                  </a:cubicBezTo>
                  <a:cubicBezTo>
                    <a:pt x="40" y="361"/>
                    <a:pt x="36" y="381"/>
                    <a:pt x="36" y="381"/>
                  </a:cubicBezTo>
                  <a:cubicBezTo>
                    <a:pt x="36" y="381"/>
                    <a:pt x="47" y="404"/>
                    <a:pt x="57" y="412"/>
                  </a:cubicBezTo>
                  <a:cubicBezTo>
                    <a:pt x="67" y="420"/>
                    <a:pt x="79" y="428"/>
                    <a:pt x="79" y="428"/>
                  </a:cubicBezTo>
                  <a:cubicBezTo>
                    <a:pt x="83" y="442"/>
                    <a:pt x="83" y="442"/>
                    <a:pt x="83" y="442"/>
                  </a:cubicBezTo>
                  <a:cubicBezTo>
                    <a:pt x="83" y="461"/>
                    <a:pt x="83" y="461"/>
                    <a:pt x="83" y="461"/>
                  </a:cubicBezTo>
                  <a:cubicBezTo>
                    <a:pt x="88" y="467"/>
                    <a:pt x="88" y="467"/>
                    <a:pt x="88" y="467"/>
                  </a:cubicBezTo>
                  <a:cubicBezTo>
                    <a:pt x="88" y="467"/>
                    <a:pt x="104" y="448"/>
                    <a:pt x="106" y="441"/>
                  </a:cubicBezTo>
                  <a:cubicBezTo>
                    <a:pt x="108" y="434"/>
                    <a:pt x="98" y="421"/>
                    <a:pt x="98" y="421"/>
                  </a:cubicBezTo>
                  <a:cubicBezTo>
                    <a:pt x="108" y="400"/>
                    <a:pt x="108" y="400"/>
                    <a:pt x="108" y="400"/>
                  </a:cubicBezTo>
                  <a:cubicBezTo>
                    <a:pt x="128" y="401"/>
                    <a:pt x="128" y="401"/>
                    <a:pt x="128" y="401"/>
                  </a:cubicBezTo>
                  <a:cubicBezTo>
                    <a:pt x="128" y="401"/>
                    <a:pt x="141" y="390"/>
                    <a:pt x="147" y="390"/>
                  </a:cubicBezTo>
                  <a:cubicBezTo>
                    <a:pt x="153" y="390"/>
                    <a:pt x="167" y="398"/>
                    <a:pt x="178" y="399"/>
                  </a:cubicBezTo>
                  <a:cubicBezTo>
                    <a:pt x="189" y="400"/>
                    <a:pt x="193" y="394"/>
                    <a:pt x="193" y="394"/>
                  </a:cubicBezTo>
                  <a:cubicBezTo>
                    <a:pt x="203" y="380"/>
                    <a:pt x="203" y="380"/>
                    <a:pt x="203" y="380"/>
                  </a:cubicBezTo>
                  <a:cubicBezTo>
                    <a:pt x="203" y="370"/>
                    <a:pt x="203" y="370"/>
                    <a:pt x="203" y="370"/>
                  </a:cubicBezTo>
                  <a:cubicBezTo>
                    <a:pt x="203" y="370"/>
                    <a:pt x="193" y="367"/>
                    <a:pt x="201" y="357"/>
                  </a:cubicBezTo>
                  <a:cubicBezTo>
                    <a:pt x="209" y="347"/>
                    <a:pt x="208" y="358"/>
                    <a:pt x="218" y="344"/>
                  </a:cubicBezTo>
                  <a:cubicBezTo>
                    <a:pt x="228" y="330"/>
                    <a:pt x="218" y="311"/>
                    <a:pt x="247" y="313"/>
                  </a:cubicBezTo>
                  <a:cubicBezTo>
                    <a:pt x="276" y="315"/>
                    <a:pt x="273" y="330"/>
                    <a:pt x="273" y="330"/>
                  </a:cubicBezTo>
                  <a:cubicBezTo>
                    <a:pt x="273" y="330"/>
                    <a:pt x="286" y="328"/>
                    <a:pt x="289" y="332"/>
                  </a:cubicBezTo>
                  <a:cubicBezTo>
                    <a:pt x="292" y="336"/>
                    <a:pt x="280" y="351"/>
                    <a:pt x="295" y="351"/>
                  </a:cubicBezTo>
                  <a:cubicBezTo>
                    <a:pt x="310" y="351"/>
                    <a:pt x="319" y="351"/>
                    <a:pt x="319" y="351"/>
                  </a:cubicBezTo>
                  <a:cubicBezTo>
                    <a:pt x="319" y="351"/>
                    <a:pt x="325" y="363"/>
                    <a:pt x="335" y="362"/>
                  </a:cubicBezTo>
                  <a:cubicBezTo>
                    <a:pt x="345" y="361"/>
                    <a:pt x="363" y="361"/>
                    <a:pt x="363" y="361"/>
                  </a:cubicBezTo>
                  <a:cubicBezTo>
                    <a:pt x="363" y="361"/>
                    <a:pt x="376" y="375"/>
                    <a:pt x="385" y="368"/>
                  </a:cubicBezTo>
                  <a:cubicBezTo>
                    <a:pt x="394" y="361"/>
                    <a:pt x="389" y="347"/>
                    <a:pt x="396" y="344"/>
                  </a:cubicBezTo>
                  <a:cubicBezTo>
                    <a:pt x="403" y="341"/>
                    <a:pt x="410" y="328"/>
                    <a:pt x="410" y="328"/>
                  </a:cubicBezTo>
                  <a:cubicBezTo>
                    <a:pt x="410" y="328"/>
                    <a:pt x="424" y="349"/>
                    <a:pt x="430" y="344"/>
                  </a:cubicBezTo>
                  <a:cubicBezTo>
                    <a:pt x="436" y="339"/>
                    <a:pt x="449" y="330"/>
                    <a:pt x="449" y="330"/>
                  </a:cubicBezTo>
                  <a:cubicBezTo>
                    <a:pt x="461" y="330"/>
                    <a:pt x="461" y="330"/>
                    <a:pt x="461" y="330"/>
                  </a:cubicBezTo>
                  <a:cubicBezTo>
                    <a:pt x="477" y="316"/>
                    <a:pt x="477" y="316"/>
                    <a:pt x="477" y="316"/>
                  </a:cubicBezTo>
                  <a:cubicBezTo>
                    <a:pt x="477" y="316"/>
                    <a:pt x="486" y="326"/>
                    <a:pt x="490" y="326"/>
                  </a:cubicBezTo>
                  <a:cubicBezTo>
                    <a:pt x="494" y="326"/>
                    <a:pt x="512" y="321"/>
                    <a:pt x="512" y="321"/>
                  </a:cubicBezTo>
                  <a:cubicBezTo>
                    <a:pt x="512" y="321"/>
                    <a:pt x="517" y="300"/>
                    <a:pt x="524" y="299"/>
                  </a:cubicBezTo>
                  <a:cubicBezTo>
                    <a:pt x="531" y="298"/>
                    <a:pt x="539" y="311"/>
                    <a:pt x="539" y="311"/>
                  </a:cubicBezTo>
                  <a:cubicBezTo>
                    <a:pt x="560" y="308"/>
                    <a:pt x="560" y="308"/>
                    <a:pt x="560" y="308"/>
                  </a:cubicBezTo>
                  <a:cubicBezTo>
                    <a:pt x="560" y="308"/>
                    <a:pt x="566" y="324"/>
                    <a:pt x="586" y="319"/>
                  </a:cubicBezTo>
                  <a:cubicBezTo>
                    <a:pt x="606" y="314"/>
                    <a:pt x="610" y="303"/>
                    <a:pt x="610" y="303"/>
                  </a:cubicBezTo>
                  <a:cubicBezTo>
                    <a:pt x="610" y="303"/>
                    <a:pt x="614" y="289"/>
                    <a:pt x="606" y="28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32" name="Freeform 312">
              <a:extLst>
                <a:ext uri="{FF2B5EF4-FFF2-40B4-BE49-F238E27FC236}">
                  <a16:creationId xmlns:a16="http://schemas.microsoft.com/office/drawing/2014/main" id="{7F34C035-8410-6C8C-3858-13AF5B50AA25}"/>
                </a:ext>
              </a:extLst>
            </p:cNvPr>
            <p:cNvSpPr>
              <a:spLocks/>
            </p:cNvSpPr>
            <p:nvPr/>
          </p:nvSpPr>
          <p:spPr bwMode="gray">
            <a:xfrm>
              <a:off x="-5219" y="-10455"/>
              <a:ext cx="841" cy="1101"/>
            </a:xfrm>
            <a:custGeom>
              <a:avLst/>
              <a:gdLst>
                <a:gd name="T0" fmla="*/ 238 w 356"/>
                <a:gd name="T1" fmla="*/ 83 h 466"/>
                <a:gd name="T2" fmla="*/ 219 w 356"/>
                <a:gd name="T3" fmla="*/ 95 h 466"/>
                <a:gd name="T4" fmla="*/ 166 w 356"/>
                <a:gd name="T5" fmla="*/ 83 h 466"/>
                <a:gd name="T6" fmla="*/ 96 w 356"/>
                <a:gd name="T7" fmla="*/ 108 h 466"/>
                <a:gd name="T8" fmla="*/ 115 w 356"/>
                <a:gd name="T9" fmla="*/ 134 h 466"/>
                <a:gd name="T10" fmla="*/ 149 w 356"/>
                <a:gd name="T11" fmla="*/ 128 h 466"/>
                <a:gd name="T12" fmla="*/ 159 w 356"/>
                <a:gd name="T13" fmla="*/ 146 h 466"/>
                <a:gd name="T14" fmla="*/ 140 w 356"/>
                <a:gd name="T15" fmla="*/ 172 h 466"/>
                <a:gd name="T16" fmla="*/ 130 w 356"/>
                <a:gd name="T17" fmla="*/ 212 h 466"/>
                <a:gd name="T18" fmla="*/ 147 w 356"/>
                <a:gd name="T19" fmla="*/ 225 h 466"/>
                <a:gd name="T20" fmla="*/ 158 w 356"/>
                <a:gd name="T21" fmla="*/ 243 h 466"/>
                <a:gd name="T22" fmla="*/ 155 w 356"/>
                <a:gd name="T23" fmla="*/ 284 h 466"/>
                <a:gd name="T24" fmla="*/ 146 w 356"/>
                <a:gd name="T25" fmla="*/ 316 h 466"/>
                <a:gd name="T26" fmla="*/ 127 w 356"/>
                <a:gd name="T27" fmla="*/ 311 h 466"/>
                <a:gd name="T28" fmla="*/ 90 w 356"/>
                <a:gd name="T29" fmla="*/ 327 h 466"/>
                <a:gd name="T30" fmla="*/ 64 w 356"/>
                <a:gd name="T31" fmla="*/ 297 h 466"/>
                <a:gd name="T32" fmla="*/ 58 w 356"/>
                <a:gd name="T33" fmla="*/ 329 h 466"/>
                <a:gd name="T34" fmla="*/ 25 w 356"/>
                <a:gd name="T35" fmla="*/ 346 h 466"/>
                <a:gd name="T36" fmla="*/ 35 w 356"/>
                <a:gd name="T37" fmla="*/ 359 h 466"/>
                <a:gd name="T38" fmla="*/ 38 w 356"/>
                <a:gd name="T39" fmla="*/ 376 h 466"/>
                <a:gd name="T40" fmla="*/ 19 w 356"/>
                <a:gd name="T41" fmla="*/ 389 h 466"/>
                <a:gd name="T42" fmla="*/ 0 w 356"/>
                <a:gd name="T43" fmla="*/ 411 h 466"/>
                <a:gd name="T44" fmla="*/ 37 w 356"/>
                <a:gd name="T45" fmla="*/ 454 h 466"/>
                <a:gd name="T46" fmla="*/ 50 w 356"/>
                <a:gd name="T47" fmla="*/ 460 h 466"/>
                <a:gd name="T48" fmla="*/ 61 w 356"/>
                <a:gd name="T49" fmla="*/ 446 h 466"/>
                <a:gd name="T50" fmla="*/ 91 w 356"/>
                <a:gd name="T51" fmla="*/ 448 h 466"/>
                <a:gd name="T52" fmla="*/ 114 w 356"/>
                <a:gd name="T53" fmla="*/ 461 h 466"/>
                <a:gd name="T54" fmla="*/ 138 w 356"/>
                <a:gd name="T55" fmla="*/ 441 h 466"/>
                <a:gd name="T56" fmla="*/ 159 w 356"/>
                <a:gd name="T57" fmla="*/ 462 h 466"/>
                <a:gd name="T58" fmla="*/ 209 w 356"/>
                <a:gd name="T59" fmla="*/ 418 h 466"/>
                <a:gd name="T60" fmla="*/ 242 w 356"/>
                <a:gd name="T61" fmla="*/ 385 h 466"/>
                <a:gd name="T62" fmla="*/ 260 w 356"/>
                <a:gd name="T63" fmla="*/ 302 h 466"/>
                <a:gd name="T64" fmla="*/ 298 w 356"/>
                <a:gd name="T65" fmla="*/ 251 h 466"/>
                <a:gd name="T66" fmla="*/ 317 w 356"/>
                <a:gd name="T67" fmla="*/ 197 h 466"/>
                <a:gd name="T68" fmla="*/ 320 w 356"/>
                <a:gd name="T69" fmla="*/ 152 h 466"/>
                <a:gd name="T70" fmla="*/ 332 w 356"/>
                <a:gd name="T71" fmla="*/ 77 h 466"/>
                <a:gd name="T72" fmla="*/ 356 w 356"/>
                <a:gd name="T73" fmla="*/ 11 h 466"/>
                <a:gd name="T74" fmla="*/ 332 w 356"/>
                <a:gd name="T75" fmla="*/ 9 h 466"/>
                <a:gd name="T76" fmla="*/ 282 w 356"/>
                <a:gd name="T77" fmla="*/ 11 h 466"/>
                <a:gd name="T78" fmla="*/ 252 w 356"/>
                <a:gd name="T79" fmla="*/ 31 h 466"/>
                <a:gd name="T80" fmla="*/ 242 w 356"/>
                <a:gd name="T81" fmla="*/ 77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6" h="466">
                  <a:moveTo>
                    <a:pt x="242" y="77"/>
                  </a:moveTo>
                  <a:cubicBezTo>
                    <a:pt x="238" y="83"/>
                    <a:pt x="238" y="83"/>
                    <a:pt x="238" y="83"/>
                  </a:cubicBezTo>
                  <a:cubicBezTo>
                    <a:pt x="237" y="110"/>
                    <a:pt x="237" y="110"/>
                    <a:pt x="237" y="110"/>
                  </a:cubicBezTo>
                  <a:cubicBezTo>
                    <a:pt x="219" y="95"/>
                    <a:pt x="219" y="95"/>
                    <a:pt x="219" y="95"/>
                  </a:cubicBezTo>
                  <a:cubicBezTo>
                    <a:pt x="199" y="96"/>
                    <a:pt x="199" y="96"/>
                    <a:pt x="199" y="96"/>
                  </a:cubicBezTo>
                  <a:cubicBezTo>
                    <a:pt x="199" y="96"/>
                    <a:pt x="171" y="83"/>
                    <a:pt x="166" y="83"/>
                  </a:cubicBezTo>
                  <a:cubicBezTo>
                    <a:pt x="161" y="83"/>
                    <a:pt x="106" y="86"/>
                    <a:pt x="106" y="8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98" y="129"/>
                    <a:pt x="106" y="134"/>
                    <a:pt x="115" y="134"/>
                  </a:cubicBezTo>
                  <a:cubicBezTo>
                    <a:pt x="124" y="134"/>
                    <a:pt x="124" y="119"/>
                    <a:pt x="129" y="119"/>
                  </a:cubicBezTo>
                  <a:cubicBezTo>
                    <a:pt x="134" y="119"/>
                    <a:pt x="146" y="124"/>
                    <a:pt x="149" y="128"/>
                  </a:cubicBezTo>
                  <a:cubicBezTo>
                    <a:pt x="152" y="132"/>
                    <a:pt x="153" y="142"/>
                    <a:pt x="153" y="142"/>
                  </a:cubicBezTo>
                  <a:cubicBezTo>
                    <a:pt x="159" y="146"/>
                    <a:pt x="159" y="146"/>
                    <a:pt x="159" y="146"/>
                  </a:cubicBezTo>
                  <a:cubicBezTo>
                    <a:pt x="159" y="146"/>
                    <a:pt x="159" y="159"/>
                    <a:pt x="153" y="166"/>
                  </a:cubicBezTo>
                  <a:cubicBezTo>
                    <a:pt x="147" y="173"/>
                    <a:pt x="140" y="172"/>
                    <a:pt x="140" y="172"/>
                  </a:cubicBezTo>
                  <a:cubicBezTo>
                    <a:pt x="131" y="188"/>
                    <a:pt x="131" y="188"/>
                    <a:pt x="131" y="188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7" y="225"/>
                    <a:pt x="147" y="225"/>
                    <a:pt x="147" y="225"/>
                  </a:cubicBezTo>
                  <a:cubicBezTo>
                    <a:pt x="147" y="225"/>
                    <a:pt x="163" y="226"/>
                    <a:pt x="165" y="232"/>
                  </a:cubicBezTo>
                  <a:cubicBezTo>
                    <a:pt x="167" y="238"/>
                    <a:pt x="158" y="243"/>
                    <a:pt x="158" y="243"/>
                  </a:cubicBezTo>
                  <a:cubicBezTo>
                    <a:pt x="159" y="273"/>
                    <a:pt x="159" y="273"/>
                    <a:pt x="159" y="273"/>
                  </a:cubicBezTo>
                  <a:cubicBezTo>
                    <a:pt x="155" y="284"/>
                    <a:pt x="155" y="284"/>
                    <a:pt x="155" y="284"/>
                  </a:cubicBezTo>
                  <a:cubicBezTo>
                    <a:pt x="159" y="298"/>
                    <a:pt x="159" y="298"/>
                    <a:pt x="159" y="298"/>
                  </a:cubicBezTo>
                  <a:cubicBezTo>
                    <a:pt x="159" y="298"/>
                    <a:pt x="146" y="302"/>
                    <a:pt x="146" y="316"/>
                  </a:cubicBezTo>
                  <a:cubicBezTo>
                    <a:pt x="146" y="330"/>
                    <a:pt x="144" y="336"/>
                    <a:pt x="134" y="336"/>
                  </a:cubicBezTo>
                  <a:cubicBezTo>
                    <a:pt x="124" y="336"/>
                    <a:pt x="131" y="314"/>
                    <a:pt x="127" y="311"/>
                  </a:cubicBezTo>
                  <a:cubicBezTo>
                    <a:pt x="123" y="308"/>
                    <a:pt x="120" y="324"/>
                    <a:pt x="112" y="326"/>
                  </a:cubicBezTo>
                  <a:cubicBezTo>
                    <a:pt x="104" y="328"/>
                    <a:pt x="90" y="327"/>
                    <a:pt x="90" y="327"/>
                  </a:cubicBezTo>
                  <a:cubicBezTo>
                    <a:pt x="81" y="298"/>
                    <a:pt x="81" y="298"/>
                    <a:pt x="81" y="298"/>
                  </a:cubicBezTo>
                  <a:cubicBezTo>
                    <a:pt x="81" y="298"/>
                    <a:pt x="70" y="296"/>
                    <a:pt x="64" y="297"/>
                  </a:cubicBezTo>
                  <a:cubicBezTo>
                    <a:pt x="58" y="298"/>
                    <a:pt x="71" y="316"/>
                    <a:pt x="71" y="316"/>
                  </a:cubicBezTo>
                  <a:cubicBezTo>
                    <a:pt x="71" y="316"/>
                    <a:pt x="62" y="324"/>
                    <a:pt x="58" y="329"/>
                  </a:cubicBezTo>
                  <a:cubicBezTo>
                    <a:pt x="54" y="334"/>
                    <a:pt x="30" y="325"/>
                    <a:pt x="24" y="323"/>
                  </a:cubicBezTo>
                  <a:cubicBezTo>
                    <a:pt x="18" y="321"/>
                    <a:pt x="25" y="346"/>
                    <a:pt x="25" y="346"/>
                  </a:cubicBezTo>
                  <a:cubicBezTo>
                    <a:pt x="18" y="346"/>
                    <a:pt x="18" y="346"/>
                    <a:pt x="18" y="346"/>
                  </a:cubicBezTo>
                  <a:cubicBezTo>
                    <a:pt x="35" y="359"/>
                    <a:pt x="35" y="359"/>
                    <a:pt x="35" y="359"/>
                  </a:cubicBezTo>
                  <a:cubicBezTo>
                    <a:pt x="26" y="368"/>
                    <a:pt x="26" y="368"/>
                    <a:pt x="26" y="368"/>
                  </a:cubicBezTo>
                  <a:cubicBezTo>
                    <a:pt x="38" y="376"/>
                    <a:pt x="38" y="376"/>
                    <a:pt x="38" y="376"/>
                  </a:cubicBezTo>
                  <a:cubicBezTo>
                    <a:pt x="38" y="376"/>
                    <a:pt x="42" y="389"/>
                    <a:pt x="38" y="398"/>
                  </a:cubicBezTo>
                  <a:cubicBezTo>
                    <a:pt x="34" y="407"/>
                    <a:pt x="19" y="389"/>
                    <a:pt x="19" y="389"/>
                  </a:cubicBezTo>
                  <a:cubicBezTo>
                    <a:pt x="5" y="398"/>
                    <a:pt x="5" y="398"/>
                    <a:pt x="5" y="398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36" y="442"/>
                    <a:pt x="36" y="442"/>
                    <a:pt x="36" y="442"/>
                  </a:cubicBezTo>
                  <a:cubicBezTo>
                    <a:pt x="37" y="454"/>
                    <a:pt x="37" y="454"/>
                    <a:pt x="37" y="454"/>
                  </a:cubicBezTo>
                  <a:cubicBezTo>
                    <a:pt x="46" y="466"/>
                    <a:pt x="46" y="466"/>
                    <a:pt x="46" y="466"/>
                  </a:cubicBezTo>
                  <a:cubicBezTo>
                    <a:pt x="50" y="460"/>
                    <a:pt x="50" y="460"/>
                    <a:pt x="50" y="460"/>
                  </a:cubicBezTo>
                  <a:cubicBezTo>
                    <a:pt x="61" y="460"/>
                    <a:pt x="61" y="460"/>
                    <a:pt x="61" y="460"/>
                  </a:cubicBezTo>
                  <a:cubicBezTo>
                    <a:pt x="61" y="446"/>
                    <a:pt x="61" y="446"/>
                    <a:pt x="61" y="446"/>
                  </a:cubicBezTo>
                  <a:cubicBezTo>
                    <a:pt x="61" y="446"/>
                    <a:pt x="75" y="433"/>
                    <a:pt x="82" y="432"/>
                  </a:cubicBezTo>
                  <a:cubicBezTo>
                    <a:pt x="89" y="431"/>
                    <a:pt x="91" y="448"/>
                    <a:pt x="91" y="448"/>
                  </a:cubicBezTo>
                  <a:cubicBezTo>
                    <a:pt x="98" y="445"/>
                    <a:pt x="98" y="445"/>
                    <a:pt x="98" y="445"/>
                  </a:cubicBezTo>
                  <a:cubicBezTo>
                    <a:pt x="98" y="445"/>
                    <a:pt x="102" y="466"/>
                    <a:pt x="114" y="461"/>
                  </a:cubicBezTo>
                  <a:cubicBezTo>
                    <a:pt x="126" y="456"/>
                    <a:pt x="125" y="440"/>
                    <a:pt x="125" y="440"/>
                  </a:cubicBezTo>
                  <a:cubicBezTo>
                    <a:pt x="138" y="441"/>
                    <a:pt x="138" y="441"/>
                    <a:pt x="138" y="441"/>
                  </a:cubicBezTo>
                  <a:cubicBezTo>
                    <a:pt x="138" y="441"/>
                    <a:pt x="148" y="425"/>
                    <a:pt x="155" y="432"/>
                  </a:cubicBezTo>
                  <a:cubicBezTo>
                    <a:pt x="162" y="439"/>
                    <a:pt x="144" y="462"/>
                    <a:pt x="159" y="462"/>
                  </a:cubicBezTo>
                  <a:cubicBezTo>
                    <a:pt x="174" y="462"/>
                    <a:pt x="177" y="457"/>
                    <a:pt x="184" y="448"/>
                  </a:cubicBezTo>
                  <a:cubicBezTo>
                    <a:pt x="191" y="439"/>
                    <a:pt x="203" y="418"/>
                    <a:pt x="209" y="418"/>
                  </a:cubicBezTo>
                  <a:cubicBezTo>
                    <a:pt x="215" y="418"/>
                    <a:pt x="225" y="415"/>
                    <a:pt x="225" y="415"/>
                  </a:cubicBezTo>
                  <a:cubicBezTo>
                    <a:pt x="242" y="385"/>
                    <a:pt x="242" y="385"/>
                    <a:pt x="242" y="385"/>
                  </a:cubicBezTo>
                  <a:cubicBezTo>
                    <a:pt x="241" y="318"/>
                    <a:pt x="241" y="318"/>
                    <a:pt x="241" y="318"/>
                  </a:cubicBezTo>
                  <a:cubicBezTo>
                    <a:pt x="241" y="318"/>
                    <a:pt x="259" y="311"/>
                    <a:pt x="260" y="302"/>
                  </a:cubicBezTo>
                  <a:cubicBezTo>
                    <a:pt x="261" y="293"/>
                    <a:pt x="261" y="270"/>
                    <a:pt x="268" y="267"/>
                  </a:cubicBezTo>
                  <a:cubicBezTo>
                    <a:pt x="275" y="264"/>
                    <a:pt x="288" y="258"/>
                    <a:pt x="298" y="251"/>
                  </a:cubicBezTo>
                  <a:cubicBezTo>
                    <a:pt x="308" y="244"/>
                    <a:pt x="314" y="229"/>
                    <a:pt x="314" y="229"/>
                  </a:cubicBezTo>
                  <a:cubicBezTo>
                    <a:pt x="317" y="197"/>
                    <a:pt x="317" y="197"/>
                    <a:pt x="317" y="197"/>
                  </a:cubicBezTo>
                  <a:cubicBezTo>
                    <a:pt x="317" y="197"/>
                    <a:pt x="327" y="189"/>
                    <a:pt x="327" y="178"/>
                  </a:cubicBezTo>
                  <a:cubicBezTo>
                    <a:pt x="327" y="167"/>
                    <a:pt x="318" y="160"/>
                    <a:pt x="320" y="152"/>
                  </a:cubicBezTo>
                  <a:cubicBezTo>
                    <a:pt x="322" y="144"/>
                    <a:pt x="332" y="136"/>
                    <a:pt x="331" y="125"/>
                  </a:cubicBezTo>
                  <a:cubicBezTo>
                    <a:pt x="330" y="114"/>
                    <a:pt x="323" y="87"/>
                    <a:pt x="332" y="77"/>
                  </a:cubicBezTo>
                  <a:cubicBezTo>
                    <a:pt x="341" y="67"/>
                    <a:pt x="356" y="38"/>
                    <a:pt x="356" y="30"/>
                  </a:cubicBezTo>
                  <a:cubicBezTo>
                    <a:pt x="356" y="22"/>
                    <a:pt x="356" y="11"/>
                    <a:pt x="356" y="11"/>
                  </a:cubicBezTo>
                  <a:cubicBezTo>
                    <a:pt x="347" y="4"/>
                    <a:pt x="347" y="4"/>
                    <a:pt x="347" y="4"/>
                  </a:cubicBezTo>
                  <a:cubicBezTo>
                    <a:pt x="347" y="4"/>
                    <a:pt x="343" y="10"/>
                    <a:pt x="332" y="9"/>
                  </a:cubicBezTo>
                  <a:cubicBezTo>
                    <a:pt x="321" y="8"/>
                    <a:pt x="307" y="0"/>
                    <a:pt x="301" y="0"/>
                  </a:cubicBezTo>
                  <a:cubicBezTo>
                    <a:pt x="295" y="0"/>
                    <a:pt x="282" y="11"/>
                    <a:pt x="282" y="11"/>
                  </a:cubicBezTo>
                  <a:cubicBezTo>
                    <a:pt x="262" y="10"/>
                    <a:pt x="262" y="10"/>
                    <a:pt x="262" y="10"/>
                  </a:cubicBezTo>
                  <a:cubicBezTo>
                    <a:pt x="252" y="31"/>
                    <a:pt x="252" y="31"/>
                    <a:pt x="252" y="31"/>
                  </a:cubicBezTo>
                  <a:cubicBezTo>
                    <a:pt x="252" y="31"/>
                    <a:pt x="262" y="44"/>
                    <a:pt x="260" y="51"/>
                  </a:cubicBezTo>
                  <a:cubicBezTo>
                    <a:pt x="258" y="58"/>
                    <a:pt x="242" y="77"/>
                    <a:pt x="242" y="7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33" name="Freeform 313">
              <a:extLst>
                <a:ext uri="{FF2B5EF4-FFF2-40B4-BE49-F238E27FC236}">
                  <a16:creationId xmlns:a16="http://schemas.microsoft.com/office/drawing/2014/main" id="{C2CFDC69-8CD6-C858-EB93-0A86A6A94752}"/>
                </a:ext>
              </a:extLst>
            </p:cNvPr>
            <p:cNvSpPr>
              <a:spLocks/>
            </p:cNvSpPr>
            <p:nvPr/>
          </p:nvSpPr>
          <p:spPr bwMode="gray">
            <a:xfrm>
              <a:off x="-4028" y="-12914"/>
              <a:ext cx="1845" cy="2490"/>
            </a:xfrm>
            <a:custGeom>
              <a:avLst/>
              <a:gdLst>
                <a:gd name="T0" fmla="*/ 569 w 781"/>
                <a:gd name="T1" fmla="*/ 46 h 1054"/>
                <a:gd name="T2" fmla="*/ 443 w 781"/>
                <a:gd name="T3" fmla="*/ 56 h 1054"/>
                <a:gd name="T4" fmla="*/ 143 w 781"/>
                <a:gd name="T5" fmla="*/ 56 h 1054"/>
                <a:gd name="T6" fmla="*/ 101 w 781"/>
                <a:gd name="T7" fmla="*/ 398 h 1054"/>
                <a:gd name="T8" fmla="*/ 41 w 781"/>
                <a:gd name="T9" fmla="*/ 434 h 1054"/>
                <a:gd name="T10" fmla="*/ 30 w 781"/>
                <a:gd name="T11" fmla="*/ 468 h 1054"/>
                <a:gd name="T12" fmla="*/ 15 w 781"/>
                <a:gd name="T13" fmla="*/ 504 h 1054"/>
                <a:gd name="T14" fmla="*/ 11 w 781"/>
                <a:gd name="T15" fmla="*/ 565 h 1054"/>
                <a:gd name="T16" fmla="*/ 42 w 781"/>
                <a:gd name="T17" fmla="*/ 598 h 1054"/>
                <a:gd name="T18" fmla="*/ 56 w 781"/>
                <a:gd name="T19" fmla="*/ 634 h 1054"/>
                <a:gd name="T20" fmla="*/ 93 w 781"/>
                <a:gd name="T21" fmla="*/ 714 h 1054"/>
                <a:gd name="T22" fmla="*/ 83 w 781"/>
                <a:gd name="T23" fmla="*/ 771 h 1054"/>
                <a:gd name="T24" fmla="*/ 116 w 781"/>
                <a:gd name="T25" fmla="*/ 797 h 1054"/>
                <a:gd name="T26" fmla="*/ 171 w 781"/>
                <a:gd name="T27" fmla="*/ 826 h 1054"/>
                <a:gd name="T28" fmla="*/ 208 w 781"/>
                <a:gd name="T29" fmla="*/ 878 h 1054"/>
                <a:gd name="T30" fmla="*/ 225 w 781"/>
                <a:gd name="T31" fmla="*/ 904 h 1054"/>
                <a:gd name="T32" fmla="*/ 256 w 781"/>
                <a:gd name="T33" fmla="*/ 932 h 1054"/>
                <a:gd name="T34" fmla="*/ 285 w 781"/>
                <a:gd name="T35" fmla="*/ 981 h 1054"/>
                <a:gd name="T36" fmla="*/ 333 w 781"/>
                <a:gd name="T37" fmla="*/ 994 h 1054"/>
                <a:gd name="T38" fmla="*/ 390 w 781"/>
                <a:gd name="T39" fmla="*/ 1017 h 1054"/>
                <a:gd name="T40" fmla="*/ 431 w 781"/>
                <a:gd name="T41" fmla="*/ 1049 h 1054"/>
                <a:gd name="T42" fmla="*/ 474 w 781"/>
                <a:gd name="T43" fmla="*/ 1037 h 1054"/>
                <a:gd name="T44" fmla="*/ 508 w 781"/>
                <a:gd name="T45" fmla="*/ 1039 h 1054"/>
                <a:gd name="T46" fmla="*/ 553 w 781"/>
                <a:gd name="T47" fmla="*/ 1040 h 1054"/>
                <a:gd name="T48" fmla="*/ 597 w 781"/>
                <a:gd name="T49" fmla="*/ 995 h 1054"/>
                <a:gd name="T50" fmla="*/ 669 w 781"/>
                <a:gd name="T51" fmla="*/ 976 h 1054"/>
                <a:gd name="T52" fmla="*/ 628 w 781"/>
                <a:gd name="T53" fmla="*/ 912 h 1054"/>
                <a:gd name="T54" fmla="*/ 610 w 781"/>
                <a:gd name="T55" fmla="*/ 882 h 1054"/>
                <a:gd name="T56" fmla="*/ 587 w 781"/>
                <a:gd name="T57" fmla="*/ 846 h 1054"/>
                <a:gd name="T58" fmla="*/ 542 w 781"/>
                <a:gd name="T59" fmla="*/ 802 h 1054"/>
                <a:gd name="T60" fmla="*/ 568 w 781"/>
                <a:gd name="T61" fmla="*/ 792 h 1054"/>
                <a:gd name="T62" fmla="*/ 580 w 781"/>
                <a:gd name="T63" fmla="*/ 719 h 1054"/>
                <a:gd name="T64" fmla="*/ 603 w 781"/>
                <a:gd name="T65" fmla="*/ 656 h 1054"/>
                <a:gd name="T66" fmla="*/ 621 w 781"/>
                <a:gd name="T67" fmla="*/ 631 h 1054"/>
                <a:gd name="T68" fmla="*/ 642 w 781"/>
                <a:gd name="T69" fmla="*/ 596 h 1054"/>
                <a:gd name="T70" fmla="*/ 677 w 781"/>
                <a:gd name="T71" fmla="*/ 555 h 1054"/>
                <a:gd name="T72" fmla="*/ 691 w 781"/>
                <a:gd name="T73" fmla="*/ 471 h 1054"/>
                <a:gd name="T74" fmla="*/ 696 w 781"/>
                <a:gd name="T75" fmla="*/ 414 h 1054"/>
                <a:gd name="T76" fmla="*/ 703 w 781"/>
                <a:gd name="T77" fmla="*/ 346 h 1054"/>
                <a:gd name="T78" fmla="*/ 733 w 781"/>
                <a:gd name="T79" fmla="*/ 321 h 1054"/>
                <a:gd name="T80" fmla="*/ 781 w 781"/>
                <a:gd name="T81" fmla="*/ 271 h 1054"/>
                <a:gd name="T82" fmla="*/ 722 w 781"/>
                <a:gd name="T83" fmla="*/ 228 h 1054"/>
                <a:gd name="T84" fmla="*/ 708 w 781"/>
                <a:gd name="T85" fmla="*/ 127 h 1054"/>
                <a:gd name="T86" fmla="*/ 696 w 781"/>
                <a:gd name="T87" fmla="*/ 84 h 1054"/>
                <a:gd name="T88" fmla="*/ 661 w 781"/>
                <a:gd name="T89" fmla="*/ 23 h 1054"/>
                <a:gd name="T90" fmla="*/ 618 w 781"/>
                <a:gd name="T91" fmla="*/ 15 h 1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81" h="1054">
                  <a:moveTo>
                    <a:pt x="601" y="16"/>
                  </a:moveTo>
                  <a:cubicBezTo>
                    <a:pt x="601" y="16"/>
                    <a:pt x="601" y="39"/>
                    <a:pt x="591" y="43"/>
                  </a:cubicBezTo>
                  <a:cubicBezTo>
                    <a:pt x="581" y="47"/>
                    <a:pt x="579" y="43"/>
                    <a:pt x="569" y="46"/>
                  </a:cubicBezTo>
                  <a:cubicBezTo>
                    <a:pt x="559" y="49"/>
                    <a:pt x="560" y="70"/>
                    <a:pt x="547" y="77"/>
                  </a:cubicBezTo>
                  <a:cubicBezTo>
                    <a:pt x="534" y="84"/>
                    <a:pt x="522" y="59"/>
                    <a:pt x="522" y="59"/>
                  </a:cubicBezTo>
                  <a:cubicBezTo>
                    <a:pt x="443" y="56"/>
                    <a:pt x="443" y="56"/>
                    <a:pt x="443" y="56"/>
                  </a:cubicBezTo>
                  <a:cubicBezTo>
                    <a:pt x="443" y="56"/>
                    <a:pt x="445" y="46"/>
                    <a:pt x="438" y="48"/>
                  </a:cubicBezTo>
                  <a:cubicBezTo>
                    <a:pt x="431" y="50"/>
                    <a:pt x="429" y="60"/>
                    <a:pt x="429" y="60"/>
                  </a:cubicBezTo>
                  <a:cubicBezTo>
                    <a:pt x="143" y="56"/>
                    <a:pt x="143" y="56"/>
                    <a:pt x="143" y="56"/>
                  </a:cubicBezTo>
                  <a:cubicBezTo>
                    <a:pt x="144" y="164"/>
                    <a:pt x="144" y="164"/>
                    <a:pt x="144" y="164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101" y="398"/>
                    <a:pt x="101" y="398"/>
                    <a:pt x="101" y="398"/>
                  </a:cubicBezTo>
                  <a:cubicBezTo>
                    <a:pt x="101" y="398"/>
                    <a:pt x="69" y="393"/>
                    <a:pt x="56" y="397"/>
                  </a:cubicBezTo>
                  <a:cubicBezTo>
                    <a:pt x="43" y="401"/>
                    <a:pt x="52" y="412"/>
                    <a:pt x="54" y="420"/>
                  </a:cubicBezTo>
                  <a:cubicBezTo>
                    <a:pt x="56" y="428"/>
                    <a:pt x="47" y="428"/>
                    <a:pt x="41" y="434"/>
                  </a:cubicBezTo>
                  <a:cubicBezTo>
                    <a:pt x="35" y="440"/>
                    <a:pt x="37" y="452"/>
                    <a:pt x="37" y="452"/>
                  </a:cubicBezTo>
                  <a:cubicBezTo>
                    <a:pt x="27" y="452"/>
                    <a:pt x="27" y="452"/>
                    <a:pt x="27" y="452"/>
                  </a:cubicBezTo>
                  <a:cubicBezTo>
                    <a:pt x="30" y="468"/>
                    <a:pt x="30" y="468"/>
                    <a:pt x="30" y="468"/>
                  </a:cubicBezTo>
                  <a:cubicBezTo>
                    <a:pt x="35" y="479"/>
                    <a:pt x="35" y="479"/>
                    <a:pt x="35" y="479"/>
                  </a:cubicBezTo>
                  <a:cubicBezTo>
                    <a:pt x="24" y="486"/>
                    <a:pt x="24" y="486"/>
                    <a:pt x="24" y="486"/>
                  </a:cubicBezTo>
                  <a:cubicBezTo>
                    <a:pt x="24" y="486"/>
                    <a:pt x="9" y="494"/>
                    <a:pt x="15" y="504"/>
                  </a:cubicBezTo>
                  <a:cubicBezTo>
                    <a:pt x="21" y="514"/>
                    <a:pt x="24" y="518"/>
                    <a:pt x="22" y="527"/>
                  </a:cubicBezTo>
                  <a:cubicBezTo>
                    <a:pt x="20" y="536"/>
                    <a:pt x="6" y="536"/>
                    <a:pt x="3" y="547"/>
                  </a:cubicBezTo>
                  <a:cubicBezTo>
                    <a:pt x="0" y="558"/>
                    <a:pt x="6" y="563"/>
                    <a:pt x="11" y="565"/>
                  </a:cubicBezTo>
                  <a:cubicBezTo>
                    <a:pt x="16" y="567"/>
                    <a:pt x="21" y="557"/>
                    <a:pt x="28" y="560"/>
                  </a:cubicBezTo>
                  <a:cubicBezTo>
                    <a:pt x="35" y="563"/>
                    <a:pt x="33" y="590"/>
                    <a:pt x="33" y="590"/>
                  </a:cubicBezTo>
                  <a:cubicBezTo>
                    <a:pt x="42" y="598"/>
                    <a:pt x="42" y="598"/>
                    <a:pt x="42" y="598"/>
                  </a:cubicBezTo>
                  <a:cubicBezTo>
                    <a:pt x="31" y="603"/>
                    <a:pt x="31" y="603"/>
                    <a:pt x="31" y="603"/>
                  </a:cubicBezTo>
                  <a:cubicBezTo>
                    <a:pt x="35" y="620"/>
                    <a:pt x="35" y="620"/>
                    <a:pt x="35" y="620"/>
                  </a:cubicBezTo>
                  <a:cubicBezTo>
                    <a:pt x="35" y="620"/>
                    <a:pt x="44" y="621"/>
                    <a:pt x="56" y="634"/>
                  </a:cubicBezTo>
                  <a:cubicBezTo>
                    <a:pt x="68" y="647"/>
                    <a:pt x="50" y="643"/>
                    <a:pt x="50" y="643"/>
                  </a:cubicBezTo>
                  <a:cubicBezTo>
                    <a:pt x="52" y="659"/>
                    <a:pt x="52" y="659"/>
                    <a:pt x="52" y="659"/>
                  </a:cubicBezTo>
                  <a:cubicBezTo>
                    <a:pt x="52" y="659"/>
                    <a:pt x="89" y="692"/>
                    <a:pt x="93" y="714"/>
                  </a:cubicBezTo>
                  <a:cubicBezTo>
                    <a:pt x="97" y="736"/>
                    <a:pt x="82" y="743"/>
                    <a:pt x="81" y="753"/>
                  </a:cubicBezTo>
                  <a:cubicBezTo>
                    <a:pt x="80" y="763"/>
                    <a:pt x="89" y="760"/>
                    <a:pt x="89" y="760"/>
                  </a:cubicBezTo>
                  <a:cubicBezTo>
                    <a:pt x="83" y="771"/>
                    <a:pt x="83" y="771"/>
                    <a:pt x="83" y="771"/>
                  </a:cubicBezTo>
                  <a:cubicBezTo>
                    <a:pt x="117" y="774"/>
                    <a:pt x="117" y="774"/>
                    <a:pt x="117" y="774"/>
                  </a:cubicBezTo>
                  <a:cubicBezTo>
                    <a:pt x="117" y="781"/>
                    <a:pt x="117" y="781"/>
                    <a:pt x="117" y="781"/>
                  </a:cubicBezTo>
                  <a:cubicBezTo>
                    <a:pt x="117" y="781"/>
                    <a:pt x="110" y="789"/>
                    <a:pt x="116" y="797"/>
                  </a:cubicBezTo>
                  <a:cubicBezTo>
                    <a:pt x="122" y="805"/>
                    <a:pt x="152" y="803"/>
                    <a:pt x="152" y="803"/>
                  </a:cubicBezTo>
                  <a:cubicBezTo>
                    <a:pt x="152" y="816"/>
                    <a:pt x="152" y="816"/>
                    <a:pt x="152" y="816"/>
                  </a:cubicBezTo>
                  <a:cubicBezTo>
                    <a:pt x="152" y="816"/>
                    <a:pt x="168" y="815"/>
                    <a:pt x="171" y="826"/>
                  </a:cubicBezTo>
                  <a:cubicBezTo>
                    <a:pt x="174" y="837"/>
                    <a:pt x="159" y="831"/>
                    <a:pt x="165" y="841"/>
                  </a:cubicBezTo>
                  <a:cubicBezTo>
                    <a:pt x="171" y="851"/>
                    <a:pt x="185" y="853"/>
                    <a:pt x="192" y="854"/>
                  </a:cubicBezTo>
                  <a:cubicBezTo>
                    <a:pt x="199" y="855"/>
                    <a:pt x="208" y="878"/>
                    <a:pt x="208" y="878"/>
                  </a:cubicBezTo>
                  <a:cubicBezTo>
                    <a:pt x="208" y="878"/>
                    <a:pt x="223" y="879"/>
                    <a:pt x="223" y="887"/>
                  </a:cubicBezTo>
                  <a:cubicBezTo>
                    <a:pt x="223" y="895"/>
                    <a:pt x="216" y="889"/>
                    <a:pt x="217" y="895"/>
                  </a:cubicBezTo>
                  <a:cubicBezTo>
                    <a:pt x="218" y="901"/>
                    <a:pt x="225" y="904"/>
                    <a:pt x="225" y="904"/>
                  </a:cubicBezTo>
                  <a:cubicBezTo>
                    <a:pt x="224" y="917"/>
                    <a:pt x="224" y="917"/>
                    <a:pt x="224" y="917"/>
                  </a:cubicBezTo>
                  <a:cubicBezTo>
                    <a:pt x="239" y="918"/>
                    <a:pt x="239" y="918"/>
                    <a:pt x="239" y="918"/>
                  </a:cubicBezTo>
                  <a:cubicBezTo>
                    <a:pt x="239" y="918"/>
                    <a:pt x="248" y="924"/>
                    <a:pt x="256" y="932"/>
                  </a:cubicBezTo>
                  <a:cubicBezTo>
                    <a:pt x="264" y="940"/>
                    <a:pt x="260" y="954"/>
                    <a:pt x="260" y="954"/>
                  </a:cubicBezTo>
                  <a:cubicBezTo>
                    <a:pt x="264" y="962"/>
                    <a:pt x="264" y="962"/>
                    <a:pt x="264" y="962"/>
                  </a:cubicBezTo>
                  <a:cubicBezTo>
                    <a:pt x="285" y="981"/>
                    <a:pt x="285" y="981"/>
                    <a:pt x="285" y="981"/>
                  </a:cubicBezTo>
                  <a:cubicBezTo>
                    <a:pt x="285" y="995"/>
                    <a:pt x="285" y="995"/>
                    <a:pt x="285" y="995"/>
                  </a:cubicBezTo>
                  <a:cubicBezTo>
                    <a:pt x="316" y="1010"/>
                    <a:pt x="316" y="1010"/>
                    <a:pt x="316" y="1010"/>
                  </a:cubicBezTo>
                  <a:cubicBezTo>
                    <a:pt x="316" y="1010"/>
                    <a:pt x="324" y="994"/>
                    <a:pt x="333" y="994"/>
                  </a:cubicBezTo>
                  <a:cubicBezTo>
                    <a:pt x="342" y="994"/>
                    <a:pt x="343" y="1006"/>
                    <a:pt x="354" y="1006"/>
                  </a:cubicBezTo>
                  <a:cubicBezTo>
                    <a:pt x="365" y="1006"/>
                    <a:pt x="364" y="988"/>
                    <a:pt x="371" y="988"/>
                  </a:cubicBezTo>
                  <a:cubicBezTo>
                    <a:pt x="378" y="988"/>
                    <a:pt x="382" y="1005"/>
                    <a:pt x="390" y="1017"/>
                  </a:cubicBezTo>
                  <a:cubicBezTo>
                    <a:pt x="398" y="1029"/>
                    <a:pt x="417" y="1033"/>
                    <a:pt x="417" y="1033"/>
                  </a:cubicBezTo>
                  <a:cubicBezTo>
                    <a:pt x="420" y="1047"/>
                    <a:pt x="420" y="1047"/>
                    <a:pt x="420" y="1047"/>
                  </a:cubicBezTo>
                  <a:cubicBezTo>
                    <a:pt x="431" y="1049"/>
                    <a:pt x="431" y="1049"/>
                    <a:pt x="431" y="1049"/>
                  </a:cubicBezTo>
                  <a:cubicBezTo>
                    <a:pt x="431" y="1049"/>
                    <a:pt x="442" y="1036"/>
                    <a:pt x="447" y="1036"/>
                  </a:cubicBezTo>
                  <a:cubicBezTo>
                    <a:pt x="452" y="1036"/>
                    <a:pt x="461" y="1043"/>
                    <a:pt x="467" y="1044"/>
                  </a:cubicBezTo>
                  <a:cubicBezTo>
                    <a:pt x="473" y="1045"/>
                    <a:pt x="474" y="1037"/>
                    <a:pt x="474" y="1037"/>
                  </a:cubicBezTo>
                  <a:cubicBezTo>
                    <a:pt x="481" y="1036"/>
                    <a:pt x="481" y="1036"/>
                    <a:pt x="481" y="1036"/>
                  </a:cubicBezTo>
                  <a:cubicBezTo>
                    <a:pt x="495" y="1054"/>
                    <a:pt x="495" y="1054"/>
                    <a:pt x="495" y="1054"/>
                  </a:cubicBezTo>
                  <a:cubicBezTo>
                    <a:pt x="508" y="1039"/>
                    <a:pt x="508" y="1039"/>
                    <a:pt x="508" y="1039"/>
                  </a:cubicBezTo>
                  <a:cubicBezTo>
                    <a:pt x="524" y="1040"/>
                    <a:pt x="524" y="1040"/>
                    <a:pt x="524" y="1040"/>
                  </a:cubicBezTo>
                  <a:cubicBezTo>
                    <a:pt x="524" y="1040"/>
                    <a:pt x="531" y="1032"/>
                    <a:pt x="536" y="1032"/>
                  </a:cubicBezTo>
                  <a:cubicBezTo>
                    <a:pt x="541" y="1032"/>
                    <a:pt x="540" y="1038"/>
                    <a:pt x="553" y="1040"/>
                  </a:cubicBezTo>
                  <a:cubicBezTo>
                    <a:pt x="566" y="1042"/>
                    <a:pt x="575" y="1015"/>
                    <a:pt x="575" y="1015"/>
                  </a:cubicBezTo>
                  <a:cubicBezTo>
                    <a:pt x="583" y="1015"/>
                    <a:pt x="583" y="1015"/>
                    <a:pt x="583" y="1015"/>
                  </a:cubicBezTo>
                  <a:cubicBezTo>
                    <a:pt x="597" y="995"/>
                    <a:pt x="597" y="995"/>
                    <a:pt x="597" y="995"/>
                  </a:cubicBezTo>
                  <a:cubicBezTo>
                    <a:pt x="657" y="994"/>
                    <a:pt x="657" y="994"/>
                    <a:pt x="657" y="994"/>
                  </a:cubicBezTo>
                  <a:cubicBezTo>
                    <a:pt x="670" y="986"/>
                    <a:pt x="670" y="986"/>
                    <a:pt x="670" y="986"/>
                  </a:cubicBezTo>
                  <a:cubicBezTo>
                    <a:pt x="669" y="976"/>
                    <a:pt x="669" y="976"/>
                    <a:pt x="669" y="976"/>
                  </a:cubicBezTo>
                  <a:cubicBezTo>
                    <a:pt x="669" y="976"/>
                    <a:pt x="670" y="962"/>
                    <a:pt x="665" y="954"/>
                  </a:cubicBezTo>
                  <a:cubicBezTo>
                    <a:pt x="660" y="946"/>
                    <a:pt x="650" y="955"/>
                    <a:pt x="640" y="947"/>
                  </a:cubicBezTo>
                  <a:cubicBezTo>
                    <a:pt x="630" y="939"/>
                    <a:pt x="628" y="912"/>
                    <a:pt x="628" y="912"/>
                  </a:cubicBezTo>
                  <a:cubicBezTo>
                    <a:pt x="621" y="908"/>
                    <a:pt x="621" y="908"/>
                    <a:pt x="621" y="908"/>
                  </a:cubicBezTo>
                  <a:cubicBezTo>
                    <a:pt x="619" y="883"/>
                    <a:pt x="619" y="883"/>
                    <a:pt x="619" y="883"/>
                  </a:cubicBezTo>
                  <a:cubicBezTo>
                    <a:pt x="610" y="882"/>
                    <a:pt x="610" y="882"/>
                    <a:pt x="610" y="882"/>
                  </a:cubicBezTo>
                  <a:cubicBezTo>
                    <a:pt x="607" y="869"/>
                    <a:pt x="607" y="869"/>
                    <a:pt x="607" y="869"/>
                  </a:cubicBezTo>
                  <a:cubicBezTo>
                    <a:pt x="607" y="869"/>
                    <a:pt x="596" y="871"/>
                    <a:pt x="592" y="866"/>
                  </a:cubicBezTo>
                  <a:cubicBezTo>
                    <a:pt x="588" y="861"/>
                    <a:pt x="587" y="846"/>
                    <a:pt x="587" y="846"/>
                  </a:cubicBezTo>
                  <a:cubicBezTo>
                    <a:pt x="587" y="846"/>
                    <a:pt x="570" y="831"/>
                    <a:pt x="562" y="827"/>
                  </a:cubicBezTo>
                  <a:cubicBezTo>
                    <a:pt x="554" y="823"/>
                    <a:pt x="538" y="829"/>
                    <a:pt x="535" y="824"/>
                  </a:cubicBezTo>
                  <a:cubicBezTo>
                    <a:pt x="532" y="819"/>
                    <a:pt x="542" y="802"/>
                    <a:pt x="542" y="802"/>
                  </a:cubicBezTo>
                  <a:cubicBezTo>
                    <a:pt x="540" y="786"/>
                    <a:pt x="540" y="786"/>
                    <a:pt x="540" y="786"/>
                  </a:cubicBezTo>
                  <a:cubicBezTo>
                    <a:pt x="563" y="787"/>
                    <a:pt x="563" y="787"/>
                    <a:pt x="563" y="787"/>
                  </a:cubicBezTo>
                  <a:cubicBezTo>
                    <a:pt x="568" y="792"/>
                    <a:pt x="568" y="792"/>
                    <a:pt x="568" y="792"/>
                  </a:cubicBezTo>
                  <a:cubicBezTo>
                    <a:pt x="568" y="792"/>
                    <a:pt x="575" y="787"/>
                    <a:pt x="582" y="782"/>
                  </a:cubicBezTo>
                  <a:cubicBezTo>
                    <a:pt x="589" y="777"/>
                    <a:pt x="586" y="746"/>
                    <a:pt x="586" y="746"/>
                  </a:cubicBezTo>
                  <a:cubicBezTo>
                    <a:pt x="586" y="746"/>
                    <a:pt x="579" y="727"/>
                    <a:pt x="580" y="719"/>
                  </a:cubicBezTo>
                  <a:cubicBezTo>
                    <a:pt x="581" y="711"/>
                    <a:pt x="596" y="700"/>
                    <a:pt x="597" y="697"/>
                  </a:cubicBezTo>
                  <a:cubicBezTo>
                    <a:pt x="598" y="694"/>
                    <a:pt x="592" y="683"/>
                    <a:pt x="592" y="676"/>
                  </a:cubicBezTo>
                  <a:cubicBezTo>
                    <a:pt x="592" y="669"/>
                    <a:pt x="598" y="656"/>
                    <a:pt x="603" y="656"/>
                  </a:cubicBezTo>
                  <a:cubicBezTo>
                    <a:pt x="608" y="656"/>
                    <a:pt x="610" y="667"/>
                    <a:pt x="610" y="667"/>
                  </a:cubicBezTo>
                  <a:cubicBezTo>
                    <a:pt x="610" y="667"/>
                    <a:pt x="616" y="670"/>
                    <a:pt x="622" y="662"/>
                  </a:cubicBezTo>
                  <a:cubicBezTo>
                    <a:pt x="628" y="654"/>
                    <a:pt x="621" y="631"/>
                    <a:pt x="621" y="631"/>
                  </a:cubicBezTo>
                  <a:cubicBezTo>
                    <a:pt x="628" y="620"/>
                    <a:pt x="628" y="620"/>
                    <a:pt x="628" y="620"/>
                  </a:cubicBezTo>
                  <a:cubicBezTo>
                    <a:pt x="626" y="605"/>
                    <a:pt x="626" y="605"/>
                    <a:pt x="626" y="605"/>
                  </a:cubicBezTo>
                  <a:cubicBezTo>
                    <a:pt x="626" y="605"/>
                    <a:pt x="637" y="601"/>
                    <a:pt x="642" y="596"/>
                  </a:cubicBezTo>
                  <a:cubicBezTo>
                    <a:pt x="647" y="591"/>
                    <a:pt x="642" y="581"/>
                    <a:pt x="643" y="576"/>
                  </a:cubicBezTo>
                  <a:cubicBezTo>
                    <a:pt x="644" y="571"/>
                    <a:pt x="655" y="557"/>
                    <a:pt x="655" y="557"/>
                  </a:cubicBezTo>
                  <a:cubicBezTo>
                    <a:pt x="677" y="555"/>
                    <a:pt x="677" y="555"/>
                    <a:pt x="677" y="555"/>
                  </a:cubicBezTo>
                  <a:cubicBezTo>
                    <a:pt x="677" y="555"/>
                    <a:pt x="675" y="537"/>
                    <a:pt x="675" y="529"/>
                  </a:cubicBezTo>
                  <a:cubicBezTo>
                    <a:pt x="675" y="521"/>
                    <a:pt x="691" y="501"/>
                    <a:pt x="691" y="501"/>
                  </a:cubicBezTo>
                  <a:cubicBezTo>
                    <a:pt x="691" y="471"/>
                    <a:pt x="691" y="471"/>
                    <a:pt x="691" y="471"/>
                  </a:cubicBezTo>
                  <a:cubicBezTo>
                    <a:pt x="689" y="438"/>
                    <a:pt x="689" y="438"/>
                    <a:pt x="689" y="438"/>
                  </a:cubicBezTo>
                  <a:cubicBezTo>
                    <a:pt x="689" y="438"/>
                    <a:pt x="683" y="436"/>
                    <a:pt x="684" y="428"/>
                  </a:cubicBezTo>
                  <a:cubicBezTo>
                    <a:pt x="685" y="420"/>
                    <a:pt x="696" y="421"/>
                    <a:pt x="696" y="414"/>
                  </a:cubicBezTo>
                  <a:cubicBezTo>
                    <a:pt x="696" y="407"/>
                    <a:pt x="697" y="397"/>
                    <a:pt x="697" y="397"/>
                  </a:cubicBezTo>
                  <a:cubicBezTo>
                    <a:pt x="697" y="397"/>
                    <a:pt x="709" y="395"/>
                    <a:pt x="709" y="377"/>
                  </a:cubicBezTo>
                  <a:cubicBezTo>
                    <a:pt x="709" y="359"/>
                    <a:pt x="703" y="349"/>
                    <a:pt x="703" y="346"/>
                  </a:cubicBezTo>
                  <a:cubicBezTo>
                    <a:pt x="703" y="343"/>
                    <a:pt x="714" y="338"/>
                    <a:pt x="714" y="338"/>
                  </a:cubicBezTo>
                  <a:cubicBezTo>
                    <a:pt x="714" y="328"/>
                    <a:pt x="714" y="328"/>
                    <a:pt x="714" y="328"/>
                  </a:cubicBezTo>
                  <a:cubicBezTo>
                    <a:pt x="714" y="328"/>
                    <a:pt x="732" y="328"/>
                    <a:pt x="733" y="321"/>
                  </a:cubicBezTo>
                  <a:cubicBezTo>
                    <a:pt x="734" y="314"/>
                    <a:pt x="734" y="306"/>
                    <a:pt x="734" y="306"/>
                  </a:cubicBezTo>
                  <a:cubicBezTo>
                    <a:pt x="734" y="306"/>
                    <a:pt x="761" y="304"/>
                    <a:pt x="770" y="296"/>
                  </a:cubicBezTo>
                  <a:cubicBezTo>
                    <a:pt x="775" y="292"/>
                    <a:pt x="779" y="280"/>
                    <a:pt x="781" y="271"/>
                  </a:cubicBezTo>
                  <a:cubicBezTo>
                    <a:pt x="756" y="256"/>
                    <a:pt x="756" y="256"/>
                    <a:pt x="756" y="256"/>
                  </a:cubicBezTo>
                  <a:cubicBezTo>
                    <a:pt x="756" y="256"/>
                    <a:pt x="753" y="240"/>
                    <a:pt x="747" y="236"/>
                  </a:cubicBezTo>
                  <a:cubicBezTo>
                    <a:pt x="741" y="232"/>
                    <a:pt x="726" y="242"/>
                    <a:pt x="722" y="228"/>
                  </a:cubicBezTo>
                  <a:cubicBezTo>
                    <a:pt x="718" y="214"/>
                    <a:pt x="717" y="176"/>
                    <a:pt x="717" y="176"/>
                  </a:cubicBezTo>
                  <a:cubicBezTo>
                    <a:pt x="710" y="174"/>
                    <a:pt x="710" y="174"/>
                    <a:pt x="710" y="174"/>
                  </a:cubicBezTo>
                  <a:cubicBezTo>
                    <a:pt x="710" y="174"/>
                    <a:pt x="708" y="132"/>
                    <a:pt x="708" y="127"/>
                  </a:cubicBezTo>
                  <a:cubicBezTo>
                    <a:pt x="708" y="122"/>
                    <a:pt x="703" y="111"/>
                    <a:pt x="703" y="111"/>
                  </a:cubicBezTo>
                  <a:cubicBezTo>
                    <a:pt x="715" y="108"/>
                    <a:pt x="715" y="108"/>
                    <a:pt x="715" y="108"/>
                  </a:cubicBezTo>
                  <a:cubicBezTo>
                    <a:pt x="715" y="108"/>
                    <a:pt x="697" y="93"/>
                    <a:pt x="696" y="84"/>
                  </a:cubicBezTo>
                  <a:cubicBezTo>
                    <a:pt x="695" y="75"/>
                    <a:pt x="701" y="59"/>
                    <a:pt x="693" y="53"/>
                  </a:cubicBezTo>
                  <a:cubicBezTo>
                    <a:pt x="685" y="47"/>
                    <a:pt x="674" y="39"/>
                    <a:pt x="674" y="39"/>
                  </a:cubicBezTo>
                  <a:cubicBezTo>
                    <a:pt x="674" y="39"/>
                    <a:pt x="665" y="27"/>
                    <a:pt x="661" y="23"/>
                  </a:cubicBezTo>
                  <a:cubicBezTo>
                    <a:pt x="657" y="19"/>
                    <a:pt x="656" y="26"/>
                    <a:pt x="650" y="22"/>
                  </a:cubicBezTo>
                  <a:cubicBezTo>
                    <a:pt x="646" y="19"/>
                    <a:pt x="639" y="10"/>
                    <a:pt x="634" y="0"/>
                  </a:cubicBezTo>
                  <a:cubicBezTo>
                    <a:pt x="618" y="15"/>
                    <a:pt x="618" y="15"/>
                    <a:pt x="618" y="15"/>
                  </a:cubicBezTo>
                  <a:lnTo>
                    <a:pt x="601" y="1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34" name="Freeform 314">
              <a:extLst>
                <a:ext uri="{FF2B5EF4-FFF2-40B4-BE49-F238E27FC236}">
                  <a16:creationId xmlns:a16="http://schemas.microsoft.com/office/drawing/2014/main" id="{0478A238-929E-BF5A-ACAF-37262F2E93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369" y="-17411"/>
              <a:ext cx="470" cy="1875"/>
            </a:xfrm>
            <a:custGeom>
              <a:avLst/>
              <a:gdLst>
                <a:gd name="T0" fmla="*/ 0 w 199"/>
                <a:gd name="T1" fmla="*/ 794 h 794"/>
                <a:gd name="T2" fmla="*/ 9 w 199"/>
                <a:gd name="T3" fmla="*/ 791 h 794"/>
                <a:gd name="T4" fmla="*/ 25 w 199"/>
                <a:gd name="T5" fmla="*/ 764 h 794"/>
                <a:gd name="T6" fmla="*/ 12 w 199"/>
                <a:gd name="T7" fmla="*/ 755 h 794"/>
                <a:gd name="T8" fmla="*/ 0 w 199"/>
                <a:gd name="T9" fmla="*/ 794 h 794"/>
                <a:gd name="T10" fmla="*/ 76 w 199"/>
                <a:gd name="T11" fmla="*/ 712 h 794"/>
                <a:gd name="T12" fmla="*/ 49 w 199"/>
                <a:gd name="T13" fmla="*/ 708 h 794"/>
                <a:gd name="T14" fmla="*/ 36 w 199"/>
                <a:gd name="T15" fmla="*/ 755 h 794"/>
                <a:gd name="T16" fmla="*/ 43 w 199"/>
                <a:gd name="T17" fmla="*/ 757 h 794"/>
                <a:gd name="T18" fmla="*/ 55 w 199"/>
                <a:gd name="T19" fmla="*/ 733 h 794"/>
                <a:gd name="T20" fmla="*/ 88 w 199"/>
                <a:gd name="T21" fmla="*/ 715 h 794"/>
                <a:gd name="T22" fmla="*/ 79 w 199"/>
                <a:gd name="T23" fmla="*/ 699 h 794"/>
                <a:gd name="T24" fmla="*/ 76 w 199"/>
                <a:gd name="T25" fmla="*/ 712 h 794"/>
                <a:gd name="T26" fmla="*/ 128 w 199"/>
                <a:gd name="T27" fmla="*/ 672 h 794"/>
                <a:gd name="T28" fmla="*/ 117 w 199"/>
                <a:gd name="T29" fmla="*/ 697 h 794"/>
                <a:gd name="T30" fmla="*/ 128 w 199"/>
                <a:gd name="T31" fmla="*/ 672 h 794"/>
                <a:gd name="T32" fmla="*/ 189 w 199"/>
                <a:gd name="T33" fmla="*/ 423 h 794"/>
                <a:gd name="T34" fmla="*/ 177 w 199"/>
                <a:gd name="T35" fmla="*/ 434 h 794"/>
                <a:gd name="T36" fmla="*/ 185 w 199"/>
                <a:gd name="T37" fmla="*/ 449 h 794"/>
                <a:gd name="T38" fmla="*/ 173 w 199"/>
                <a:gd name="T39" fmla="*/ 449 h 794"/>
                <a:gd name="T40" fmla="*/ 173 w 199"/>
                <a:gd name="T41" fmla="*/ 469 h 794"/>
                <a:gd name="T42" fmla="*/ 189 w 199"/>
                <a:gd name="T43" fmla="*/ 467 h 794"/>
                <a:gd name="T44" fmla="*/ 198 w 199"/>
                <a:gd name="T45" fmla="*/ 456 h 794"/>
                <a:gd name="T46" fmla="*/ 189 w 199"/>
                <a:gd name="T47" fmla="*/ 437 h 794"/>
                <a:gd name="T48" fmla="*/ 199 w 199"/>
                <a:gd name="T49" fmla="*/ 435 h 794"/>
                <a:gd name="T50" fmla="*/ 189 w 199"/>
                <a:gd name="T51" fmla="*/ 423 h 794"/>
                <a:gd name="T52" fmla="*/ 184 w 199"/>
                <a:gd name="T53" fmla="*/ 513 h 794"/>
                <a:gd name="T54" fmla="*/ 195 w 199"/>
                <a:gd name="T55" fmla="*/ 499 h 794"/>
                <a:gd name="T56" fmla="*/ 178 w 199"/>
                <a:gd name="T57" fmla="*/ 485 h 794"/>
                <a:gd name="T58" fmla="*/ 184 w 199"/>
                <a:gd name="T59" fmla="*/ 513 h 794"/>
                <a:gd name="T60" fmla="*/ 170 w 199"/>
                <a:gd name="T61" fmla="*/ 636 h 794"/>
                <a:gd name="T62" fmla="*/ 171 w 199"/>
                <a:gd name="T63" fmla="*/ 615 h 794"/>
                <a:gd name="T64" fmla="*/ 162 w 199"/>
                <a:gd name="T65" fmla="*/ 632 h 794"/>
                <a:gd name="T66" fmla="*/ 170 w 199"/>
                <a:gd name="T67" fmla="*/ 636 h 794"/>
                <a:gd name="T68" fmla="*/ 169 w 199"/>
                <a:gd name="T69" fmla="*/ 573 h 794"/>
                <a:gd name="T70" fmla="*/ 181 w 199"/>
                <a:gd name="T71" fmla="*/ 571 h 794"/>
                <a:gd name="T72" fmla="*/ 169 w 199"/>
                <a:gd name="T73" fmla="*/ 559 h 794"/>
                <a:gd name="T74" fmla="*/ 169 w 199"/>
                <a:gd name="T75" fmla="*/ 573 h 794"/>
                <a:gd name="T76" fmla="*/ 82 w 199"/>
                <a:gd name="T77" fmla="*/ 14 h 794"/>
                <a:gd name="T78" fmla="*/ 94 w 199"/>
                <a:gd name="T79" fmla="*/ 38 h 794"/>
                <a:gd name="T80" fmla="*/ 114 w 199"/>
                <a:gd name="T81" fmla="*/ 14 h 794"/>
                <a:gd name="T82" fmla="*/ 106 w 199"/>
                <a:gd name="T83" fmla="*/ 0 h 794"/>
                <a:gd name="T84" fmla="*/ 82 w 199"/>
                <a:gd name="T85" fmla="*/ 1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9" h="794">
                  <a:moveTo>
                    <a:pt x="0" y="794"/>
                  </a:moveTo>
                  <a:cubicBezTo>
                    <a:pt x="9" y="791"/>
                    <a:pt x="9" y="791"/>
                    <a:pt x="9" y="791"/>
                  </a:cubicBezTo>
                  <a:cubicBezTo>
                    <a:pt x="25" y="764"/>
                    <a:pt x="25" y="764"/>
                    <a:pt x="25" y="764"/>
                  </a:cubicBezTo>
                  <a:cubicBezTo>
                    <a:pt x="12" y="755"/>
                    <a:pt x="12" y="755"/>
                    <a:pt x="12" y="755"/>
                  </a:cubicBezTo>
                  <a:lnTo>
                    <a:pt x="0" y="794"/>
                  </a:lnTo>
                  <a:close/>
                  <a:moveTo>
                    <a:pt x="76" y="712"/>
                  </a:moveTo>
                  <a:cubicBezTo>
                    <a:pt x="49" y="708"/>
                    <a:pt x="49" y="708"/>
                    <a:pt x="49" y="708"/>
                  </a:cubicBezTo>
                  <a:cubicBezTo>
                    <a:pt x="36" y="755"/>
                    <a:pt x="36" y="755"/>
                    <a:pt x="36" y="755"/>
                  </a:cubicBezTo>
                  <a:cubicBezTo>
                    <a:pt x="43" y="757"/>
                    <a:pt x="43" y="757"/>
                    <a:pt x="43" y="757"/>
                  </a:cubicBezTo>
                  <a:cubicBezTo>
                    <a:pt x="55" y="733"/>
                    <a:pt x="55" y="733"/>
                    <a:pt x="55" y="733"/>
                  </a:cubicBezTo>
                  <a:cubicBezTo>
                    <a:pt x="88" y="715"/>
                    <a:pt x="88" y="715"/>
                    <a:pt x="88" y="715"/>
                  </a:cubicBezTo>
                  <a:cubicBezTo>
                    <a:pt x="79" y="699"/>
                    <a:pt x="79" y="699"/>
                    <a:pt x="79" y="699"/>
                  </a:cubicBezTo>
                  <a:lnTo>
                    <a:pt x="76" y="712"/>
                  </a:lnTo>
                  <a:close/>
                  <a:moveTo>
                    <a:pt x="128" y="672"/>
                  </a:moveTo>
                  <a:cubicBezTo>
                    <a:pt x="119" y="670"/>
                    <a:pt x="109" y="694"/>
                    <a:pt x="117" y="697"/>
                  </a:cubicBezTo>
                  <a:cubicBezTo>
                    <a:pt x="128" y="701"/>
                    <a:pt x="138" y="675"/>
                    <a:pt x="128" y="672"/>
                  </a:cubicBezTo>
                  <a:close/>
                  <a:moveTo>
                    <a:pt x="189" y="423"/>
                  </a:moveTo>
                  <a:cubicBezTo>
                    <a:pt x="177" y="434"/>
                    <a:pt x="177" y="434"/>
                    <a:pt x="177" y="434"/>
                  </a:cubicBezTo>
                  <a:cubicBezTo>
                    <a:pt x="185" y="449"/>
                    <a:pt x="185" y="449"/>
                    <a:pt x="185" y="449"/>
                  </a:cubicBezTo>
                  <a:cubicBezTo>
                    <a:pt x="173" y="449"/>
                    <a:pt x="173" y="449"/>
                    <a:pt x="173" y="449"/>
                  </a:cubicBezTo>
                  <a:cubicBezTo>
                    <a:pt x="173" y="469"/>
                    <a:pt x="173" y="469"/>
                    <a:pt x="173" y="469"/>
                  </a:cubicBezTo>
                  <a:cubicBezTo>
                    <a:pt x="189" y="467"/>
                    <a:pt x="189" y="467"/>
                    <a:pt x="189" y="467"/>
                  </a:cubicBezTo>
                  <a:cubicBezTo>
                    <a:pt x="198" y="456"/>
                    <a:pt x="198" y="456"/>
                    <a:pt x="198" y="456"/>
                  </a:cubicBezTo>
                  <a:cubicBezTo>
                    <a:pt x="189" y="437"/>
                    <a:pt x="189" y="437"/>
                    <a:pt x="189" y="437"/>
                  </a:cubicBezTo>
                  <a:cubicBezTo>
                    <a:pt x="199" y="435"/>
                    <a:pt x="199" y="435"/>
                    <a:pt x="199" y="435"/>
                  </a:cubicBezTo>
                  <a:lnTo>
                    <a:pt x="189" y="423"/>
                  </a:lnTo>
                  <a:close/>
                  <a:moveTo>
                    <a:pt x="184" y="513"/>
                  </a:moveTo>
                  <a:cubicBezTo>
                    <a:pt x="195" y="499"/>
                    <a:pt x="195" y="499"/>
                    <a:pt x="195" y="499"/>
                  </a:cubicBezTo>
                  <a:cubicBezTo>
                    <a:pt x="178" y="485"/>
                    <a:pt x="178" y="485"/>
                    <a:pt x="178" y="485"/>
                  </a:cubicBezTo>
                  <a:lnTo>
                    <a:pt x="184" y="513"/>
                  </a:lnTo>
                  <a:close/>
                  <a:moveTo>
                    <a:pt x="170" y="636"/>
                  </a:moveTo>
                  <a:cubicBezTo>
                    <a:pt x="171" y="615"/>
                    <a:pt x="171" y="615"/>
                    <a:pt x="171" y="615"/>
                  </a:cubicBezTo>
                  <a:cubicBezTo>
                    <a:pt x="162" y="632"/>
                    <a:pt x="162" y="632"/>
                    <a:pt x="162" y="632"/>
                  </a:cubicBezTo>
                  <a:lnTo>
                    <a:pt x="170" y="636"/>
                  </a:lnTo>
                  <a:close/>
                  <a:moveTo>
                    <a:pt x="169" y="573"/>
                  </a:moveTo>
                  <a:cubicBezTo>
                    <a:pt x="181" y="571"/>
                    <a:pt x="181" y="571"/>
                    <a:pt x="181" y="571"/>
                  </a:cubicBezTo>
                  <a:cubicBezTo>
                    <a:pt x="169" y="559"/>
                    <a:pt x="169" y="559"/>
                    <a:pt x="169" y="559"/>
                  </a:cubicBezTo>
                  <a:lnTo>
                    <a:pt x="169" y="573"/>
                  </a:lnTo>
                  <a:close/>
                  <a:moveTo>
                    <a:pt x="82" y="14"/>
                  </a:moveTo>
                  <a:cubicBezTo>
                    <a:pt x="94" y="38"/>
                    <a:pt x="94" y="38"/>
                    <a:pt x="94" y="3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06" y="0"/>
                    <a:pt x="106" y="0"/>
                    <a:pt x="106" y="0"/>
                  </a:cubicBezTo>
                  <a:lnTo>
                    <a:pt x="82" y="14"/>
                  </a:lnTo>
                  <a:close/>
                </a:path>
              </a:pathLst>
            </a:custGeom>
            <a:grpFill/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35" name="Freeform 315">
              <a:extLst>
                <a:ext uri="{FF2B5EF4-FFF2-40B4-BE49-F238E27FC236}">
                  <a16:creationId xmlns:a16="http://schemas.microsoft.com/office/drawing/2014/main" id="{F446D29E-F83E-9199-26B4-86A6171256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53" y="-12193"/>
              <a:ext cx="180" cy="123"/>
            </a:xfrm>
            <a:custGeom>
              <a:avLst/>
              <a:gdLst>
                <a:gd name="T0" fmla="*/ 16 w 76"/>
                <a:gd name="T1" fmla="*/ 34 h 52"/>
                <a:gd name="T2" fmla="*/ 11 w 76"/>
                <a:gd name="T3" fmla="*/ 52 h 52"/>
                <a:gd name="T4" fmla="*/ 16 w 76"/>
                <a:gd name="T5" fmla="*/ 34 h 52"/>
                <a:gd name="T6" fmla="*/ 35 w 76"/>
                <a:gd name="T7" fmla="*/ 8 h 52"/>
                <a:gd name="T8" fmla="*/ 47 w 76"/>
                <a:gd name="T9" fmla="*/ 26 h 52"/>
                <a:gd name="T10" fmla="*/ 58 w 76"/>
                <a:gd name="T11" fmla="*/ 21 h 52"/>
                <a:gd name="T12" fmla="*/ 35 w 76"/>
                <a:gd name="T13" fmla="*/ 8 h 52"/>
                <a:gd name="T14" fmla="*/ 71 w 76"/>
                <a:gd name="T15" fmla="*/ 32 h 52"/>
                <a:gd name="T16" fmla="*/ 58 w 76"/>
                <a:gd name="T17" fmla="*/ 42 h 52"/>
                <a:gd name="T18" fmla="*/ 71 w 76"/>
                <a:gd name="T19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52">
                  <a:moveTo>
                    <a:pt x="16" y="34"/>
                  </a:moveTo>
                  <a:cubicBezTo>
                    <a:pt x="0" y="34"/>
                    <a:pt x="11" y="52"/>
                    <a:pt x="11" y="52"/>
                  </a:cubicBezTo>
                  <a:cubicBezTo>
                    <a:pt x="23" y="52"/>
                    <a:pt x="32" y="34"/>
                    <a:pt x="16" y="34"/>
                  </a:cubicBezTo>
                  <a:close/>
                  <a:moveTo>
                    <a:pt x="35" y="8"/>
                  </a:moveTo>
                  <a:cubicBezTo>
                    <a:pt x="28" y="16"/>
                    <a:pt x="47" y="26"/>
                    <a:pt x="47" y="26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41" y="0"/>
                    <a:pt x="35" y="8"/>
                  </a:cubicBezTo>
                  <a:close/>
                  <a:moveTo>
                    <a:pt x="71" y="32"/>
                  </a:moveTo>
                  <a:cubicBezTo>
                    <a:pt x="66" y="26"/>
                    <a:pt x="51" y="38"/>
                    <a:pt x="58" y="42"/>
                  </a:cubicBezTo>
                  <a:cubicBezTo>
                    <a:pt x="68" y="48"/>
                    <a:pt x="76" y="37"/>
                    <a:pt x="71" y="32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36" name="Freeform 316">
              <a:extLst>
                <a:ext uri="{FF2B5EF4-FFF2-40B4-BE49-F238E27FC236}">
                  <a16:creationId xmlns:a16="http://schemas.microsoft.com/office/drawing/2014/main" id="{2402A4D4-B73B-3FE0-F344-502D685FC1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58" y="-15774"/>
              <a:ext cx="1396" cy="2723"/>
            </a:xfrm>
            <a:custGeom>
              <a:avLst/>
              <a:gdLst>
                <a:gd name="T0" fmla="*/ 529 w 591"/>
                <a:gd name="T1" fmla="*/ 401 h 1153"/>
                <a:gd name="T2" fmla="*/ 547 w 591"/>
                <a:gd name="T3" fmla="*/ 349 h 1153"/>
                <a:gd name="T4" fmla="*/ 492 w 591"/>
                <a:gd name="T5" fmla="*/ 276 h 1153"/>
                <a:gd name="T6" fmla="*/ 448 w 591"/>
                <a:gd name="T7" fmla="*/ 241 h 1153"/>
                <a:gd name="T8" fmla="*/ 441 w 591"/>
                <a:gd name="T9" fmla="*/ 258 h 1153"/>
                <a:gd name="T10" fmla="*/ 418 w 591"/>
                <a:gd name="T11" fmla="*/ 264 h 1153"/>
                <a:gd name="T12" fmla="*/ 456 w 591"/>
                <a:gd name="T13" fmla="*/ 373 h 1153"/>
                <a:gd name="T14" fmla="*/ 443 w 591"/>
                <a:gd name="T15" fmla="*/ 450 h 1153"/>
                <a:gd name="T16" fmla="*/ 383 w 591"/>
                <a:gd name="T17" fmla="*/ 448 h 1153"/>
                <a:gd name="T18" fmla="*/ 367 w 591"/>
                <a:gd name="T19" fmla="*/ 514 h 1153"/>
                <a:gd name="T20" fmla="*/ 259 w 591"/>
                <a:gd name="T21" fmla="*/ 546 h 1153"/>
                <a:gd name="T22" fmla="*/ 179 w 591"/>
                <a:gd name="T23" fmla="*/ 601 h 1153"/>
                <a:gd name="T24" fmla="*/ 241 w 591"/>
                <a:gd name="T25" fmla="*/ 607 h 1153"/>
                <a:gd name="T26" fmla="*/ 331 w 591"/>
                <a:gd name="T27" fmla="*/ 584 h 1153"/>
                <a:gd name="T28" fmla="*/ 407 w 591"/>
                <a:gd name="T29" fmla="*/ 654 h 1153"/>
                <a:gd name="T30" fmla="*/ 415 w 591"/>
                <a:gd name="T31" fmla="*/ 583 h 1153"/>
                <a:gd name="T32" fmla="*/ 464 w 591"/>
                <a:gd name="T33" fmla="*/ 585 h 1153"/>
                <a:gd name="T34" fmla="*/ 528 w 591"/>
                <a:gd name="T35" fmla="*/ 556 h 1153"/>
                <a:gd name="T36" fmla="*/ 578 w 591"/>
                <a:gd name="T37" fmla="*/ 538 h 1153"/>
                <a:gd name="T38" fmla="*/ 299 w 591"/>
                <a:gd name="T39" fmla="*/ 628 h 1153"/>
                <a:gd name="T40" fmla="*/ 276 w 591"/>
                <a:gd name="T41" fmla="*/ 674 h 1153"/>
                <a:gd name="T42" fmla="*/ 358 w 591"/>
                <a:gd name="T43" fmla="*/ 638 h 1153"/>
                <a:gd name="T44" fmla="*/ 256 w 591"/>
                <a:gd name="T45" fmla="*/ 689 h 1153"/>
                <a:gd name="T46" fmla="*/ 184 w 591"/>
                <a:gd name="T47" fmla="*/ 634 h 1153"/>
                <a:gd name="T48" fmla="*/ 174 w 591"/>
                <a:gd name="T49" fmla="*/ 687 h 1153"/>
                <a:gd name="T50" fmla="*/ 182 w 591"/>
                <a:gd name="T51" fmla="*/ 727 h 1153"/>
                <a:gd name="T52" fmla="*/ 233 w 591"/>
                <a:gd name="T53" fmla="*/ 780 h 1153"/>
                <a:gd name="T54" fmla="*/ 172 w 591"/>
                <a:gd name="T55" fmla="*/ 718 h 1153"/>
                <a:gd name="T56" fmla="*/ 432 w 591"/>
                <a:gd name="T57" fmla="*/ 423 h 1153"/>
                <a:gd name="T58" fmla="*/ 411 w 591"/>
                <a:gd name="T59" fmla="*/ 400 h 1153"/>
                <a:gd name="T60" fmla="*/ 374 w 591"/>
                <a:gd name="T61" fmla="*/ 72 h 1153"/>
                <a:gd name="T62" fmla="*/ 354 w 591"/>
                <a:gd name="T63" fmla="*/ 123 h 1153"/>
                <a:gd name="T64" fmla="*/ 390 w 591"/>
                <a:gd name="T65" fmla="*/ 198 h 1153"/>
                <a:gd name="T66" fmla="*/ 437 w 591"/>
                <a:gd name="T67" fmla="*/ 205 h 1153"/>
                <a:gd name="T68" fmla="*/ 409 w 591"/>
                <a:gd name="T69" fmla="*/ 179 h 1153"/>
                <a:gd name="T70" fmla="*/ 557 w 591"/>
                <a:gd name="T71" fmla="*/ 147 h 1153"/>
                <a:gd name="T72" fmla="*/ 523 w 591"/>
                <a:gd name="T73" fmla="*/ 96 h 1153"/>
                <a:gd name="T74" fmla="*/ 194 w 591"/>
                <a:gd name="T75" fmla="*/ 984 h 1153"/>
                <a:gd name="T76" fmla="*/ 208 w 591"/>
                <a:gd name="T77" fmla="*/ 933 h 1153"/>
                <a:gd name="T78" fmla="*/ 208 w 591"/>
                <a:gd name="T79" fmla="*/ 933 h 1153"/>
                <a:gd name="T80" fmla="*/ 230 w 591"/>
                <a:gd name="T81" fmla="*/ 810 h 1153"/>
                <a:gd name="T82" fmla="*/ 252 w 591"/>
                <a:gd name="T83" fmla="*/ 792 h 1153"/>
                <a:gd name="T84" fmla="*/ 252 w 591"/>
                <a:gd name="T85" fmla="*/ 792 h 1153"/>
                <a:gd name="T86" fmla="*/ 32 w 591"/>
                <a:gd name="T87" fmla="*/ 1144 h 1153"/>
                <a:gd name="T88" fmla="*/ 90 w 591"/>
                <a:gd name="T89" fmla="*/ 1125 h 1153"/>
                <a:gd name="T90" fmla="*/ 16 w 591"/>
                <a:gd name="T91" fmla="*/ 1134 h 1153"/>
                <a:gd name="T92" fmla="*/ 184 w 591"/>
                <a:gd name="T93" fmla="*/ 1008 h 1153"/>
                <a:gd name="T94" fmla="*/ 198 w 591"/>
                <a:gd name="T95" fmla="*/ 1014 h 1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91" h="1153">
                  <a:moveTo>
                    <a:pt x="591" y="531"/>
                  </a:moveTo>
                  <a:cubicBezTo>
                    <a:pt x="591" y="531"/>
                    <a:pt x="559" y="513"/>
                    <a:pt x="560" y="499"/>
                  </a:cubicBezTo>
                  <a:cubicBezTo>
                    <a:pt x="561" y="485"/>
                    <a:pt x="562" y="459"/>
                    <a:pt x="556" y="447"/>
                  </a:cubicBezTo>
                  <a:cubicBezTo>
                    <a:pt x="550" y="435"/>
                    <a:pt x="526" y="418"/>
                    <a:pt x="529" y="401"/>
                  </a:cubicBezTo>
                  <a:cubicBezTo>
                    <a:pt x="532" y="384"/>
                    <a:pt x="548" y="389"/>
                    <a:pt x="548" y="389"/>
                  </a:cubicBezTo>
                  <a:cubicBezTo>
                    <a:pt x="545" y="362"/>
                    <a:pt x="545" y="362"/>
                    <a:pt x="545" y="362"/>
                  </a:cubicBezTo>
                  <a:cubicBezTo>
                    <a:pt x="537" y="356"/>
                    <a:pt x="537" y="356"/>
                    <a:pt x="537" y="356"/>
                  </a:cubicBezTo>
                  <a:cubicBezTo>
                    <a:pt x="547" y="349"/>
                    <a:pt x="547" y="349"/>
                    <a:pt x="547" y="349"/>
                  </a:cubicBezTo>
                  <a:cubicBezTo>
                    <a:pt x="547" y="349"/>
                    <a:pt x="542" y="331"/>
                    <a:pt x="538" y="321"/>
                  </a:cubicBezTo>
                  <a:cubicBezTo>
                    <a:pt x="534" y="311"/>
                    <a:pt x="520" y="303"/>
                    <a:pt x="520" y="303"/>
                  </a:cubicBezTo>
                  <a:cubicBezTo>
                    <a:pt x="516" y="290"/>
                    <a:pt x="516" y="290"/>
                    <a:pt x="516" y="290"/>
                  </a:cubicBezTo>
                  <a:cubicBezTo>
                    <a:pt x="516" y="290"/>
                    <a:pt x="501" y="283"/>
                    <a:pt x="492" y="276"/>
                  </a:cubicBezTo>
                  <a:cubicBezTo>
                    <a:pt x="483" y="269"/>
                    <a:pt x="468" y="253"/>
                    <a:pt x="468" y="244"/>
                  </a:cubicBezTo>
                  <a:cubicBezTo>
                    <a:pt x="468" y="235"/>
                    <a:pt x="465" y="231"/>
                    <a:pt x="465" y="231"/>
                  </a:cubicBezTo>
                  <a:cubicBezTo>
                    <a:pt x="465" y="231"/>
                    <a:pt x="442" y="214"/>
                    <a:pt x="439" y="226"/>
                  </a:cubicBezTo>
                  <a:cubicBezTo>
                    <a:pt x="436" y="238"/>
                    <a:pt x="448" y="241"/>
                    <a:pt x="448" y="241"/>
                  </a:cubicBezTo>
                  <a:cubicBezTo>
                    <a:pt x="455" y="237"/>
                    <a:pt x="455" y="237"/>
                    <a:pt x="455" y="237"/>
                  </a:cubicBezTo>
                  <a:cubicBezTo>
                    <a:pt x="455" y="237"/>
                    <a:pt x="463" y="256"/>
                    <a:pt x="459" y="256"/>
                  </a:cubicBezTo>
                  <a:cubicBezTo>
                    <a:pt x="455" y="256"/>
                    <a:pt x="450" y="249"/>
                    <a:pt x="450" y="249"/>
                  </a:cubicBezTo>
                  <a:cubicBezTo>
                    <a:pt x="441" y="258"/>
                    <a:pt x="441" y="258"/>
                    <a:pt x="441" y="258"/>
                  </a:cubicBezTo>
                  <a:cubicBezTo>
                    <a:pt x="428" y="237"/>
                    <a:pt x="428" y="237"/>
                    <a:pt x="428" y="237"/>
                  </a:cubicBezTo>
                  <a:cubicBezTo>
                    <a:pt x="416" y="237"/>
                    <a:pt x="416" y="237"/>
                    <a:pt x="416" y="237"/>
                  </a:cubicBezTo>
                  <a:cubicBezTo>
                    <a:pt x="430" y="261"/>
                    <a:pt x="430" y="261"/>
                    <a:pt x="430" y="261"/>
                  </a:cubicBezTo>
                  <a:cubicBezTo>
                    <a:pt x="418" y="264"/>
                    <a:pt x="418" y="264"/>
                    <a:pt x="418" y="264"/>
                  </a:cubicBezTo>
                  <a:cubicBezTo>
                    <a:pt x="437" y="296"/>
                    <a:pt x="437" y="296"/>
                    <a:pt x="437" y="296"/>
                  </a:cubicBezTo>
                  <a:cubicBezTo>
                    <a:pt x="430" y="304"/>
                    <a:pt x="430" y="304"/>
                    <a:pt x="430" y="304"/>
                  </a:cubicBezTo>
                  <a:cubicBezTo>
                    <a:pt x="430" y="304"/>
                    <a:pt x="466" y="322"/>
                    <a:pt x="464" y="337"/>
                  </a:cubicBezTo>
                  <a:cubicBezTo>
                    <a:pt x="462" y="352"/>
                    <a:pt x="456" y="373"/>
                    <a:pt x="456" y="373"/>
                  </a:cubicBezTo>
                  <a:cubicBezTo>
                    <a:pt x="454" y="391"/>
                    <a:pt x="454" y="391"/>
                    <a:pt x="454" y="391"/>
                  </a:cubicBezTo>
                  <a:cubicBezTo>
                    <a:pt x="454" y="391"/>
                    <a:pt x="475" y="404"/>
                    <a:pt x="465" y="411"/>
                  </a:cubicBezTo>
                  <a:cubicBezTo>
                    <a:pt x="455" y="418"/>
                    <a:pt x="447" y="414"/>
                    <a:pt x="447" y="414"/>
                  </a:cubicBezTo>
                  <a:cubicBezTo>
                    <a:pt x="447" y="414"/>
                    <a:pt x="454" y="444"/>
                    <a:pt x="443" y="450"/>
                  </a:cubicBezTo>
                  <a:cubicBezTo>
                    <a:pt x="432" y="456"/>
                    <a:pt x="409" y="464"/>
                    <a:pt x="409" y="464"/>
                  </a:cubicBezTo>
                  <a:cubicBezTo>
                    <a:pt x="409" y="473"/>
                    <a:pt x="409" y="473"/>
                    <a:pt x="409" y="473"/>
                  </a:cubicBezTo>
                  <a:cubicBezTo>
                    <a:pt x="409" y="473"/>
                    <a:pt x="398" y="477"/>
                    <a:pt x="389" y="467"/>
                  </a:cubicBezTo>
                  <a:cubicBezTo>
                    <a:pt x="380" y="457"/>
                    <a:pt x="383" y="448"/>
                    <a:pt x="383" y="448"/>
                  </a:cubicBezTo>
                  <a:cubicBezTo>
                    <a:pt x="386" y="435"/>
                    <a:pt x="386" y="435"/>
                    <a:pt x="386" y="435"/>
                  </a:cubicBezTo>
                  <a:cubicBezTo>
                    <a:pt x="386" y="435"/>
                    <a:pt x="360" y="440"/>
                    <a:pt x="364" y="450"/>
                  </a:cubicBezTo>
                  <a:cubicBezTo>
                    <a:pt x="368" y="460"/>
                    <a:pt x="381" y="474"/>
                    <a:pt x="379" y="481"/>
                  </a:cubicBezTo>
                  <a:cubicBezTo>
                    <a:pt x="377" y="488"/>
                    <a:pt x="363" y="504"/>
                    <a:pt x="367" y="514"/>
                  </a:cubicBezTo>
                  <a:cubicBezTo>
                    <a:pt x="371" y="524"/>
                    <a:pt x="384" y="539"/>
                    <a:pt x="374" y="540"/>
                  </a:cubicBezTo>
                  <a:cubicBezTo>
                    <a:pt x="364" y="541"/>
                    <a:pt x="338" y="529"/>
                    <a:pt x="329" y="530"/>
                  </a:cubicBezTo>
                  <a:cubicBezTo>
                    <a:pt x="320" y="531"/>
                    <a:pt x="281" y="546"/>
                    <a:pt x="278" y="546"/>
                  </a:cubicBezTo>
                  <a:cubicBezTo>
                    <a:pt x="275" y="546"/>
                    <a:pt x="259" y="546"/>
                    <a:pt x="259" y="546"/>
                  </a:cubicBezTo>
                  <a:cubicBezTo>
                    <a:pt x="251" y="538"/>
                    <a:pt x="251" y="538"/>
                    <a:pt x="251" y="538"/>
                  </a:cubicBezTo>
                  <a:cubicBezTo>
                    <a:pt x="229" y="555"/>
                    <a:pt x="229" y="555"/>
                    <a:pt x="229" y="555"/>
                  </a:cubicBezTo>
                  <a:cubicBezTo>
                    <a:pt x="229" y="555"/>
                    <a:pt x="202" y="600"/>
                    <a:pt x="198" y="600"/>
                  </a:cubicBezTo>
                  <a:cubicBezTo>
                    <a:pt x="194" y="600"/>
                    <a:pt x="179" y="601"/>
                    <a:pt x="179" y="601"/>
                  </a:cubicBezTo>
                  <a:cubicBezTo>
                    <a:pt x="179" y="601"/>
                    <a:pt x="184" y="625"/>
                    <a:pt x="191" y="625"/>
                  </a:cubicBezTo>
                  <a:cubicBezTo>
                    <a:pt x="198" y="625"/>
                    <a:pt x="210" y="621"/>
                    <a:pt x="210" y="621"/>
                  </a:cubicBezTo>
                  <a:cubicBezTo>
                    <a:pt x="210" y="621"/>
                    <a:pt x="229" y="632"/>
                    <a:pt x="234" y="630"/>
                  </a:cubicBezTo>
                  <a:cubicBezTo>
                    <a:pt x="239" y="628"/>
                    <a:pt x="241" y="607"/>
                    <a:pt x="241" y="607"/>
                  </a:cubicBezTo>
                  <a:cubicBezTo>
                    <a:pt x="256" y="615"/>
                    <a:pt x="256" y="615"/>
                    <a:pt x="256" y="615"/>
                  </a:cubicBezTo>
                  <a:cubicBezTo>
                    <a:pt x="256" y="615"/>
                    <a:pt x="290" y="598"/>
                    <a:pt x="295" y="595"/>
                  </a:cubicBezTo>
                  <a:cubicBezTo>
                    <a:pt x="300" y="592"/>
                    <a:pt x="313" y="601"/>
                    <a:pt x="321" y="600"/>
                  </a:cubicBezTo>
                  <a:cubicBezTo>
                    <a:pt x="329" y="599"/>
                    <a:pt x="314" y="584"/>
                    <a:pt x="331" y="584"/>
                  </a:cubicBezTo>
                  <a:cubicBezTo>
                    <a:pt x="348" y="584"/>
                    <a:pt x="352" y="593"/>
                    <a:pt x="352" y="593"/>
                  </a:cubicBezTo>
                  <a:cubicBezTo>
                    <a:pt x="352" y="593"/>
                    <a:pt x="372" y="580"/>
                    <a:pt x="376" y="588"/>
                  </a:cubicBezTo>
                  <a:cubicBezTo>
                    <a:pt x="380" y="596"/>
                    <a:pt x="367" y="615"/>
                    <a:pt x="367" y="615"/>
                  </a:cubicBezTo>
                  <a:cubicBezTo>
                    <a:pt x="367" y="615"/>
                    <a:pt x="387" y="654"/>
                    <a:pt x="407" y="654"/>
                  </a:cubicBezTo>
                  <a:cubicBezTo>
                    <a:pt x="427" y="654"/>
                    <a:pt x="425" y="616"/>
                    <a:pt x="425" y="616"/>
                  </a:cubicBezTo>
                  <a:cubicBezTo>
                    <a:pt x="447" y="612"/>
                    <a:pt x="447" y="612"/>
                    <a:pt x="447" y="612"/>
                  </a:cubicBezTo>
                  <a:cubicBezTo>
                    <a:pt x="447" y="612"/>
                    <a:pt x="430" y="592"/>
                    <a:pt x="427" y="591"/>
                  </a:cubicBezTo>
                  <a:cubicBezTo>
                    <a:pt x="424" y="590"/>
                    <a:pt x="415" y="583"/>
                    <a:pt x="415" y="583"/>
                  </a:cubicBezTo>
                  <a:cubicBezTo>
                    <a:pt x="426" y="568"/>
                    <a:pt x="426" y="568"/>
                    <a:pt x="426" y="568"/>
                  </a:cubicBezTo>
                  <a:cubicBezTo>
                    <a:pt x="435" y="567"/>
                    <a:pt x="429" y="581"/>
                    <a:pt x="439" y="581"/>
                  </a:cubicBezTo>
                  <a:cubicBezTo>
                    <a:pt x="449" y="581"/>
                    <a:pt x="452" y="594"/>
                    <a:pt x="452" y="594"/>
                  </a:cubicBezTo>
                  <a:cubicBezTo>
                    <a:pt x="464" y="585"/>
                    <a:pt x="464" y="585"/>
                    <a:pt x="464" y="585"/>
                  </a:cubicBezTo>
                  <a:cubicBezTo>
                    <a:pt x="464" y="585"/>
                    <a:pt x="479" y="593"/>
                    <a:pt x="494" y="589"/>
                  </a:cubicBezTo>
                  <a:cubicBezTo>
                    <a:pt x="509" y="585"/>
                    <a:pt x="491" y="564"/>
                    <a:pt x="508" y="566"/>
                  </a:cubicBezTo>
                  <a:cubicBezTo>
                    <a:pt x="525" y="568"/>
                    <a:pt x="516" y="596"/>
                    <a:pt x="527" y="590"/>
                  </a:cubicBezTo>
                  <a:cubicBezTo>
                    <a:pt x="538" y="584"/>
                    <a:pt x="520" y="561"/>
                    <a:pt x="528" y="556"/>
                  </a:cubicBezTo>
                  <a:cubicBezTo>
                    <a:pt x="536" y="551"/>
                    <a:pt x="541" y="553"/>
                    <a:pt x="541" y="553"/>
                  </a:cubicBezTo>
                  <a:cubicBezTo>
                    <a:pt x="541" y="553"/>
                    <a:pt x="543" y="522"/>
                    <a:pt x="555" y="534"/>
                  </a:cubicBezTo>
                  <a:cubicBezTo>
                    <a:pt x="567" y="546"/>
                    <a:pt x="548" y="571"/>
                    <a:pt x="568" y="570"/>
                  </a:cubicBezTo>
                  <a:cubicBezTo>
                    <a:pt x="588" y="569"/>
                    <a:pt x="578" y="538"/>
                    <a:pt x="578" y="538"/>
                  </a:cubicBezTo>
                  <a:lnTo>
                    <a:pt x="591" y="531"/>
                  </a:lnTo>
                  <a:close/>
                  <a:moveTo>
                    <a:pt x="338" y="618"/>
                  </a:moveTo>
                  <a:cubicBezTo>
                    <a:pt x="338" y="618"/>
                    <a:pt x="321" y="605"/>
                    <a:pt x="312" y="606"/>
                  </a:cubicBezTo>
                  <a:cubicBezTo>
                    <a:pt x="292" y="608"/>
                    <a:pt x="299" y="628"/>
                    <a:pt x="299" y="628"/>
                  </a:cubicBezTo>
                  <a:cubicBezTo>
                    <a:pt x="299" y="628"/>
                    <a:pt x="282" y="622"/>
                    <a:pt x="272" y="624"/>
                  </a:cubicBezTo>
                  <a:cubicBezTo>
                    <a:pt x="262" y="626"/>
                    <a:pt x="269" y="648"/>
                    <a:pt x="269" y="648"/>
                  </a:cubicBezTo>
                  <a:cubicBezTo>
                    <a:pt x="257" y="659"/>
                    <a:pt x="257" y="659"/>
                    <a:pt x="257" y="659"/>
                  </a:cubicBezTo>
                  <a:cubicBezTo>
                    <a:pt x="257" y="659"/>
                    <a:pt x="270" y="667"/>
                    <a:pt x="276" y="674"/>
                  </a:cubicBezTo>
                  <a:cubicBezTo>
                    <a:pt x="282" y="681"/>
                    <a:pt x="305" y="695"/>
                    <a:pt x="305" y="695"/>
                  </a:cubicBezTo>
                  <a:cubicBezTo>
                    <a:pt x="305" y="695"/>
                    <a:pt x="299" y="664"/>
                    <a:pt x="314" y="654"/>
                  </a:cubicBezTo>
                  <a:cubicBezTo>
                    <a:pt x="329" y="644"/>
                    <a:pt x="351" y="672"/>
                    <a:pt x="351" y="672"/>
                  </a:cubicBezTo>
                  <a:cubicBezTo>
                    <a:pt x="351" y="672"/>
                    <a:pt x="356" y="650"/>
                    <a:pt x="358" y="638"/>
                  </a:cubicBezTo>
                  <a:cubicBezTo>
                    <a:pt x="360" y="626"/>
                    <a:pt x="351" y="615"/>
                    <a:pt x="351" y="615"/>
                  </a:cubicBezTo>
                  <a:lnTo>
                    <a:pt x="338" y="618"/>
                  </a:lnTo>
                  <a:close/>
                  <a:moveTo>
                    <a:pt x="241" y="709"/>
                  </a:moveTo>
                  <a:cubicBezTo>
                    <a:pt x="241" y="698"/>
                    <a:pt x="256" y="689"/>
                    <a:pt x="256" y="689"/>
                  </a:cubicBezTo>
                  <a:cubicBezTo>
                    <a:pt x="255" y="677"/>
                    <a:pt x="232" y="662"/>
                    <a:pt x="232" y="662"/>
                  </a:cubicBezTo>
                  <a:cubicBezTo>
                    <a:pt x="232" y="662"/>
                    <a:pt x="231" y="652"/>
                    <a:pt x="224" y="649"/>
                  </a:cubicBezTo>
                  <a:cubicBezTo>
                    <a:pt x="217" y="646"/>
                    <a:pt x="212" y="648"/>
                    <a:pt x="212" y="648"/>
                  </a:cubicBezTo>
                  <a:cubicBezTo>
                    <a:pt x="212" y="648"/>
                    <a:pt x="191" y="634"/>
                    <a:pt x="184" y="634"/>
                  </a:cubicBezTo>
                  <a:cubicBezTo>
                    <a:pt x="177" y="634"/>
                    <a:pt x="168" y="646"/>
                    <a:pt x="168" y="646"/>
                  </a:cubicBezTo>
                  <a:cubicBezTo>
                    <a:pt x="143" y="660"/>
                    <a:pt x="143" y="660"/>
                    <a:pt x="143" y="660"/>
                  </a:cubicBezTo>
                  <a:cubicBezTo>
                    <a:pt x="162" y="693"/>
                    <a:pt x="162" y="693"/>
                    <a:pt x="162" y="693"/>
                  </a:cubicBezTo>
                  <a:cubicBezTo>
                    <a:pt x="174" y="687"/>
                    <a:pt x="174" y="687"/>
                    <a:pt x="174" y="687"/>
                  </a:cubicBezTo>
                  <a:cubicBezTo>
                    <a:pt x="174" y="687"/>
                    <a:pt x="167" y="668"/>
                    <a:pt x="175" y="672"/>
                  </a:cubicBezTo>
                  <a:cubicBezTo>
                    <a:pt x="183" y="676"/>
                    <a:pt x="195" y="697"/>
                    <a:pt x="195" y="697"/>
                  </a:cubicBezTo>
                  <a:cubicBezTo>
                    <a:pt x="194" y="722"/>
                    <a:pt x="194" y="722"/>
                    <a:pt x="194" y="722"/>
                  </a:cubicBezTo>
                  <a:cubicBezTo>
                    <a:pt x="182" y="727"/>
                    <a:pt x="182" y="727"/>
                    <a:pt x="182" y="727"/>
                  </a:cubicBezTo>
                  <a:cubicBezTo>
                    <a:pt x="182" y="727"/>
                    <a:pt x="193" y="774"/>
                    <a:pt x="203" y="776"/>
                  </a:cubicBezTo>
                  <a:cubicBezTo>
                    <a:pt x="213" y="778"/>
                    <a:pt x="211" y="746"/>
                    <a:pt x="211" y="746"/>
                  </a:cubicBezTo>
                  <a:cubicBezTo>
                    <a:pt x="232" y="753"/>
                    <a:pt x="232" y="753"/>
                    <a:pt x="232" y="753"/>
                  </a:cubicBezTo>
                  <a:cubicBezTo>
                    <a:pt x="232" y="753"/>
                    <a:pt x="229" y="780"/>
                    <a:pt x="233" y="780"/>
                  </a:cubicBezTo>
                  <a:cubicBezTo>
                    <a:pt x="237" y="780"/>
                    <a:pt x="251" y="756"/>
                    <a:pt x="251" y="756"/>
                  </a:cubicBezTo>
                  <a:cubicBezTo>
                    <a:pt x="251" y="756"/>
                    <a:pt x="241" y="720"/>
                    <a:pt x="241" y="709"/>
                  </a:cubicBezTo>
                  <a:close/>
                  <a:moveTo>
                    <a:pt x="183" y="693"/>
                  </a:moveTo>
                  <a:cubicBezTo>
                    <a:pt x="172" y="718"/>
                    <a:pt x="172" y="718"/>
                    <a:pt x="172" y="718"/>
                  </a:cubicBezTo>
                  <a:cubicBezTo>
                    <a:pt x="184" y="715"/>
                    <a:pt x="184" y="715"/>
                    <a:pt x="184" y="715"/>
                  </a:cubicBezTo>
                  <a:lnTo>
                    <a:pt x="183" y="693"/>
                  </a:lnTo>
                  <a:close/>
                  <a:moveTo>
                    <a:pt x="424" y="424"/>
                  </a:moveTo>
                  <a:cubicBezTo>
                    <a:pt x="432" y="423"/>
                    <a:pt x="432" y="423"/>
                    <a:pt x="432" y="423"/>
                  </a:cubicBezTo>
                  <a:cubicBezTo>
                    <a:pt x="431" y="407"/>
                    <a:pt x="431" y="407"/>
                    <a:pt x="431" y="407"/>
                  </a:cubicBezTo>
                  <a:cubicBezTo>
                    <a:pt x="425" y="405"/>
                    <a:pt x="425" y="405"/>
                    <a:pt x="425" y="405"/>
                  </a:cubicBezTo>
                  <a:cubicBezTo>
                    <a:pt x="415" y="392"/>
                    <a:pt x="415" y="392"/>
                    <a:pt x="415" y="392"/>
                  </a:cubicBezTo>
                  <a:cubicBezTo>
                    <a:pt x="411" y="400"/>
                    <a:pt x="411" y="400"/>
                    <a:pt x="411" y="400"/>
                  </a:cubicBezTo>
                  <a:cubicBezTo>
                    <a:pt x="419" y="409"/>
                    <a:pt x="419" y="409"/>
                    <a:pt x="419" y="409"/>
                  </a:cubicBezTo>
                  <a:lnTo>
                    <a:pt x="424" y="424"/>
                  </a:lnTo>
                  <a:close/>
                  <a:moveTo>
                    <a:pt x="372" y="57"/>
                  </a:moveTo>
                  <a:cubicBezTo>
                    <a:pt x="374" y="72"/>
                    <a:pt x="374" y="72"/>
                    <a:pt x="374" y="72"/>
                  </a:cubicBezTo>
                  <a:cubicBezTo>
                    <a:pt x="374" y="72"/>
                    <a:pt x="391" y="83"/>
                    <a:pt x="391" y="90"/>
                  </a:cubicBezTo>
                  <a:cubicBezTo>
                    <a:pt x="391" y="97"/>
                    <a:pt x="384" y="110"/>
                    <a:pt x="384" y="110"/>
                  </a:cubicBezTo>
                  <a:cubicBezTo>
                    <a:pt x="384" y="110"/>
                    <a:pt x="402" y="132"/>
                    <a:pt x="397" y="133"/>
                  </a:cubicBezTo>
                  <a:cubicBezTo>
                    <a:pt x="391" y="134"/>
                    <a:pt x="359" y="125"/>
                    <a:pt x="354" y="123"/>
                  </a:cubicBezTo>
                  <a:cubicBezTo>
                    <a:pt x="348" y="122"/>
                    <a:pt x="369" y="143"/>
                    <a:pt x="369" y="143"/>
                  </a:cubicBezTo>
                  <a:cubicBezTo>
                    <a:pt x="352" y="161"/>
                    <a:pt x="352" y="161"/>
                    <a:pt x="352" y="161"/>
                  </a:cubicBezTo>
                  <a:cubicBezTo>
                    <a:pt x="352" y="161"/>
                    <a:pt x="358" y="173"/>
                    <a:pt x="361" y="179"/>
                  </a:cubicBezTo>
                  <a:cubicBezTo>
                    <a:pt x="363" y="184"/>
                    <a:pt x="390" y="198"/>
                    <a:pt x="390" y="198"/>
                  </a:cubicBezTo>
                  <a:cubicBezTo>
                    <a:pt x="390" y="198"/>
                    <a:pt x="381" y="231"/>
                    <a:pt x="404" y="230"/>
                  </a:cubicBezTo>
                  <a:cubicBezTo>
                    <a:pt x="414" y="229"/>
                    <a:pt x="398" y="211"/>
                    <a:pt x="410" y="211"/>
                  </a:cubicBezTo>
                  <a:cubicBezTo>
                    <a:pt x="423" y="211"/>
                    <a:pt x="433" y="211"/>
                    <a:pt x="433" y="211"/>
                  </a:cubicBezTo>
                  <a:cubicBezTo>
                    <a:pt x="437" y="205"/>
                    <a:pt x="437" y="205"/>
                    <a:pt x="437" y="205"/>
                  </a:cubicBezTo>
                  <a:cubicBezTo>
                    <a:pt x="412" y="189"/>
                    <a:pt x="412" y="189"/>
                    <a:pt x="412" y="189"/>
                  </a:cubicBezTo>
                  <a:cubicBezTo>
                    <a:pt x="399" y="189"/>
                    <a:pt x="399" y="189"/>
                    <a:pt x="399" y="189"/>
                  </a:cubicBezTo>
                  <a:cubicBezTo>
                    <a:pt x="399" y="189"/>
                    <a:pt x="365" y="176"/>
                    <a:pt x="381" y="169"/>
                  </a:cubicBezTo>
                  <a:cubicBezTo>
                    <a:pt x="398" y="162"/>
                    <a:pt x="409" y="179"/>
                    <a:pt x="409" y="179"/>
                  </a:cubicBezTo>
                  <a:cubicBezTo>
                    <a:pt x="409" y="179"/>
                    <a:pt x="423" y="168"/>
                    <a:pt x="433" y="166"/>
                  </a:cubicBezTo>
                  <a:cubicBezTo>
                    <a:pt x="442" y="165"/>
                    <a:pt x="513" y="202"/>
                    <a:pt x="519" y="198"/>
                  </a:cubicBezTo>
                  <a:cubicBezTo>
                    <a:pt x="524" y="194"/>
                    <a:pt x="505" y="155"/>
                    <a:pt x="523" y="148"/>
                  </a:cubicBezTo>
                  <a:cubicBezTo>
                    <a:pt x="541" y="141"/>
                    <a:pt x="539" y="157"/>
                    <a:pt x="557" y="147"/>
                  </a:cubicBezTo>
                  <a:cubicBezTo>
                    <a:pt x="575" y="137"/>
                    <a:pt x="578" y="130"/>
                    <a:pt x="578" y="130"/>
                  </a:cubicBezTo>
                  <a:cubicBezTo>
                    <a:pt x="542" y="107"/>
                    <a:pt x="542" y="107"/>
                    <a:pt x="542" y="107"/>
                  </a:cubicBezTo>
                  <a:cubicBezTo>
                    <a:pt x="542" y="107"/>
                    <a:pt x="542" y="83"/>
                    <a:pt x="535" y="78"/>
                  </a:cubicBezTo>
                  <a:cubicBezTo>
                    <a:pt x="528" y="72"/>
                    <a:pt x="523" y="96"/>
                    <a:pt x="523" y="96"/>
                  </a:cubicBezTo>
                  <a:cubicBezTo>
                    <a:pt x="523" y="96"/>
                    <a:pt x="455" y="80"/>
                    <a:pt x="440" y="69"/>
                  </a:cubicBezTo>
                  <a:cubicBezTo>
                    <a:pt x="424" y="58"/>
                    <a:pt x="350" y="0"/>
                    <a:pt x="340" y="11"/>
                  </a:cubicBezTo>
                  <a:cubicBezTo>
                    <a:pt x="330" y="22"/>
                    <a:pt x="372" y="57"/>
                    <a:pt x="372" y="57"/>
                  </a:cubicBezTo>
                  <a:close/>
                  <a:moveTo>
                    <a:pt x="194" y="984"/>
                  </a:moveTo>
                  <a:cubicBezTo>
                    <a:pt x="209" y="984"/>
                    <a:pt x="209" y="984"/>
                    <a:pt x="209" y="984"/>
                  </a:cubicBezTo>
                  <a:cubicBezTo>
                    <a:pt x="192" y="972"/>
                    <a:pt x="192" y="972"/>
                    <a:pt x="192" y="972"/>
                  </a:cubicBezTo>
                  <a:lnTo>
                    <a:pt x="194" y="984"/>
                  </a:lnTo>
                  <a:close/>
                  <a:moveTo>
                    <a:pt x="208" y="933"/>
                  </a:moveTo>
                  <a:cubicBezTo>
                    <a:pt x="210" y="942"/>
                    <a:pt x="214" y="942"/>
                    <a:pt x="214" y="942"/>
                  </a:cubicBezTo>
                  <a:cubicBezTo>
                    <a:pt x="224" y="944"/>
                    <a:pt x="225" y="934"/>
                    <a:pt x="225" y="934"/>
                  </a:cubicBezTo>
                  <a:cubicBezTo>
                    <a:pt x="225" y="934"/>
                    <a:pt x="240" y="933"/>
                    <a:pt x="233" y="922"/>
                  </a:cubicBezTo>
                  <a:cubicBezTo>
                    <a:pt x="226" y="912"/>
                    <a:pt x="205" y="924"/>
                    <a:pt x="208" y="933"/>
                  </a:cubicBezTo>
                  <a:close/>
                  <a:moveTo>
                    <a:pt x="214" y="956"/>
                  </a:moveTo>
                  <a:cubicBezTo>
                    <a:pt x="204" y="952"/>
                    <a:pt x="205" y="961"/>
                    <a:pt x="205" y="961"/>
                  </a:cubicBezTo>
                  <a:cubicBezTo>
                    <a:pt x="220" y="968"/>
                    <a:pt x="225" y="960"/>
                    <a:pt x="214" y="956"/>
                  </a:cubicBezTo>
                  <a:close/>
                  <a:moveTo>
                    <a:pt x="230" y="810"/>
                  </a:moveTo>
                  <a:cubicBezTo>
                    <a:pt x="230" y="814"/>
                    <a:pt x="217" y="820"/>
                    <a:pt x="217" y="820"/>
                  </a:cubicBezTo>
                  <a:cubicBezTo>
                    <a:pt x="234" y="829"/>
                    <a:pt x="234" y="829"/>
                    <a:pt x="234" y="829"/>
                  </a:cubicBezTo>
                  <a:cubicBezTo>
                    <a:pt x="234" y="829"/>
                    <a:pt x="230" y="806"/>
                    <a:pt x="230" y="810"/>
                  </a:cubicBezTo>
                  <a:close/>
                  <a:moveTo>
                    <a:pt x="252" y="792"/>
                  </a:moveTo>
                  <a:cubicBezTo>
                    <a:pt x="252" y="796"/>
                    <a:pt x="248" y="805"/>
                    <a:pt x="248" y="805"/>
                  </a:cubicBezTo>
                  <a:cubicBezTo>
                    <a:pt x="257" y="825"/>
                    <a:pt x="257" y="825"/>
                    <a:pt x="257" y="825"/>
                  </a:cubicBezTo>
                  <a:cubicBezTo>
                    <a:pt x="258" y="814"/>
                    <a:pt x="258" y="814"/>
                    <a:pt x="258" y="814"/>
                  </a:cubicBezTo>
                  <a:cubicBezTo>
                    <a:pt x="258" y="814"/>
                    <a:pt x="252" y="788"/>
                    <a:pt x="252" y="792"/>
                  </a:cubicBezTo>
                  <a:close/>
                  <a:moveTo>
                    <a:pt x="32" y="1144"/>
                  </a:moveTo>
                  <a:cubicBezTo>
                    <a:pt x="36" y="1144"/>
                    <a:pt x="54" y="1138"/>
                    <a:pt x="54" y="1138"/>
                  </a:cubicBezTo>
                  <a:cubicBezTo>
                    <a:pt x="36" y="1129"/>
                    <a:pt x="36" y="1129"/>
                    <a:pt x="36" y="1129"/>
                  </a:cubicBezTo>
                  <a:cubicBezTo>
                    <a:pt x="36" y="1129"/>
                    <a:pt x="28" y="1144"/>
                    <a:pt x="32" y="1144"/>
                  </a:cubicBezTo>
                  <a:close/>
                  <a:moveTo>
                    <a:pt x="81" y="1117"/>
                  </a:moveTo>
                  <a:cubicBezTo>
                    <a:pt x="72" y="1100"/>
                    <a:pt x="72" y="1100"/>
                    <a:pt x="72" y="1100"/>
                  </a:cubicBezTo>
                  <a:cubicBezTo>
                    <a:pt x="72" y="1110"/>
                    <a:pt x="72" y="1110"/>
                    <a:pt x="72" y="1110"/>
                  </a:cubicBezTo>
                  <a:cubicBezTo>
                    <a:pt x="70" y="1126"/>
                    <a:pt x="85" y="1133"/>
                    <a:pt x="90" y="1125"/>
                  </a:cubicBezTo>
                  <a:cubicBezTo>
                    <a:pt x="96" y="1117"/>
                    <a:pt x="81" y="1117"/>
                    <a:pt x="81" y="1117"/>
                  </a:cubicBezTo>
                  <a:close/>
                  <a:moveTo>
                    <a:pt x="16" y="1134"/>
                  </a:moveTo>
                  <a:cubicBezTo>
                    <a:pt x="0" y="1133"/>
                    <a:pt x="9" y="1150"/>
                    <a:pt x="9" y="1150"/>
                  </a:cubicBezTo>
                  <a:cubicBezTo>
                    <a:pt x="21" y="1153"/>
                    <a:pt x="32" y="1136"/>
                    <a:pt x="16" y="1134"/>
                  </a:cubicBezTo>
                  <a:close/>
                  <a:moveTo>
                    <a:pt x="118" y="1033"/>
                  </a:moveTo>
                  <a:cubicBezTo>
                    <a:pt x="118" y="1041"/>
                    <a:pt x="129" y="1041"/>
                    <a:pt x="129" y="1041"/>
                  </a:cubicBezTo>
                  <a:cubicBezTo>
                    <a:pt x="136" y="1029"/>
                    <a:pt x="118" y="1025"/>
                    <a:pt x="118" y="1033"/>
                  </a:cubicBezTo>
                  <a:close/>
                  <a:moveTo>
                    <a:pt x="184" y="1008"/>
                  </a:moveTo>
                  <a:cubicBezTo>
                    <a:pt x="174" y="1018"/>
                    <a:pt x="165" y="1050"/>
                    <a:pt x="165" y="1050"/>
                  </a:cubicBezTo>
                  <a:cubicBezTo>
                    <a:pt x="178" y="1053"/>
                    <a:pt x="178" y="1053"/>
                    <a:pt x="178" y="1053"/>
                  </a:cubicBezTo>
                  <a:cubicBezTo>
                    <a:pt x="178" y="1053"/>
                    <a:pt x="190" y="1032"/>
                    <a:pt x="186" y="1032"/>
                  </a:cubicBezTo>
                  <a:cubicBezTo>
                    <a:pt x="182" y="1032"/>
                    <a:pt x="198" y="1014"/>
                    <a:pt x="198" y="1014"/>
                  </a:cubicBezTo>
                  <a:cubicBezTo>
                    <a:pt x="198" y="1014"/>
                    <a:pt x="193" y="997"/>
                    <a:pt x="184" y="1008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37" name="Freeform 317">
              <a:extLst>
                <a:ext uri="{FF2B5EF4-FFF2-40B4-BE49-F238E27FC236}">
                  <a16:creationId xmlns:a16="http://schemas.microsoft.com/office/drawing/2014/main" id="{6B6921C6-1FAF-7B34-B35F-917900D9829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4425" y="-19748"/>
              <a:ext cx="14280" cy="4543"/>
            </a:xfrm>
            <a:custGeom>
              <a:avLst/>
              <a:gdLst>
                <a:gd name="T0" fmla="*/ 1604 w 6045"/>
                <a:gd name="T1" fmla="*/ 319 h 1923"/>
                <a:gd name="T2" fmla="*/ 1125 w 6045"/>
                <a:gd name="T3" fmla="*/ 38 h 1923"/>
                <a:gd name="T4" fmla="*/ 1119 w 6045"/>
                <a:gd name="T5" fmla="*/ 335 h 1923"/>
                <a:gd name="T6" fmla="*/ 1136 w 6045"/>
                <a:gd name="T7" fmla="*/ 227 h 1923"/>
                <a:gd name="T8" fmla="*/ 1032 w 6045"/>
                <a:gd name="T9" fmla="*/ 349 h 1923"/>
                <a:gd name="T10" fmla="*/ 4026 w 6045"/>
                <a:gd name="T11" fmla="*/ 259 h 1923"/>
                <a:gd name="T12" fmla="*/ 2394 w 6045"/>
                <a:gd name="T13" fmla="*/ 103 h 1923"/>
                <a:gd name="T14" fmla="*/ 3618 w 6045"/>
                <a:gd name="T15" fmla="*/ 235 h 1923"/>
                <a:gd name="T16" fmla="*/ 113 w 6045"/>
                <a:gd name="T17" fmla="*/ 1236 h 1923"/>
                <a:gd name="T18" fmla="*/ 755 w 6045"/>
                <a:gd name="T19" fmla="*/ 45 h 1923"/>
                <a:gd name="T20" fmla="*/ 5033 w 6045"/>
                <a:gd name="T21" fmla="*/ 1361 h 1923"/>
                <a:gd name="T22" fmla="*/ 5193 w 6045"/>
                <a:gd name="T23" fmla="*/ 1629 h 1923"/>
                <a:gd name="T24" fmla="*/ 5935 w 6045"/>
                <a:gd name="T25" fmla="*/ 632 h 1923"/>
                <a:gd name="T26" fmla="*/ 5061 w 6045"/>
                <a:gd name="T27" fmla="*/ 515 h 1923"/>
                <a:gd name="T28" fmla="*/ 4321 w 6045"/>
                <a:gd name="T29" fmla="*/ 409 h 1923"/>
                <a:gd name="T30" fmla="*/ 3936 w 6045"/>
                <a:gd name="T31" fmla="*/ 365 h 1923"/>
                <a:gd name="T32" fmla="*/ 3577 w 6045"/>
                <a:gd name="T33" fmla="*/ 386 h 1923"/>
                <a:gd name="T34" fmla="*/ 3251 w 6045"/>
                <a:gd name="T35" fmla="*/ 351 h 1923"/>
                <a:gd name="T36" fmla="*/ 2915 w 6045"/>
                <a:gd name="T37" fmla="*/ 313 h 1923"/>
                <a:gd name="T38" fmla="*/ 2906 w 6045"/>
                <a:gd name="T39" fmla="*/ 254 h 1923"/>
                <a:gd name="T40" fmla="*/ 2423 w 6045"/>
                <a:gd name="T41" fmla="*/ 210 h 1923"/>
                <a:gd name="T42" fmla="*/ 2038 w 6045"/>
                <a:gd name="T43" fmla="*/ 402 h 1923"/>
                <a:gd name="T44" fmla="*/ 1740 w 6045"/>
                <a:gd name="T45" fmla="*/ 389 h 1923"/>
                <a:gd name="T46" fmla="*/ 1845 w 6045"/>
                <a:gd name="T47" fmla="*/ 542 h 1923"/>
                <a:gd name="T48" fmla="*/ 1684 w 6045"/>
                <a:gd name="T49" fmla="*/ 417 h 1923"/>
                <a:gd name="T50" fmla="*/ 1499 w 6045"/>
                <a:gd name="T51" fmla="*/ 522 h 1923"/>
                <a:gd name="T52" fmla="*/ 1060 w 6045"/>
                <a:gd name="T53" fmla="*/ 545 h 1923"/>
                <a:gd name="T54" fmla="*/ 795 w 6045"/>
                <a:gd name="T55" fmla="*/ 644 h 1923"/>
                <a:gd name="T56" fmla="*/ 508 w 6045"/>
                <a:gd name="T57" fmla="*/ 670 h 1923"/>
                <a:gd name="T58" fmla="*/ 357 w 6045"/>
                <a:gd name="T59" fmla="*/ 475 h 1923"/>
                <a:gd name="T60" fmla="*/ 323 w 6045"/>
                <a:gd name="T61" fmla="*/ 703 h 1923"/>
                <a:gd name="T62" fmla="*/ 303 w 6045"/>
                <a:gd name="T63" fmla="*/ 980 h 1923"/>
                <a:gd name="T64" fmla="*/ 382 w 6045"/>
                <a:gd name="T65" fmla="*/ 1163 h 1923"/>
                <a:gd name="T66" fmla="*/ 538 w 6045"/>
                <a:gd name="T67" fmla="*/ 1342 h 1923"/>
                <a:gd name="T68" fmla="*/ 827 w 6045"/>
                <a:gd name="T69" fmla="*/ 1472 h 1923"/>
                <a:gd name="T70" fmla="*/ 752 w 6045"/>
                <a:gd name="T71" fmla="*/ 1694 h 1923"/>
                <a:gd name="T72" fmla="*/ 1214 w 6045"/>
                <a:gd name="T73" fmla="*/ 1892 h 1923"/>
                <a:gd name="T74" fmla="*/ 1231 w 6045"/>
                <a:gd name="T75" fmla="*/ 1631 h 1923"/>
                <a:gd name="T76" fmla="*/ 1419 w 6045"/>
                <a:gd name="T77" fmla="*/ 1396 h 1923"/>
                <a:gd name="T78" fmla="*/ 1765 w 6045"/>
                <a:gd name="T79" fmla="*/ 1244 h 1923"/>
                <a:gd name="T80" fmla="*/ 2222 w 6045"/>
                <a:gd name="T81" fmla="*/ 1256 h 1923"/>
                <a:gd name="T82" fmla="*/ 2847 w 6045"/>
                <a:gd name="T83" fmla="*/ 1496 h 1923"/>
                <a:gd name="T84" fmla="*/ 3152 w 6045"/>
                <a:gd name="T85" fmla="*/ 1456 h 1923"/>
                <a:gd name="T86" fmla="*/ 3428 w 6045"/>
                <a:gd name="T87" fmla="*/ 1441 h 1923"/>
                <a:gd name="T88" fmla="*/ 3929 w 6045"/>
                <a:gd name="T89" fmla="*/ 1447 h 1923"/>
                <a:gd name="T90" fmla="*/ 4174 w 6045"/>
                <a:gd name="T91" fmla="*/ 1268 h 1923"/>
                <a:gd name="T92" fmla="*/ 4630 w 6045"/>
                <a:gd name="T93" fmla="*/ 1533 h 1923"/>
                <a:gd name="T94" fmla="*/ 4843 w 6045"/>
                <a:gd name="T95" fmla="*/ 1667 h 1923"/>
                <a:gd name="T96" fmla="*/ 4985 w 6045"/>
                <a:gd name="T97" fmla="*/ 1754 h 1923"/>
                <a:gd name="T98" fmla="*/ 4903 w 6045"/>
                <a:gd name="T99" fmla="*/ 1298 h 1923"/>
                <a:gd name="T100" fmla="*/ 4580 w 6045"/>
                <a:gd name="T101" fmla="*/ 1205 h 1923"/>
                <a:gd name="T102" fmla="*/ 4885 w 6045"/>
                <a:gd name="T103" fmla="*/ 977 h 1923"/>
                <a:gd name="T104" fmla="*/ 5110 w 6045"/>
                <a:gd name="T105" fmla="*/ 890 h 1923"/>
                <a:gd name="T106" fmla="*/ 5374 w 6045"/>
                <a:gd name="T107" fmla="*/ 897 h 1923"/>
                <a:gd name="T108" fmla="*/ 5630 w 6045"/>
                <a:gd name="T109" fmla="*/ 1386 h 1923"/>
                <a:gd name="T110" fmla="*/ 5463 w 6045"/>
                <a:gd name="T111" fmla="*/ 992 h 1923"/>
                <a:gd name="T112" fmla="*/ 5791 w 6045"/>
                <a:gd name="T113" fmla="*/ 813 h 1923"/>
                <a:gd name="T114" fmla="*/ 5719 w 6045"/>
                <a:gd name="T115" fmla="*/ 660 h 1923"/>
                <a:gd name="T116" fmla="*/ 3494 w 6045"/>
                <a:gd name="T117" fmla="*/ 1368 h 1923"/>
                <a:gd name="T118" fmla="*/ 3579 w 6045"/>
                <a:gd name="T119" fmla="*/ 1259 h 1923"/>
                <a:gd name="T120" fmla="*/ 943 w 6045"/>
                <a:gd name="T121" fmla="*/ 537 h 1923"/>
                <a:gd name="T122" fmla="*/ 924 w 6045"/>
                <a:gd name="T123" fmla="*/ 25 h 1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45" h="1923">
                  <a:moveTo>
                    <a:pt x="1866" y="364"/>
                  </a:moveTo>
                  <a:cubicBezTo>
                    <a:pt x="1845" y="359"/>
                    <a:pt x="1845" y="359"/>
                    <a:pt x="1845" y="359"/>
                  </a:cubicBezTo>
                  <a:cubicBezTo>
                    <a:pt x="1828" y="373"/>
                    <a:pt x="1828" y="373"/>
                    <a:pt x="1828" y="373"/>
                  </a:cubicBezTo>
                  <a:cubicBezTo>
                    <a:pt x="1854" y="380"/>
                    <a:pt x="1854" y="380"/>
                    <a:pt x="1854" y="380"/>
                  </a:cubicBezTo>
                  <a:lnTo>
                    <a:pt x="1866" y="364"/>
                  </a:lnTo>
                  <a:close/>
                  <a:moveTo>
                    <a:pt x="1894" y="346"/>
                  </a:moveTo>
                  <a:cubicBezTo>
                    <a:pt x="1869" y="329"/>
                    <a:pt x="1876" y="352"/>
                    <a:pt x="1876" y="352"/>
                  </a:cubicBezTo>
                  <a:cubicBezTo>
                    <a:pt x="1901" y="362"/>
                    <a:pt x="1919" y="363"/>
                    <a:pt x="1894" y="346"/>
                  </a:cubicBezTo>
                  <a:close/>
                  <a:moveTo>
                    <a:pt x="1138" y="13"/>
                  </a:moveTo>
                  <a:cubicBezTo>
                    <a:pt x="1148" y="11"/>
                    <a:pt x="1162" y="1"/>
                    <a:pt x="1155" y="1"/>
                  </a:cubicBezTo>
                  <a:cubicBezTo>
                    <a:pt x="1148" y="1"/>
                    <a:pt x="1100" y="1"/>
                    <a:pt x="1100" y="1"/>
                  </a:cubicBezTo>
                  <a:cubicBezTo>
                    <a:pt x="1097" y="10"/>
                    <a:pt x="1097" y="10"/>
                    <a:pt x="1097" y="10"/>
                  </a:cubicBezTo>
                  <a:cubicBezTo>
                    <a:pt x="1124" y="7"/>
                    <a:pt x="1124" y="7"/>
                    <a:pt x="1124" y="7"/>
                  </a:cubicBezTo>
                  <a:cubicBezTo>
                    <a:pt x="1124" y="7"/>
                    <a:pt x="1128" y="14"/>
                    <a:pt x="1138" y="13"/>
                  </a:cubicBezTo>
                  <a:close/>
                  <a:moveTo>
                    <a:pt x="1163" y="39"/>
                  </a:moveTo>
                  <a:cubicBezTo>
                    <a:pt x="1168" y="39"/>
                    <a:pt x="1176" y="34"/>
                    <a:pt x="1176" y="34"/>
                  </a:cubicBezTo>
                  <a:cubicBezTo>
                    <a:pt x="1176" y="34"/>
                    <a:pt x="1203" y="42"/>
                    <a:pt x="1210" y="35"/>
                  </a:cubicBezTo>
                  <a:cubicBezTo>
                    <a:pt x="1217" y="28"/>
                    <a:pt x="1211" y="17"/>
                    <a:pt x="1189" y="17"/>
                  </a:cubicBezTo>
                  <a:cubicBezTo>
                    <a:pt x="1166" y="17"/>
                    <a:pt x="1145" y="34"/>
                    <a:pt x="1145" y="34"/>
                  </a:cubicBezTo>
                  <a:cubicBezTo>
                    <a:pt x="1149" y="39"/>
                    <a:pt x="1159" y="39"/>
                    <a:pt x="1163" y="39"/>
                  </a:cubicBezTo>
                  <a:close/>
                  <a:moveTo>
                    <a:pt x="1590" y="341"/>
                  </a:moveTo>
                  <a:cubicBezTo>
                    <a:pt x="1623" y="333"/>
                    <a:pt x="1612" y="323"/>
                    <a:pt x="1604" y="319"/>
                  </a:cubicBezTo>
                  <a:cubicBezTo>
                    <a:pt x="1596" y="315"/>
                    <a:pt x="1566" y="319"/>
                    <a:pt x="1566" y="319"/>
                  </a:cubicBezTo>
                  <a:cubicBezTo>
                    <a:pt x="1566" y="319"/>
                    <a:pt x="1572" y="345"/>
                    <a:pt x="1590" y="341"/>
                  </a:cubicBezTo>
                  <a:close/>
                  <a:moveTo>
                    <a:pt x="1062" y="20"/>
                  </a:moveTo>
                  <a:cubicBezTo>
                    <a:pt x="1034" y="17"/>
                    <a:pt x="1034" y="17"/>
                    <a:pt x="1034" y="17"/>
                  </a:cubicBezTo>
                  <a:cubicBezTo>
                    <a:pt x="1041" y="25"/>
                    <a:pt x="1041" y="25"/>
                    <a:pt x="1041" y="25"/>
                  </a:cubicBezTo>
                  <a:lnTo>
                    <a:pt x="1062" y="20"/>
                  </a:lnTo>
                  <a:close/>
                  <a:moveTo>
                    <a:pt x="1264" y="465"/>
                  </a:moveTo>
                  <a:cubicBezTo>
                    <a:pt x="1259" y="473"/>
                    <a:pt x="1324" y="507"/>
                    <a:pt x="1330" y="491"/>
                  </a:cubicBezTo>
                  <a:cubicBezTo>
                    <a:pt x="1336" y="475"/>
                    <a:pt x="1270" y="455"/>
                    <a:pt x="1264" y="465"/>
                  </a:cubicBezTo>
                  <a:close/>
                  <a:moveTo>
                    <a:pt x="2074" y="83"/>
                  </a:moveTo>
                  <a:cubicBezTo>
                    <a:pt x="2084" y="73"/>
                    <a:pt x="2084" y="73"/>
                    <a:pt x="2084" y="73"/>
                  </a:cubicBezTo>
                  <a:cubicBezTo>
                    <a:pt x="2024" y="73"/>
                    <a:pt x="2024" y="73"/>
                    <a:pt x="2024" y="73"/>
                  </a:cubicBezTo>
                  <a:lnTo>
                    <a:pt x="2074" y="83"/>
                  </a:lnTo>
                  <a:close/>
                  <a:moveTo>
                    <a:pt x="1044" y="68"/>
                  </a:moveTo>
                  <a:cubicBezTo>
                    <a:pt x="1090" y="66"/>
                    <a:pt x="1090" y="66"/>
                    <a:pt x="1090" y="66"/>
                  </a:cubicBezTo>
                  <a:cubicBezTo>
                    <a:pt x="1075" y="56"/>
                    <a:pt x="1075" y="56"/>
                    <a:pt x="1075" y="56"/>
                  </a:cubicBezTo>
                  <a:lnTo>
                    <a:pt x="1044" y="68"/>
                  </a:lnTo>
                  <a:close/>
                  <a:moveTo>
                    <a:pt x="1051" y="39"/>
                  </a:moveTo>
                  <a:cubicBezTo>
                    <a:pt x="1064" y="48"/>
                    <a:pt x="1066" y="52"/>
                    <a:pt x="1066" y="52"/>
                  </a:cubicBezTo>
                  <a:cubicBezTo>
                    <a:pt x="1083" y="44"/>
                    <a:pt x="1083" y="44"/>
                    <a:pt x="1083" y="44"/>
                  </a:cubicBezTo>
                  <a:cubicBezTo>
                    <a:pt x="1083" y="44"/>
                    <a:pt x="1076" y="49"/>
                    <a:pt x="1090" y="49"/>
                  </a:cubicBezTo>
                  <a:cubicBezTo>
                    <a:pt x="1104" y="49"/>
                    <a:pt x="1125" y="38"/>
                    <a:pt x="1125" y="38"/>
                  </a:cubicBezTo>
                  <a:cubicBezTo>
                    <a:pt x="1089" y="32"/>
                    <a:pt x="1089" y="32"/>
                    <a:pt x="1089" y="32"/>
                  </a:cubicBezTo>
                  <a:cubicBezTo>
                    <a:pt x="1079" y="38"/>
                    <a:pt x="1079" y="38"/>
                    <a:pt x="1079" y="38"/>
                  </a:cubicBezTo>
                  <a:cubicBezTo>
                    <a:pt x="1079" y="38"/>
                    <a:pt x="1065" y="32"/>
                    <a:pt x="1061" y="34"/>
                  </a:cubicBezTo>
                  <a:cubicBezTo>
                    <a:pt x="1057" y="35"/>
                    <a:pt x="1051" y="39"/>
                    <a:pt x="1051" y="39"/>
                  </a:cubicBezTo>
                  <a:close/>
                  <a:moveTo>
                    <a:pt x="1113" y="23"/>
                  </a:moveTo>
                  <a:cubicBezTo>
                    <a:pt x="1071" y="23"/>
                    <a:pt x="1071" y="23"/>
                    <a:pt x="1071" y="23"/>
                  </a:cubicBezTo>
                  <a:cubicBezTo>
                    <a:pt x="1106" y="31"/>
                    <a:pt x="1106" y="31"/>
                    <a:pt x="1106" y="31"/>
                  </a:cubicBezTo>
                  <a:lnTo>
                    <a:pt x="1113" y="23"/>
                  </a:lnTo>
                  <a:close/>
                  <a:moveTo>
                    <a:pt x="1032" y="349"/>
                  </a:moveTo>
                  <a:cubicBezTo>
                    <a:pt x="1002" y="354"/>
                    <a:pt x="1002" y="354"/>
                    <a:pt x="1002" y="354"/>
                  </a:cubicBezTo>
                  <a:cubicBezTo>
                    <a:pt x="1011" y="366"/>
                    <a:pt x="1011" y="366"/>
                    <a:pt x="1011" y="366"/>
                  </a:cubicBezTo>
                  <a:cubicBezTo>
                    <a:pt x="1030" y="357"/>
                    <a:pt x="1030" y="357"/>
                    <a:pt x="1030" y="357"/>
                  </a:cubicBezTo>
                  <a:cubicBezTo>
                    <a:pt x="1020" y="373"/>
                    <a:pt x="1020" y="373"/>
                    <a:pt x="1020" y="373"/>
                  </a:cubicBezTo>
                  <a:cubicBezTo>
                    <a:pt x="1020" y="373"/>
                    <a:pt x="992" y="379"/>
                    <a:pt x="994" y="390"/>
                  </a:cubicBezTo>
                  <a:cubicBezTo>
                    <a:pt x="996" y="401"/>
                    <a:pt x="1023" y="405"/>
                    <a:pt x="1035" y="405"/>
                  </a:cubicBezTo>
                  <a:cubicBezTo>
                    <a:pt x="1048" y="405"/>
                    <a:pt x="1065" y="408"/>
                    <a:pt x="1076" y="414"/>
                  </a:cubicBezTo>
                  <a:cubicBezTo>
                    <a:pt x="1086" y="420"/>
                    <a:pt x="1085" y="437"/>
                    <a:pt x="1088" y="438"/>
                  </a:cubicBezTo>
                  <a:cubicBezTo>
                    <a:pt x="1091" y="440"/>
                    <a:pt x="1140" y="447"/>
                    <a:pt x="1140" y="447"/>
                  </a:cubicBezTo>
                  <a:cubicBezTo>
                    <a:pt x="1214" y="443"/>
                    <a:pt x="1214" y="443"/>
                    <a:pt x="1214" y="443"/>
                  </a:cubicBezTo>
                  <a:cubicBezTo>
                    <a:pt x="1214" y="443"/>
                    <a:pt x="1154" y="437"/>
                    <a:pt x="1138" y="411"/>
                  </a:cubicBezTo>
                  <a:cubicBezTo>
                    <a:pt x="1122" y="385"/>
                    <a:pt x="1106" y="385"/>
                    <a:pt x="1122" y="361"/>
                  </a:cubicBezTo>
                  <a:cubicBezTo>
                    <a:pt x="1138" y="337"/>
                    <a:pt x="1119" y="335"/>
                    <a:pt x="1119" y="335"/>
                  </a:cubicBezTo>
                  <a:cubicBezTo>
                    <a:pt x="1146" y="331"/>
                    <a:pt x="1146" y="331"/>
                    <a:pt x="1146" y="331"/>
                  </a:cubicBezTo>
                  <a:cubicBezTo>
                    <a:pt x="1135" y="319"/>
                    <a:pt x="1135" y="319"/>
                    <a:pt x="1135" y="319"/>
                  </a:cubicBezTo>
                  <a:cubicBezTo>
                    <a:pt x="1158" y="322"/>
                    <a:pt x="1158" y="322"/>
                    <a:pt x="1158" y="322"/>
                  </a:cubicBezTo>
                  <a:cubicBezTo>
                    <a:pt x="1145" y="314"/>
                    <a:pt x="1145" y="314"/>
                    <a:pt x="1145" y="314"/>
                  </a:cubicBezTo>
                  <a:cubicBezTo>
                    <a:pt x="1161" y="316"/>
                    <a:pt x="1161" y="316"/>
                    <a:pt x="1161" y="316"/>
                  </a:cubicBezTo>
                  <a:cubicBezTo>
                    <a:pt x="1165" y="306"/>
                    <a:pt x="1165" y="306"/>
                    <a:pt x="1165" y="306"/>
                  </a:cubicBezTo>
                  <a:cubicBezTo>
                    <a:pt x="1151" y="299"/>
                    <a:pt x="1151" y="299"/>
                    <a:pt x="1151" y="299"/>
                  </a:cubicBezTo>
                  <a:cubicBezTo>
                    <a:pt x="1151" y="299"/>
                    <a:pt x="1178" y="303"/>
                    <a:pt x="1182" y="299"/>
                  </a:cubicBezTo>
                  <a:cubicBezTo>
                    <a:pt x="1186" y="295"/>
                    <a:pt x="1171" y="285"/>
                    <a:pt x="1171" y="285"/>
                  </a:cubicBezTo>
                  <a:cubicBezTo>
                    <a:pt x="1193" y="287"/>
                    <a:pt x="1193" y="287"/>
                    <a:pt x="1193" y="287"/>
                  </a:cubicBezTo>
                  <a:cubicBezTo>
                    <a:pt x="1191" y="268"/>
                    <a:pt x="1191" y="268"/>
                    <a:pt x="1191" y="268"/>
                  </a:cubicBezTo>
                  <a:cubicBezTo>
                    <a:pt x="1191" y="268"/>
                    <a:pt x="1205" y="279"/>
                    <a:pt x="1223" y="271"/>
                  </a:cubicBezTo>
                  <a:cubicBezTo>
                    <a:pt x="1242" y="264"/>
                    <a:pt x="1254" y="250"/>
                    <a:pt x="1254" y="250"/>
                  </a:cubicBezTo>
                  <a:cubicBezTo>
                    <a:pt x="1254" y="250"/>
                    <a:pt x="1399" y="229"/>
                    <a:pt x="1420" y="220"/>
                  </a:cubicBezTo>
                  <a:cubicBezTo>
                    <a:pt x="1442" y="210"/>
                    <a:pt x="1463" y="195"/>
                    <a:pt x="1430" y="184"/>
                  </a:cubicBezTo>
                  <a:cubicBezTo>
                    <a:pt x="1397" y="172"/>
                    <a:pt x="1363" y="188"/>
                    <a:pt x="1348" y="194"/>
                  </a:cubicBezTo>
                  <a:cubicBezTo>
                    <a:pt x="1334" y="200"/>
                    <a:pt x="1290" y="215"/>
                    <a:pt x="1270" y="212"/>
                  </a:cubicBezTo>
                  <a:cubicBezTo>
                    <a:pt x="1249" y="210"/>
                    <a:pt x="1218" y="206"/>
                    <a:pt x="1218" y="206"/>
                  </a:cubicBezTo>
                  <a:cubicBezTo>
                    <a:pt x="1207" y="223"/>
                    <a:pt x="1207" y="223"/>
                    <a:pt x="1207" y="223"/>
                  </a:cubicBezTo>
                  <a:cubicBezTo>
                    <a:pt x="1190" y="214"/>
                    <a:pt x="1190" y="214"/>
                    <a:pt x="1190" y="214"/>
                  </a:cubicBezTo>
                  <a:cubicBezTo>
                    <a:pt x="1155" y="228"/>
                    <a:pt x="1155" y="228"/>
                    <a:pt x="1155" y="228"/>
                  </a:cubicBezTo>
                  <a:cubicBezTo>
                    <a:pt x="1136" y="227"/>
                    <a:pt x="1136" y="227"/>
                    <a:pt x="1136" y="227"/>
                  </a:cubicBezTo>
                  <a:cubicBezTo>
                    <a:pt x="1117" y="242"/>
                    <a:pt x="1117" y="242"/>
                    <a:pt x="1117" y="242"/>
                  </a:cubicBezTo>
                  <a:cubicBezTo>
                    <a:pt x="1131" y="247"/>
                    <a:pt x="1131" y="247"/>
                    <a:pt x="1131" y="247"/>
                  </a:cubicBezTo>
                  <a:cubicBezTo>
                    <a:pt x="1098" y="248"/>
                    <a:pt x="1098" y="248"/>
                    <a:pt x="1098" y="248"/>
                  </a:cubicBezTo>
                  <a:cubicBezTo>
                    <a:pt x="1079" y="254"/>
                    <a:pt x="1079" y="254"/>
                    <a:pt x="1079" y="254"/>
                  </a:cubicBezTo>
                  <a:cubicBezTo>
                    <a:pt x="1080" y="263"/>
                    <a:pt x="1080" y="263"/>
                    <a:pt x="1080" y="263"/>
                  </a:cubicBezTo>
                  <a:cubicBezTo>
                    <a:pt x="1097" y="254"/>
                    <a:pt x="1097" y="254"/>
                    <a:pt x="1097" y="254"/>
                  </a:cubicBezTo>
                  <a:cubicBezTo>
                    <a:pt x="1098" y="263"/>
                    <a:pt x="1098" y="263"/>
                    <a:pt x="1098" y="263"/>
                  </a:cubicBezTo>
                  <a:cubicBezTo>
                    <a:pt x="1117" y="265"/>
                    <a:pt x="1117" y="265"/>
                    <a:pt x="1117" y="265"/>
                  </a:cubicBezTo>
                  <a:cubicBezTo>
                    <a:pt x="1111" y="273"/>
                    <a:pt x="1111" y="273"/>
                    <a:pt x="1111" y="273"/>
                  </a:cubicBezTo>
                  <a:cubicBezTo>
                    <a:pt x="1085" y="273"/>
                    <a:pt x="1085" y="273"/>
                    <a:pt x="1085" y="273"/>
                  </a:cubicBezTo>
                  <a:cubicBezTo>
                    <a:pt x="1081" y="282"/>
                    <a:pt x="1081" y="282"/>
                    <a:pt x="1081" y="282"/>
                  </a:cubicBezTo>
                  <a:cubicBezTo>
                    <a:pt x="1099" y="285"/>
                    <a:pt x="1099" y="285"/>
                    <a:pt x="1099" y="285"/>
                  </a:cubicBezTo>
                  <a:cubicBezTo>
                    <a:pt x="1068" y="287"/>
                    <a:pt x="1068" y="287"/>
                    <a:pt x="1068" y="287"/>
                  </a:cubicBezTo>
                  <a:cubicBezTo>
                    <a:pt x="1090" y="293"/>
                    <a:pt x="1090" y="293"/>
                    <a:pt x="1090" y="293"/>
                  </a:cubicBezTo>
                  <a:cubicBezTo>
                    <a:pt x="1061" y="295"/>
                    <a:pt x="1061" y="295"/>
                    <a:pt x="1061" y="295"/>
                  </a:cubicBezTo>
                  <a:cubicBezTo>
                    <a:pt x="1059" y="309"/>
                    <a:pt x="1059" y="309"/>
                    <a:pt x="1059" y="309"/>
                  </a:cubicBezTo>
                  <a:cubicBezTo>
                    <a:pt x="1039" y="316"/>
                    <a:pt x="1039" y="316"/>
                    <a:pt x="1039" y="316"/>
                  </a:cubicBezTo>
                  <a:cubicBezTo>
                    <a:pt x="1046" y="326"/>
                    <a:pt x="1046" y="326"/>
                    <a:pt x="1046" y="326"/>
                  </a:cubicBezTo>
                  <a:cubicBezTo>
                    <a:pt x="1073" y="314"/>
                    <a:pt x="1073" y="314"/>
                    <a:pt x="1073" y="314"/>
                  </a:cubicBezTo>
                  <a:cubicBezTo>
                    <a:pt x="1062" y="332"/>
                    <a:pt x="1062" y="332"/>
                    <a:pt x="1062" y="332"/>
                  </a:cubicBezTo>
                  <a:cubicBezTo>
                    <a:pt x="1062" y="332"/>
                    <a:pt x="1041" y="327"/>
                    <a:pt x="1033" y="334"/>
                  </a:cubicBezTo>
                  <a:cubicBezTo>
                    <a:pt x="1026" y="341"/>
                    <a:pt x="1032" y="349"/>
                    <a:pt x="1032" y="349"/>
                  </a:cubicBezTo>
                  <a:close/>
                  <a:moveTo>
                    <a:pt x="3856" y="331"/>
                  </a:moveTo>
                  <a:cubicBezTo>
                    <a:pt x="3904" y="325"/>
                    <a:pt x="3904" y="325"/>
                    <a:pt x="3904" y="325"/>
                  </a:cubicBezTo>
                  <a:cubicBezTo>
                    <a:pt x="3976" y="335"/>
                    <a:pt x="3976" y="335"/>
                    <a:pt x="3976" y="335"/>
                  </a:cubicBezTo>
                  <a:cubicBezTo>
                    <a:pt x="3976" y="335"/>
                    <a:pt x="3954" y="311"/>
                    <a:pt x="3938" y="307"/>
                  </a:cubicBezTo>
                  <a:cubicBezTo>
                    <a:pt x="3922" y="303"/>
                    <a:pt x="3866" y="311"/>
                    <a:pt x="3866" y="311"/>
                  </a:cubicBezTo>
                  <a:lnTo>
                    <a:pt x="3856" y="331"/>
                  </a:lnTo>
                  <a:close/>
                  <a:moveTo>
                    <a:pt x="3858" y="253"/>
                  </a:moveTo>
                  <a:cubicBezTo>
                    <a:pt x="3896" y="257"/>
                    <a:pt x="3896" y="257"/>
                    <a:pt x="3896" y="257"/>
                  </a:cubicBezTo>
                  <a:cubicBezTo>
                    <a:pt x="3906" y="247"/>
                    <a:pt x="3904" y="235"/>
                    <a:pt x="3886" y="235"/>
                  </a:cubicBezTo>
                  <a:cubicBezTo>
                    <a:pt x="3868" y="235"/>
                    <a:pt x="3808" y="221"/>
                    <a:pt x="3816" y="233"/>
                  </a:cubicBezTo>
                  <a:cubicBezTo>
                    <a:pt x="3824" y="245"/>
                    <a:pt x="3858" y="253"/>
                    <a:pt x="3858" y="253"/>
                  </a:cubicBezTo>
                  <a:close/>
                  <a:moveTo>
                    <a:pt x="3818" y="289"/>
                  </a:moveTo>
                  <a:cubicBezTo>
                    <a:pt x="3792" y="315"/>
                    <a:pt x="3848" y="313"/>
                    <a:pt x="3856" y="303"/>
                  </a:cubicBezTo>
                  <a:cubicBezTo>
                    <a:pt x="3864" y="293"/>
                    <a:pt x="3825" y="282"/>
                    <a:pt x="3818" y="289"/>
                  </a:cubicBezTo>
                  <a:close/>
                  <a:moveTo>
                    <a:pt x="2050" y="65"/>
                  </a:moveTo>
                  <a:cubicBezTo>
                    <a:pt x="2050" y="65"/>
                    <a:pt x="2106" y="69"/>
                    <a:pt x="2118" y="65"/>
                  </a:cubicBezTo>
                  <a:cubicBezTo>
                    <a:pt x="2130" y="61"/>
                    <a:pt x="2172" y="65"/>
                    <a:pt x="2164" y="49"/>
                  </a:cubicBezTo>
                  <a:cubicBezTo>
                    <a:pt x="2156" y="33"/>
                    <a:pt x="2082" y="11"/>
                    <a:pt x="2082" y="11"/>
                  </a:cubicBezTo>
                  <a:cubicBezTo>
                    <a:pt x="2082" y="11"/>
                    <a:pt x="2026" y="1"/>
                    <a:pt x="2024" y="21"/>
                  </a:cubicBezTo>
                  <a:cubicBezTo>
                    <a:pt x="2022" y="41"/>
                    <a:pt x="2050" y="65"/>
                    <a:pt x="2050" y="65"/>
                  </a:cubicBezTo>
                  <a:close/>
                  <a:moveTo>
                    <a:pt x="4094" y="273"/>
                  </a:moveTo>
                  <a:cubicBezTo>
                    <a:pt x="4122" y="259"/>
                    <a:pt x="4026" y="259"/>
                    <a:pt x="4026" y="259"/>
                  </a:cubicBezTo>
                  <a:cubicBezTo>
                    <a:pt x="4026" y="259"/>
                    <a:pt x="4006" y="241"/>
                    <a:pt x="3998" y="241"/>
                  </a:cubicBezTo>
                  <a:cubicBezTo>
                    <a:pt x="3990" y="241"/>
                    <a:pt x="3966" y="245"/>
                    <a:pt x="3966" y="245"/>
                  </a:cubicBezTo>
                  <a:cubicBezTo>
                    <a:pt x="3942" y="243"/>
                    <a:pt x="3942" y="243"/>
                    <a:pt x="3942" y="243"/>
                  </a:cubicBezTo>
                  <a:cubicBezTo>
                    <a:pt x="3966" y="259"/>
                    <a:pt x="3966" y="259"/>
                    <a:pt x="3966" y="259"/>
                  </a:cubicBezTo>
                  <a:cubicBezTo>
                    <a:pt x="3966" y="259"/>
                    <a:pt x="4066" y="287"/>
                    <a:pt x="4094" y="273"/>
                  </a:cubicBezTo>
                  <a:close/>
                  <a:moveTo>
                    <a:pt x="5070" y="495"/>
                  </a:moveTo>
                  <a:cubicBezTo>
                    <a:pt x="5078" y="485"/>
                    <a:pt x="5004" y="475"/>
                    <a:pt x="5004" y="475"/>
                  </a:cubicBezTo>
                  <a:cubicBezTo>
                    <a:pt x="5004" y="483"/>
                    <a:pt x="5062" y="505"/>
                    <a:pt x="5070" y="495"/>
                  </a:cubicBezTo>
                  <a:close/>
                  <a:moveTo>
                    <a:pt x="2112" y="81"/>
                  </a:moveTo>
                  <a:cubicBezTo>
                    <a:pt x="2112" y="89"/>
                    <a:pt x="2178" y="95"/>
                    <a:pt x="2178" y="95"/>
                  </a:cubicBezTo>
                  <a:cubicBezTo>
                    <a:pt x="2212" y="91"/>
                    <a:pt x="2212" y="91"/>
                    <a:pt x="2212" y="91"/>
                  </a:cubicBezTo>
                  <a:cubicBezTo>
                    <a:pt x="2250" y="105"/>
                    <a:pt x="2250" y="105"/>
                    <a:pt x="2250" y="105"/>
                  </a:cubicBezTo>
                  <a:cubicBezTo>
                    <a:pt x="2292" y="103"/>
                    <a:pt x="2292" y="103"/>
                    <a:pt x="2292" y="103"/>
                  </a:cubicBezTo>
                  <a:cubicBezTo>
                    <a:pt x="2286" y="85"/>
                    <a:pt x="2268" y="59"/>
                    <a:pt x="2250" y="61"/>
                  </a:cubicBezTo>
                  <a:cubicBezTo>
                    <a:pt x="2232" y="63"/>
                    <a:pt x="2214" y="75"/>
                    <a:pt x="2214" y="75"/>
                  </a:cubicBezTo>
                  <a:cubicBezTo>
                    <a:pt x="2200" y="59"/>
                    <a:pt x="2200" y="59"/>
                    <a:pt x="2200" y="59"/>
                  </a:cubicBezTo>
                  <a:cubicBezTo>
                    <a:pt x="2200" y="59"/>
                    <a:pt x="2112" y="73"/>
                    <a:pt x="2112" y="81"/>
                  </a:cubicBezTo>
                  <a:close/>
                  <a:moveTo>
                    <a:pt x="2392" y="133"/>
                  </a:moveTo>
                  <a:cubicBezTo>
                    <a:pt x="2498" y="127"/>
                    <a:pt x="2498" y="127"/>
                    <a:pt x="2498" y="127"/>
                  </a:cubicBezTo>
                  <a:cubicBezTo>
                    <a:pt x="2470" y="111"/>
                    <a:pt x="2470" y="111"/>
                    <a:pt x="2470" y="111"/>
                  </a:cubicBezTo>
                  <a:cubicBezTo>
                    <a:pt x="2470" y="111"/>
                    <a:pt x="2432" y="91"/>
                    <a:pt x="2422" y="91"/>
                  </a:cubicBezTo>
                  <a:cubicBezTo>
                    <a:pt x="2412" y="91"/>
                    <a:pt x="2394" y="103"/>
                    <a:pt x="2394" y="103"/>
                  </a:cubicBezTo>
                  <a:cubicBezTo>
                    <a:pt x="2394" y="103"/>
                    <a:pt x="2388" y="75"/>
                    <a:pt x="2366" y="75"/>
                  </a:cubicBezTo>
                  <a:cubicBezTo>
                    <a:pt x="2344" y="75"/>
                    <a:pt x="2332" y="141"/>
                    <a:pt x="2332" y="141"/>
                  </a:cubicBezTo>
                  <a:cubicBezTo>
                    <a:pt x="2348" y="149"/>
                    <a:pt x="2348" y="149"/>
                    <a:pt x="2348" y="149"/>
                  </a:cubicBezTo>
                  <a:cubicBezTo>
                    <a:pt x="2366" y="145"/>
                    <a:pt x="2392" y="133"/>
                    <a:pt x="2392" y="133"/>
                  </a:cubicBezTo>
                  <a:close/>
                  <a:moveTo>
                    <a:pt x="3752" y="279"/>
                  </a:moveTo>
                  <a:cubicBezTo>
                    <a:pt x="3762" y="261"/>
                    <a:pt x="3762" y="261"/>
                    <a:pt x="3762" y="261"/>
                  </a:cubicBezTo>
                  <a:cubicBezTo>
                    <a:pt x="3762" y="261"/>
                    <a:pt x="3788" y="261"/>
                    <a:pt x="3798" y="261"/>
                  </a:cubicBezTo>
                  <a:cubicBezTo>
                    <a:pt x="3808" y="261"/>
                    <a:pt x="3838" y="259"/>
                    <a:pt x="3838" y="259"/>
                  </a:cubicBezTo>
                  <a:cubicBezTo>
                    <a:pt x="3796" y="239"/>
                    <a:pt x="3796" y="239"/>
                    <a:pt x="3796" y="239"/>
                  </a:cubicBezTo>
                  <a:cubicBezTo>
                    <a:pt x="3804" y="225"/>
                    <a:pt x="3804" y="225"/>
                    <a:pt x="3804" y="225"/>
                  </a:cubicBezTo>
                  <a:cubicBezTo>
                    <a:pt x="3744" y="213"/>
                    <a:pt x="3744" y="213"/>
                    <a:pt x="3744" y="213"/>
                  </a:cubicBezTo>
                  <a:cubicBezTo>
                    <a:pt x="3754" y="231"/>
                    <a:pt x="3754" y="231"/>
                    <a:pt x="3754" y="231"/>
                  </a:cubicBezTo>
                  <a:cubicBezTo>
                    <a:pt x="3754" y="231"/>
                    <a:pt x="3632" y="191"/>
                    <a:pt x="3634" y="221"/>
                  </a:cubicBezTo>
                  <a:cubicBezTo>
                    <a:pt x="3636" y="251"/>
                    <a:pt x="3752" y="279"/>
                    <a:pt x="3752" y="279"/>
                  </a:cubicBezTo>
                  <a:close/>
                  <a:moveTo>
                    <a:pt x="2882" y="289"/>
                  </a:moveTo>
                  <a:cubicBezTo>
                    <a:pt x="2914" y="295"/>
                    <a:pt x="2914" y="295"/>
                    <a:pt x="2914" y="295"/>
                  </a:cubicBezTo>
                  <a:cubicBezTo>
                    <a:pt x="2934" y="297"/>
                    <a:pt x="2954" y="285"/>
                    <a:pt x="2924" y="279"/>
                  </a:cubicBezTo>
                  <a:cubicBezTo>
                    <a:pt x="2894" y="273"/>
                    <a:pt x="2882" y="289"/>
                    <a:pt x="2882" y="289"/>
                  </a:cubicBezTo>
                  <a:close/>
                  <a:moveTo>
                    <a:pt x="3618" y="235"/>
                  </a:moveTo>
                  <a:cubicBezTo>
                    <a:pt x="3582" y="223"/>
                    <a:pt x="3582" y="223"/>
                    <a:pt x="3582" y="223"/>
                  </a:cubicBezTo>
                  <a:cubicBezTo>
                    <a:pt x="3598" y="245"/>
                    <a:pt x="3598" y="245"/>
                    <a:pt x="3598" y="245"/>
                  </a:cubicBezTo>
                  <a:lnTo>
                    <a:pt x="3618" y="235"/>
                  </a:lnTo>
                  <a:close/>
                  <a:moveTo>
                    <a:pt x="5328" y="443"/>
                  </a:moveTo>
                  <a:cubicBezTo>
                    <a:pt x="5340" y="439"/>
                    <a:pt x="5358" y="437"/>
                    <a:pt x="5384" y="437"/>
                  </a:cubicBezTo>
                  <a:cubicBezTo>
                    <a:pt x="5410" y="437"/>
                    <a:pt x="5414" y="421"/>
                    <a:pt x="5396" y="419"/>
                  </a:cubicBezTo>
                  <a:cubicBezTo>
                    <a:pt x="5378" y="417"/>
                    <a:pt x="5346" y="405"/>
                    <a:pt x="5334" y="405"/>
                  </a:cubicBezTo>
                  <a:cubicBezTo>
                    <a:pt x="5322" y="405"/>
                    <a:pt x="5294" y="405"/>
                    <a:pt x="5294" y="427"/>
                  </a:cubicBezTo>
                  <a:cubicBezTo>
                    <a:pt x="5294" y="451"/>
                    <a:pt x="5316" y="447"/>
                    <a:pt x="5328" y="443"/>
                  </a:cubicBezTo>
                  <a:close/>
                  <a:moveTo>
                    <a:pt x="111" y="1194"/>
                  </a:moveTo>
                  <a:cubicBezTo>
                    <a:pt x="103" y="1195"/>
                    <a:pt x="79" y="1198"/>
                    <a:pt x="79" y="1198"/>
                  </a:cubicBezTo>
                  <a:cubicBezTo>
                    <a:pt x="77" y="1192"/>
                    <a:pt x="77" y="1192"/>
                    <a:pt x="77" y="1192"/>
                  </a:cubicBezTo>
                  <a:cubicBezTo>
                    <a:pt x="69" y="1193"/>
                    <a:pt x="69" y="1193"/>
                    <a:pt x="69" y="1193"/>
                  </a:cubicBezTo>
                  <a:cubicBezTo>
                    <a:pt x="66" y="1187"/>
                    <a:pt x="66" y="1187"/>
                    <a:pt x="66" y="1187"/>
                  </a:cubicBezTo>
                  <a:cubicBezTo>
                    <a:pt x="61" y="1187"/>
                    <a:pt x="61" y="1187"/>
                    <a:pt x="61" y="1187"/>
                  </a:cubicBezTo>
                  <a:cubicBezTo>
                    <a:pt x="61" y="1192"/>
                    <a:pt x="53" y="1201"/>
                    <a:pt x="53" y="1201"/>
                  </a:cubicBezTo>
                  <a:cubicBezTo>
                    <a:pt x="53" y="1201"/>
                    <a:pt x="12" y="1196"/>
                    <a:pt x="6" y="1203"/>
                  </a:cubicBezTo>
                  <a:cubicBezTo>
                    <a:pt x="0" y="1210"/>
                    <a:pt x="13" y="1219"/>
                    <a:pt x="13" y="1219"/>
                  </a:cubicBezTo>
                  <a:cubicBezTo>
                    <a:pt x="8" y="1228"/>
                    <a:pt x="8" y="1228"/>
                    <a:pt x="8" y="1228"/>
                  </a:cubicBezTo>
                  <a:cubicBezTo>
                    <a:pt x="8" y="1227"/>
                    <a:pt x="8" y="1227"/>
                    <a:pt x="8" y="1227"/>
                  </a:cubicBezTo>
                  <a:cubicBezTo>
                    <a:pt x="13" y="1232"/>
                    <a:pt x="13" y="1232"/>
                    <a:pt x="13" y="1232"/>
                  </a:cubicBezTo>
                  <a:cubicBezTo>
                    <a:pt x="13" y="1232"/>
                    <a:pt x="25" y="1227"/>
                    <a:pt x="34" y="1229"/>
                  </a:cubicBezTo>
                  <a:cubicBezTo>
                    <a:pt x="43" y="1231"/>
                    <a:pt x="51" y="1236"/>
                    <a:pt x="51" y="1236"/>
                  </a:cubicBezTo>
                  <a:cubicBezTo>
                    <a:pt x="51" y="1236"/>
                    <a:pt x="82" y="1234"/>
                    <a:pt x="90" y="1235"/>
                  </a:cubicBezTo>
                  <a:cubicBezTo>
                    <a:pt x="98" y="1236"/>
                    <a:pt x="113" y="1236"/>
                    <a:pt x="113" y="1236"/>
                  </a:cubicBezTo>
                  <a:cubicBezTo>
                    <a:pt x="113" y="1236"/>
                    <a:pt x="109" y="1230"/>
                    <a:pt x="117" y="1231"/>
                  </a:cubicBezTo>
                  <a:cubicBezTo>
                    <a:pt x="112" y="1221"/>
                    <a:pt x="112" y="1221"/>
                    <a:pt x="112" y="1221"/>
                  </a:cubicBezTo>
                  <a:cubicBezTo>
                    <a:pt x="112" y="1221"/>
                    <a:pt x="120" y="1214"/>
                    <a:pt x="121" y="1209"/>
                  </a:cubicBezTo>
                  <a:cubicBezTo>
                    <a:pt x="122" y="1204"/>
                    <a:pt x="119" y="1193"/>
                    <a:pt x="111" y="1194"/>
                  </a:cubicBezTo>
                  <a:close/>
                  <a:moveTo>
                    <a:pt x="698" y="59"/>
                  </a:moveTo>
                  <a:cubicBezTo>
                    <a:pt x="712" y="49"/>
                    <a:pt x="712" y="49"/>
                    <a:pt x="712" y="49"/>
                  </a:cubicBezTo>
                  <a:cubicBezTo>
                    <a:pt x="712" y="49"/>
                    <a:pt x="677" y="42"/>
                    <a:pt x="698" y="59"/>
                  </a:cubicBezTo>
                  <a:close/>
                  <a:moveTo>
                    <a:pt x="664" y="48"/>
                  </a:moveTo>
                  <a:cubicBezTo>
                    <a:pt x="720" y="35"/>
                    <a:pt x="720" y="35"/>
                    <a:pt x="720" y="35"/>
                  </a:cubicBezTo>
                  <a:cubicBezTo>
                    <a:pt x="702" y="30"/>
                    <a:pt x="702" y="30"/>
                    <a:pt x="702" y="30"/>
                  </a:cubicBezTo>
                  <a:cubicBezTo>
                    <a:pt x="668" y="38"/>
                    <a:pt x="668" y="38"/>
                    <a:pt x="668" y="38"/>
                  </a:cubicBezTo>
                  <a:cubicBezTo>
                    <a:pt x="634" y="37"/>
                    <a:pt x="634" y="37"/>
                    <a:pt x="634" y="37"/>
                  </a:cubicBezTo>
                  <a:cubicBezTo>
                    <a:pt x="650" y="44"/>
                    <a:pt x="650" y="44"/>
                    <a:pt x="650" y="44"/>
                  </a:cubicBezTo>
                  <a:lnTo>
                    <a:pt x="664" y="48"/>
                  </a:lnTo>
                  <a:close/>
                  <a:moveTo>
                    <a:pt x="754" y="61"/>
                  </a:moveTo>
                  <a:cubicBezTo>
                    <a:pt x="757" y="51"/>
                    <a:pt x="757" y="51"/>
                    <a:pt x="757" y="51"/>
                  </a:cubicBezTo>
                  <a:cubicBezTo>
                    <a:pt x="774" y="51"/>
                    <a:pt x="774" y="51"/>
                    <a:pt x="774" y="51"/>
                  </a:cubicBezTo>
                  <a:cubicBezTo>
                    <a:pt x="779" y="45"/>
                    <a:pt x="779" y="45"/>
                    <a:pt x="779" y="45"/>
                  </a:cubicBezTo>
                  <a:cubicBezTo>
                    <a:pt x="779" y="45"/>
                    <a:pt x="806" y="48"/>
                    <a:pt x="816" y="42"/>
                  </a:cubicBezTo>
                  <a:cubicBezTo>
                    <a:pt x="826" y="37"/>
                    <a:pt x="791" y="37"/>
                    <a:pt x="791" y="37"/>
                  </a:cubicBezTo>
                  <a:cubicBezTo>
                    <a:pt x="791" y="37"/>
                    <a:pt x="791" y="27"/>
                    <a:pt x="774" y="27"/>
                  </a:cubicBezTo>
                  <a:cubicBezTo>
                    <a:pt x="757" y="27"/>
                    <a:pt x="755" y="45"/>
                    <a:pt x="755" y="45"/>
                  </a:cubicBezTo>
                  <a:cubicBezTo>
                    <a:pt x="755" y="45"/>
                    <a:pt x="719" y="51"/>
                    <a:pt x="722" y="56"/>
                  </a:cubicBezTo>
                  <a:cubicBezTo>
                    <a:pt x="724" y="62"/>
                    <a:pt x="754" y="61"/>
                    <a:pt x="754" y="61"/>
                  </a:cubicBezTo>
                  <a:close/>
                  <a:moveTo>
                    <a:pt x="786" y="53"/>
                  </a:moveTo>
                  <a:cubicBezTo>
                    <a:pt x="776" y="59"/>
                    <a:pt x="776" y="59"/>
                    <a:pt x="776" y="59"/>
                  </a:cubicBezTo>
                  <a:cubicBezTo>
                    <a:pt x="789" y="66"/>
                    <a:pt x="789" y="66"/>
                    <a:pt x="789" y="66"/>
                  </a:cubicBezTo>
                  <a:cubicBezTo>
                    <a:pt x="802" y="72"/>
                    <a:pt x="802" y="72"/>
                    <a:pt x="802" y="72"/>
                  </a:cubicBezTo>
                  <a:cubicBezTo>
                    <a:pt x="834" y="69"/>
                    <a:pt x="834" y="69"/>
                    <a:pt x="834" y="69"/>
                  </a:cubicBezTo>
                  <a:cubicBezTo>
                    <a:pt x="833" y="61"/>
                    <a:pt x="833" y="61"/>
                    <a:pt x="833" y="61"/>
                  </a:cubicBezTo>
                  <a:cubicBezTo>
                    <a:pt x="810" y="61"/>
                    <a:pt x="810" y="61"/>
                    <a:pt x="810" y="61"/>
                  </a:cubicBezTo>
                  <a:lnTo>
                    <a:pt x="786" y="53"/>
                  </a:lnTo>
                  <a:close/>
                  <a:moveTo>
                    <a:pt x="5213" y="1622"/>
                  </a:moveTo>
                  <a:cubicBezTo>
                    <a:pt x="5191" y="1599"/>
                    <a:pt x="5191" y="1599"/>
                    <a:pt x="5191" y="1599"/>
                  </a:cubicBezTo>
                  <a:cubicBezTo>
                    <a:pt x="5191" y="1599"/>
                    <a:pt x="5169" y="1593"/>
                    <a:pt x="5156" y="1575"/>
                  </a:cubicBezTo>
                  <a:cubicBezTo>
                    <a:pt x="5144" y="1557"/>
                    <a:pt x="5136" y="1516"/>
                    <a:pt x="5136" y="1516"/>
                  </a:cubicBezTo>
                  <a:cubicBezTo>
                    <a:pt x="5136" y="1516"/>
                    <a:pt x="5112" y="1502"/>
                    <a:pt x="5125" y="1495"/>
                  </a:cubicBezTo>
                  <a:cubicBezTo>
                    <a:pt x="5137" y="1488"/>
                    <a:pt x="5213" y="1526"/>
                    <a:pt x="5213" y="1526"/>
                  </a:cubicBezTo>
                  <a:cubicBezTo>
                    <a:pt x="5163" y="1489"/>
                    <a:pt x="5163" y="1489"/>
                    <a:pt x="5163" y="1489"/>
                  </a:cubicBezTo>
                  <a:cubicBezTo>
                    <a:pt x="5163" y="1489"/>
                    <a:pt x="5144" y="1459"/>
                    <a:pt x="5134" y="1452"/>
                  </a:cubicBezTo>
                  <a:cubicBezTo>
                    <a:pt x="5125" y="1445"/>
                    <a:pt x="5109" y="1435"/>
                    <a:pt x="5109" y="1435"/>
                  </a:cubicBezTo>
                  <a:cubicBezTo>
                    <a:pt x="5057" y="1379"/>
                    <a:pt x="5057" y="1379"/>
                    <a:pt x="5057" y="1379"/>
                  </a:cubicBezTo>
                  <a:cubicBezTo>
                    <a:pt x="5040" y="1380"/>
                    <a:pt x="5040" y="1380"/>
                    <a:pt x="5040" y="1380"/>
                  </a:cubicBezTo>
                  <a:cubicBezTo>
                    <a:pt x="5033" y="1361"/>
                    <a:pt x="5033" y="1361"/>
                    <a:pt x="5033" y="1361"/>
                  </a:cubicBezTo>
                  <a:cubicBezTo>
                    <a:pt x="5033" y="1361"/>
                    <a:pt x="5023" y="1363"/>
                    <a:pt x="5011" y="1351"/>
                  </a:cubicBezTo>
                  <a:cubicBezTo>
                    <a:pt x="4999" y="1338"/>
                    <a:pt x="5003" y="1322"/>
                    <a:pt x="5003" y="1322"/>
                  </a:cubicBezTo>
                  <a:cubicBezTo>
                    <a:pt x="4983" y="1297"/>
                    <a:pt x="4983" y="1297"/>
                    <a:pt x="4983" y="1297"/>
                  </a:cubicBezTo>
                  <a:cubicBezTo>
                    <a:pt x="4969" y="1298"/>
                    <a:pt x="4969" y="1298"/>
                    <a:pt x="4969" y="1298"/>
                  </a:cubicBezTo>
                  <a:cubicBezTo>
                    <a:pt x="4960" y="1279"/>
                    <a:pt x="4960" y="1279"/>
                    <a:pt x="4960" y="1279"/>
                  </a:cubicBezTo>
                  <a:cubicBezTo>
                    <a:pt x="4933" y="1259"/>
                    <a:pt x="4933" y="1259"/>
                    <a:pt x="4933" y="1259"/>
                  </a:cubicBezTo>
                  <a:cubicBezTo>
                    <a:pt x="4925" y="1243"/>
                    <a:pt x="4925" y="1243"/>
                    <a:pt x="4925" y="1243"/>
                  </a:cubicBezTo>
                  <a:cubicBezTo>
                    <a:pt x="4925" y="1243"/>
                    <a:pt x="4907" y="1230"/>
                    <a:pt x="4900" y="1235"/>
                  </a:cubicBezTo>
                  <a:cubicBezTo>
                    <a:pt x="4893" y="1239"/>
                    <a:pt x="4939" y="1272"/>
                    <a:pt x="4933" y="1275"/>
                  </a:cubicBezTo>
                  <a:cubicBezTo>
                    <a:pt x="4928" y="1277"/>
                    <a:pt x="4915" y="1262"/>
                    <a:pt x="4913" y="1277"/>
                  </a:cubicBezTo>
                  <a:cubicBezTo>
                    <a:pt x="4910" y="1293"/>
                    <a:pt x="4939" y="1322"/>
                    <a:pt x="4939" y="1322"/>
                  </a:cubicBezTo>
                  <a:cubicBezTo>
                    <a:pt x="4939" y="1322"/>
                    <a:pt x="4946" y="1340"/>
                    <a:pt x="4953" y="1347"/>
                  </a:cubicBezTo>
                  <a:cubicBezTo>
                    <a:pt x="4960" y="1354"/>
                    <a:pt x="5007" y="1384"/>
                    <a:pt x="5018" y="1398"/>
                  </a:cubicBezTo>
                  <a:cubicBezTo>
                    <a:pt x="5029" y="1412"/>
                    <a:pt x="5028" y="1434"/>
                    <a:pt x="5041" y="1445"/>
                  </a:cubicBezTo>
                  <a:cubicBezTo>
                    <a:pt x="5055" y="1456"/>
                    <a:pt x="5087" y="1512"/>
                    <a:pt x="5087" y="1512"/>
                  </a:cubicBezTo>
                  <a:cubicBezTo>
                    <a:pt x="5087" y="1512"/>
                    <a:pt x="5093" y="1535"/>
                    <a:pt x="5100" y="1535"/>
                  </a:cubicBezTo>
                  <a:cubicBezTo>
                    <a:pt x="5107" y="1535"/>
                    <a:pt x="5120" y="1545"/>
                    <a:pt x="5127" y="1555"/>
                  </a:cubicBezTo>
                  <a:cubicBezTo>
                    <a:pt x="5134" y="1564"/>
                    <a:pt x="5134" y="1584"/>
                    <a:pt x="5134" y="1584"/>
                  </a:cubicBezTo>
                  <a:cubicBezTo>
                    <a:pt x="5162" y="1607"/>
                    <a:pt x="5162" y="1607"/>
                    <a:pt x="5162" y="1607"/>
                  </a:cubicBezTo>
                  <a:cubicBezTo>
                    <a:pt x="5172" y="1643"/>
                    <a:pt x="5172" y="1643"/>
                    <a:pt x="5172" y="1643"/>
                  </a:cubicBezTo>
                  <a:cubicBezTo>
                    <a:pt x="5198" y="1671"/>
                    <a:pt x="5198" y="1671"/>
                    <a:pt x="5198" y="1671"/>
                  </a:cubicBezTo>
                  <a:cubicBezTo>
                    <a:pt x="5198" y="1671"/>
                    <a:pt x="5184" y="1632"/>
                    <a:pt x="5193" y="1629"/>
                  </a:cubicBezTo>
                  <a:cubicBezTo>
                    <a:pt x="5201" y="1627"/>
                    <a:pt x="5205" y="1636"/>
                    <a:pt x="5205" y="1636"/>
                  </a:cubicBezTo>
                  <a:cubicBezTo>
                    <a:pt x="5226" y="1636"/>
                    <a:pt x="5226" y="1636"/>
                    <a:pt x="5226" y="1636"/>
                  </a:cubicBezTo>
                  <a:cubicBezTo>
                    <a:pt x="5248" y="1663"/>
                    <a:pt x="5248" y="1663"/>
                    <a:pt x="5248" y="1663"/>
                  </a:cubicBezTo>
                  <a:cubicBezTo>
                    <a:pt x="5249" y="1646"/>
                    <a:pt x="5249" y="1646"/>
                    <a:pt x="5249" y="1646"/>
                  </a:cubicBezTo>
                  <a:cubicBezTo>
                    <a:pt x="5229" y="1621"/>
                    <a:pt x="5229" y="1621"/>
                    <a:pt x="5229" y="1621"/>
                  </a:cubicBezTo>
                  <a:lnTo>
                    <a:pt x="5213" y="1622"/>
                  </a:lnTo>
                  <a:close/>
                  <a:moveTo>
                    <a:pt x="899" y="58"/>
                  </a:moveTo>
                  <a:cubicBezTo>
                    <a:pt x="905" y="46"/>
                    <a:pt x="905" y="46"/>
                    <a:pt x="905" y="46"/>
                  </a:cubicBezTo>
                  <a:cubicBezTo>
                    <a:pt x="876" y="42"/>
                    <a:pt x="876" y="42"/>
                    <a:pt x="876" y="42"/>
                  </a:cubicBezTo>
                  <a:cubicBezTo>
                    <a:pt x="861" y="52"/>
                    <a:pt x="861" y="52"/>
                    <a:pt x="861" y="52"/>
                  </a:cubicBezTo>
                  <a:cubicBezTo>
                    <a:pt x="864" y="61"/>
                    <a:pt x="864" y="61"/>
                    <a:pt x="864" y="61"/>
                  </a:cubicBezTo>
                  <a:lnTo>
                    <a:pt x="899" y="58"/>
                  </a:lnTo>
                  <a:close/>
                  <a:moveTo>
                    <a:pt x="771" y="1607"/>
                  </a:moveTo>
                  <a:cubicBezTo>
                    <a:pt x="771" y="1607"/>
                    <a:pt x="773" y="1608"/>
                    <a:pt x="774" y="1608"/>
                  </a:cubicBezTo>
                  <a:cubicBezTo>
                    <a:pt x="773" y="1608"/>
                    <a:pt x="771" y="1607"/>
                    <a:pt x="771" y="1607"/>
                  </a:cubicBezTo>
                  <a:close/>
                  <a:moveTo>
                    <a:pt x="771" y="1607"/>
                  </a:moveTo>
                  <a:cubicBezTo>
                    <a:pt x="770" y="1607"/>
                    <a:pt x="770" y="1607"/>
                    <a:pt x="770" y="1607"/>
                  </a:cubicBezTo>
                  <a:cubicBezTo>
                    <a:pt x="770" y="1607"/>
                    <a:pt x="770" y="1607"/>
                    <a:pt x="771" y="1607"/>
                  </a:cubicBezTo>
                  <a:close/>
                  <a:moveTo>
                    <a:pt x="6034" y="664"/>
                  </a:moveTo>
                  <a:cubicBezTo>
                    <a:pt x="6023" y="650"/>
                    <a:pt x="5993" y="645"/>
                    <a:pt x="5993" y="645"/>
                  </a:cubicBezTo>
                  <a:cubicBezTo>
                    <a:pt x="5962" y="631"/>
                    <a:pt x="5962" y="631"/>
                    <a:pt x="5962" y="631"/>
                  </a:cubicBezTo>
                  <a:cubicBezTo>
                    <a:pt x="5935" y="632"/>
                    <a:pt x="5935" y="632"/>
                    <a:pt x="5935" y="632"/>
                  </a:cubicBezTo>
                  <a:cubicBezTo>
                    <a:pt x="5915" y="619"/>
                    <a:pt x="5915" y="619"/>
                    <a:pt x="5915" y="619"/>
                  </a:cubicBezTo>
                  <a:cubicBezTo>
                    <a:pt x="5854" y="615"/>
                    <a:pt x="5854" y="615"/>
                    <a:pt x="5854" y="615"/>
                  </a:cubicBezTo>
                  <a:cubicBezTo>
                    <a:pt x="5829" y="603"/>
                    <a:pt x="5829" y="603"/>
                    <a:pt x="5829" y="603"/>
                  </a:cubicBezTo>
                  <a:cubicBezTo>
                    <a:pt x="5805" y="605"/>
                    <a:pt x="5805" y="605"/>
                    <a:pt x="5805" y="605"/>
                  </a:cubicBezTo>
                  <a:cubicBezTo>
                    <a:pt x="5838" y="630"/>
                    <a:pt x="5838" y="630"/>
                    <a:pt x="5838" y="630"/>
                  </a:cubicBezTo>
                  <a:cubicBezTo>
                    <a:pt x="5874" y="646"/>
                    <a:pt x="5874" y="646"/>
                    <a:pt x="5874" y="646"/>
                  </a:cubicBezTo>
                  <a:cubicBezTo>
                    <a:pt x="5874" y="646"/>
                    <a:pt x="5834" y="652"/>
                    <a:pt x="5822" y="642"/>
                  </a:cubicBezTo>
                  <a:cubicBezTo>
                    <a:pt x="5810" y="632"/>
                    <a:pt x="5809" y="610"/>
                    <a:pt x="5756" y="592"/>
                  </a:cubicBezTo>
                  <a:cubicBezTo>
                    <a:pt x="5703" y="574"/>
                    <a:pt x="5687" y="567"/>
                    <a:pt x="5633" y="558"/>
                  </a:cubicBezTo>
                  <a:cubicBezTo>
                    <a:pt x="5579" y="549"/>
                    <a:pt x="5466" y="523"/>
                    <a:pt x="5412" y="510"/>
                  </a:cubicBezTo>
                  <a:cubicBezTo>
                    <a:pt x="5358" y="497"/>
                    <a:pt x="5297" y="488"/>
                    <a:pt x="5297" y="488"/>
                  </a:cubicBezTo>
                  <a:cubicBezTo>
                    <a:pt x="5175" y="490"/>
                    <a:pt x="5175" y="490"/>
                    <a:pt x="5175" y="490"/>
                  </a:cubicBezTo>
                  <a:cubicBezTo>
                    <a:pt x="5166" y="478"/>
                    <a:pt x="5166" y="478"/>
                    <a:pt x="5166" y="478"/>
                  </a:cubicBezTo>
                  <a:cubicBezTo>
                    <a:pt x="5135" y="480"/>
                    <a:pt x="5135" y="480"/>
                    <a:pt x="5135" y="480"/>
                  </a:cubicBezTo>
                  <a:cubicBezTo>
                    <a:pt x="5124" y="472"/>
                    <a:pt x="5124" y="472"/>
                    <a:pt x="5124" y="472"/>
                  </a:cubicBezTo>
                  <a:cubicBezTo>
                    <a:pt x="5088" y="471"/>
                    <a:pt x="5088" y="471"/>
                    <a:pt x="5088" y="471"/>
                  </a:cubicBezTo>
                  <a:cubicBezTo>
                    <a:pt x="5105" y="483"/>
                    <a:pt x="5105" y="483"/>
                    <a:pt x="5105" y="483"/>
                  </a:cubicBezTo>
                  <a:cubicBezTo>
                    <a:pt x="5100" y="497"/>
                    <a:pt x="5100" y="497"/>
                    <a:pt x="5100" y="497"/>
                  </a:cubicBezTo>
                  <a:cubicBezTo>
                    <a:pt x="5100" y="497"/>
                    <a:pt x="5199" y="520"/>
                    <a:pt x="5170" y="533"/>
                  </a:cubicBezTo>
                  <a:cubicBezTo>
                    <a:pt x="5141" y="546"/>
                    <a:pt x="5123" y="529"/>
                    <a:pt x="5123" y="529"/>
                  </a:cubicBezTo>
                  <a:cubicBezTo>
                    <a:pt x="5106" y="515"/>
                    <a:pt x="5106" y="515"/>
                    <a:pt x="5106" y="515"/>
                  </a:cubicBezTo>
                  <a:cubicBezTo>
                    <a:pt x="5061" y="515"/>
                    <a:pt x="5061" y="515"/>
                    <a:pt x="5061" y="515"/>
                  </a:cubicBezTo>
                  <a:cubicBezTo>
                    <a:pt x="5024" y="492"/>
                    <a:pt x="5024" y="492"/>
                    <a:pt x="5024" y="492"/>
                  </a:cubicBezTo>
                  <a:cubicBezTo>
                    <a:pt x="5024" y="492"/>
                    <a:pt x="5006" y="496"/>
                    <a:pt x="5002" y="499"/>
                  </a:cubicBezTo>
                  <a:cubicBezTo>
                    <a:pt x="4998" y="502"/>
                    <a:pt x="4966" y="501"/>
                    <a:pt x="4966" y="501"/>
                  </a:cubicBezTo>
                  <a:cubicBezTo>
                    <a:pt x="4962" y="493"/>
                    <a:pt x="4962" y="493"/>
                    <a:pt x="4962" y="493"/>
                  </a:cubicBezTo>
                  <a:cubicBezTo>
                    <a:pt x="4900" y="496"/>
                    <a:pt x="4900" y="496"/>
                    <a:pt x="4900" y="496"/>
                  </a:cubicBezTo>
                  <a:cubicBezTo>
                    <a:pt x="4884" y="484"/>
                    <a:pt x="4884" y="484"/>
                    <a:pt x="4884" y="484"/>
                  </a:cubicBezTo>
                  <a:cubicBezTo>
                    <a:pt x="4879" y="490"/>
                    <a:pt x="4879" y="490"/>
                    <a:pt x="4879" y="490"/>
                  </a:cubicBezTo>
                  <a:cubicBezTo>
                    <a:pt x="4879" y="490"/>
                    <a:pt x="4801" y="483"/>
                    <a:pt x="4806" y="493"/>
                  </a:cubicBezTo>
                  <a:cubicBezTo>
                    <a:pt x="4811" y="503"/>
                    <a:pt x="4840" y="527"/>
                    <a:pt x="4840" y="527"/>
                  </a:cubicBezTo>
                  <a:cubicBezTo>
                    <a:pt x="4840" y="527"/>
                    <a:pt x="4804" y="506"/>
                    <a:pt x="4799" y="501"/>
                  </a:cubicBezTo>
                  <a:cubicBezTo>
                    <a:pt x="4794" y="496"/>
                    <a:pt x="4728" y="488"/>
                    <a:pt x="4728" y="488"/>
                  </a:cubicBezTo>
                  <a:cubicBezTo>
                    <a:pt x="4728" y="488"/>
                    <a:pt x="4718" y="470"/>
                    <a:pt x="4693" y="457"/>
                  </a:cubicBezTo>
                  <a:cubicBezTo>
                    <a:pt x="4668" y="444"/>
                    <a:pt x="4630" y="438"/>
                    <a:pt x="4613" y="437"/>
                  </a:cubicBezTo>
                  <a:cubicBezTo>
                    <a:pt x="4596" y="436"/>
                    <a:pt x="4561" y="432"/>
                    <a:pt x="4561" y="432"/>
                  </a:cubicBezTo>
                  <a:cubicBezTo>
                    <a:pt x="4527" y="425"/>
                    <a:pt x="4527" y="425"/>
                    <a:pt x="4527" y="425"/>
                  </a:cubicBezTo>
                  <a:cubicBezTo>
                    <a:pt x="4518" y="429"/>
                    <a:pt x="4518" y="429"/>
                    <a:pt x="4518" y="429"/>
                  </a:cubicBezTo>
                  <a:cubicBezTo>
                    <a:pt x="4478" y="427"/>
                    <a:pt x="4478" y="427"/>
                    <a:pt x="4478" y="427"/>
                  </a:cubicBezTo>
                  <a:cubicBezTo>
                    <a:pt x="4478" y="427"/>
                    <a:pt x="4473" y="447"/>
                    <a:pt x="4451" y="444"/>
                  </a:cubicBezTo>
                  <a:cubicBezTo>
                    <a:pt x="4429" y="441"/>
                    <a:pt x="4400" y="439"/>
                    <a:pt x="4400" y="439"/>
                  </a:cubicBezTo>
                  <a:cubicBezTo>
                    <a:pt x="4400" y="439"/>
                    <a:pt x="4370" y="419"/>
                    <a:pt x="4353" y="418"/>
                  </a:cubicBezTo>
                  <a:cubicBezTo>
                    <a:pt x="4336" y="417"/>
                    <a:pt x="4327" y="420"/>
                    <a:pt x="4327" y="420"/>
                  </a:cubicBezTo>
                  <a:cubicBezTo>
                    <a:pt x="4321" y="409"/>
                    <a:pt x="4321" y="409"/>
                    <a:pt x="4321" y="409"/>
                  </a:cubicBezTo>
                  <a:cubicBezTo>
                    <a:pt x="4296" y="407"/>
                    <a:pt x="4296" y="407"/>
                    <a:pt x="4296" y="407"/>
                  </a:cubicBezTo>
                  <a:cubicBezTo>
                    <a:pt x="4253" y="403"/>
                    <a:pt x="4253" y="403"/>
                    <a:pt x="4253" y="403"/>
                  </a:cubicBezTo>
                  <a:cubicBezTo>
                    <a:pt x="4277" y="395"/>
                    <a:pt x="4277" y="395"/>
                    <a:pt x="4277" y="395"/>
                  </a:cubicBezTo>
                  <a:cubicBezTo>
                    <a:pt x="4251" y="382"/>
                    <a:pt x="4251" y="382"/>
                    <a:pt x="4251" y="382"/>
                  </a:cubicBezTo>
                  <a:cubicBezTo>
                    <a:pt x="4251" y="382"/>
                    <a:pt x="4158" y="369"/>
                    <a:pt x="4155" y="375"/>
                  </a:cubicBezTo>
                  <a:cubicBezTo>
                    <a:pt x="4152" y="381"/>
                    <a:pt x="4164" y="400"/>
                    <a:pt x="4149" y="401"/>
                  </a:cubicBezTo>
                  <a:cubicBezTo>
                    <a:pt x="4134" y="402"/>
                    <a:pt x="4114" y="398"/>
                    <a:pt x="4114" y="398"/>
                  </a:cubicBezTo>
                  <a:cubicBezTo>
                    <a:pt x="4126" y="390"/>
                    <a:pt x="4126" y="390"/>
                    <a:pt x="4126" y="390"/>
                  </a:cubicBezTo>
                  <a:cubicBezTo>
                    <a:pt x="4116" y="380"/>
                    <a:pt x="4116" y="380"/>
                    <a:pt x="4116" y="380"/>
                  </a:cubicBezTo>
                  <a:cubicBezTo>
                    <a:pt x="4116" y="380"/>
                    <a:pt x="4110" y="380"/>
                    <a:pt x="4096" y="382"/>
                  </a:cubicBezTo>
                  <a:cubicBezTo>
                    <a:pt x="4082" y="384"/>
                    <a:pt x="4068" y="379"/>
                    <a:pt x="4068" y="379"/>
                  </a:cubicBezTo>
                  <a:cubicBezTo>
                    <a:pt x="4079" y="374"/>
                    <a:pt x="4079" y="374"/>
                    <a:pt x="4079" y="374"/>
                  </a:cubicBezTo>
                  <a:cubicBezTo>
                    <a:pt x="4109" y="371"/>
                    <a:pt x="4109" y="371"/>
                    <a:pt x="4109" y="371"/>
                  </a:cubicBezTo>
                  <a:cubicBezTo>
                    <a:pt x="4147" y="394"/>
                    <a:pt x="4147" y="394"/>
                    <a:pt x="4147" y="394"/>
                  </a:cubicBezTo>
                  <a:cubicBezTo>
                    <a:pt x="4149" y="375"/>
                    <a:pt x="4149" y="375"/>
                    <a:pt x="4149" y="375"/>
                  </a:cubicBezTo>
                  <a:cubicBezTo>
                    <a:pt x="4110" y="362"/>
                    <a:pt x="4110" y="362"/>
                    <a:pt x="4110" y="362"/>
                  </a:cubicBezTo>
                  <a:cubicBezTo>
                    <a:pt x="4037" y="366"/>
                    <a:pt x="4037" y="366"/>
                    <a:pt x="4037" y="366"/>
                  </a:cubicBezTo>
                  <a:cubicBezTo>
                    <a:pt x="4036" y="357"/>
                    <a:pt x="4036" y="357"/>
                    <a:pt x="4036" y="357"/>
                  </a:cubicBezTo>
                  <a:cubicBezTo>
                    <a:pt x="3955" y="362"/>
                    <a:pt x="3955" y="362"/>
                    <a:pt x="3955" y="362"/>
                  </a:cubicBezTo>
                  <a:cubicBezTo>
                    <a:pt x="3924" y="349"/>
                    <a:pt x="3924" y="349"/>
                    <a:pt x="3924" y="349"/>
                  </a:cubicBezTo>
                  <a:cubicBezTo>
                    <a:pt x="3911" y="349"/>
                    <a:pt x="3911" y="349"/>
                    <a:pt x="3911" y="349"/>
                  </a:cubicBezTo>
                  <a:cubicBezTo>
                    <a:pt x="3936" y="365"/>
                    <a:pt x="3936" y="365"/>
                    <a:pt x="3936" y="365"/>
                  </a:cubicBezTo>
                  <a:cubicBezTo>
                    <a:pt x="3936" y="365"/>
                    <a:pt x="3884" y="364"/>
                    <a:pt x="3892" y="372"/>
                  </a:cubicBezTo>
                  <a:cubicBezTo>
                    <a:pt x="3900" y="380"/>
                    <a:pt x="3910" y="385"/>
                    <a:pt x="3910" y="385"/>
                  </a:cubicBezTo>
                  <a:cubicBezTo>
                    <a:pt x="3931" y="383"/>
                    <a:pt x="3931" y="383"/>
                    <a:pt x="3931" y="383"/>
                  </a:cubicBezTo>
                  <a:cubicBezTo>
                    <a:pt x="3931" y="388"/>
                    <a:pt x="3931" y="388"/>
                    <a:pt x="3931" y="388"/>
                  </a:cubicBezTo>
                  <a:cubicBezTo>
                    <a:pt x="3970" y="414"/>
                    <a:pt x="3970" y="414"/>
                    <a:pt x="3970" y="414"/>
                  </a:cubicBezTo>
                  <a:cubicBezTo>
                    <a:pt x="3970" y="414"/>
                    <a:pt x="3964" y="415"/>
                    <a:pt x="3949" y="414"/>
                  </a:cubicBezTo>
                  <a:cubicBezTo>
                    <a:pt x="3934" y="413"/>
                    <a:pt x="3914" y="398"/>
                    <a:pt x="3909" y="403"/>
                  </a:cubicBezTo>
                  <a:cubicBezTo>
                    <a:pt x="3904" y="408"/>
                    <a:pt x="3900" y="411"/>
                    <a:pt x="3900" y="411"/>
                  </a:cubicBezTo>
                  <a:cubicBezTo>
                    <a:pt x="3917" y="425"/>
                    <a:pt x="3917" y="425"/>
                    <a:pt x="3917" y="425"/>
                  </a:cubicBezTo>
                  <a:cubicBezTo>
                    <a:pt x="3881" y="420"/>
                    <a:pt x="3881" y="420"/>
                    <a:pt x="3881" y="420"/>
                  </a:cubicBezTo>
                  <a:cubicBezTo>
                    <a:pt x="3881" y="420"/>
                    <a:pt x="3832" y="404"/>
                    <a:pt x="3824" y="405"/>
                  </a:cubicBezTo>
                  <a:cubicBezTo>
                    <a:pt x="3816" y="406"/>
                    <a:pt x="3788" y="418"/>
                    <a:pt x="3788" y="418"/>
                  </a:cubicBezTo>
                  <a:cubicBezTo>
                    <a:pt x="3743" y="414"/>
                    <a:pt x="3743" y="414"/>
                    <a:pt x="3743" y="414"/>
                  </a:cubicBezTo>
                  <a:cubicBezTo>
                    <a:pt x="3743" y="414"/>
                    <a:pt x="3705" y="396"/>
                    <a:pt x="3702" y="392"/>
                  </a:cubicBezTo>
                  <a:cubicBezTo>
                    <a:pt x="3699" y="388"/>
                    <a:pt x="3692" y="398"/>
                    <a:pt x="3695" y="406"/>
                  </a:cubicBezTo>
                  <a:cubicBezTo>
                    <a:pt x="3698" y="414"/>
                    <a:pt x="3725" y="442"/>
                    <a:pt x="3709" y="443"/>
                  </a:cubicBezTo>
                  <a:cubicBezTo>
                    <a:pt x="3693" y="444"/>
                    <a:pt x="3614" y="415"/>
                    <a:pt x="3611" y="413"/>
                  </a:cubicBezTo>
                  <a:cubicBezTo>
                    <a:pt x="3608" y="411"/>
                    <a:pt x="3589" y="394"/>
                    <a:pt x="3589" y="394"/>
                  </a:cubicBezTo>
                  <a:cubicBezTo>
                    <a:pt x="3587" y="404"/>
                    <a:pt x="3587" y="404"/>
                    <a:pt x="3587" y="404"/>
                  </a:cubicBezTo>
                  <a:cubicBezTo>
                    <a:pt x="3550" y="393"/>
                    <a:pt x="3550" y="393"/>
                    <a:pt x="3550" y="393"/>
                  </a:cubicBezTo>
                  <a:cubicBezTo>
                    <a:pt x="3533" y="381"/>
                    <a:pt x="3533" y="381"/>
                    <a:pt x="3533" y="381"/>
                  </a:cubicBezTo>
                  <a:cubicBezTo>
                    <a:pt x="3533" y="381"/>
                    <a:pt x="3571" y="391"/>
                    <a:pt x="3577" y="386"/>
                  </a:cubicBezTo>
                  <a:cubicBezTo>
                    <a:pt x="3583" y="381"/>
                    <a:pt x="3554" y="367"/>
                    <a:pt x="3554" y="367"/>
                  </a:cubicBezTo>
                  <a:cubicBezTo>
                    <a:pt x="3531" y="367"/>
                    <a:pt x="3531" y="367"/>
                    <a:pt x="3531" y="367"/>
                  </a:cubicBezTo>
                  <a:cubicBezTo>
                    <a:pt x="3531" y="367"/>
                    <a:pt x="3542" y="361"/>
                    <a:pt x="3535" y="356"/>
                  </a:cubicBezTo>
                  <a:cubicBezTo>
                    <a:pt x="3528" y="351"/>
                    <a:pt x="3508" y="351"/>
                    <a:pt x="3508" y="351"/>
                  </a:cubicBezTo>
                  <a:cubicBezTo>
                    <a:pt x="3516" y="342"/>
                    <a:pt x="3516" y="342"/>
                    <a:pt x="3516" y="342"/>
                  </a:cubicBezTo>
                  <a:cubicBezTo>
                    <a:pt x="3516" y="342"/>
                    <a:pt x="3484" y="333"/>
                    <a:pt x="3480" y="333"/>
                  </a:cubicBezTo>
                  <a:cubicBezTo>
                    <a:pt x="3476" y="333"/>
                    <a:pt x="3461" y="323"/>
                    <a:pt x="3461" y="323"/>
                  </a:cubicBezTo>
                  <a:cubicBezTo>
                    <a:pt x="3430" y="323"/>
                    <a:pt x="3430" y="323"/>
                    <a:pt x="3430" y="323"/>
                  </a:cubicBezTo>
                  <a:cubicBezTo>
                    <a:pt x="3430" y="323"/>
                    <a:pt x="3439" y="326"/>
                    <a:pt x="3416" y="327"/>
                  </a:cubicBezTo>
                  <a:cubicBezTo>
                    <a:pt x="3393" y="328"/>
                    <a:pt x="3378" y="320"/>
                    <a:pt x="3378" y="320"/>
                  </a:cubicBezTo>
                  <a:cubicBezTo>
                    <a:pt x="3364" y="326"/>
                    <a:pt x="3364" y="326"/>
                    <a:pt x="3364" y="326"/>
                  </a:cubicBezTo>
                  <a:cubicBezTo>
                    <a:pt x="3362" y="317"/>
                    <a:pt x="3362" y="317"/>
                    <a:pt x="3362" y="317"/>
                  </a:cubicBezTo>
                  <a:cubicBezTo>
                    <a:pt x="3330" y="311"/>
                    <a:pt x="3330" y="311"/>
                    <a:pt x="3330" y="311"/>
                  </a:cubicBezTo>
                  <a:cubicBezTo>
                    <a:pt x="3323" y="305"/>
                    <a:pt x="3323" y="305"/>
                    <a:pt x="3323" y="305"/>
                  </a:cubicBezTo>
                  <a:cubicBezTo>
                    <a:pt x="3318" y="318"/>
                    <a:pt x="3318" y="318"/>
                    <a:pt x="3318" y="318"/>
                  </a:cubicBezTo>
                  <a:cubicBezTo>
                    <a:pt x="3309" y="319"/>
                    <a:pt x="3309" y="319"/>
                    <a:pt x="3309" y="319"/>
                  </a:cubicBezTo>
                  <a:cubicBezTo>
                    <a:pt x="3327" y="334"/>
                    <a:pt x="3327" y="334"/>
                    <a:pt x="3327" y="334"/>
                  </a:cubicBezTo>
                  <a:cubicBezTo>
                    <a:pt x="3344" y="354"/>
                    <a:pt x="3344" y="354"/>
                    <a:pt x="3344" y="354"/>
                  </a:cubicBezTo>
                  <a:cubicBezTo>
                    <a:pt x="3310" y="350"/>
                    <a:pt x="3310" y="350"/>
                    <a:pt x="3310" y="350"/>
                  </a:cubicBezTo>
                  <a:cubicBezTo>
                    <a:pt x="3306" y="344"/>
                    <a:pt x="3306" y="344"/>
                    <a:pt x="3306" y="344"/>
                  </a:cubicBezTo>
                  <a:cubicBezTo>
                    <a:pt x="3262" y="347"/>
                    <a:pt x="3262" y="347"/>
                    <a:pt x="3262" y="347"/>
                  </a:cubicBezTo>
                  <a:cubicBezTo>
                    <a:pt x="3251" y="351"/>
                    <a:pt x="3251" y="351"/>
                    <a:pt x="3251" y="351"/>
                  </a:cubicBezTo>
                  <a:cubicBezTo>
                    <a:pt x="3250" y="343"/>
                    <a:pt x="3250" y="343"/>
                    <a:pt x="3250" y="343"/>
                  </a:cubicBezTo>
                  <a:cubicBezTo>
                    <a:pt x="3221" y="349"/>
                    <a:pt x="3221" y="349"/>
                    <a:pt x="3221" y="349"/>
                  </a:cubicBezTo>
                  <a:cubicBezTo>
                    <a:pt x="3216" y="341"/>
                    <a:pt x="3216" y="341"/>
                    <a:pt x="3216" y="341"/>
                  </a:cubicBezTo>
                  <a:cubicBezTo>
                    <a:pt x="3178" y="342"/>
                    <a:pt x="3178" y="342"/>
                    <a:pt x="3178" y="342"/>
                  </a:cubicBezTo>
                  <a:cubicBezTo>
                    <a:pt x="3156" y="335"/>
                    <a:pt x="3156" y="335"/>
                    <a:pt x="3156" y="335"/>
                  </a:cubicBezTo>
                  <a:cubicBezTo>
                    <a:pt x="3167" y="321"/>
                    <a:pt x="3167" y="321"/>
                    <a:pt x="3167" y="321"/>
                  </a:cubicBezTo>
                  <a:cubicBezTo>
                    <a:pt x="3082" y="320"/>
                    <a:pt x="3082" y="320"/>
                    <a:pt x="3082" y="320"/>
                  </a:cubicBezTo>
                  <a:cubicBezTo>
                    <a:pt x="3077" y="314"/>
                    <a:pt x="3077" y="314"/>
                    <a:pt x="3077" y="314"/>
                  </a:cubicBezTo>
                  <a:cubicBezTo>
                    <a:pt x="3071" y="317"/>
                    <a:pt x="3071" y="317"/>
                    <a:pt x="3071" y="317"/>
                  </a:cubicBezTo>
                  <a:cubicBezTo>
                    <a:pt x="3065" y="313"/>
                    <a:pt x="3065" y="313"/>
                    <a:pt x="3065" y="313"/>
                  </a:cubicBezTo>
                  <a:cubicBezTo>
                    <a:pt x="3030" y="315"/>
                    <a:pt x="3030" y="315"/>
                    <a:pt x="3030" y="315"/>
                  </a:cubicBezTo>
                  <a:cubicBezTo>
                    <a:pt x="3034" y="323"/>
                    <a:pt x="3034" y="323"/>
                    <a:pt x="3034" y="323"/>
                  </a:cubicBezTo>
                  <a:cubicBezTo>
                    <a:pt x="2997" y="319"/>
                    <a:pt x="2997" y="319"/>
                    <a:pt x="2997" y="319"/>
                  </a:cubicBezTo>
                  <a:cubicBezTo>
                    <a:pt x="2987" y="324"/>
                    <a:pt x="2987" y="324"/>
                    <a:pt x="2987" y="324"/>
                  </a:cubicBezTo>
                  <a:cubicBezTo>
                    <a:pt x="3008" y="331"/>
                    <a:pt x="3008" y="331"/>
                    <a:pt x="3008" y="331"/>
                  </a:cubicBezTo>
                  <a:cubicBezTo>
                    <a:pt x="2981" y="330"/>
                    <a:pt x="2981" y="330"/>
                    <a:pt x="2981" y="330"/>
                  </a:cubicBezTo>
                  <a:cubicBezTo>
                    <a:pt x="2978" y="318"/>
                    <a:pt x="2978" y="318"/>
                    <a:pt x="2978" y="318"/>
                  </a:cubicBezTo>
                  <a:cubicBezTo>
                    <a:pt x="2961" y="303"/>
                    <a:pt x="2961" y="303"/>
                    <a:pt x="2961" y="303"/>
                  </a:cubicBezTo>
                  <a:cubicBezTo>
                    <a:pt x="2947" y="303"/>
                    <a:pt x="2947" y="303"/>
                    <a:pt x="2947" y="303"/>
                  </a:cubicBezTo>
                  <a:cubicBezTo>
                    <a:pt x="2954" y="318"/>
                    <a:pt x="2954" y="318"/>
                    <a:pt x="2954" y="318"/>
                  </a:cubicBezTo>
                  <a:cubicBezTo>
                    <a:pt x="2919" y="318"/>
                    <a:pt x="2919" y="318"/>
                    <a:pt x="2919" y="318"/>
                  </a:cubicBezTo>
                  <a:cubicBezTo>
                    <a:pt x="2915" y="313"/>
                    <a:pt x="2915" y="313"/>
                    <a:pt x="2915" y="313"/>
                  </a:cubicBezTo>
                  <a:cubicBezTo>
                    <a:pt x="2906" y="313"/>
                    <a:pt x="2906" y="313"/>
                    <a:pt x="2906" y="313"/>
                  </a:cubicBezTo>
                  <a:cubicBezTo>
                    <a:pt x="2902" y="303"/>
                    <a:pt x="2902" y="303"/>
                    <a:pt x="2902" y="303"/>
                  </a:cubicBezTo>
                  <a:cubicBezTo>
                    <a:pt x="2893" y="303"/>
                    <a:pt x="2893" y="303"/>
                    <a:pt x="2893" y="303"/>
                  </a:cubicBezTo>
                  <a:cubicBezTo>
                    <a:pt x="2882" y="306"/>
                    <a:pt x="2882" y="306"/>
                    <a:pt x="2882" y="306"/>
                  </a:cubicBezTo>
                  <a:cubicBezTo>
                    <a:pt x="2866" y="298"/>
                    <a:pt x="2866" y="298"/>
                    <a:pt x="2866" y="298"/>
                  </a:cubicBezTo>
                  <a:cubicBezTo>
                    <a:pt x="2846" y="312"/>
                    <a:pt x="2846" y="312"/>
                    <a:pt x="2846" y="312"/>
                  </a:cubicBezTo>
                  <a:cubicBezTo>
                    <a:pt x="2882" y="316"/>
                    <a:pt x="2882" y="316"/>
                    <a:pt x="2882" y="316"/>
                  </a:cubicBezTo>
                  <a:cubicBezTo>
                    <a:pt x="2890" y="317"/>
                    <a:pt x="2890" y="317"/>
                    <a:pt x="2890" y="317"/>
                  </a:cubicBezTo>
                  <a:cubicBezTo>
                    <a:pt x="2890" y="317"/>
                    <a:pt x="2877" y="328"/>
                    <a:pt x="2870" y="328"/>
                  </a:cubicBezTo>
                  <a:cubicBezTo>
                    <a:pt x="2863" y="328"/>
                    <a:pt x="2858" y="327"/>
                    <a:pt x="2852" y="329"/>
                  </a:cubicBezTo>
                  <a:cubicBezTo>
                    <a:pt x="2846" y="331"/>
                    <a:pt x="2844" y="337"/>
                    <a:pt x="2839" y="337"/>
                  </a:cubicBezTo>
                  <a:cubicBezTo>
                    <a:pt x="2834" y="337"/>
                    <a:pt x="2790" y="338"/>
                    <a:pt x="2790" y="338"/>
                  </a:cubicBezTo>
                  <a:cubicBezTo>
                    <a:pt x="2768" y="341"/>
                    <a:pt x="2768" y="341"/>
                    <a:pt x="2768" y="341"/>
                  </a:cubicBezTo>
                  <a:cubicBezTo>
                    <a:pt x="2758" y="358"/>
                    <a:pt x="2758" y="358"/>
                    <a:pt x="2758" y="358"/>
                  </a:cubicBezTo>
                  <a:cubicBezTo>
                    <a:pt x="2742" y="354"/>
                    <a:pt x="2742" y="354"/>
                    <a:pt x="2742" y="354"/>
                  </a:cubicBezTo>
                  <a:cubicBezTo>
                    <a:pt x="2742" y="354"/>
                    <a:pt x="2745" y="338"/>
                    <a:pt x="2753" y="334"/>
                  </a:cubicBezTo>
                  <a:cubicBezTo>
                    <a:pt x="2761" y="330"/>
                    <a:pt x="2773" y="330"/>
                    <a:pt x="2773" y="330"/>
                  </a:cubicBezTo>
                  <a:cubicBezTo>
                    <a:pt x="2778" y="319"/>
                    <a:pt x="2778" y="319"/>
                    <a:pt x="2778" y="319"/>
                  </a:cubicBezTo>
                  <a:cubicBezTo>
                    <a:pt x="2806" y="316"/>
                    <a:pt x="2806" y="316"/>
                    <a:pt x="2806" y="316"/>
                  </a:cubicBezTo>
                  <a:cubicBezTo>
                    <a:pt x="2836" y="294"/>
                    <a:pt x="2836" y="294"/>
                    <a:pt x="2836" y="294"/>
                  </a:cubicBezTo>
                  <a:cubicBezTo>
                    <a:pt x="2836" y="294"/>
                    <a:pt x="2835" y="281"/>
                    <a:pt x="2847" y="276"/>
                  </a:cubicBezTo>
                  <a:cubicBezTo>
                    <a:pt x="2859" y="271"/>
                    <a:pt x="2908" y="272"/>
                    <a:pt x="2906" y="254"/>
                  </a:cubicBezTo>
                  <a:cubicBezTo>
                    <a:pt x="2904" y="236"/>
                    <a:pt x="2889" y="232"/>
                    <a:pt x="2889" y="232"/>
                  </a:cubicBezTo>
                  <a:cubicBezTo>
                    <a:pt x="2862" y="234"/>
                    <a:pt x="2862" y="234"/>
                    <a:pt x="2862" y="234"/>
                  </a:cubicBezTo>
                  <a:cubicBezTo>
                    <a:pt x="2885" y="224"/>
                    <a:pt x="2885" y="224"/>
                    <a:pt x="2885" y="224"/>
                  </a:cubicBezTo>
                  <a:cubicBezTo>
                    <a:pt x="2885" y="224"/>
                    <a:pt x="2865" y="209"/>
                    <a:pt x="2860" y="210"/>
                  </a:cubicBezTo>
                  <a:cubicBezTo>
                    <a:pt x="2855" y="211"/>
                    <a:pt x="2838" y="212"/>
                    <a:pt x="2838" y="212"/>
                  </a:cubicBezTo>
                  <a:cubicBezTo>
                    <a:pt x="2838" y="212"/>
                    <a:pt x="2832" y="196"/>
                    <a:pt x="2819" y="196"/>
                  </a:cubicBezTo>
                  <a:cubicBezTo>
                    <a:pt x="2806" y="196"/>
                    <a:pt x="2792" y="201"/>
                    <a:pt x="2792" y="201"/>
                  </a:cubicBezTo>
                  <a:cubicBezTo>
                    <a:pt x="2756" y="192"/>
                    <a:pt x="2756" y="192"/>
                    <a:pt x="2756" y="192"/>
                  </a:cubicBezTo>
                  <a:cubicBezTo>
                    <a:pt x="2662" y="189"/>
                    <a:pt x="2662" y="189"/>
                    <a:pt x="2662" y="189"/>
                  </a:cubicBezTo>
                  <a:cubicBezTo>
                    <a:pt x="2665" y="201"/>
                    <a:pt x="2665" y="201"/>
                    <a:pt x="2665" y="201"/>
                  </a:cubicBezTo>
                  <a:cubicBezTo>
                    <a:pt x="2620" y="201"/>
                    <a:pt x="2620" y="201"/>
                    <a:pt x="2620" y="201"/>
                  </a:cubicBezTo>
                  <a:cubicBezTo>
                    <a:pt x="2620" y="201"/>
                    <a:pt x="2639" y="184"/>
                    <a:pt x="2627" y="179"/>
                  </a:cubicBezTo>
                  <a:cubicBezTo>
                    <a:pt x="2615" y="174"/>
                    <a:pt x="2564" y="180"/>
                    <a:pt x="2564" y="180"/>
                  </a:cubicBezTo>
                  <a:cubicBezTo>
                    <a:pt x="2523" y="176"/>
                    <a:pt x="2523" y="176"/>
                    <a:pt x="2523" y="176"/>
                  </a:cubicBezTo>
                  <a:cubicBezTo>
                    <a:pt x="2523" y="176"/>
                    <a:pt x="2570" y="174"/>
                    <a:pt x="2564" y="165"/>
                  </a:cubicBezTo>
                  <a:cubicBezTo>
                    <a:pt x="2558" y="156"/>
                    <a:pt x="2511" y="155"/>
                    <a:pt x="2511" y="155"/>
                  </a:cubicBezTo>
                  <a:cubicBezTo>
                    <a:pt x="2483" y="151"/>
                    <a:pt x="2483" y="151"/>
                    <a:pt x="2483" y="151"/>
                  </a:cubicBezTo>
                  <a:cubicBezTo>
                    <a:pt x="2480" y="161"/>
                    <a:pt x="2480" y="161"/>
                    <a:pt x="2480" y="161"/>
                  </a:cubicBezTo>
                  <a:cubicBezTo>
                    <a:pt x="2480" y="161"/>
                    <a:pt x="2431" y="159"/>
                    <a:pt x="2435" y="173"/>
                  </a:cubicBezTo>
                  <a:cubicBezTo>
                    <a:pt x="2439" y="187"/>
                    <a:pt x="2485" y="202"/>
                    <a:pt x="2485" y="202"/>
                  </a:cubicBezTo>
                  <a:cubicBezTo>
                    <a:pt x="2389" y="196"/>
                    <a:pt x="2389" y="196"/>
                    <a:pt x="2389" y="196"/>
                  </a:cubicBezTo>
                  <a:cubicBezTo>
                    <a:pt x="2423" y="210"/>
                    <a:pt x="2423" y="210"/>
                    <a:pt x="2423" y="210"/>
                  </a:cubicBezTo>
                  <a:cubicBezTo>
                    <a:pt x="2388" y="215"/>
                    <a:pt x="2388" y="215"/>
                    <a:pt x="2388" y="215"/>
                  </a:cubicBezTo>
                  <a:cubicBezTo>
                    <a:pt x="2388" y="215"/>
                    <a:pt x="2331" y="233"/>
                    <a:pt x="2321" y="227"/>
                  </a:cubicBezTo>
                  <a:cubicBezTo>
                    <a:pt x="2311" y="221"/>
                    <a:pt x="2326" y="209"/>
                    <a:pt x="2326" y="209"/>
                  </a:cubicBezTo>
                  <a:cubicBezTo>
                    <a:pt x="2326" y="209"/>
                    <a:pt x="2278" y="209"/>
                    <a:pt x="2269" y="211"/>
                  </a:cubicBezTo>
                  <a:cubicBezTo>
                    <a:pt x="2260" y="213"/>
                    <a:pt x="2246" y="225"/>
                    <a:pt x="2246" y="225"/>
                  </a:cubicBezTo>
                  <a:cubicBezTo>
                    <a:pt x="2246" y="225"/>
                    <a:pt x="2183" y="230"/>
                    <a:pt x="2168" y="233"/>
                  </a:cubicBezTo>
                  <a:cubicBezTo>
                    <a:pt x="2153" y="236"/>
                    <a:pt x="2120" y="243"/>
                    <a:pt x="2120" y="243"/>
                  </a:cubicBezTo>
                  <a:cubicBezTo>
                    <a:pt x="2091" y="266"/>
                    <a:pt x="2091" y="266"/>
                    <a:pt x="2091" y="266"/>
                  </a:cubicBezTo>
                  <a:cubicBezTo>
                    <a:pt x="2091" y="266"/>
                    <a:pt x="2059" y="264"/>
                    <a:pt x="2073" y="278"/>
                  </a:cubicBezTo>
                  <a:cubicBezTo>
                    <a:pt x="2087" y="292"/>
                    <a:pt x="2112" y="302"/>
                    <a:pt x="2112" y="302"/>
                  </a:cubicBezTo>
                  <a:cubicBezTo>
                    <a:pt x="2082" y="308"/>
                    <a:pt x="2082" y="308"/>
                    <a:pt x="2082" y="308"/>
                  </a:cubicBezTo>
                  <a:cubicBezTo>
                    <a:pt x="2068" y="317"/>
                    <a:pt x="2068" y="317"/>
                    <a:pt x="2068" y="317"/>
                  </a:cubicBezTo>
                  <a:cubicBezTo>
                    <a:pt x="2001" y="315"/>
                    <a:pt x="2001" y="315"/>
                    <a:pt x="2001" y="315"/>
                  </a:cubicBezTo>
                  <a:cubicBezTo>
                    <a:pt x="1996" y="320"/>
                    <a:pt x="1996" y="320"/>
                    <a:pt x="1996" y="320"/>
                  </a:cubicBezTo>
                  <a:cubicBezTo>
                    <a:pt x="1971" y="311"/>
                    <a:pt x="1971" y="311"/>
                    <a:pt x="1971" y="311"/>
                  </a:cubicBezTo>
                  <a:cubicBezTo>
                    <a:pt x="1960" y="318"/>
                    <a:pt x="1960" y="318"/>
                    <a:pt x="1960" y="318"/>
                  </a:cubicBezTo>
                  <a:cubicBezTo>
                    <a:pt x="1960" y="318"/>
                    <a:pt x="1922" y="314"/>
                    <a:pt x="1920" y="322"/>
                  </a:cubicBezTo>
                  <a:cubicBezTo>
                    <a:pt x="1918" y="330"/>
                    <a:pt x="1919" y="345"/>
                    <a:pt x="1930" y="347"/>
                  </a:cubicBezTo>
                  <a:cubicBezTo>
                    <a:pt x="1941" y="349"/>
                    <a:pt x="1947" y="365"/>
                    <a:pt x="1947" y="365"/>
                  </a:cubicBezTo>
                  <a:cubicBezTo>
                    <a:pt x="1947" y="365"/>
                    <a:pt x="1982" y="375"/>
                    <a:pt x="1991" y="375"/>
                  </a:cubicBezTo>
                  <a:cubicBezTo>
                    <a:pt x="2000" y="375"/>
                    <a:pt x="2019" y="380"/>
                    <a:pt x="2026" y="383"/>
                  </a:cubicBezTo>
                  <a:cubicBezTo>
                    <a:pt x="2033" y="386"/>
                    <a:pt x="2049" y="402"/>
                    <a:pt x="2038" y="402"/>
                  </a:cubicBezTo>
                  <a:cubicBezTo>
                    <a:pt x="2027" y="402"/>
                    <a:pt x="2003" y="404"/>
                    <a:pt x="2003" y="404"/>
                  </a:cubicBezTo>
                  <a:cubicBezTo>
                    <a:pt x="2003" y="404"/>
                    <a:pt x="1957" y="384"/>
                    <a:pt x="1941" y="380"/>
                  </a:cubicBezTo>
                  <a:cubicBezTo>
                    <a:pt x="1925" y="376"/>
                    <a:pt x="1901" y="373"/>
                    <a:pt x="1893" y="373"/>
                  </a:cubicBezTo>
                  <a:cubicBezTo>
                    <a:pt x="1885" y="373"/>
                    <a:pt x="1864" y="371"/>
                    <a:pt x="1866" y="379"/>
                  </a:cubicBezTo>
                  <a:cubicBezTo>
                    <a:pt x="1868" y="387"/>
                    <a:pt x="1894" y="397"/>
                    <a:pt x="1877" y="398"/>
                  </a:cubicBezTo>
                  <a:cubicBezTo>
                    <a:pt x="1860" y="399"/>
                    <a:pt x="1854" y="387"/>
                    <a:pt x="1844" y="387"/>
                  </a:cubicBezTo>
                  <a:cubicBezTo>
                    <a:pt x="1834" y="387"/>
                    <a:pt x="1820" y="377"/>
                    <a:pt x="1819" y="390"/>
                  </a:cubicBezTo>
                  <a:cubicBezTo>
                    <a:pt x="1818" y="403"/>
                    <a:pt x="1832" y="416"/>
                    <a:pt x="1847" y="415"/>
                  </a:cubicBezTo>
                  <a:cubicBezTo>
                    <a:pt x="1862" y="414"/>
                    <a:pt x="1885" y="421"/>
                    <a:pt x="1895" y="421"/>
                  </a:cubicBezTo>
                  <a:cubicBezTo>
                    <a:pt x="1905" y="421"/>
                    <a:pt x="1921" y="437"/>
                    <a:pt x="1921" y="437"/>
                  </a:cubicBezTo>
                  <a:cubicBezTo>
                    <a:pt x="1900" y="437"/>
                    <a:pt x="1900" y="437"/>
                    <a:pt x="1900" y="437"/>
                  </a:cubicBezTo>
                  <a:cubicBezTo>
                    <a:pt x="1900" y="437"/>
                    <a:pt x="1894" y="427"/>
                    <a:pt x="1880" y="427"/>
                  </a:cubicBezTo>
                  <a:cubicBezTo>
                    <a:pt x="1866" y="427"/>
                    <a:pt x="1823" y="425"/>
                    <a:pt x="1823" y="425"/>
                  </a:cubicBezTo>
                  <a:cubicBezTo>
                    <a:pt x="1820" y="417"/>
                    <a:pt x="1820" y="417"/>
                    <a:pt x="1820" y="417"/>
                  </a:cubicBezTo>
                  <a:cubicBezTo>
                    <a:pt x="1803" y="417"/>
                    <a:pt x="1803" y="417"/>
                    <a:pt x="1803" y="417"/>
                  </a:cubicBezTo>
                  <a:cubicBezTo>
                    <a:pt x="1800" y="406"/>
                    <a:pt x="1800" y="406"/>
                    <a:pt x="1800" y="406"/>
                  </a:cubicBezTo>
                  <a:cubicBezTo>
                    <a:pt x="1778" y="395"/>
                    <a:pt x="1778" y="395"/>
                    <a:pt x="1778" y="395"/>
                  </a:cubicBezTo>
                  <a:cubicBezTo>
                    <a:pt x="1778" y="395"/>
                    <a:pt x="1803" y="383"/>
                    <a:pt x="1793" y="374"/>
                  </a:cubicBezTo>
                  <a:cubicBezTo>
                    <a:pt x="1783" y="365"/>
                    <a:pt x="1769" y="354"/>
                    <a:pt x="1769" y="354"/>
                  </a:cubicBezTo>
                  <a:cubicBezTo>
                    <a:pt x="1748" y="353"/>
                    <a:pt x="1748" y="353"/>
                    <a:pt x="1748" y="353"/>
                  </a:cubicBezTo>
                  <a:cubicBezTo>
                    <a:pt x="1748" y="353"/>
                    <a:pt x="1778" y="370"/>
                    <a:pt x="1769" y="378"/>
                  </a:cubicBezTo>
                  <a:cubicBezTo>
                    <a:pt x="1760" y="386"/>
                    <a:pt x="1740" y="389"/>
                    <a:pt x="1740" y="389"/>
                  </a:cubicBezTo>
                  <a:cubicBezTo>
                    <a:pt x="1727" y="416"/>
                    <a:pt x="1727" y="416"/>
                    <a:pt x="1727" y="416"/>
                  </a:cubicBezTo>
                  <a:cubicBezTo>
                    <a:pt x="1776" y="441"/>
                    <a:pt x="1776" y="441"/>
                    <a:pt x="1776" y="441"/>
                  </a:cubicBezTo>
                  <a:cubicBezTo>
                    <a:pt x="1776" y="441"/>
                    <a:pt x="1789" y="436"/>
                    <a:pt x="1789" y="442"/>
                  </a:cubicBezTo>
                  <a:cubicBezTo>
                    <a:pt x="1789" y="448"/>
                    <a:pt x="1782" y="479"/>
                    <a:pt x="1782" y="479"/>
                  </a:cubicBezTo>
                  <a:cubicBezTo>
                    <a:pt x="1789" y="492"/>
                    <a:pt x="1789" y="492"/>
                    <a:pt x="1789" y="492"/>
                  </a:cubicBezTo>
                  <a:cubicBezTo>
                    <a:pt x="1813" y="496"/>
                    <a:pt x="1813" y="496"/>
                    <a:pt x="1813" y="496"/>
                  </a:cubicBezTo>
                  <a:cubicBezTo>
                    <a:pt x="1812" y="514"/>
                    <a:pt x="1812" y="514"/>
                    <a:pt x="1812" y="514"/>
                  </a:cubicBezTo>
                  <a:cubicBezTo>
                    <a:pt x="1852" y="522"/>
                    <a:pt x="1852" y="522"/>
                    <a:pt x="1852" y="522"/>
                  </a:cubicBezTo>
                  <a:cubicBezTo>
                    <a:pt x="1852" y="522"/>
                    <a:pt x="1882" y="510"/>
                    <a:pt x="1896" y="511"/>
                  </a:cubicBezTo>
                  <a:cubicBezTo>
                    <a:pt x="1910" y="512"/>
                    <a:pt x="1928" y="524"/>
                    <a:pt x="1928" y="524"/>
                  </a:cubicBezTo>
                  <a:cubicBezTo>
                    <a:pt x="1928" y="524"/>
                    <a:pt x="1957" y="528"/>
                    <a:pt x="1970" y="537"/>
                  </a:cubicBezTo>
                  <a:cubicBezTo>
                    <a:pt x="1983" y="546"/>
                    <a:pt x="1986" y="557"/>
                    <a:pt x="1986" y="557"/>
                  </a:cubicBezTo>
                  <a:cubicBezTo>
                    <a:pt x="1986" y="557"/>
                    <a:pt x="1953" y="561"/>
                    <a:pt x="1966" y="569"/>
                  </a:cubicBezTo>
                  <a:cubicBezTo>
                    <a:pt x="1979" y="577"/>
                    <a:pt x="1993" y="584"/>
                    <a:pt x="1993" y="584"/>
                  </a:cubicBezTo>
                  <a:cubicBezTo>
                    <a:pt x="2021" y="583"/>
                    <a:pt x="2021" y="583"/>
                    <a:pt x="2021" y="583"/>
                  </a:cubicBezTo>
                  <a:cubicBezTo>
                    <a:pt x="2021" y="583"/>
                    <a:pt x="2005" y="591"/>
                    <a:pt x="1992" y="591"/>
                  </a:cubicBezTo>
                  <a:cubicBezTo>
                    <a:pt x="1979" y="591"/>
                    <a:pt x="1963" y="582"/>
                    <a:pt x="1963" y="582"/>
                  </a:cubicBezTo>
                  <a:cubicBezTo>
                    <a:pt x="1963" y="582"/>
                    <a:pt x="1964" y="559"/>
                    <a:pt x="1949" y="550"/>
                  </a:cubicBezTo>
                  <a:cubicBezTo>
                    <a:pt x="1934" y="541"/>
                    <a:pt x="1922" y="536"/>
                    <a:pt x="1922" y="536"/>
                  </a:cubicBezTo>
                  <a:cubicBezTo>
                    <a:pt x="1922" y="536"/>
                    <a:pt x="1918" y="521"/>
                    <a:pt x="1906" y="522"/>
                  </a:cubicBezTo>
                  <a:cubicBezTo>
                    <a:pt x="1894" y="523"/>
                    <a:pt x="1862" y="529"/>
                    <a:pt x="1862" y="529"/>
                  </a:cubicBezTo>
                  <a:cubicBezTo>
                    <a:pt x="1862" y="529"/>
                    <a:pt x="1844" y="531"/>
                    <a:pt x="1845" y="542"/>
                  </a:cubicBezTo>
                  <a:cubicBezTo>
                    <a:pt x="1846" y="553"/>
                    <a:pt x="1878" y="571"/>
                    <a:pt x="1878" y="575"/>
                  </a:cubicBezTo>
                  <a:cubicBezTo>
                    <a:pt x="1878" y="579"/>
                    <a:pt x="1859" y="591"/>
                    <a:pt x="1859" y="591"/>
                  </a:cubicBezTo>
                  <a:cubicBezTo>
                    <a:pt x="1857" y="620"/>
                    <a:pt x="1857" y="620"/>
                    <a:pt x="1857" y="620"/>
                  </a:cubicBezTo>
                  <a:cubicBezTo>
                    <a:pt x="1829" y="634"/>
                    <a:pt x="1829" y="634"/>
                    <a:pt x="1829" y="634"/>
                  </a:cubicBezTo>
                  <a:cubicBezTo>
                    <a:pt x="1829" y="634"/>
                    <a:pt x="1823" y="655"/>
                    <a:pt x="1810" y="649"/>
                  </a:cubicBezTo>
                  <a:cubicBezTo>
                    <a:pt x="1797" y="643"/>
                    <a:pt x="1771" y="645"/>
                    <a:pt x="1771" y="645"/>
                  </a:cubicBezTo>
                  <a:cubicBezTo>
                    <a:pt x="1733" y="641"/>
                    <a:pt x="1733" y="641"/>
                    <a:pt x="1733" y="641"/>
                  </a:cubicBezTo>
                  <a:cubicBezTo>
                    <a:pt x="1733" y="641"/>
                    <a:pt x="1690" y="626"/>
                    <a:pt x="1701" y="625"/>
                  </a:cubicBezTo>
                  <a:cubicBezTo>
                    <a:pt x="1712" y="624"/>
                    <a:pt x="1735" y="623"/>
                    <a:pt x="1735" y="623"/>
                  </a:cubicBezTo>
                  <a:cubicBezTo>
                    <a:pt x="1748" y="627"/>
                    <a:pt x="1748" y="627"/>
                    <a:pt x="1748" y="627"/>
                  </a:cubicBezTo>
                  <a:cubicBezTo>
                    <a:pt x="1763" y="616"/>
                    <a:pt x="1763" y="616"/>
                    <a:pt x="1763" y="616"/>
                  </a:cubicBezTo>
                  <a:cubicBezTo>
                    <a:pt x="1763" y="616"/>
                    <a:pt x="1801" y="625"/>
                    <a:pt x="1801" y="614"/>
                  </a:cubicBezTo>
                  <a:cubicBezTo>
                    <a:pt x="1801" y="603"/>
                    <a:pt x="1803" y="588"/>
                    <a:pt x="1803" y="588"/>
                  </a:cubicBezTo>
                  <a:cubicBezTo>
                    <a:pt x="1819" y="583"/>
                    <a:pt x="1819" y="583"/>
                    <a:pt x="1819" y="583"/>
                  </a:cubicBezTo>
                  <a:cubicBezTo>
                    <a:pt x="1821" y="569"/>
                    <a:pt x="1821" y="569"/>
                    <a:pt x="1821" y="569"/>
                  </a:cubicBezTo>
                  <a:cubicBezTo>
                    <a:pt x="1810" y="567"/>
                    <a:pt x="1810" y="567"/>
                    <a:pt x="1810" y="567"/>
                  </a:cubicBezTo>
                  <a:cubicBezTo>
                    <a:pt x="1810" y="567"/>
                    <a:pt x="1826" y="547"/>
                    <a:pt x="1816" y="543"/>
                  </a:cubicBezTo>
                  <a:cubicBezTo>
                    <a:pt x="1806" y="539"/>
                    <a:pt x="1763" y="541"/>
                    <a:pt x="1761" y="525"/>
                  </a:cubicBezTo>
                  <a:cubicBezTo>
                    <a:pt x="1759" y="509"/>
                    <a:pt x="1761" y="490"/>
                    <a:pt x="1752" y="485"/>
                  </a:cubicBezTo>
                  <a:cubicBezTo>
                    <a:pt x="1743" y="480"/>
                    <a:pt x="1730" y="464"/>
                    <a:pt x="1730" y="464"/>
                  </a:cubicBezTo>
                  <a:cubicBezTo>
                    <a:pt x="1726" y="440"/>
                    <a:pt x="1726" y="440"/>
                    <a:pt x="1726" y="440"/>
                  </a:cubicBezTo>
                  <a:cubicBezTo>
                    <a:pt x="1684" y="417"/>
                    <a:pt x="1684" y="417"/>
                    <a:pt x="1684" y="417"/>
                  </a:cubicBezTo>
                  <a:cubicBezTo>
                    <a:pt x="1684" y="417"/>
                    <a:pt x="1711" y="396"/>
                    <a:pt x="1697" y="376"/>
                  </a:cubicBezTo>
                  <a:cubicBezTo>
                    <a:pt x="1683" y="356"/>
                    <a:pt x="1651" y="356"/>
                    <a:pt x="1651" y="356"/>
                  </a:cubicBezTo>
                  <a:cubicBezTo>
                    <a:pt x="1562" y="348"/>
                    <a:pt x="1562" y="348"/>
                    <a:pt x="1562" y="348"/>
                  </a:cubicBezTo>
                  <a:cubicBezTo>
                    <a:pt x="1555" y="368"/>
                    <a:pt x="1555" y="368"/>
                    <a:pt x="1555" y="368"/>
                  </a:cubicBezTo>
                  <a:cubicBezTo>
                    <a:pt x="1566" y="379"/>
                    <a:pt x="1566" y="379"/>
                    <a:pt x="1566" y="379"/>
                  </a:cubicBezTo>
                  <a:cubicBezTo>
                    <a:pt x="1561" y="402"/>
                    <a:pt x="1561" y="402"/>
                    <a:pt x="1561" y="402"/>
                  </a:cubicBezTo>
                  <a:cubicBezTo>
                    <a:pt x="1523" y="418"/>
                    <a:pt x="1523" y="418"/>
                    <a:pt x="1523" y="418"/>
                  </a:cubicBezTo>
                  <a:cubicBezTo>
                    <a:pt x="1517" y="437"/>
                    <a:pt x="1517" y="437"/>
                    <a:pt x="1517" y="437"/>
                  </a:cubicBezTo>
                  <a:cubicBezTo>
                    <a:pt x="1538" y="439"/>
                    <a:pt x="1538" y="439"/>
                    <a:pt x="1538" y="439"/>
                  </a:cubicBezTo>
                  <a:cubicBezTo>
                    <a:pt x="1561" y="474"/>
                    <a:pt x="1561" y="474"/>
                    <a:pt x="1561" y="474"/>
                  </a:cubicBezTo>
                  <a:cubicBezTo>
                    <a:pt x="1552" y="486"/>
                    <a:pt x="1552" y="486"/>
                    <a:pt x="1552" y="486"/>
                  </a:cubicBezTo>
                  <a:cubicBezTo>
                    <a:pt x="1571" y="501"/>
                    <a:pt x="1571" y="501"/>
                    <a:pt x="1571" y="501"/>
                  </a:cubicBezTo>
                  <a:cubicBezTo>
                    <a:pt x="1594" y="495"/>
                    <a:pt x="1594" y="495"/>
                    <a:pt x="1594" y="495"/>
                  </a:cubicBezTo>
                  <a:cubicBezTo>
                    <a:pt x="1594" y="495"/>
                    <a:pt x="1612" y="516"/>
                    <a:pt x="1625" y="519"/>
                  </a:cubicBezTo>
                  <a:cubicBezTo>
                    <a:pt x="1638" y="522"/>
                    <a:pt x="1651" y="522"/>
                    <a:pt x="1651" y="522"/>
                  </a:cubicBezTo>
                  <a:cubicBezTo>
                    <a:pt x="1648" y="559"/>
                    <a:pt x="1648" y="559"/>
                    <a:pt x="1648" y="559"/>
                  </a:cubicBezTo>
                  <a:cubicBezTo>
                    <a:pt x="1635" y="545"/>
                    <a:pt x="1635" y="545"/>
                    <a:pt x="1635" y="545"/>
                  </a:cubicBezTo>
                  <a:cubicBezTo>
                    <a:pt x="1625" y="551"/>
                    <a:pt x="1625" y="551"/>
                    <a:pt x="1625" y="551"/>
                  </a:cubicBezTo>
                  <a:cubicBezTo>
                    <a:pt x="1625" y="551"/>
                    <a:pt x="1572" y="524"/>
                    <a:pt x="1556" y="521"/>
                  </a:cubicBezTo>
                  <a:cubicBezTo>
                    <a:pt x="1540" y="518"/>
                    <a:pt x="1516" y="520"/>
                    <a:pt x="1516" y="520"/>
                  </a:cubicBezTo>
                  <a:cubicBezTo>
                    <a:pt x="1505" y="508"/>
                    <a:pt x="1505" y="508"/>
                    <a:pt x="1505" y="508"/>
                  </a:cubicBezTo>
                  <a:cubicBezTo>
                    <a:pt x="1499" y="522"/>
                    <a:pt x="1499" y="522"/>
                    <a:pt x="1499" y="522"/>
                  </a:cubicBezTo>
                  <a:cubicBezTo>
                    <a:pt x="1483" y="504"/>
                    <a:pt x="1483" y="504"/>
                    <a:pt x="1483" y="504"/>
                  </a:cubicBezTo>
                  <a:cubicBezTo>
                    <a:pt x="1483" y="504"/>
                    <a:pt x="1441" y="490"/>
                    <a:pt x="1434" y="490"/>
                  </a:cubicBezTo>
                  <a:cubicBezTo>
                    <a:pt x="1427" y="490"/>
                    <a:pt x="1406" y="491"/>
                    <a:pt x="1406" y="491"/>
                  </a:cubicBezTo>
                  <a:cubicBezTo>
                    <a:pt x="1406" y="491"/>
                    <a:pt x="1357" y="485"/>
                    <a:pt x="1353" y="488"/>
                  </a:cubicBezTo>
                  <a:cubicBezTo>
                    <a:pt x="1349" y="491"/>
                    <a:pt x="1340" y="491"/>
                    <a:pt x="1340" y="499"/>
                  </a:cubicBezTo>
                  <a:cubicBezTo>
                    <a:pt x="1340" y="507"/>
                    <a:pt x="1366" y="521"/>
                    <a:pt x="1366" y="521"/>
                  </a:cubicBezTo>
                  <a:cubicBezTo>
                    <a:pt x="1353" y="541"/>
                    <a:pt x="1353" y="541"/>
                    <a:pt x="1353" y="541"/>
                  </a:cubicBezTo>
                  <a:cubicBezTo>
                    <a:pt x="1344" y="534"/>
                    <a:pt x="1344" y="534"/>
                    <a:pt x="1344" y="534"/>
                  </a:cubicBezTo>
                  <a:cubicBezTo>
                    <a:pt x="1344" y="551"/>
                    <a:pt x="1344" y="551"/>
                    <a:pt x="1344" y="551"/>
                  </a:cubicBezTo>
                  <a:cubicBezTo>
                    <a:pt x="1344" y="551"/>
                    <a:pt x="1320" y="550"/>
                    <a:pt x="1320" y="545"/>
                  </a:cubicBezTo>
                  <a:cubicBezTo>
                    <a:pt x="1320" y="540"/>
                    <a:pt x="1325" y="518"/>
                    <a:pt x="1311" y="519"/>
                  </a:cubicBezTo>
                  <a:cubicBezTo>
                    <a:pt x="1297" y="520"/>
                    <a:pt x="1261" y="543"/>
                    <a:pt x="1256" y="546"/>
                  </a:cubicBezTo>
                  <a:cubicBezTo>
                    <a:pt x="1251" y="549"/>
                    <a:pt x="1240" y="535"/>
                    <a:pt x="1219" y="537"/>
                  </a:cubicBezTo>
                  <a:cubicBezTo>
                    <a:pt x="1198" y="539"/>
                    <a:pt x="1174" y="550"/>
                    <a:pt x="1172" y="558"/>
                  </a:cubicBezTo>
                  <a:cubicBezTo>
                    <a:pt x="1170" y="566"/>
                    <a:pt x="1123" y="562"/>
                    <a:pt x="1123" y="562"/>
                  </a:cubicBezTo>
                  <a:cubicBezTo>
                    <a:pt x="1131" y="545"/>
                    <a:pt x="1131" y="545"/>
                    <a:pt x="1131" y="545"/>
                  </a:cubicBezTo>
                  <a:cubicBezTo>
                    <a:pt x="1130" y="521"/>
                    <a:pt x="1130" y="521"/>
                    <a:pt x="1130" y="521"/>
                  </a:cubicBezTo>
                  <a:cubicBezTo>
                    <a:pt x="1130" y="521"/>
                    <a:pt x="1086" y="529"/>
                    <a:pt x="1086" y="538"/>
                  </a:cubicBezTo>
                  <a:cubicBezTo>
                    <a:pt x="1086" y="547"/>
                    <a:pt x="1092" y="554"/>
                    <a:pt x="1092" y="554"/>
                  </a:cubicBezTo>
                  <a:cubicBezTo>
                    <a:pt x="1074" y="555"/>
                    <a:pt x="1074" y="555"/>
                    <a:pt x="1074" y="555"/>
                  </a:cubicBezTo>
                  <a:cubicBezTo>
                    <a:pt x="1074" y="540"/>
                    <a:pt x="1074" y="540"/>
                    <a:pt x="1074" y="540"/>
                  </a:cubicBezTo>
                  <a:cubicBezTo>
                    <a:pt x="1060" y="545"/>
                    <a:pt x="1060" y="545"/>
                    <a:pt x="1060" y="545"/>
                  </a:cubicBezTo>
                  <a:cubicBezTo>
                    <a:pt x="1025" y="548"/>
                    <a:pt x="1025" y="548"/>
                    <a:pt x="1025" y="548"/>
                  </a:cubicBezTo>
                  <a:cubicBezTo>
                    <a:pt x="996" y="568"/>
                    <a:pt x="996" y="568"/>
                    <a:pt x="996" y="568"/>
                  </a:cubicBezTo>
                  <a:cubicBezTo>
                    <a:pt x="963" y="571"/>
                    <a:pt x="963" y="571"/>
                    <a:pt x="963" y="571"/>
                  </a:cubicBezTo>
                  <a:cubicBezTo>
                    <a:pt x="970" y="584"/>
                    <a:pt x="970" y="584"/>
                    <a:pt x="970" y="584"/>
                  </a:cubicBezTo>
                  <a:cubicBezTo>
                    <a:pt x="970" y="584"/>
                    <a:pt x="944" y="578"/>
                    <a:pt x="941" y="589"/>
                  </a:cubicBezTo>
                  <a:cubicBezTo>
                    <a:pt x="938" y="600"/>
                    <a:pt x="941" y="615"/>
                    <a:pt x="941" y="615"/>
                  </a:cubicBezTo>
                  <a:cubicBezTo>
                    <a:pt x="890" y="621"/>
                    <a:pt x="890" y="621"/>
                    <a:pt x="890" y="621"/>
                  </a:cubicBezTo>
                  <a:cubicBezTo>
                    <a:pt x="890" y="621"/>
                    <a:pt x="875" y="610"/>
                    <a:pt x="870" y="609"/>
                  </a:cubicBezTo>
                  <a:cubicBezTo>
                    <a:pt x="865" y="608"/>
                    <a:pt x="843" y="614"/>
                    <a:pt x="843" y="600"/>
                  </a:cubicBezTo>
                  <a:cubicBezTo>
                    <a:pt x="843" y="586"/>
                    <a:pt x="843" y="569"/>
                    <a:pt x="860" y="575"/>
                  </a:cubicBezTo>
                  <a:cubicBezTo>
                    <a:pt x="877" y="581"/>
                    <a:pt x="898" y="575"/>
                    <a:pt x="898" y="575"/>
                  </a:cubicBezTo>
                  <a:cubicBezTo>
                    <a:pt x="898" y="575"/>
                    <a:pt x="860" y="544"/>
                    <a:pt x="854" y="541"/>
                  </a:cubicBezTo>
                  <a:cubicBezTo>
                    <a:pt x="848" y="538"/>
                    <a:pt x="773" y="539"/>
                    <a:pt x="773" y="539"/>
                  </a:cubicBezTo>
                  <a:cubicBezTo>
                    <a:pt x="779" y="548"/>
                    <a:pt x="779" y="548"/>
                    <a:pt x="779" y="548"/>
                  </a:cubicBezTo>
                  <a:cubicBezTo>
                    <a:pt x="779" y="548"/>
                    <a:pt x="810" y="543"/>
                    <a:pt x="805" y="563"/>
                  </a:cubicBezTo>
                  <a:cubicBezTo>
                    <a:pt x="800" y="583"/>
                    <a:pt x="790" y="612"/>
                    <a:pt x="797" y="612"/>
                  </a:cubicBezTo>
                  <a:cubicBezTo>
                    <a:pt x="804" y="612"/>
                    <a:pt x="830" y="620"/>
                    <a:pt x="830" y="620"/>
                  </a:cubicBezTo>
                  <a:cubicBezTo>
                    <a:pt x="828" y="645"/>
                    <a:pt x="828" y="645"/>
                    <a:pt x="828" y="645"/>
                  </a:cubicBezTo>
                  <a:cubicBezTo>
                    <a:pt x="834" y="664"/>
                    <a:pt x="834" y="664"/>
                    <a:pt x="834" y="664"/>
                  </a:cubicBezTo>
                  <a:cubicBezTo>
                    <a:pt x="813" y="650"/>
                    <a:pt x="813" y="650"/>
                    <a:pt x="813" y="650"/>
                  </a:cubicBezTo>
                  <a:cubicBezTo>
                    <a:pt x="798" y="666"/>
                    <a:pt x="798" y="666"/>
                    <a:pt x="798" y="666"/>
                  </a:cubicBezTo>
                  <a:cubicBezTo>
                    <a:pt x="795" y="644"/>
                    <a:pt x="795" y="644"/>
                    <a:pt x="795" y="644"/>
                  </a:cubicBezTo>
                  <a:cubicBezTo>
                    <a:pt x="749" y="632"/>
                    <a:pt x="749" y="632"/>
                    <a:pt x="749" y="632"/>
                  </a:cubicBezTo>
                  <a:cubicBezTo>
                    <a:pt x="729" y="657"/>
                    <a:pt x="729" y="657"/>
                    <a:pt x="729" y="657"/>
                  </a:cubicBezTo>
                  <a:cubicBezTo>
                    <a:pt x="711" y="658"/>
                    <a:pt x="711" y="658"/>
                    <a:pt x="711" y="658"/>
                  </a:cubicBezTo>
                  <a:cubicBezTo>
                    <a:pt x="711" y="658"/>
                    <a:pt x="705" y="669"/>
                    <a:pt x="695" y="673"/>
                  </a:cubicBezTo>
                  <a:cubicBezTo>
                    <a:pt x="685" y="677"/>
                    <a:pt x="665" y="681"/>
                    <a:pt x="673" y="688"/>
                  </a:cubicBezTo>
                  <a:cubicBezTo>
                    <a:pt x="681" y="695"/>
                    <a:pt x="713" y="718"/>
                    <a:pt x="713" y="718"/>
                  </a:cubicBezTo>
                  <a:cubicBezTo>
                    <a:pt x="725" y="735"/>
                    <a:pt x="725" y="735"/>
                    <a:pt x="725" y="735"/>
                  </a:cubicBezTo>
                  <a:cubicBezTo>
                    <a:pt x="705" y="726"/>
                    <a:pt x="705" y="726"/>
                    <a:pt x="705" y="726"/>
                  </a:cubicBezTo>
                  <a:cubicBezTo>
                    <a:pt x="705" y="726"/>
                    <a:pt x="687" y="736"/>
                    <a:pt x="674" y="730"/>
                  </a:cubicBezTo>
                  <a:cubicBezTo>
                    <a:pt x="661" y="724"/>
                    <a:pt x="618" y="717"/>
                    <a:pt x="618" y="717"/>
                  </a:cubicBezTo>
                  <a:cubicBezTo>
                    <a:pt x="618" y="717"/>
                    <a:pt x="612" y="693"/>
                    <a:pt x="597" y="699"/>
                  </a:cubicBezTo>
                  <a:cubicBezTo>
                    <a:pt x="582" y="705"/>
                    <a:pt x="574" y="711"/>
                    <a:pt x="574" y="711"/>
                  </a:cubicBezTo>
                  <a:cubicBezTo>
                    <a:pt x="562" y="712"/>
                    <a:pt x="562" y="712"/>
                    <a:pt x="562" y="712"/>
                  </a:cubicBezTo>
                  <a:cubicBezTo>
                    <a:pt x="592" y="738"/>
                    <a:pt x="592" y="738"/>
                    <a:pt x="592" y="738"/>
                  </a:cubicBezTo>
                  <a:cubicBezTo>
                    <a:pt x="592" y="738"/>
                    <a:pt x="632" y="739"/>
                    <a:pt x="632" y="746"/>
                  </a:cubicBezTo>
                  <a:cubicBezTo>
                    <a:pt x="632" y="753"/>
                    <a:pt x="614" y="764"/>
                    <a:pt x="614" y="764"/>
                  </a:cubicBezTo>
                  <a:cubicBezTo>
                    <a:pt x="572" y="754"/>
                    <a:pt x="572" y="754"/>
                    <a:pt x="572" y="754"/>
                  </a:cubicBezTo>
                  <a:cubicBezTo>
                    <a:pt x="572" y="754"/>
                    <a:pt x="557" y="740"/>
                    <a:pt x="547" y="739"/>
                  </a:cubicBezTo>
                  <a:cubicBezTo>
                    <a:pt x="537" y="738"/>
                    <a:pt x="511" y="749"/>
                    <a:pt x="509" y="735"/>
                  </a:cubicBezTo>
                  <a:cubicBezTo>
                    <a:pt x="507" y="721"/>
                    <a:pt x="508" y="705"/>
                    <a:pt x="508" y="705"/>
                  </a:cubicBezTo>
                  <a:cubicBezTo>
                    <a:pt x="495" y="697"/>
                    <a:pt x="495" y="697"/>
                    <a:pt x="495" y="697"/>
                  </a:cubicBezTo>
                  <a:cubicBezTo>
                    <a:pt x="495" y="697"/>
                    <a:pt x="516" y="679"/>
                    <a:pt x="508" y="670"/>
                  </a:cubicBezTo>
                  <a:cubicBezTo>
                    <a:pt x="500" y="661"/>
                    <a:pt x="444" y="646"/>
                    <a:pt x="444" y="646"/>
                  </a:cubicBezTo>
                  <a:cubicBezTo>
                    <a:pt x="424" y="631"/>
                    <a:pt x="424" y="631"/>
                    <a:pt x="424" y="631"/>
                  </a:cubicBezTo>
                  <a:cubicBezTo>
                    <a:pt x="408" y="620"/>
                    <a:pt x="408" y="620"/>
                    <a:pt x="408" y="620"/>
                  </a:cubicBezTo>
                  <a:cubicBezTo>
                    <a:pt x="398" y="610"/>
                    <a:pt x="398" y="610"/>
                    <a:pt x="398" y="610"/>
                  </a:cubicBezTo>
                  <a:cubicBezTo>
                    <a:pt x="424" y="609"/>
                    <a:pt x="424" y="609"/>
                    <a:pt x="424" y="609"/>
                  </a:cubicBezTo>
                  <a:cubicBezTo>
                    <a:pt x="424" y="609"/>
                    <a:pt x="419" y="618"/>
                    <a:pt x="438" y="622"/>
                  </a:cubicBezTo>
                  <a:cubicBezTo>
                    <a:pt x="457" y="626"/>
                    <a:pt x="482" y="623"/>
                    <a:pt x="482" y="623"/>
                  </a:cubicBezTo>
                  <a:cubicBezTo>
                    <a:pt x="482" y="623"/>
                    <a:pt x="498" y="641"/>
                    <a:pt x="510" y="643"/>
                  </a:cubicBezTo>
                  <a:cubicBezTo>
                    <a:pt x="522" y="645"/>
                    <a:pt x="576" y="650"/>
                    <a:pt x="576" y="650"/>
                  </a:cubicBezTo>
                  <a:cubicBezTo>
                    <a:pt x="576" y="650"/>
                    <a:pt x="613" y="666"/>
                    <a:pt x="656" y="655"/>
                  </a:cubicBezTo>
                  <a:cubicBezTo>
                    <a:pt x="699" y="644"/>
                    <a:pt x="741" y="629"/>
                    <a:pt x="719" y="609"/>
                  </a:cubicBezTo>
                  <a:cubicBezTo>
                    <a:pt x="697" y="589"/>
                    <a:pt x="696" y="576"/>
                    <a:pt x="667" y="570"/>
                  </a:cubicBezTo>
                  <a:cubicBezTo>
                    <a:pt x="638" y="564"/>
                    <a:pt x="598" y="549"/>
                    <a:pt x="579" y="542"/>
                  </a:cubicBezTo>
                  <a:cubicBezTo>
                    <a:pt x="560" y="535"/>
                    <a:pt x="526" y="518"/>
                    <a:pt x="506" y="517"/>
                  </a:cubicBezTo>
                  <a:cubicBezTo>
                    <a:pt x="486" y="516"/>
                    <a:pt x="467" y="516"/>
                    <a:pt x="455" y="516"/>
                  </a:cubicBezTo>
                  <a:cubicBezTo>
                    <a:pt x="443" y="516"/>
                    <a:pt x="421" y="516"/>
                    <a:pt x="421" y="516"/>
                  </a:cubicBezTo>
                  <a:cubicBezTo>
                    <a:pt x="413" y="506"/>
                    <a:pt x="413" y="506"/>
                    <a:pt x="413" y="506"/>
                  </a:cubicBezTo>
                  <a:cubicBezTo>
                    <a:pt x="394" y="507"/>
                    <a:pt x="394" y="507"/>
                    <a:pt x="394" y="507"/>
                  </a:cubicBezTo>
                  <a:cubicBezTo>
                    <a:pt x="373" y="498"/>
                    <a:pt x="373" y="498"/>
                    <a:pt x="373" y="498"/>
                  </a:cubicBezTo>
                  <a:cubicBezTo>
                    <a:pt x="394" y="493"/>
                    <a:pt x="394" y="493"/>
                    <a:pt x="394" y="493"/>
                  </a:cubicBezTo>
                  <a:cubicBezTo>
                    <a:pt x="406" y="485"/>
                    <a:pt x="406" y="485"/>
                    <a:pt x="406" y="485"/>
                  </a:cubicBezTo>
                  <a:cubicBezTo>
                    <a:pt x="406" y="485"/>
                    <a:pt x="363" y="469"/>
                    <a:pt x="357" y="475"/>
                  </a:cubicBezTo>
                  <a:cubicBezTo>
                    <a:pt x="351" y="481"/>
                    <a:pt x="348" y="490"/>
                    <a:pt x="348" y="490"/>
                  </a:cubicBezTo>
                  <a:cubicBezTo>
                    <a:pt x="335" y="490"/>
                    <a:pt x="335" y="490"/>
                    <a:pt x="335" y="490"/>
                  </a:cubicBezTo>
                  <a:cubicBezTo>
                    <a:pt x="333" y="493"/>
                    <a:pt x="329" y="497"/>
                    <a:pt x="321" y="498"/>
                  </a:cubicBezTo>
                  <a:cubicBezTo>
                    <a:pt x="303" y="501"/>
                    <a:pt x="304" y="498"/>
                    <a:pt x="304" y="498"/>
                  </a:cubicBezTo>
                  <a:cubicBezTo>
                    <a:pt x="300" y="506"/>
                    <a:pt x="300" y="506"/>
                    <a:pt x="300" y="506"/>
                  </a:cubicBezTo>
                  <a:cubicBezTo>
                    <a:pt x="285" y="507"/>
                    <a:pt x="285" y="507"/>
                    <a:pt x="285" y="507"/>
                  </a:cubicBezTo>
                  <a:cubicBezTo>
                    <a:pt x="285" y="507"/>
                    <a:pt x="284" y="521"/>
                    <a:pt x="275" y="522"/>
                  </a:cubicBezTo>
                  <a:cubicBezTo>
                    <a:pt x="270" y="522"/>
                    <a:pt x="266" y="521"/>
                    <a:pt x="262" y="519"/>
                  </a:cubicBezTo>
                  <a:cubicBezTo>
                    <a:pt x="261" y="528"/>
                    <a:pt x="261" y="528"/>
                    <a:pt x="261" y="528"/>
                  </a:cubicBezTo>
                  <a:cubicBezTo>
                    <a:pt x="261" y="528"/>
                    <a:pt x="265" y="534"/>
                    <a:pt x="266" y="537"/>
                  </a:cubicBezTo>
                  <a:cubicBezTo>
                    <a:pt x="267" y="540"/>
                    <a:pt x="254" y="542"/>
                    <a:pt x="254" y="542"/>
                  </a:cubicBezTo>
                  <a:cubicBezTo>
                    <a:pt x="254" y="542"/>
                    <a:pt x="257" y="545"/>
                    <a:pt x="259" y="557"/>
                  </a:cubicBezTo>
                  <a:cubicBezTo>
                    <a:pt x="261" y="569"/>
                    <a:pt x="275" y="561"/>
                    <a:pt x="281" y="561"/>
                  </a:cubicBezTo>
                  <a:cubicBezTo>
                    <a:pt x="287" y="561"/>
                    <a:pt x="292" y="568"/>
                    <a:pt x="296" y="573"/>
                  </a:cubicBezTo>
                  <a:cubicBezTo>
                    <a:pt x="300" y="578"/>
                    <a:pt x="306" y="581"/>
                    <a:pt x="315" y="591"/>
                  </a:cubicBezTo>
                  <a:cubicBezTo>
                    <a:pt x="324" y="601"/>
                    <a:pt x="300" y="603"/>
                    <a:pt x="300" y="608"/>
                  </a:cubicBezTo>
                  <a:cubicBezTo>
                    <a:pt x="300" y="613"/>
                    <a:pt x="283" y="620"/>
                    <a:pt x="283" y="620"/>
                  </a:cubicBezTo>
                  <a:cubicBezTo>
                    <a:pt x="296" y="631"/>
                    <a:pt x="296" y="631"/>
                    <a:pt x="296" y="631"/>
                  </a:cubicBezTo>
                  <a:cubicBezTo>
                    <a:pt x="296" y="631"/>
                    <a:pt x="337" y="663"/>
                    <a:pt x="343" y="673"/>
                  </a:cubicBezTo>
                  <a:cubicBezTo>
                    <a:pt x="349" y="683"/>
                    <a:pt x="321" y="677"/>
                    <a:pt x="321" y="677"/>
                  </a:cubicBezTo>
                  <a:cubicBezTo>
                    <a:pt x="316" y="697"/>
                    <a:pt x="316" y="697"/>
                    <a:pt x="316" y="697"/>
                  </a:cubicBezTo>
                  <a:cubicBezTo>
                    <a:pt x="323" y="703"/>
                    <a:pt x="323" y="703"/>
                    <a:pt x="323" y="703"/>
                  </a:cubicBezTo>
                  <a:cubicBezTo>
                    <a:pt x="323" y="713"/>
                    <a:pt x="323" y="713"/>
                    <a:pt x="323" y="713"/>
                  </a:cubicBezTo>
                  <a:cubicBezTo>
                    <a:pt x="323" y="713"/>
                    <a:pt x="342" y="718"/>
                    <a:pt x="343" y="722"/>
                  </a:cubicBezTo>
                  <a:cubicBezTo>
                    <a:pt x="344" y="726"/>
                    <a:pt x="337" y="737"/>
                    <a:pt x="337" y="737"/>
                  </a:cubicBezTo>
                  <a:cubicBezTo>
                    <a:pt x="352" y="740"/>
                    <a:pt x="352" y="740"/>
                    <a:pt x="352" y="740"/>
                  </a:cubicBezTo>
                  <a:cubicBezTo>
                    <a:pt x="352" y="740"/>
                    <a:pt x="363" y="748"/>
                    <a:pt x="364" y="752"/>
                  </a:cubicBezTo>
                  <a:cubicBezTo>
                    <a:pt x="365" y="756"/>
                    <a:pt x="344" y="770"/>
                    <a:pt x="344" y="770"/>
                  </a:cubicBezTo>
                  <a:cubicBezTo>
                    <a:pt x="383" y="788"/>
                    <a:pt x="383" y="788"/>
                    <a:pt x="383" y="788"/>
                  </a:cubicBezTo>
                  <a:cubicBezTo>
                    <a:pt x="383" y="788"/>
                    <a:pt x="406" y="807"/>
                    <a:pt x="405" y="815"/>
                  </a:cubicBezTo>
                  <a:cubicBezTo>
                    <a:pt x="404" y="823"/>
                    <a:pt x="395" y="830"/>
                    <a:pt x="391" y="837"/>
                  </a:cubicBezTo>
                  <a:cubicBezTo>
                    <a:pt x="387" y="844"/>
                    <a:pt x="366" y="856"/>
                    <a:pt x="366" y="856"/>
                  </a:cubicBezTo>
                  <a:cubicBezTo>
                    <a:pt x="366" y="856"/>
                    <a:pt x="338" y="882"/>
                    <a:pt x="334" y="887"/>
                  </a:cubicBezTo>
                  <a:cubicBezTo>
                    <a:pt x="330" y="892"/>
                    <a:pt x="289" y="916"/>
                    <a:pt x="289" y="916"/>
                  </a:cubicBezTo>
                  <a:cubicBezTo>
                    <a:pt x="293" y="923"/>
                    <a:pt x="293" y="923"/>
                    <a:pt x="293" y="923"/>
                  </a:cubicBezTo>
                  <a:cubicBezTo>
                    <a:pt x="313" y="912"/>
                    <a:pt x="313" y="912"/>
                    <a:pt x="313" y="912"/>
                  </a:cubicBezTo>
                  <a:cubicBezTo>
                    <a:pt x="315" y="923"/>
                    <a:pt x="315" y="923"/>
                    <a:pt x="315" y="923"/>
                  </a:cubicBezTo>
                  <a:cubicBezTo>
                    <a:pt x="315" y="923"/>
                    <a:pt x="328" y="936"/>
                    <a:pt x="334" y="939"/>
                  </a:cubicBezTo>
                  <a:cubicBezTo>
                    <a:pt x="340" y="942"/>
                    <a:pt x="367" y="942"/>
                    <a:pt x="367" y="942"/>
                  </a:cubicBezTo>
                  <a:cubicBezTo>
                    <a:pt x="376" y="954"/>
                    <a:pt x="376" y="954"/>
                    <a:pt x="376" y="954"/>
                  </a:cubicBezTo>
                  <a:cubicBezTo>
                    <a:pt x="376" y="954"/>
                    <a:pt x="337" y="945"/>
                    <a:pt x="335" y="951"/>
                  </a:cubicBezTo>
                  <a:cubicBezTo>
                    <a:pt x="333" y="957"/>
                    <a:pt x="333" y="961"/>
                    <a:pt x="333" y="961"/>
                  </a:cubicBezTo>
                  <a:cubicBezTo>
                    <a:pt x="307" y="962"/>
                    <a:pt x="307" y="962"/>
                    <a:pt x="307" y="962"/>
                  </a:cubicBezTo>
                  <a:cubicBezTo>
                    <a:pt x="303" y="980"/>
                    <a:pt x="303" y="980"/>
                    <a:pt x="303" y="980"/>
                  </a:cubicBezTo>
                  <a:cubicBezTo>
                    <a:pt x="303" y="980"/>
                    <a:pt x="300" y="979"/>
                    <a:pt x="295" y="978"/>
                  </a:cubicBezTo>
                  <a:cubicBezTo>
                    <a:pt x="292" y="988"/>
                    <a:pt x="292" y="988"/>
                    <a:pt x="292" y="988"/>
                  </a:cubicBezTo>
                  <a:cubicBezTo>
                    <a:pt x="295" y="997"/>
                    <a:pt x="295" y="997"/>
                    <a:pt x="295" y="997"/>
                  </a:cubicBezTo>
                  <a:cubicBezTo>
                    <a:pt x="295" y="997"/>
                    <a:pt x="288" y="1001"/>
                    <a:pt x="284" y="1003"/>
                  </a:cubicBezTo>
                  <a:cubicBezTo>
                    <a:pt x="280" y="1005"/>
                    <a:pt x="281" y="1019"/>
                    <a:pt x="281" y="1019"/>
                  </a:cubicBezTo>
                  <a:cubicBezTo>
                    <a:pt x="290" y="1023"/>
                    <a:pt x="290" y="1023"/>
                    <a:pt x="290" y="1023"/>
                  </a:cubicBezTo>
                  <a:cubicBezTo>
                    <a:pt x="285" y="1041"/>
                    <a:pt x="285" y="1041"/>
                    <a:pt x="285" y="1041"/>
                  </a:cubicBezTo>
                  <a:cubicBezTo>
                    <a:pt x="292" y="1043"/>
                    <a:pt x="292" y="1043"/>
                    <a:pt x="292" y="1043"/>
                  </a:cubicBezTo>
                  <a:cubicBezTo>
                    <a:pt x="301" y="1055"/>
                    <a:pt x="301" y="1055"/>
                    <a:pt x="301" y="1055"/>
                  </a:cubicBezTo>
                  <a:cubicBezTo>
                    <a:pt x="288" y="1064"/>
                    <a:pt x="288" y="1064"/>
                    <a:pt x="288" y="1064"/>
                  </a:cubicBezTo>
                  <a:cubicBezTo>
                    <a:pt x="288" y="1072"/>
                    <a:pt x="288" y="1072"/>
                    <a:pt x="288" y="1072"/>
                  </a:cubicBezTo>
                  <a:cubicBezTo>
                    <a:pt x="288" y="1072"/>
                    <a:pt x="309" y="1082"/>
                    <a:pt x="310" y="1087"/>
                  </a:cubicBezTo>
                  <a:cubicBezTo>
                    <a:pt x="311" y="1092"/>
                    <a:pt x="298" y="1094"/>
                    <a:pt x="298" y="1094"/>
                  </a:cubicBezTo>
                  <a:cubicBezTo>
                    <a:pt x="297" y="1103"/>
                    <a:pt x="297" y="1103"/>
                    <a:pt x="297" y="1103"/>
                  </a:cubicBezTo>
                  <a:cubicBezTo>
                    <a:pt x="310" y="1107"/>
                    <a:pt x="310" y="1107"/>
                    <a:pt x="310" y="1107"/>
                  </a:cubicBezTo>
                  <a:cubicBezTo>
                    <a:pt x="310" y="1107"/>
                    <a:pt x="315" y="1118"/>
                    <a:pt x="322" y="1124"/>
                  </a:cubicBezTo>
                  <a:cubicBezTo>
                    <a:pt x="328" y="1129"/>
                    <a:pt x="328" y="1139"/>
                    <a:pt x="328" y="1143"/>
                  </a:cubicBezTo>
                  <a:cubicBezTo>
                    <a:pt x="332" y="1144"/>
                    <a:pt x="336" y="1144"/>
                    <a:pt x="339" y="1145"/>
                  </a:cubicBezTo>
                  <a:cubicBezTo>
                    <a:pt x="347" y="1146"/>
                    <a:pt x="348" y="1153"/>
                    <a:pt x="348" y="1153"/>
                  </a:cubicBezTo>
                  <a:cubicBezTo>
                    <a:pt x="354" y="1147"/>
                    <a:pt x="354" y="1147"/>
                    <a:pt x="354" y="1147"/>
                  </a:cubicBezTo>
                  <a:cubicBezTo>
                    <a:pt x="380" y="1153"/>
                    <a:pt x="380" y="1153"/>
                    <a:pt x="380" y="1153"/>
                  </a:cubicBezTo>
                  <a:cubicBezTo>
                    <a:pt x="382" y="1163"/>
                    <a:pt x="382" y="1163"/>
                    <a:pt x="382" y="1163"/>
                  </a:cubicBezTo>
                  <a:cubicBezTo>
                    <a:pt x="404" y="1151"/>
                    <a:pt x="404" y="1151"/>
                    <a:pt x="404" y="1151"/>
                  </a:cubicBezTo>
                  <a:cubicBezTo>
                    <a:pt x="404" y="1151"/>
                    <a:pt x="426" y="1162"/>
                    <a:pt x="437" y="1167"/>
                  </a:cubicBezTo>
                  <a:cubicBezTo>
                    <a:pt x="448" y="1172"/>
                    <a:pt x="434" y="1186"/>
                    <a:pt x="434" y="1186"/>
                  </a:cubicBezTo>
                  <a:cubicBezTo>
                    <a:pt x="442" y="1196"/>
                    <a:pt x="442" y="1196"/>
                    <a:pt x="442" y="1196"/>
                  </a:cubicBezTo>
                  <a:cubicBezTo>
                    <a:pt x="438" y="1208"/>
                    <a:pt x="438" y="1208"/>
                    <a:pt x="438" y="1208"/>
                  </a:cubicBezTo>
                  <a:cubicBezTo>
                    <a:pt x="438" y="1208"/>
                    <a:pt x="443" y="1213"/>
                    <a:pt x="451" y="1215"/>
                  </a:cubicBezTo>
                  <a:cubicBezTo>
                    <a:pt x="459" y="1217"/>
                    <a:pt x="462" y="1238"/>
                    <a:pt x="462" y="1238"/>
                  </a:cubicBezTo>
                  <a:cubicBezTo>
                    <a:pt x="482" y="1245"/>
                    <a:pt x="482" y="1245"/>
                    <a:pt x="482" y="1245"/>
                  </a:cubicBezTo>
                  <a:cubicBezTo>
                    <a:pt x="484" y="1260"/>
                    <a:pt x="484" y="1260"/>
                    <a:pt x="484" y="1260"/>
                  </a:cubicBezTo>
                  <a:cubicBezTo>
                    <a:pt x="484" y="1260"/>
                    <a:pt x="494" y="1258"/>
                    <a:pt x="507" y="1261"/>
                  </a:cubicBezTo>
                  <a:cubicBezTo>
                    <a:pt x="520" y="1264"/>
                    <a:pt x="512" y="1273"/>
                    <a:pt x="512" y="1273"/>
                  </a:cubicBezTo>
                  <a:cubicBezTo>
                    <a:pt x="526" y="1281"/>
                    <a:pt x="526" y="1281"/>
                    <a:pt x="526" y="1281"/>
                  </a:cubicBezTo>
                  <a:cubicBezTo>
                    <a:pt x="526" y="1281"/>
                    <a:pt x="517" y="1290"/>
                    <a:pt x="509" y="1297"/>
                  </a:cubicBezTo>
                  <a:cubicBezTo>
                    <a:pt x="501" y="1304"/>
                    <a:pt x="488" y="1296"/>
                    <a:pt x="488" y="1296"/>
                  </a:cubicBezTo>
                  <a:cubicBezTo>
                    <a:pt x="488" y="1296"/>
                    <a:pt x="486" y="1290"/>
                    <a:pt x="472" y="1293"/>
                  </a:cubicBezTo>
                  <a:cubicBezTo>
                    <a:pt x="458" y="1296"/>
                    <a:pt x="485" y="1318"/>
                    <a:pt x="485" y="1318"/>
                  </a:cubicBezTo>
                  <a:cubicBezTo>
                    <a:pt x="485" y="1318"/>
                    <a:pt x="485" y="1332"/>
                    <a:pt x="488" y="1333"/>
                  </a:cubicBezTo>
                  <a:cubicBezTo>
                    <a:pt x="490" y="1333"/>
                    <a:pt x="490" y="1343"/>
                    <a:pt x="491" y="1351"/>
                  </a:cubicBezTo>
                  <a:cubicBezTo>
                    <a:pt x="486" y="1351"/>
                    <a:pt x="481" y="1350"/>
                    <a:pt x="477" y="1349"/>
                  </a:cubicBezTo>
                  <a:cubicBezTo>
                    <a:pt x="490" y="1351"/>
                    <a:pt x="510" y="1355"/>
                    <a:pt x="516" y="1352"/>
                  </a:cubicBezTo>
                  <a:cubicBezTo>
                    <a:pt x="524" y="1348"/>
                    <a:pt x="520" y="1339"/>
                    <a:pt x="520" y="1339"/>
                  </a:cubicBezTo>
                  <a:cubicBezTo>
                    <a:pt x="538" y="1342"/>
                    <a:pt x="538" y="1342"/>
                    <a:pt x="538" y="1342"/>
                  </a:cubicBezTo>
                  <a:cubicBezTo>
                    <a:pt x="549" y="1337"/>
                    <a:pt x="549" y="1337"/>
                    <a:pt x="549" y="1337"/>
                  </a:cubicBezTo>
                  <a:cubicBezTo>
                    <a:pt x="579" y="1336"/>
                    <a:pt x="579" y="1336"/>
                    <a:pt x="579" y="1336"/>
                  </a:cubicBezTo>
                  <a:cubicBezTo>
                    <a:pt x="585" y="1350"/>
                    <a:pt x="585" y="1350"/>
                    <a:pt x="585" y="1350"/>
                  </a:cubicBezTo>
                  <a:cubicBezTo>
                    <a:pt x="585" y="1350"/>
                    <a:pt x="606" y="1356"/>
                    <a:pt x="604" y="1362"/>
                  </a:cubicBezTo>
                  <a:cubicBezTo>
                    <a:pt x="602" y="1368"/>
                    <a:pt x="594" y="1369"/>
                    <a:pt x="594" y="1369"/>
                  </a:cubicBezTo>
                  <a:cubicBezTo>
                    <a:pt x="599" y="1381"/>
                    <a:pt x="599" y="1381"/>
                    <a:pt x="599" y="1381"/>
                  </a:cubicBezTo>
                  <a:cubicBezTo>
                    <a:pt x="600" y="1392"/>
                    <a:pt x="600" y="1392"/>
                    <a:pt x="600" y="1392"/>
                  </a:cubicBezTo>
                  <a:cubicBezTo>
                    <a:pt x="623" y="1394"/>
                    <a:pt x="623" y="1394"/>
                    <a:pt x="623" y="1394"/>
                  </a:cubicBezTo>
                  <a:cubicBezTo>
                    <a:pt x="651" y="1406"/>
                    <a:pt x="651" y="1406"/>
                    <a:pt x="651" y="1406"/>
                  </a:cubicBezTo>
                  <a:cubicBezTo>
                    <a:pt x="658" y="1435"/>
                    <a:pt x="658" y="1435"/>
                    <a:pt x="658" y="1435"/>
                  </a:cubicBezTo>
                  <a:cubicBezTo>
                    <a:pt x="662" y="1438"/>
                    <a:pt x="662" y="1438"/>
                    <a:pt x="662" y="1438"/>
                  </a:cubicBezTo>
                  <a:cubicBezTo>
                    <a:pt x="680" y="1434"/>
                    <a:pt x="680" y="1434"/>
                    <a:pt x="680" y="1434"/>
                  </a:cubicBezTo>
                  <a:cubicBezTo>
                    <a:pt x="680" y="1434"/>
                    <a:pt x="688" y="1438"/>
                    <a:pt x="696" y="1442"/>
                  </a:cubicBezTo>
                  <a:cubicBezTo>
                    <a:pt x="704" y="1446"/>
                    <a:pt x="702" y="1441"/>
                    <a:pt x="713" y="1440"/>
                  </a:cubicBezTo>
                  <a:cubicBezTo>
                    <a:pt x="724" y="1439"/>
                    <a:pt x="733" y="1445"/>
                    <a:pt x="733" y="1445"/>
                  </a:cubicBezTo>
                  <a:cubicBezTo>
                    <a:pt x="733" y="1445"/>
                    <a:pt x="729" y="1435"/>
                    <a:pt x="738" y="1436"/>
                  </a:cubicBezTo>
                  <a:cubicBezTo>
                    <a:pt x="747" y="1437"/>
                    <a:pt x="749" y="1448"/>
                    <a:pt x="755" y="1452"/>
                  </a:cubicBezTo>
                  <a:cubicBezTo>
                    <a:pt x="761" y="1456"/>
                    <a:pt x="764" y="1461"/>
                    <a:pt x="764" y="1461"/>
                  </a:cubicBezTo>
                  <a:cubicBezTo>
                    <a:pt x="764" y="1461"/>
                    <a:pt x="776" y="1455"/>
                    <a:pt x="780" y="1455"/>
                  </a:cubicBezTo>
                  <a:cubicBezTo>
                    <a:pt x="784" y="1455"/>
                    <a:pt x="797" y="1464"/>
                    <a:pt x="797" y="1464"/>
                  </a:cubicBezTo>
                  <a:cubicBezTo>
                    <a:pt x="797" y="1464"/>
                    <a:pt x="811" y="1462"/>
                    <a:pt x="818" y="1464"/>
                  </a:cubicBezTo>
                  <a:cubicBezTo>
                    <a:pt x="825" y="1466"/>
                    <a:pt x="827" y="1472"/>
                    <a:pt x="827" y="1472"/>
                  </a:cubicBezTo>
                  <a:cubicBezTo>
                    <a:pt x="840" y="1481"/>
                    <a:pt x="840" y="1481"/>
                    <a:pt x="840" y="1481"/>
                  </a:cubicBezTo>
                  <a:cubicBezTo>
                    <a:pt x="840" y="1481"/>
                    <a:pt x="857" y="1475"/>
                    <a:pt x="858" y="1485"/>
                  </a:cubicBezTo>
                  <a:cubicBezTo>
                    <a:pt x="859" y="1495"/>
                    <a:pt x="860" y="1502"/>
                    <a:pt x="860" y="1502"/>
                  </a:cubicBezTo>
                  <a:cubicBezTo>
                    <a:pt x="846" y="1509"/>
                    <a:pt x="846" y="1509"/>
                    <a:pt x="846" y="1509"/>
                  </a:cubicBezTo>
                  <a:cubicBezTo>
                    <a:pt x="846" y="1509"/>
                    <a:pt x="863" y="1512"/>
                    <a:pt x="862" y="1518"/>
                  </a:cubicBezTo>
                  <a:cubicBezTo>
                    <a:pt x="861" y="1524"/>
                    <a:pt x="844" y="1522"/>
                    <a:pt x="845" y="1525"/>
                  </a:cubicBezTo>
                  <a:cubicBezTo>
                    <a:pt x="846" y="1528"/>
                    <a:pt x="858" y="1536"/>
                    <a:pt x="859" y="1542"/>
                  </a:cubicBezTo>
                  <a:cubicBezTo>
                    <a:pt x="860" y="1548"/>
                    <a:pt x="868" y="1561"/>
                    <a:pt x="856" y="1565"/>
                  </a:cubicBezTo>
                  <a:cubicBezTo>
                    <a:pt x="844" y="1569"/>
                    <a:pt x="821" y="1567"/>
                    <a:pt x="821" y="1567"/>
                  </a:cubicBezTo>
                  <a:cubicBezTo>
                    <a:pt x="821" y="1567"/>
                    <a:pt x="813" y="1576"/>
                    <a:pt x="810" y="1580"/>
                  </a:cubicBezTo>
                  <a:cubicBezTo>
                    <a:pt x="807" y="1584"/>
                    <a:pt x="794" y="1584"/>
                    <a:pt x="794" y="1584"/>
                  </a:cubicBezTo>
                  <a:cubicBezTo>
                    <a:pt x="797" y="1609"/>
                    <a:pt x="797" y="1609"/>
                    <a:pt x="797" y="1609"/>
                  </a:cubicBezTo>
                  <a:cubicBezTo>
                    <a:pt x="796" y="1610"/>
                    <a:pt x="795" y="1610"/>
                    <a:pt x="795" y="1610"/>
                  </a:cubicBezTo>
                  <a:cubicBezTo>
                    <a:pt x="796" y="1610"/>
                    <a:pt x="797" y="1609"/>
                    <a:pt x="799" y="1609"/>
                  </a:cubicBezTo>
                  <a:cubicBezTo>
                    <a:pt x="810" y="1603"/>
                    <a:pt x="839" y="1594"/>
                    <a:pt x="840" y="1603"/>
                  </a:cubicBezTo>
                  <a:cubicBezTo>
                    <a:pt x="841" y="1611"/>
                    <a:pt x="819" y="1627"/>
                    <a:pt x="819" y="1627"/>
                  </a:cubicBezTo>
                  <a:cubicBezTo>
                    <a:pt x="786" y="1637"/>
                    <a:pt x="786" y="1637"/>
                    <a:pt x="786" y="1637"/>
                  </a:cubicBezTo>
                  <a:cubicBezTo>
                    <a:pt x="816" y="1660"/>
                    <a:pt x="816" y="1660"/>
                    <a:pt x="816" y="1660"/>
                  </a:cubicBezTo>
                  <a:cubicBezTo>
                    <a:pt x="816" y="1660"/>
                    <a:pt x="792" y="1665"/>
                    <a:pt x="791" y="1675"/>
                  </a:cubicBezTo>
                  <a:cubicBezTo>
                    <a:pt x="790" y="1685"/>
                    <a:pt x="790" y="1696"/>
                    <a:pt x="790" y="1696"/>
                  </a:cubicBezTo>
                  <a:cubicBezTo>
                    <a:pt x="790" y="1696"/>
                    <a:pt x="777" y="1705"/>
                    <a:pt x="772" y="1705"/>
                  </a:cubicBezTo>
                  <a:cubicBezTo>
                    <a:pt x="767" y="1705"/>
                    <a:pt x="752" y="1694"/>
                    <a:pt x="752" y="1694"/>
                  </a:cubicBezTo>
                  <a:cubicBezTo>
                    <a:pt x="748" y="1705"/>
                    <a:pt x="748" y="1705"/>
                    <a:pt x="748" y="1705"/>
                  </a:cubicBezTo>
                  <a:cubicBezTo>
                    <a:pt x="748" y="1705"/>
                    <a:pt x="760" y="1718"/>
                    <a:pt x="763" y="1718"/>
                  </a:cubicBezTo>
                  <a:cubicBezTo>
                    <a:pt x="766" y="1718"/>
                    <a:pt x="775" y="1737"/>
                    <a:pt x="775" y="1737"/>
                  </a:cubicBezTo>
                  <a:cubicBezTo>
                    <a:pt x="800" y="1735"/>
                    <a:pt x="800" y="1735"/>
                    <a:pt x="800" y="1735"/>
                  </a:cubicBezTo>
                  <a:cubicBezTo>
                    <a:pt x="800" y="1735"/>
                    <a:pt x="818" y="1754"/>
                    <a:pt x="824" y="1754"/>
                  </a:cubicBezTo>
                  <a:cubicBezTo>
                    <a:pt x="830" y="1754"/>
                    <a:pt x="842" y="1755"/>
                    <a:pt x="842" y="1755"/>
                  </a:cubicBezTo>
                  <a:cubicBezTo>
                    <a:pt x="842" y="1755"/>
                    <a:pt x="873" y="1792"/>
                    <a:pt x="881" y="1795"/>
                  </a:cubicBezTo>
                  <a:cubicBezTo>
                    <a:pt x="889" y="1798"/>
                    <a:pt x="905" y="1805"/>
                    <a:pt x="905" y="1805"/>
                  </a:cubicBezTo>
                  <a:cubicBezTo>
                    <a:pt x="905" y="1805"/>
                    <a:pt x="904" y="1805"/>
                    <a:pt x="901" y="1804"/>
                  </a:cubicBezTo>
                  <a:cubicBezTo>
                    <a:pt x="914" y="1793"/>
                    <a:pt x="914" y="1793"/>
                    <a:pt x="914" y="1793"/>
                  </a:cubicBezTo>
                  <a:cubicBezTo>
                    <a:pt x="914" y="1793"/>
                    <a:pt x="939" y="1796"/>
                    <a:pt x="955" y="1803"/>
                  </a:cubicBezTo>
                  <a:cubicBezTo>
                    <a:pt x="971" y="1810"/>
                    <a:pt x="983" y="1812"/>
                    <a:pt x="996" y="1811"/>
                  </a:cubicBezTo>
                  <a:cubicBezTo>
                    <a:pt x="1009" y="1810"/>
                    <a:pt x="1029" y="1815"/>
                    <a:pt x="1029" y="1815"/>
                  </a:cubicBezTo>
                  <a:cubicBezTo>
                    <a:pt x="1061" y="1835"/>
                    <a:pt x="1061" y="1835"/>
                    <a:pt x="1061" y="1835"/>
                  </a:cubicBezTo>
                  <a:cubicBezTo>
                    <a:pt x="1061" y="1835"/>
                    <a:pt x="1061" y="1846"/>
                    <a:pt x="1080" y="1846"/>
                  </a:cubicBezTo>
                  <a:cubicBezTo>
                    <a:pt x="1099" y="1846"/>
                    <a:pt x="1091" y="1837"/>
                    <a:pt x="1109" y="1835"/>
                  </a:cubicBezTo>
                  <a:cubicBezTo>
                    <a:pt x="1127" y="1833"/>
                    <a:pt x="1137" y="1848"/>
                    <a:pt x="1137" y="1848"/>
                  </a:cubicBezTo>
                  <a:cubicBezTo>
                    <a:pt x="1157" y="1851"/>
                    <a:pt x="1157" y="1851"/>
                    <a:pt x="1157" y="1851"/>
                  </a:cubicBezTo>
                  <a:cubicBezTo>
                    <a:pt x="1157" y="1851"/>
                    <a:pt x="1152" y="1869"/>
                    <a:pt x="1152" y="1868"/>
                  </a:cubicBezTo>
                  <a:cubicBezTo>
                    <a:pt x="1169" y="1869"/>
                    <a:pt x="1180" y="1879"/>
                    <a:pt x="1187" y="1886"/>
                  </a:cubicBezTo>
                  <a:cubicBezTo>
                    <a:pt x="1187" y="1886"/>
                    <a:pt x="1187" y="1886"/>
                    <a:pt x="1187" y="1886"/>
                  </a:cubicBezTo>
                  <a:cubicBezTo>
                    <a:pt x="1194" y="1885"/>
                    <a:pt x="1205" y="1886"/>
                    <a:pt x="1214" y="1892"/>
                  </a:cubicBezTo>
                  <a:cubicBezTo>
                    <a:pt x="1227" y="1901"/>
                    <a:pt x="1236" y="1923"/>
                    <a:pt x="1252" y="1921"/>
                  </a:cubicBezTo>
                  <a:cubicBezTo>
                    <a:pt x="1268" y="1919"/>
                    <a:pt x="1262" y="1907"/>
                    <a:pt x="1262" y="1907"/>
                  </a:cubicBezTo>
                  <a:cubicBezTo>
                    <a:pt x="1262" y="1907"/>
                    <a:pt x="1278" y="1910"/>
                    <a:pt x="1279" y="1903"/>
                  </a:cubicBezTo>
                  <a:cubicBezTo>
                    <a:pt x="1280" y="1896"/>
                    <a:pt x="1281" y="1885"/>
                    <a:pt x="1281" y="1885"/>
                  </a:cubicBezTo>
                  <a:cubicBezTo>
                    <a:pt x="1274" y="1882"/>
                    <a:pt x="1274" y="1882"/>
                    <a:pt x="1274" y="1882"/>
                  </a:cubicBezTo>
                  <a:cubicBezTo>
                    <a:pt x="1274" y="1882"/>
                    <a:pt x="1269" y="1868"/>
                    <a:pt x="1264" y="1860"/>
                  </a:cubicBezTo>
                  <a:cubicBezTo>
                    <a:pt x="1259" y="1852"/>
                    <a:pt x="1240" y="1848"/>
                    <a:pt x="1240" y="1848"/>
                  </a:cubicBezTo>
                  <a:cubicBezTo>
                    <a:pt x="1240" y="1833"/>
                    <a:pt x="1240" y="1833"/>
                    <a:pt x="1240" y="1833"/>
                  </a:cubicBezTo>
                  <a:cubicBezTo>
                    <a:pt x="1240" y="1833"/>
                    <a:pt x="1232" y="1829"/>
                    <a:pt x="1223" y="1818"/>
                  </a:cubicBezTo>
                  <a:cubicBezTo>
                    <a:pt x="1214" y="1807"/>
                    <a:pt x="1226" y="1793"/>
                    <a:pt x="1221" y="1780"/>
                  </a:cubicBezTo>
                  <a:cubicBezTo>
                    <a:pt x="1216" y="1767"/>
                    <a:pt x="1195" y="1753"/>
                    <a:pt x="1195" y="1753"/>
                  </a:cubicBezTo>
                  <a:cubicBezTo>
                    <a:pt x="1195" y="1753"/>
                    <a:pt x="1186" y="1752"/>
                    <a:pt x="1177" y="1747"/>
                  </a:cubicBezTo>
                  <a:cubicBezTo>
                    <a:pt x="1168" y="1742"/>
                    <a:pt x="1190" y="1721"/>
                    <a:pt x="1190" y="1721"/>
                  </a:cubicBezTo>
                  <a:cubicBezTo>
                    <a:pt x="1190" y="1721"/>
                    <a:pt x="1205" y="1708"/>
                    <a:pt x="1208" y="1701"/>
                  </a:cubicBezTo>
                  <a:cubicBezTo>
                    <a:pt x="1211" y="1694"/>
                    <a:pt x="1197" y="1679"/>
                    <a:pt x="1197" y="1679"/>
                  </a:cubicBezTo>
                  <a:cubicBezTo>
                    <a:pt x="1197" y="1679"/>
                    <a:pt x="1211" y="1685"/>
                    <a:pt x="1214" y="1685"/>
                  </a:cubicBezTo>
                  <a:cubicBezTo>
                    <a:pt x="1217" y="1685"/>
                    <a:pt x="1229" y="1684"/>
                    <a:pt x="1232" y="1678"/>
                  </a:cubicBezTo>
                  <a:cubicBezTo>
                    <a:pt x="1235" y="1672"/>
                    <a:pt x="1238" y="1678"/>
                    <a:pt x="1250" y="1676"/>
                  </a:cubicBezTo>
                  <a:cubicBezTo>
                    <a:pt x="1262" y="1674"/>
                    <a:pt x="1245" y="1661"/>
                    <a:pt x="1245" y="1661"/>
                  </a:cubicBezTo>
                  <a:cubicBezTo>
                    <a:pt x="1245" y="1661"/>
                    <a:pt x="1261" y="1662"/>
                    <a:pt x="1264" y="1662"/>
                  </a:cubicBezTo>
                  <a:cubicBezTo>
                    <a:pt x="1266" y="1662"/>
                    <a:pt x="1265" y="1652"/>
                    <a:pt x="1264" y="1649"/>
                  </a:cubicBezTo>
                  <a:cubicBezTo>
                    <a:pt x="1257" y="1647"/>
                    <a:pt x="1231" y="1638"/>
                    <a:pt x="1231" y="1631"/>
                  </a:cubicBezTo>
                  <a:cubicBezTo>
                    <a:pt x="1231" y="1623"/>
                    <a:pt x="1254" y="1632"/>
                    <a:pt x="1254" y="1624"/>
                  </a:cubicBezTo>
                  <a:cubicBezTo>
                    <a:pt x="1254" y="1616"/>
                    <a:pt x="1215" y="1576"/>
                    <a:pt x="1210" y="1574"/>
                  </a:cubicBezTo>
                  <a:cubicBezTo>
                    <a:pt x="1205" y="1571"/>
                    <a:pt x="1181" y="1580"/>
                    <a:pt x="1169" y="1575"/>
                  </a:cubicBezTo>
                  <a:cubicBezTo>
                    <a:pt x="1157" y="1570"/>
                    <a:pt x="1171" y="1555"/>
                    <a:pt x="1159" y="1550"/>
                  </a:cubicBezTo>
                  <a:cubicBezTo>
                    <a:pt x="1147" y="1544"/>
                    <a:pt x="1137" y="1554"/>
                    <a:pt x="1137" y="1538"/>
                  </a:cubicBezTo>
                  <a:cubicBezTo>
                    <a:pt x="1137" y="1522"/>
                    <a:pt x="1145" y="1510"/>
                    <a:pt x="1145" y="1502"/>
                  </a:cubicBezTo>
                  <a:cubicBezTo>
                    <a:pt x="1145" y="1494"/>
                    <a:pt x="1139" y="1488"/>
                    <a:pt x="1139" y="1488"/>
                  </a:cubicBezTo>
                  <a:cubicBezTo>
                    <a:pt x="1137" y="1464"/>
                    <a:pt x="1137" y="1464"/>
                    <a:pt x="1137" y="1464"/>
                  </a:cubicBezTo>
                  <a:cubicBezTo>
                    <a:pt x="1137" y="1464"/>
                    <a:pt x="1150" y="1467"/>
                    <a:pt x="1150" y="1459"/>
                  </a:cubicBezTo>
                  <a:cubicBezTo>
                    <a:pt x="1150" y="1451"/>
                    <a:pt x="1142" y="1432"/>
                    <a:pt x="1154" y="1431"/>
                  </a:cubicBezTo>
                  <a:cubicBezTo>
                    <a:pt x="1166" y="1430"/>
                    <a:pt x="1194" y="1472"/>
                    <a:pt x="1209" y="1458"/>
                  </a:cubicBezTo>
                  <a:cubicBezTo>
                    <a:pt x="1223" y="1443"/>
                    <a:pt x="1205" y="1428"/>
                    <a:pt x="1205" y="1428"/>
                  </a:cubicBezTo>
                  <a:cubicBezTo>
                    <a:pt x="1223" y="1419"/>
                    <a:pt x="1223" y="1419"/>
                    <a:pt x="1223" y="1419"/>
                  </a:cubicBezTo>
                  <a:cubicBezTo>
                    <a:pt x="1223" y="1404"/>
                    <a:pt x="1223" y="1404"/>
                    <a:pt x="1223" y="1404"/>
                  </a:cubicBezTo>
                  <a:cubicBezTo>
                    <a:pt x="1223" y="1404"/>
                    <a:pt x="1251" y="1399"/>
                    <a:pt x="1259" y="1388"/>
                  </a:cubicBezTo>
                  <a:cubicBezTo>
                    <a:pt x="1267" y="1378"/>
                    <a:pt x="1245" y="1370"/>
                    <a:pt x="1267" y="1368"/>
                  </a:cubicBezTo>
                  <a:cubicBezTo>
                    <a:pt x="1290" y="1367"/>
                    <a:pt x="1282" y="1380"/>
                    <a:pt x="1298" y="1380"/>
                  </a:cubicBezTo>
                  <a:cubicBezTo>
                    <a:pt x="1314" y="1380"/>
                    <a:pt x="1327" y="1367"/>
                    <a:pt x="1334" y="1367"/>
                  </a:cubicBezTo>
                  <a:cubicBezTo>
                    <a:pt x="1341" y="1367"/>
                    <a:pt x="1342" y="1380"/>
                    <a:pt x="1351" y="1382"/>
                  </a:cubicBezTo>
                  <a:cubicBezTo>
                    <a:pt x="1361" y="1383"/>
                    <a:pt x="1385" y="1378"/>
                    <a:pt x="1389" y="1382"/>
                  </a:cubicBezTo>
                  <a:cubicBezTo>
                    <a:pt x="1393" y="1386"/>
                    <a:pt x="1395" y="1398"/>
                    <a:pt x="1395" y="1398"/>
                  </a:cubicBezTo>
                  <a:cubicBezTo>
                    <a:pt x="1419" y="1396"/>
                    <a:pt x="1419" y="1396"/>
                    <a:pt x="1419" y="1396"/>
                  </a:cubicBezTo>
                  <a:cubicBezTo>
                    <a:pt x="1426" y="1416"/>
                    <a:pt x="1426" y="1416"/>
                    <a:pt x="1426" y="1416"/>
                  </a:cubicBezTo>
                  <a:cubicBezTo>
                    <a:pt x="1426" y="1416"/>
                    <a:pt x="1434" y="1436"/>
                    <a:pt x="1442" y="1430"/>
                  </a:cubicBezTo>
                  <a:cubicBezTo>
                    <a:pt x="1450" y="1423"/>
                    <a:pt x="1427" y="1406"/>
                    <a:pt x="1438" y="1403"/>
                  </a:cubicBezTo>
                  <a:cubicBezTo>
                    <a:pt x="1449" y="1400"/>
                    <a:pt x="1490" y="1431"/>
                    <a:pt x="1493" y="1427"/>
                  </a:cubicBezTo>
                  <a:cubicBezTo>
                    <a:pt x="1495" y="1423"/>
                    <a:pt x="1513" y="1403"/>
                    <a:pt x="1522" y="1402"/>
                  </a:cubicBezTo>
                  <a:cubicBezTo>
                    <a:pt x="1531" y="1400"/>
                    <a:pt x="1542" y="1416"/>
                    <a:pt x="1558" y="1412"/>
                  </a:cubicBezTo>
                  <a:cubicBezTo>
                    <a:pt x="1574" y="1408"/>
                    <a:pt x="1585" y="1399"/>
                    <a:pt x="1593" y="1400"/>
                  </a:cubicBezTo>
                  <a:cubicBezTo>
                    <a:pt x="1601" y="1402"/>
                    <a:pt x="1613" y="1423"/>
                    <a:pt x="1623" y="1424"/>
                  </a:cubicBezTo>
                  <a:cubicBezTo>
                    <a:pt x="1634" y="1426"/>
                    <a:pt x="1657" y="1430"/>
                    <a:pt x="1657" y="1430"/>
                  </a:cubicBezTo>
                  <a:cubicBezTo>
                    <a:pt x="1663" y="1414"/>
                    <a:pt x="1663" y="1414"/>
                    <a:pt x="1663" y="1414"/>
                  </a:cubicBezTo>
                  <a:cubicBezTo>
                    <a:pt x="1663" y="1414"/>
                    <a:pt x="1723" y="1444"/>
                    <a:pt x="1719" y="1406"/>
                  </a:cubicBezTo>
                  <a:cubicBezTo>
                    <a:pt x="1715" y="1367"/>
                    <a:pt x="1665" y="1370"/>
                    <a:pt x="1665" y="1370"/>
                  </a:cubicBezTo>
                  <a:cubicBezTo>
                    <a:pt x="1642" y="1350"/>
                    <a:pt x="1642" y="1350"/>
                    <a:pt x="1642" y="1350"/>
                  </a:cubicBezTo>
                  <a:cubicBezTo>
                    <a:pt x="1642" y="1350"/>
                    <a:pt x="1675" y="1344"/>
                    <a:pt x="1677" y="1338"/>
                  </a:cubicBezTo>
                  <a:cubicBezTo>
                    <a:pt x="1678" y="1331"/>
                    <a:pt x="1665" y="1314"/>
                    <a:pt x="1665" y="1314"/>
                  </a:cubicBezTo>
                  <a:cubicBezTo>
                    <a:pt x="1671" y="1303"/>
                    <a:pt x="1671" y="1303"/>
                    <a:pt x="1671" y="1303"/>
                  </a:cubicBezTo>
                  <a:cubicBezTo>
                    <a:pt x="1671" y="1303"/>
                    <a:pt x="1709" y="1310"/>
                    <a:pt x="1709" y="1303"/>
                  </a:cubicBezTo>
                  <a:cubicBezTo>
                    <a:pt x="1709" y="1296"/>
                    <a:pt x="1666" y="1288"/>
                    <a:pt x="1666" y="1288"/>
                  </a:cubicBezTo>
                  <a:cubicBezTo>
                    <a:pt x="1677" y="1276"/>
                    <a:pt x="1677" y="1276"/>
                    <a:pt x="1677" y="1276"/>
                  </a:cubicBezTo>
                  <a:cubicBezTo>
                    <a:pt x="1658" y="1275"/>
                    <a:pt x="1658" y="1275"/>
                    <a:pt x="1658" y="1275"/>
                  </a:cubicBezTo>
                  <a:cubicBezTo>
                    <a:pt x="1658" y="1275"/>
                    <a:pt x="1642" y="1256"/>
                    <a:pt x="1687" y="1250"/>
                  </a:cubicBezTo>
                  <a:cubicBezTo>
                    <a:pt x="1733" y="1243"/>
                    <a:pt x="1765" y="1244"/>
                    <a:pt x="1765" y="1244"/>
                  </a:cubicBezTo>
                  <a:cubicBezTo>
                    <a:pt x="1769" y="1232"/>
                    <a:pt x="1769" y="1232"/>
                    <a:pt x="1769" y="1232"/>
                  </a:cubicBezTo>
                  <a:cubicBezTo>
                    <a:pt x="1811" y="1232"/>
                    <a:pt x="1811" y="1232"/>
                    <a:pt x="1811" y="1232"/>
                  </a:cubicBezTo>
                  <a:cubicBezTo>
                    <a:pt x="1811" y="1232"/>
                    <a:pt x="1811" y="1216"/>
                    <a:pt x="1819" y="1216"/>
                  </a:cubicBezTo>
                  <a:cubicBezTo>
                    <a:pt x="1827" y="1216"/>
                    <a:pt x="1855" y="1220"/>
                    <a:pt x="1877" y="1215"/>
                  </a:cubicBezTo>
                  <a:cubicBezTo>
                    <a:pt x="1898" y="1210"/>
                    <a:pt x="1918" y="1203"/>
                    <a:pt x="1918" y="1203"/>
                  </a:cubicBezTo>
                  <a:cubicBezTo>
                    <a:pt x="1918" y="1203"/>
                    <a:pt x="1915" y="1183"/>
                    <a:pt x="1949" y="1182"/>
                  </a:cubicBezTo>
                  <a:cubicBezTo>
                    <a:pt x="1982" y="1180"/>
                    <a:pt x="1995" y="1191"/>
                    <a:pt x="2001" y="1191"/>
                  </a:cubicBezTo>
                  <a:cubicBezTo>
                    <a:pt x="2006" y="1191"/>
                    <a:pt x="2013" y="1182"/>
                    <a:pt x="2021" y="1187"/>
                  </a:cubicBezTo>
                  <a:cubicBezTo>
                    <a:pt x="2029" y="1192"/>
                    <a:pt x="2034" y="1210"/>
                    <a:pt x="2034" y="1210"/>
                  </a:cubicBezTo>
                  <a:cubicBezTo>
                    <a:pt x="2034" y="1210"/>
                    <a:pt x="2046" y="1210"/>
                    <a:pt x="2046" y="1216"/>
                  </a:cubicBezTo>
                  <a:cubicBezTo>
                    <a:pt x="2046" y="1223"/>
                    <a:pt x="2045" y="1244"/>
                    <a:pt x="2050" y="1244"/>
                  </a:cubicBezTo>
                  <a:cubicBezTo>
                    <a:pt x="2055" y="1244"/>
                    <a:pt x="2083" y="1240"/>
                    <a:pt x="2083" y="1240"/>
                  </a:cubicBezTo>
                  <a:cubicBezTo>
                    <a:pt x="2090" y="1230"/>
                    <a:pt x="2090" y="1230"/>
                    <a:pt x="2090" y="1230"/>
                  </a:cubicBezTo>
                  <a:cubicBezTo>
                    <a:pt x="2109" y="1251"/>
                    <a:pt x="2109" y="1251"/>
                    <a:pt x="2109" y="1251"/>
                  </a:cubicBezTo>
                  <a:cubicBezTo>
                    <a:pt x="2122" y="1243"/>
                    <a:pt x="2122" y="1243"/>
                    <a:pt x="2122" y="1243"/>
                  </a:cubicBezTo>
                  <a:cubicBezTo>
                    <a:pt x="2139" y="1254"/>
                    <a:pt x="2139" y="1254"/>
                    <a:pt x="2139" y="1254"/>
                  </a:cubicBezTo>
                  <a:cubicBezTo>
                    <a:pt x="2139" y="1254"/>
                    <a:pt x="2145" y="1242"/>
                    <a:pt x="2154" y="1251"/>
                  </a:cubicBezTo>
                  <a:cubicBezTo>
                    <a:pt x="2163" y="1260"/>
                    <a:pt x="2142" y="1276"/>
                    <a:pt x="2153" y="1278"/>
                  </a:cubicBezTo>
                  <a:cubicBezTo>
                    <a:pt x="2163" y="1279"/>
                    <a:pt x="2165" y="1266"/>
                    <a:pt x="2171" y="1268"/>
                  </a:cubicBezTo>
                  <a:cubicBezTo>
                    <a:pt x="2178" y="1271"/>
                    <a:pt x="2193" y="1287"/>
                    <a:pt x="2201" y="1280"/>
                  </a:cubicBezTo>
                  <a:cubicBezTo>
                    <a:pt x="2209" y="1274"/>
                    <a:pt x="2201" y="1266"/>
                    <a:pt x="2207" y="1262"/>
                  </a:cubicBezTo>
                  <a:cubicBezTo>
                    <a:pt x="2214" y="1258"/>
                    <a:pt x="2222" y="1256"/>
                    <a:pt x="2222" y="1256"/>
                  </a:cubicBezTo>
                  <a:cubicBezTo>
                    <a:pt x="2231" y="1246"/>
                    <a:pt x="2231" y="1246"/>
                    <a:pt x="2231" y="1246"/>
                  </a:cubicBezTo>
                  <a:cubicBezTo>
                    <a:pt x="2255" y="1238"/>
                    <a:pt x="2255" y="1238"/>
                    <a:pt x="2255" y="1238"/>
                  </a:cubicBezTo>
                  <a:cubicBezTo>
                    <a:pt x="2255" y="1238"/>
                    <a:pt x="2267" y="1216"/>
                    <a:pt x="2275" y="1227"/>
                  </a:cubicBezTo>
                  <a:cubicBezTo>
                    <a:pt x="2283" y="1238"/>
                    <a:pt x="2263" y="1250"/>
                    <a:pt x="2263" y="1250"/>
                  </a:cubicBezTo>
                  <a:cubicBezTo>
                    <a:pt x="2263" y="1250"/>
                    <a:pt x="2331" y="1282"/>
                    <a:pt x="2337" y="1284"/>
                  </a:cubicBezTo>
                  <a:cubicBezTo>
                    <a:pt x="2342" y="1287"/>
                    <a:pt x="2414" y="1354"/>
                    <a:pt x="2429" y="1367"/>
                  </a:cubicBezTo>
                  <a:cubicBezTo>
                    <a:pt x="2443" y="1380"/>
                    <a:pt x="2467" y="1419"/>
                    <a:pt x="2485" y="1416"/>
                  </a:cubicBezTo>
                  <a:cubicBezTo>
                    <a:pt x="2502" y="1414"/>
                    <a:pt x="2498" y="1384"/>
                    <a:pt x="2509" y="1387"/>
                  </a:cubicBezTo>
                  <a:cubicBezTo>
                    <a:pt x="2519" y="1390"/>
                    <a:pt x="2515" y="1406"/>
                    <a:pt x="2519" y="1407"/>
                  </a:cubicBezTo>
                  <a:cubicBezTo>
                    <a:pt x="2523" y="1408"/>
                    <a:pt x="2541" y="1410"/>
                    <a:pt x="2541" y="1410"/>
                  </a:cubicBezTo>
                  <a:cubicBezTo>
                    <a:pt x="2541" y="1410"/>
                    <a:pt x="2555" y="1426"/>
                    <a:pt x="2567" y="1424"/>
                  </a:cubicBezTo>
                  <a:cubicBezTo>
                    <a:pt x="2579" y="1423"/>
                    <a:pt x="2595" y="1402"/>
                    <a:pt x="2618" y="1406"/>
                  </a:cubicBezTo>
                  <a:cubicBezTo>
                    <a:pt x="2641" y="1410"/>
                    <a:pt x="2662" y="1439"/>
                    <a:pt x="2662" y="1439"/>
                  </a:cubicBezTo>
                  <a:cubicBezTo>
                    <a:pt x="2662" y="1439"/>
                    <a:pt x="2697" y="1444"/>
                    <a:pt x="2698" y="1448"/>
                  </a:cubicBezTo>
                  <a:cubicBezTo>
                    <a:pt x="2699" y="1452"/>
                    <a:pt x="2715" y="1480"/>
                    <a:pt x="2715" y="1480"/>
                  </a:cubicBezTo>
                  <a:cubicBezTo>
                    <a:pt x="2762" y="1484"/>
                    <a:pt x="2762" y="1484"/>
                    <a:pt x="2762" y="1484"/>
                  </a:cubicBezTo>
                  <a:cubicBezTo>
                    <a:pt x="2773" y="1462"/>
                    <a:pt x="2773" y="1462"/>
                    <a:pt x="2773" y="1462"/>
                  </a:cubicBezTo>
                  <a:cubicBezTo>
                    <a:pt x="2786" y="1478"/>
                    <a:pt x="2786" y="1478"/>
                    <a:pt x="2786" y="1478"/>
                  </a:cubicBezTo>
                  <a:cubicBezTo>
                    <a:pt x="2810" y="1504"/>
                    <a:pt x="2810" y="1504"/>
                    <a:pt x="2810" y="1504"/>
                  </a:cubicBezTo>
                  <a:cubicBezTo>
                    <a:pt x="2815" y="1505"/>
                    <a:pt x="2819" y="1506"/>
                    <a:pt x="2819" y="1506"/>
                  </a:cubicBezTo>
                  <a:cubicBezTo>
                    <a:pt x="2819" y="1506"/>
                    <a:pt x="2832" y="1499"/>
                    <a:pt x="2840" y="1503"/>
                  </a:cubicBezTo>
                  <a:cubicBezTo>
                    <a:pt x="2847" y="1496"/>
                    <a:pt x="2847" y="1496"/>
                    <a:pt x="2847" y="1496"/>
                  </a:cubicBezTo>
                  <a:cubicBezTo>
                    <a:pt x="2846" y="1484"/>
                    <a:pt x="2846" y="1484"/>
                    <a:pt x="2846" y="1484"/>
                  </a:cubicBezTo>
                  <a:cubicBezTo>
                    <a:pt x="2887" y="1484"/>
                    <a:pt x="2887" y="1484"/>
                    <a:pt x="2887" y="1484"/>
                  </a:cubicBezTo>
                  <a:cubicBezTo>
                    <a:pt x="2885" y="1475"/>
                    <a:pt x="2885" y="1475"/>
                    <a:pt x="2885" y="1475"/>
                  </a:cubicBezTo>
                  <a:cubicBezTo>
                    <a:pt x="2901" y="1475"/>
                    <a:pt x="2901" y="1475"/>
                    <a:pt x="2901" y="1475"/>
                  </a:cubicBezTo>
                  <a:cubicBezTo>
                    <a:pt x="2901" y="1475"/>
                    <a:pt x="2892" y="1473"/>
                    <a:pt x="2901" y="1463"/>
                  </a:cubicBezTo>
                  <a:cubicBezTo>
                    <a:pt x="2910" y="1453"/>
                    <a:pt x="2921" y="1445"/>
                    <a:pt x="2921" y="1445"/>
                  </a:cubicBezTo>
                  <a:cubicBezTo>
                    <a:pt x="2930" y="1446"/>
                    <a:pt x="2930" y="1446"/>
                    <a:pt x="2930" y="1446"/>
                  </a:cubicBezTo>
                  <a:cubicBezTo>
                    <a:pt x="2941" y="1433"/>
                    <a:pt x="2941" y="1433"/>
                    <a:pt x="2941" y="1433"/>
                  </a:cubicBezTo>
                  <a:cubicBezTo>
                    <a:pt x="2957" y="1433"/>
                    <a:pt x="2957" y="1433"/>
                    <a:pt x="2957" y="1433"/>
                  </a:cubicBezTo>
                  <a:cubicBezTo>
                    <a:pt x="2957" y="1433"/>
                    <a:pt x="2958" y="1416"/>
                    <a:pt x="2965" y="1416"/>
                  </a:cubicBezTo>
                  <a:cubicBezTo>
                    <a:pt x="2972" y="1416"/>
                    <a:pt x="2981" y="1422"/>
                    <a:pt x="2981" y="1422"/>
                  </a:cubicBezTo>
                  <a:cubicBezTo>
                    <a:pt x="2993" y="1415"/>
                    <a:pt x="2993" y="1415"/>
                    <a:pt x="2993" y="1415"/>
                  </a:cubicBezTo>
                  <a:cubicBezTo>
                    <a:pt x="2993" y="1415"/>
                    <a:pt x="2993" y="1420"/>
                    <a:pt x="2996" y="1420"/>
                  </a:cubicBezTo>
                  <a:cubicBezTo>
                    <a:pt x="2999" y="1420"/>
                    <a:pt x="3015" y="1420"/>
                    <a:pt x="3015" y="1420"/>
                  </a:cubicBezTo>
                  <a:cubicBezTo>
                    <a:pt x="3020" y="1431"/>
                    <a:pt x="3020" y="1431"/>
                    <a:pt x="3020" y="1431"/>
                  </a:cubicBezTo>
                  <a:cubicBezTo>
                    <a:pt x="3020" y="1431"/>
                    <a:pt x="3064" y="1427"/>
                    <a:pt x="3071" y="1427"/>
                  </a:cubicBezTo>
                  <a:cubicBezTo>
                    <a:pt x="3078" y="1427"/>
                    <a:pt x="3076" y="1440"/>
                    <a:pt x="3085" y="1447"/>
                  </a:cubicBezTo>
                  <a:cubicBezTo>
                    <a:pt x="3094" y="1454"/>
                    <a:pt x="3116" y="1452"/>
                    <a:pt x="3116" y="1452"/>
                  </a:cubicBezTo>
                  <a:cubicBezTo>
                    <a:pt x="3118" y="1461"/>
                    <a:pt x="3118" y="1461"/>
                    <a:pt x="3118" y="1461"/>
                  </a:cubicBezTo>
                  <a:cubicBezTo>
                    <a:pt x="3137" y="1458"/>
                    <a:pt x="3137" y="1458"/>
                    <a:pt x="3137" y="1458"/>
                  </a:cubicBezTo>
                  <a:cubicBezTo>
                    <a:pt x="3139" y="1463"/>
                    <a:pt x="3139" y="1463"/>
                    <a:pt x="3139" y="1463"/>
                  </a:cubicBezTo>
                  <a:cubicBezTo>
                    <a:pt x="3139" y="1463"/>
                    <a:pt x="3141" y="1457"/>
                    <a:pt x="3152" y="1456"/>
                  </a:cubicBezTo>
                  <a:cubicBezTo>
                    <a:pt x="3163" y="1455"/>
                    <a:pt x="3172" y="1456"/>
                    <a:pt x="3172" y="1456"/>
                  </a:cubicBezTo>
                  <a:cubicBezTo>
                    <a:pt x="3173" y="1464"/>
                    <a:pt x="3173" y="1464"/>
                    <a:pt x="3173" y="1464"/>
                  </a:cubicBezTo>
                  <a:cubicBezTo>
                    <a:pt x="3203" y="1462"/>
                    <a:pt x="3203" y="1462"/>
                    <a:pt x="3203" y="1462"/>
                  </a:cubicBezTo>
                  <a:cubicBezTo>
                    <a:pt x="3203" y="1462"/>
                    <a:pt x="3197" y="1478"/>
                    <a:pt x="3214" y="1470"/>
                  </a:cubicBezTo>
                  <a:cubicBezTo>
                    <a:pt x="3231" y="1462"/>
                    <a:pt x="3229" y="1455"/>
                    <a:pt x="3229" y="1455"/>
                  </a:cubicBezTo>
                  <a:cubicBezTo>
                    <a:pt x="3229" y="1455"/>
                    <a:pt x="3241" y="1465"/>
                    <a:pt x="3241" y="1447"/>
                  </a:cubicBezTo>
                  <a:cubicBezTo>
                    <a:pt x="3241" y="1429"/>
                    <a:pt x="3226" y="1429"/>
                    <a:pt x="3226" y="1429"/>
                  </a:cubicBezTo>
                  <a:cubicBezTo>
                    <a:pt x="3210" y="1405"/>
                    <a:pt x="3210" y="1405"/>
                    <a:pt x="3210" y="1405"/>
                  </a:cubicBezTo>
                  <a:cubicBezTo>
                    <a:pt x="3206" y="1391"/>
                    <a:pt x="3206" y="1391"/>
                    <a:pt x="3206" y="1391"/>
                  </a:cubicBezTo>
                  <a:cubicBezTo>
                    <a:pt x="3206" y="1391"/>
                    <a:pt x="3200" y="1388"/>
                    <a:pt x="3200" y="1382"/>
                  </a:cubicBezTo>
                  <a:cubicBezTo>
                    <a:pt x="3200" y="1376"/>
                    <a:pt x="3211" y="1378"/>
                    <a:pt x="3211" y="1378"/>
                  </a:cubicBezTo>
                  <a:cubicBezTo>
                    <a:pt x="3209" y="1367"/>
                    <a:pt x="3209" y="1367"/>
                    <a:pt x="3209" y="1367"/>
                  </a:cubicBezTo>
                  <a:cubicBezTo>
                    <a:pt x="3209" y="1367"/>
                    <a:pt x="3213" y="1369"/>
                    <a:pt x="3218" y="1363"/>
                  </a:cubicBezTo>
                  <a:cubicBezTo>
                    <a:pt x="3223" y="1357"/>
                    <a:pt x="3222" y="1345"/>
                    <a:pt x="3222" y="1345"/>
                  </a:cubicBezTo>
                  <a:cubicBezTo>
                    <a:pt x="3231" y="1347"/>
                    <a:pt x="3231" y="1347"/>
                    <a:pt x="3231" y="1347"/>
                  </a:cubicBezTo>
                  <a:cubicBezTo>
                    <a:pt x="3231" y="1347"/>
                    <a:pt x="3254" y="1364"/>
                    <a:pt x="3272" y="1366"/>
                  </a:cubicBezTo>
                  <a:cubicBezTo>
                    <a:pt x="3290" y="1368"/>
                    <a:pt x="3310" y="1367"/>
                    <a:pt x="3310" y="1367"/>
                  </a:cubicBezTo>
                  <a:cubicBezTo>
                    <a:pt x="3310" y="1367"/>
                    <a:pt x="3329" y="1381"/>
                    <a:pt x="3339" y="1383"/>
                  </a:cubicBezTo>
                  <a:cubicBezTo>
                    <a:pt x="3349" y="1385"/>
                    <a:pt x="3361" y="1372"/>
                    <a:pt x="3370" y="1383"/>
                  </a:cubicBezTo>
                  <a:cubicBezTo>
                    <a:pt x="3379" y="1394"/>
                    <a:pt x="3401" y="1428"/>
                    <a:pt x="3401" y="1428"/>
                  </a:cubicBezTo>
                  <a:cubicBezTo>
                    <a:pt x="3416" y="1425"/>
                    <a:pt x="3416" y="1425"/>
                    <a:pt x="3416" y="1425"/>
                  </a:cubicBezTo>
                  <a:cubicBezTo>
                    <a:pt x="3416" y="1425"/>
                    <a:pt x="3418" y="1441"/>
                    <a:pt x="3428" y="1441"/>
                  </a:cubicBezTo>
                  <a:cubicBezTo>
                    <a:pt x="3438" y="1441"/>
                    <a:pt x="3445" y="1440"/>
                    <a:pt x="3445" y="1440"/>
                  </a:cubicBezTo>
                  <a:cubicBezTo>
                    <a:pt x="3445" y="1440"/>
                    <a:pt x="3462" y="1450"/>
                    <a:pt x="3475" y="1449"/>
                  </a:cubicBezTo>
                  <a:cubicBezTo>
                    <a:pt x="3488" y="1448"/>
                    <a:pt x="3506" y="1430"/>
                    <a:pt x="3535" y="1432"/>
                  </a:cubicBezTo>
                  <a:cubicBezTo>
                    <a:pt x="3564" y="1434"/>
                    <a:pt x="3566" y="1442"/>
                    <a:pt x="3566" y="1442"/>
                  </a:cubicBezTo>
                  <a:cubicBezTo>
                    <a:pt x="3593" y="1439"/>
                    <a:pt x="3593" y="1439"/>
                    <a:pt x="3593" y="1439"/>
                  </a:cubicBezTo>
                  <a:cubicBezTo>
                    <a:pt x="3593" y="1439"/>
                    <a:pt x="3604" y="1458"/>
                    <a:pt x="3616" y="1458"/>
                  </a:cubicBezTo>
                  <a:cubicBezTo>
                    <a:pt x="3628" y="1458"/>
                    <a:pt x="3647" y="1458"/>
                    <a:pt x="3650" y="1459"/>
                  </a:cubicBezTo>
                  <a:cubicBezTo>
                    <a:pt x="3653" y="1460"/>
                    <a:pt x="3661" y="1479"/>
                    <a:pt x="3664" y="1478"/>
                  </a:cubicBezTo>
                  <a:cubicBezTo>
                    <a:pt x="3667" y="1477"/>
                    <a:pt x="3678" y="1480"/>
                    <a:pt x="3678" y="1480"/>
                  </a:cubicBezTo>
                  <a:cubicBezTo>
                    <a:pt x="3678" y="1480"/>
                    <a:pt x="3673" y="1491"/>
                    <a:pt x="3693" y="1493"/>
                  </a:cubicBezTo>
                  <a:cubicBezTo>
                    <a:pt x="3713" y="1495"/>
                    <a:pt x="3723" y="1492"/>
                    <a:pt x="3723" y="1492"/>
                  </a:cubicBezTo>
                  <a:cubicBezTo>
                    <a:pt x="3723" y="1492"/>
                    <a:pt x="3730" y="1495"/>
                    <a:pt x="3733" y="1498"/>
                  </a:cubicBezTo>
                  <a:cubicBezTo>
                    <a:pt x="3736" y="1501"/>
                    <a:pt x="3760" y="1501"/>
                    <a:pt x="3760" y="1501"/>
                  </a:cubicBezTo>
                  <a:cubicBezTo>
                    <a:pt x="3760" y="1501"/>
                    <a:pt x="3772" y="1494"/>
                    <a:pt x="3776" y="1496"/>
                  </a:cubicBezTo>
                  <a:cubicBezTo>
                    <a:pt x="3780" y="1498"/>
                    <a:pt x="3788" y="1507"/>
                    <a:pt x="3793" y="1501"/>
                  </a:cubicBezTo>
                  <a:cubicBezTo>
                    <a:pt x="3798" y="1495"/>
                    <a:pt x="3796" y="1490"/>
                    <a:pt x="3805" y="1488"/>
                  </a:cubicBezTo>
                  <a:cubicBezTo>
                    <a:pt x="3814" y="1486"/>
                    <a:pt x="3831" y="1487"/>
                    <a:pt x="3831" y="1487"/>
                  </a:cubicBezTo>
                  <a:cubicBezTo>
                    <a:pt x="3841" y="1482"/>
                    <a:pt x="3841" y="1482"/>
                    <a:pt x="3841" y="1482"/>
                  </a:cubicBezTo>
                  <a:cubicBezTo>
                    <a:pt x="3841" y="1482"/>
                    <a:pt x="3853" y="1485"/>
                    <a:pt x="3863" y="1481"/>
                  </a:cubicBezTo>
                  <a:cubicBezTo>
                    <a:pt x="3873" y="1477"/>
                    <a:pt x="3870" y="1466"/>
                    <a:pt x="3870" y="1466"/>
                  </a:cubicBezTo>
                  <a:cubicBezTo>
                    <a:pt x="3893" y="1443"/>
                    <a:pt x="3893" y="1443"/>
                    <a:pt x="3893" y="1443"/>
                  </a:cubicBezTo>
                  <a:cubicBezTo>
                    <a:pt x="3893" y="1443"/>
                    <a:pt x="3920" y="1447"/>
                    <a:pt x="3929" y="1447"/>
                  </a:cubicBezTo>
                  <a:cubicBezTo>
                    <a:pt x="3938" y="1447"/>
                    <a:pt x="3948" y="1463"/>
                    <a:pt x="3962" y="1463"/>
                  </a:cubicBezTo>
                  <a:cubicBezTo>
                    <a:pt x="3976" y="1463"/>
                    <a:pt x="3982" y="1456"/>
                    <a:pt x="3982" y="1456"/>
                  </a:cubicBezTo>
                  <a:cubicBezTo>
                    <a:pt x="4000" y="1459"/>
                    <a:pt x="4000" y="1459"/>
                    <a:pt x="4000" y="1459"/>
                  </a:cubicBezTo>
                  <a:cubicBezTo>
                    <a:pt x="4011" y="1462"/>
                    <a:pt x="4011" y="1462"/>
                    <a:pt x="4011" y="1462"/>
                  </a:cubicBezTo>
                  <a:cubicBezTo>
                    <a:pt x="4034" y="1476"/>
                    <a:pt x="4034" y="1476"/>
                    <a:pt x="4034" y="1476"/>
                  </a:cubicBezTo>
                  <a:cubicBezTo>
                    <a:pt x="4058" y="1477"/>
                    <a:pt x="4058" y="1477"/>
                    <a:pt x="4058" y="1477"/>
                  </a:cubicBezTo>
                  <a:cubicBezTo>
                    <a:pt x="4058" y="1477"/>
                    <a:pt x="4061" y="1482"/>
                    <a:pt x="4071" y="1482"/>
                  </a:cubicBezTo>
                  <a:cubicBezTo>
                    <a:pt x="4081" y="1482"/>
                    <a:pt x="4085" y="1460"/>
                    <a:pt x="4085" y="1460"/>
                  </a:cubicBezTo>
                  <a:cubicBezTo>
                    <a:pt x="4085" y="1460"/>
                    <a:pt x="4096" y="1465"/>
                    <a:pt x="4109" y="1457"/>
                  </a:cubicBezTo>
                  <a:cubicBezTo>
                    <a:pt x="4122" y="1449"/>
                    <a:pt x="4098" y="1439"/>
                    <a:pt x="4098" y="1439"/>
                  </a:cubicBezTo>
                  <a:cubicBezTo>
                    <a:pt x="4097" y="1414"/>
                    <a:pt x="4097" y="1414"/>
                    <a:pt x="4097" y="1414"/>
                  </a:cubicBezTo>
                  <a:cubicBezTo>
                    <a:pt x="4097" y="1395"/>
                    <a:pt x="4097" y="1395"/>
                    <a:pt x="4097" y="1395"/>
                  </a:cubicBezTo>
                  <a:cubicBezTo>
                    <a:pt x="4097" y="1395"/>
                    <a:pt x="4092" y="1377"/>
                    <a:pt x="4094" y="1368"/>
                  </a:cubicBezTo>
                  <a:cubicBezTo>
                    <a:pt x="4096" y="1359"/>
                    <a:pt x="4108" y="1354"/>
                    <a:pt x="4109" y="1348"/>
                  </a:cubicBezTo>
                  <a:cubicBezTo>
                    <a:pt x="4110" y="1342"/>
                    <a:pt x="4083" y="1327"/>
                    <a:pt x="4083" y="1327"/>
                  </a:cubicBezTo>
                  <a:cubicBezTo>
                    <a:pt x="4083" y="1327"/>
                    <a:pt x="4071" y="1325"/>
                    <a:pt x="4056" y="1322"/>
                  </a:cubicBezTo>
                  <a:cubicBezTo>
                    <a:pt x="4041" y="1319"/>
                    <a:pt x="4063" y="1304"/>
                    <a:pt x="4063" y="1304"/>
                  </a:cubicBezTo>
                  <a:cubicBezTo>
                    <a:pt x="4083" y="1284"/>
                    <a:pt x="4083" y="1284"/>
                    <a:pt x="4083" y="1284"/>
                  </a:cubicBezTo>
                  <a:cubicBezTo>
                    <a:pt x="4107" y="1281"/>
                    <a:pt x="4107" y="1281"/>
                    <a:pt x="4107" y="1281"/>
                  </a:cubicBezTo>
                  <a:cubicBezTo>
                    <a:pt x="4111" y="1273"/>
                    <a:pt x="4111" y="1273"/>
                    <a:pt x="4111" y="1273"/>
                  </a:cubicBezTo>
                  <a:cubicBezTo>
                    <a:pt x="4139" y="1275"/>
                    <a:pt x="4139" y="1275"/>
                    <a:pt x="4139" y="1275"/>
                  </a:cubicBezTo>
                  <a:cubicBezTo>
                    <a:pt x="4174" y="1268"/>
                    <a:pt x="4174" y="1268"/>
                    <a:pt x="4174" y="1268"/>
                  </a:cubicBezTo>
                  <a:cubicBezTo>
                    <a:pt x="4199" y="1281"/>
                    <a:pt x="4199" y="1281"/>
                    <a:pt x="4199" y="1281"/>
                  </a:cubicBezTo>
                  <a:cubicBezTo>
                    <a:pt x="4225" y="1298"/>
                    <a:pt x="4225" y="1298"/>
                    <a:pt x="4225" y="1298"/>
                  </a:cubicBezTo>
                  <a:cubicBezTo>
                    <a:pt x="4240" y="1295"/>
                    <a:pt x="4240" y="1295"/>
                    <a:pt x="4240" y="1295"/>
                  </a:cubicBezTo>
                  <a:cubicBezTo>
                    <a:pt x="4240" y="1295"/>
                    <a:pt x="4259" y="1296"/>
                    <a:pt x="4266" y="1297"/>
                  </a:cubicBezTo>
                  <a:cubicBezTo>
                    <a:pt x="4273" y="1298"/>
                    <a:pt x="4294" y="1312"/>
                    <a:pt x="4294" y="1312"/>
                  </a:cubicBezTo>
                  <a:cubicBezTo>
                    <a:pt x="4296" y="1321"/>
                    <a:pt x="4296" y="1321"/>
                    <a:pt x="4296" y="1321"/>
                  </a:cubicBezTo>
                  <a:cubicBezTo>
                    <a:pt x="4296" y="1321"/>
                    <a:pt x="4314" y="1331"/>
                    <a:pt x="4319" y="1335"/>
                  </a:cubicBezTo>
                  <a:cubicBezTo>
                    <a:pt x="4324" y="1339"/>
                    <a:pt x="4339" y="1344"/>
                    <a:pt x="4339" y="1344"/>
                  </a:cubicBezTo>
                  <a:cubicBezTo>
                    <a:pt x="4342" y="1363"/>
                    <a:pt x="4342" y="1363"/>
                    <a:pt x="4342" y="1363"/>
                  </a:cubicBezTo>
                  <a:cubicBezTo>
                    <a:pt x="4374" y="1380"/>
                    <a:pt x="4374" y="1380"/>
                    <a:pt x="4374" y="1380"/>
                  </a:cubicBezTo>
                  <a:cubicBezTo>
                    <a:pt x="4385" y="1402"/>
                    <a:pt x="4385" y="1402"/>
                    <a:pt x="4385" y="1402"/>
                  </a:cubicBezTo>
                  <a:cubicBezTo>
                    <a:pt x="4385" y="1402"/>
                    <a:pt x="4406" y="1404"/>
                    <a:pt x="4416" y="1413"/>
                  </a:cubicBezTo>
                  <a:cubicBezTo>
                    <a:pt x="4426" y="1422"/>
                    <a:pt x="4444" y="1446"/>
                    <a:pt x="4444" y="1446"/>
                  </a:cubicBezTo>
                  <a:cubicBezTo>
                    <a:pt x="4451" y="1446"/>
                    <a:pt x="4451" y="1446"/>
                    <a:pt x="4451" y="1446"/>
                  </a:cubicBezTo>
                  <a:cubicBezTo>
                    <a:pt x="4455" y="1462"/>
                    <a:pt x="4455" y="1462"/>
                    <a:pt x="4455" y="1462"/>
                  </a:cubicBezTo>
                  <a:cubicBezTo>
                    <a:pt x="4455" y="1462"/>
                    <a:pt x="4474" y="1472"/>
                    <a:pt x="4482" y="1477"/>
                  </a:cubicBezTo>
                  <a:cubicBezTo>
                    <a:pt x="4490" y="1482"/>
                    <a:pt x="4507" y="1481"/>
                    <a:pt x="4517" y="1479"/>
                  </a:cubicBezTo>
                  <a:cubicBezTo>
                    <a:pt x="4527" y="1477"/>
                    <a:pt x="4543" y="1493"/>
                    <a:pt x="4543" y="1493"/>
                  </a:cubicBezTo>
                  <a:cubicBezTo>
                    <a:pt x="4543" y="1493"/>
                    <a:pt x="4551" y="1486"/>
                    <a:pt x="4555" y="1486"/>
                  </a:cubicBezTo>
                  <a:cubicBezTo>
                    <a:pt x="4559" y="1486"/>
                    <a:pt x="4597" y="1514"/>
                    <a:pt x="4597" y="1514"/>
                  </a:cubicBezTo>
                  <a:cubicBezTo>
                    <a:pt x="4621" y="1514"/>
                    <a:pt x="4621" y="1514"/>
                    <a:pt x="4621" y="1514"/>
                  </a:cubicBezTo>
                  <a:cubicBezTo>
                    <a:pt x="4630" y="1533"/>
                    <a:pt x="4630" y="1533"/>
                    <a:pt x="4630" y="1533"/>
                  </a:cubicBezTo>
                  <a:cubicBezTo>
                    <a:pt x="4630" y="1533"/>
                    <a:pt x="4646" y="1534"/>
                    <a:pt x="4649" y="1541"/>
                  </a:cubicBezTo>
                  <a:cubicBezTo>
                    <a:pt x="4652" y="1548"/>
                    <a:pt x="4653" y="1556"/>
                    <a:pt x="4653" y="1556"/>
                  </a:cubicBezTo>
                  <a:cubicBezTo>
                    <a:pt x="4678" y="1576"/>
                    <a:pt x="4678" y="1576"/>
                    <a:pt x="4678" y="1576"/>
                  </a:cubicBezTo>
                  <a:cubicBezTo>
                    <a:pt x="4695" y="1572"/>
                    <a:pt x="4695" y="1572"/>
                    <a:pt x="4695" y="1572"/>
                  </a:cubicBezTo>
                  <a:cubicBezTo>
                    <a:pt x="4703" y="1582"/>
                    <a:pt x="4703" y="1582"/>
                    <a:pt x="4703" y="1582"/>
                  </a:cubicBezTo>
                  <a:cubicBezTo>
                    <a:pt x="4716" y="1581"/>
                    <a:pt x="4716" y="1581"/>
                    <a:pt x="4716" y="1581"/>
                  </a:cubicBezTo>
                  <a:cubicBezTo>
                    <a:pt x="4716" y="1574"/>
                    <a:pt x="4716" y="1574"/>
                    <a:pt x="4716" y="1574"/>
                  </a:cubicBezTo>
                  <a:cubicBezTo>
                    <a:pt x="4735" y="1576"/>
                    <a:pt x="4735" y="1576"/>
                    <a:pt x="4735" y="1576"/>
                  </a:cubicBezTo>
                  <a:cubicBezTo>
                    <a:pt x="4735" y="1576"/>
                    <a:pt x="4736" y="1565"/>
                    <a:pt x="4739" y="1560"/>
                  </a:cubicBezTo>
                  <a:cubicBezTo>
                    <a:pt x="4742" y="1555"/>
                    <a:pt x="4770" y="1556"/>
                    <a:pt x="4770" y="1556"/>
                  </a:cubicBezTo>
                  <a:cubicBezTo>
                    <a:pt x="4775" y="1542"/>
                    <a:pt x="4775" y="1542"/>
                    <a:pt x="4775" y="1542"/>
                  </a:cubicBezTo>
                  <a:cubicBezTo>
                    <a:pt x="4775" y="1542"/>
                    <a:pt x="4800" y="1536"/>
                    <a:pt x="4810" y="1544"/>
                  </a:cubicBezTo>
                  <a:cubicBezTo>
                    <a:pt x="4820" y="1552"/>
                    <a:pt x="4814" y="1565"/>
                    <a:pt x="4814" y="1565"/>
                  </a:cubicBezTo>
                  <a:cubicBezTo>
                    <a:pt x="4832" y="1573"/>
                    <a:pt x="4832" y="1573"/>
                    <a:pt x="4832" y="1573"/>
                  </a:cubicBezTo>
                  <a:cubicBezTo>
                    <a:pt x="4832" y="1593"/>
                    <a:pt x="4832" y="1593"/>
                    <a:pt x="4832" y="1593"/>
                  </a:cubicBezTo>
                  <a:cubicBezTo>
                    <a:pt x="4820" y="1598"/>
                    <a:pt x="4820" y="1598"/>
                    <a:pt x="4820" y="1598"/>
                  </a:cubicBezTo>
                  <a:cubicBezTo>
                    <a:pt x="4828" y="1608"/>
                    <a:pt x="4828" y="1608"/>
                    <a:pt x="4828" y="1608"/>
                  </a:cubicBezTo>
                  <a:cubicBezTo>
                    <a:pt x="4828" y="1620"/>
                    <a:pt x="4828" y="1620"/>
                    <a:pt x="4828" y="1620"/>
                  </a:cubicBezTo>
                  <a:cubicBezTo>
                    <a:pt x="4835" y="1630"/>
                    <a:pt x="4835" y="1630"/>
                    <a:pt x="4835" y="1630"/>
                  </a:cubicBezTo>
                  <a:cubicBezTo>
                    <a:pt x="4835" y="1643"/>
                    <a:pt x="4835" y="1643"/>
                    <a:pt x="4835" y="1643"/>
                  </a:cubicBezTo>
                  <a:cubicBezTo>
                    <a:pt x="4846" y="1650"/>
                    <a:pt x="4846" y="1650"/>
                    <a:pt x="4846" y="1650"/>
                  </a:cubicBezTo>
                  <a:cubicBezTo>
                    <a:pt x="4843" y="1667"/>
                    <a:pt x="4843" y="1667"/>
                    <a:pt x="4843" y="1667"/>
                  </a:cubicBezTo>
                  <a:cubicBezTo>
                    <a:pt x="4846" y="1684"/>
                    <a:pt x="4846" y="1684"/>
                    <a:pt x="4846" y="1684"/>
                  </a:cubicBezTo>
                  <a:cubicBezTo>
                    <a:pt x="4846" y="1684"/>
                    <a:pt x="4834" y="1688"/>
                    <a:pt x="4839" y="1700"/>
                  </a:cubicBezTo>
                  <a:cubicBezTo>
                    <a:pt x="4844" y="1712"/>
                    <a:pt x="4846" y="1713"/>
                    <a:pt x="4839" y="1719"/>
                  </a:cubicBezTo>
                  <a:cubicBezTo>
                    <a:pt x="4832" y="1725"/>
                    <a:pt x="4796" y="1702"/>
                    <a:pt x="4785" y="1707"/>
                  </a:cubicBezTo>
                  <a:cubicBezTo>
                    <a:pt x="4774" y="1712"/>
                    <a:pt x="4786" y="1718"/>
                    <a:pt x="4784" y="1723"/>
                  </a:cubicBezTo>
                  <a:cubicBezTo>
                    <a:pt x="4782" y="1728"/>
                    <a:pt x="4769" y="1719"/>
                    <a:pt x="4766" y="1729"/>
                  </a:cubicBezTo>
                  <a:cubicBezTo>
                    <a:pt x="4763" y="1739"/>
                    <a:pt x="4778" y="1740"/>
                    <a:pt x="4792" y="1753"/>
                  </a:cubicBezTo>
                  <a:cubicBezTo>
                    <a:pt x="4806" y="1766"/>
                    <a:pt x="4810" y="1785"/>
                    <a:pt x="4812" y="1791"/>
                  </a:cubicBezTo>
                  <a:cubicBezTo>
                    <a:pt x="4814" y="1797"/>
                    <a:pt x="4825" y="1808"/>
                    <a:pt x="4825" y="1808"/>
                  </a:cubicBezTo>
                  <a:cubicBezTo>
                    <a:pt x="4826" y="1831"/>
                    <a:pt x="4826" y="1831"/>
                    <a:pt x="4826" y="1831"/>
                  </a:cubicBezTo>
                  <a:cubicBezTo>
                    <a:pt x="4809" y="1827"/>
                    <a:pt x="4809" y="1827"/>
                    <a:pt x="4809" y="1827"/>
                  </a:cubicBezTo>
                  <a:cubicBezTo>
                    <a:pt x="4802" y="1845"/>
                    <a:pt x="4802" y="1845"/>
                    <a:pt x="4802" y="1845"/>
                  </a:cubicBezTo>
                  <a:cubicBezTo>
                    <a:pt x="4821" y="1851"/>
                    <a:pt x="4821" y="1851"/>
                    <a:pt x="4821" y="1851"/>
                  </a:cubicBezTo>
                  <a:cubicBezTo>
                    <a:pt x="4844" y="1852"/>
                    <a:pt x="4844" y="1852"/>
                    <a:pt x="4844" y="1852"/>
                  </a:cubicBezTo>
                  <a:cubicBezTo>
                    <a:pt x="4844" y="1852"/>
                    <a:pt x="4838" y="1811"/>
                    <a:pt x="4847" y="1807"/>
                  </a:cubicBezTo>
                  <a:cubicBezTo>
                    <a:pt x="4856" y="1803"/>
                    <a:pt x="4863" y="1816"/>
                    <a:pt x="4863" y="1816"/>
                  </a:cubicBezTo>
                  <a:cubicBezTo>
                    <a:pt x="4872" y="1808"/>
                    <a:pt x="4872" y="1808"/>
                    <a:pt x="4872" y="1808"/>
                  </a:cubicBezTo>
                  <a:cubicBezTo>
                    <a:pt x="4872" y="1808"/>
                    <a:pt x="4888" y="1840"/>
                    <a:pt x="4896" y="1838"/>
                  </a:cubicBezTo>
                  <a:cubicBezTo>
                    <a:pt x="4904" y="1836"/>
                    <a:pt x="4923" y="1830"/>
                    <a:pt x="4923" y="1830"/>
                  </a:cubicBezTo>
                  <a:cubicBezTo>
                    <a:pt x="4923" y="1842"/>
                    <a:pt x="4923" y="1842"/>
                    <a:pt x="4923" y="1842"/>
                  </a:cubicBezTo>
                  <a:cubicBezTo>
                    <a:pt x="4923" y="1842"/>
                    <a:pt x="4978" y="1822"/>
                    <a:pt x="4980" y="1802"/>
                  </a:cubicBezTo>
                  <a:cubicBezTo>
                    <a:pt x="4982" y="1782"/>
                    <a:pt x="4985" y="1754"/>
                    <a:pt x="4985" y="1754"/>
                  </a:cubicBezTo>
                  <a:cubicBezTo>
                    <a:pt x="4999" y="1747"/>
                    <a:pt x="4999" y="1747"/>
                    <a:pt x="4999" y="1747"/>
                  </a:cubicBezTo>
                  <a:cubicBezTo>
                    <a:pt x="4999" y="1747"/>
                    <a:pt x="4997" y="1704"/>
                    <a:pt x="5006" y="1697"/>
                  </a:cubicBezTo>
                  <a:cubicBezTo>
                    <a:pt x="5015" y="1690"/>
                    <a:pt x="5017" y="1666"/>
                    <a:pt x="5019" y="1650"/>
                  </a:cubicBezTo>
                  <a:cubicBezTo>
                    <a:pt x="5021" y="1634"/>
                    <a:pt x="5010" y="1607"/>
                    <a:pt x="5010" y="1607"/>
                  </a:cubicBezTo>
                  <a:cubicBezTo>
                    <a:pt x="5010" y="1607"/>
                    <a:pt x="5024" y="1585"/>
                    <a:pt x="5024" y="1580"/>
                  </a:cubicBezTo>
                  <a:cubicBezTo>
                    <a:pt x="5024" y="1575"/>
                    <a:pt x="5016" y="1565"/>
                    <a:pt x="5016" y="1565"/>
                  </a:cubicBezTo>
                  <a:cubicBezTo>
                    <a:pt x="5016" y="1565"/>
                    <a:pt x="5033" y="1541"/>
                    <a:pt x="5029" y="1532"/>
                  </a:cubicBezTo>
                  <a:cubicBezTo>
                    <a:pt x="5025" y="1523"/>
                    <a:pt x="5013" y="1496"/>
                    <a:pt x="5013" y="1496"/>
                  </a:cubicBezTo>
                  <a:cubicBezTo>
                    <a:pt x="5013" y="1496"/>
                    <a:pt x="5005" y="1468"/>
                    <a:pt x="4998" y="1465"/>
                  </a:cubicBezTo>
                  <a:cubicBezTo>
                    <a:pt x="4991" y="1462"/>
                    <a:pt x="4986" y="1458"/>
                    <a:pt x="4986" y="1458"/>
                  </a:cubicBezTo>
                  <a:cubicBezTo>
                    <a:pt x="4990" y="1451"/>
                    <a:pt x="4990" y="1451"/>
                    <a:pt x="4990" y="1451"/>
                  </a:cubicBezTo>
                  <a:cubicBezTo>
                    <a:pt x="4990" y="1451"/>
                    <a:pt x="4971" y="1443"/>
                    <a:pt x="4965" y="1428"/>
                  </a:cubicBezTo>
                  <a:cubicBezTo>
                    <a:pt x="4959" y="1413"/>
                    <a:pt x="4957" y="1401"/>
                    <a:pt x="4957" y="1401"/>
                  </a:cubicBezTo>
                  <a:cubicBezTo>
                    <a:pt x="4948" y="1395"/>
                    <a:pt x="4948" y="1395"/>
                    <a:pt x="4948" y="1395"/>
                  </a:cubicBezTo>
                  <a:cubicBezTo>
                    <a:pt x="4948" y="1395"/>
                    <a:pt x="4955" y="1365"/>
                    <a:pt x="4948" y="1356"/>
                  </a:cubicBezTo>
                  <a:cubicBezTo>
                    <a:pt x="4941" y="1347"/>
                    <a:pt x="4936" y="1340"/>
                    <a:pt x="4936" y="1340"/>
                  </a:cubicBezTo>
                  <a:cubicBezTo>
                    <a:pt x="4924" y="1336"/>
                    <a:pt x="4924" y="1336"/>
                    <a:pt x="4924" y="1336"/>
                  </a:cubicBezTo>
                  <a:cubicBezTo>
                    <a:pt x="4924" y="1336"/>
                    <a:pt x="4920" y="1322"/>
                    <a:pt x="4913" y="1317"/>
                  </a:cubicBezTo>
                  <a:cubicBezTo>
                    <a:pt x="4906" y="1312"/>
                    <a:pt x="4889" y="1304"/>
                    <a:pt x="4889" y="1304"/>
                  </a:cubicBezTo>
                  <a:cubicBezTo>
                    <a:pt x="4875" y="1300"/>
                    <a:pt x="4875" y="1300"/>
                    <a:pt x="4875" y="1300"/>
                  </a:cubicBezTo>
                  <a:cubicBezTo>
                    <a:pt x="4872" y="1291"/>
                    <a:pt x="4872" y="1291"/>
                    <a:pt x="4872" y="1291"/>
                  </a:cubicBezTo>
                  <a:cubicBezTo>
                    <a:pt x="4872" y="1291"/>
                    <a:pt x="4900" y="1304"/>
                    <a:pt x="4903" y="1298"/>
                  </a:cubicBezTo>
                  <a:cubicBezTo>
                    <a:pt x="4906" y="1292"/>
                    <a:pt x="4885" y="1286"/>
                    <a:pt x="4885" y="1286"/>
                  </a:cubicBezTo>
                  <a:cubicBezTo>
                    <a:pt x="4830" y="1260"/>
                    <a:pt x="4830" y="1260"/>
                    <a:pt x="4830" y="1260"/>
                  </a:cubicBezTo>
                  <a:cubicBezTo>
                    <a:pt x="4830" y="1260"/>
                    <a:pt x="4802" y="1243"/>
                    <a:pt x="4794" y="1238"/>
                  </a:cubicBezTo>
                  <a:cubicBezTo>
                    <a:pt x="4786" y="1233"/>
                    <a:pt x="4772" y="1243"/>
                    <a:pt x="4772" y="1243"/>
                  </a:cubicBezTo>
                  <a:cubicBezTo>
                    <a:pt x="4746" y="1236"/>
                    <a:pt x="4746" y="1236"/>
                    <a:pt x="4746" y="1236"/>
                  </a:cubicBezTo>
                  <a:cubicBezTo>
                    <a:pt x="4771" y="1264"/>
                    <a:pt x="4771" y="1264"/>
                    <a:pt x="4771" y="1264"/>
                  </a:cubicBezTo>
                  <a:cubicBezTo>
                    <a:pt x="4767" y="1281"/>
                    <a:pt x="4767" y="1281"/>
                    <a:pt x="4767" y="1281"/>
                  </a:cubicBezTo>
                  <a:cubicBezTo>
                    <a:pt x="4759" y="1279"/>
                    <a:pt x="4759" y="1279"/>
                    <a:pt x="4759" y="1279"/>
                  </a:cubicBezTo>
                  <a:cubicBezTo>
                    <a:pt x="4758" y="1259"/>
                    <a:pt x="4758" y="1259"/>
                    <a:pt x="4758" y="1259"/>
                  </a:cubicBezTo>
                  <a:cubicBezTo>
                    <a:pt x="4748" y="1252"/>
                    <a:pt x="4748" y="1252"/>
                    <a:pt x="4748" y="1252"/>
                  </a:cubicBezTo>
                  <a:cubicBezTo>
                    <a:pt x="4746" y="1271"/>
                    <a:pt x="4746" y="1271"/>
                    <a:pt x="4746" y="1271"/>
                  </a:cubicBezTo>
                  <a:cubicBezTo>
                    <a:pt x="4717" y="1273"/>
                    <a:pt x="4717" y="1273"/>
                    <a:pt x="4717" y="1273"/>
                  </a:cubicBezTo>
                  <a:cubicBezTo>
                    <a:pt x="4717" y="1273"/>
                    <a:pt x="4724" y="1263"/>
                    <a:pt x="4719" y="1257"/>
                  </a:cubicBezTo>
                  <a:cubicBezTo>
                    <a:pt x="4714" y="1251"/>
                    <a:pt x="4701" y="1253"/>
                    <a:pt x="4701" y="1253"/>
                  </a:cubicBezTo>
                  <a:cubicBezTo>
                    <a:pt x="4696" y="1260"/>
                    <a:pt x="4696" y="1260"/>
                    <a:pt x="4696" y="1260"/>
                  </a:cubicBezTo>
                  <a:cubicBezTo>
                    <a:pt x="4681" y="1261"/>
                    <a:pt x="4681" y="1261"/>
                    <a:pt x="4681" y="1261"/>
                  </a:cubicBezTo>
                  <a:cubicBezTo>
                    <a:pt x="4672" y="1236"/>
                    <a:pt x="4672" y="1236"/>
                    <a:pt x="4672" y="1236"/>
                  </a:cubicBezTo>
                  <a:cubicBezTo>
                    <a:pt x="4668" y="1235"/>
                    <a:pt x="4668" y="1235"/>
                    <a:pt x="4668" y="1235"/>
                  </a:cubicBezTo>
                  <a:cubicBezTo>
                    <a:pt x="4660" y="1222"/>
                    <a:pt x="4660" y="1222"/>
                    <a:pt x="4660" y="1222"/>
                  </a:cubicBezTo>
                  <a:cubicBezTo>
                    <a:pt x="4612" y="1224"/>
                    <a:pt x="4612" y="1224"/>
                    <a:pt x="4612" y="1224"/>
                  </a:cubicBezTo>
                  <a:cubicBezTo>
                    <a:pt x="4606" y="1218"/>
                    <a:pt x="4606" y="1218"/>
                    <a:pt x="4606" y="1218"/>
                  </a:cubicBezTo>
                  <a:cubicBezTo>
                    <a:pt x="4606" y="1218"/>
                    <a:pt x="4580" y="1222"/>
                    <a:pt x="4580" y="1205"/>
                  </a:cubicBezTo>
                  <a:cubicBezTo>
                    <a:pt x="4580" y="1188"/>
                    <a:pt x="4602" y="1186"/>
                    <a:pt x="4602" y="1186"/>
                  </a:cubicBezTo>
                  <a:cubicBezTo>
                    <a:pt x="4602" y="1170"/>
                    <a:pt x="4602" y="1170"/>
                    <a:pt x="4602" y="1170"/>
                  </a:cubicBezTo>
                  <a:cubicBezTo>
                    <a:pt x="4602" y="1170"/>
                    <a:pt x="4621" y="1169"/>
                    <a:pt x="4622" y="1158"/>
                  </a:cubicBezTo>
                  <a:cubicBezTo>
                    <a:pt x="4623" y="1147"/>
                    <a:pt x="4633" y="1132"/>
                    <a:pt x="4633" y="1132"/>
                  </a:cubicBezTo>
                  <a:cubicBezTo>
                    <a:pt x="4623" y="1123"/>
                    <a:pt x="4623" y="1123"/>
                    <a:pt x="4623" y="1123"/>
                  </a:cubicBezTo>
                  <a:cubicBezTo>
                    <a:pt x="4630" y="1110"/>
                    <a:pt x="4630" y="1110"/>
                    <a:pt x="4630" y="1110"/>
                  </a:cubicBezTo>
                  <a:cubicBezTo>
                    <a:pt x="4623" y="1100"/>
                    <a:pt x="4623" y="1100"/>
                    <a:pt x="4623" y="1100"/>
                  </a:cubicBezTo>
                  <a:cubicBezTo>
                    <a:pt x="4637" y="1089"/>
                    <a:pt x="4637" y="1089"/>
                    <a:pt x="4637" y="1089"/>
                  </a:cubicBezTo>
                  <a:cubicBezTo>
                    <a:pt x="4651" y="1086"/>
                    <a:pt x="4651" y="1086"/>
                    <a:pt x="4651" y="1086"/>
                  </a:cubicBezTo>
                  <a:cubicBezTo>
                    <a:pt x="4645" y="1064"/>
                    <a:pt x="4645" y="1064"/>
                    <a:pt x="4645" y="1064"/>
                  </a:cubicBezTo>
                  <a:cubicBezTo>
                    <a:pt x="4660" y="1059"/>
                    <a:pt x="4660" y="1059"/>
                    <a:pt x="4660" y="1059"/>
                  </a:cubicBezTo>
                  <a:cubicBezTo>
                    <a:pt x="4642" y="1036"/>
                    <a:pt x="4642" y="1036"/>
                    <a:pt x="4642" y="1036"/>
                  </a:cubicBezTo>
                  <a:cubicBezTo>
                    <a:pt x="4664" y="1027"/>
                    <a:pt x="4664" y="1027"/>
                    <a:pt x="4664" y="1027"/>
                  </a:cubicBezTo>
                  <a:cubicBezTo>
                    <a:pt x="4664" y="1027"/>
                    <a:pt x="4657" y="997"/>
                    <a:pt x="4673" y="987"/>
                  </a:cubicBezTo>
                  <a:cubicBezTo>
                    <a:pt x="4689" y="977"/>
                    <a:pt x="4695" y="976"/>
                    <a:pt x="4695" y="976"/>
                  </a:cubicBezTo>
                  <a:cubicBezTo>
                    <a:pt x="4695" y="976"/>
                    <a:pt x="4720" y="980"/>
                    <a:pt x="4732" y="979"/>
                  </a:cubicBezTo>
                  <a:cubicBezTo>
                    <a:pt x="4744" y="978"/>
                    <a:pt x="4796" y="982"/>
                    <a:pt x="4796" y="982"/>
                  </a:cubicBezTo>
                  <a:cubicBezTo>
                    <a:pt x="4807" y="993"/>
                    <a:pt x="4807" y="993"/>
                    <a:pt x="4807" y="993"/>
                  </a:cubicBezTo>
                  <a:cubicBezTo>
                    <a:pt x="4820" y="988"/>
                    <a:pt x="4820" y="988"/>
                    <a:pt x="4820" y="988"/>
                  </a:cubicBezTo>
                  <a:cubicBezTo>
                    <a:pt x="4815" y="976"/>
                    <a:pt x="4815" y="976"/>
                    <a:pt x="4815" y="976"/>
                  </a:cubicBezTo>
                  <a:cubicBezTo>
                    <a:pt x="4865" y="989"/>
                    <a:pt x="4865" y="989"/>
                    <a:pt x="4865" y="989"/>
                  </a:cubicBezTo>
                  <a:cubicBezTo>
                    <a:pt x="4885" y="977"/>
                    <a:pt x="4885" y="977"/>
                    <a:pt x="4885" y="977"/>
                  </a:cubicBezTo>
                  <a:cubicBezTo>
                    <a:pt x="4904" y="992"/>
                    <a:pt x="4904" y="992"/>
                    <a:pt x="4904" y="992"/>
                  </a:cubicBezTo>
                  <a:cubicBezTo>
                    <a:pt x="4909" y="968"/>
                    <a:pt x="4909" y="968"/>
                    <a:pt x="4909" y="968"/>
                  </a:cubicBezTo>
                  <a:cubicBezTo>
                    <a:pt x="4909" y="968"/>
                    <a:pt x="4932" y="966"/>
                    <a:pt x="4948" y="967"/>
                  </a:cubicBezTo>
                  <a:cubicBezTo>
                    <a:pt x="4964" y="968"/>
                    <a:pt x="4970" y="982"/>
                    <a:pt x="4976" y="980"/>
                  </a:cubicBezTo>
                  <a:cubicBezTo>
                    <a:pt x="4982" y="978"/>
                    <a:pt x="5000" y="967"/>
                    <a:pt x="5000" y="967"/>
                  </a:cubicBezTo>
                  <a:cubicBezTo>
                    <a:pt x="5016" y="981"/>
                    <a:pt x="5016" y="981"/>
                    <a:pt x="5016" y="981"/>
                  </a:cubicBezTo>
                  <a:cubicBezTo>
                    <a:pt x="5044" y="986"/>
                    <a:pt x="5044" y="986"/>
                    <a:pt x="5044" y="986"/>
                  </a:cubicBezTo>
                  <a:cubicBezTo>
                    <a:pt x="5008" y="993"/>
                    <a:pt x="5008" y="993"/>
                    <a:pt x="5008" y="993"/>
                  </a:cubicBezTo>
                  <a:cubicBezTo>
                    <a:pt x="5008" y="993"/>
                    <a:pt x="5019" y="1014"/>
                    <a:pt x="5030" y="1009"/>
                  </a:cubicBezTo>
                  <a:cubicBezTo>
                    <a:pt x="5041" y="1004"/>
                    <a:pt x="5061" y="996"/>
                    <a:pt x="5061" y="996"/>
                  </a:cubicBezTo>
                  <a:cubicBezTo>
                    <a:pt x="5079" y="1005"/>
                    <a:pt x="5079" y="1005"/>
                    <a:pt x="5079" y="1005"/>
                  </a:cubicBezTo>
                  <a:cubicBezTo>
                    <a:pt x="5094" y="993"/>
                    <a:pt x="5094" y="993"/>
                    <a:pt x="5094" y="993"/>
                  </a:cubicBezTo>
                  <a:cubicBezTo>
                    <a:pt x="5094" y="993"/>
                    <a:pt x="5121" y="1002"/>
                    <a:pt x="5129" y="998"/>
                  </a:cubicBezTo>
                  <a:cubicBezTo>
                    <a:pt x="5137" y="994"/>
                    <a:pt x="5131" y="986"/>
                    <a:pt x="5131" y="986"/>
                  </a:cubicBezTo>
                  <a:cubicBezTo>
                    <a:pt x="5155" y="988"/>
                    <a:pt x="5155" y="988"/>
                    <a:pt x="5155" y="988"/>
                  </a:cubicBezTo>
                  <a:cubicBezTo>
                    <a:pt x="5122" y="970"/>
                    <a:pt x="5122" y="970"/>
                    <a:pt x="5122" y="970"/>
                  </a:cubicBezTo>
                  <a:cubicBezTo>
                    <a:pt x="5104" y="977"/>
                    <a:pt x="5104" y="977"/>
                    <a:pt x="5104" y="977"/>
                  </a:cubicBezTo>
                  <a:cubicBezTo>
                    <a:pt x="5099" y="965"/>
                    <a:pt x="5099" y="965"/>
                    <a:pt x="5099" y="965"/>
                  </a:cubicBezTo>
                  <a:cubicBezTo>
                    <a:pt x="5099" y="965"/>
                    <a:pt x="5084" y="942"/>
                    <a:pt x="5086" y="937"/>
                  </a:cubicBezTo>
                  <a:cubicBezTo>
                    <a:pt x="5088" y="932"/>
                    <a:pt x="5105" y="918"/>
                    <a:pt x="5105" y="918"/>
                  </a:cubicBezTo>
                  <a:cubicBezTo>
                    <a:pt x="5101" y="898"/>
                    <a:pt x="5101" y="898"/>
                    <a:pt x="5101" y="898"/>
                  </a:cubicBezTo>
                  <a:cubicBezTo>
                    <a:pt x="5110" y="890"/>
                    <a:pt x="5110" y="890"/>
                    <a:pt x="5110" y="890"/>
                  </a:cubicBezTo>
                  <a:cubicBezTo>
                    <a:pt x="5110" y="890"/>
                    <a:pt x="5084" y="877"/>
                    <a:pt x="5101" y="866"/>
                  </a:cubicBezTo>
                  <a:cubicBezTo>
                    <a:pt x="5118" y="855"/>
                    <a:pt x="5154" y="866"/>
                    <a:pt x="5154" y="866"/>
                  </a:cubicBezTo>
                  <a:cubicBezTo>
                    <a:pt x="5168" y="852"/>
                    <a:pt x="5168" y="852"/>
                    <a:pt x="5168" y="852"/>
                  </a:cubicBezTo>
                  <a:cubicBezTo>
                    <a:pt x="5190" y="871"/>
                    <a:pt x="5190" y="871"/>
                    <a:pt x="5190" y="871"/>
                  </a:cubicBezTo>
                  <a:cubicBezTo>
                    <a:pt x="5209" y="860"/>
                    <a:pt x="5209" y="860"/>
                    <a:pt x="5209" y="860"/>
                  </a:cubicBezTo>
                  <a:cubicBezTo>
                    <a:pt x="5209" y="860"/>
                    <a:pt x="5222" y="893"/>
                    <a:pt x="5229" y="896"/>
                  </a:cubicBezTo>
                  <a:cubicBezTo>
                    <a:pt x="5236" y="899"/>
                    <a:pt x="5257" y="895"/>
                    <a:pt x="5257" y="895"/>
                  </a:cubicBezTo>
                  <a:cubicBezTo>
                    <a:pt x="5257" y="895"/>
                    <a:pt x="5257" y="926"/>
                    <a:pt x="5268" y="922"/>
                  </a:cubicBezTo>
                  <a:cubicBezTo>
                    <a:pt x="5279" y="918"/>
                    <a:pt x="5294" y="878"/>
                    <a:pt x="5294" y="878"/>
                  </a:cubicBezTo>
                  <a:cubicBezTo>
                    <a:pt x="5310" y="869"/>
                    <a:pt x="5310" y="869"/>
                    <a:pt x="5310" y="869"/>
                  </a:cubicBezTo>
                  <a:cubicBezTo>
                    <a:pt x="5330" y="876"/>
                    <a:pt x="5330" y="876"/>
                    <a:pt x="5330" y="876"/>
                  </a:cubicBezTo>
                  <a:cubicBezTo>
                    <a:pt x="5329" y="867"/>
                    <a:pt x="5329" y="867"/>
                    <a:pt x="5329" y="867"/>
                  </a:cubicBezTo>
                  <a:cubicBezTo>
                    <a:pt x="5310" y="857"/>
                    <a:pt x="5310" y="857"/>
                    <a:pt x="5310" y="857"/>
                  </a:cubicBezTo>
                  <a:cubicBezTo>
                    <a:pt x="5310" y="857"/>
                    <a:pt x="5263" y="823"/>
                    <a:pt x="5274" y="822"/>
                  </a:cubicBezTo>
                  <a:cubicBezTo>
                    <a:pt x="5285" y="821"/>
                    <a:pt x="5339" y="823"/>
                    <a:pt x="5339" y="823"/>
                  </a:cubicBezTo>
                  <a:cubicBezTo>
                    <a:pt x="5373" y="823"/>
                    <a:pt x="5373" y="823"/>
                    <a:pt x="5373" y="823"/>
                  </a:cubicBezTo>
                  <a:cubicBezTo>
                    <a:pt x="5373" y="823"/>
                    <a:pt x="5376" y="837"/>
                    <a:pt x="5372" y="836"/>
                  </a:cubicBezTo>
                  <a:cubicBezTo>
                    <a:pt x="5368" y="835"/>
                    <a:pt x="5329" y="823"/>
                    <a:pt x="5331" y="837"/>
                  </a:cubicBezTo>
                  <a:cubicBezTo>
                    <a:pt x="5333" y="851"/>
                    <a:pt x="5356" y="864"/>
                    <a:pt x="5356" y="864"/>
                  </a:cubicBezTo>
                  <a:cubicBezTo>
                    <a:pt x="5358" y="881"/>
                    <a:pt x="5358" y="881"/>
                    <a:pt x="5358" y="881"/>
                  </a:cubicBezTo>
                  <a:cubicBezTo>
                    <a:pt x="5378" y="884"/>
                    <a:pt x="5378" y="884"/>
                    <a:pt x="5378" y="884"/>
                  </a:cubicBezTo>
                  <a:cubicBezTo>
                    <a:pt x="5374" y="897"/>
                    <a:pt x="5374" y="897"/>
                    <a:pt x="5374" y="897"/>
                  </a:cubicBezTo>
                  <a:cubicBezTo>
                    <a:pt x="5387" y="908"/>
                    <a:pt x="5387" y="908"/>
                    <a:pt x="5387" y="908"/>
                  </a:cubicBezTo>
                  <a:cubicBezTo>
                    <a:pt x="5369" y="911"/>
                    <a:pt x="5369" y="911"/>
                    <a:pt x="5369" y="911"/>
                  </a:cubicBezTo>
                  <a:cubicBezTo>
                    <a:pt x="5364" y="922"/>
                    <a:pt x="5364" y="922"/>
                    <a:pt x="5364" y="922"/>
                  </a:cubicBezTo>
                  <a:cubicBezTo>
                    <a:pt x="5352" y="926"/>
                    <a:pt x="5352" y="926"/>
                    <a:pt x="5352" y="926"/>
                  </a:cubicBezTo>
                  <a:cubicBezTo>
                    <a:pt x="5352" y="926"/>
                    <a:pt x="5365" y="948"/>
                    <a:pt x="5358" y="960"/>
                  </a:cubicBezTo>
                  <a:cubicBezTo>
                    <a:pt x="5351" y="972"/>
                    <a:pt x="5340" y="992"/>
                    <a:pt x="5340" y="999"/>
                  </a:cubicBezTo>
                  <a:cubicBezTo>
                    <a:pt x="5340" y="1006"/>
                    <a:pt x="5358" y="1012"/>
                    <a:pt x="5345" y="1029"/>
                  </a:cubicBezTo>
                  <a:cubicBezTo>
                    <a:pt x="5332" y="1046"/>
                    <a:pt x="5310" y="1051"/>
                    <a:pt x="5310" y="1051"/>
                  </a:cubicBezTo>
                  <a:cubicBezTo>
                    <a:pt x="5313" y="1063"/>
                    <a:pt x="5313" y="1063"/>
                    <a:pt x="5313" y="1063"/>
                  </a:cubicBezTo>
                  <a:cubicBezTo>
                    <a:pt x="5300" y="1063"/>
                    <a:pt x="5300" y="1063"/>
                    <a:pt x="5300" y="1063"/>
                  </a:cubicBezTo>
                  <a:cubicBezTo>
                    <a:pt x="5300" y="1063"/>
                    <a:pt x="5324" y="1073"/>
                    <a:pt x="5322" y="1090"/>
                  </a:cubicBezTo>
                  <a:cubicBezTo>
                    <a:pt x="5320" y="1107"/>
                    <a:pt x="5313" y="1118"/>
                    <a:pt x="5320" y="1135"/>
                  </a:cubicBezTo>
                  <a:cubicBezTo>
                    <a:pt x="5327" y="1152"/>
                    <a:pt x="5392" y="1206"/>
                    <a:pt x="5392" y="1206"/>
                  </a:cubicBezTo>
                  <a:cubicBezTo>
                    <a:pt x="5432" y="1247"/>
                    <a:pt x="5432" y="1247"/>
                    <a:pt x="5432" y="1247"/>
                  </a:cubicBezTo>
                  <a:cubicBezTo>
                    <a:pt x="5441" y="1244"/>
                    <a:pt x="5441" y="1244"/>
                    <a:pt x="5441" y="1244"/>
                  </a:cubicBezTo>
                  <a:cubicBezTo>
                    <a:pt x="5494" y="1308"/>
                    <a:pt x="5494" y="1308"/>
                    <a:pt x="5494" y="1308"/>
                  </a:cubicBezTo>
                  <a:cubicBezTo>
                    <a:pt x="5529" y="1319"/>
                    <a:pt x="5529" y="1319"/>
                    <a:pt x="5529" y="1319"/>
                  </a:cubicBezTo>
                  <a:cubicBezTo>
                    <a:pt x="5544" y="1337"/>
                    <a:pt x="5544" y="1337"/>
                    <a:pt x="5544" y="1337"/>
                  </a:cubicBezTo>
                  <a:cubicBezTo>
                    <a:pt x="5544" y="1337"/>
                    <a:pt x="5583" y="1385"/>
                    <a:pt x="5590" y="1389"/>
                  </a:cubicBezTo>
                  <a:cubicBezTo>
                    <a:pt x="5597" y="1393"/>
                    <a:pt x="5608" y="1393"/>
                    <a:pt x="5608" y="1393"/>
                  </a:cubicBezTo>
                  <a:cubicBezTo>
                    <a:pt x="5608" y="1393"/>
                    <a:pt x="5602" y="1411"/>
                    <a:pt x="5617" y="1405"/>
                  </a:cubicBezTo>
                  <a:cubicBezTo>
                    <a:pt x="5632" y="1399"/>
                    <a:pt x="5630" y="1386"/>
                    <a:pt x="5630" y="1386"/>
                  </a:cubicBezTo>
                  <a:cubicBezTo>
                    <a:pt x="5623" y="1378"/>
                    <a:pt x="5623" y="1378"/>
                    <a:pt x="5623" y="1378"/>
                  </a:cubicBezTo>
                  <a:cubicBezTo>
                    <a:pt x="5623" y="1378"/>
                    <a:pt x="5638" y="1358"/>
                    <a:pt x="5635" y="1349"/>
                  </a:cubicBezTo>
                  <a:cubicBezTo>
                    <a:pt x="5632" y="1340"/>
                    <a:pt x="5601" y="1323"/>
                    <a:pt x="5608" y="1310"/>
                  </a:cubicBezTo>
                  <a:cubicBezTo>
                    <a:pt x="5615" y="1297"/>
                    <a:pt x="5624" y="1289"/>
                    <a:pt x="5627" y="1288"/>
                  </a:cubicBezTo>
                  <a:cubicBezTo>
                    <a:pt x="5630" y="1287"/>
                    <a:pt x="5650" y="1295"/>
                    <a:pt x="5650" y="1295"/>
                  </a:cubicBezTo>
                  <a:cubicBezTo>
                    <a:pt x="5650" y="1295"/>
                    <a:pt x="5628" y="1269"/>
                    <a:pt x="5622" y="1265"/>
                  </a:cubicBezTo>
                  <a:cubicBezTo>
                    <a:pt x="5616" y="1261"/>
                    <a:pt x="5601" y="1255"/>
                    <a:pt x="5604" y="1240"/>
                  </a:cubicBezTo>
                  <a:cubicBezTo>
                    <a:pt x="5607" y="1225"/>
                    <a:pt x="5625" y="1220"/>
                    <a:pt x="5625" y="1220"/>
                  </a:cubicBezTo>
                  <a:cubicBezTo>
                    <a:pt x="5625" y="1220"/>
                    <a:pt x="5654" y="1232"/>
                    <a:pt x="5652" y="1217"/>
                  </a:cubicBezTo>
                  <a:cubicBezTo>
                    <a:pt x="5650" y="1202"/>
                    <a:pt x="5637" y="1198"/>
                    <a:pt x="5621" y="1190"/>
                  </a:cubicBezTo>
                  <a:cubicBezTo>
                    <a:pt x="5605" y="1182"/>
                    <a:pt x="5591" y="1163"/>
                    <a:pt x="5590" y="1152"/>
                  </a:cubicBezTo>
                  <a:cubicBezTo>
                    <a:pt x="5589" y="1141"/>
                    <a:pt x="5583" y="1129"/>
                    <a:pt x="5583" y="1129"/>
                  </a:cubicBezTo>
                  <a:cubicBezTo>
                    <a:pt x="5590" y="1126"/>
                    <a:pt x="5590" y="1126"/>
                    <a:pt x="5590" y="1126"/>
                  </a:cubicBezTo>
                  <a:cubicBezTo>
                    <a:pt x="5590" y="1126"/>
                    <a:pt x="5616" y="1151"/>
                    <a:pt x="5622" y="1146"/>
                  </a:cubicBezTo>
                  <a:cubicBezTo>
                    <a:pt x="5628" y="1141"/>
                    <a:pt x="5604" y="1114"/>
                    <a:pt x="5604" y="1114"/>
                  </a:cubicBezTo>
                  <a:cubicBezTo>
                    <a:pt x="5581" y="1111"/>
                    <a:pt x="5581" y="1111"/>
                    <a:pt x="5581" y="1111"/>
                  </a:cubicBezTo>
                  <a:cubicBezTo>
                    <a:pt x="5548" y="1083"/>
                    <a:pt x="5548" y="1083"/>
                    <a:pt x="5548" y="1083"/>
                  </a:cubicBezTo>
                  <a:cubicBezTo>
                    <a:pt x="5548" y="1083"/>
                    <a:pt x="5552" y="1062"/>
                    <a:pt x="5536" y="1055"/>
                  </a:cubicBezTo>
                  <a:cubicBezTo>
                    <a:pt x="5520" y="1048"/>
                    <a:pt x="5508" y="1048"/>
                    <a:pt x="5508" y="1048"/>
                  </a:cubicBezTo>
                  <a:cubicBezTo>
                    <a:pt x="5509" y="1060"/>
                    <a:pt x="5509" y="1060"/>
                    <a:pt x="5509" y="1060"/>
                  </a:cubicBezTo>
                  <a:cubicBezTo>
                    <a:pt x="5509" y="1060"/>
                    <a:pt x="5465" y="1050"/>
                    <a:pt x="5464" y="1034"/>
                  </a:cubicBezTo>
                  <a:cubicBezTo>
                    <a:pt x="5463" y="1018"/>
                    <a:pt x="5471" y="1007"/>
                    <a:pt x="5463" y="992"/>
                  </a:cubicBezTo>
                  <a:cubicBezTo>
                    <a:pt x="5455" y="977"/>
                    <a:pt x="5439" y="969"/>
                    <a:pt x="5439" y="969"/>
                  </a:cubicBezTo>
                  <a:cubicBezTo>
                    <a:pt x="5439" y="969"/>
                    <a:pt x="5441" y="953"/>
                    <a:pt x="5445" y="951"/>
                  </a:cubicBezTo>
                  <a:cubicBezTo>
                    <a:pt x="5449" y="949"/>
                    <a:pt x="5458" y="956"/>
                    <a:pt x="5458" y="956"/>
                  </a:cubicBezTo>
                  <a:cubicBezTo>
                    <a:pt x="5467" y="945"/>
                    <a:pt x="5467" y="945"/>
                    <a:pt x="5467" y="945"/>
                  </a:cubicBezTo>
                  <a:cubicBezTo>
                    <a:pt x="5492" y="964"/>
                    <a:pt x="5492" y="964"/>
                    <a:pt x="5492" y="964"/>
                  </a:cubicBezTo>
                  <a:cubicBezTo>
                    <a:pt x="5497" y="959"/>
                    <a:pt x="5497" y="959"/>
                    <a:pt x="5497" y="959"/>
                  </a:cubicBezTo>
                  <a:cubicBezTo>
                    <a:pt x="5489" y="951"/>
                    <a:pt x="5489" y="951"/>
                    <a:pt x="5489" y="951"/>
                  </a:cubicBezTo>
                  <a:cubicBezTo>
                    <a:pt x="5489" y="951"/>
                    <a:pt x="5495" y="919"/>
                    <a:pt x="5506" y="925"/>
                  </a:cubicBezTo>
                  <a:cubicBezTo>
                    <a:pt x="5517" y="931"/>
                    <a:pt x="5544" y="964"/>
                    <a:pt x="5544" y="964"/>
                  </a:cubicBezTo>
                  <a:cubicBezTo>
                    <a:pt x="5551" y="931"/>
                    <a:pt x="5551" y="931"/>
                    <a:pt x="5551" y="931"/>
                  </a:cubicBezTo>
                  <a:cubicBezTo>
                    <a:pt x="5551" y="931"/>
                    <a:pt x="5608" y="924"/>
                    <a:pt x="5617" y="924"/>
                  </a:cubicBezTo>
                  <a:cubicBezTo>
                    <a:pt x="5626" y="924"/>
                    <a:pt x="5663" y="944"/>
                    <a:pt x="5663" y="944"/>
                  </a:cubicBezTo>
                  <a:cubicBezTo>
                    <a:pt x="5691" y="955"/>
                    <a:pt x="5691" y="955"/>
                    <a:pt x="5691" y="955"/>
                  </a:cubicBezTo>
                  <a:cubicBezTo>
                    <a:pt x="5671" y="915"/>
                    <a:pt x="5671" y="915"/>
                    <a:pt x="5671" y="915"/>
                  </a:cubicBezTo>
                  <a:cubicBezTo>
                    <a:pt x="5671" y="915"/>
                    <a:pt x="5703" y="916"/>
                    <a:pt x="5705" y="905"/>
                  </a:cubicBezTo>
                  <a:cubicBezTo>
                    <a:pt x="5707" y="894"/>
                    <a:pt x="5697" y="876"/>
                    <a:pt x="5697" y="876"/>
                  </a:cubicBezTo>
                  <a:cubicBezTo>
                    <a:pt x="5710" y="877"/>
                    <a:pt x="5710" y="877"/>
                    <a:pt x="5710" y="877"/>
                  </a:cubicBezTo>
                  <a:cubicBezTo>
                    <a:pt x="5713" y="861"/>
                    <a:pt x="5713" y="861"/>
                    <a:pt x="5713" y="861"/>
                  </a:cubicBezTo>
                  <a:cubicBezTo>
                    <a:pt x="5713" y="861"/>
                    <a:pt x="5752" y="870"/>
                    <a:pt x="5758" y="855"/>
                  </a:cubicBezTo>
                  <a:cubicBezTo>
                    <a:pt x="5764" y="840"/>
                    <a:pt x="5784" y="828"/>
                    <a:pt x="5784" y="828"/>
                  </a:cubicBezTo>
                  <a:cubicBezTo>
                    <a:pt x="5770" y="811"/>
                    <a:pt x="5770" y="811"/>
                    <a:pt x="5770" y="811"/>
                  </a:cubicBezTo>
                  <a:cubicBezTo>
                    <a:pt x="5791" y="813"/>
                    <a:pt x="5791" y="813"/>
                    <a:pt x="5791" y="813"/>
                  </a:cubicBezTo>
                  <a:cubicBezTo>
                    <a:pt x="5794" y="825"/>
                    <a:pt x="5794" y="825"/>
                    <a:pt x="5794" y="825"/>
                  </a:cubicBezTo>
                  <a:cubicBezTo>
                    <a:pt x="5835" y="828"/>
                    <a:pt x="5835" y="828"/>
                    <a:pt x="5835" y="828"/>
                  </a:cubicBezTo>
                  <a:cubicBezTo>
                    <a:pt x="5835" y="828"/>
                    <a:pt x="5877" y="838"/>
                    <a:pt x="5877" y="832"/>
                  </a:cubicBezTo>
                  <a:cubicBezTo>
                    <a:pt x="5877" y="826"/>
                    <a:pt x="5873" y="814"/>
                    <a:pt x="5873" y="814"/>
                  </a:cubicBezTo>
                  <a:cubicBezTo>
                    <a:pt x="5848" y="811"/>
                    <a:pt x="5848" y="811"/>
                    <a:pt x="5848" y="811"/>
                  </a:cubicBezTo>
                  <a:cubicBezTo>
                    <a:pt x="5844" y="797"/>
                    <a:pt x="5844" y="797"/>
                    <a:pt x="5844" y="797"/>
                  </a:cubicBezTo>
                  <a:cubicBezTo>
                    <a:pt x="5844" y="797"/>
                    <a:pt x="5807" y="784"/>
                    <a:pt x="5795" y="780"/>
                  </a:cubicBezTo>
                  <a:cubicBezTo>
                    <a:pt x="5783" y="776"/>
                    <a:pt x="5774" y="782"/>
                    <a:pt x="5774" y="782"/>
                  </a:cubicBezTo>
                  <a:cubicBezTo>
                    <a:pt x="5778" y="770"/>
                    <a:pt x="5778" y="770"/>
                    <a:pt x="5778" y="770"/>
                  </a:cubicBezTo>
                  <a:cubicBezTo>
                    <a:pt x="5730" y="736"/>
                    <a:pt x="5730" y="736"/>
                    <a:pt x="5730" y="736"/>
                  </a:cubicBezTo>
                  <a:cubicBezTo>
                    <a:pt x="5719" y="747"/>
                    <a:pt x="5719" y="747"/>
                    <a:pt x="5719" y="747"/>
                  </a:cubicBezTo>
                  <a:cubicBezTo>
                    <a:pt x="5719" y="747"/>
                    <a:pt x="5699" y="742"/>
                    <a:pt x="5691" y="739"/>
                  </a:cubicBezTo>
                  <a:cubicBezTo>
                    <a:pt x="5683" y="736"/>
                    <a:pt x="5672" y="727"/>
                    <a:pt x="5672" y="727"/>
                  </a:cubicBezTo>
                  <a:cubicBezTo>
                    <a:pt x="5649" y="732"/>
                    <a:pt x="5649" y="732"/>
                    <a:pt x="5649" y="732"/>
                  </a:cubicBezTo>
                  <a:cubicBezTo>
                    <a:pt x="5630" y="730"/>
                    <a:pt x="5630" y="730"/>
                    <a:pt x="5630" y="730"/>
                  </a:cubicBezTo>
                  <a:cubicBezTo>
                    <a:pt x="5630" y="730"/>
                    <a:pt x="5599" y="712"/>
                    <a:pt x="5611" y="709"/>
                  </a:cubicBezTo>
                  <a:cubicBezTo>
                    <a:pt x="5623" y="706"/>
                    <a:pt x="5635" y="713"/>
                    <a:pt x="5644" y="715"/>
                  </a:cubicBezTo>
                  <a:cubicBezTo>
                    <a:pt x="5653" y="717"/>
                    <a:pt x="5697" y="724"/>
                    <a:pt x="5697" y="724"/>
                  </a:cubicBezTo>
                  <a:cubicBezTo>
                    <a:pt x="5697" y="724"/>
                    <a:pt x="5749" y="709"/>
                    <a:pt x="5749" y="702"/>
                  </a:cubicBezTo>
                  <a:cubicBezTo>
                    <a:pt x="5749" y="695"/>
                    <a:pt x="5719" y="679"/>
                    <a:pt x="5716" y="677"/>
                  </a:cubicBezTo>
                  <a:cubicBezTo>
                    <a:pt x="5713" y="675"/>
                    <a:pt x="5664" y="658"/>
                    <a:pt x="5679" y="649"/>
                  </a:cubicBezTo>
                  <a:cubicBezTo>
                    <a:pt x="5694" y="640"/>
                    <a:pt x="5719" y="660"/>
                    <a:pt x="5719" y="660"/>
                  </a:cubicBezTo>
                  <a:cubicBezTo>
                    <a:pt x="5719" y="660"/>
                    <a:pt x="5766" y="689"/>
                    <a:pt x="5780" y="687"/>
                  </a:cubicBezTo>
                  <a:cubicBezTo>
                    <a:pt x="5794" y="685"/>
                    <a:pt x="5799" y="671"/>
                    <a:pt x="5838" y="684"/>
                  </a:cubicBezTo>
                  <a:cubicBezTo>
                    <a:pt x="5877" y="697"/>
                    <a:pt x="5911" y="711"/>
                    <a:pt x="5922" y="713"/>
                  </a:cubicBezTo>
                  <a:cubicBezTo>
                    <a:pt x="5933" y="715"/>
                    <a:pt x="5976" y="727"/>
                    <a:pt x="5976" y="727"/>
                  </a:cubicBezTo>
                  <a:cubicBezTo>
                    <a:pt x="5976" y="727"/>
                    <a:pt x="6035" y="762"/>
                    <a:pt x="6031" y="744"/>
                  </a:cubicBezTo>
                  <a:cubicBezTo>
                    <a:pt x="6027" y="726"/>
                    <a:pt x="6007" y="715"/>
                    <a:pt x="6007" y="715"/>
                  </a:cubicBezTo>
                  <a:cubicBezTo>
                    <a:pt x="6019" y="706"/>
                    <a:pt x="6019" y="706"/>
                    <a:pt x="6019" y="706"/>
                  </a:cubicBezTo>
                  <a:cubicBezTo>
                    <a:pt x="5989" y="693"/>
                    <a:pt x="5989" y="693"/>
                    <a:pt x="5989" y="693"/>
                  </a:cubicBezTo>
                  <a:cubicBezTo>
                    <a:pt x="5995" y="689"/>
                    <a:pt x="5995" y="689"/>
                    <a:pt x="5995" y="689"/>
                  </a:cubicBezTo>
                  <a:cubicBezTo>
                    <a:pt x="5962" y="672"/>
                    <a:pt x="5962" y="672"/>
                    <a:pt x="5962" y="672"/>
                  </a:cubicBezTo>
                  <a:cubicBezTo>
                    <a:pt x="5998" y="679"/>
                    <a:pt x="5998" y="679"/>
                    <a:pt x="5998" y="679"/>
                  </a:cubicBezTo>
                  <a:cubicBezTo>
                    <a:pt x="5994" y="666"/>
                    <a:pt x="5994" y="666"/>
                    <a:pt x="5994" y="666"/>
                  </a:cubicBezTo>
                  <a:cubicBezTo>
                    <a:pt x="5994" y="666"/>
                    <a:pt x="6045" y="678"/>
                    <a:pt x="6034" y="664"/>
                  </a:cubicBezTo>
                  <a:close/>
                  <a:moveTo>
                    <a:pt x="3574" y="1289"/>
                  </a:moveTo>
                  <a:cubicBezTo>
                    <a:pt x="3574" y="1289"/>
                    <a:pt x="3571" y="1303"/>
                    <a:pt x="3570" y="1306"/>
                  </a:cubicBezTo>
                  <a:cubicBezTo>
                    <a:pt x="3569" y="1309"/>
                    <a:pt x="3556" y="1316"/>
                    <a:pt x="3556" y="1316"/>
                  </a:cubicBezTo>
                  <a:cubicBezTo>
                    <a:pt x="3556" y="1316"/>
                    <a:pt x="3544" y="1322"/>
                    <a:pt x="3540" y="1322"/>
                  </a:cubicBezTo>
                  <a:cubicBezTo>
                    <a:pt x="3535" y="1322"/>
                    <a:pt x="3536" y="1334"/>
                    <a:pt x="3536" y="1334"/>
                  </a:cubicBezTo>
                  <a:cubicBezTo>
                    <a:pt x="3536" y="1334"/>
                    <a:pt x="3534" y="1327"/>
                    <a:pt x="3514" y="1334"/>
                  </a:cubicBezTo>
                  <a:cubicBezTo>
                    <a:pt x="3493" y="1340"/>
                    <a:pt x="3522" y="1350"/>
                    <a:pt x="3522" y="1350"/>
                  </a:cubicBezTo>
                  <a:cubicBezTo>
                    <a:pt x="3522" y="1350"/>
                    <a:pt x="3512" y="1358"/>
                    <a:pt x="3510" y="1367"/>
                  </a:cubicBezTo>
                  <a:cubicBezTo>
                    <a:pt x="3509" y="1377"/>
                    <a:pt x="3494" y="1368"/>
                    <a:pt x="3494" y="1368"/>
                  </a:cubicBezTo>
                  <a:cubicBezTo>
                    <a:pt x="3494" y="1368"/>
                    <a:pt x="3491" y="1382"/>
                    <a:pt x="3471" y="1382"/>
                  </a:cubicBezTo>
                  <a:cubicBezTo>
                    <a:pt x="3450" y="1382"/>
                    <a:pt x="3451" y="1377"/>
                    <a:pt x="3451" y="1377"/>
                  </a:cubicBezTo>
                  <a:cubicBezTo>
                    <a:pt x="3428" y="1371"/>
                    <a:pt x="3428" y="1371"/>
                    <a:pt x="3428" y="1371"/>
                  </a:cubicBezTo>
                  <a:cubicBezTo>
                    <a:pt x="3439" y="1365"/>
                    <a:pt x="3439" y="1365"/>
                    <a:pt x="3439" y="1365"/>
                  </a:cubicBezTo>
                  <a:cubicBezTo>
                    <a:pt x="3461" y="1365"/>
                    <a:pt x="3461" y="1365"/>
                    <a:pt x="3461" y="1365"/>
                  </a:cubicBezTo>
                  <a:cubicBezTo>
                    <a:pt x="3462" y="1360"/>
                    <a:pt x="3462" y="1360"/>
                    <a:pt x="3462" y="1360"/>
                  </a:cubicBezTo>
                  <a:cubicBezTo>
                    <a:pt x="3462" y="1360"/>
                    <a:pt x="3478" y="1360"/>
                    <a:pt x="3485" y="1353"/>
                  </a:cubicBezTo>
                  <a:cubicBezTo>
                    <a:pt x="3491" y="1347"/>
                    <a:pt x="3492" y="1328"/>
                    <a:pt x="3492" y="1328"/>
                  </a:cubicBezTo>
                  <a:cubicBezTo>
                    <a:pt x="3492" y="1328"/>
                    <a:pt x="3496" y="1327"/>
                    <a:pt x="3505" y="1325"/>
                  </a:cubicBezTo>
                  <a:cubicBezTo>
                    <a:pt x="3514" y="1323"/>
                    <a:pt x="3514" y="1307"/>
                    <a:pt x="3514" y="1307"/>
                  </a:cubicBezTo>
                  <a:cubicBezTo>
                    <a:pt x="3514" y="1307"/>
                    <a:pt x="3507" y="1303"/>
                    <a:pt x="3508" y="1297"/>
                  </a:cubicBezTo>
                  <a:cubicBezTo>
                    <a:pt x="3509" y="1292"/>
                    <a:pt x="3528" y="1275"/>
                    <a:pt x="3528" y="1275"/>
                  </a:cubicBezTo>
                  <a:cubicBezTo>
                    <a:pt x="3528" y="1264"/>
                    <a:pt x="3528" y="1264"/>
                    <a:pt x="3528" y="1264"/>
                  </a:cubicBezTo>
                  <a:cubicBezTo>
                    <a:pt x="3542" y="1251"/>
                    <a:pt x="3542" y="1251"/>
                    <a:pt x="3542" y="1251"/>
                  </a:cubicBezTo>
                  <a:cubicBezTo>
                    <a:pt x="3534" y="1240"/>
                    <a:pt x="3534" y="1240"/>
                    <a:pt x="3534" y="1240"/>
                  </a:cubicBezTo>
                  <a:cubicBezTo>
                    <a:pt x="3533" y="1187"/>
                    <a:pt x="3533" y="1187"/>
                    <a:pt x="3533" y="1187"/>
                  </a:cubicBezTo>
                  <a:cubicBezTo>
                    <a:pt x="3533" y="1187"/>
                    <a:pt x="3518" y="1165"/>
                    <a:pt x="3536" y="1160"/>
                  </a:cubicBezTo>
                  <a:cubicBezTo>
                    <a:pt x="3555" y="1156"/>
                    <a:pt x="3551" y="1181"/>
                    <a:pt x="3551" y="1181"/>
                  </a:cubicBezTo>
                  <a:cubicBezTo>
                    <a:pt x="3551" y="1181"/>
                    <a:pt x="3560" y="1188"/>
                    <a:pt x="3564" y="1203"/>
                  </a:cubicBezTo>
                  <a:cubicBezTo>
                    <a:pt x="3569" y="1219"/>
                    <a:pt x="3571" y="1229"/>
                    <a:pt x="3571" y="1229"/>
                  </a:cubicBezTo>
                  <a:cubicBezTo>
                    <a:pt x="3585" y="1248"/>
                    <a:pt x="3585" y="1248"/>
                    <a:pt x="3585" y="1248"/>
                  </a:cubicBezTo>
                  <a:cubicBezTo>
                    <a:pt x="3579" y="1259"/>
                    <a:pt x="3579" y="1259"/>
                    <a:pt x="3579" y="1259"/>
                  </a:cubicBezTo>
                  <a:cubicBezTo>
                    <a:pt x="3579" y="1259"/>
                    <a:pt x="3566" y="1265"/>
                    <a:pt x="3568" y="1272"/>
                  </a:cubicBezTo>
                  <a:cubicBezTo>
                    <a:pt x="3569" y="1280"/>
                    <a:pt x="3585" y="1271"/>
                    <a:pt x="3585" y="1271"/>
                  </a:cubicBezTo>
                  <a:cubicBezTo>
                    <a:pt x="3587" y="1282"/>
                    <a:pt x="3587" y="1282"/>
                    <a:pt x="3587" y="1282"/>
                  </a:cubicBezTo>
                  <a:lnTo>
                    <a:pt x="3574" y="1289"/>
                  </a:lnTo>
                  <a:close/>
                  <a:moveTo>
                    <a:pt x="4656" y="1185"/>
                  </a:moveTo>
                  <a:cubicBezTo>
                    <a:pt x="4650" y="1193"/>
                    <a:pt x="4662" y="1221"/>
                    <a:pt x="4684" y="1223"/>
                  </a:cubicBezTo>
                  <a:cubicBezTo>
                    <a:pt x="4702" y="1225"/>
                    <a:pt x="4662" y="1177"/>
                    <a:pt x="4656" y="1185"/>
                  </a:cubicBezTo>
                  <a:close/>
                  <a:moveTo>
                    <a:pt x="1020" y="0"/>
                  </a:moveTo>
                  <a:cubicBezTo>
                    <a:pt x="986" y="0"/>
                    <a:pt x="986" y="0"/>
                    <a:pt x="986" y="0"/>
                  </a:cubicBezTo>
                  <a:cubicBezTo>
                    <a:pt x="986" y="10"/>
                    <a:pt x="986" y="10"/>
                    <a:pt x="986" y="10"/>
                  </a:cubicBezTo>
                  <a:cubicBezTo>
                    <a:pt x="1007" y="11"/>
                    <a:pt x="1007" y="11"/>
                    <a:pt x="1007" y="11"/>
                  </a:cubicBezTo>
                  <a:cubicBezTo>
                    <a:pt x="1021" y="10"/>
                    <a:pt x="1020" y="0"/>
                    <a:pt x="1020" y="0"/>
                  </a:cubicBezTo>
                  <a:close/>
                  <a:moveTo>
                    <a:pt x="1012" y="37"/>
                  </a:moveTo>
                  <a:cubicBezTo>
                    <a:pt x="1026" y="35"/>
                    <a:pt x="1035" y="23"/>
                    <a:pt x="1017" y="23"/>
                  </a:cubicBezTo>
                  <a:cubicBezTo>
                    <a:pt x="999" y="23"/>
                    <a:pt x="1002" y="38"/>
                    <a:pt x="1012" y="37"/>
                  </a:cubicBezTo>
                  <a:close/>
                  <a:moveTo>
                    <a:pt x="943" y="537"/>
                  </a:moveTo>
                  <a:cubicBezTo>
                    <a:pt x="965" y="542"/>
                    <a:pt x="973" y="535"/>
                    <a:pt x="980" y="531"/>
                  </a:cubicBezTo>
                  <a:cubicBezTo>
                    <a:pt x="987" y="527"/>
                    <a:pt x="993" y="519"/>
                    <a:pt x="993" y="519"/>
                  </a:cubicBezTo>
                  <a:cubicBezTo>
                    <a:pt x="1002" y="518"/>
                    <a:pt x="1002" y="518"/>
                    <a:pt x="1002" y="518"/>
                  </a:cubicBezTo>
                  <a:cubicBezTo>
                    <a:pt x="1002" y="518"/>
                    <a:pt x="994" y="507"/>
                    <a:pt x="968" y="501"/>
                  </a:cubicBezTo>
                  <a:cubicBezTo>
                    <a:pt x="942" y="495"/>
                    <a:pt x="927" y="518"/>
                    <a:pt x="927" y="518"/>
                  </a:cubicBezTo>
                  <a:cubicBezTo>
                    <a:pt x="927" y="521"/>
                    <a:pt x="921" y="533"/>
                    <a:pt x="943" y="537"/>
                  </a:cubicBezTo>
                  <a:close/>
                  <a:moveTo>
                    <a:pt x="996" y="48"/>
                  </a:moveTo>
                  <a:cubicBezTo>
                    <a:pt x="1007" y="61"/>
                    <a:pt x="1000" y="62"/>
                    <a:pt x="1023" y="55"/>
                  </a:cubicBezTo>
                  <a:cubicBezTo>
                    <a:pt x="1045" y="48"/>
                    <a:pt x="1020" y="45"/>
                    <a:pt x="1016" y="45"/>
                  </a:cubicBezTo>
                  <a:cubicBezTo>
                    <a:pt x="1012" y="45"/>
                    <a:pt x="996" y="48"/>
                    <a:pt x="996" y="48"/>
                  </a:cubicBezTo>
                  <a:close/>
                  <a:moveTo>
                    <a:pt x="966" y="65"/>
                  </a:moveTo>
                  <a:cubicBezTo>
                    <a:pt x="976" y="65"/>
                    <a:pt x="1009" y="63"/>
                    <a:pt x="1003" y="62"/>
                  </a:cubicBezTo>
                  <a:cubicBezTo>
                    <a:pt x="997" y="61"/>
                    <a:pt x="985" y="52"/>
                    <a:pt x="985" y="52"/>
                  </a:cubicBezTo>
                  <a:cubicBezTo>
                    <a:pt x="954" y="52"/>
                    <a:pt x="954" y="52"/>
                    <a:pt x="954" y="52"/>
                  </a:cubicBezTo>
                  <a:cubicBezTo>
                    <a:pt x="954" y="52"/>
                    <a:pt x="957" y="65"/>
                    <a:pt x="966" y="65"/>
                  </a:cubicBezTo>
                  <a:close/>
                  <a:moveTo>
                    <a:pt x="893" y="23"/>
                  </a:moveTo>
                  <a:cubicBezTo>
                    <a:pt x="876" y="24"/>
                    <a:pt x="885" y="35"/>
                    <a:pt x="885" y="35"/>
                  </a:cubicBezTo>
                  <a:cubicBezTo>
                    <a:pt x="910" y="30"/>
                    <a:pt x="910" y="21"/>
                    <a:pt x="893" y="23"/>
                  </a:cubicBezTo>
                  <a:close/>
                  <a:moveTo>
                    <a:pt x="940" y="48"/>
                  </a:moveTo>
                  <a:cubicBezTo>
                    <a:pt x="924" y="45"/>
                    <a:pt x="924" y="45"/>
                    <a:pt x="924" y="45"/>
                  </a:cubicBezTo>
                  <a:cubicBezTo>
                    <a:pt x="930" y="61"/>
                    <a:pt x="930" y="61"/>
                    <a:pt x="930" y="61"/>
                  </a:cubicBezTo>
                  <a:lnTo>
                    <a:pt x="940" y="48"/>
                  </a:lnTo>
                  <a:close/>
                  <a:moveTo>
                    <a:pt x="972" y="10"/>
                  </a:moveTo>
                  <a:cubicBezTo>
                    <a:pt x="972" y="27"/>
                    <a:pt x="972" y="27"/>
                    <a:pt x="972" y="27"/>
                  </a:cubicBezTo>
                  <a:cubicBezTo>
                    <a:pt x="995" y="20"/>
                    <a:pt x="995" y="20"/>
                    <a:pt x="995" y="20"/>
                  </a:cubicBezTo>
                  <a:lnTo>
                    <a:pt x="972" y="10"/>
                  </a:lnTo>
                  <a:close/>
                  <a:moveTo>
                    <a:pt x="936" y="31"/>
                  </a:moveTo>
                  <a:cubicBezTo>
                    <a:pt x="936" y="31"/>
                    <a:pt x="931" y="25"/>
                    <a:pt x="924" y="25"/>
                  </a:cubicBezTo>
                  <a:cubicBezTo>
                    <a:pt x="917" y="25"/>
                    <a:pt x="919" y="38"/>
                    <a:pt x="919" y="38"/>
                  </a:cubicBezTo>
                  <a:lnTo>
                    <a:pt x="936" y="31"/>
                  </a:lnTo>
                  <a:close/>
                  <a:moveTo>
                    <a:pt x="957" y="31"/>
                  </a:moveTo>
                  <a:cubicBezTo>
                    <a:pt x="938" y="39"/>
                    <a:pt x="938" y="39"/>
                    <a:pt x="938" y="39"/>
                  </a:cubicBezTo>
                  <a:cubicBezTo>
                    <a:pt x="957" y="39"/>
                    <a:pt x="957" y="39"/>
                    <a:pt x="957" y="39"/>
                  </a:cubicBezTo>
                  <a:lnTo>
                    <a:pt x="957" y="31"/>
                  </a:lnTo>
                  <a:close/>
                  <a:moveTo>
                    <a:pt x="979" y="42"/>
                  </a:moveTo>
                  <a:cubicBezTo>
                    <a:pt x="995" y="47"/>
                    <a:pt x="1009" y="30"/>
                    <a:pt x="990" y="28"/>
                  </a:cubicBezTo>
                  <a:cubicBezTo>
                    <a:pt x="972" y="27"/>
                    <a:pt x="964" y="38"/>
                    <a:pt x="979" y="42"/>
                  </a:cubicBezTo>
                  <a:close/>
                  <a:moveTo>
                    <a:pt x="966" y="23"/>
                  </a:moveTo>
                  <a:cubicBezTo>
                    <a:pt x="965" y="7"/>
                    <a:pt x="965" y="7"/>
                    <a:pt x="965" y="7"/>
                  </a:cubicBezTo>
                  <a:cubicBezTo>
                    <a:pt x="938" y="14"/>
                    <a:pt x="938" y="14"/>
                    <a:pt x="938" y="14"/>
                  </a:cubicBezTo>
                  <a:cubicBezTo>
                    <a:pt x="944" y="24"/>
                    <a:pt x="944" y="24"/>
                    <a:pt x="944" y="24"/>
                  </a:cubicBezTo>
                  <a:lnTo>
                    <a:pt x="966" y="23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38" name="Freeform 318">
              <a:extLst>
                <a:ext uri="{FF2B5EF4-FFF2-40B4-BE49-F238E27FC236}">
                  <a16:creationId xmlns:a16="http://schemas.microsoft.com/office/drawing/2014/main" id="{9CB0699D-596E-7257-C315-95D9B4C4455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5221" y="-18515"/>
              <a:ext cx="1084" cy="1569"/>
            </a:xfrm>
            <a:custGeom>
              <a:avLst/>
              <a:gdLst>
                <a:gd name="T0" fmla="*/ 445 w 459"/>
                <a:gd name="T1" fmla="*/ 95 h 664"/>
                <a:gd name="T2" fmla="*/ 424 w 459"/>
                <a:gd name="T3" fmla="*/ 67 h 664"/>
                <a:gd name="T4" fmla="*/ 391 w 459"/>
                <a:gd name="T5" fmla="*/ 26 h 664"/>
                <a:gd name="T6" fmla="*/ 338 w 459"/>
                <a:gd name="T7" fmla="*/ 9 h 664"/>
                <a:gd name="T8" fmla="*/ 305 w 459"/>
                <a:gd name="T9" fmla="*/ 14 h 664"/>
                <a:gd name="T10" fmla="*/ 284 w 459"/>
                <a:gd name="T11" fmla="*/ 25 h 664"/>
                <a:gd name="T12" fmla="*/ 243 w 459"/>
                <a:gd name="T13" fmla="*/ 25 h 664"/>
                <a:gd name="T14" fmla="*/ 216 w 459"/>
                <a:gd name="T15" fmla="*/ 45 h 664"/>
                <a:gd name="T16" fmla="*/ 165 w 459"/>
                <a:gd name="T17" fmla="*/ 71 h 664"/>
                <a:gd name="T18" fmla="*/ 161 w 459"/>
                <a:gd name="T19" fmla="*/ 99 h 664"/>
                <a:gd name="T20" fmla="*/ 146 w 459"/>
                <a:gd name="T21" fmla="*/ 128 h 664"/>
                <a:gd name="T22" fmla="*/ 118 w 459"/>
                <a:gd name="T23" fmla="*/ 144 h 664"/>
                <a:gd name="T24" fmla="*/ 96 w 459"/>
                <a:gd name="T25" fmla="*/ 194 h 664"/>
                <a:gd name="T26" fmla="*/ 68 w 459"/>
                <a:gd name="T27" fmla="*/ 227 h 664"/>
                <a:gd name="T28" fmla="*/ 28 w 459"/>
                <a:gd name="T29" fmla="*/ 260 h 664"/>
                <a:gd name="T30" fmla="*/ 21 w 459"/>
                <a:gd name="T31" fmla="*/ 290 h 664"/>
                <a:gd name="T32" fmla="*/ 33 w 459"/>
                <a:gd name="T33" fmla="*/ 334 h 664"/>
                <a:gd name="T34" fmla="*/ 50 w 459"/>
                <a:gd name="T35" fmla="*/ 374 h 664"/>
                <a:gd name="T36" fmla="*/ 51 w 459"/>
                <a:gd name="T37" fmla="*/ 409 h 664"/>
                <a:gd name="T38" fmla="*/ 36 w 459"/>
                <a:gd name="T39" fmla="*/ 431 h 664"/>
                <a:gd name="T40" fmla="*/ 15 w 459"/>
                <a:gd name="T41" fmla="*/ 452 h 664"/>
                <a:gd name="T42" fmla="*/ 0 w 459"/>
                <a:gd name="T43" fmla="*/ 469 h 664"/>
                <a:gd name="T44" fmla="*/ 19 w 459"/>
                <a:gd name="T45" fmla="*/ 515 h 664"/>
                <a:gd name="T46" fmla="*/ 49 w 459"/>
                <a:gd name="T47" fmla="*/ 586 h 664"/>
                <a:gd name="T48" fmla="*/ 53 w 459"/>
                <a:gd name="T49" fmla="*/ 607 h 664"/>
                <a:gd name="T50" fmla="*/ 69 w 459"/>
                <a:gd name="T51" fmla="*/ 656 h 664"/>
                <a:gd name="T52" fmla="*/ 120 w 459"/>
                <a:gd name="T53" fmla="*/ 631 h 664"/>
                <a:gd name="T54" fmla="*/ 176 w 459"/>
                <a:gd name="T55" fmla="*/ 618 h 664"/>
                <a:gd name="T56" fmla="*/ 206 w 459"/>
                <a:gd name="T57" fmla="*/ 549 h 664"/>
                <a:gd name="T58" fmla="*/ 196 w 459"/>
                <a:gd name="T59" fmla="*/ 507 h 664"/>
                <a:gd name="T60" fmla="*/ 237 w 459"/>
                <a:gd name="T61" fmla="*/ 489 h 664"/>
                <a:gd name="T62" fmla="*/ 270 w 459"/>
                <a:gd name="T63" fmla="*/ 456 h 664"/>
                <a:gd name="T64" fmla="*/ 271 w 459"/>
                <a:gd name="T65" fmla="*/ 409 h 664"/>
                <a:gd name="T66" fmla="*/ 217 w 459"/>
                <a:gd name="T67" fmla="*/ 350 h 664"/>
                <a:gd name="T68" fmla="*/ 237 w 459"/>
                <a:gd name="T69" fmla="*/ 303 h 664"/>
                <a:gd name="T70" fmla="*/ 271 w 459"/>
                <a:gd name="T71" fmla="*/ 270 h 664"/>
                <a:gd name="T72" fmla="*/ 340 w 459"/>
                <a:gd name="T73" fmla="*/ 249 h 664"/>
                <a:gd name="T74" fmla="*/ 372 w 459"/>
                <a:gd name="T75" fmla="*/ 175 h 664"/>
                <a:gd name="T76" fmla="*/ 396 w 459"/>
                <a:gd name="T77" fmla="*/ 144 h 664"/>
                <a:gd name="T78" fmla="*/ 459 w 459"/>
                <a:gd name="T79" fmla="*/ 157 h 664"/>
                <a:gd name="T80" fmla="*/ 271 w 459"/>
                <a:gd name="T81" fmla="*/ 583 h 664"/>
                <a:gd name="T82" fmla="*/ 290 w 459"/>
                <a:gd name="T83" fmla="*/ 543 h 664"/>
                <a:gd name="T84" fmla="*/ 200 w 459"/>
                <a:gd name="T85" fmla="*/ 597 h 664"/>
                <a:gd name="T86" fmla="*/ 230 w 459"/>
                <a:gd name="T87" fmla="*/ 570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9" h="664">
                  <a:moveTo>
                    <a:pt x="451" y="136"/>
                  </a:moveTo>
                  <a:cubicBezTo>
                    <a:pt x="451" y="136"/>
                    <a:pt x="436" y="126"/>
                    <a:pt x="434" y="118"/>
                  </a:cubicBezTo>
                  <a:cubicBezTo>
                    <a:pt x="432" y="110"/>
                    <a:pt x="445" y="95"/>
                    <a:pt x="445" y="95"/>
                  </a:cubicBezTo>
                  <a:cubicBezTo>
                    <a:pt x="428" y="85"/>
                    <a:pt x="428" y="85"/>
                    <a:pt x="428" y="85"/>
                  </a:cubicBezTo>
                  <a:cubicBezTo>
                    <a:pt x="432" y="72"/>
                    <a:pt x="432" y="72"/>
                    <a:pt x="432" y="72"/>
                  </a:cubicBezTo>
                  <a:cubicBezTo>
                    <a:pt x="424" y="67"/>
                    <a:pt x="424" y="67"/>
                    <a:pt x="424" y="67"/>
                  </a:cubicBezTo>
                  <a:cubicBezTo>
                    <a:pt x="424" y="67"/>
                    <a:pt x="429" y="53"/>
                    <a:pt x="430" y="48"/>
                  </a:cubicBezTo>
                  <a:cubicBezTo>
                    <a:pt x="431" y="43"/>
                    <a:pt x="413" y="38"/>
                    <a:pt x="413" y="38"/>
                  </a:cubicBezTo>
                  <a:cubicBezTo>
                    <a:pt x="391" y="26"/>
                    <a:pt x="391" y="26"/>
                    <a:pt x="391" y="26"/>
                  </a:cubicBezTo>
                  <a:cubicBezTo>
                    <a:pt x="369" y="25"/>
                    <a:pt x="369" y="25"/>
                    <a:pt x="369" y="25"/>
                  </a:cubicBezTo>
                  <a:cubicBezTo>
                    <a:pt x="361" y="17"/>
                    <a:pt x="361" y="17"/>
                    <a:pt x="361" y="17"/>
                  </a:cubicBezTo>
                  <a:cubicBezTo>
                    <a:pt x="361" y="17"/>
                    <a:pt x="348" y="13"/>
                    <a:pt x="338" y="9"/>
                  </a:cubicBezTo>
                  <a:cubicBezTo>
                    <a:pt x="332" y="7"/>
                    <a:pt x="327" y="3"/>
                    <a:pt x="324" y="1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305" y="14"/>
                    <a:pt x="305" y="14"/>
                    <a:pt x="305" y="14"/>
                  </a:cubicBezTo>
                  <a:cubicBezTo>
                    <a:pt x="305" y="14"/>
                    <a:pt x="298" y="11"/>
                    <a:pt x="298" y="16"/>
                  </a:cubicBezTo>
                  <a:cubicBezTo>
                    <a:pt x="298" y="21"/>
                    <a:pt x="311" y="27"/>
                    <a:pt x="303" y="29"/>
                  </a:cubicBezTo>
                  <a:cubicBezTo>
                    <a:pt x="295" y="31"/>
                    <a:pt x="284" y="25"/>
                    <a:pt x="284" y="25"/>
                  </a:cubicBezTo>
                  <a:cubicBezTo>
                    <a:pt x="275" y="25"/>
                    <a:pt x="275" y="25"/>
                    <a:pt x="275" y="25"/>
                  </a:cubicBezTo>
                  <a:cubicBezTo>
                    <a:pt x="262" y="21"/>
                    <a:pt x="262" y="21"/>
                    <a:pt x="262" y="21"/>
                  </a:cubicBezTo>
                  <a:cubicBezTo>
                    <a:pt x="243" y="25"/>
                    <a:pt x="243" y="25"/>
                    <a:pt x="243" y="25"/>
                  </a:cubicBezTo>
                  <a:cubicBezTo>
                    <a:pt x="243" y="25"/>
                    <a:pt x="243" y="12"/>
                    <a:pt x="235" y="18"/>
                  </a:cubicBezTo>
                  <a:cubicBezTo>
                    <a:pt x="227" y="24"/>
                    <a:pt x="237" y="35"/>
                    <a:pt x="234" y="40"/>
                  </a:cubicBezTo>
                  <a:cubicBezTo>
                    <a:pt x="231" y="45"/>
                    <a:pt x="216" y="45"/>
                    <a:pt x="216" y="45"/>
                  </a:cubicBezTo>
                  <a:cubicBezTo>
                    <a:pt x="190" y="49"/>
                    <a:pt x="190" y="49"/>
                    <a:pt x="190" y="49"/>
                  </a:cubicBezTo>
                  <a:cubicBezTo>
                    <a:pt x="181" y="59"/>
                    <a:pt x="181" y="59"/>
                    <a:pt x="181" y="59"/>
                  </a:cubicBezTo>
                  <a:cubicBezTo>
                    <a:pt x="181" y="59"/>
                    <a:pt x="164" y="67"/>
                    <a:pt x="165" y="71"/>
                  </a:cubicBezTo>
                  <a:cubicBezTo>
                    <a:pt x="166" y="75"/>
                    <a:pt x="177" y="83"/>
                    <a:pt x="177" y="83"/>
                  </a:cubicBezTo>
                  <a:cubicBezTo>
                    <a:pt x="172" y="93"/>
                    <a:pt x="172" y="93"/>
                    <a:pt x="172" y="93"/>
                  </a:cubicBezTo>
                  <a:cubicBezTo>
                    <a:pt x="172" y="93"/>
                    <a:pt x="167" y="94"/>
                    <a:pt x="161" y="99"/>
                  </a:cubicBezTo>
                  <a:cubicBezTo>
                    <a:pt x="155" y="104"/>
                    <a:pt x="153" y="111"/>
                    <a:pt x="153" y="111"/>
                  </a:cubicBezTo>
                  <a:cubicBezTo>
                    <a:pt x="139" y="112"/>
                    <a:pt x="139" y="112"/>
                    <a:pt x="139" y="112"/>
                  </a:cubicBezTo>
                  <a:cubicBezTo>
                    <a:pt x="139" y="112"/>
                    <a:pt x="153" y="126"/>
                    <a:pt x="146" y="128"/>
                  </a:cubicBezTo>
                  <a:cubicBezTo>
                    <a:pt x="139" y="130"/>
                    <a:pt x="130" y="135"/>
                    <a:pt x="130" y="135"/>
                  </a:cubicBezTo>
                  <a:cubicBezTo>
                    <a:pt x="116" y="128"/>
                    <a:pt x="116" y="128"/>
                    <a:pt x="116" y="128"/>
                  </a:cubicBezTo>
                  <a:cubicBezTo>
                    <a:pt x="118" y="144"/>
                    <a:pt x="118" y="144"/>
                    <a:pt x="118" y="144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1" y="178"/>
                    <a:pt x="111" y="178"/>
                    <a:pt x="111" y="178"/>
                  </a:cubicBezTo>
                  <a:cubicBezTo>
                    <a:pt x="111" y="178"/>
                    <a:pt x="101" y="190"/>
                    <a:pt x="96" y="194"/>
                  </a:cubicBezTo>
                  <a:cubicBezTo>
                    <a:pt x="91" y="198"/>
                    <a:pt x="82" y="204"/>
                    <a:pt x="82" y="204"/>
                  </a:cubicBezTo>
                  <a:cubicBezTo>
                    <a:pt x="82" y="204"/>
                    <a:pt x="103" y="214"/>
                    <a:pt x="99" y="223"/>
                  </a:cubicBezTo>
                  <a:cubicBezTo>
                    <a:pt x="95" y="232"/>
                    <a:pt x="68" y="227"/>
                    <a:pt x="68" y="227"/>
                  </a:cubicBezTo>
                  <a:cubicBezTo>
                    <a:pt x="68" y="227"/>
                    <a:pt x="53" y="239"/>
                    <a:pt x="46" y="244"/>
                  </a:cubicBezTo>
                  <a:cubicBezTo>
                    <a:pt x="39" y="249"/>
                    <a:pt x="33" y="254"/>
                    <a:pt x="33" y="254"/>
                  </a:cubicBezTo>
                  <a:cubicBezTo>
                    <a:pt x="28" y="260"/>
                    <a:pt x="28" y="260"/>
                    <a:pt x="28" y="260"/>
                  </a:cubicBezTo>
                  <a:cubicBezTo>
                    <a:pt x="28" y="260"/>
                    <a:pt x="22" y="265"/>
                    <a:pt x="22" y="268"/>
                  </a:cubicBezTo>
                  <a:cubicBezTo>
                    <a:pt x="22" y="271"/>
                    <a:pt x="40" y="271"/>
                    <a:pt x="34" y="277"/>
                  </a:cubicBezTo>
                  <a:cubicBezTo>
                    <a:pt x="28" y="283"/>
                    <a:pt x="19" y="285"/>
                    <a:pt x="21" y="290"/>
                  </a:cubicBezTo>
                  <a:cubicBezTo>
                    <a:pt x="23" y="295"/>
                    <a:pt x="29" y="303"/>
                    <a:pt x="29" y="303"/>
                  </a:cubicBezTo>
                  <a:cubicBezTo>
                    <a:pt x="29" y="303"/>
                    <a:pt x="40" y="310"/>
                    <a:pt x="39" y="315"/>
                  </a:cubicBezTo>
                  <a:cubicBezTo>
                    <a:pt x="38" y="320"/>
                    <a:pt x="32" y="327"/>
                    <a:pt x="33" y="334"/>
                  </a:cubicBezTo>
                  <a:cubicBezTo>
                    <a:pt x="34" y="341"/>
                    <a:pt x="42" y="348"/>
                    <a:pt x="42" y="348"/>
                  </a:cubicBezTo>
                  <a:cubicBezTo>
                    <a:pt x="42" y="348"/>
                    <a:pt x="61" y="354"/>
                    <a:pt x="59" y="361"/>
                  </a:cubicBezTo>
                  <a:cubicBezTo>
                    <a:pt x="57" y="368"/>
                    <a:pt x="50" y="374"/>
                    <a:pt x="50" y="374"/>
                  </a:cubicBezTo>
                  <a:cubicBezTo>
                    <a:pt x="35" y="377"/>
                    <a:pt x="35" y="377"/>
                    <a:pt x="35" y="377"/>
                  </a:cubicBezTo>
                  <a:cubicBezTo>
                    <a:pt x="35" y="377"/>
                    <a:pt x="41" y="394"/>
                    <a:pt x="44" y="397"/>
                  </a:cubicBezTo>
                  <a:cubicBezTo>
                    <a:pt x="47" y="400"/>
                    <a:pt x="51" y="409"/>
                    <a:pt x="51" y="409"/>
                  </a:cubicBezTo>
                  <a:cubicBezTo>
                    <a:pt x="44" y="409"/>
                    <a:pt x="44" y="409"/>
                    <a:pt x="44" y="409"/>
                  </a:cubicBezTo>
                  <a:cubicBezTo>
                    <a:pt x="44" y="426"/>
                    <a:pt x="44" y="426"/>
                    <a:pt x="44" y="426"/>
                  </a:cubicBezTo>
                  <a:cubicBezTo>
                    <a:pt x="44" y="426"/>
                    <a:pt x="41" y="431"/>
                    <a:pt x="36" y="431"/>
                  </a:cubicBezTo>
                  <a:cubicBezTo>
                    <a:pt x="31" y="431"/>
                    <a:pt x="17" y="425"/>
                    <a:pt x="19" y="431"/>
                  </a:cubicBezTo>
                  <a:cubicBezTo>
                    <a:pt x="21" y="437"/>
                    <a:pt x="21" y="441"/>
                    <a:pt x="21" y="441"/>
                  </a:cubicBezTo>
                  <a:cubicBezTo>
                    <a:pt x="21" y="441"/>
                    <a:pt x="12" y="444"/>
                    <a:pt x="15" y="452"/>
                  </a:cubicBezTo>
                  <a:cubicBezTo>
                    <a:pt x="18" y="460"/>
                    <a:pt x="24" y="461"/>
                    <a:pt x="22" y="466"/>
                  </a:cubicBezTo>
                  <a:cubicBezTo>
                    <a:pt x="20" y="471"/>
                    <a:pt x="14" y="482"/>
                    <a:pt x="14" y="482"/>
                  </a:cubicBezTo>
                  <a:cubicBezTo>
                    <a:pt x="0" y="469"/>
                    <a:pt x="0" y="469"/>
                    <a:pt x="0" y="469"/>
                  </a:cubicBezTo>
                  <a:cubicBezTo>
                    <a:pt x="2" y="510"/>
                    <a:pt x="2" y="510"/>
                    <a:pt x="2" y="510"/>
                  </a:cubicBezTo>
                  <a:cubicBezTo>
                    <a:pt x="2" y="510"/>
                    <a:pt x="16" y="499"/>
                    <a:pt x="23" y="511"/>
                  </a:cubicBezTo>
                  <a:cubicBezTo>
                    <a:pt x="30" y="523"/>
                    <a:pt x="19" y="515"/>
                    <a:pt x="19" y="515"/>
                  </a:cubicBezTo>
                  <a:cubicBezTo>
                    <a:pt x="19" y="515"/>
                    <a:pt x="14" y="549"/>
                    <a:pt x="18" y="553"/>
                  </a:cubicBezTo>
                  <a:cubicBezTo>
                    <a:pt x="22" y="557"/>
                    <a:pt x="34" y="562"/>
                    <a:pt x="34" y="562"/>
                  </a:cubicBezTo>
                  <a:cubicBezTo>
                    <a:pt x="34" y="562"/>
                    <a:pt x="43" y="579"/>
                    <a:pt x="49" y="586"/>
                  </a:cubicBezTo>
                  <a:cubicBezTo>
                    <a:pt x="55" y="593"/>
                    <a:pt x="66" y="597"/>
                    <a:pt x="66" y="597"/>
                  </a:cubicBezTo>
                  <a:cubicBezTo>
                    <a:pt x="65" y="605"/>
                    <a:pt x="65" y="605"/>
                    <a:pt x="65" y="605"/>
                  </a:cubicBezTo>
                  <a:cubicBezTo>
                    <a:pt x="53" y="607"/>
                    <a:pt x="53" y="607"/>
                    <a:pt x="53" y="607"/>
                  </a:cubicBezTo>
                  <a:cubicBezTo>
                    <a:pt x="53" y="607"/>
                    <a:pt x="51" y="615"/>
                    <a:pt x="52" y="621"/>
                  </a:cubicBezTo>
                  <a:cubicBezTo>
                    <a:pt x="53" y="627"/>
                    <a:pt x="68" y="640"/>
                    <a:pt x="68" y="640"/>
                  </a:cubicBezTo>
                  <a:cubicBezTo>
                    <a:pt x="68" y="640"/>
                    <a:pt x="64" y="653"/>
                    <a:pt x="69" y="656"/>
                  </a:cubicBezTo>
                  <a:cubicBezTo>
                    <a:pt x="74" y="659"/>
                    <a:pt x="94" y="657"/>
                    <a:pt x="94" y="657"/>
                  </a:cubicBezTo>
                  <a:cubicBezTo>
                    <a:pt x="94" y="657"/>
                    <a:pt x="122" y="664"/>
                    <a:pt x="121" y="655"/>
                  </a:cubicBezTo>
                  <a:cubicBezTo>
                    <a:pt x="120" y="646"/>
                    <a:pt x="120" y="631"/>
                    <a:pt x="120" y="631"/>
                  </a:cubicBezTo>
                  <a:cubicBezTo>
                    <a:pt x="132" y="625"/>
                    <a:pt x="132" y="625"/>
                    <a:pt x="132" y="625"/>
                  </a:cubicBezTo>
                  <a:cubicBezTo>
                    <a:pt x="133" y="615"/>
                    <a:pt x="133" y="615"/>
                    <a:pt x="133" y="615"/>
                  </a:cubicBezTo>
                  <a:cubicBezTo>
                    <a:pt x="176" y="618"/>
                    <a:pt x="176" y="618"/>
                    <a:pt x="176" y="618"/>
                  </a:cubicBezTo>
                  <a:cubicBezTo>
                    <a:pt x="185" y="623"/>
                    <a:pt x="185" y="623"/>
                    <a:pt x="185" y="623"/>
                  </a:cubicBezTo>
                  <a:cubicBezTo>
                    <a:pt x="199" y="581"/>
                    <a:pt x="199" y="581"/>
                    <a:pt x="199" y="581"/>
                  </a:cubicBezTo>
                  <a:cubicBezTo>
                    <a:pt x="199" y="581"/>
                    <a:pt x="208" y="555"/>
                    <a:pt x="206" y="549"/>
                  </a:cubicBezTo>
                  <a:cubicBezTo>
                    <a:pt x="204" y="543"/>
                    <a:pt x="198" y="532"/>
                    <a:pt x="198" y="532"/>
                  </a:cubicBezTo>
                  <a:cubicBezTo>
                    <a:pt x="198" y="532"/>
                    <a:pt x="219" y="529"/>
                    <a:pt x="217" y="518"/>
                  </a:cubicBezTo>
                  <a:cubicBezTo>
                    <a:pt x="215" y="507"/>
                    <a:pt x="196" y="507"/>
                    <a:pt x="196" y="507"/>
                  </a:cubicBezTo>
                  <a:cubicBezTo>
                    <a:pt x="209" y="502"/>
                    <a:pt x="209" y="502"/>
                    <a:pt x="209" y="502"/>
                  </a:cubicBezTo>
                  <a:cubicBezTo>
                    <a:pt x="200" y="498"/>
                    <a:pt x="200" y="498"/>
                    <a:pt x="200" y="498"/>
                  </a:cubicBezTo>
                  <a:cubicBezTo>
                    <a:pt x="200" y="498"/>
                    <a:pt x="234" y="500"/>
                    <a:pt x="237" y="489"/>
                  </a:cubicBezTo>
                  <a:cubicBezTo>
                    <a:pt x="240" y="478"/>
                    <a:pt x="245" y="472"/>
                    <a:pt x="245" y="472"/>
                  </a:cubicBezTo>
                  <a:cubicBezTo>
                    <a:pt x="245" y="472"/>
                    <a:pt x="256" y="490"/>
                    <a:pt x="266" y="478"/>
                  </a:cubicBezTo>
                  <a:cubicBezTo>
                    <a:pt x="276" y="466"/>
                    <a:pt x="270" y="456"/>
                    <a:pt x="270" y="456"/>
                  </a:cubicBezTo>
                  <a:cubicBezTo>
                    <a:pt x="270" y="456"/>
                    <a:pt x="297" y="451"/>
                    <a:pt x="290" y="437"/>
                  </a:cubicBezTo>
                  <a:cubicBezTo>
                    <a:pt x="283" y="423"/>
                    <a:pt x="271" y="420"/>
                    <a:pt x="271" y="420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47" y="399"/>
                    <a:pt x="247" y="399"/>
                    <a:pt x="247" y="399"/>
                  </a:cubicBezTo>
                  <a:cubicBezTo>
                    <a:pt x="247" y="399"/>
                    <a:pt x="236" y="406"/>
                    <a:pt x="228" y="399"/>
                  </a:cubicBezTo>
                  <a:cubicBezTo>
                    <a:pt x="220" y="392"/>
                    <a:pt x="217" y="350"/>
                    <a:pt x="217" y="350"/>
                  </a:cubicBezTo>
                  <a:cubicBezTo>
                    <a:pt x="217" y="350"/>
                    <a:pt x="228" y="340"/>
                    <a:pt x="229" y="329"/>
                  </a:cubicBezTo>
                  <a:cubicBezTo>
                    <a:pt x="230" y="318"/>
                    <a:pt x="219" y="308"/>
                    <a:pt x="219" y="308"/>
                  </a:cubicBezTo>
                  <a:cubicBezTo>
                    <a:pt x="219" y="308"/>
                    <a:pt x="233" y="311"/>
                    <a:pt x="237" y="303"/>
                  </a:cubicBezTo>
                  <a:cubicBezTo>
                    <a:pt x="241" y="295"/>
                    <a:pt x="232" y="283"/>
                    <a:pt x="232" y="283"/>
                  </a:cubicBezTo>
                  <a:cubicBezTo>
                    <a:pt x="232" y="283"/>
                    <a:pt x="249" y="292"/>
                    <a:pt x="254" y="287"/>
                  </a:cubicBezTo>
                  <a:cubicBezTo>
                    <a:pt x="259" y="282"/>
                    <a:pt x="271" y="270"/>
                    <a:pt x="271" y="270"/>
                  </a:cubicBezTo>
                  <a:cubicBezTo>
                    <a:pt x="291" y="273"/>
                    <a:pt x="291" y="273"/>
                    <a:pt x="291" y="273"/>
                  </a:cubicBezTo>
                  <a:cubicBezTo>
                    <a:pt x="299" y="258"/>
                    <a:pt x="299" y="258"/>
                    <a:pt x="299" y="258"/>
                  </a:cubicBezTo>
                  <a:cubicBezTo>
                    <a:pt x="299" y="258"/>
                    <a:pt x="330" y="259"/>
                    <a:pt x="340" y="249"/>
                  </a:cubicBezTo>
                  <a:cubicBezTo>
                    <a:pt x="350" y="239"/>
                    <a:pt x="364" y="213"/>
                    <a:pt x="364" y="213"/>
                  </a:cubicBezTo>
                  <a:cubicBezTo>
                    <a:pt x="352" y="198"/>
                    <a:pt x="352" y="198"/>
                    <a:pt x="352" y="198"/>
                  </a:cubicBezTo>
                  <a:cubicBezTo>
                    <a:pt x="372" y="175"/>
                    <a:pt x="372" y="175"/>
                    <a:pt x="372" y="175"/>
                  </a:cubicBezTo>
                  <a:cubicBezTo>
                    <a:pt x="361" y="162"/>
                    <a:pt x="361" y="162"/>
                    <a:pt x="361" y="162"/>
                  </a:cubicBezTo>
                  <a:cubicBezTo>
                    <a:pt x="386" y="156"/>
                    <a:pt x="386" y="156"/>
                    <a:pt x="386" y="156"/>
                  </a:cubicBezTo>
                  <a:cubicBezTo>
                    <a:pt x="396" y="144"/>
                    <a:pt x="396" y="144"/>
                    <a:pt x="396" y="144"/>
                  </a:cubicBezTo>
                  <a:cubicBezTo>
                    <a:pt x="449" y="146"/>
                    <a:pt x="449" y="146"/>
                    <a:pt x="449" y="146"/>
                  </a:cubicBezTo>
                  <a:cubicBezTo>
                    <a:pt x="457" y="159"/>
                    <a:pt x="457" y="159"/>
                    <a:pt x="457" y="159"/>
                  </a:cubicBezTo>
                  <a:cubicBezTo>
                    <a:pt x="459" y="157"/>
                    <a:pt x="459" y="157"/>
                    <a:pt x="459" y="157"/>
                  </a:cubicBezTo>
                  <a:lnTo>
                    <a:pt x="451" y="136"/>
                  </a:lnTo>
                  <a:close/>
                  <a:moveTo>
                    <a:pt x="262" y="549"/>
                  </a:moveTo>
                  <a:cubicBezTo>
                    <a:pt x="259" y="560"/>
                    <a:pt x="271" y="583"/>
                    <a:pt x="271" y="583"/>
                  </a:cubicBezTo>
                  <a:cubicBezTo>
                    <a:pt x="279" y="566"/>
                    <a:pt x="279" y="566"/>
                    <a:pt x="279" y="566"/>
                  </a:cubicBezTo>
                  <a:cubicBezTo>
                    <a:pt x="279" y="566"/>
                    <a:pt x="285" y="569"/>
                    <a:pt x="290" y="560"/>
                  </a:cubicBezTo>
                  <a:cubicBezTo>
                    <a:pt x="296" y="552"/>
                    <a:pt x="290" y="543"/>
                    <a:pt x="290" y="543"/>
                  </a:cubicBezTo>
                  <a:cubicBezTo>
                    <a:pt x="302" y="531"/>
                    <a:pt x="302" y="531"/>
                    <a:pt x="302" y="531"/>
                  </a:cubicBezTo>
                  <a:cubicBezTo>
                    <a:pt x="302" y="531"/>
                    <a:pt x="265" y="538"/>
                    <a:pt x="262" y="549"/>
                  </a:cubicBezTo>
                  <a:close/>
                  <a:moveTo>
                    <a:pt x="200" y="597"/>
                  </a:moveTo>
                  <a:cubicBezTo>
                    <a:pt x="200" y="602"/>
                    <a:pt x="199" y="615"/>
                    <a:pt x="199" y="615"/>
                  </a:cubicBezTo>
                  <a:cubicBezTo>
                    <a:pt x="207" y="615"/>
                    <a:pt x="216" y="584"/>
                    <a:pt x="216" y="584"/>
                  </a:cubicBezTo>
                  <a:cubicBezTo>
                    <a:pt x="230" y="570"/>
                    <a:pt x="230" y="570"/>
                    <a:pt x="230" y="570"/>
                  </a:cubicBezTo>
                  <a:cubicBezTo>
                    <a:pt x="226" y="557"/>
                    <a:pt x="226" y="557"/>
                    <a:pt x="226" y="557"/>
                  </a:cubicBezTo>
                  <a:cubicBezTo>
                    <a:pt x="226" y="557"/>
                    <a:pt x="200" y="591"/>
                    <a:pt x="200" y="59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39" name="Freeform 319">
              <a:extLst>
                <a:ext uri="{FF2B5EF4-FFF2-40B4-BE49-F238E27FC236}">
                  <a16:creationId xmlns:a16="http://schemas.microsoft.com/office/drawing/2014/main" id="{4769EF60-3886-68A0-A428-18EB0E868D0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5771" y="-19648"/>
              <a:ext cx="2137" cy="2385"/>
            </a:xfrm>
            <a:custGeom>
              <a:avLst/>
              <a:gdLst>
                <a:gd name="T0" fmla="*/ 453 w 905"/>
                <a:gd name="T1" fmla="*/ 40 h 1010"/>
                <a:gd name="T2" fmla="*/ 653 w 905"/>
                <a:gd name="T3" fmla="*/ 48 h 1010"/>
                <a:gd name="T4" fmla="*/ 558 w 905"/>
                <a:gd name="T5" fmla="*/ 4 h 1010"/>
                <a:gd name="T6" fmla="*/ 429 w 905"/>
                <a:gd name="T7" fmla="*/ 28 h 1010"/>
                <a:gd name="T8" fmla="*/ 281 w 905"/>
                <a:gd name="T9" fmla="*/ 93 h 1010"/>
                <a:gd name="T10" fmla="*/ 345 w 905"/>
                <a:gd name="T11" fmla="*/ 111 h 1010"/>
                <a:gd name="T12" fmla="*/ 432 w 905"/>
                <a:gd name="T13" fmla="*/ 100 h 1010"/>
                <a:gd name="T14" fmla="*/ 515 w 905"/>
                <a:gd name="T15" fmla="*/ 123 h 1010"/>
                <a:gd name="T16" fmla="*/ 551 w 905"/>
                <a:gd name="T17" fmla="*/ 82 h 1010"/>
                <a:gd name="T18" fmla="*/ 453 w 905"/>
                <a:gd name="T19" fmla="*/ 54 h 1010"/>
                <a:gd name="T20" fmla="*/ 328 w 905"/>
                <a:gd name="T21" fmla="*/ 27 h 1010"/>
                <a:gd name="T22" fmla="*/ 240 w 905"/>
                <a:gd name="T23" fmla="*/ 24 h 1010"/>
                <a:gd name="T24" fmla="*/ 417 w 905"/>
                <a:gd name="T25" fmla="*/ 467 h 1010"/>
                <a:gd name="T26" fmla="*/ 363 w 905"/>
                <a:gd name="T27" fmla="*/ 482 h 1010"/>
                <a:gd name="T28" fmla="*/ 611 w 905"/>
                <a:gd name="T29" fmla="*/ 404 h 1010"/>
                <a:gd name="T30" fmla="*/ 320 w 905"/>
                <a:gd name="T31" fmla="*/ 509 h 1010"/>
                <a:gd name="T32" fmla="*/ 902 w 905"/>
                <a:gd name="T33" fmla="*/ 421 h 1010"/>
                <a:gd name="T34" fmla="*/ 749 w 905"/>
                <a:gd name="T35" fmla="*/ 425 h 1010"/>
                <a:gd name="T36" fmla="*/ 683 w 905"/>
                <a:gd name="T37" fmla="*/ 393 h 1010"/>
                <a:gd name="T38" fmla="*/ 593 w 905"/>
                <a:gd name="T39" fmla="*/ 446 h 1010"/>
                <a:gd name="T40" fmla="*/ 507 w 905"/>
                <a:gd name="T41" fmla="*/ 444 h 1010"/>
                <a:gd name="T42" fmla="*/ 494 w 905"/>
                <a:gd name="T43" fmla="*/ 437 h 1010"/>
                <a:gd name="T44" fmla="*/ 446 w 905"/>
                <a:gd name="T45" fmla="*/ 491 h 1010"/>
                <a:gd name="T46" fmla="*/ 399 w 905"/>
                <a:gd name="T47" fmla="*/ 505 h 1010"/>
                <a:gd name="T48" fmla="*/ 360 w 905"/>
                <a:gd name="T49" fmla="*/ 526 h 1010"/>
                <a:gd name="T50" fmla="*/ 365 w 905"/>
                <a:gd name="T51" fmla="*/ 561 h 1010"/>
                <a:gd name="T52" fmla="*/ 293 w 905"/>
                <a:gd name="T53" fmla="*/ 606 h 1010"/>
                <a:gd name="T54" fmla="*/ 266 w 905"/>
                <a:gd name="T55" fmla="*/ 642 h 1010"/>
                <a:gd name="T56" fmla="*/ 237 w 905"/>
                <a:gd name="T57" fmla="*/ 689 h 1010"/>
                <a:gd name="T58" fmla="*/ 180 w 905"/>
                <a:gd name="T59" fmla="*/ 715 h 1010"/>
                <a:gd name="T60" fmla="*/ 118 w 905"/>
                <a:gd name="T61" fmla="*/ 741 h 1010"/>
                <a:gd name="T62" fmla="*/ 111 w 905"/>
                <a:gd name="T63" fmla="*/ 775 h 1010"/>
                <a:gd name="T64" fmla="*/ 72 w 905"/>
                <a:gd name="T65" fmla="*/ 808 h 1010"/>
                <a:gd name="T66" fmla="*/ 20 w 905"/>
                <a:gd name="T67" fmla="*/ 804 h 1010"/>
                <a:gd name="T68" fmla="*/ 21 w 905"/>
                <a:gd name="T69" fmla="*/ 834 h 1010"/>
                <a:gd name="T70" fmla="*/ 71 w 905"/>
                <a:gd name="T71" fmla="*/ 854 h 1010"/>
                <a:gd name="T72" fmla="*/ 0 w 905"/>
                <a:gd name="T73" fmla="*/ 858 h 1010"/>
                <a:gd name="T74" fmla="*/ 65 w 905"/>
                <a:gd name="T75" fmla="*/ 884 h 1010"/>
                <a:gd name="T76" fmla="*/ 14 w 905"/>
                <a:gd name="T77" fmla="*/ 926 h 1010"/>
                <a:gd name="T78" fmla="*/ 36 w 905"/>
                <a:gd name="T79" fmla="*/ 967 h 1010"/>
                <a:gd name="T80" fmla="*/ 103 w 905"/>
                <a:gd name="T81" fmla="*/ 1004 h 1010"/>
                <a:gd name="T82" fmla="*/ 207 w 905"/>
                <a:gd name="T83" fmla="*/ 942 h 1010"/>
                <a:gd name="T84" fmla="*/ 252 w 905"/>
                <a:gd name="T85" fmla="*/ 911 h 1010"/>
                <a:gd name="T86" fmla="*/ 268 w 905"/>
                <a:gd name="T87" fmla="*/ 857 h 1010"/>
                <a:gd name="T88" fmla="*/ 262 w 905"/>
                <a:gd name="T89" fmla="*/ 783 h 1010"/>
                <a:gd name="T90" fmla="*/ 279 w 905"/>
                <a:gd name="T91" fmla="*/ 724 h 1010"/>
                <a:gd name="T92" fmla="*/ 348 w 905"/>
                <a:gd name="T93" fmla="*/ 629 h 1010"/>
                <a:gd name="T94" fmla="*/ 386 w 905"/>
                <a:gd name="T95" fmla="*/ 591 h 1010"/>
                <a:gd name="T96" fmla="*/ 423 w 905"/>
                <a:gd name="T97" fmla="*/ 529 h 1010"/>
                <a:gd name="T98" fmla="*/ 508 w 905"/>
                <a:gd name="T99" fmla="*/ 505 h 1010"/>
                <a:gd name="T100" fmla="*/ 557 w 905"/>
                <a:gd name="T101" fmla="*/ 481 h 1010"/>
                <a:gd name="T102" fmla="*/ 594 w 905"/>
                <a:gd name="T103" fmla="*/ 480 h 1010"/>
                <a:gd name="T104" fmla="*/ 677 w 905"/>
                <a:gd name="T105" fmla="*/ 489 h 1010"/>
                <a:gd name="T106" fmla="*/ 752 w 905"/>
                <a:gd name="T107" fmla="*/ 438 h 1010"/>
                <a:gd name="T108" fmla="*/ 834 w 905"/>
                <a:gd name="T109" fmla="*/ 469 h 1010"/>
                <a:gd name="T110" fmla="*/ 891 w 905"/>
                <a:gd name="T111" fmla="*/ 456 h 1010"/>
                <a:gd name="T112" fmla="*/ 380 w 905"/>
                <a:gd name="T113" fmla="*/ 512 h 1010"/>
                <a:gd name="T114" fmla="*/ 346 w 905"/>
                <a:gd name="T115" fmla="*/ 483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05" h="1010">
                  <a:moveTo>
                    <a:pt x="215" y="87"/>
                  </a:moveTo>
                  <a:cubicBezTo>
                    <a:pt x="229" y="97"/>
                    <a:pt x="250" y="93"/>
                    <a:pt x="250" y="93"/>
                  </a:cubicBezTo>
                  <a:cubicBezTo>
                    <a:pt x="228" y="82"/>
                    <a:pt x="228" y="82"/>
                    <a:pt x="228" y="82"/>
                  </a:cubicBezTo>
                  <a:cubicBezTo>
                    <a:pt x="195" y="65"/>
                    <a:pt x="195" y="65"/>
                    <a:pt x="195" y="65"/>
                  </a:cubicBezTo>
                  <a:cubicBezTo>
                    <a:pt x="191" y="78"/>
                    <a:pt x="201" y="78"/>
                    <a:pt x="215" y="87"/>
                  </a:cubicBezTo>
                  <a:close/>
                  <a:moveTo>
                    <a:pt x="453" y="40"/>
                  </a:moveTo>
                  <a:cubicBezTo>
                    <a:pt x="481" y="40"/>
                    <a:pt x="481" y="40"/>
                    <a:pt x="481" y="40"/>
                  </a:cubicBezTo>
                  <a:cubicBezTo>
                    <a:pt x="481" y="40"/>
                    <a:pt x="512" y="51"/>
                    <a:pt x="516" y="49"/>
                  </a:cubicBezTo>
                  <a:cubicBezTo>
                    <a:pt x="520" y="48"/>
                    <a:pt x="542" y="44"/>
                    <a:pt x="547" y="44"/>
                  </a:cubicBezTo>
                  <a:cubicBezTo>
                    <a:pt x="553" y="44"/>
                    <a:pt x="599" y="62"/>
                    <a:pt x="599" y="62"/>
                  </a:cubicBezTo>
                  <a:cubicBezTo>
                    <a:pt x="613" y="47"/>
                    <a:pt x="613" y="47"/>
                    <a:pt x="613" y="47"/>
                  </a:cubicBezTo>
                  <a:cubicBezTo>
                    <a:pt x="653" y="48"/>
                    <a:pt x="653" y="48"/>
                    <a:pt x="653" y="48"/>
                  </a:cubicBezTo>
                  <a:cubicBezTo>
                    <a:pt x="656" y="35"/>
                    <a:pt x="656" y="35"/>
                    <a:pt x="656" y="35"/>
                  </a:cubicBezTo>
                  <a:cubicBezTo>
                    <a:pt x="656" y="35"/>
                    <a:pt x="677" y="42"/>
                    <a:pt x="688" y="21"/>
                  </a:cubicBezTo>
                  <a:cubicBezTo>
                    <a:pt x="699" y="0"/>
                    <a:pt x="653" y="17"/>
                    <a:pt x="653" y="17"/>
                  </a:cubicBezTo>
                  <a:cubicBezTo>
                    <a:pt x="653" y="17"/>
                    <a:pt x="650" y="7"/>
                    <a:pt x="626" y="7"/>
                  </a:cubicBezTo>
                  <a:cubicBezTo>
                    <a:pt x="602" y="7"/>
                    <a:pt x="585" y="19"/>
                    <a:pt x="578" y="17"/>
                  </a:cubicBezTo>
                  <a:cubicBezTo>
                    <a:pt x="571" y="16"/>
                    <a:pt x="577" y="4"/>
                    <a:pt x="558" y="4"/>
                  </a:cubicBezTo>
                  <a:cubicBezTo>
                    <a:pt x="540" y="4"/>
                    <a:pt x="535" y="20"/>
                    <a:pt x="535" y="20"/>
                  </a:cubicBezTo>
                  <a:cubicBezTo>
                    <a:pt x="491" y="4"/>
                    <a:pt x="491" y="4"/>
                    <a:pt x="491" y="4"/>
                  </a:cubicBezTo>
                  <a:cubicBezTo>
                    <a:pt x="491" y="4"/>
                    <a:pt x="470" y="11"/>
                    <a:pt x="447" y="16"/>
                  </a:cubicBezTo>
                  <a:cubicBezTo>
                    <a:pt x="425" y="20"/>
                    <a:pt x="440" y="4"/>
                    <a:pt x="440" y="4"/>
                  </a:cubicBezTo>
                  <a:cubicBezTo>
                    <a:pt x="419" y="14"/>
                    <a:pt x="419" y="14"/>
                    <a:pt x="419" y="14"/>
                  </a:cubicBezTo>
                  <a:cubicBezTo>
                    <a:pt x="429" y="28"/>
                    <a:pt x="429" y="28"/>
                    <a:pt x="429" y="28"/>
                  </a:cubicBezTo>
                  <a:lnTo>
                    <a:pt x="453" y="40"/>
                  </a:lnTo>
                  <a:close/>
                  <a:moveTo>
                    <a:pt x="214" y="49"/>
                  </a:moveTo>
                  <a:cubicBezTo>
                    <a:pt x="221" y="54"/>
                    <a:pt x="236" y="51"/>
                    <a:pt x="239" y="55"/>
                  </a:cubicBezTo>
                  <a:cubicBezTo>
                    <a:pt x="242" y="59"/>
                    <a:pt x="223" y="69"/>
                    <a:pt x="223" y="69"/>
                  </a:cubicBezTo>
                  <a:cubicBezTo>
                    <a:pt x="252" y="80"/>
                    <a:pt x="252" y="80"/>
                    <a:pt x="252" y="80"/>
                  </a:cubicBezTo>
                  <a:cubicBezTo>
                    <a:pt x="252" y="80"/>
                    <a:pt x="267" y="90"/>
                    <a:pt x="281" y="93"/>
                  </a:cubicBezTo>
                  <a:cubicBezTo>
                    <a:pt x="295" y="96"/>
                    <a:pt x="305" y="76"/>
                    <a:pt x="305" y="76"/>
                  </a:cubicBezTo>
                  <a:cubicBezTo>
                    <a:pt x="333" y="71"/>
                    <a:pt x="333" y="71"/>
                    <a:pt x="333" y="71"/>
                  </a:cubicBezTo>
                  <a:cubicBezTo>
                    <a:pt x="356" y="85"/>
                    <a:pt x="356" y="85"/>
                    <a:pt x="356" y="85"/>
                  </a:cubicBezTo>
                  <a:cubicBezTo>
                    <a:pt x="356" y="85"/>
                    <a:pt x="337" y="90"/>
                    <a:pt x="319" y="94"/>
                  </a:cubicBezTo>
                  <a:cubicBezTo>
                    <a:pt x="301" y="99"/>
                    <a:pt x="302" y="106"/>
                    <a:pt x="302" y="106"/>
                  </a:cubicBezTo>
                  <a:cubicBezTo>
                    <a:pt x="302" y="106"/>
                    <a:pt x="352" y="110"/>
                    <a:pt x="345" y="111"/>
                  </a:cubicBezTo>
                  <a:cubicBezTo>
                    <a:pt x="337" y="113"/>
                    <a:pt x="307" y="125"/>
                    <a:pt x="307" y="125"/>
                  </a:cubicBezTo>
                  <a:cubicBezTo>
                    <a:pt x="340" y="137"/>
                    <a:pt x="340" y="137"/>
                    <a:pt x="340" y="137"/>
                  </a:cubicBezTo>
                  <a:cubicBezTo>
                    <a:pt x="340" y="137"/>
                    <a:pt x="370" y="152"/>
                    <a:pt x="395" y="148"/>
                  </a:cubicBezTo>
                  <a:cubicBezTo>
                    <a:pt x="421" y="144"/>
                    <a:pt x="402" y="128"/>
                    <a:pt x="402" y="121"/>
                  </a:cubicBezTo>
                  <a:cubicBezTo>
                    <a:pt x="402" y="114"/>
                    <a:pt x="432" y="114"/>
                    <a:pt x="432" y="114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51" y="96"/>
                    <a:pt x="451" y="96"/>
                    <a:pt x="451" y="96"/>
                  </a:cubicBezTo>
                  <a:cubicBezTo>
                    <a:pt x="460" y="75"/>
                    <a:pt x="460" y="75"/>
                    <a:pt x="460" y="75"/>
                  </a:cubicBezTo>
                  <a:cubicBezTo>
                    <a:pt x="473" y="82"/>
                    <a:pt x="473" y="82"/>
                    <a:pt x="473" y="82"/>
                  </a:cubicBezTo>
                  <a:cubicBezTo>
                    <a:pt x="489" y="73"/>
                    <a:pt x="489" y="73"/>
                    <a:pt x="489" y="73"/>
                  </a:cubicBezTo>
                  <a:cubicBezTo>
                    <a:pt x="489" y="73"/>
                    <a:pt x="498" y="87"/>
                    <a:pt x="518" y="92"/>
                  </a:cubicBezTo>
                  <a:cubicBezTo>
                    <a:pt x="537" y="96"/>
                    <a:pt x="515" y="123"/>
                    <a:pt x="515" y="123"/>
                  </a:cubicBezTo>
                  <a:cubicBezTo>
                    <a:pt x="551" y="121"/>
                    <a:pt x="551" y="121"/>
                    <a:pt x="551" y="121"/>
                  </a:cubicBezTo>
                  <a:cubicBezTo>
                    <a:pt x="551" y="121"/>
                    <a:pt x="570" y="137"/>
                    <a:pt x="571" y="132"/>
                  </a:cubicBezTo>
                  <a:cubicBezTo>
                    <a:pt x="572" y="128"/>
                    <a:pt x="623" y="114"/>
                    <a:pt x="627" y="106"/>
                  </a:cubicBezTo>
                  <a:cubicBezTo>
                    <a:pt x="632" y="97"/>
                    <a:pt x="589" y="99"/>
                    <a:pt x="589" y="99"/>
                  </a:cubicBezTo>
                  <a:cubicBezTo>
                    <a:pt x="587" y="87"/>
                    <a:pt x="587" y="87"/>
                    <a:pt x="587" y="87"/>
                  </a:cubicBezTo>
                  <a:cubicBezTo>
                    <a:pt x="551" y="82"/>
                    <a:pt x="551" y="82"/>
                    <a:pt x="551" y="82"/>
                  </a:cubicBezTo>
                  <a:cubicBezTo>
                    <a:pt x="550" y="71"/>
                    <a:pt x="550" y="71"/>
                    <a:pt x="550" y="71"/>
                  </a:cubicBezTo>
                  <a:cubicBezTo>
                    <a:pt x="529" y="73"/>
                    <a:pt x="529" y="73"/>
                    <a:pt x="529" y="73"/>
                  </a:cubicBezTo>
                  <a:cubicBezTo>
                    <a:pt x="532" y="61"/>
                    <a:pt x="532" y="61"/>
                    <a:pt x="532" y="61"/>
                  </a:cubicBezTo>
                  <a:cubicBezTo>
                    <a:pt x="481" y="62"/>
                    <a:pt x="481" y="62"/>
                    <a:pt x="481" y="62"/>
                  </a:cubicBezTo>
                  <a:cubicBezTo>
                    <a:pt x="477" y="54"/>
                    <a:pt x="477" y="54"/>
                    <a:pt x="477" y="54"/>
                  </a:cubicBezTo>
                  <a:cubicBezTo>
                    <a:pt x="453" y="54"/>
                    <a:pt x="453" y="54"/>
                    <a:pt x="453" y="54"/>
                  </a:cubicBezTo>
                  <a:cubicBezTo>
                    <a:pt x="453" y="54"/>
                    <a:pt x="450" y="41"/>
                    <a:pt x="435" y="37"/>
                  </a:cubicBezTo>
                  <a:cubicBezTo>
                    <a:pt x="419" y="33"/>
                    <a:pt x="412" y="38"/>
                    <a:pt x="412" y="38"/>
                  </a:cubicBezTo>
                  <a:cubicBezTo>
                    <a:pt x="415" y="26"/>
                    <a:pt x="415" y="26"/>
                    <a:pt x="415" y="26"/>
                  </a:cubicBezTo>
                  <a:cubicBezTo>
                    <a:pt x="415" y="26"/>
                    <a:pt x="394" y="20"/>
                    <a:pt x="366" y="21"/>
                  </a:cubicBezTo>
                  <a:cubicBezTo>
                    <a:pt x="337" y="23"/>
                    <a:pt x="374" y="55"/>
                    <a:pt x="374" y="55"/>
                  </a:cubicBezTo>
                  <a:cubicBezTo>
                    <a:pt x="374" y="55"/>
                    <a:pt x="343" y="30"/>
                    <a:pt x="328" y="27"/>
                  </a:cubicBezTo>
                  <a:cubicBezTo>
                    <a:pt x="312" y="24"/>
                    <a:pt x="307" y="44"/>
                    <a:pt x="307" y="44"/>
                  </a:cubicBezTo>
                  <a:cubicBezTo>
                    <a:pt x="307" y="44"/>
                    <a:pt x="284" y="40"/>
                    <a:pt x="278" y="37"/>
                  </a:cubicBezTo>
                  <a:cubicBezTo>
                    <a:pt x="273" y="34"/>
                    <a:pt x="291" y="24"/>
                    <a:pt x="291" y="24"/>
                  </a:cubicBezTo>
                  <a:cubicBezTo>
                    <a:pt x="254" y="27"/>
                    <a:pt x="254" y="27"/>
                    <a:pt x="254" y="27"/>
                  </a:cubicBezTo>
                  <a:cubicBezTo>
                    <a:pt x="245" y="35"/>
                    <a:pt x="245" y="35"/>
                    <a:pt x="245" y="35"/>
                  </a:cubicBezTo>
                  <a:cubicBezTo>
                    <a:pt x="240" y="24"/>
                    <a:pt x="240" y="24"/>
                    <a:pt x="240" y="24"/>
                  </a:cubicBezTo>
                  <a:cubicBezTo>
                    <a:pt x="240" y="24"/>
                    <a:pt x="216" y="31"/>
                    <a:pt x="208" y="38"/>
                  </a:cubicBezTo>
                  <a:cubicBezTo>
                    <a:pt x="208" y="38"/>
                    <a:pt x="207" y="45"/>
                    <a:pt x="214" y="49"/>
                  </a:cubicBezTo>
                  <a:close/>
                  <a:moveTo>
                    <a:pt x="425" y="477"/>
                  </a:moveTo>
                  <a:cubicBezTo>
                    <a:pt x="441" y="474"/>
                    <a:pt x="440" y="464"/>
                    <a:pt x="447" y="464"/>
                  </a:cubicBezTo>
                  <a:cubicBezTo>
                    <a:pt x="453" y="464"/>
                    <a:pt x="447" y="453"/>
                    <a:pt x="447" y="453"/>
                  </a:cubicBezTo>
                  <a:cubicBezTo>
                    <a:pt x="417" y="467"/>
                    <a:pt x="417" y="467"/>
                    <a:pt x="417" y="467"/>
                  </a:cubicBezTo>
                  <a:lnTo>
                    <a:pt x="425" y="477"/>
                  </a:lnTo>
                  <a:close/>
                  <a:moveTo>
                    <a:pt x="513" y="437"/>
                  </a:moveTo>
                  <a:cubicBezTo>
                    <a:pt x="522" y="434"/>
                    <a:pt x="535" y="424"/>
                    <a:pt x="517" y="423"/>
                  </a:cubicBezTo>
                  <a:cubicBezTo>
                    <a:pt x="500" y="422"/>
                    <a:pt x="513" y="437"/>
                    <a:pt x="513" y="437"/>
                  </a:cubicBezTo>
                  <a:close/>
                  <a:moveTo>
                    <a:pt x="392" y="470"/>
                  </a:moveTo>
                  <a:cubicBezTo>
                    <a:pt x="373" y="465"/>
                    <a:pt x="363" y="482"/>
                    <a:pt x="363" y="482"/>
                  </a:cubicBezTo>
                  <a:cubicBezTo>
                    <a:pt x="379" y="486"/>
                    <a:pt x="379" y="486"/>
                    <a:pt x="379" y="486"/>
                  </a:cubicBezTo>
                  <a:cubicBezTo>
                    <a:pt x="385" y="482"/>
                    <a:pt x="411" y="474"/>
                    <a:pt x="392" y="470"/>
                  </a:cubicBezTo>
                  <a:close/>
                  <a:moveTo>
                    <a:pt x="610" y="414"/>
                  </a:moveTo>
                  <a:cubicBezTo>
                    <a:pt x="623" y="417"/>
                    <a:pt x="623" y="417"/>
                    <a:pt x="623" y="417"/>
                  </a:cubicBezTo>
                  <a:cubicBezTo>
                    <a:pt x="631" y="408"/>
                    <a:pt x="631" y="402"/>
                    <a:pt x="631" y="402"/>
                  </a:cubicBezTo>
                  <a:cubicBezTo>
                    <a:pt x="611" y="404"/>
                    <a:pt x="611" y="404"/>
                    <a:pt x="611" y="404"/>
                  </a:cubicBezTo>
                  <a:lnTo>
                    <a:pt x="610" y="414"/>
                  </a:lnTo>
                  <a:close/>
                  <a:moveTo>
                    <a:pt x="320" y="509"/>
                  </a:moveTo>
                  <a:cubicBezTo>
                    <a:pt x="304" y="509"/>
                    <a:pt x="279" y="528"/>
                    <a:pt x="285" y="532"/>
                  </a:cubicBezTo>
                  <a:cubicBezTo>
                    <a:pt x="290" y="535"/>
                    <a:pt x="315" y="520"/>
                    <a:pt x="315" y="520"/>
                  </a:cubicBezTo>
                  <a:cubicBezTo>
                    <a:pt x="338" y="516"/>
                    <a:pt x="338" y="516"/>
                    <a:pt x="338" y="516"/>
                  </a:cubicBezTo>
                  <a:cubicBezTo>
                    <a:pt x="335" y="516"/>
                    <a:pt x="336" y="509"/>
                    <a:pt x="320" y="509"/>
                  </a:cubicBezTo>
                  <a:close/>
                  <a:moveTo>
                    <a:pt x="901" y="448"/>
                  </a:moveTo>
                  <a:cubicBezTo>
                    <a:pt x="884" y="451"/>
                    <a:pt x="884" y="451"/>
                    <a:pt x="884" y="451"/>
                  </a:cubicBezTo>
                  <a:cubicBezTo>
                    <a:pt x="856" y="444"/>
                    <a:pt x="856" y="444"/>
                    <a:pt x="856" y="444"/>
                  </a:cubicBezTo>
                  <a:cubicBezTo>
                    <a:pt x="836" y="433"/>
                    <a:pt x="836" y="433"/>
                    <a:pt x="836" y="433"/>
                  </a:cubicBezTo>
                  <a:cubicBezTo>
                    <a:pt x="836" y="433"/>
                    <a:pt x="862" y="437"/>
                    <a:pt x="873" y="432"/>
                  </a:cubicBezTo>
                  <a:cubicBezTo>
                    <a:pt x="884" y="427"/>
                    <a:pt x="902" y="421"/>
                    <a:pt x="902" y="421"/>
                  </a:cubicBezTo>
                  <a:cubicBezTo>
                    <a:pt x="902" y="421"/>
                    <a:pt x="876" y="406"/>
                    <a:pt x="862" y="406"/>
                  </a:cubicBezTo>
                  <a:cubicBezTo>
                    <a:pt x="848" y="406"/>
                    <a:pt x="827" y="395"/>
                    <a:pt x="827" y="395"/>
                  </a:cubicBezTo>
                  <a:cubicBezTo>
                    <a:pt x="827" y="395"/>
                    <a:pt x="819" y="421"/>
                    <a:pt x="803" y="418"/>
                  </a:cubicBezTo>
                  <a:cubicBezTo>
                    <a:pt x="787" y="415"/>
                    <a:pt x="815" y="397"/>
                    <a:pt x="815" y="397"/>
                  </a:cubicBezTo>
                  <a:cubicBezTo>
                    <a:pt x="771" y="382"/>
                    <a:pt x="771" y="382"/>
                    <a:pt x="771" y="382"/>
                  </a:cubicBezTo>
                  <a:cubicBezTo>
                    <a:pt x="771" y="382"/>
                    <a:pt x="763" y="431"/>
                    <a:pt x="749" y="425"/>
                  </a:cubicBezTo>
                  <a:cubicBezTo>
                    <a:pt x="735" y="419"/>
                    <a:pt x="746" y="393"/>
                    <a:pt x="746" y="393"/>
                  </a:cubicBezTo>
                  <a:cubicBezTo>
                    <a:pt x="746" y="393"/>
                    <a:pt x="708" y="437"/>
                    <a:pt x="698" y="430"/>
                  </a:cubicBezTo>
                  <a:cubicBezTo>
                    <a:pt x="688" y="423"/>
                    <a:pt x="734" y="387"/>
                    <a:pt x="734" y="387"/>
                  </a:cubicBezTo>
                  <a:cubicBezTo>
                    <a:pt x="711" y="385"/>
                    <a:pt x="711" y="385"/>
                    <a:pt x="711" y="385"/>
                  </a:cubicBezTo>
                  <a:cubicBezTo>
                    <a:pt x="699" y="395"/>
                    <a:pt x="699" y="395"/>
                    <a:pt x="699" y="395"/>
                  </a:cubicBezTo>
                  <a:cubicBezTo>
                    <a:pt x="683" y="393"/>
                    <a:pt x="683" y="393"/>
                    <a:pt x="683" y="393"/>
                  </a:cubicBezTo>
                  <a:cubicBezTo>
                    <a:pt x="653" y="411"/>
                    <a:pt x="653" y="411"/>
                    <a:pt x="653" y="411"/>
                  </a:cubicBezTo>
                  <a:cubicBezTo>
                    <a:pt x="637" y="412"/>
                    <a:pt x="637" y="412"/>
                    <a:pt x="637" y="412"/>
                  </a:cubicBezTo>
                  <a:cubicBezTo>
                    <a:pt x="635" y="432"/>
                    <a:pt x="635" y="432"/>
                    <a:pt x="635" y="432"/>
                  </a:cubicBezTo>
                  <a:cubicBezTo>
                    <a:pt x="611" y="423"/>
                    <a:pt x="611" y="423"/>
                    <a:pt x="611" y="423"/>
                  </a:cubicBezTo>
                  <a:cubicBezTo>
                    <a:pt x="585" y="428"/>
                    <a:pt x="585" y="428"/>
                    <a:pt x="585" y="428"/>
                  </a:cubicBezTo>
                  <a:cubicBezTo>
                    <a:pt x="593" y="446"/>
                    <a:pt x="593" y="446"/>
                    <a:pt x="593" y="446"/>
                  </a:cubicBezTo>
                  <a:cubicBezTo>
                    <a:pt x="562" y="437"/>
                    <a:pt x="562" y="437"/>
                    <a:pt x="562" y="437"/>
                  </a:cubicBezTo>
                  <a:cubicBezTo>
                    <a:pt x="551" y="443"/>
                    <a:pt x="551" y="443"/>
                    <a:pt x="551" y="443"/>
                  </a:cubicBezTo>
                  <a:cubicBezTo>
                    <a:pt x="554" y="459"/>
                    <a:pt x="554" y="459"/>
                    <a:pt x="554" y="459"/>
                  </a:cubicBezTo>
                  <a:cubicBezTo>
                    <a:pt x="524" y="465"/>
                    <a:pt x="524" y="465"/>
                    <a:pt x="524" y="465"/>
                  </a:cubicBezTo>
                  <a:cubicBezTo>
                    <a:pt x="527" y="444"/>
                    <a:pt x="527" y="444"/>
                    <a:pt x="527" y="444"/>
                  </a:cubicBezTo>
                  <a:cubicBezTo>
                    <a:pt x="507" y="444"/>
                    <a:pt x="507" y="444"/>
                    <a:pt x="507" y="444"/>
                  </a:cubicBezTo>
                  <a:cubicBezTo>
                    <a:pt x="513" y="457"/>
                    <a:pt x="513" y="457"/>
                    <a:pt x="513" y="457"/>
                  </a:cubicBezTo>
                  <a:cubicBezTo>
                    <a:pt x="497" y="447"/>
                    <a:pt x="497" y="447"/>
                    <a:pt x="497" y="447"/>
                  </a:cubicBezTo>
                  <a:cubicBezTo>
                    <a:pt x="499" y="467"/>
                    <a:pt x="499" y="467"/>
                    <a:pt x="499" y="467"/>
                  </a:cubicBezTo>
                  <a:cubicBezTo>
                    <a:pt x="482" y="466"/>
                    <a:pt x="482" y="466"/>
                    <a:pt x="482" y="466"/>
                  </a:cubicBezTo>
                  <a:cubicBezTo>
                    <a:pt x="482" y="466"/>
                    <a:pt x="479" y="453"/>
                    <a:pt x="481" y="450"/>
                  </a:cubicBezTo>
                  <a:cubicBezTo>
                    <a:pt x="483" y="447"/>
                    <a:pt x="494" y="437"/>
                    <a:pt x="494" y="437"/>
                  </a:cubicBezTo>
                  <a:cubicBezTo>
                    <a:pt x="471" y="434"/>
                    <a:pt x="471" y="434"/>
                    <a:pt x="471" y="434"/>
                  </a:cubicBezTo>
                  <a:cubicBezTo>
                    <a:pt x="468" y="463"/>
                    <a:pt x="468" y="463"/>
                    <a:pt x="468" y="463"/>
                  </a:cubicBezTo>
                  <a:cubicBezTo>
                    <a:pt x="450" y="472"/>
                    <a:pt x="450" y="472"/>
                    <a:pt x="450" y="472"/>
                  </a:cubicBezTo>
                  <a:cubicBezTo>
                    <a:pt x="460" y="480"/>
                    <a:pt x="460" y="480"/>
                    <a:pt x="460" y="480"/>
                  </a:cubicBezTo>
                  <a:cubicBezTo>
                    <a:pt x="438" y="483"/>
                    <a:pt x="438" y="483"/>
                    <a:pt x="438" y="483"/>
                  </a:cubicBezTo>
                  <a:cubicBezTo>
                    <a:pt x="446" y="491"/>
                    <a:pt x="446" y="491"/>
                    <a:pt x="446" y="491"/>
                  </a:cubicBezTo>
                  <a:cubicBezTo>
                    <a:pt x="418" y="492"/>
                    <a:pt x="418" y="492"/>
                    <a:pt x="418" y="492"/>
                  </a:cubicBezTo>
                  <a:cubicBezTo>
                    <a:pt x="418" y="500"/>
                    <a:pt x="418" y="500"/>
                    <a:pt x="418" y="500"/>
                  </a:cubicBezTo>
                  <a:cubicBezTo>
                    <a:pt x="439" y="505"/>
                    <a:pt x="439" y="505"/>
                    <a:pt x="439" y="505"/>
                  </a:cubicBezTo>
                  <a:cubicBezTo>
                    <a:pt x="432" y="514"/>
                    <a:pt x="432" y="514"/>
                    <a:pt x="432" y="514"/>
                  </a:cubicBezTo>
                  <a:cubicBezTo>
                    <a:pt x="408" y="504"/>
                    <a:pt x="408" y="504"/>
                    <a:pt x="408" y="504"/>
                  </a:cubicBezTo>
                  <a:cubicBezTo>
                    <a:pt x="399" y="505"/>
                    <a:pt x="399" y="505"/>
                    <a:pt x="399" y="505"/>
                  </a:cubicBezTo>
                  <a:cubicBezTo>
                    <a:pt x="415" y="516"/>
                    <a:pt x="415" y="516"/>
                    <a:pt x="415" y="516"/>
                  </a:cubicBezTo>
                  <a:cubicBezTo>
                    <a:pt x="400" y="527"/>
                    <a:pt x="400" y="527"/>
                    <a:pt x="400" y="527"/>
                  </a:cubicBezTo>
                  <a:cubicBezTo>
                    <a:pt x="392" y="514"/>
                    <a:pt x="392" y="514"/>
                    <a:pt x="392" y="514"/>
                  </a:cubicBezTo>
                  <a:cubicBezTo>
                    <a:pt x="382" y="520"/>
                    <a:pt x="382" y="520"/>
                    <a:pt x="382" y="520"/>
                  </a:cubicBezTo>
                  <a:cubicBezTo>
                    <a:pt x="383" y="525"/>
                    <a:pt x="383" y="525"/>
                    <a:pt x="383" y="525"/>
                  </a:cubicBezTo>
                  <a:cubicBezTo>
                    <a:pt x="360" y="526"/>
                    <a:pt x="360" y="526"/>
                    <a:pt x="360" y="526"/>
                  </a:cubicBezTo>
                  <a:cubicBezTo>
                    <a:pt x="357" y="535"/>
                    <a:pt x="357" y="535"/>
                    <a:pt x="357" y="535"/>
                  </a:cubicBezTo>
                  <a:cubicBezTo>
                    <a:pt x="374" y="544"/>
                    <a:pt x="374" y="544"/>
                    <a:pt x="374" y="544"/>
                  </a:cubicBezTo>
                  <a:cubicBezTo>
                    <a:pt x="372" y="554"/>
                    <a:pt x="372" y="554"/>
                    <a:pt x="372" y="554"/>
                  </a:cubicBezTo>
                  <a:cubicBezTo>
                    <a:pt x="350" y="546"/>
                    <a:pt x="350" y="546"/>
                    <a:pt x="350" y="546"/>
                  </a:cubicBezTo>
                  <a:cubicBezTo>
                    <a:pt x="347" y="556"/>
                    <a:pt x="347" y="556"/>
                    <a:pt x="347" y="556"/>
                  </a:cubicBezTo>
                  <a:cubicBezTo>
                    <a:pt x="365" y="561"/>
                    <a:pt x="365" y="561"/>
                    <a:pt x="365" y="561"/>
                  </a:cubicBezTo>
                  <a:cubicBezTo>
                    <a:pt x="365" y="561"/>
                    <a:pt x="344" y="562"/>
                    <a:pt x="337" y="563"/>
                  </a:cubicBezTo>
                  <a:cubicBezTo>
                    <a:pt x="330" y="564"/>
                    <a:pt x="334" y="574"/>
                    <a:pt x="334" y="574"/>
                  </a:cubicBezTo>
                  <a:cubicBezTo>
                    <a:pt x="334" y="574"/>
                    <a:pt x="321" y="567"/>
                    <a:pt x="313" y="573"/>
                  </a:cubicBezTo>
                  <a:cubicBezTo>
                    <a:pt x="305" y="579"/>
                    <a:pt x="298" y="584"/>
                    <a:pt x="303" y="587"/>
                  </a:cubicBezTo>
                  <a:cubicBezTo>
                    <a:pt x="308" y="590"/>
                    <a:pt x="297" y="596"/>
                    <a:pt x="297" y="596"/>
                  </a:cubicBezTo>
                  <a:cubicBezTo>
                    <a:pt x="297" y="596"/>
                    <a:pt x="290" y="605"/>
                    <a:pt x="293" y="606"/>
                  </a:cubicBezTo>
                  <a:cubicBezTo>
                    <a:pt x="296" y="607"/>
                    <a:pt x="316" y="608"/>
                    <a:pt x="316" y="608"/>
                  </a:cubicBezTo>
                  <a:cubicBezTo>
                    <a:pt x="309" y="616"/>
                    <a:pt x="309" y="616"/>
                    <a:pt x="309" y="616"/>
                  </a:cubicBezTo>
                  <a:cubicBezTo>
                    <a:pt x="286" y="612"/>
                    <a:pt x="286" y="612"/>
                    <a:pt x="286" y="612"/>
                  </a:cubicBezTo>
                  <a:cubicBezTo>
                    <a:pt x="286" y="612"/>
                    <a:pt x="273" y="614"/>
                    <a:pt x="273" y="622"/>
                  </a:cubicBezTo>
                  <a:cubicBezTo>
                    <a:pt x="273" y="630"/>
                    <a:pt x="283" y="636"/>
                    <a:pt x="279" y="639"/>
                  </a:cubicBezTo>
                  <a:cubicBezTo>
                    <a:pt x="275" y="642"/>
                    <a:pt x="271" y="642"/>
                    <a:pt x="266" y="642"/>
                  </a:cubicBezTo>
                  <a:cubicBezTo>
                    <a:pt x="261" y="642"/>
                    <a:pt x="255" y="643"/>
                    <a:pt x="257" y="650"/>
                  </a:cubicBezTo>
                  <a:cubicBezTo>
                    <a:pt x="259" y="657"/>
                    <a:pt x="267" y="661"/>
                    <a:pt x="267" y="661"/>
                  </a:cubicBezTo>
                  <a:cubicBezTo>
                    <a:pt x="267" y="661"/>
                    <a:pt x="273" y="672"/>
                    <a:pt x="266" y="673"/>
                  </a:cubicBezTo>
                  <a:cubicBezTo>
                    <a:pt x="259" y="674"/>
                    <a:pt x="252" y="673"/>
                    <a:pt x="249" y="673"/>
                  </a:cubicBezTo>
                  <a:cubicBezTo>
                    <a:pt x="246" y="673"/>
                    <a:pt x="243" y="674"/>
                    <a:pt x="240" y="678"/>
                  </a:cubicBezTo>
                  <a:cubicBezTo>
                    <a:pt x="237" y="682"/>
                    <a:pt x="237" y="689"/>
                    <a:pt x="237" y="689"/>
                  </a:cubicBezTo>
                  <a:cubicBezTo>
                    <a:pt x="237" y="689"/>
                    <a:pt x="239" y="696"/>
                    <a:pt x="232" y="696"/>
                  </a:cubicBezTo>
                  <a:cubicBezTo>
                    <a:pt x="225" y="696"/>
                    <a:pt x="222" y="689"/>
                    <a:pt x="216" y="690"/>
                  </a:cubicBezTo>
                  <a:cubicBezTo>
                    <a:pt x="210" y="691"/>
                    <a:pt x="212" y="691"/>
                    <a:pt x="207" y="695"/>
                  </a:cubicBezTo>
                  <a:cubicBezTo>
                    <a:pt x="202" y="699"/>
                    <a:pt x="202" y="700"/>
                    <a:pt x="199" y="704"/>
                  </a:cubicBezTo>
                  <a:cubicBezTo>
                    <a:pt x="196" y="708"/>
                    <a:pt x="187" y="708"/>
                    <a:pt x="187" y="708"/>
                  </a:cubicBezTo>
                  <a:cubicBezTo>
                    <a:pt x="187" y="708"/>
                    <a:pt x="183" y="709"/>
                    <a:pt x="180" y="715"/>
                  </a:cubicBezTo>
                  <a:cubicBezTo>
                    <a:pt x="177" y="721"/>
                    <a:pt x="186" y="725"/>
                    <a:pt x="181" y="728"/>
                  </a:cubicBezTo>
                  <a:cubicBezTo>
                    <a:pt x="176" y="731"/>
                    <a:pt x="175" y="733"/>
                    <a:pt x="170" y="733"/>
                  </a:cubicBezTo>
                  <a:cubicBezTo>
                    <a:pt x="165" y="733"/>
                    <a:pt x="156" y="728"/>
                    <a:pt x="153" y="728"/>
                  </a:cubicBezTo>
                  <a:cubicBezTo>
                    <a:pt x="150" y="728"/>
                    <a:pt x="157" y="720"/>
                    <a:pt x="144" y="727"/>
                  </a:cubicBezTo>
                  <a:cubicBezTo>
                    <a:pt x="131" y="734"/>
                    <a:pt x="130" y="735"/>
                    <a:pt x="126" y="734"/>
                  </a:cubicBezTo>
                  <a:cubicBezTo>
                    <a:pt x="122" y="733"/>
                    <a:pt x="117" y="731"/>
                    <a:pt x="118" y="741"/>
                  </a:cubicBezTo>
                  <a:cubicBezTo>
                    <a:pt x="119" y="751"/>
                    <a:pt x="125" y="750"/>
                    <a:pt x="126" y="753"/>
                  </a:cubicBezTo>
                  <a:cubicBezTo>
                    <a:pt x="127" y="756"/>
                    <a:pt x="130" y="764"/>
                    <a:pt x="122" y="760"/>
                  </a:cubicBezTo>
                  <a:cubicBezTo>
                    <a:pt x="114" y="756"/>
                    <a:pt x="113" y="747"/>
                    <a:pt x="108" y="750"/>
                  </a:cubicBezTo>
                  <a:cubicBezTo>
                    <a:pt x="103" y="753"/>
                    <a:pt x="97" y="760"/>
                    <a:pt x="102" y="763"/>
                  </a:cubicBezTo>
                  <a:cubicBezTo>
                    <a:pt x="107" y="766"/>
                    <a:pt x="122" y="762"/>
                    <a:pt x="119" y="768"/>
                  </a:cubicBezTo>
                  <a:cubicBezTo>
                    <a:pt x="116" y="774"/>
                    <a:pt x="126" y="777"/>
                    <a:pt x="111" y="775"/>
                  </a:cubicBezTo>
                  <a:cubicBezTo>
                    <a:pt x="96" y="773"/>
                    <a:pt x="92" y="773"/>
                    <a:pt x="92" y="773"/>
                  </a:cubicBezTo>
                  <a:cubicBezTo>
                    <a:pt x="92" y="773"/>
                    <a:pt x="94" y="767"/>
                    <a:pt x="88" y="772"/>
                  </a:cubicBezTo>
                  <a:cubicBezTo>
                    <a:pt x="82" y="777"/>
                    <a:pt x="84" y="786"/>
                    <a:pt x="84" y="786"/>
                  </a:cubicBezTo>
                  <a:cubicBezTo>
                    <a:pt x="84" y="786"/>
                    <a:pt x="55" y="773"/>
                    <a:pt x="59" y="781"/>
                  </a:cubicBezTo>
                  <a:cubicBezTo>
                    <a:pt x="63" y="789"/>
                    <a:pt x="85" y="794"/>
                    <a:pt x="85" y="794"/>
                  </a:cubicBezTo>
                  <a:cubicBezTo>
                    <a:pt x="72" y="808"/>
                    <a:pt x="72" y="808"/>
                    <a:pt x="72" y="808"/>
                  </a:cubicBezTo>
                  <a:cubicBezTo>
                    <a:pt x="72" y="808"/>
                    <a:pt x="73" y="798"/>
                    <a:pt x="66" y="797"/>
                  </a:cubicBezTo>
                  <a:cubicBezTo>
                    <a:pt x="59" y="796"/>
                    <a:pt x="53" y="804"/>
                    <a:pt x="53" y="804"/>
                  </a:cubicBezTo>
                  <a:cubicBezTo>
                    <a:pt x="40" y="793"/>
                    <a:pt x="40" y="793"/>
                    <a:pt x="40" y="793"/>
                  </a:cubicBezTo>
                  <a:cubicBezTo>
                    <a:pt x="34" y="802"/>
                    <a:pt x="34" y="802"/>
                    <a:pt x="34" y="802"/>
                  </a:cubicBezTo>
                  <a:cubicBezTo>
                    <a:pt x="43" y="805"/>
                    <a:pt x="43" y="805"/>
                    <a:pt x="43" y="805"/>
                  </a:cubicBezTo>
                  <a:cubicBezTo>
                    <a:pt x="20" y="804"/>
                    <a:pt x="20" y="804"/>
                    <a:pt x="20" y="804"/>
                  </a:cubicBezTo>
                  <a:cubicBezTo>
                    <a:pt x="19" y="813"/>
                    <a:pt x="19" y="813"/>
                    <a:pt x="19" y="813"/>
                  </a:cubicBezTo>
                  <a:cubicBezTo>
                    <a:pt x="52" y="815"/>
                    <a:pt x="52" y="815"/>
                    <a:pt x="52" y="815"/>
                  </a:cubicBezTo>
                  <a:cubicBezTo>
                    <a:pt x="35" y="820"/>
                    <a:pt x="35" y="820"/>
                    <a:pt x="35" y="820"/>
                  </a:cubicBezTo>
                  <a:cubicBezTo>
                    <a:pt x="11" y="814"/>
                    <a:pt x="11" y="814"/>
                    <a:pt x="11" y="814"/>
                  </a:cubicBezTo>
                  <a:cubicBezTo>
                    <a:pt x="11" y="814"/>
                    <a:pt x="3" y="821"/>
                    <a:pt x="3" y="827"/>
                  </a:cubicBezTo>
                  <a:cubicBezTo>
                    <a:pt x="3" y="833"/>
                    <a:pt x="21" y="834"/>
                    <a:pt x="21" y="834"/>
                  </a:cubicBezTo>
                  <a:cubicBezTo>
                    <a:pt x="10" y="839"/>
                    <a:pt x="10" y="839"/>
                    <a:pt x="10" y="839"/>
                  </a:cubicBezTo>
                  <a:cubicBezTo>
                    <a:pt x="10" y="839"/>
                    <a:pt x="1" y="846"/>
                    <a:pt x="10" y="847"/>
                  </a:cubicBezTo>
                  <a:cubicBezTo>
                    <a:pt x="19" y="848"/>
                    <a:pt x="42" y="848"/>
                    <a:pt x="42" y="848"/>
                  </a:cubicBezTo>
                  <a:cubicBezTo>
                    <a:pt x="52" y="854"/>
                    <a:pt x="52" y="854"/>
                    <a:pt x="52" y="854"/>
                  </a:cubicBezTo>
                  <a:cubicBezTo>
                    <a:pt x="63" y="846"/>
                    <a:pt x="63" y="846"/>
                    <a:pt x="63" y="846"/>
                  </a:cubicBezTo>
                  <a:cubicBezTo>
                    <a:pt x="71" y="854"/>
                    <a:pt x="71" y="854"/>
                    <a:pt x="71" y="854"/>
                  </a:cubicBezTo>
                  <a:cubicBezTo>
                    <a:pt x="89" y="845"/>
                    <a:pt x="89" y="845"/>
                    <a:pt x="89" y="845"/>
                  </a:cubicBezTo>
                  <a:cubicBezTo>
                    <a:pt x="89" y="845"/>
                    <a:pt x="86" y="858"/>
                    <a:pt x="80" y="858"/>
                  </a:cubicBezTo>
                  <a:cubicBezTo>
                    <a:pt x="74" y="858"/>
                    <a:pt x="62" y="857"/>
                    <a:pt x="62" y="857"/>
                  </a:cubicBezTo>
                  <a:cubicBezTo>
                    <a:pt x="44" y="858"/>
                    <a:pt x="44" y="858"/>
                    <a:pt x="44" y="858"/>
                  </a:cubicBezTo>
                  <a:cubicBezTo>
                    <a:pt x="44" y="858"/>
                    <a:pt x="28" y="856"/>
                    <a:pt x="25" y="856"/>
                  </a:cubicBezTo>
                  <a:cubicBezTo>
                    <a:pt x="22" y="856"/>
                    <a:pt x="0" y="858"/>
                    <a:pt x="0" y="858"/>
                  </a:cubicBezTo>
                  <a:cubicBezTo>
                    <a:pt x="0" y="858"/>
                    <a:pt x="2" y="870"/>
                    <a:pt x="7" y="872"/>
                  </a:cubicBezTo>
                  <a:cubicBezTo>
                    <a:pt x="12" y="874"/>
                    <a:pt x="20" y="874"/>
                    <a:pt x="20" y="874"/>
                  </a:cubicBezTo>
                  <a:cubicBezTo>
                    <a:pt x="20" y="874"/>
                    <a:pt x="7" y="884"/>
                    <a:pt x="13" y="891"/>
                  </a:cubicBezTo>
                  <a:cubicBezTo>
                    <a:pt x="19" y="898"/>
                    <a:pt x="29" y="899"/>
                    <a:pt x="29" y="899"/>
                  </a:cubicBezTo>
                  <a:cubicBezTo>
                    <a:pt x="47" y="888"/>
                    <a:pt x="47" y="888"/>
                    <a:pt x="47" y="888"/>
                  </a:cubicBezTo>
                  <a:cubicBezTo>
                    <a:pt x="65" y="884"/>
                    <a:pt x="65" y="884"/>
                    <a:pt x="65" y="884"/>
                  </a:cubicBezTo>
                  <a:cubicBezTo>
                    <a:pt x="59" y="898"/>
                    <a:pt x="59" y="898"/>
                    <a:pt x="59" y="898"/>
                  </a:cubicBezTo>
                  <a:cubicBezTo>
                    <a:pt x="49" y="895"/>
                    <a:pt x="49" y="895"/>
                    <a:pt x="49" y="895"/>
                  </a:cubicBezTo>
                  <a:cubicBezTo>
                    <a:pt x="43" y="907"/>
                    <a:pt x="43" y="907"/>
                    <a:pt x="43" y="907"/>
                  </a:cubicBezTo>
                  <a:cubicBezTo>
                    <a:pt x="43" y="907"/>
                    <a:pt x="13" y="901"/>
                    <a:pt x="17" y="908"/>
                  </a:cubicBezTo>
                  <a:cubicBezTo>
                    <a:pt x="21" y="915"/>
                    <a:pt x="30" y="918"/>
                    <a:pt x="30" y="918"/>
                  </a:cubicBezTo>
                  <a:cubicBezTo>
                    <a:pt x="14" y="926"/>
                    <a:pt x="14" y="926"/>
                    <a:pt x="14" y="926"/>
                  </a:cubicBezTo>
                  <a:cubicBezTo>
                    <a:pt x="2" y="926"/>
                    <a:pt x="2" y="926"/>
                    <a:pt x="2" y="926"/>
                  </a:cubicBezTo>
                  <a:cubicBezTo>
                    <a:pt x="2" y="926"/>
                    <a:pt x="4" y="938"/>
                    <a:pt x="7" y="938"/>
                  </a:cubicBezTo>
                  <a:cubicBezTo>
                    <a:pt x="10" y="938"/>
                    <a:pt x="42" y="939"/>
                    <a:pt x="42" y="939"/>
                  </a:cubicBezTo>
                  <a:cubicBezTo>
                    <a:pt x="33" y="953"/>
                    <a:pt x="33" y="953"/>
                    <a:pt x="33" y="953"/>
                  </a:cubicBezTo>
                  <a:cubicBezTo>
                    <a:pt x="41" y="955"/>
                    <a:pt x="41" y="955"/>
                    <a:pt x="41" y="955"/>
                  </a:cubicBezTo>
                  <a:cubicBezTo>
                    <a:pt x="36" y="967"/>
                    <a:pt x="36" y="967"/>
                    <a:pt x="36" y="967"/>
                  </a:cubicBezTo>
                  <a:cubicBezTo>
                    <a:pt x="36" y="967"/>
                    <a:pt x="10" y="954"/>
                    <a:pt x="11" y="962"/>
                  </a:cubicBezTo>
                  <a:cubicBezTo>
                    <a:pt x="12" y="970"/>
                    <a:pt x="23" y="981"/>
                    <a:pt x="23" y="981"/>
                  </a:cubicBezTo>
                  <a:cubicBezTo>
                    <a:pt x="55" y="995"/>
                    <a:pt x="55" y="995"/>
                    <a:pt x="55" y="995"/>
                  </a:cubicBezTo>
                  <a:cubicBezTo>
                    <a:pt x="55" y="995"/>
                    <a:pt x="48" y="1000"/>
                    <a:pt x="55" y="1003"/>
                  </a:cubicBezTo>
                  <a:cubicBezTo>
                    <a:pt x="62" y="1006"/>
                    <a:pt x="83" y="1001"/>
                    <a:pt x="83" y="1001"/>
                  </a:cubicBezTo>
                  <a:cubicBezTo>
                    <a:pt x="83" y="1001"/>
                    <a:pt x="86" y="1010"/>
                    <a:pt x="103" y="1004"/>
                  </a:cubicBezTo>
                  <a:cubicBezTo>
                    <a:pt x="120" y="998"/>
                    <a:pt x="148" y="973"/>
                    <a:pt x="148" y="973"/>
                  </a:cubicBezTo>
                  <a:cubicBezTo>
                    <a:pt x="172" y="954"/>
                    <a:pt x="172" y="954"/>
                    <a:pt x="172" y="954"/>
                  </a:cubicBezTo>
                  <a:cubicBezTo>
                    <a:pt x="172" y="954"/>
                    <a:pt x="183" y="959"/>
                    <a:pt x="193" y="950"/>
                  </a:cubicBezTo>
                  <a:cubicBezTo>
                    <a:pt x="203" y="941"/>
                    <a:pt x="193" y="922"/>
                    <a:pt x="193" y="922"/>
                  </a:cubicBezTo>
                  <a:cubicBezTo>
                    <a:pt x="205" y="920"/>
                    <a:pt x="205" y="920"/>
                    <a:pt x="205" y="920"/>
                  </a:cubicBezTo>
                  <a:cubicBezTo>
                    <a:pt x="205" y="920"/>
                    <a:pt x="192" y="937"/>
                    <a:pt x="207" y="942"/>
                  </a:cubicBezTo>
                  <a:cubicBezTo>
                    <a:pt x="222" y="947"/>
                    <a:pt x="233" y="949"/>
                    <a:pt x="233" y="949"/>
                  </a:cubicBezTo>
                  <a:cubicBezTo>
                    <a:pt x="247" y="962"/>
                    <a:pt x="247" y="962"/>
                    <a:pt x="247" y="962"/>
                  </a:cubicBezTo>
                  <a:cubicBezTo>
                    <a:pt x="247" y="962"/>
                    <a:pt x="253" y="951"/>
                    <a:pt x="255" y="946"/>
                  </a:cubicBezTo>
                  <a:cubicBezTo>
                    <a:pt x="257" y="941"/>
                    <a:pt x="251" y="940"/>
                    <a:pt x="248" y="932"/>
                  </a:cubicBezTo>
                  <a:cubicBezTo>
                    <a:pt x="245" y="924"/>
                    <a:pt x="254" y="921"/>
                    <a:pt x="254" y="921"/>
                  </a:cubicBezTo>
                  <a:cubicBezTo>
                    <a:pt x="254" y="921"/>
                    <a:pt x="254" y="917"/>
                    <a:pt x="252" y="911"/>
                  </a:cubicBezTo>
                  <a:cubicBezTo>
                    <a:pt x="250" y="905"/>
                    <a:pt x="264" y="911"/>
                    <a:pt x="269" y="911"/>
                  </a:cubicBezTo>
                  <a:cubicBezTo>
                    <a:pt x="274" y="911"/>
                    <a:pt x="277" y="906"/>
                    <a:pt x="277" y="906"/>
                  </a:cubicBezTo>
                  <a:cubicBezTo>
                    <a:pt x="277" y="889"/>
                    <a:pt x="277" y="889"/>
                    <a:pt x="277" y="889"/>
                  </a:cubicBezTo>
                  <a:cubicBezTo>
                    <a:pt x="284" y="889"/>
                    <a:pt x="284" y="889"/>
                    <a:pt x="284" y="889"/>
                  </a:cubicBezTo>
                  <a:cubicBezTo>
                    <a:pt x="284" y="889"/>
                    <a:pt x="280" y="880"/>
                    <a:pt x="277" y="877"/>
                  </a:cubicBezTo>
                  <a:cubicBezTo>
                    <a:pt x="274" y="874"/>
                    <a:pt x="268" y="857"/>
                    <a:pt x="268" y="857"/>
                  </a:cubicBezTo>
                  <a:cubicBezTo>
                    <a:pt x="283" y="854"/>
                    <a:pt x="283" y="854"/>
                    <a:pt x="283" y="854"/>
                  </a:cubicBezTo>
                  <a:cubicBezTo>
                    <a:pt x="283" y="854"/>
                    <a:pt x="290" y="848"/>
                    <a:pt x="292" y="841"/>
                  </a:cubicBezTo>
                  <a:cubicBezTo>
                    <a:pt x="294" y="834"/>
                    <a:pt x="275" y="828"/>
                    <a:pt x="275" y="828"/>
                  </a:cubicBezTo>
                  <a:cubicBezTo>
                    <a:pt x="275" y="828"/>
                    <a:pt x="267" y="821"/>
                    <a:pt x="266" y="814"/>
                  </a:cubicBezTo>
                  <a:cubicBezTo>
                    <a:pt x="265" y="807"/>
                    <a:pt x="271" y="800"/>
                    <a:pt x="272" y="795"/>
                  </a:cubicBezTo>
                  <a:cubicBezTo>
                    <a:pt x="273" y="790"/>
                    <a:pt x="262" y="783"/>
                    <a:pt x="262" y="783"/>
                  </a:cubicBezTo>
                  <a:cubicBezTo>
                    <a:pt x="262" y="783"/>
                    <a:pt x="256" y="775"/>
                    <a:pt x="254" y="770"/>
                  </a:cubicBezTo>
                  <a:cubicBezTo>
                    <a:pt x="252" y="765"/>
                    <a:pt x="261" y="763"/>
                    <a:pt x="267" y="757"/>
                  </a:cubicBezTo>
                  <a:cubicBezTo>
                    <a:pt x="273" y="751"/>
                    <a:pt x="255" y="751"/>
                    <a:pt x="255" y="748"/>
                  </a:cubicBezTo>
                  <a:cubicBezTo>
                    <a:pt x="255" y="745"/>
                    <a:pt x="261" y="740"/>
                    <a:pt x="261" y="740"/>
                  </a:cubicBezTo>
                  <a:cubicBezTo>
                    <a:pt x="266" y="734"/>
                    <a:pt x="266" y="734"/>
                    <a:pt x="266" y="734"/>
                  </a:cubicBezTo>
                  <a:cubicBezTo>
                    <a:pt x="266" y="734"/>
                    <a:pt x="272" y="729"/>
                    <a:pt x="279" y="724"/>
                  </a:cubicBezTo>
                  <a:cubicBezTo>
                    <a:pt x="286" y="719"/>
                    <a:pt x="301" y="707"/>
                    <a:pt x="301" y="707"/>
                  </a:cubicBezTo>
                  <a:cubicBezTo>
                    <a:pt x="301" y="707"/>
                    <a:pt x="328" y="712"/>
                    <a:pt x="332" y="703"/>
                  </a:cubicBezTo>
                  <a:cubicBezTo>
                    <a:pt x="336" y="694"/>
                    <a:pt x="315" y="684"/>
                    <a:pt x="315" y="684"/>
                  </a:cubicBezTo>
                  <a:cubicBezTo>
                    <a:pt x="315" y="684"/>
                    <a:pt x="324" y="678"/>
                    <a:pt x="329" y="674"/>
                  </a:cubicBezTo>
                  <a:cubicBezTo>
                    <a:pt x="334" y="670"/>
                    <a:pt x="344" y="658"/>
                    <a:pt x="344" y="658"/>
                  </a:cubicBezTo>
                  <a:cubicBezTo>
                    <a:pt x="348" y="629"/>
                    <a:pt x="348" y="629"/>
                    <a:pt x="348" y="629"/>
                  </a:cubicBezTo>
                  <a:cubicBezTo>
                    <a:pt x="351" y="624"/>
                    <a:pt x="351" y="624"/>
                    <a:pt x="351" y="624"/>
                  </a:cubicBezTo>
                  <a:cubicBezTo>
                    <a:pt x="349" y="608"/>
                    <a:pt x="349" y="608"/>
                    <a:pt x="349" y="608"/>
                  </a:cubicBezTo>
                  <a:cubicBezTo>
                    <a:pt x="363" y="615"/>
                    <a:pt x="363" y="615"/>
                    <a:pt x="363" y="615"/>
                  </a:cubicBezTo>
                  <a:cubicBezTo>
                    <a:pt x="363" y="615"/>
                    <a:pt x="372" y="610"/>
                    <a:pt x="379" y="608"/>
                  </a:cubicBezTo>
                  <a:cubicBezTo>
                    <a:pt x="386" y="606"/>
                    <a:pt x="372" y="592"/>
                    <a:pt x="372" y="592"/>
                  </a:cubicBezTo>
                  <a:cubicBezTo>
                    <a:pt x="386" y="591"/>
                    <a:pt x="386" y="591"/>
                    <a:pt x="386" y="591"/>
                  </a:cubicBezTo>
                  <a:cubicBezTo>
                    <a:pt x="386" y="591"/>
                    <a:pt x="388" y="584"/>
                    <a:pt x="394" y="579"/>
                  </a:cubicBezTo>
                  <a:cubicBezTo>
                    <a:pt x="400" y="574"/>
                    <a:pt x="405" y="573"/>
                    <a:pt x="405" y="573"/>
                  </a:cubicBezTo>
                  <a:cubicBezTo>
                    <a:pt x="410" y="563"/>
                    <a:pt x="410" y="563"/>
                    <a:pt x="410" y="563"/>
                  </a:cubicBezTo>
                  <a:cubicBezTo>
                    <a:pt x="410" y="563"/>
                    <a:pt x="399" y="555"/>
                    <a:pt x="398" y="551"/>
                  </a:cubicBezTo>
                  <a:cubicBezTo>
                    <a:pt x="397" y="547"/>
                    <a:pt x="414" y="539"/>
                    <a:pt x="414" y="539"/>
                  </a:cubicBezTo>
                  <a:cubicBezTo>
                    <a:pt x="423" y="529"/>
                    <a:pt x="423" y="529"/>
                    <a:pt x="423" y="529"/>
                  </a:cubicBezTo>
                  <a:cubicBezTo>
                    <a:pt x="449" y="525"/>
                    <a:pt x="449" y="525"/>
                    <a:pt x="449" y="525"/>
                  </a:cubicBezTo>
                  <a:cubicBezTo>
                    <a:pt x="449" y="525"/>
                    <a:pt x="464" y="525"/>
                    <a:pt x="467" y="520"/>
                  </a:cubicBezTo>
                  <a:cubicBezTo>
                    <a:pt x="470" y="515"/>
                    <a:pt x="460" y="504"/>
                    <a:pt x="468" y="498"/>
                  </a:cubicBezTo>
                  <a:cubicBezTo>
                    <a:pt x="476" y="492"/>
                    <a:pt x="476" y="505"/>
                    <a:pt x="476" y="505"/>
                  </a:cubicBezTo>
                  <a:cubicBezTo>
                    <a:pt x="495" y="501"/>
                    <a:pt x="495" y="501"/>
                    <a:pt x="495" y="501"/>
                  </a:cubicBezTo>
                  <a:cubicBezTo>
                    <a:pt x="508" y="505"/>
                    <a:pt x="508" y="505"/>
                    <a:pt x="508" y="505"/>
                  </a:cubicBezTo>
                  <a:cubicBezTo>
                    <a:pt x="517" y="505"/>
                    <a:pt x="517" y="505"/>
                    <a:pt x="517" y="505"/>
                  </a:cubicBezTo>
                  <a:cubicBezTo>
                    <a:pt x="517" y="505"/>
                    <a:pt x="528" y="511"/>
                    <a:pt x="536" y="509"/>
                  </a:cubicBezTo>
                  <a:cubicBezTo>
                    <a:pt x="544" y="507"/>
                    <a:pt x="531" y="501"/>
                    <a:pt x="531" y="496"/>
                  </a:cubicBezTo>
                  <a:cubicBezTo>
                    <a:pt x="531" y="491"/>
                    <a:pt x="538" y="494"/>
                    <a:pt x="538" y="494"/>
                  </a:cubicBezTo>
                  <a:cubicBezTo>
                    <a:pt x="537" y="480"/>
                    <a:pt x="537" y="480"/>
                    <a:pt x="537" y="480"/>
                  </a:cubicBezTo>
                  <a:cubicBezTo>
                    <a:pt x="557" y="481"/>
                    <a:pt x="557" y="481"/>
                    <a:pt x="557" y="481"/>
                  </a:cubicBezTo>
                  <a:cubicBezTo>
                    <a:pt x="555" y="479"/>
                    <a:pt x="554" y="478"/>
                    <a:pt x="554" y="478"/>
                  </a:cubicBezTo>
                  <a:cubicBezTo>
                    <a:pt x="556" y="473"/>
                    <a:pt x="556" y="473"/>
                    <a:pt x="556" y="473"/>
                  </a:cubicBezTo>
                  <a:cubicBezTo>
                    <a:pt x="568" y="478"/>
                    <a:pt x="568" y="478"/>
                    <a:pt x="568" y="478"/>
                  </a:cubicBezTo>
                  <a:cubicBezTo>
                    <a:pt x="570" y="469"/>
                    <a:pt x="570" y="469"/>
                    <a:pt x="570" y="469"/>
                  </a:cubicBezTo>
                  <a:cubicBezTo>
                    <a:pt x="570" y="469"/>
                    <a:pt x="577" y="466"/>
                    <a:pt x="581" y="466"/>
                  </a:cubicBezTo>
                  <a:cubicBezTo>
                    <a:pt x="585" y="466"/>
                    <a:pt x="594" y="480"/>
                    <a:pt x="594" y="480"/>
                  </a:cubicBezTo>
                  <a:cubicBezTo>
                    <a:pt x="603" y="481"/>
                    <a:pt x="603" y="481"/>
                    <a:pt x="603" y="481"/>
                  </a:cubicBezTo>
                  <a:cubicBezTo>
                    <a:pt x="603" y="481"/>
                    <a:pt x="604" y="491"/>
                    <a:pt x="618" y="492"/>
                  </a:cubicBezTo>
                  <a:cubicBezTo>
                    <a:pt x="632" y="493"/>
                    <a:pt x="632" y="494"/>
                    <a:pt x="632" y="494"/>
                  </a:cubicBezTo>
                  <a:cubicBezTo>
                    <a:pt x="632" y="494"/>
                    <a:pt x="632" y="494"/>
                    <a:pt x="642" y="497"/>
                  </a:cubicBezTo>
                  <a:cubicBezTo>
                    <a:pt x="652" y="500"/>
                    <a:pt x="661" y="492"/>
                    <a:pt x="661" y="492"/>
                  </a:cubicBezTo>
                  <a:cubicBezTo>
                    <a:pt x="661" y="492"/>
                    <a:pt x="672" y="488"/>
                    <a:pt x="677" y="489"/>
                  </a:cubicBezTo>
                  <a:cubicBezTo>
                    <a:pt x="682" y="490"/>
                    <a:pt x="694" y="498"/>
                    <a:pt x="702" y="498"/>
                  </a:cubicBezTo>
                  <a:cubicBezTo>
                    <a:pt x="710" y="498"/>
                    <a:pt x="704" y="488"/>
                    <a:pt x="711" y="483"/>
                  </a:cubicBezTo>
                  <a:cubicBezTo>
                    <a:pt x="718" y="478"/>
                    <a:pt x="727" y="483"/>
                    <a:pt x="727" y="483"/>
                  </a:cubicBezTo>
                  <a:cubicBezTo>
                    <a:pt x="727" y="483"/>
                    <a:pt x="728" y="467"/>
                    <a:pt x="727" y="463"/>
                  </a:cubicBezTo>
                  <a:cubicBezTo>
                    <a:pt x="726" y="459"/>
                    <a:pt x="730" y="446"/>
                    <a:pt x="730" y="446"/>
                  </a:cubicBezTo>
                  <a:cubicBezTo>
                    <a:pt x="730" y="446"/>
                    <a:pt x="747" y="437"/>
                    <a:pt x="752" y="438"/>
                  </a:cubicBezTo>
                  <a:cubicBezTo>
                    <a:pt x="757" y="439"/>
                    <a:pt x="768" y="440"/>
                    <a:pt x="768" y="440"/>
                  </a:cubicBezTo>
                  <a:cubicBezTo>
                    <a:pt x="768" y="440"/>
                    <a:pt x="779" y="433"/>
                    <a:pt x="794" y="434"/>
                  </a:cubicBezTo>
                  <a:cubicBezTo>
                    <a:pt x="809" y="435"/>
                    <a:pt x="802" y="441"/>
                    <a:pt x="802" y="441"/>
                  </a:cubicBezTo>
                  <a:cubicBezTo>
                    <a:pt x="825" y="446"/>
                    <a:pt x="825" y="446"/>
                    <a:pt x="825" y="446"/>
                  </a:cubicBezTo>
                  <a:cubicBezTo>
                    <a:pt x="825" y="446"/>
                    <a:pt x="839" y="447"/>
                    <a:pt x="843" y="464"/>
                  </a:cubicBezTo>
                  <a:cubicBezTo>
                    <a:pt x="847" y="481"/>
                    <a:pt x="834" y="469"/>
                    <a:pt x="834" y="469"/>
                  </a:cubicBezTo>
                  <a:cubicBezTo>
                    <a:pt x="832" y="477"/>
                    <a:pt x="832" y="477"/>
                    <a:pt x="832" y="477"/>
                  </a:cubicBezTo>
                  <a:cubicBezTo>
                    <a:pt x="836" y="479"/>
                    <a:pt x="840" y="480"/>
                    <a:pt x="845" y="480"/>
                  </a:cubicBezTo>
                  <a:cubicBezTo>
                    <a:pt x="854" y="479"/>
                    <a:pt x="855" y="465"/>
                    <a:pt x="855" y="465"/>
                  </a:cubicBezTo>
                  <a:cubicBezTo>
                    <a:pt x="870" y="464"/>
                    <a:pt x="870" y="464"/>
                    <a:pt x="870" y="464"/>
                  </a:cubicBezTo>
                  <a:cubicBezTo>
                    <a:pt x="874" y="456"/>
                    <a:pt x="874" y="456"/>
                    <a:pt x="874" y="456"/>
                  </a:cubicBezTo>
                  <a:cubicBezTo>
                    <a:pt x="874" y="456"/>
                    <a:pt x="873" y="459"/>
                    <a:pt x="891" y="456"/>
                  </a:cubicBezTo>
                  <a:cubicBezTo>
                    <a:pt x="899" y="455"/>
                    <a:pt x="903" y="451"/>
                    <a:pt x="905" y="448"/>
                  </a:cubicBezTo>
                  <a:lnTo>
                    <a:pt x="901" y="448"/>
                  </a:lnTo>
                  <a:close/>
                  <a:moveTo>
                    <a:pt x="372" y="489"/>
                  </a:moveTo>
                  <a:cubicBezTo>
                    <a:pt x="357" y="498"/>
                    <a:pt x="357" y="498"/>
                    <a:pt x="357" y="498"/>
                  </a:cubicBezTo>
                  <a:cubicBezTo>
                    <a:pt x="362" y="511"/>
                    <a:pt x="362" y="511"/>
                    <a:pt x="362" y="511"/>
                  </a:cubicBezTo>
                  <a:cubicBezTo>
                    <a:pt x="380" y="512"/>
                    <a:pt x="380" y="512"/>
                    <a:pt x="380" y="512"/>
                  </a:cubicBezTo>
                  <a:cubicBezTo>
                    <a:pt x="376" y="499"/>
                    <a:pt x="376" y="499"/>
                    <a:pt x="376" y="499"/>
                  </a:cubicBezTo>
                  <a:lnTo>
                    <a:pt x="372" y="489"/>
                  </a:lnTo>
                  <a:close/>
                  <a:moveTo>
                    <a:pt x="346" y="483"/>
                  </a:moveTo>
                  <a:cubicBezTo>
                    <a:pt x="335" y="487"/>
                    <a:pt x="339" y="504"/>
                    <a:pt x="339" y="504"/>
                  </a:cubicBezTo>
                  <a:cubicBezTo>
                    <a:pt x="351" y="516"/>
                    <a:pt x="351" y="516"/>
                    <a:pt x="351" y="516"/>
                  </a:cubicBezTo>
                  <a:cubicBezTo>
                    <a:pt x="351" y="516"/>
                    <a:pt x="357" y="479"/>
                    <a:pt x="346" y="483"/>
                  </a:cubicBezTo>
                  <a:close/>
                  <a:moveTo>
                    <a:pt x="403" y="498"/>
                  </a:moveTo>
                  <a:cubicBezTo>
                    <a:pt x="412" y="493"/>
                    <a:pt x="427" y="490"/>
                    <a:pt x="408" y="486"/>
                  </a:cubicBezTo>
                  <a:cubicBezTo>
                    <a:pt x="389" y="483"/>
                    <a:pt x="380" y="494"/>
                    <a:pt x="380" y="494"/>
                  </a:cubicBezTo>
                  <a:cubicBezTo>
                    <a:pt x="386" y="501"/>
                    <a:pt x="386" y="501"/>
                    <a:pt x="386" y="501"/>
                  </a:cubicBezTo>
                  <a:lnTo>
                    <a:pt x="403" y="498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40" name="Freeform 320">
              <a:extLst>
                <a:ext uri="{FF2B5EF4-FFF2-40B4-BE49-F238E27FC236}">
                  <a16:creationId xmlns:a16="http://schemas.microsoft.com/office/drawing/2014/main" id="{31D9E15D-C201-52F1-59B5-BDFD7B5E35B0}"/>
                </a:ext>
              </a:extLst>
            </p:cNvPr>
            <p:cNvSpPr>
              <a:spLocks/>
            </p:cNvSpPr>
            <p:nvPr/>
          </p:nvSpPr>
          <p:spPr bwMode="gray">
            <a:xfrm>
              <a:off x="-1723" y="-12392"/>
              <a:ext cx="1151" cy="780"/>
            </a:xfrm>
            <a:custGeom>
              <a:avLst/>
              <a:gdLst>
                <a:gd name="T0" fmla="*/ 311 w 487"/>
                <a:gd name="T1" fmla="*/ 13 h 330"/>
                <a:gd name="T2" fmla="*/ 247 w 487"/>
                <a:gd name="T3" fmla="*/ 45 h 330"/>
                <a:gd name="T4" fmla="*/ 222 w 487"/>
                <a:gd name="T5" fmla="*/ 82 h 330"/>
                <a:gd name="T6" fmla="*/ 222 w 487"/>
                <a:gd name="T7" fmla="*/ 94 h 330"/>
                <a:gd name="T8" fmla="*/ 210 w 487"/>
                <a:gd name="T9" fmla="*/ 106 h 330"/>
                <a:gd name="T10" fmla="*/ 187 w 487"/>
                <a:gd name="T11" fmla="*/ 89 h 330"/>
                <a:gd name="T12" fmla="*/ 143 w 487"/>
                <a:gd name="T13" fmla="*/ 89 h 330"/>
                <a:gd name="T14" fmla="*/ 116 w 487"/>
                <a:gd name="T15" fmla="*/ 81 h 330"/>
                <a:gd name="T16" fmla="*/ 76 w 487"/>
                <a:gd name="T17" fmla="*/ 82 h 330"/>
                <a:gd name="T18" fmla="*/ 64 w 487"/>
                <a:gd name="T19" fmla="*/ 88 h 330"/>
                <a:gd name="T20" fmla="*/ 46 w 487"/>
                <a:gd name="T21" fmla="*/ 89 h 330"/>
                <a:gd name="T22" fmla="*/ 31 w 487"/>
                <a:gd name="T23" fmla="*/ 80 h 330"/>
                <a:gd name="T24" fmla="*/ 22 w 487"/>
                <a:gd name="T25" fmla="*/ 114 h 330"/>
                <a:gd name="T26" fmla="*/ 21 w 487"/>
                <a:gd name="T27" fmla="*/ 127 h 330"/>
                <a:gd name="T28" fmla="*/ 8 w 487"/>
                <a:gd name="T29" fmla="*/ 141 h 330"/>
                <a:gd name="T30" fmla="*/ 2 w 487"/>
                <a:gd name="T31" fmla="*/ 164 h 330"/>
                <a:gd name="T32" fmla="*/ 24 w 487"/>
                <a:gd name="T33" fmla="*/ 193 h 330"/>
                <a:gd name="T34" fmla="*/ 15 w 487"/>
                <a:gd name="T35" fmla="*/ 270 h 330"/>
                <a:gd name="T36" fmla="*/ 36 w 487"/>
                <a:gd name="T37" fmla="*/ 292 h 330"/>
                <a:gd name="T38" fmla="*/ 60 w 487"/>
                <a:gd name="T39" fmla="*/ 325 h 330"/>
                <a:gd name="T40" fmla="*/ 106 w 487"/>
                <a:gd name="T41" fmla="*/ 321 h 330"/>
                <a:gd name="T42" fmla="*/ 133 w 487"/>
                <a:gd name="T43" fmla="*/ 287 h 330"/>
                <a:gd name="T44" fmla="*/ 182 w 487"/>
                <a:gd name="T45" fmla="*/ 290 h 330"/>
                <a:gd name="T46" fmla="*/ 243 w 487"/>
                <a:gd name="T47" fmla="*/ 282 h 330"/>
                <a:gd name="T48" fmla="*/ 292 w 487"/>
                <a:gd name="T49" fmla="*/ 243 h 330"/>
                <a:gd name="T50" fmla="*/ 334 w 487"/>
                <a:gd name="T51" fmla="*/ 213 h 330"/>
                <a:gd name="T52" fmla="*/ 397 w 487"/>
                <a:gd name="T53" fmla="*/ 181 h 330"/>
                <a:gd name="T54" fmla="*/ 446 w 487"/>
                <a:gd name="T55" fmla="*/ 180 h 330"/>
                <a:gd name="T56" fmla="*/ 479 w 487"/>
                <a:gd name="T57" fmla="*/ 125 h 330"/>
                <a:gd name="T58" fmla="*/ 487 w 487"/>
                <a:gd name="T59" fmla="*/ 120 h 330"/>
                <a:gd name="T60" fmla="*/ 433 w 487"/>
                <a:gd name="T61" fmla="*/ 0 h 330"/>
                <a:gd name="T62" fmla="*/ 311 w 487"/>
                <a:gd name="T63" fmla="*/ 13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7" h="330">
                  <a:moveTo>
                    <a:pt x="311" y="13"/>
                  </a:moveTo>
                  <a:cubicBezTo>
                    <a:pt x="299" y="13"/>
                    <a:pt x="257" y="32"/>
                    <a:pt x="247" y="45"/>
                  </a:cubicBezTo>
                  <a:cubicBezTo>
                    <a:pt x="237" y="58"/>
                    <a:pt x="222" y="82"/>
                    <a:pt x="222" y="82"/>
                  </a:cubicBezTo>
                  <a:cubicBezTo>
                    <a:pt x="222" y="94"/>
                    <a:pt x="222" y="94"/>
                    <a:pt x="222" y="94"/>
                  </a:cubicBezTo>
                  <a:cubicBezTo>
                    <a:pt x="222" y="94"/>
                    <a:pt x="215" y="106"/>
                    <a:pt x="210" y="106"/>
                  </a:cubicBezTo>
                  <a:cubicBezTo>
                    <a:pt x="205" y="106"/>
                    <a:pt x="191" y="91"/>
                    <a:pt x="187" y="89"/>
                  </a:cubicBezTo>
                  <a:cubicBezTo>
                    <a:pt x="183" y="87"/>
                    <a:pt x="143" y="89"/>
                    <a:pt x="143" y="89"/>
                  </a:cubicBezTo>
                  <a:cubicBezTo>
                    <a:pt x="143" y="89"/>
                    <a:pt x="132" y="81"/>
                    <a:pt x="116" y="81"/>
                  </a:cubicBezTo>
                  <a:cubicBezTo>
                    <a:pt x="100" y="81"/>
                    <a:pt x="81" y="82"/>
                    <a:pt x="76" y="82"/>
                  </a:cubicBezTo>
                  <a:cubicBezTo>
                    <a:pt x="71" y="82"/>
                    <a:pt x="64" y="88"/>
                    <a:pt x="64" y="88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6" y="89"/>
                    <a:pt x="41" y="75"/>
                    <a:pt x="31" y="80"/>
                  </a:cubicBezTo>
                  <a:cubicBezTo>
                    <a:pt x="21" y="85"/>
                    <a:pt x="22" y="114"/>
                    <a:pt x="22" y="114"/>
                  </a:cubicBezTo>
                  <a:cubicBezTo>
                    <a:pt x="22" y="114"/>
                    <a:pt x="28" y="116"/>
                    <a:pt x="21" y="127"/>
                  </a:cubicBezTo>
                  <a:cubicBezTo>
                    <a:pt x="17" y="134"/>
                    <a:pt x="12" y="138"/>
                    <a:pt x="8" y="141"/>
                  </a:cubicBezTo>
                  <a:cubicBezTo>
                    <a:pt x="6" y="150"/>
                    <a:pt x="3" y="159"/>
                    <a:pt x="2" y="164"/>
                  </a:cubicBezTo>
                  <a:cubicBezTo>
                    <a:pt x="0" y="174"/>
                    <a:pt x="24" y="193"/>
                    <a:pt x="24" y="193"/>
                  </a:cubicBezTo>
                  <a:cubicBezTo>
                    <a:pt x="15" y="270"/>
                    <a:pt x="15" y="270"/>
                    <a:pt x="15" y="270"/>
                  </a:cubicBezTo>
                  <a:cubicBezTo>
                    <a:pt x="36" y="292"/>
                    <a:pt x="36" y="292"/>
                    <a:pt x="36" y="292"/>
                  </a:cubicBezTo>
                  <a:cubicBezTo>
                    <a:pt x="36" y="292"/>
                    <a:pt x="41" y="321"/>
                    <a:pt x="60" y="325"/>
                  </a:cubicBezTo>
                  <a:cubicBezTo>
                    <a:pt x="79" y="330"/>
                    <a:pt x="94" y="329"/>
                    <a:pt x="106" y="321"/>
                  </a:cubicBezTo>
                  <a:cubicBezTo>
                    <a:pt x="118" y="313"/>
                    <a:pt x="122" y="287"/>
                    <a:pt x="133" y="287"/>
                  </a:cubicBezTo>
                  <a:cubicBezTo>
                    <a:pt x="145" y="286"/>
                    <a:pt x="160" y="293"/>
                    <a:pt x="182" y="290"/>
                  </a:cubicBezTo>
                  <a:cubicBezTo>
                    <a:pt x="204" y="287"/>
                    <a:pt x="230" y="282"/>
                    <a:pt x="243" y="282"/>
                  </a:cubicBezTo>
                  <a:cubicBezTo>
                    <a:pt x="256" y="283"/>
                    <a:pt x="277" y="249"/>
                    <a:pt x="292" y="243"/>
                  </a:cubicBezTo>
                  <a:cubicBezTo>
                    <a:pt x="308" y="238"/>
                    <a:pt x="316" y="218"/>
                    <a:pt x="334" y="213"/>
                  </a:cubicBezTo>
                  <a:cubicBezTo>
                    <a:pt x="352" y="207"/>
                    <a:pt x="397" y="181"/>
                    <a:pt x="397" y="181"/>
                  </a:cubicBezTo>
                  <a:cubicBezTo>
                    <a:pt x="446" y="180"/>
                    <a:pt x="446" y="180"/>
                    <a:pt x="446" y="180"/>
                  </a:cubicBezTo>
                  <a:cubicBezTo>
                    <a:pt x="446" y="180"/>
                    <a:pt x="466" y="135"/>
                    <a:pt x="479" y="125"/>
                  </a:cubicBezTo>
                  <a:cubicBezTo>
                    <a:pt x="480" y="123"/>
                    <a:pt x="483" y="122"/>
                    <a:pt x="487" y="120"/>
                  </a:cubicBezTo>
                  <a:cubicBezTo>
                    <a:pt x="433" y="0"/>
                    <a:pt x="433" y="0"/>
                    <a:pt x="433" y="0"/>
                  </a:cubicBezTo>
                  <a:cubicBezTo>
                    <a:pt x="433" y="0"/>
                    <a:pt x="323" y="13"/>
                    <a:pt x="311" y="13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41" name="Freeform 321">
              <a:extLst>
                <a:ext uri="{FF2B5EF4-FFF2-40B4-BE49-F238E27FC236}">
                  <a16:creationId xmlns:a16="http://schemas.microsoft.com/office/drawing/2014/main" id="{D3268406-2690-152C-25C9-C5C9BFF0C1AA}"/>
                </a:ext>
              </a:extLst>
            </p:cNvPr>
            <p:cNvSpPr>
              <a:spLocks/>
            </p:cNvSpPr>
            <p:nvPr/>
          </p:nvSpPr>
          <p:spPr bwMode="gray">
            <a:xfrm>
              <a:off x="-5429" y="-10275"/>
              <a:ext cx="243" cy="168"/>
            </a:xfrm>
            <a:custGeom>
              <a:avLst/>
              <a:gdLst>
                <a:gd name="T0" fmla="*/ 97 w 103"/>
                <a:gd name="T1" fmla="*/ 29 h 71"/>
                <a:gd name="T2" fmla="*/ 100 w 103"/>
                <a:gd name="T3" fmla="*/ 6 h 71"/>
                <a:gd name="T4" fmla="*/ 36 w 103"/>
                <a:gd name="T5" fmla="*/ 6 h 71"/>
                <a:gd name="T6" fmla="*/ 30 w 103"/>
                <a:gd name="T7" fmla="*/ 0 h 71"/>
                <a:gd name="T8" fmla="*/ 24 w 103"/>
                <a:gd name="T9" fmla="*/ 3 h 71"/>
                <a:gd name="T10" fmla="*/ 23 w 103"/>
                <a:gd name="T11" fmla="*/ 29 h 71"/>
                <a:gd name="T12" fmla="*/ 4 w 103"/>
                <a:gd name="T13" fmla="*/ 57 h 71"/>
                <a:gd name="T14" fmla="*/ 21 w 103"/>
                <a:gd name="T15" fmla="*/ 67 h 71"/>
                <a:gd name="T16" fmla="*/ 29 w 103"/>
                <a:gd name="T17" fmla="*/ 65 h 71"/>
                <a:gd name="T18" fmla="*/ 31 w 103"/>
                <a:gd name="T19" fmla="*/ 71 h 71"/>
                <a:gd name="T20" fmla="*/ 98 w 103"/>
                <a:gd name="T21" fmla="*/ 69 h 71"/>
                <a:gd name="T22" fmla="*/ 103 w 103"/>
                <a:gd name="T23" fmla="*/ 33 h 71"/>
                <a:gd name="T24" fmla="*/ 97 w 103"/>
                <a:gd name="T25" fmla="*/ 2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71">
                  <a:moveTo>
                    <a:pt x="97" y="29"/>
                  </a:moveTo>
                  <a:cubicBezTo>
                    <a:pt x="100" y="6"/>
                    <a:pt x="100" y="6"/>
                    <a:pt x="100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8" y="21"/>
                    <a:pt x="23" y="29"/>
                  </a:cubicBezTo>
                  <a:cubicBezTo>
                    <a:pt x="18" y="37"/>
                    <a:pt x="0" y="50"/>
                    <a:pt x="4" y="57"/>
                  </a:cubicBezTo>
                  <a:cubicBezTo>
                    <a:pt x="7" y="63"/>
                    <a:pt x="17" y="66"/>
                    <a:pt x="21" y="67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93" y="70"/>
                    <a:pt x="98" y="69"/>
                  </a:cubicBezTo>
                  <a:cubicBezTo>
                    <a:pt x="103" y="68"/>
                    <a:pt x="103" y="33"/>
                    <a:pt x="103" y="33"/>
                  </a:cubicBezTo>
                  <a:lnTo>
                    <a:pt x="97" y="2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42" name="Freeform 322">
              <a:extLst>
                <a:ext uri="{FF2B5EF4-FFF2-40B4-BE49-F238E27FC236}">
                  <a16:creationId xmlns:a16="http://schemas.microsoft.com/office/drawing/2014/main" id="{D344D634-C7EC-B255-1DF4-010C379B637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7307" y="-15531"/>
              <a:ext cx="1396" cy="976"/>
            </a:xfrm>
            <a:custGeom>
              <a:avLst/>
              <a:gdLst>
                <a:gd name="T0" fmla="*/ 527 w 591"/>
                <a:gd name="T1" fmla="*/ 205 h 413"/>
                <a:gd name="T2" fmla="*/ 511 w 591"/>
                <a:gd name="T3" fmla="*/ 226 h 413"/>
                <a:gd name="T4" fmla="*/ 531 w 591"/>
                <a:gd name="T5" fmla="*/ 237 h 413"/>
                <a:gd name="T6" fmla="*/ 536 w 591"/>
                <a:gd name="T7" fmla="*/ 212 h 413"/>
                <a:gd name="T8" fmla="*/ 461 w 591"/>
                <a:gd name="T9" fmla="*/ 249 h 413"/>
                <a:gd name="T10" fmla="*/ 560 w 591"/>
                <a:gd name="T11" fmla="*/ 198 h 413"/>
                <a:gd name="T12" fmla="*/ 560 w 591"/>
                <a:gd name="T13" fmla="*/ 198 h 413"/>
                <a:gd name="T14" fmla="*/ 534 w 591"/>
                <a:gd name="T15" fmla="*/ 86 h 413"/>
                <a:gd name="T16" fmla="*/ 527 w 591"/>
                <a:gd name="T17" fmla="*/ 67 h 413"/>
                <a:gd name="T18" fmla="*/ 514 w 591"/>
                <a:gd name="T19" fmla="*/ 77 h 413"/>
                <a:gd name="T20" fmla="*/ 496 w 591"/>
                <a:gd name="T21" fmla="*/ 70 h 413"/>
                <a:gd name="T22" fmla="*/ 479 w 591"/>
                <a:gd name="T23" fmla="*/ 68 h 413"/>
                <a:gd name="T24" fmla="*/ 459 w 591"/>
                <a:gd name="T25" fmla="*/ 56 h 413"/>
                <a:gd name="T26" fmla="*/ 437 w 591"/>
                <a:gd name="T27" fmla="*/ 48 h 413"/>
                <a:gd name="T28" fmla="*/ 417 w 591"/>
                <a:gd name="T29" fmla="*/ 63 h 413"/>
                <a:gd name="T30" fmla="*/ 395 w 591"/>
                <a:gd name="T31" fmla="*/ 54 h 413"/>
                <a:gd name="T32" fmla="*/ 376 w 591"/>
                <a:gd name="T33" fmla="*/ 51 h 413"/>
                <a:gd name="T34" fmla="*/ 342 w 591"/>
                <a:gd name="T35" fmla="*/ 38 h 413"/>
                <a:gd name="T36" fmla="*/ 327 w 591"/>
                <a:gd name="T37" fmla="*/ 29 h 413"/>
                <a:gd name="T38" fmla="*/ 320 w 591"/>
                <a:gd name="T39" fmla="*/ 23 h 413"/>
                <a:gd name="T40" fmla="*/ 234 w 591"/>
                <a:gd name="T41" fmla="*/ 22 h 413"/>
                <a:gd name="T42" fmla="*/ 156 w 591"/>
                <a:gd name="T43" fmla="*/ 7 h 413"/>
                <a:gd name="T44" fmla="*/ 91 w 591"/>
                <a:gd name="T45" fmla="*/ 8 h 413"/>
                <a:gd name="T46" fmla="*/ 49 w 591"/>
                <a:gd name="T47" fmla="*/ 18 h 413"/>
                <a:gd name="T48" fmla="*/ 21 w 591"/>
                <a:gd name="T49" fmla="*/ 67 h 413"/>
                <a:gd name="T50" fmla="*/ 15 w 591"/>
                <a:gd name="T51" fmla="*/ 101 h 413"/>
                <a:gd name="T52" fmla="*/ 50 w 591"/>
                <a:gd name="T53" fmla="*/ 94 h 413"/>
                <a:gd name="T54" fmla="*/ 61 w 591"/>
                <a:gd name="T55" fmla="*/ 99 h 413"/>
                <a:gd name="T56" fmla="*/ 85 w 591"/>
                <a:gd name="T57" fmla="*/ 96 h 413"/>
                <a:gd name="T58" fmla="*/ 115 w 591"/>
                <a:gd name="T59" fmla="*/ 108 h 413"/>
                <a:gd name="T60" fmla="*/ 94 w 591"/>
                <a:gd name="T61" fmla="*/ 144 h 413"/>
                <a:gd name="T62" fmla="*/ 96 w 591"/>
                <a:gd name="T63" fmla="*/ 181 h 413"/>
                <a:gd name="T64" fmla="*/ 94 w 591"/>
                <a:gd name="T65" fmla="*/ 205 h 413"/>
                <a:gd name="T66" fmla="*/ 61 w 591"/>
                <a:gd name="T67" fmla="*/ 217 h 413"/>
                <a:gd name="T68" fmla="*/ 77 w 591"/>
                <a:gd name="T69" fmla="*/ 240 h 413"/>
                <a:gd name="T70" fmla="*/ 66 w 591"/>
                <a:gd name="T71" fmla="*/ 276 h 413"/>
                <a:gd name="T72" fmla="*/ 84 w 591"/>
                <a:gd name="T73" fmla="*/ 301 h 413"/>
                <a:gd name="T74" fmla="*/ 60 w 591"/>
                <a:gd name="T75" fmla="*/ 325 h 413"/>
                <a:gd name="T76" fmla="*/ 61 w 591"/>
                <a:gd name="T77" fmla="*/ 351 h 413"/>
                <a:gd name="T78" fmla="*/ 81 w 591"/>
                <a:gd name="T79" fmla="*/ 350 h 413"/>
                <a:gd name="T80" fmla="*/ 109 w 591"/>
                <a:gd name="T81" fmla="*/ 365 h 413"/>
                <a:gd name="T82" fmla="*/ 110 w 591"/>
                <a:gd name="T83" fmla="*/ 383 h 413"/>
                <a:gd name="T84" fmla="*/ 136 w 591"/>
                <a:gd name="T85" fmla="*/ 413 h 413"/>
                <a:gd name="T86" fmla="*/ 177 w 591"/>
                <a:gd name="T87" fmla="*/ 389 h 413"/>
                <a:gd name="T88" fmla="*/ 235 w 591"/>
                <a:gd name="T89" fmla="*/ 377 h 413"/>
                <a:gd name="T90" fmla="*/ 265 w 591"/>
                <a:gd name="T91" fmla="*/ 378 h 413"/>
                <a:gd name="T92" fmla="*/ 297 w 591"/>
                <a:gd name="T93" fmla="*/ 374 h 413"/>
                <a:gd name="T94" fmla="*/ 331 w 591"/>
                <a:gd name="T95" fmla="*/ 329 h 413"/>
                <a:gd name="T96" fmla="*/ 356 w 591"/>
                <a:gd name="T97" fmla="*/ 315 h 413"/>
                <a:gd name="T98" fmla="*/ 401 w 591"/>
                <a:gd name="T99" fmla="*/ 270 h 413"/>
                <a:gd name="T100" fmla="*/ 385 w 591"/>
                <a:gd name="T101" fmla="*/ 215 h 413"/>
                <a:gd name="T102" fmla="*/ 424 w 591"/>
                <a:gd name="T103" fmla="*/ 172 h 413"/>
                <a:gd name="T104" fmla="*/ 438 w 591"/>
                <a:gd name="T105" fmla="*/ 146 h 413"/>
                <a:gd name="T106" fmla="*/ 514 w 591"/>
                <a:gd name="T107" fmla="*/ 113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1" h="413">
                  <a:moveTo>
                    <a:pt x="536" y="212"/>
                  </a:moveTo>
                  <a:cubicBezTo>
                    <a:pt x="536" y="212"/>
                    <a:pt x="533" y="205"/>
                    <a:pt x="527" y="205"/>
                  </a:cubicBezTo>
                  <a:cubicBezTo>
                    <a:pt x="521" y="205"/>
                    <a:pt x="498" y="218"/>
                    <a:pt x="501" y="223"/>
                  </a:cubicBezTo>
                  <a:cubicBezTo>
                    <a:pt x="504" y="228"/>
                    <a:pt x="511" y="226"/>
                    <a:pt x="511" y="226"/>
                  </a:cubicBezTo>
                  <a:cubicBezTo>
                    <a:pt x="511" y="226"/>
                    <a:pt x="515" y="235"/>
                    <a:pt x="519" y="236"/>
                  </a:cubicBezTo>
                  <a:cubicBezTo>
                    <a:pt x="523" y="237"/>
                    <a:pt x="531" y="237"/>
                    <a:pt x="531" y="237"/>
                  </a:cubicBezTo>
                  <a:cubicBezTo>
                    <a:pt x="537" y="235"/>
                    <a:pt x="547" y="225"/>
                    <a:pt x="546" y="218"/>
                  </a:cubicBezTo>
                  <a:cubicBezTo>
                    <a:pt x="545" y="211"/>
                    <a:pt x="536" y="212"/>
                    <a:pt x="536" y="212"/>
                  </a:cubicBezTo>
                  <a:close/>
                  <a:moveTo>
                    <a:pt x="447" y="261"/>
                  </a:moveTo>
                  <a:cubicBezTo>
                    <a:pt x="456" y="270"/>
                    <a:pt x="466" y="259"/>
                    <a:pt x="461" y="249"/>
                  </a:cubicBezTo>
                  <a:cubicBezTo>
                    <a:pt x="456" y="239"/>
                    <a:pt x="447" y="261"/>
                    <a:pt x="447" y="261"/>
                  </a:cubicBezTo>
                  <a:close/>
                  <a:moveTo>
                    <a:pt x="560" y="198"/>
                  </a:moveTo>
                  <a:cubicBezTo>
                    <a:pt x="560" y="198"/>
                    <a:pt x="573" y="218"/>
                    <a:pt x="582" y="213"/>
                  </a:cubicBezTo>
                  <a:cubicBezTo>
                    <a:pt x="591" y="208"/>
                    <a:pt x="570" y="191"/>
                    <a:pt x="560" y="198"/>
                  </a:cubicBezTo>
                  <a:close/>
                  <a:moveTo>
                    <a:pt x="535" y="101"/>
                  </a:moveTo>
                  <a:cubicBezTo>
                    <a:pt x="536" y="98"/>
                    <a:pt x="534" y="86"/>
                    <a:pt x="534" y="86"/>
                  </a:cubicBezTo>
                  <a:cubicBezTo>
                    <a:pt x="542" y="81"/>
                    <a:pt x="542" y="81"/>
                    <a:pt x="542" y="81"/>
                  </a:cubicBezTo>
                  <a:cubicBezTo>
                    <a:pt x="542" y="81"/>
                    <a:pt x="530" y="75"/>
                    <a:pt x="527" y="67"/>
                  </a:cubicBezTo>
                  <a:cubicBezTo>
                    <a:pt x="521" y="67"/>
                    <a:pt x="521" y="67"/>
                    <a:pt x="521" y="67"/>
                  </a:cubicBezTo>
                  <a:cubicBezTo>
                    <a:pt x="521" y="67"/>
                    <a:pt x="521" y="77"/>
                    <a:pt x="514" y="77"/>
                  </a:cubicBezTo>
                  <a:cubicBezTo>
                    <a:pt x="507" y="77"/>
                    <a:pt x="506" y="77"/>
                    <a:pt x="506" y="77"/>
                  </a:cubicBezTo>
                  <a:cubicBezTo>
                    <a:pt x="506" y="77"/>
                    <a:pt x="499" y="69"/>
                    <a:pt x="496" y="70"/>
                  </a:cubicBezTo>
                  <a:cubicBezTo>
                    <a:pt x="493" y="71"/>
                    <a:pt x="486" y="73"/>
                    <a:pt x="486" y="73"/>
                  </a:cubicBezTo>
                  <a:cubicBezTo>
                    <a:pt x="486" y="73"/>
                    <a:pt x="483" y="67"/>
                    <a:pt x="479" y="68"/>
                  </a:cubicBezTo>
                  <a:cubicBezTo>
                    <a:pt x="475" y="69"/>
                    <a:pt x="466" y="71"/>
                    <a:pt x="466" y="71"/>
                  </a:cubicBezTo>
                  <a:cubicBezTo>
                    <a:pt x="459" y="56"/>
                    <a:pt x="459" y="56"/>
                    <a:pt x="459" y="56"/>
                  </a:cubicBezTo>
                  <a:cubicBezTo>
                    <a:pt x="450" y="55"/>
                    <a:pt x="450" y="55"/>
                    <a:pt x="450" y="55"/>
                  </a:cubicBezTo>
                  <a:cubicBezTo>
                    <a:pt x="450" y="55"/>
                    <a:pt x="450" y="48"/>
                    <a:pt x="437" y="48"/>
                  </a:cubicBezTo>
                  <a:cubicBezTo>
                    <a:pt x="424" y="48"/>
                    <a:pt x="430" y="60"/>
                    <a:pt x="430" y="60"/>
                  </a:cubicBezTo>
                  <a:cubicBezTo>
                    <a:pt x="417" y="63"/>
                    <a:pt x="417" y="63"/>
                    <a:pt x="417" y="63"/>
                  </a:cubicBezTo>
                  <a:cubicBezTo>
                    <a:pt x="415" y="55"/>
                    <a:pt x="415" y="55"/>
                    <a:pt x="415" y="55"/>
                  </a:cubicBezTo>
                  <a:cubicBezTo>
                    <a:pt x="395" y="54"/>
                    <a:pt x="395" y="54"/>
                    <a:pt x="395" y="54"/>
                  </a:cubicBezTo>
                  <a:cubicBezTo>
                    <a:pt x="395" y="54"/>
                    <a:pt x="394" y="51"/>
                    <a:pt x="390" y="49"/>
                  </a:cubicBezTo>
                  <a:cubicBezTo>
                    <a:pt x="386" y="47"/>
                    <a:pt x="376" y="51"/>
                    <a:pt x="376" y="51"/>
                  </a:cubicBezTo>
                  <a:cubicBezTo>
                    <a:pt x="376" y="51"/>
                    <a:pt x="370" y="42"/>
                    <a:pt x="363" y="41"/>
                  </a:cubicBezTo>
                  <a:cubicBezTo>
                    <a:pt x="356" y="40"/>
                    <a:pt x="342" y="38"/>
                    <a:pt x="342" y="38"/>
                  </a:cubicBezTo>
                  <a:cubicBezTo>
                    <a:pt x="342" y="38"/>
                    <a:pt x="348" y="35"/>
                    <a:pt x="342" y="28"/>
                  </a:cubicBezTo>
                  <a:cubicBezTo>
                    <a:pt x="336" y="21"/>
                    <a:pt x="327" y="29"/>
                    <a:pt x="327" y="29"/>
                  </a:cubicBezTo>
                  <a:cubicBezTo>
                    <a:pt x="326" y="23"/>
                    <a:pt x="326" y="23"/>
                    <a:pt x="326" y="23"/>
                  </a:cubicBezTo>
                  <a:cubicBezTo>
                    <a:pt x="324" y="23"/>
                    <a:pt x="322" y="23"/>
                    <a:pt x="320" y="23"/>
                  </a:cubicBezTo>
                  <a:cubicBezTo>
                    <a:pt x="301" y="23"/>
                    <a:pt x="254" y="14"/>
                    <a:pt x="254" y="14"/>
                  </a:cubicBezTo>
                  <a:cubicBezTo>
                    <a:pt x="234" y="22"/>
                    <a:pt x="234" y="22"/>
                    <a:pt x="234" y="22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71" y="4"/>
                    <a:pt x="156" y="7"/>
                  </a:cubicBezTo>
                  <a:cubicBezTo>
                    <a:pt x="141" y="10"/>
                    <a:pt x="120" y="11"/>
                    <a:pt x="115" y="11"/>
                  </a:cubicBezTo>
                  <a:cubicBezTo>
                    <a:pt x="110" y="11"/>
                    <a:pt x="91" y="8"/>
                    <a:pt x="91" y="8"/>
                  </a:cubicBezTo>
                  <a:cubicBezTo>
                    <a:pt x="91" y="8"/>
                    <a:pt x="81" y="0"/>
                    <a:pt x="75" y="0"/>
                  </a:cubicBezTo>
                  <a:cubicBezTo>
                    <a:pt x="69" y="0"/>
                    <a:pt x="49" y="18"/>
                    <a:pt x="49" y="18"/>
                  </a:cubicBezTo>
                  <a:cubicBezTo>
                    <a:pt x="49" y="18"/>
                    <a:pt x="4" y="25"/>
                    <a:pt x="2" y="38"/>
                  </a:cubicBezTo>
                  <a:cubicBezTo>
                    <a:pt x="0" y="51"/>
                    <a:pt x="21" y="67"/>
                    <a:pt x="21" y="67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4" y="94"/>
                    <a:pt x="15" y="101"/>
                  </a:cubicBezTo>
                  <a:cubicBezTo>
                    <a:pt x="20" y="95"/>
                    <a:pt x="27" y="88"/>
                    <a:pt x="36" y="88"/>
                  </a:cubicBezTo>
                  <a:cubicBezTo>
                    <a:pt x="50" y="88"/>
                    <a:pt x="55" y="89"/>
                    <a:pt x="50" y="94"/>
                  </a:cubicBezTo>
                  <a:cubicBezTo>
                    <a:pt x="45" y="99"/>
                    <a:pt x="38" y="103"/>
                    <a:pt x="44" y="103"/>
                  </a:cubicBezTo>
                  <a:cubicBezTo>
                    <a:pt x="50" y="103"/>
                    <a:pt x="54" y="99"/>
                    <a:pt x="61" y="99"/>
                  </a:cubicBezTo>
                  <a:cubicBezTo>
                    <a:pt x="68" y="99"/>
                    <a:pt x="70" y="108"/>
                    <a:pt x="78" y="104"/>
                  </a:cubicBezTo>
                  <a:cubicBezTo>
                    <a:pt x="86" y="100"/>
                    <a:pt x="76" y="96"/>
                    <a:pt x="85" y="96"/>
                  </a:cubicBezTo>
                  <a:cubicBezTo>
                    <a:pt x="94" y="96"/>
                    <a:pt x="110" y="93"/>
                    <a:pt x="114" y="95"/>
                  </a:cubicBezTo>
                  <a:cubicBezTo>
                    <a:pt x="118" y="97"/>
                    <a:pt x="115" y="108"/>
                    <a:pt x="115" y="108"/>
                  </a:cubicBezTo>
                  <a:cubicBezTo>
                    <a:pt x="115" y="108"/>
                    <a:pt x="129" y="109"/>
                    <a:pt x="128" y="117"/>
                  </a:cubicBezTo>
                  <a:cubicBezTo>
                    <a:pt x="127" y="125"/>
                    <a:pt x="95" y="140"/>
                    <a:pt x="94" y="144"/>
                  </a:cubicBezTo>
                  <a:cubicBezTo>
                    <a:pt x="93" y="148"/>
                    <a:pt x="102" y="153"/>
                    <a:pt x="102" y="153"/>
                  </a:cubicBezTo>
                  <a:cubicBezTo>
                    <a:pt x="102" y="153"/>
                    <a:pt x="97" y="178"/>
                    <a:pt x="96" y="181"/>
                  </a:cubicBezTo>
                  <a:cubicBezTo>
                    <a:pt x="95" y="184"/>
                    <a:pt x="90" y="188"/>
                    <a:pt x="90" y="188"/>
                  </a:cubicBezTo>
                  <a:cubicBezTo>
                    <a:pt x="90" y="188"/>
                    <a:pt x="94" y="202"/>
                    <a:pt x="94" y="205"/>
                  </a:cubicBezTo>
                  <a:cubicBezTo>
                    <a:pt x="94" y="208"/>
                    <a:pt x="86" y="215"/>
                    <a:pt x="82" y="216"/>
                  </a:cubicBezTo>
                  <a:cubicBezTo>
                    <a:pt x="78" y="217"/>
                    <a:pt x="61" y="217"/>
                    <a:pt x="61" y="217"/>
                  </a:cubicBezTo>
                  <a:cubicBezTo>
                    <a:pt x="77" y="231"/>
                    <a:pt x="77" y="231"/>
                    <a:pt x="77" y="231"/>
                  </a:cubicBezTo>
                  <a:cubicBezTo>
                    <a:pt x="77" y="240"/>
                    <a:pt x="77" y="240"/>
                    <a:pt x="77" y="240"/>
                  </a:cubicBezTo>
                  <a:cubicBezTo>
                    <a:pt x="77" y="240"/>
                    <a:pt x="90" y="242"/>
                    <a:pt x="88" y="250"/>
                  </a:cubicBezTo>
                  <a:cubicBezTo>
                    <a:pt x="86" y="258"/>
                    <a:pt x="62" y="272"/>
                    <a:pt x="66" y="276"/>
                  </a:cubicBezTo>
                  <a:cubicBezTo>
                    <a:pt x="70" y="280"/>
                    <a:pt x="75" y="294"/>
                    <a:pt x="75" y="294"/>
                  </a:cubicBezTo>
                  <a:cubicBezTo>
                    <a:pt x="75" y="294"/>
                    <a:pt x="88" y="295"/>
                    <a:pt x="84" y="301"/>
                  </a:cubicBezTo>
                  <a:cubicBezTo>
                    <a:pt x="80" y="307"/>
                    <a:pt x="70" y="308"/>
                    <a:pt x="70" y="308"/>
                  </a:cubicBezTo>
                  <a:cubicBezTo>
                    <a:pt x="70" y="308"/>
                    <a:pt x="62" y="318"/>
                    <a:pt x="60" y="325"/>
                  </a:cubicBezTo>
                  <a:cubicBezTo>
                    <a:pt x="58" y="332"/>
                    <a:pt x="59" y="340"/>
                    <a:pt x="59" y="340"/>
                  </a:cubicBezTo>
                  <a:cubicBezTo>
                    <a:pt x="61" y="351"/>
                    <a:pt x="61" y="351"/>
                    <a:pt x="61" y="351"/>
                  </a:cubicBezTo>
                  <a:cubicBezTo>
                    <a:pt x="62" y="351"/>
                    <a:pt x="62" y="351"/>
                    <a:pt x="62" y="351"/>
                  </a:cubicBezTo>
                  <a:cubicBezTo>
                    <a:pt x="81" y="350"/>
                    <a:pt x="81" y="350"/>
                    <a:pt x="81" y="350"/>
                  </a:cubicBezTo>
                  <a:cubicBezTo>
                    <a:pt x="97" y="365"/>
                    <a:pt x="97" y="365"/>
                    <a:pt x="97" y="365"/>
                  </a:cubicBezTo>
                  <a:cubicBezTo>
                    <a:pt x="109" y="365"/>
                    <a:pt x="109" y="365"/>
                    <a:pt x="109" y="365"/>
                  </a:cubicBezTo>
                  <a:cubicBezTo>
                    <a:pt x="103" y="382"/>
                    <a:pt x="103" y="382"/>
                    <a:pt x="103" y="382"/>
                  </a:cubicBezTo>
                  <a:cubicBezTo>
                    <a:pt x="110" y="383"/>
                    <a:pt x="110" y="383"/>
                    <a:pt x="110" y="383"/>
                  </a:cubicBezTo>
                  <a:cubicBezTo>
                    <a:pt x="110" y="383"/>
                    <a:pt x="110" y="403"/>
                    <a:pt x="117" y="406"/>
                  </a:cubicBezTo>
                  <a:cubicBezTo>
                    <a:pt x="124" y="409"/>
                    <a:pt x="136" y="413"/>
                    <a:pt x="136" y="413"/>
                  </a:cubicBezTo>
                  <a:cubicBezTo>
                    <a:pt x="136" y="413"/>
                    <a:pt x="153" y="401"/>
                    <a:pt x="156" y="395"/>
                  </a:cubicBezTo>
                  <a:cubicBezTo>
                    <a:pt x="159" y="389"/>
                    <a:pt x="177" y="389"/>
                    <a:pt x="177" y="389"/>
                  </a:cubicBezTo>
                  <a:cubicBezTo>
                    <a:pt x="196" y="377"/>
                    <a:pt x="196" y="377"/>
                    <a:pt x="196" y="377"/>
                  </a:cubicBezTo>
                  <a:cubicBezTo>
                    <a:pt x="196" y="377"/>
                    <a:pt x="229" y="379"/>
                    <a:pt x="235" y="377"/>
                  </a:cubicBezTo>
                  <a:cubicBezTo>
                    <a:pt x="241" y="375"/>
                    <a:pt x="251" y="371"/>
                    <a:pt x="251" y="371"/>
                  </a:cubicBezTo>
                  <a:cubicBezTo>
                    <a:pt x="251" y="371"/>
                    <a:pt x="259" y="379"/>
                    <a:pt x="265" y="378"/>
                  </a:cubicBezTo>
                  <a:cubicBezTo>
                    <a:pt x="271" y="377"/>
                    <a:pt x="287" y="370"/>
                    <a:pt x="287" y="370"/>
                  </a:cubicBezTo>
                  <a:cubicBezTo>
                    <a:pt x="287" y="370"/>
                    <a:pt x="286" y="382"/>
                    <a:pt x="297" y="374"/>
                  </a:cubicBezTo>
                  <a:cubicBezTo>
                    <a:pt x="308" y="366"/>
                    <a:pt x="310" y="347"/>
                    <a:pt x="310" y="347"/>
                  </a:cubicBezTo>
                  <a:cubicBezTo>
                    <a:pt x="331" y="329"/>
                    <a:pt x="331" y="329"/>
                    <a:pt x="331" y="329"/>
                  </a:cubicBezTo>
                  <a:cubicBezTo>
                    <a:pt x="354" y="328"/>
                    <a:pt x="354" y="328"/>
                    <a:pt x="354" y="328"/>
                  </a:cubicBezTo>
                  <a:cubicBezTo>
                    <a:pt x="356" y="315"/>
                    <a:pt x="356" y="315"/>
                    <a:pt x="356" y="315"/>
                  </a:cubicBezTo>
                  <a:cubicBezTo>
                    <a:pt x="356" y="315"/>
                    <a:pt x="367" y="286"/>
                    <a:pt x="370" y="284"/>
                  </a:cubicBezTo>
                  <a:cubicBezTo>
                    <a:pt x="373" y="282"/>
                    <a:pt x="400" y="279"/>
                    <a:pt x="401" y="270"/>
                  </a:cubicBezTo>
                  <a:cubicBezTo>
                    <a:pt x="402" y="261"/>
                    <a:pt x="379" y="249"/>
                    <a:pt x="379" y="249"/>
                  </a:cubicBezTo>
                  <a:cubicBezTo>
                    <a:pt x="379" y="249"/>
                    <a:pt x="377" y="226"/>
                    <a:pt x="385" y="215"/>
                  </a:cubicBezTo>
                  <a:cubicBezTo>
                    <a:pt x="393" y="204"/>
                    <a:pt x="404" y="191"/>
                    <a:pt x="404" y="191"/>
                  </a:cubicBezTo>
                  <a:cubicBezTo>
                    <a:pt x="404" y="191"/>
                    <a:pt x="421" y="173"/>
                    <a:pt x="424" y="172"/>
                  </a:cubicBezTo>
                  <a:cubicBezTo>
                    <a:pt x="427" y="171"/>
                    <a:pt x="439" y="163"/>
                    <a:pt x="436" y="161"/>
                  </a:cubicBezTo>
                  <a:cubicBezTo>
                    <a:pt x="433" y="159"/>
                    <a:pt x="428" y="151"/>
                    <a:pt x="438" y="146"/>
                  </a:cubicBezTo>
                  <a:cubicBezTo>
                    <a:pt x="448" y="141"/>
                    <a:pt x="472" y="136"/>
                    <a:pt x="485" y="131"/>
                  </a:cubicBezTo>
                  <a:cubicBezTo>
                    <a:pt x="498" y="126"/>
                    <a:pt x="514" y="113"/>
                    <a:pt x="514" y="113"/>
                  </a:cubicBezTo>
                  <a:cubicBezTo>
                    <a:pt x="514" y="113"/>
                    <a:pt x="534" y="104"/>
                    <a:pt x="535" y="101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43" name="Freeform 323">
              <a:extLst>
                <a:ext uri="{FF2B5EF4-FFF2-40B4-BE49-F238E27FC236}">
                  <a16:creationId xmlns:a16="http://schemas.microsoft.com/office/drawing/2014/main" id="{8D853A56-5421-9942-A410-EF5EA357D43E}"/>
                </a:ext>
              </a:extLst>
            </p:cNvPr>
            <p:cNvSpPr>
              <a:spLocks/>
            </p:cNvSpPr>
            <p:nvPr/>
          </p:nvSpPr>
          <p:spPr bwMode="gray">
            <a:xfrm>
              <a:off x="-7368" y="-15323"/>
              <a:ext cx="366" cy="654"/>
            </a:xfrm>
            <a:custGeom>
              <a:avLst/>
              <a:gdLst>
                <a:gd name="T0" fmla="*/ 141 w 155"/>
                <a:gd name="T1" fmla="*/ 20 h 277"/>
                <a:gd name="T2" fmla="*/ 140 w 155"/>
                <a:gd name="T3" fmla="*/ 7 h 277"/>
                <a:gd name="T4" fmla="*/ 111 w 155"/>
                <a:gd name="T5" fmla="*/ 8 h 277"/>
                <a:gd name="T6" fmla="*/ 104 w 155"/>
                <a:gd name="T7" fmla="*/ 16 h 277"/>
                <a:gd name="T8" fmla="*/ 87 w 155"/>
                <a:gd name="T9" fmla="*/ 11 h 277"/>
                <a:gd name="T10" fmla="*/ 70 w 155"/>
                <a:gd name="T11" fmla="*/ 15 h 277"/>
                <a:gd name="T12" fmla="*/ 76 w 155"/>
                <a:gd name="T13" fmla="*/ 6 h 277"/>
                <a:gd name="T14" fmla="*/ 62 w 155"/>
                <a:gd name="T15" fmla="*/ 0 h 277"/>
                <a:gd name="T16" fmla="*/ 41 w 155"/>
                <a:gd name="T17" fmla="*/ 13 h 277"/>
                <a:gd name="T18" fmla="*/ 46 w 155"/>
                <a:gd name="T19" fmla="*/ 53 h 277"/>
                <a:gd name="T20" fmla="*/ 23 w 155"/>
                <a:gd name="T21" fmla="*/ 114 h 277"/>
                <a:gd name="T22" fmla="*/ 9 w 155"/>
                <a:gd name="T23" fmla="*/ 146 h 277"/>
                <a:gd name="T24" fmla="*/ 6 w 155"/>
                <a:gd name="T25" fmla="*/ 180 h 277"/>
                <a:gd name="T26" fmla="*/ 23 w 155"/>
                <a:gd name="T27" fmla="*/ 191 h 277"/>
                <a:gd name="T28" fmla="*/ 30 w 155"/>
                <a:gd name="T29" fmla="*/ 228 h 277"/>
                <a:gd name="T30" fmla="*/ 20 w 155"/>
                <a:gd name="T31" fmla="*/ 271 h 277"/>
                <a:gd name="T32" fmla="*/ 52 w 155"/>
                <a:gd name="T33" fmla="*/ 268 h 277"/>
                <a:gd name="T34" fmla="*/ 62 w 155"/>
                <a:gd name="T35" fmla="*/ 276 h 277"/>
                <a:gd name="T36" fmla="*/ 87 w 155"/>
                <a:gd name="T37" fmla="*/ 263 h 277"/>
                <a:gd name="T38" fmla="*/ 85 w 155"/>
                <a:gd name="T39" fmla="*/ 252 h 277"/>
                <a:gd name="T40" fmla="*/ 86 w 155"/>
                <a:gd name="T41" fmla="*/ 237 h 277"/>
                <a:gd name="T42" fmla="*/ 96 w 155"/>
                <a:gd name="T43" fmla="*/ 220 h 277"/>
                <a:gd name="T44" fmla="*/ 110 w 155"/>
                <a:gd name="T45" fmla="*/ 213 h 277"/>
                <a:gd name="T46" fmla="*/ 101 w 155"/>
                <a:gd name="T47" fmla="*/ 206 h 277"/>
                <a:gd name="T48" fmla="*/ 92 w 155"/>
                <a:gd name="T49" fmla="*/ 188 h 277"/>
                <a:gd name="T50" fmla="*/ 114 w 155"/>
                <a:gd name="T51" fmla="*/ 162 h 277"/>
                <a:gd name="T52" fmla="*/ 103 w 155"/>
                <a:gd name="T53" fmla="*/ 152 h 277"/>
                <a:gd name="T54" fmla="*/ 103 w 155"/>
                <a:gd name="T55" fmla="*/ 143 h 277"/>
                <a:gd name="T56" fmla="*/ 87 w 155"/>
                <a:gd name="T57" fmla="*/ 129 h 277"/>
                <a:gd name="T58" fmla="*/ 108 w 155"/>
                <a:gd name="T59" fmla="*/ 128 h 277"/>
                <a:gd name="T60" fmla="*/ 120 w 155"/>
                <a:gd name="T61" fmla="*/ 117 h 277"/>
                <a:gd name="T62" fmla="*/ 116 w 155"/>
                <a:gd name="T63" fmla="*/ 100 h 277"/>
                <a:gd name="T64" fmla="*/ 122 w 155"/>
                <a:gd name="T65" fmla="*/ 93 h 277"/>
                <a:gd name="T66" fmla="*/ 128 w 155"/>
                <a:gd name="T67" fmla="*/ 65 h 277"/>
                <a:gd name="T68" fmla="*/ 120 w 155"/>
                <a:gd name="T69" fmla="*/ 56 h 277"/>
                <a:gd name="T70" fmla="*/ 154 w 155"/>
                <a:gd name="T71" fmla="*/ 29 h 277"/>
                <a:gd name="T72" fmla="*/ 141 w 155"/>
                <a:gd name="T73" fmla="*/ 2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5" h="277">
                  <a:moveTo>
                    <a:pt x="141" y="20"/>
                  </a:moveTo>
                  <a:cubicBezTo>
                    <a:pt x="141" y="20"/>
                    <a:pt x="144" y="9"/>
                    <a:pt x="140" y="7"/>
                  </a:cubicBezTo>
                  <a:cubicBezTo>
                    <a:pt x="136" y="5"/>
                    <a:pt x="120" y="8"/>
                    <a:pt x="111" y="8"/>
                  </a:cubicBezTo>
                  <a:cubicBezTo>
                    <a:pt x="102" y="8"/>
                    <a:pt x="112" y="12"/>
                    <a:pt x="104" y="16"/>
                  </a:cubicBezTo>
                  <a:cubicBezTo>
                    <a:pt x="96" y="20"/>
                    <a:pt x="94" y="11"/>
                    <a:pt x="87" y="11"/>
                  </a:cubicBezTo>
                  <a:cubicBezTo>
                    <a:pt x="80" y="11"/>
                    <a:pt x="76" y="15"/>
                    <a:pt x="70" y="15"/>
                  </a:cubicBezTo>
                  <a:cubicBezTo>
                    <a:pt x="64" y="15"/>
                    <a:pt x="71" y="11"/>
                    <a:pt x="76" y="6"/>
                  </a:cubicBezTo>
                  <a:cubicBezTo>
                    <a:pt x="81" y="1"/>
                    <a:pt x="76" y="0"/>
                    <a:pt x="62" y="0"/>
                  </a:cubicBezTo>
                  <a:cubicBezTo>
                    <a:pt x="53" y="0"/>
                    <a:pt x="46" y="7"/>
                    <a:pt x="41" y="13"/>
                  </a:cubicBezTo>
                  <a:cubicBezTo>
                    <a:pt x="44" y="23"/>
                    <a:pt x="47" y="40"/>
                    <a:pt x="46" y="53"/>
                  </a:cubicBezTo>
                  <a:cubicBezTo>
                    <a:pt x="45" y="74"/>
                    <a:pt x="23" y="114"/>
                    <a:pt x="23" y="114"/>
                  </a:cubicBezTo>
                  <a:cubicBezTo>
                    <a:pt x="9" y="146"/>
                    <a:pt x="9" y="146"/>
                    <a:pt x="9" y="146"/>
                  </a:cubicBezTo>
                  <a:cubicBezTo>
                    <a:pt x="9" y="146"/>
                    <a:pt x="0" y="173"/>
                    <a:pt x="6" y="180"/>
                  </a:cubicBezTo>
                  <a:cubicBezTo>
                    <a:pt x="12" y="187"/>
                    <a:pt x="23" y="191"/>
                    <a:pt x="23" y="191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14" y="270"/>
                    <a:pt x="20" y="271"/>
                  </a:cubicBezTo>
                  <a:cubicBezTo>
                    <a:pt x="26" y="272"/>
                    <a:pt x="52" y="268"/>
                    <a:pt x="52" y="268"/>
                  </a:cubicBezTo>
                  <a:cubicBezTo>
                    <a:pt x="52" y="268"/>
                    <a:pt x="56" y="277"/>
                    <a:pt x="62" y="276"/>
                  </a:cubicBezTo>
                  <a:cubicBezTo>
                    <a:pt x="67" y="275"/>
                    <a:pt x="84" y="265"/>
                    <a:pt x="87" y="263"/>
                  </a:cubicBezTo>
                  <a:cubicBezTo>
                    <a:pt x="85" y="252"/>
                    <a:pt x="85" y="252"/>
                    <a:pt x="85" y="252"/>
                  </a:cubicBezTo>
                  <a:cubicBezTo>
                    <a:pt x="85" y="252"/>
                    <a:pt x="84" y="244"/>
                    <a:pt x="86" y="237"/>
                  </a:cubicBezTo>
                  <a:cubicBezTo>
                    <a:pt x="88" y="230"/>
                    <a:pt x="96" y="220"/>
                    <a:pt x="96" y="220"/>
                  </a:cubicBezTo>
                  <a:cubicBezTo>
                    <a:pt x="96" y="220"/>
                    <a:pt x="106" y="219"/>
                    <a:pt x="110" y="213"/>
                  </a:cubicBezTo>
                  <a:cubicBezTo>
                    <a:pt x="114" y="207"/>
                    <a:pt x="101" y="206"/>
                    <a:pt x="101" y="206"/>
                  </a:cubicBezTo>
                  <a:cubicBezTo>
                    <a:pt x="101" y="206"/>
                    <a:pt x="96" y="192"/>
                    <a:pt x="92" y="188"/>
                  </a:cubicBezTo>
                  <a:cubicBezTo>
                    <a:pt x="88" y="184"/>
                    <a:pt x="112" y="170"/>
                    <a:pt x="114" y="162"/>
                  </a:cubicBezTo>
                  <a:cubicBezTo>
                    <a:pt x="116" y="154"/>
                    <a:pt x="103" y="152"/>
                    <a:pt x="103" y="15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87" y="129"/>
                    <a:pt x="87" y="129"/>
                    <a:pt x="87" y="129"/>
                  </a:cubicBezTo>
                  <a:cubicBezTo>
                    <a:pt x="87" y="129"/>
                    <a:pt x="104" y="129"/>
                    <a:pt x="108" y="128"/>
                  </a:cubicBezTo>
                  <a:cubicBezTo>
                    <a:pt x="112" y="127"/>
                    <a:pt x="120" y="120"/>
                    <a:pt x="120" y="117"/>
                  </a:cubicBezTo>
                  <a:cubicBezTo>
                    <a:pt x="120" y="114"/>
                    <a:pt x="116" y="100"/>
                    <a:pt x="116" y="100"/>
                  </a:cubicBezTo>
                  <a:cubicBezTo>
                    <a:pt x="116" y="100"/>
                    <a:pt x="121" y="96"/>
                    <a:pt x="122" y="93"/>
                  </a:cubicBezTo>
                  <a:cubicBezTo>
                    <a:pt x="123" y="90"/>
                    <a:pt x="128" y="65"/>
                    <a:pt x="128" y="65"/>
                  </a:cubicBezTo>
                  <a:cubicBezTo>
                    <a:pt x="128" y="65"/>
                    <a:pt x="119" y="60"/>
                    <a:pt x="120" y="56"/>
                  </a:cubicBezTo>
                  <a:cubicBezTo>
                    <a:pt x="121" y="52"/>
                    <a:pt x="153" y="37"/>
                    <a:pt x="154" y="29"/>
                  </a:cubicBezTo>
                  <a:cubicBezTo>
                    <a:pt x="155" y="21"/>
                    <a:pt x="141" y="20"/>
                    <a:pt x="141" y="2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44" name="Freeform 324">
              <a:extLst>
                <a:ext uri="{FF2B5EF4-FFF2-40B4-BE49-F238E27FC236}">
                  <a16:creationId xmlns:a16="http://schemas.microsoft.com/office/drawing/2014/main" id="{97E64FAA-4D34-558B-C0CB-EF86E0E2AE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4736" y="-10655"/>
              <a:ext cx="4389" cy="4958"/>
            </a:xfrm>
            <a:custGeom>
              <a:avLst/>
              <a:gdLst>
                <a:gd name="T0" fmla="*/ 1096 w 1858"/>
                <a:gd name="T1" fmla="*/ 350 h 2099"/>
                <a:gd name="T2" fmla="*/ 1201 w 1858"/>
                <a:gd name="T3" fmla="*/ 299 h 2099"/>
                <a:gd name="T4" fmla="*/ 1144 w 1858"/>
                <a:gd name="T5" fmla="*/ 291 h 2099"/>
                <a:gd name="T6" fmla="*/ 1124 w 1858"/>
                <a:gd name="T7" fmla="*/ 270 h 2099"/>
                <a:gd name="T8" fmla="*/ 1087 w 1858"/>
                <a:gd name="T9" fmla="*/ 283 h 2099"/>
                <a:gd name="T10" fmla="*/ 1837 w 1858"/>
                <a:gd name="T11" fmla="*/ 583 h 2099"/>
                <a:gd name="T12" fmla="*/ 1713 w 1858"/>
                <a:gd name="T13" fmla="*/ 532 h 2099"/>
                <a:gd name="T14" fmla="*/ 1445 w 1858"/>
                <a:gd name="T15" fmla="*/ 412 h 2099"/>
                <a:gd name="T16" fmla="*/ 1377 w 1858"/>
                <a:gd name="T17" fmla="*/ 411 h 2099"/>
                <a:gd name="T18" fmla="*/ 1258 w 1858"/>
                <a:gd name="T19" fmla="*/ 316 h 2099"/>
                <a:gd name="T20" fmla="*/ 1154 w 1858"/>
                <a:gd name="T21" fmla="*/ 423 h 2099"/>
                <a:gd name="T22" fmla="*/ 1062 w 1858"/>
                <a:gd name="T23" fmla="*/ 356 h 2099"/>
                <a:gd name="T24" fmla="*/ 1095 w 1858"/>
                <a:gd name="T25" fmla="*/ 270 h 2099"/>
                <a:gd name="T26" fmla="*/ 1063 w 1858"/>
                <a:gd name="T27" fmla="*/ 52 h 2099"/>
                <a:gd name="T28" fmla="*/ 971 w 1858"/>
                <a:gd name="T29" fmla="*/ 160 h 2099"/>
                <a:gd name="T30" fmla="*/ 888 w 1858"/>
                <a:gd name="T31" fmla="*/ 145 h 2099"/>
                <a:gd name="T32" fmla="*/ 807 w 1858"/>
                <a:gd name="T33" fmla="*/ 183 h 2099"/>
                <a:gd name="T34" fmla="*/ 702 w 1858"/>
                <a:gd name="T35" fmla="*/ 221 h 2099"/>
                <a:gd name="T36" fmla="*/ 664 w 1858"/>
                <a:gd name="T37" fmla="*/ 91 h 2099"/>
                <a:gd name="T38" fmla="*/ 641 w 1858"/>
                <a:gd name="T39" fmla="*/ 7 h 2099"/>
                <a:gd name="T40" fmla="*/ 559 w 1858"/>
                <a:gd name="T41" fmla="*/ 64 h 2099"/>
                <a:gd name="T42" fmla="*/ 460 w 1858"/>
                <a:gd name="T43" fmla="*/ 60 h 2099"/>
                <a:gd name="T44" fmla="*/ 493 w 1858"/>
                <a:gd name="T45" fmla="*/ 154 h 2099"/>
                <a:gd name="T46" fmla="*/ 393 w 1858"/>
                <a:gd name="T47" fmla="*/ 251 h 2099"/>
                <a:gd name="T48" fmla="*/ 306 w 1858"/>
                <a:gd name="T49" fmla="*/ 180 h 2099"/>
                <a:gd name="T50" fmla="*/ 191 w 1858"/>
                <a:gd name="T51" fmla="*/ 223 h 2099"/>
                <a:gd name="T52" fmla="*/ 197 w 1858"/>
                <a:gd name="T53" fmla="*/ 313 h 2099"/>
                <a:gd name="T54" fmla="*/ 183 w 1858"/>
                <a:gd name="T55" fmla="*/ 518 h 2099"/>
                <a:gd name="T56" fmla="*/ 66 w 1858"/>
                <a:gd name="T57" fmla="*/ 547 h 2099"/>
                <a:gd name="T58" fmla="*/ 9 w 1858"/>
                <a:gd name="T59" fmla="*/ 674 h 2099"/>
                <a:gd name="T60" fmla="*/ 43 w 1858"/>
                <a:gd name="T61" fmla="*/ 791 h 2099"/>
                <a:gd name="T62" fmla="*/ 170 w 1858"/>
                <a:gd name="T63" fmla="*/ 874 h 2099"/>
                <a:gd name="T64" fmla="*/ 288 w 1858"/>
                <a:gd name="T65" fmla="*/ 859 h 2099"/>
                <a:gd name="T66" fmla="*/ 405 w 1858"/>
                <a:gd name="T67" fmla="*/ 814 h 2099"/>
                <a:gd name="T68" fmla="*/ 442 w 1858"/>
                <a:gd name="T69" fmla="*/ 932 h 2099"/>
                <a:gd name="T70" fmla="*/ 552 w 1858"/>
                <a:gd name="T71" fmla="*/ 986 h 2099"/>
                <a:gd name="T72" fmla="*/ 675 w 1858"/>
                <a:gd name="T73" fmla="*/ 1092 h 2099"/>
                <a:gd name="T74" fmla="*/ 816 w 1858"/>
                <a:gd name="T75" fmla="*/ 1262 h 2099"/>
                <a:gd name="T76" fmla="*/ 810 w 1858"/>
                <a:gd name="T77" fmla="*/ 1406 h 2099"/>
                <a:gd name="T78" fmla="*/ 987 w 1858"/>
                <a:gd name="T79" fmla="*/ 1564 h 2099"/>
                <a:gd name="T80" fmla="*/ 1043 w 1858"/>
                <a:gd name="T81" fmla="*/ 1690 h 2099"/>
                <a:gd name="T82" fmla="*/ 969 w 1858"/>
                <a:gd name="T83" fmla="*/ 1810 h 2099"/>
                <a:gd name="T84" fmla="*/ 915 w 1858"/>
                <a:gd name="T85" fmla="*/ 1912 h 2099"/>
                <a:gd name="T86" fmla="*/ 1049 w 1858"/>
                <a:gd name="T87" fmla="*/ 1978 h 2099"/>
                <a:gd name="T88" fmla="*/ 1118 w 1858"/>
                <a:gd name="T89" fmla="*/ 2099 h 2099"/>
                <a:gd name="T90" fmla="*/ 1165 w 1858"/>
                <a:gd name="T91" fmla="*/ 1984 h 2099"/>
                <a:gd name="T92" fmla="*/ 1208 w 1858"/>
                <a:gd name="T93" fmla="*/ 1956 h 2099"/>
                <a:gd name="T94" fmla="*/ 1200 w 1858"/>
                <a:gd name="T95" fmla="*/ 1987 h 2099"/>
                <a:gd name="T96" fmla="*/ 1294 w 1858"/>
                <a:gd name="T97" fmla="*/ 1764 h 2099"/>
                <a:gd name="T98" fmla="*/ 1279 w 1858"/>
                <a:gd name="T99" fmla="*/ 1678 h 2099"/>
                <a:gd name="T100" fmla="*/ 1311 w 1858"/>
                <a:gd name="T101" fmla="*/ 1617 h 2099"/>
                <a:gd name="T102" fmla="*/ 1412 w 1858"/>
                <a:gd name="T103" fmla="*/ 1561 h 2099"/>
                <a:gd name="T104" fmla="*/ 1459 w 1858"/>
                <a:gd name="T105" fmla="*/ 1519 h 2099"/>
                <a:gd name="T106" fmla="*/ 1571 w 1858"/>
                <a:gd name="T107" fmla="*/ 1506 h 2099"/>
                <a:gd name="T108" fmla="*/ 1629 w 1858"/>
                <a:gd name="T109" fmla="*/ 1372 h 2099"/>
                <a:gd name="T110" fmla="*/ 1671 w 1858"/>
                <a:gd name="T111" fmla="*/ 1213 h 2099"/>
                <a:gd name="T112" fmla="*/ 1674 w 1858"/>
                <a:gd name="T113" fmla="*/ 972 h 2099"/>
                <a:gd name="T114" fmla="*/ 1782 w 1858"/>
                <a:gd name="T115" fmla="*/ 855 h 20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58" h="2099">
                  <a:moveTo>
                    <a:pt x="1146" y="299"/>
                  </a:moveTo>
                  <a:cubicBezTo>
                    <a:pt x="1140" y="298"/>
                    <a:pt x="1112" y="291"/>
                    <a:pt x="1102" y="293"/>
                  </a:cubicBezTo>
                  <a:cubicBezTo>
                    <a:pt x="1092" y="295"/>
                    <a:pt x="1103" y="318"/>
                    <a:pt x="1103" y="318"/>
                  </a:cubicBezTo>
                  <a:cubicBezTo>
                    <a:pt x="1092" y="320"/>
                    <a:pt x="1092" y="320"/>
                    <a:pt x="1092" y="320"/>
                  </a:cubicBezTo>
                  <a:cubicBezTo>
                    <a:pt x="1092" y="336"/>
                    <a:pt x="1092" y="336"/>
                    <a:pt x="1092" y="336"/>
                  </a:cubicBezTo>
                  <a:cubicBezTo>
                    <a:pt x="1106" y="342"/>
                    <a:pt x="1106" y="342"/>
                    <a:pt x="1106" y="342"/>
                  </a:cubicBezTo>
                  <a:cubicBezTo>
                    <a:pt x="1096" y="350"/>
                    <a:pt x="1096" y="350"/>
                    <a:pt x="1096" y="350"/>
                  </a:cubicBezTo>
                  <a:cubicBezTo>
                    <a:pt x="1096" y="350"/>
                    <a:pt x="1099" y="366"/>
                    <a:pt x="1105" y="376"/>
                  </a:cubicBezTo>
                  <a:cubicBezTo>
                    <a:pt x="1112" y="386"/>
                    <a:pt x="1132" y="380"/>
                    <a:pt x="1139" y="380"/>
                  </a:cubicBezTo>
                  <a:cubicBezTo>
                    <a:pt x="1145" y="380"/>
                    <a:pt x="1144" y="372"/>
                    <a:pt x="1144" y="372"/>
                  </a:cubicBezTo>
                  <a:cubicBezTo>
                    <a:pt x="1144" y="372"/>
                    <a:pt x="1157" y="368"/>
                    <a:pt x="1168" y="368"/>
                  </a:cubicBezTo>
                  <a:cubicBezTo>
                    <a:pt x="1179" y="368"/>
                    <a:pt x="1186" y="355"/>
                    <a:pt x="1186" y="355"/>
                  </a:cubicBezTo>
                  <a:cubicBezTo>
                    <a:pt x="1195" y="326"/>
                    <a:pt x="1195" y="326"/>
                    <a:pt x="1195" y="326"/>
                  </a:cubicBezTo>
                  <a:cubicBezTo>
                    <a:pt x="1195" y="326"/>
                    <a:pt x="1202" y="312"/>
                    <a:pt x="1201" y="299"/>
                  </a:cubicBezTo>
                  <a:cubicBezTo>
                    <a:pt x="1200" y="286"/>
                    <a:pt x="1180" y="291"/>
                    <a:pt x="1169" y="291"/>
                  </a:cubicBezTo>
                  <a:cubicBezTo>
                    <a:pt x="1169" y="291"/>
                    <a:pt x="1153" y="300"/>
                    <a:pt x="1146" y="299"/>
                  </a:cubicBezTo>
                  <a:close/>
                  <a:moveTo>
                    <a:pt x="1144" y="291"/>
                  </a:moveTo>
                  <a:cubicBezTo>
                    <a:pt x="1159" y="286"/>
                    <a:pt x="1159" y="286"/>
                    <a:pt x="1159" y="286"/>
                  </a:cubicBezTo>
                  <a:cubicBezTo>
                    <a:pt x="1147" y="275"/>
                    <a:pt x="1147" y="275"/>
                    <a:pt x="1147" y="275"/>
                  </a:cubicBezTo>
                  <a:cubicBezTo>
                    <a:pt x="1132" y="292"/>
                    <a:pt x="1132" y="292"/>
                    <a:pt x="1132" y="292"/>
                  </a:cubicBezTo>
                  <a:lnTo>
                    <a:pt x="1144" y="291"/>
                  </a:lnTo>
                  <a:close/>
                  <a:moveTo>
                    <a:pt x="1124" y="270"/>
                  </a:moveTo>
                  <a:cubicBezTo>
                    <a:pt x="1110" y="271"/>
                    <a:pt x="1110" y="271"/>
                    <a:pt x="1110" y="271"/>
                  </a:cubicBezTo>
                  <a:cubicBezTo>
                    <a:pt x="1109" y="282"/>
                    <a:pt x="1109" y="282"/>
                    <a:pt x="1109" y="282"/>
                  </a:cubicBezTo>
                  <a:cubicBezTo>
                    <a:pt x="1131" y="283"/>
                    <a:pt x="1131" y="283"/>
                    <a:pt x="1131" y="283"/>
                  </a:cubicBezTo>
                  <a:cubicBezTo>
                    <a:pt x="1143" y="266"/>
                    <a:pt x="1143" y="266"/>
                    <a:pt x="1143" y="266"/>
                  </a:cubicBezTo>
                  <a:cubicBezTo>
                    <a:pt x="1134" y="255"/>
                    <a:pt x="1134" y="255"/>
                    <a:pt x="1134" y="255"/>
                  </a:cubicBezTo>
                  <a:lnTo>
                    <a:pt x="1124" y="270"/>
                  </a:lnTo>
                  <a:close/>
                  <a:moveTo>
                    <a:pt x="1050" y="326"/>
                  </a:moveTo>
                  <a:cubicBezTo>
                    <a:pt x="1047" y="340"/>
                    <a:pt x="1047" y="340"/>
                    <a:pt x="1047" y="340"/>
                  </a:cubicBezTo>
                  <a:cubicBezTo>
                    <a:pt x="1037" y="363"/>
                    <a:pt x="1037" y="363"/>
                    <a:pt x="1037" y="363"/>
                  </a:cubicBezTo>
                  <a:cubicBezTo>
                    <a:pt x="1057" y="351"/>
                    <a:pt x="1057" y="351"/>
                    <a:pt x="1057" y="351"/>
                  </a:cubicBezTo>
                  <a:cubicBezTo>
                    <a:pt x="1057" y="351"/>
                    <a:pt x="1079" y="321"/>
                    <a:pt x="1071" y="316"/>
                  </a:cubicBezTo>
                  <a:cubicBezTo>
                    <a:pt x="1062" y="310"/>
                    <a:pt x="1050" y="326"/>
                    <a:pt x="1050" y="326"/>
                  </a:cubicBezTo>
                  <a:close/>
                  <a:moveTo>
                    <a:pt x="1087" y="283"/>
                  </a:moveTo>
                  <a:cubicBezTo>
                    <a:pt x="1074" y="299"/>
                    <a:pt x="1074" y="299"/>
                    <a:pt x="1074" y="299"/>
                  </a:cubicBezTo>
                  <a:cubicBezTo>
                    <a:pt x="1085" y="304"/>
                    <a:pt x="1085" y="304"/>
                    <a:pt x="1085" y="304"/>
                  </a:cubicBezTo>
                  <a:cubicBezTo>
                    <a:pt x="1096" y="287"/>
                    <a:pt x="1096" y="287"/>
                    <a:pt x="1096" y="287"/>
                  </a:cubicBezTo>
                  <a:lnTo>
                    <a:pt x="1087" y="283"/>
                  </a:lnTo>
                  <a:close/>
                  <a:moveTo>
                    <a:pt x="1855" y="667"/>
                  </a:moveTo>
                  <a:cubicBezTo>
                    <a:pt x="1855" y="650"/>
                    <a:pt x="1839" y="626"/>
                    <a:pt x="1838" y="615"/>
                  </a:cubicBezTo>
                  <a:cubicBezTo>
                    <a:pt x="1837" y="604"/>
                    <a:pt x="1837" y="592"/>
                    <a:pt x="1837" y="583"/>
                  </a:cubicBezTo>
                  <a:cubicBezTo>
                    <a:pt x="1837" y="574"/>
                    <a:pt x="1819" y="558"/>
                    <a:pt x="1819" y="558"/>
                  </a:cubicBezTo>
                  <a:cubicBezTo>
                    <a:pt x="1798" y="554"/>
                    <a:pt x="1798" y="554"/>
                    <a:pt x="1798" y="554"/>
                  </a:cubicBezTo>
                  <a:cubicBezTo>
                    <a:pt x="1764" y="559"/>
                    <a:pt x="1764" y="559"/>
                    <a:pt x="1764" y="559"/>
                  </a:cubicBezTo>
                  <a:cubicBezTo>
                    <a:pt x="1753" y="549"/>
                    <a:pt x="1753" y="549"/>
                    <a:pt x="1753" y="549"/>
                  </a:cubicBezTo>
                  <a:cubicBezTo>
                    <a:pt x="1740" y="548"/>
                    <a:pt x="1740" y="548"/>
                    <a:pt x="1740" y="548"/>
                  </a:cubicBezTo>
                  <a:cubicBezTo>
                    <a:pt x="1728" y="533"/>
                    <a:pt x="1728" y="533"/>
                    <a:pt x="1728" y="533"/>
                  </a:cubicBezTo>
                  <a:cubicBezTo>
                    <a:pt x="1713" y="532"/>
                    <a:pt x="1713" y="532"/>
                    <a:pt x="1713" y="532"/>
                  </a:cubicBezTo>
                  <a:cubicBezTo>
                    <a:pt x="1713" y="532"/>
                    <a:pt x="1695" y="512"/>
                    <a:pt x="1678" y="491"/>
                  </a:cubicBezTo>
                  <a:cubicBezTo>
                    <a:pt x="1661" y="470"/>
                    <a:pt x="1612" y="439"/>
                    <a:pt x="1596" y="438"/>
                  </a:cubicBezTo>
                  <a:cubicBezTo>
                    <a:pt x="1580" y="437"/>
                    <a:pt x="1547" y="439"/>
                    <a:pt x="1547" y="439"/>
                  </a:cubicBezTo>
                  <a:cubicBezTo>
                    <a:pt x="1547" y="449"/>
                    <a:pt x="1547" y="449"/>
                    <a:pt x="1547" y="449"/>
                  </a:cubicBezTo>
                  <a:cubicBezTo>
                    <a:pt x="1547" y="449"/>
                    <a:pt x="1532" y="439"/>
                    <a:pt x="1525" y="436"/>
                  </a:cubicBezTo>
                  <a:cubicBezTo>
                    <a:pt x="1518" y="433"/>
                    <a:pt x="1492" y="432"/>
                    <a:pt x="1492" y="432"/>
                  </a:cubicBezTo>
                  <a:cubicBezTo>
                    <a:pt x="1492" y="432"/>
                    <a:pt x="1464" y="415"/>
                    <a:pt x="1445" y="412"/>
                  </a:cubicBezTo>
                  <a:cubicBezTo>
                    <a:pt x="1426" y="409"/>
                    <a:pt x="1406" y="442"/>
                    <a:pt x="1406" y="442"/>
                  </a:cubicBezTo>
                  <a:cubicBezTo>
                    <a:pt x="1395" y="429"/>
                    <a:pt x="1395" y="429"/>
                    <a:pt x="1395" y="429"/>
                  </a:cubicBezTo>
                  <a:cubicBezTo>
                    <a:pt x="1395" y="451"/>
                    <a:pt x="1395" y="451"/>
                    <a:pt x="1395" y="451"/>
                  </a:cubicBezTo>
                  <a:cubicBezTo>
                    <a:pt x="1375" y="466"/>
                    <a:pt x="1375" y="466"/>
                    <a:pt x="1375" y="466"/>
                  </a:cubicBezTo>
                  <a:cubicBezTo>
                    <a:pt x="1386" y="422"/>
                    <a:pt x="1386" y="422"/>
                    <a:pt x="1386" y="422"/>
                  </a:cubicBezTo>
                  <a:cubicBezTo>
                    <a:pt x="1386" y="422"/>
                    <a:pt x="1404" y="412"/>
                    <a:pt x="1397" y="402"/>
                  </a:cubicBezTo>
                  <a:cubicBezTo>
                    <a:pt x="1390" y="392"/>
                    <a:pt x="1377" y="411"/>
                    <a:pt x="1377" y="411"/>
                  </a:cubicBezTo>
                  <a:cubicBezTo>
                    <a:pt x="1386" y="389"/>
                    <a:pt x="1386" y="389"/>
                    <a:pt x="1386" y="389"/>
                  </a:cubicBezTo>
                  <a:cubicBezTo>
                    <a:pt x="1386" y="389"/>
                    <a:pt x="1377" y="388"/>
                    <a:pt x="1378" y="381"/>
                  </a:cubicBezTo>
                  <a:cubicBezTo>
                    <a:pt x="1379" y="374"/>
                    <a:pt x="1358" y="365"/>
                    <a:pt x="1358" y="365"/>
                  </a:cubicBezTo>
                  <a:cubicBezTo>
                    <a:pt x="1350" y="377"/>
                    <a:pt x="1350" y="377"/>
                    <a:pt x="1350" y="377"/>
                  </a:cubicBezTo>
                  <a:cubicBezTo>
                    <a:pt x="1350" y="377"/>
                    <a:pt x="1337" y="360"/>
                    <a:pt x="1327" y="350"/>
                  </a:cubicBezTo>
                  <a:cubicBezTo>
                    <a:pt x="1317" y="340"/>
                    <a:pt x="1290" y="342"/>
                    <a:pt x="1286" y="338"/>
                  </a:cubicBezTo>
                  <a:cubicBezTo>
                    <a:pt x="1282" y="334"/>
                    <a:pt x="1258" y="316"/>
                    <a:pt x="1258" y="316"/>
                  </a:cubicBezTo>
                  <a:cubicBezTo>
                    <a:pt x="1252" y="324"/>
                    <a:pt x="1252" y="324"/>
                    <a:pt x="1252" y="324"/>
                  </a:cubicBezTo>
                  <a:cubicBezTo>
                    <a:pt x="1252" y="324"/>
                    <a:pt x="1231" y="323"/>
                    <a:pt x="1221" y="322"/>
                  </a:cubicBezTo>
                  <a:cubicBezTo>
                    <a:pt x="1211" y="321"/>
                    <a:pt x="1203" y="356"/>
                    <a:pt x="1203" y="356"/>
                  </a:cubicBezTo>
                  <a:cubicBezTo>
                    <a:pt x="1210" y="368"/>
                    <a:pt x="1210" y="368"/>
                    <a:pt x="1210" y="368"/>
                  </a:cubicBezTo>
                  <a:cubicBezTo>
                    <a:pt x="1210" y="368"/>
                    <a:pt x="1196" y="369"/>
                    <a:pt x="1188" y="369"/>
                  </a:cubicBezTo>
                  <a:cubicBezTo>
                    <a:pt x="1180" y="369"/>
                    <a:pt x="1168" y="391"/>
                    <a:pt x="1168" y="391"/>
                  </a:cubicBezTo>
                  <a:cubicBezTo>
                    <a:pt x="1168" y="391"/>
                    <a:pt x="1161" y="424"/>
                    <a:pt x="1154" y="423"/>
                  </a:cubicBezTo>
                  <a:cubicBezTo>
                    <a:pt x="1147" y="422"/>
                    <a:pt x="1163" y="397"/>
                    <a:pt x="1160" y="386"/>
                  </a:cubicBezTo>
                  <a:cubicBezTo>
                    <a:pt x="1157" y="375"/>
                    <a:pt x="1137" y="396"/>
                    <a:pt x="1137" y="396"/>
                  </a:cubicBezTo>
                  <a:cubicBezTo>
                    <a:pt x="1130" y="390"/>
                    <a:pt x="1130" y="390"/>
                    <a:pt x="1130" y="390"/>
                  </a:cubicBezTo>
                  <a:cubicBezTo>
                    <a:pt x="1130" y="390"/>
                    <a:pt x="1109" y="395"/>
                    <a:pt x="1098" y="388"/>
                  </a:cubicBezTo>
                  <a:cubicBezTo>
                    <a:pt x="1087" y="381"/>
                    <a:pt x="1089" y="371"/>
                    <a:pt x="1089" y="358"/>
                  </a:cubicBezTo>
                  <a:cubicBezTo>
                    <a:pt x="1089" y="345"/>
                    <a:pt x="1084" y="337"/>
                    <a:pt x="1084" y="337"/>
                  </a:cubicBezTo>
                  <a:cubicBezTo>
                    <a:pt x="1077" y="330"/>
                    <a:pt x="1062" y="356"/>
                    <a:pt x="1062" y="356"/>
                  </a:cubicBezTo>
                  <a:cubicBezTo>
                    <a:pt x="1062" y="356"/>
                    <a:pt x="1041" y="371"/>
                    <a:pt x="1029" y="373"/>
                  </a:cubicBezTo>
                  <a:cubicBezTo>
                    <a:pt x="1017" y="375"/>
                    <a:pt x="1003" y="368"/>
                    <a:pt x="1003" y="368"/>
                  </a:cubicBezTo>
                  <a:cubicBezTo>
                    <a:pt x="1029" y="360"/>
                    <a:pt x="1029" y="360"/>
                    <a:pt x="1029" y="360"/>
                  </a:cubicBezTo>
                  <a:cubicBezTo>
                    <a:pt x="1029" y="360"/>
                    <a:pt x="1039" y="348"/>
                    <a:pt x="1042" y="343"/>
                  </a:cubicBezTo>
                  <a:cubicBezTo>
                    <a:pt x="1045" y="338"/>
                    <a:pt x="1044" y="326"/>
                    <a:pt x="1044" y="326"/>
                  </a:cubicBezTo>
                  <a:cubicBezTo>
                    <a:pt x="1044" y="326"/>
                    <a:pt x="1053" y="320"/>
                    <a:pt x="1057" y="308"/>
                  </a:cubicBezTo>
                  <a:cubicBezTo>
                    <a:pt x="1061" y="296"/>
                    <a:pt x="1085" y="277"/>
                    <a:pt x="1095" y="270"/>
                  </a:cubicBezTo>
                  <a:cubicBezTo>
                    <a:pt x="1105" y="263"/>
                    <a:pt x="1107" y="254"/>
                    <a:pt x="1111" y="245"/>
                  </a:cubicBezTo>
                  <a:cubicBezTo>
                    <a:pt x="1115" y="236"/>
                    <a:pt x="1136" y="223"/>
                    <a:pt x="1136" y="223"/>
                  </a:cubicBezTo>
                  <a:cubicBezTo>
                    <a:pt x="1123" y="221"/>
                    <a:pt x="1123" y="221"/>
                    <a:pt x="1123" y="221"/>
                  </a:cubicBezTo>
                  <a:cubicBezTo>
                    <a:pt x="1123" y="221"/>
                    <a:pt x="1135" y="215"/>
                    <a:pt x="1135" y="199"/>
                  </a:cubicBezTo>
                  <a:cubicBezTo>
                    <a:pt x="1135" y="183"/>
                    <a:pt x="1108" y="192"/>
                    <a:pt x="1098" y="181"/>
                  </a:cubicBezTo>
                  <a:cubicBezTo>
                    <a:pt x="1088" y="170"/>
                    <a:pt x="1088" y="147"/>
                    <a:pt x="1084" y="110"/>
                  </a:cubicBezTo>
                  <a:cubicBezTo>
                    <a:pt x="1080" y="73"/>
                    <a:pt x="1072" y="55"/>
                    <a:pt x="1063" y="52"/>
                  </a:cubicBezTo>
                  <a:cubicBezTo>
                    <a:pt x="1054" y="49"/>
                    <a:pt x="1060" y="68"/>
                    <a:pt x="1060" y="72"/>
                  </a:cubicBezTo>
                  <a:cubicBezTo>
                    <a:pt x="1060" y="76"/>
                    <a:pt x="1050" y="71"/>
                    <a:pt x="1048" y="66"/>
                  </a:cubicBezTo>
                  <a:cubicBezTo>
                    <a:pt x="1048" y="66"/>
                    <a:pt x="1043" y="83"/>
                    <a:pt x="1036" y="89"/>
                  </a:cubicBezTo>
                  <a:cubicBezTo>
                    <a:pt x="1029" y="95"/>
                    <a:pt x="1020" y="110"/>
                    <a:pt x="1017" y="120"/>
                  </a:cubicBezTo>
                  <a:cubicBezTo>
                    <a:pt x="1014" y="130"/>
                    <a:pt x="1013" y="149"/>
                    <a:pt x="996" y="163"/>
                  </a:cubicBezTo>
                  <a:cubicBezTo>
                    <a:pt x="996" y="163"/>
                    <a:pt x="981" y="169"/>
                    <a:pt x="975" y="169"/>
                  </a:cubicBezTo>
                  <a:cubicBezTo>
                    <a:pt x="975" y="168"/>
                    <a:pt x="971" y="160"/>
                    <a:pt x="971" y="160"/>
                  </a:cubicBezTo>
                  <a:cubicBezTo>
                    <a:pt x="967" y="165"/>
                    <a:pt x="967" y="165"/>
                    <a:pt x="967" y="165"/>
                  </a:cubicBezTo>
                  <a:cubicBezTo>
                    <a:pt x="957" y="163"/>
                    <a:pt x="957" y="163"/>
                    <a:pt x="957" y="163"/>
                  </a:cubicBezTo>
                  <a:cubicBezTo>
                    <a:pt x="957" y="163"/>
                    <a:pt x="953" y="155"/>
                    <a:pt x="947" y="161"/>
                  </a:cubicBezTo>
                  <a:cubicBezTo>
                    <a:pt x="941" y="167"/>
                    <a:pt x="943" y="173"/>
                    <a:pt x="929" y="172"/>
                  </a:cubicBezTo>
                  <a:cubicBezTo>
                    <a:pt x="915" y="171"/>
                    <a:pt x="913" y="161"/>
                    <a:pt x="913" y="161"/>
                  </a:cubicBezTo>
                  <a:cubicBezTo>
                    <a:pt x="900" y="155"/>
                    <a:pt x="900" y="155"/>
                    <a:pt x="900" y="155"/>
                  </a:cubicBezTo>
                  <a:cubicBezTo>
                    <a:pt x="900" y="155"/>
                    <a:pt x="896" y="144"/>
                    <a:pt x="888" y="145"/>
                  </a:cubicBezTo>
                  <a:cubicBezTo>
                    <a:pt x="880" y="146"/>
                    <a:pt x="871" y="157"/>
                    <a:pt x="871" y="157"/>
                  </a:cubicBezTo>
                  <a:cubicBezTo>
                    <a:pt x="853" y="157"/>
                    <a:pt x="853" y="157"/>
                    <a:pt x="853" y="157"/>
                  </a:cubicBezTo>
                  <a:cubicBezTo>
                    <a:pt x="853" y="157"/>
                    <a:pt x="854" y="148"/>
                    <a:pt x="848" y="149"/>
                  </a:cubicBezTo>
                  <a:cubicBezTo>
                    <a:pt x="842" y="150"/>
                    <a:pt x="838" y="160"/>
                    <a:pt x="841" y="166"/>
                  </a:cubicBezTo>
                  <a:cubicBezTo>
                    <a:pt x="844" y="172"/>
                    <a:pt x="858" y="182"/>
                    <a:pt x="849" y="186"/>
                  </a:cubicBezTo>
                  <a:cubicBezTo>
                    <a:pt x="840" y="190"/>
                    <a:pt x="811" y="174"/>
                    <a:pt x="811" y="174"/>
                  </a:cubicBezTo>
                  <a:cubicBezTo>
                    <a:pt x="811" y="174"/>
                    <a:pt x="815" y="181"/>
                    <a:pt x="807" y="183"/>
                  </a:cubicBezTo>
                  <a:cubicBezTo>
                    <a:pt x="799" y="185"/>
                    <a:pt x="797" y="174"/>
                    <a:pt x="787" y="175"/>
                  </a:cubicBezTo>
                  <a:cubicBezTo>
                    <a:pt x="777" y="176"/>
                    <a:pt x="773" y="192"/>
                    <a:pt x="773" y="192"/>
                  </a:cubicBezTo>
                  <a:cubicBezTo>
                    <a:pt x="752" y="193"/>
                    <a:pt x="752" y="193"/>
                    <a:pt x="752" y="193"/>
                  </a:cubicBezTo>
                  <a:cubicBezTo>
                    <a:pt x="751" y="201"/>
                    <a:pt x="751" y="201"/>
                    <a:pt x="751" y="201"/>
                  </a:cubicBezTo>
                  <a:cubicBezTo>
                    <a:pt x="751" y="201"/>
                    <a:pt x="739" y="198"/>
                    <a:pt x="733" y="202"/>
                  </a:cubicBezTo>
                  <a:cubicBezTo>
                    <a:pt x="727" y="206"/>
                    <a:pt x="732" y="219"/>
                    <a:pt x="722" y="220"/>
                  </a:cubicBezTo>
                  <a:cubicBezTo>
                    <a:pt x="712" y="221"/>
                    <a:pt x="702" y="221"/>
                    <a:pt x="702" y="221"/>
                  </a:cubicBezTo>
                  <a:cubicBezTo>
                    <a:pt x="698" y="210"/>
                    <a:pt x="698" y="210"/>
                    <a:pt x="698" y="210"/>
                  </a:cubicBezTo>
                  <a:cubicBezTo>
                    <a:pt x="689" y="210"/>
                    <a:pt x="689" y="210"/>
                    <a:pt x="689" y="210"/>
                  </a:cubicBezTo>
                  <a:cubicBezTo>
                    <a:pt x="668" y="186"/>
                    <a:pt x="668" y="186"/>
                    <a:pt x="668" y="186"/>
                  </a:cubicBezTo>
                  <a:cubicBezTo>
                    <a:pt x="668" y="186"/>
                    <a:pt x="668" y="174"/>
                    <a:pt x="668" y="166"/>
                  </a:cubicBezTo>
                  <a:cubicBezTo>
                    <a:pt x="668" y="158"/>
                    <a:pt x="651" y="155"/>
                    <a:pt x="651" y="145"/>
                  </a:cubicBezTo>
                  <a:cubicBezTo>
                    <a:pt x="651" y="135"/>
                    <a:pt x="659" y="119"/>
                    <a:pt x="659" y="119"/>
                  </a:cubicBezTo>
                  <a:cubicBezTo>
                    <a:pt x="664" y="91"/>
                    <a:pt x="664" y="91"/>
                    <a:pt x="664" y="91"/>
                  </a:cubicBezTo>
                  <a:cubicBezTo>
                    <a:pt x="664" y="91"/>
                    <a:pt x="677" y="79"/>
                    <a:pt x="678" y="73"/>
                  </a:cubicBezTo>
                  <a:cubicBezTo>
                    <a:pt x="679" y="67"/>
                    <a:pt x="670" y="63"/>
                    <a:pt x="670" y="63"/>
                  </a:cubicBezTo>
                  <a:cubicBezTo>
                    <a:pt x="671" y="44"/>
                    <a:pt x="671" y="44"/>
                    <a:pt x="671" y="44"/>
                  </a:cubicBezTo>
                  <a:cubicBezTo>
                    <a:pt x="671" y="44"/>
                    <a:pt x="649" y="50"/>
                    <a:pt x="649" y="41"/>
                  </a:cubicBezTo>
                  <a:cubicBezTo>
                    <a:pt x="649" y="41"/>
                    <a:pt x="661" y="29"/>
                    <a:pt x="658" y="15"/>
                  </a:cubicBezTo>
                  <a:cubicBezTo>
                    <a:pt x="655" y="1"/>
                    <a:pt x="646" y="0"/>
                    <a:pt x="646" y="0"/>
                  </a:cubicBezTo>
                  <a:cubicBezTo>
                    <a:pt x="641" y="7"/>
                    <a:pt x="641" y="7"/>
                    <a:pt x="641" y="7"/>
                  </a:cubicBezTo>
                  <a:cubicBezTo>
                    <a:pt x="625" y="5"/>
                    <a:pt x="625" y="5"/>
                    <a:pt x="625" y="5"/>
                  </a:cubicBezTo>
                  <a:cubicBezTo>
                    <a:pt x="625" y="5"/>
                    <a:pt x="631" y="19"/>
                    <a:pt x="627" y="26"/>
                  </a:cubicBezTo>
                  <a:cubicBezTo>
                    <a:pt x="623" y="33"/>
                    <a:pt x="612" y="31"/>
                    <a:pt x="612" y="31"/>
                  </a:cubicBezTo>
                  <a:cubicBezTo>
                    <a:pt x="614" y="41"/>
                    <a:pt x="614" y="41"/>
                    <a:pt x="614" y="41"/>
                  </a:cubicBezTo>
                  <a:cubicBezTo>
                    <a:pt x="596" y="40"/>
                    <a:pt x="596" y="40"/>
                    <a:pt x="596" y="40"/>
                  </a:cubicBezTo>
                  <a:cubicBezTo>
                    <a:pt x="596" y="40"/>
                    <a:pt x="584" y="45"/>
                    <a:pt x="582" y="51"/>
                  </a:cubicBezTo>
                  <a:cubicBezTo>
                    <a:pt x="580" y="57"/>
                    <a:pt x="566" y="64"/>
                    <a:pt x="559" y="64"/>
                  </a:cubicBezTo>
                  <a:cubicBezTo>
                    <a:pt x="552" y="64"/>
                    <a:pt x="546" y="56"/>
                    <a:pt x="538" y="59"/>
                  </a:cubicBezTo>
                  <a:cubicBezTo>
                    <a:pt x="530" y="62"/>
                    <a:pt x="533" y="96"/>
                    <a:pt x="524" y="96"/>
                  </a:cubicBezTo>
                  <a:cubicBezTo>
                    <a:pt x="515" y="96"/>
                    <a:pt x="504" y="77"/>
                    <a:pt x="500" y="73"/>
                  </a:cubicBezTo>
                  <a:cubicBezTo>
                    <a:pt x="496" y="69"/>
                    <a:pt x="491" y="77"/>
                    <a:pt x="491" y="77"/>
                  </a:cubicBezTo>
                  <a:cubicBezTo>
                    <a:pt x="481" y="71"/>
                    <a:pt x="481" y="71"/>
                    <a:pt x="481" y="71"/>
                  </a:cubicBezTo>
                  <a:cubicBezTo>
                    <a:pt x="481" y="71"/>
                    <a:pt x="469" y="79"/>
                    <a:pt x="467" y="76"/>
                  </a:cubicBezTo>
                  <a:cubicBezTo>
                    <a:pt x="465" y="73"/>
                    <a:pt x="471" y="64"/>
                    <a:pt x="460" y="60"/>
                  </a:cubicBezTo>
                  <a:cubicBezTo>
                    <a:pt x="449" y="56"/>
                    <a:pt x="440" y="64"/>
                    <a:pt x="437" y="61"/>
                  </a:cubicBezTo>
                  <a:cubicBezTo>
                    <a:pt x="434" y="58"/>
                    <a:pt x="431" y="52"/>
                    <a:pt x="431" y="52"/>
                  </a:cubicBezTo>
                  <a:cubicBezTo>
                    <a:pt x="431" y="52"/>
                    <a:pt x="421" y="71"/>
                    <a:pt x="443" y="82"/>
                  </a:cubicBezTo>
                  <a:cubicBezTo>
                    <a:pt x="465" y="93"/>
                    <a:pt x="450" y="117"/>
                    <a:pt x="450" y="117"/>
                  </a:cubicBezTo>
                  <a:cubicBezTo>
                    <a:pt x="450" y="117"/>
                    <a:pt x="463" y="128"/>
                    <a:pt x="463" y="135"/>
                  </a:cubicBezTo>
                  <a:cubicBezTo>
                    <a:pt x="463" y="142"/>
                    <a:pt x="463" y="151"/>
                    <a:pt x="463" y="151"/>
                  </a:cubicBezTo>
                  <a:cubicBezTo>
                    <a:pt x="493" y="154"/>
                    <a:pt x="493" y="154"/>
                    <a:pt x="493" y="154"/>
                  </a:cubicBezTo>
                  <a:cubicBezTo>
                    <a:pt x="493" y="154"/>
                    <a:pt x="500" y="168"/>
                    <a:pt x="488" y="174"/>
                  </a:cubicBezTo>
                  <a:cubicBezTo>
                    <a:pt x="476" y="180"/>
                    <a:pt x="463" y="177"/>
                    <a:pt x="463" y="177"/>
                  </a:cubicBezTo>
                  <a:cubicBezTo>
                    <a:pt x="463" y="177"/>
                    <a:pt x="464" y="202"/>
                    <a:pt x="451" y="206"/>
                  </a:cubicBezTo>
                  <a:cubicBezTo>
                    <a:pt x="438" y="210"/>
                    <a:pt x="433" y="214"/>
                    <a:pt x="433" y="214"/>
                  </a:cubicBezTo>
                  <a:cubicBezTo>
                    <a:pt x="431" y="220"/>
                    <a:pt x="431" y="220"/>
                    <a:pt x="431" y="220"/>
                  </a:cubicBezTo>
                  <a:cubicBezTo>
                    <a:pt x="431" y="220"/>
                    <a:pt x="419" y="218"/>
                    <a:pt x="413" y="222"/>
                  </a:cubicBezTo>
                  <a:cubicBezTo>
                    <a:pt x="407" y="226"/>
                    <a:pt x="401" y="251"/>
                    <a:pt x="393" y="251"/>
                  </a:cubicBezTo>
                  <a:cubicBezTo>
                    <a:pt x="385" y="251"/>
                    <a:pt x="396" y="234"/>
                    <a:pt x="387" y="232"/>
                  </a:cubicBezTo>
                  <a:cubicBezTo>
                    <a:pt x="378" y="230"/>
                    <a:pt x="367" y="252"/>
                    <a:pt x="357" y="246"/>
                  </a:cubicBezTo>
                  <a:cubicBezTo>
                    <a:pt x="357" y="246"/>
                    <a:pt x="345" y="244"/>
                    <a:pt x="341" y="239"/>
                  </a:cubicBezTo>
                  <a:cubicBezTo>
                    <a:pt x="337" y="234"/>
                    <a:pt x="330" y="221"/>
                    <a:pt x="330" y="221"/>
                  </a:cubicBezTo>
                  <a:cubicBezTo>
                    <a:pt x="313" y="221"/>
                    <a:pt x="313" y="221"/>
                    <a:pt x="313" y="221"/>
                  </a:cubicBezTo>
                  <a:cubicBezTo>
                    <a:pt x="313" y="221"/>
                    <a:pt x="313" y="193"/>
                    <a:pt x="311" y="187"/>
                  </a:cubicBezTo>
                  <a:cubicBezTo>
                    <a:pt x="309" y="181"/>
                    <a:pt x="306" y="180"/>
                    <a:pt x="306" y="180"/>
                  </a:cubicBezTo>
                  <a:cubicBezTo>
                    <a:pt x="306" y="180"/>
                    <a:pt x="311" y="173"/>
                    <a:pt x="304" y="170"/>
                  </a:cubicBezTo>
                  <a:cubicBezTo>
                    <a:pt x="297" y="167"/>
                    <a:pt x="288" y="190"/>
                    <a:pt x="282" y="191"/>
                  </a:cubicBezTo>
                  <a:cubicBezTo>
                    <a:pt x="276" y="192"/>
                    <a:pt x="271" y="176"/>
                    <a:pt x="265" y="176"/>
                  </a:cubicBezTo>
                  <a:cubicBezTo>
                    <a:pt x="259" y="176"/>
                    <a:pt x="259" y="193"/>
                    <a:pt x="259" y="193"/>
                  </a:cubicBezTo>
                  <a:cubicBezTo>
                    <a:pt x="215" y="197"/>
                    <a:pt x="215" y="197"/>
                    <a:pt x="215" y="197"/>
                  </a:cubicBezTo>
                  <a:cubicBezTo>
                    <a:pt x="215" y="197"/>
                    <a:pt x="201" y="184"/>
                    <a:pt x="192" y="189"/>
                  </a:cubicBezTo>
                  <a:cubicBezTo>
                    <a:pt x="183" y="194"/>
                    <a:pt x="191" y="223"/>
                    <a:pt x="191" y="223"/>
                  </a:cubicBezTo>
                  <a:cubicBezTo>
                    <a:pt x="207" y="230"/>
                    <a:pt x="207" y="230"/>
                    <a:pt x="207" y="230"/>
                  </a:cubicBezTo>
                  <a:cubicBezTo>
                    <a:pt x="214" y="228"/>
                    <a:pt x="214" y="228"/>
                    <a:pt x="214" y="228"/>
                  </a:cubicBezTo>
                  <a:cubicBezTo>
                    <a:pt x="214" y="228"/>
                    <a:pt x="233" y="248"/>
                    <a:pt x="220" y="250"/>
                  </a:cubicBezTo>
                  <a:cubicBezTo>
                    <a:pt x="207" y="252"/>
                    <a:pt x="198" y="248"/>
                    <a:pt x="198" y="248"/>
                  </a:cubicBezTo>
                  <a:cubicBezTo>
                    <a:pt x="176" y="253"/>
                    <a:pt x="176" y="253"/>
                    <a:pt x="176" y="253"/>
                  </a:cubicBezTo>
                  <a:cubicBezTo>
                    <a:pt x="174" y="295"/>
                    <a:pt x="174" y="295"/>
                    <a:pt x="174" y="295"/>
                  </a:cubicBezTo>
                  <a:cubicBezTo>
                    <a:pt x="174" y="295"/>
                    <a:pt x="195" y="304"/>
                    <a:pt x="197" y="313"/>
                  </a:cubicBezTo>
                  <a:cubicBezTo>
                    <a:pt x="199" y="322"/>
                    <a:pt x="200" y="334"/>
                    <a:pt x="200" y="334"/>
                  </a:cubicBezTo>
                  <a:cubicBezTo>
                    <a:pt x="200" y="334"/>
                    <a:pt x="214" y="349"/>
                    <a:pt x="213" y="356"/>
                  </a:cubicBezTo>
                  <a:cubicBezTo>
                    <a:pt x="212" y="363"/>
                    <a:pt x="202" y="374"/>
                    <a:pt x="202" y="374"/>
                  </a:cubicBezTo>
                  <a:cubicBezTo>
                    <a:pt x="204" y="408"/>
                    <a:pt x="204" y="408"/>
                    <a:pt x="204" y="408"/>
                  </a:cubicBezTo>
                  <a:cubicBezTo>
                    <a:pt x="193" y="438"/>
                    <a:pt x="193" y="438"/>
                    <a:pt x="193" y="438"/>
                  </a:cubicBezTo>
                  <a:cubicBezTo>
                    <a:pt x="191" y="488"/>
                    <a:pt x="191" y="488"/>
                    <a:pt x="191" y="488"/>
                  </a:cubicBezTo>
                  <a:cubicBezTo>
                    <a:pt x="191" y="488"/>
                    <a:pt x="188" y="515"/>
                    <a:pt x="183" y="518"/>
                  </a:cubicBezTo>
                  <a:cubicBezTo>
                    <a:pt x="178" y="521"/>
                    <a:pt x="171" y="518"/>
                    <a:pt x="171" y="518"/>
                  </a:cubicBezTo>
                  <a:cubicBezTo>
                    <a:pt x="171" y="518"/>
                    <a:pt x="167" y="505"/>
                    <a:pt x="157" y="506"/>
                  </a:cubicBezTo>
                  <a:cubicBezTo>
                    <a:pt x="147" y="507"/>
                    <a:pt x="136" y="522"/>
                    <a:pt x="136" y="522"/>
                  </a:cubicBezTo>
                  <a:cubicBezTo>
                    <a:pt x="117" y="519"/>
                    <a:pt x="117" y="519"/>
                    <a:pt x="117" y="519"/>
                  </a:cubicBezTo>
                  <a:cubicBezTo>
                    <a:pt x="115" y="526"/>
                    <a:pt x="115" y="526"/>
                    <a:pt x="115" y="526"/>
                  </a:cubicBezTo>
                  <a:cubicBezTo>
                    <a:pt x="94" y="526"/>
                    <a:pt x="94" y="526"/>
                    <a:pt x="94" y="526"/>
                  </a:cubicBezTo>
                  <a:cubicBezTo>
                    <a:pt x="94" y="526"/>
                    <a:pt x="68" y="543"/>
                    <a:pt x="66" y="547"/>
                  </a:cubicBezTo>
                  <a:cubicBezTo>
                    <a:pt x="64" y="551"/>
                    <a:pt x="63" y="559"/>
                    <a:pt x="63" y="559"/>
                  </a:cubicBezTo>
                  <a:cubicBezTo>
                    <a:pt x="47" y="559"/>
                    <a:pt x="47" y="559"/>
                    <a:pt x="47" y="559"/>
                  </a:cubicBezTo>
                  <a:cubicBezTo>
                    <a:pt x="46" y="597"/>
                    <a:pt x="46" y="597"/>
                    <a:pt x="46" y="597"/>
                  </a:cubicBezTo>
                  <a:cubicBezTo>
                    <a:pt x="46" y="597"/>
                    <a:pt x="31" y="606"/>
                    <a:pt x="33" y="613"/>
                  </a:cubicBezTo>
                  <a:cubicBezTo>
                    <a:pt x="35" y="620"/>
                    <a:pt x="45" y="645"/>
                    <a:pt x="39" y="636"/>
                  </a:cubicBezTo>
                  <a:cubicBezTo>
                    <a:pt x="33" y="627"/>
                    <a:pt x="20" y="644"/>
                    <a:pt x="12" y="652"/>
                  </a:cubicBezTo>
                  <a:cubicBezTo>
                    <a:pt x="4" y="660"/>
                    <a:pt x="9" y="674"/>
                    <a:pt x="9" y="674"/>
                  </a:cubicBezTo>
                  <a:cubicBezTo>
                    <a:pt x="15" y="678"/>
                    <a:pt x="15" y="678"/>
                    <a:pt x="15" y="678"/>
                  </a:cubicBezTo>
                  <a:cubicBezTo>
                    <a:pt x="15" y="678"/>
                    <a:pt x="0" y="686"/>
                    <a:pt x="0" y="691"/>
                  </a:cubicBezTo>
                  <a:cubicBezTo>
                    <a:pt x="0" y="696"/>
                    <a:pt x="15" y="702"/>
                    <a:pt x="15" y="702"/>
                  </a:cubicBezTo>
                  <a:cubicBezTo>
                    <a:pt x="17" y="720"/>
                    <a:pt x="17" y="720"/>
                    <a:pt x="17" y="720"/>
                  </a:cubicBezTo>
                  <a:cubicBezTo>
                    <a:pt x="17" y="720"/>
                    <a:pt x="30" y="741"/>
                    <a:pt x="35" y="747"/>
                  </a:cubicBezTo>
                  <a:cubicBezTo>
                    <a:pt x="40" y="753"/>
                    <a:pt x="62" y="768"/>
                    <a:pt x="60" y="773"/>
                  </a:cubicBezTo>
                  <a:cubicBezTo>
                    <a:pt x="58" y="778"/>
                    <a:pt x="43" y="791"/>
                    <a:pt x="43" y="791"/>
                  </a:cubicBezTo>
                  <a:cubicBezTo>
                    <a:pt x="43" y="791"/>
                    <a:pt x="79" y="790"/>
                    <a:pt x="82" y="797"/>
                  </a:cubicBezTo>
                  <a:cubicBezTo>
                    <a:pt x="85" y="804"/>
                    <a:pt x="93" y="823"/>
                    <a:pt x="93" y="823"/>
                  </a:cubicBezTo>
                  <a:cubicBezTo>
                    <a:pt x="135" y="819"/>
                    <a:pt x="135" y="819"/>
                    <a:pt x="135" y="819"/>
                  </a:cubicBezTo>
                  <a:cubicBezTo>
                    <a:pt x="169" y="789"/>
                    <a:pt x="169" y="789"/>
                    <a:pt x="169" y="789"/>
                  </a:cubicBezTo>
                  <a:cubicBezTo>
                    <a:pt x="169" y="789"/>
                    <a:pt x="174" y="812"/>
                    <a:pt x="172" y="816"/>
                  </a:cubicBezTo>
                  <a:cubicBezTo>
                    <a:pt x="170" y="820"/>
                    <a:pt x="165" y="834"/>
                    <a:pt x="167" y="844"/>
                  </a:cubicBezTo>
                  <a:cubicBezTo>
                    <a:pt x="169" y="854"/>
                    <a:pt x="170" y="874"/>
                    <a:pt x="170" y="874"/>
                  </a:cubicBezTo>
                  <a:cubicBezTo>
                    <a:pt x="177" y="873"/>
                    <a:pt x="177" y="873"/>
                    <a:pt x="177" y="873"/>
                  </a:cubicBezTo>
                  <a:cubicBezTo>
                    <a:pt x="177" y="873"/>
                    <a:pt x="177" y="881"/>
                    <a:pt x="185" y="881"/>
                  </a:cubicBezTo>
                  <a:cubicBezTo>
                    <a:pt x="193" y="881"/>
                    <a:pt x="189" y="872"/>
                    <a:pt x="200" y="872"/>
                  </a:cubicBezTo>
                  <a:cubicBezTo>
                    <a:pt x="211" y="872"/>
                    <a:pt x="246" y="875"/>
                    <a:pt x="246" y="875"/>
                  </a:cubicBezTo>
                  <a:cubicBezTo>
                    <a:pt x="246" y="875"/>
                    <a:pt x="249" y="886"/>
                    <a:pt x="262" y="883"/>
                  </a:cubicBezTo>
                  <a:cubicBezTo>
                    <a:pt x="275" y="880"/>
                    <a:pt x="283" y="871"/>
                    <a:pt x="283" y="871"/>
                  </a:cubicBezTo>
                  <a:cubicBezTo>
                    <a:pt x="288" y="859"/>
                    <a:pt x="288" y="859"/>
                    <a:pt x="288" y="859"/>
                  </a:cubicBezTo>
                  <a:cubicBezTo>
                    <a:pt x="312" y="858"/>
                    <a:pt x="312" y="858"/>
                    <a:pt x="312" y="858"/>
                  </a:cubicBezTo>
                  <a:cubicBezTo>
                    <a:pt x="316" y="840"/>
                    <a:pt x="316" y="840"/>
                    <a:pt x="316" y="840"/>
                  </a:cubicBezTo>
                  <a:cubicBezTo>
                    <a:pt x="340" y="841"/>
                    <a:pt x="340" y="841"/>
                    <a:pt x="340" y="841"/>
                  </a:cubicBezTo>
                  <a:cubicBezTo>
                    <a:pt x="340" y="841"/>
                    <a:pt x="350" y="815"/>
                    <a:pt x="363" y="815"/>
                  </a:cubicBezTo>
                  <a:cubicBezTo>
                    <a:pt x="376" y="815"/>
                    <a:pt x="386" y="816"/>
                    <a:pt x="386" y="816"/>
                  </a:cubicBezTo>
                  <a:cubicBezTo>
                    <a:pt x="395" y="808"/>
                    <a:pt x="395" y="808"/>
                    <a:pt x="395" y="808"/>
                  </a:cubicBezTo>
                  <a:cubicBezTo>
                    <a:pt x="395" y="808"/>
                    <a:pt x="404" y="818"/>
                    <a:pt x="405" y="814"/>
                  </a:cubicBezTo>
                  <a:cubicBezTo>
                    <a:pt x="406" y="810"/>
                    <a:pt x="419" y="802"/>
                    <a:pt x="423" y="806"/>
                  </a:cubicBezTo>
                  <a:cubicBezTo>
                    <a:pt x="427" y="810"/>
                    <a:pt x="419" y="837"/>
                    <a:pt x="419" y="837"/>
                  </a:cubicBezTo>
                  <a:cubicBezTo>
                    <a:pt x="419" y="837"/>
                    <a:pt x="411" y="850"/>
                    <a:pt x="412" y="854"/>
                  </a:cubicBezTo>
                  <a:cubicBezTo>
                    <a:pt x="413" y="858"/>
                    <a:pt x="422" y="866"/>
                    <a:pt x="422" y="875"/>
                  </a:cubicBezTo>
                  <a:cubicBezTo>
                    <a:pt x="422" y="884"/>
                    <a:pt x="415" y="890"/>
                    <a:pt x="422" y="899"/>
                  </a:cubicBezTo>
                  <a:cubicBezTo>
                    <a:pt x="429" y="908"/>
                    <a:pt x="436" y="912"/>
                    <a:pt x="436" y="912"/>
                  </a:cubicBezTo>
                  <a:cubicBezTo>
                    <a:pt x="442" y="932"/>
                    <a:pt x="442" y="932"/>
                    <a:pt x="442" y="932"/>
                  </a:cubicBezTo>
                  <a:cubicBezTo>
                    <a:pt x="442" y="932"/>
                    <a:pt x="458" y="930"/>
                    <a:pt x="461" y="935"/>
                  </a:cubicBezTo>
                  <a:cubicBezTo>
                    <a:pt x="464" y="940"/>
                    <a:pt x="460" y="951"/>
                    <a:pt x="470" y="955"/>
                  </a:cubicBezTo>
                  <a:cubicBezTo>
                    <a:pt x="480" y="959"/>
                    <a:pt x="484" y="959"/>
                    <a:pt x="488" y="960"/>
                  </a:cubicBezTo>
                  <a:cubicBezTo>
                    <a:pt x="492" y="961"/>
                    <a:pt x="502" y="954"/>
                    <a:pt x="502" y="954"/>
                  </a:cubicBezTo>
                  <a:cubicBezTo>
                    <a:pt x="502" y="954"/>
                    <a:pt x="508" y="968"/>
                    <a:pt x="516" y="968"/>
                  </a:cubicBezTo>
                  <a:cubicBezTo>
                    <a:pt x="524" y="968"/>
                    <a:pt x="531" y="961"/>
                    <a:pt x="532" y="965"/>
                  </a:cubicBezTo>
                  <a:cubicBezTo>
                    <a:pt x="533" y="969"/>
                    <a:pt x="541" y="981"/>
                    <a:pt x="552" y="986"/>
                  </a:cubicBezTo>
                  <a:cubicBezTo>
                    <a:pt x="563" y="991"/>
                    <a:pt x="579" y="992"/>
                    <a:pt x="579" y="992"/>
                  </a:cubicBezTo>
                  <a:cubicBezTo>
                    <a:pt x="579" y="992"/>
                    <a:pt x="588" y="1012"/>
                    <a:pt x="598" y="1013"/>
                  </a:cubicBezTo>
                  <a:cubicBezTo>
                    <a:pt x="608" y="1014"/>
                    <a:pt x="619" y="1009"/>
                    <a:pt x="630" y="1011"/>
                  </a:cubicBezTo>
                  <a:cubicBezTo>
                    <a:pt x="641" y="1013"/>
                    <a:pt x="661" y="1022"/>
                    <a:pt x="662" y="1032"/>
                  </a:cubicBezTo>
                  <a:cubicBezTo>
                    <a:pt x="663" y="1042"/>
                    <a:pt x="658" y="1045"/>
                    <a:pt x="662" y="1052"/>
                  </a:cubicBezTo>
                  <a:cubicBezTo>
                    <a:pt x="666" y="1059"/>
                    <a:pt x="673" y="1071"/>
                    <a:pt x="673" y="1071"/>
                  </a:cubicBezTo>
                  <a:cubicBezTo>
                    <a:pt x="675" y="1092"/>
                    <a:pt x="675" y="1092"/>
                    <a:pt x="675" y="1092"/>
                  </a:cubicBezTo>
                  <a:cubicBezTo>
                    <a:pt x="675" y="1092"/>
                    <a:pt x="660" y="1090"/>
                    <a:pt x="662" y="1096"/>
                  </a:cubicBezTo>
                  <a:cubicBezTo>
                    <a:pt x="664" y="1102"/>
                    <a:pt x="680" y="1116"/>
                    <a:pt x="680" y="1116"/>
                  </a:cubicBezTo>
                  <a:cubicBezTo>
                    <a:pt x="680" y="1116"/>
                    <a:pt x="670" y="1147"/>
                    <a:pt x="683" y="1156"/>
                  </a:cubicBezTo>
                  <a:cubicBezTo>
                    <a:pt x="696" y="1165"/>
                    <a:pt x="773" y="1163"/>
                    <a:pt x="773" y="1163"/>
                  </a:cubicBezTo>
                  <a:cubicBezTo>
                    <a:pt x="773" y="1163"/>
                    <a:pt x="762" y="1197"/>
                    <a:pt x="769" y="1206"/>
                  </a:cubicBezTo>
                  <a:cubicBezTo>
                    <a:pt x="776" y="1215"/>
                    <a:pt x="785" y="1216"/>
                    <a:pt x="796" y="1223"/>
                  </a:cubicBezTo>
                  <a:cubicBezTo>
                    <a:pt x="807" y="1230"/>
                    <a:pt x="816" y="1248"/>
                    <a:pt x="816" y="1262"/>
                  </a:cubicBezTo>
                  <a:cubicBezTo>
                    <a:pt x="816" y="1276"/>
                    <a:pt x="811" y="1302"/>
                    <a:pt x="811" y="1302"/>
                  </a:cubicBezTo>
                  <a:cubicBezTo>
                    <a:pt x="815" y="1310"/>
                    <a:pt x="815" y="1310"/>
                    <a:pt x="815" y="1310"/>
                  </a:cubicBezTo>
                  <a:cubicBezTo>
                    <a:pt x="815" y="1310"/>
                    <a:pt x="798" y="1337"/>
                    <a:pt x="800" y="1342"/>
                  </a:cubicBezTo>
                  <a:cubicBezTo>
                    <a:pt x="802" y="1347"/>
                    <a:pt x="814" y="1357"/>
                    <a:pt x="814" y="1357"/>
                  </a:cubicBezTo>
                  <a:cubicBezTo>
                    <a:pt x="814" y="1357"/>
                    <a:pt x="799" y="1365"/>
                    <a:pt x="799" y="1371"/>
                  </a:cubicBezTo>
                  <a:cubicBezTo>
                    <a:pt x="799" y="1377"/>
                    <a:pt x="808" y="1379"/>
                    <a:pt x="810" y="1386"/>
                  </a:cubicBezTo>
                  <a:cubicBezTo>
                    <a:pt x="812" y="1393"/>
                    <a:pt x="806" y="1402"/>
                    <a:pt x="810" y="1406"/>
                  </a:cubicBezTo>
                  <a:cubicBezTo>
                    <a:pt x="814" y="1410"/>
                    <a:pt x="819" y="1405"/>
                    <a:pt x="819" y="1414"/>
                  </a:cubicBezTo>
                  <a:cubicBezTo>
                    <a:pt x="819" y="1423"/>
                    <a:pt x="804" y="1459"/>
                    <a:pt x="820" y="1468"/>
                  </a:cubicBezTo>
                  <a:cubicBezTo>
                    <a:pt x="836" y="1477"/>
                    <a:pt x="880" y="1484"/>
                    <a:pt x="895" y="1481"/>
                  </a:cubicBezTo>
                  <a:cubicBezTo>
                    <a:pt x="910" y="1478"/>
                    <a:pt x="928" y="1478"/>
                    <a:pt x="932" y="1486"/>
                  </a:cubicBezTo>
                  <a:cubicBezTo>
                    <a:pt x="936" y="1494"/>
                    <a:pt x="932" y="1511"/>
                    <a:pt x="937" y="1531"/>
                  </a:cubicBezTo>
                  <a:cubicBezTo>
                    <a:pt x="942" y="1551"/>
                    <a:pt x="946" y="1572"/>
                    <a:pt x="957" y="1574"/>
                  </a:cubicBezTo>
                  <a:cubicBezTo>
                    <a:pt x="968" y="1576"/>
                    <a:pt x="972" y="1560"/>
                    <a:pt x="987" y="1564"/>
                  </a:cubicBezTo>
                  <a:cubicBezTo>
                    <a:pt x="1002" y="1568"/>
                    <a:pt x="1006" y="1576"/>
                    <a:pt x="1004" y="1596"/>
                  </a:cubicBezTo>
                  <a:cubicBezTo>
                    <a:pt x="1002" y="1616"/>
                    <a:pt x="1000" y="1626"/>
                    <a:pt x="998" y="1631"/>
                  </a:cubicBezTo>
                  <a:cubicBezTo>
                    <a:pt x="996" y="1636"/>
                    <a:pt x="995" y="1651"/>
                    <a:pt x="995" y="1651"/>
                  </a:cubicBezTo>
                  <a:cubicBezTo>
                    <a:pt x="998" y="1664"/>
                    <a:pt x="998" y="1664"/>
                    <a:pt x="998" y="1664"/>
                  </a:cubicBezTo>
                  <a:cubicBezTo>
                    <a:pt x="998" y="1664"/>
                    <a:pt x="1014" y="1653"/>
                    <a:pt x="1021" y="1657"/>
                  </a:cubicBezTo>
                  <a:cubicBezTo>
                    <a:pt x="1028" y="1661"/>
                    <a:pt x="1032" y="1682"/>
                    <a:pt x="1032" y="1682"/>
                  </a:cubicBezTo>
                  <a:cubicBezTo>
                    <a:pt x="1032" y="1682"/>
                    <a:pt x="1043" y="1681"/>
                    <a:pt x="1043" y="1690"/>
                  </a:cubicBezTo>
                  <a:cubicBezTo>
                    <a:pt x="1043" y="1699"/>
                    <a:pt x="1051" y="1737"/>
                    <a:pt x="1045" y="1743"/>
                  </a:cubicBezTo>
                  <a:cubicBezTo>
                    <a:pt x="1039" y="1749"/>
                    <a:pt x="1022" y="1751"/>
                    <a:pt x="1011" y="1756"/>
                  </a:cubicBezTo>
                  <a:cubicBezTo>
                    <a:pt x="1000" y="1761"/>
                    <a:pt x="1000" y="1779"/>
                    <a:pt x="1000" y="1779"/>
                  </a:cubicBezTo>
                  <a:cubicBezTo>
                    <a:pt x="979" y="1781"/>
                    <a:pt x="979" y="1781"/>
                    <a:pt x="979" y="1781"/>
                  </a:cubicBezTo>
                  <a:cubicBezTo>
                    <a:pt x="978" y="1792"/>
                    <a:pt x="978" y="1792"/>
                    <a:pt x="978" y="1792"/>
                  </a:cubicBezTo>
                  <a:cubicBezTo>
                    <a:pt x="972" y="1794"/>
                    <a:pt x="972" y="1794"/>
                    <a:pt x="972" y="1794"/>
                  </a:cubicBezTo>
                  <a:cubicBezTo>
                    <a:pt x="969" y="1810"/>
                    <a:pt x="969" y="1810"/>
                    <a:pt x="969" y="1810"/>
                  </a:cubicBezTo>
                  <a:cubicBezTo>
                    <a:pt x="953" y="1814"/>
                    <a:pt x="953" y="1814"/>
                    <a:pt x="953" y="1814"/>
                  </a:cubicBezTo>
                  <a:cubicBezTo>
                    <a:pt x="953" y="1814"/>
                    <a:pt x="950" y="1837"/>
                    <a:pt x="945" y="1842"/>
                  </a:cubicBezTo>
                  <a:cubicBezTo>
                    <a:pt x="940" y="1847"/>
                    <a:pt x="931" y="1852"/>
                    <a:pt x="931" y="1855"/>
                  </a:cubicBezTo>
                  <a:cubicBezTo>
                    <a:pt x="931" y="1858"/>
                    <a:pt x="928" y="1873"/>
                    <a:pt x="923" y="1878"/>
                  </a:cubicBezTo>
                  <a:cubicBezTo>
                    <a:pt x="918" y="1883"/>
                    <a:pt x="903" y="1882"/>
                    <a:pt x="903" y="1888"/>
                  </a:cubicBezTo>
                  <a:cubicBezTo>
                    <a:pt x="903" y="1894"/>
                    <a:pt x="899" y="1911"/>
                    <a:pt x="899" y="1911"/>
                  </a:cubicBezTo>
                  <a:cubicBezTo>
                    <a:pt x="915" y="1912"/>
                    <a:pt x="915" y="1912"/>
                    <a:pt x="915" y="1912"/>
                  </a:cubicBezTo>
                  <a:cubicBezTo>
                    <a:pt x="915" y="1912"/>
                    <a:pt x="921" y="1902"/>
                    <a:pt x="933" y="1904"/>
                  </a:cubicBezTo>
                  <a:cubicBezTo>
                    <a:pt x="945" y="1906"/>
                    <a:pt x="970" y="1933"/>
                    <a:pt x="970" y="1933"/>
                  </a:cubicBezTo>
                  <a:cubicBezTo>
                    <a:pt x="970" y="1933"/>
                    <a:pt x="980" y="1956"/>
                    <a:pt x="986" y="1956"/>
                  </a:cubicBezTo>
                  <a:cubicBezTo>
                    <a:pt x="992" y="1956"/>
                    <a:pt x="991" y="1942"/>
                    <a:pt x="1001" y="1945"/>
                  </a:cubicBezTo>
                  <a:cubicBezTo>
                    <a:pt x="1011" y="1948"/>
                    <a:pt x="1020" y="1964"/>
                    <a:pt x="1025" y="1967"/>
                  </a:cubicBezTo>
                  <a:cubicBezTo>
                    <a:pt x="1030" y="1970"/>
                    <a:pt x="1037" y="1969"/>
                    <a:pt x="1037" y="1969"/>
                  </a:cubicBezTo>
                  <a:cubicBezTo>
                    <a:pt x="1037" y="1969"/>
                    <a:pt x="1045" y="1976"/>
                    <a:pt x="1049" y="1978"/>
                  </a:cubicBezTo>
                  <a:cubicBezTo>
                    <a:pt x="1053" y="1980"/>
                    <a:pt x="1055" y="1993"/>
                    <a:pt x="1067" y="1997"/>
                  </a:cubicBezTo>
                  <a:cubicBezTo>
                    <a:pt x="1079" y="2001"/>
                    <a:pt x="1086" y="2000"/>
                    <a:pt x="1086" y="2000"/>
                  </a:cubicBezTo>
                  <a:cubicBezTo>
                    <a:pt x="1086" y="2000"/>
                    <a:pt x="1096" y="2024"/>
                    <a:pt x="1104" y="2029"/>
                  </a:cubicBezTo>
                  <a:cubicBezTo>
                    <a:pt x="1112" y="2034"/>
                    <a:pt x="1131" y="2033"/>
                    <a:pt x="1126" y="2042"/>
                  </a:cubicBezTo>
                  <a:cubicBezTo>
                    <a:pt x="1121" y="2051"/>
                    <a:pt x="1111" y="2064"/>
                    <a:pt x="1112" y="2071"/>
                  </a:cubicBezTo>
                  <a:cubicBezTo>
                    <a:pt x="1113" y="2078"/>
                    <a:pt x="1119" y="2078"/>
                    <a:pt x="1119" y="2078"/>
                  </a:cubicBezTo>
                  <a:cubicBezTo>
                    <a:pt x="1118" y="2099"/>
                    <a:pt x="1118" y="2099"/>
                    <a:pt x="1118" y="2099"/>
                  </a:cubicBezTo>
                  <a:cubicBezTo>
                    <a:pt x="1128" y="2098"/>
                    <a:pt x="1128" y="2098"/>
                    <a:pt x="1128" y="2098"/>
                  </a:cubicBezTo>
                  <a:cubicBezTo>
                    <a:pt x="1128" y="2096"/>
                    <a:pt x="1128" y="2096"/>
                    <a:pt x="1128" y="2096"/>
                  </a:cubicBezTo>
                  <a:cubicBezTo>
                    <a:pt x="1128" y="2096"/>
                    <a:pt x="1151" y="2070"/>
                    <a:pt x="1156" y="2061"/>
                  </a:cubicBezTo>
                  <a:cubicBezTo>
                    <a:pt x="1161" y="2052"/>
                    <a:pt x="1153" y="2031"/>
                    <a:pt x="1153" y="2031"/>
                  </a:cubicBezTo>
                  <a:cubicBezTo>
                    <a:pt x="1165" y="2013"/>
                    <a:pt x="1165" y="2013"/>
                    <a:pt x="1165" y="2013"/>
                  </a:cubicBezTo>
                  <a:cubicBezTo>
                    <a:pt x="1165" y="2013"/>
                    <a:pt x="1155" y="2005"/>
                    <a:pt x="1155" y="1995"/>
                  </a:cubicBezTo>
                  <a:cubicBezTo>
                    <a:pt x="1155" y="1985"/>
                    <a:pt x="1165" y="1984"/>
                    <a:pt x="1165" y="1984"/>
                  </a:cubicBezTo>
                  <a:cubicBezTo>
                    <a:pt x="1167" y="1968"/>
                    <a:pt x="1167" y="1968"/>
                    <a:pt x="1167" y="1968"/>
                  </a:cubicBezTo>
                  <a:cubicBezTo>
                    <a:pt x="1167" y="1968"/>
                    <a:pt x="1179" y="1966"/>
                    <a:pt x="1183" y="1962"/>
                  </a:cubicBezTo>
                  <a:cubicBezTo>
                    <a:pt x="1187" y="1958"/>
                    <a:pt x="1186" y="1944"/>
                    <a:pt x="1186" y="1936"/>
                  </a:cubicBezTo>
                  <a:cubicBezTo>
                    <a:pt x="1186" y="1928"/>
                    <a:pt x="1204" y="1911"/>
                    <a:pt x="1213" y="1909"/>
                  </a:cubicBezTo>
                  <a:cubicBezTo>
                    <a:pt x="1222" y="1907"/>
                    <a:pt x="1219" y="1931"/>
                    <a:pt x="1219" y="1931"/>
                  </a:cubicBezTo>
                  <a:cubicBezTo>
                    <a:pt x="1219" y="1931"/>
                    <a:pt x="1213" y="1941"/>
                    <a:pt x="1210" y="1943"/>
                  </a:cubicBezTo>
                  <a:cubicBezTo>
                    <a:pt x="1207" y="1945"/>
                    <a:pt x="1208" y="1956"/>
                    <a:pt x="1208" y="1956"/>
                  </a:cubicBezTo>
                  <a:cubicBezTo>
                    <a:pt x="1201" y="1960"/>
                    <a:pt x="1201" y="1960"/>
                    <a:pt x="1201" y="1960"/>
                  </a:cubicBezTo>
                  <a:cubicBezTo>
                    <a:pt x="1201" y="1969"/>
                    <a:pt x="1201" y="1969"/>
                    <a:pt x="1201" y="1969"/>
                  </a:cubicBezTo>
                  <a:cubicBezTo>
                    <a:pt x="1184" y="1987"/>
                    <a:pt x="1184" y="1987"/>
                    <a:pt x="1184" y="1987"/>
                  </a:cubicBezTo>
                  <a:cubicBezTo>
                    <a:pt x="1163" y="2002"/>
                    <a:pt x="1163" y="2002"/>
                    <a:pt x="1163" y="2002"/>
                  </a:cubicBezTo>
                  <a:cubicBezTo>
                    <a:pt x="1163" y="2002"/>
                    <a:pt x="1170" y="2008"/>
                    <a:pt x="1177" y="2006"/>
                  </a:cubicBezTo>
                  <a:cubicBezTo>
                    <a:pt x="1182" y="2005"/>
                    <a:pt x="1182" y="1993"/>
                    <a:pt x="1187" y="1990"/>
                  </a:cubicBezTo>
                  <a:cubicBezTo>
                    <a:pt x="1191" y="1986"/>
                    <a:pt x="1198" y="1989"/>
                    <a:pt x="1200" y="1987"/>
                  </a:cubicBezTo>
                  <a:cubicBezTo>
                    <a:pt x="1206" y="1978"/>
                    <a:pt x="1228" y="1944"/>
                    <a:pt x="1233" y="1920"/>
                  </a:cubicBezTo>
                  <a:cubicBezTo>
                    <a:pt x="1238" y="1896"/>
                    <a:pt x="1248" y="1874"/>
                    <a:pt x="1252" y="1860"/>
                  </a:cubicBezTo>
                  <a:cubicBezTo>
                    <a:pt x="1256" y="1846"/>
                    <a:pt x="1284" y="1829"/>
                    <a:pt x="1286" y="1825"/>
                  </a:cubicBezTo>
                  <a:cubicBezTo>
                    <a:pt x="1288" y="1821"/>
                    <a:pt x="1281" y="1811"/>
                    <a:pt x="1281" y="1811"/>
                  </a:cubicBezTo>
                  <a:cubicBezTo>
                    <a:pt x="1294" y="1802"/>
                    <a:pt x="1294" y="1802"/>
                    <a:pt x="1294" y="1802"/>
                  </a:cubicBezTo>
                  <a:cubicBezTo>
                    <a:pt x="1290" y="1778"/>
                    <a:pt x="1290" y="1778"/>
                    <a:pt x="1290" y="1778"/>
                  </a:cubicBezTo>
                  <a:cubicBezTo>
                    <a:pt x="1294" y="1764"/>
                    <a:pt x="1294" y="1764"/>
                    <a:pt x="1294" y="1764"/>
                  </a:cubicBezTo>
                  <a:cubicBezTo>
                    <a:pt x="1285" y="1759"/>
                    <a:pt x="1285" y="1759"/>
                    <a:pt x="1285" y="1759"/>
                  </a:cubicBezTo>
                  <a:cubicBezTo>
                    <a:pt x="1285" y="1759"/>
                    <a:pt x="1292" y="1750"/>
                    <a:pt x="1292" y="1742"/>
                  </a:cubicBezTo>
                  <a:cubicBezTo>
                    <a:pt x="1292" y="1734"/>
                    <a:pt x="1277" y="1728"/>
                    <a:pt x="1277" y="1728"/>
                  </a:cubicBezTo>
                  <a:cubicBezTo>
                    <a:pt x="1276" y="1705"/>
                    <a:pt x="1276" y="1705"/>
                    <a:pt x="1276" y="1705"/>
                  </a:cubicBezTo>
                  <a:cubicBezTo>
                    <a:pt x="1266" y="1694"/>
                    <a:pt x="1266" y="1694"/>
                    <a:pt x="1266" y="1694"/>
                  </a:cubicBezTo>
                  <a:cubicBezTo>
                    <a:pt x="1280" y="1695"/>
                    <a:pt x="1280" y="1695"/>
                    <a:pt x="1280" y="1695"/>
                  </a:cubicBezTo>
                  <a:cubicBezTo>
                    <a:pt x="1279" y="1678"/>
                    <a:pt x="1279" y="1678"/>
                    <a:pt x="1279" y="1678"/>
                  </a:cubicBezTo>
                  <a:cubicBezTo>
                    <a:pt x="1270" y="1673"/>
                    <a:pt x="1270" y="1673"/>
                    <a:pt x="1270" y="1673"/>
                  </a:cubicBezTo>
                  <a:cubicBezTo>
                    <a:pt x="1270" y="1673"/>
                    <a:pt x="1282" y="1670"/>
                    <a:pt x="1282" y="1665"/>
                  </a:cubicBezTo>
                  <a:cubicBezTo>
                    <a:pt x="1282" y="1660"/>
                    <a:pt x="1266" y="1650"/>
                    <a:pt x="1266" y="1650"/>
                  </a:cubicBezTo>
                  <a:cubicBezTo>
                    <a:pt x="1282" y="1639"/>
                    <a:pt x="1282" y="1639"/>
                    <a:pt x="1282" y="1639"/>
                  </a:cubicBezTo>
                  <a:cubicBezTo>
                    <a:pt x="1282" y="1639"/>
                    <a:pt x="1295" y="1653"/>
                    <a:pt x="1301" y="1652"/>
                  </a:cubicBezTo>
                  <a:cubicBezTo>
                    <a:pt x="1307" y="1651"/>
                    <a:pt x="1303" y="1639"/>
                    <a:pt x="1303" y="1639"/>
                  </a:cubicBezTo>
                  <a:cubicBezTo>
                    <a:pt x="1303" y="1639"/>
                    <a:pt x="1303" y="1627"/>
                    <a:pt x="1311" y="1617"/>
                  </a:cubicBezTo>
                  <a:cubicBezTo>
                    <a:pt x="1319" y="1607"/>
                    <a:pt x="1331" y="1610"/>
                    <a:pt x="1337" y="1605"/>
                  </a:cubicBezTo>
                  <a:cubicBezTo>
                    <a:pt x="1343" y="1600"/>
                    <a:pt x="1340" y="1596"/>
                    <a:pt x="1343" y="1589"/>
                  </a:cubicBezTo>
                  <a:cubicBezTo>
                    <a:pt x="1346" y="1582"/>
                    <a:pt x="1364" y="1579"/>
                    <a:pt x="1364" y="1579"/>
                  </a:cubicBezTo>
                  <a:cubicBezTo>
                    <a:pt x="1366" y="1571"/>
                    <a:pt x="1366" y="1571"/>
                    <a:pt x="1366" y="1571"/>
                  </a:cubicBezTo>
                  <a:cubicBezTo>
                    <a:pt x="1366" y="1571"/>
                    <a:pt x="1372" y="1574"/>
                    <a:pt x="1377" y="1573"/>
                  </a:cubicBezTo>
                  <a:cubicBezTo>
                    <a:pt x="1382" y="1572"/>
                    <a:pt x="1381" y="1560"/>
                    <a:pt x="1387" y="1559"/>
                  </a:cubicBezTo>
                  <a:cubicBezTo>
                    <a:pt x="1393" y="1558"/>
                    <a:pt x="1412" y="1561"/>
                    <a:pt x="1412" y="1561"/>
                  </a:cubicBezTo>
                  <a:cubicBezTo>
                    <a:pt x="1416" y="1571"/>
                    <a:pt x="1416" y="1571"/>
                    <a:pt x="1416" y="1571"/>
                  </a:cubicBezTo>
                  <a:cubicBezTo>
                    <a:pt x="1427" y="1569"/>
                    <a:pt x="1427" y="1569"/>
                    <a:pt x="1427" y="1569"/>
                  </a:cubicBezTo>
                  <a:cubicBezTo>
                    <a:pt x="1414" y="1554"/>
                    <a:pt x="1414" y="1554"/>
                    <a:pt x="1414" y="1554"/>
                  </a:cubicBezTo>
                  <a:cubicBezTo>
                    <a:pt x="1414" y="1554"/>
                    <a:pt x="1423" y="1550"/>
                    <a:pt x="1427" y="1545"/>
                  </a:cubicBezTo>
                  <a:cubicBezTo>
                    <a:pt x="1431" y="1540"/>
                    <a:pt x="1453" y="1539"/>
                    <a:pt x="1453" y="1539"/>
                  </a:cubicBezTo>
                  <a:cubicBezTo>
                    <a:pt x="1442" y="1529"/>
                    <a:pt x="1442" y="1529"/>
                    <a:pt x="1442" y="1529"/>
                  </a:cubicBezTo>
                  <a:cubicBezTo>
                    <a:pt x="1442" y="1529"/>
                    <a:pt x="1454" y="1519"/>
                    <a:pt x="1459" y="1519"/>
                  </a:cubicBezTo>
                  <a:cubicBezTo>
                    <a:pt x="1464" y="1519"/>
                    <a:pt x="1460" y="1535"/>
                    <a:pt x="1463" y="1535"/>
                  </a:cubicBezTo>
                  <a:cubicBezTo>
                    <a:pt x="1466" y="1535"/>
                    <a:pt x="1472" y="1518"/>
                    <a:pt x="1472" y="1518"/>
                  </a:cubicBezTo>
                  <a:cubicBezTo>
                    <a:pt x="1497" y="1523"/>
                    <a:pt x="1497" y="1523"/>
                    <a:pt x="1497" y="1523"/>
                  </a:cubicBezTo>
                  <a:cubicBezTo>
                    <a:pt x="1497" y="1523"/>
                    <a:pt x="1502" y="1503"/>
                    <a:pt x="1513" y="1502"/>
                  </a:cubicBezTo>
                  <a:cubicBezTo>
                    <a:pt x="1524" y="1501"/>
                    <a:pt x="1521" y="1523"/>
                    <a:pt x="1521" y="1523"/>
                  </a:cubicBezTo>
                  <a:cubicBezTo>
                    <a:pt x="1566" y="1518"/>
                    <a:pt x="1566" y="1518"/>
                    <a:pt x="1566" y="1518"/>
                  </a:cubicBezTo>
                  <a:cubicBezTo>
                    <a:pt x="1571" y="1506"/>
                    <a:pt x="1571" y="1506"/>
                    <a:pt x="1571" y="1506"/>
                  </a:cubicBezTo>
                  <a:cubicBezTo>
                    <a:pt x="1565" y="1499"/>
                    <a:pt x="1565" y="1499"/>
                    <a:pt x="1565" y="1499"/>
                  </a:cubicBezTo>
                  <a:cubicBezTo>
                    <a:pt x="1565" y="1499"/>
                    <a:pt x="1571" y="1491"/>
                    <a:pt x="1577" y="1482"/>
                  </a:cubicBezTo>
                  <a:cubicBezTo>
                    <a:pt x="1583" y="1473"/>
                    <a:pt x="1613" y="1468"/>
                    <a:pt x="1613" y="1468"/>
                  </a:cubicBezTo>
                  <a:cubicBezTo>
                    <a:pt x="1613" y="1468"/>
                    <a:pt x="1610" y="1455"/>
                    <a:pt x="1610" y="1452"/>
                  </a:cubicBezTo>
                  <a:cubicBezTo>
                    <a:pt x="1610" y="1449"/>
                    <a:pt x="1611" y="1408"/>
                    <a:pt x="1611" y="1408"/>
                  </a:cubicBezTo>
                  <a:cubicBezTo>
                    <a:pt x="1629" y="1388"/>
                    <a:pt x="1629" y="1388"/>
                    <a:pt x="1629" y="1388"/>
                  </a:cubicBezTo>
                  <a:cubicBezTo>
                    <a:pt x="1629" y="1372"/>
                    <a:pt x="1629" y="1372"/>
                    <a:pt x="1629" y="1372"/>
                  </a:cubicBezTo>
                  <a:cubicBezTo>
                    <a:pt x="1642" y="1369"/>
                    <a:pt x="1642" y="1369"/>
                    <a:pt x="1642" y="1369"/>
                  </a:cubicBezTo>
                  <a:cubicBezTo>
                    <a:pt x="1642" y="1347"/>
                    <a:pt x="1642" y="1347"/>
                    <a:pt x="1642" y="1347"/>
                  </a:cubicBezTo>
                  <a:cubicBezTo>
                    <a:pt x="1642" y="1347"/>
                    <a:pt x="1651" y="1342"/>
                    <a:pt x="1655" y="1342"/>
                  </a:cubicBezTo>
                  <a:cubicBezTo>
                    <a:pt x="1659" y="1342"/>
                    <a:pt x="1659" y="1317"/>
                    <a:pt x="1659" y="1317"/>
                  </a:cubicBezTo>
                  <a:cubicBezTo>
                    <a:pt x="1659" y="1317"/>
                    <a:pt x="1653" y="1288"/>
                    <a:pt x="1651" y="1273"/>
                  </a:cubicBezTo>
                  <a:cubicBezTo>
                    <a:pt x="1649" y="1258"/>
                    <a:pt x="1667" y="1246"/>
                    <a:pt x="1674" y="1240"/>
                  </a:cubicBezTo>
                  <a:cubicBezTo>
                    <a:pt x="1681" y="1234"/>
                    <a:pt x="1671" y="1213"/>
                    <a:pt x="1671" y="1213"/>
                  </a:cubicBezTo>
                  <a:cubicBezTo>
                    <a:pt x="1675" y="1175"/>
                    <a:pt x="1675" y="1175"/>
                    <a:pt x="1675" y="1175"/>
                  </a:cubicBezTo>
                  <a:cubicBezTo>
                    <a:pt x="1675" y="1175"/>
                    <a:pt x="1683" y="1145"/>
                    <a:pt x="1682" y="1134"/>
                  </a:cubicBezTo>
                  <a:cubicBezTo>
                    <a:pt x="1681" y="1123"/>
                    <a:pt x="1669" y="1065"/>
                    <a:pt x="1669" y="1065"/>
                  </a:cubicBezTo>
                  <a:cubicBezTo>
                    <a:pt x="1674" y="1041"/>
                    <a:pt x="1674" y="1041"/>
                    <a:pt x="1674" y="1041"/>
                  </a:cubicBezTo>
                  <a:cubicBezTo>
                    <a:pt x="1674" y="1041"/>
                    <a:pt x="1665" y="1010"/>
                    <a:pt x="1668" y="1002"/>
                  </a:cubicBezTo>
                  <a:cubicBezTo>
                    <a:pt x="1671" y="994"/>
                    <a:pt x="1682" y="984"/>
                    <a:pt x="1682" y="984"/>
                  </a:cubicBezTo>
                  <a:cubicBezTo>
                    <a:pt x="1674" y="972"/>
                    <a:pt x="1674" y="972"/>
                    <a:pt x="1674" y="972"/>
                  </a:cubicBezTo>
                  <a:cubicBezTo>
                    <a:pt x="1674" y="972"/>
                    <a:pt x="1681" y="962"/>
                    <a:pt x="1685" y="962"/>
                  </a:cubicBezTo>
                  <a:cubicBezTo>
                    <a:pt x="1689" y="962"/>
                    <a:pt x="1698" y="981"/>
                    <a:pt x="1698" y="981"/>
                  </a:cubicBezTo>
                  <a:cubicBezTo>
                    <a:pt x="1698" y="981"/>
                    <a:pt x="1720" y="961"/>
                    <a:pt x="1727" y="951"/>
                  </a:cubicBezTo>
                  <a:cubicBezTo>
                    <a:pt x="1734" y="941"/>
                    <a:pt x="1739" y="897"/>
                    <a:pt x="1739" y="897"/>
                  </a:cubicBezTo>
                  <a:cubicBezTo>
                    <a:pt x="1739" y="897"/>
                    <a:pt x="1745" y="893"/>
                    <a:pt x="1751" y="889"/>
                  </a:cubicBezTo>
                  <a:cubicBezTo>
                    <a:pt x="1757" y="885"/>
                    <a:pt x="1762" y="863"/>
                    <a:pt x="1762" y="863"/>
                  </a:cubicBezTo>
                  <a:cubicBezTo>
                    <a:pt x="1762" y="863"/>
                    <a:pt x="1775" y="856"/>
                    <a:pt x="1782" y="855"/>
                  </a:cubicBezTo>
                  <a:cubicBezTo>
                    <a:pt x="1789" y="854"/>
                    <a:pt x="1789" y="834"/>
                    <a:pt x="1789" y="834"/>
                  </a:cubicBezTo>
                  <a:cubicBezTo>
                    <a:pt x="1789" y="834"/>
                    <a:pt x="1803" y="829"/>
                    <a:pt x="1816" y="811"/>
                  </a:cubicBezTo>
                  <a:cubicBezTo>
                    <a:pt x="1829" y="793"/>
                    <a:pt x="1844" y="746"/>
                    <a:pt x="1844" y="746"/>
                  </a:cubicBezTo>
                  <a:cubicBezTo>
                    <a:pt x="1844" y="746"/>
                    <a:pt x="1856" y="733"/>
                    <a:pt x="1857" y="727"/>
                  </a:cubicBezTo>
                  <a:cubicBezTo>
                    <a:pt x="1858" y="721"/>
                    <a:pt x="1852" y="705"/>
                    <a:pt x="1852" y="705"/>
                  </a:cubicBezTo>
                  <a:cubicBezTo>
                    <a:pt x="1852" y="705"/>
                    <a:pt x="1855" y="684"/>
                    <a:pt x="1855" y="66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45" name="Freeform 325">
              <a:extLst>
                <a:ext uri="{FF2B5EF4-FFF2-40B4-BE49-F238E27FC236}">
                  <a16:creationId xmlns:a16="http://schemas.microsoft.com/office/drawing/2014/main" id="{90BB973D-0A33-E66C-A779-D108445F4FA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4223" y="-7752"/>
              <a:ext cx="1821" cy="4776"/>
            </a:xfrm>
            <a:custGeom>
              <a:avLst/>
              <a:gdLst>
                <a:gd name="T0" fmla="*/ 550 w 771"/>
                <a:gd name="T1" fmla="*/ 1864 h 2022"/>
                <a:gd name="T2" fmla="*/ 572 w 771"/>
                <a:gd name="T3" fmla="*/ 1906 h 2022"/>
                <a:gd name="T4" fmla="*/ 567 w 771"/>
                <a:gd name="T5" fmla="*/ 1954 h 2022"/>
                <a:gd name="T6" fmla="*/ 690 w 771"/>
                <a:gd name="T7" fmla="*/ 1981 h 2022"/>
                <a:gd name="T8" fmla="*/ 658 w 771"/>
                <a:gd name="T9" fmla="*/ 1993 h 2022"/>
                <a:gd name="T10" fmla="*/ 617 w 771"/>
                <a:gd name="T11" fmla="*/ 1988 h 2022"/>
                <a:gd name="T12" fmla="*/ 663 w 771"/>
                <a:gd name="T13" fmla="*/ 2010 h 2022"/>
                <a:gd name="T14" fmla="*/ 500 w 771"/>
                <a:gd name="T15" fmla="*/ 1974 h 2022"/>
                <a:gd name="T16" fmla="*/ 526 w 771"/>
                <a:gd name="T17" fmla="*/ 1935 h 2022"/>
                <a:gd name="T18" fmla="*/ 471 w 771"/>
                <a:gd name="T19" fmla="*/ 1945 h 2022"/>
                <a:gd name="T20" fmla="*/ 397 w 771"/>
                <a:gd name="T21" fmla="*/ 1867 h 2022"/>
                <a:gd name="T22" fmla="*/ 345 w 771"/>
                <a:gd name="T23" fmla="*/ 1873 h 2022"/>
                <a:gd name="T24" fmla="*/ 355 w 771"/>
                <a:gd name="T25" fmla="*/ 1822 h 2022"/>
                <a:gd name="T26" fmla="*/ 326 w 771"/>
                <a:gd name="T27" fmla="*/ 1841 h 2022"/>
                <a:gd name="T28" fmla="*/ 342 w 771"/>
                <a:gd name="T29" fmla="*/ 1820 h 2022"/>
                <a:gd name="T30" fmla="*/ 287 w 771"/>
                <a:gd name="T31" fmla="*/ 1789 h 2022"/>
                <a:gd name="T32" fmla="*/ 267 w 771"/>
                <a:gd name="T33" fmla="*/ 1739 h 2022"/>
                <a:gd name="T34" fmla="*/ 257 w 771"/>
                <a:gd name="T35" fmla="*/ 1697 h 2022"/>
                <a:gd name="T36" fmla="*/ 208 w 771"/>
                <a:gd name="T37" fmla="*/ 1688 h 2022"/>
                <a:gd name="T38" fmla="*/ 144 w 771"/>
                <a:gd name="T39" fmla="*/ 1339 h 2022"/>
                <a:gd name="T40" fmla="*/ 163 w 771"/>
                <a:gd name="T41" fmla="*/ 1391 h 2022"/>
                <a:gd name="T42" fmla="*/ 186 w 771"/>
                <a:gd name="T43" fmla="*/ 1483 h 2022"/>
                <a:gd name="T44" fmla="*/ 212 w 771"/>
                <a:gd name="T45" fmla="*/ 1463 h 2022"/>
                <a:gd name="T46" fmla="*/ 143 w 771"/>
                <a:gd name="T47" fmla="*/ 1440 h 2022"/>
                <a:gd name="T48" fmla="*/ 498 w 771"/>
                <a:gd name="T49" fmla="*/ 1874 h 2022"/>
                <a:gd name="T50" fmla="*/ 449 w 771"/>
                <a:gd name="T51" fmla="*/ 1842 h 2022"/>
                <a:gd name="T52" fmla="*/ 338 w 771"/>
                <a:gd name="T53" fmla="*/ 1747 h 2022"/>
                <a:gd name="T54" fmla="*/ 317 w 771"/>
                <a:gd name="T55" fmla="*/ 1650 h 2022"/>
                <a:gd name="T56" fmla="*/ 304 w 771"/>
                <a:gd name="T57" fmla="*/ 1533 h 2022"/>
                <a:gd name="T58" fmla="*/ 272 w 771"/>
                <a:gd name="T59" fmla="*/ 1443 h 2022"/>
                <a:gd name="T60" fmla="*/ 215 w 771"/>
                <a:gd name="T61" fmla="*/ 1320 h 2022"/>
                <a:gd name="T62" fmla="*/ 187 w 771"/>
                <a:gd name="T63" fmla="*/ 1196 h 2022"/>
                <a:gd name="T64" fmla="*/ 165 w 771"/>
                <a:gd name="T65" fmla="*/ 1085 h 2022"/>
                <a:gd name="T66" fmla="*/ 166 w 771"/>
                <a:gd name="T67" fmla="*/ 954 h 2022"/>
                <a:gd name="T68" fmla="*/ 142 w 771"/>
                <a:gd name="T69" fmla="*/ 815 h 2022"/>
                <a:gd name="T70" fmla="*/ 109 w 771"/>
                <a:gd name="T71" fmla="*/ 685 h 2022"/>
                <a:gd name="T72" fmla="*/ 162 w 771"/>
                <a:gd name="T73" fmla="*/ 498 h 2022"/>
                <a:gd name="T74" fmla="*/ 184 w 771"/>
                <a:gd name="T75" fmla="*/ 293 h 2022"/>
                <a:gd name="T76" fmla="*/ 97 w 771"/>
                <a:gd name="T77" fmla="*/ 161 h 2022"/>
                <a:gd name="T78" fmla="*/ 45 w 771"/>
                <a:gd name="T79" fmla="*/ 22 h 2022"/>
                <a:gd name="T80" fmla="*/ 24 w 771"/>
                <a:gd name="T81" fmla="*/ 182 h 2022"/>
                <a:gd name="T82" fmla="*/ 47 w 771"/>
                <a:gd name="T83" fmla="*/ 417 h 2022"/>
                <a:gd name="T84" fmla="*/ 34 w 771"/>
                <a:gd name="T85" fmla="*/ 559 h 2022"/>
                <a:gd name="T86" fmla="*/ 47 w 771"/>
                <a:gd name="T87" fmla="*/ 720 h 2022"/>
                <a:gd name="T88" fmla="*/ 82 w 771"/>
                <a:gd name="T89" fmla="*/ 947 h 2022"/>
                <a:gd name="T90" fmla="*/ 72 w 771"/>
                <a:gd name="T91" fmla="*/ 1102 h 2022"/>
                <a:gd name="T92" fmla="*/ 129 w 771"/>
                <a:gd name="T93" fmla="*/ 1299 h 2022"/>
                <a:gd name="T94" fmla="*/ 193 w 771"/>
                <a:gd name="T95" fmla="*/ 1313 h 2022"/>
                <a:gd name="T96" fmla="*/ 212 w 771"/>
                <a:gd name="T97" fmla="*/ 1403 h 2022"/>
                <a:gd name="T98" fmla="*/ 252 w 771"/>
                <a:gd name="T99" fmla="*/ 1497 h 2022"/>
                <a:gd name="T100" fmla="*/ 214 w 771"/>
                <a:gd name="T101" fmla="*/ 1535 h 2022"/>
                <a:gd name="T102" fmla="*/ 176 w 771"/>
                <a:gd name="T103" fmla="*/ 1528 h 2022"/>
                <a:gd name="T104" fmla="*/ 214 w 771"/>
                <a:gd name="T105" fmla="*/ 1567 h 2022"/>
                <a:gd name="T106" fmla="*/ 257 w 771"/>
                <a:gd name="T107" fmla="*/ 1604 h 2022"/>
                <a:gd name="T108" fmla="*/ 265 w 771"/>
                <a:gd name="T109" fmla="*/ 1686 h 2022"/>
                <a:gd name="T110" fmla="*/ 298 w 771"/>
                <a:gd name="T111" fmla="*/ 1731 h 2022"/>
                <a:gd name="T112" fmla="*/ 331 w 771"/>
                <a:gd name="T113" fmla="*/ 1762 h 2022"/>
                <a:gd name="T114" fmla="*/ 407 w 771"/>
                <a:gd name="T115" fmla="*/ 1821 h 2022"/>
                <a:gd name="T116" fmla="*/ 434 w 771"/>
                <a:gd name="T117" fmla="*/ 1876 h 2022"/>
                <a:gd name="T118" fmla="*/ 459 w 771"/>
                <a:gd name="T119" fmla="*/ 1893 h 2022"/>
                <a:gd name="T120" fmla="*/ 428 w 771"/>
                <a:gd name="T121" fmla="*/ 1927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71" h="2022">
                  <a:moveTo>
                    <a:pt x="677" y="1942"/>
                  </a:moveTo>
                  <a:cubicBezTo>
                    <a:pt x="625" y="1916"/>
                    <a:pt x="625" y="1903"/>
                    <a:pt x="625" y="1903"/>
                  </a:cubicBezTo>
                  <a:cubicBezTo>
                    <a:pt x="602" y="1903"/>
                    <a:pt x="602" y="1903"/>
                    <a:pt x="602" y="1903"/>
                  </a:cubicBezTo>
                  <a:cubicBezTo>
                    <a:pt x="606" y="1892"/>
                    <a:pt x="606" y="1892"/>
                    <a:pt x="606" y="1892"/>
                  </a:cubicBezTo>
                  <a:cubicBezTo>
                    <a:pt x="580" y="1866"/>
                    <a:pt x="580" y="1866"/>
                    <a:pt x="580" y="1866"/>
                  </a:cubicBezTo>
                  <a:cubicBezTo>
                    <a:pt x="559" y="1872"/>
                    <a:pt x="559" y="1872"/>
                    <a:pt x="559" y="1872"/>
                  </a:cubicBezTo>
                  <a:cubicBezTo>
                    <a:pt x="550" y="1864"/>
                    <a:pt x="550" y="1864"/>
                    <a:pt x="550" y="1864"/>
                  </a:cubicBezTo>
                  <a:cubicBezTo>
                    <a:pt x="543" y="1876"/>
                    <a:pt x="543" y="1876"/>
                    <a:pt x="543" y="1876"/>
                  </a:cubicBezTo>
                  <a:cubicBezTo>
                    <a:pt x="530" y="1879"/>
                    <a:pt x="530" y="1879"/>
                    <a:pt x="530" y="1879"/>
                  </a:cubicBezTo>
                  <a:cubicBezTo>
                    <a:pt x="531" y="1890"/>
                    <a:pt x="531" y="1890"/>
                    <a:pt x="531" y="1890"/>
                  </a:cubicBezTo>
                  <a:cubicBezTo>
                    <a:pt x="520" y="1892"/>
                    <a:pt x="520" y="1892"/>
                    <a:pt x="520" y="1892"/>
                  </a:cubicBezTo>
                  <a:cubicBezTo>
                    <a:pt x="521" y="1910"/>
                    <a:pt x="521" y="1910"/>
                    <a:pt x="521" y="1910"/>
                  </a:cubicBezTo>
                  <a:cubicBezTo>
                    <a:pt x="534" y="1923"/>
                    <a:pt x="557" y="1900"/>
                    <a:pt x="557" y="1900"/>
                  </a:cubicBezTo>
                  <a:cubicBezTo>
                    <a:pt x="572" y="1906"/>
                    <a:pt x="572" y="1906"/>
                    <a:pt x="572" y="1906"/>
                  </a:cubicBezTo>
                  <a:cubicBezTo>
                    <a:pt x="572" y="1919"/>
                    <a:pt x="572" y="1919"/>
                    <a:pt x="572" y="1919"/>
                  </a:cubicBezTo>
                  <a:cubicBezTo>
                    <a:pt x="572" y="1919"/>
                    <a:pt x="541" y="1934"/>
                    <a:pt x="552" y="1938"/>
                  </a:cubicBezTo>
                  <a:cubicBezTo>
                    <a:pt x="562" y="1942"/>
                    <a:pt x="615" y="1960"/>
                    <a:pt x="615" y="1960"/>
                  </a:cubicBezTo>
                  <a:cubicBezTo>
                    <a:pt x="605" y="1974"/>
                    <a:pt x="605" y="1974"/>
                    <a:pt x="605" y="1974"/>
                  </a:cubicBezTo>
                  <a:cubicBezTo>
                    <a:pt x="605" y="1974"/>
                    <a:pt x="602" y="1961"/>
                    <a:pt x="592" y="1961"/>
                  </a:cubicBezTo>
                  <a:cubicBezTo>
                    <a:pt x="582" y="1961"/>
                    <a:pt x="579" y="1968"/>
                    <a:pt x="579" y="1968"/>
                  </a:cubicBezTo>
                  <a:cubicBezTo>
                    <a:pt x="567" y="1954"/>
                    <a:pt x="567" y="1954"/>
                    <a:pt x="567" y="1954"/>
                  </a:cubicBezTo>
                  <a:cubicBezTo>
                    <a:pt x="556" y="1958"/>
                    <a:pt x="556" y="1958"/>
                    <a:pt x="556" y="1958"/>
                  </a:cubicBezTo>
                  <a:cubicBezTo>
                    <a:pt x="565" y="1965"/>
                    <a:pt x="565" y="1965"/>
                    <a:pt x="565" y="1965"/>
                  </a:cubicBezTo>
                  <a:cubicBezTo>
                    <a:pt x="544" y="1962"/>
                    <a:pt x="544" y="1962"/>
                    <a:pt x="544" y="1962"/>
                  </a:cubicBezTo>
                  <a:cubicBezTo>
                    <a:pt x="544" y="1962"/>
                    <a:pt x="550" y="1978"/>
                    <a:pt x="566" y="1978"/>
                  </a:cubicBezTo>
                  <a:cubicBezTo>
                    <a:pt x="582" y="1978"/>
                    <a:pt x="595" y="1978"/>
                    <a:pt x="595" y="1978"/>
                  </a:cubicBezTo>
                  <a:cubicBezTo>
                    <a:pt x="595" y="1978"/>
                    <a:pt x="611" y="1984"/>
                    <a:pt x="621" y="1983"/>
                  </a:cubicBezTo>
                  <a:cubicBezTo>
                    <a:pt x="631" y="1981"/>
                    <a:pt x="676" y="1981"/>
                    <a:pt x="690" y="1981"/>
                  </a:cubicBezTo>
                  <a:cubicBezTo>
                    <a:pt x="705" y="1981"/>
                    <a:pt x="725" y="1994"/>
                    <a:pt x="725" y="1994"/>
                  </a:cubicBezTo>
                  <a:cubicBezTo>
                    <a:pt x="746" y="1983"/>
                    <a:pt x="746" y="1983"/>
                    <a:pt x="746" y="1983"/>
                  </a:cubicBezTo>
                  <a:cubicBezTo>
                    <a:pt x="758" y="1987"/>
                    <a:pt x="758" y="1987"/>
                    <a:pt x="758" y="1987"/>
                  </a:cubicBezTo>
                  <a:cubicBezTo>
                    <a:pt x="770" y="1986"/>
                    <a:pt x="770" y="1986"/>
                    <a:pt x="770" y="1986"/>
                  </a:cubicBezTo>
                  <a:cubicBezTo>
                    <a:pt x="771" y="1970"/>
                    <a:pt x="771" y="1970"/>
                    <a:pt x="771" y="1970"/>
                  </a:cubicBezTo>
                  <a:cubicBezTo>
                    <a:pt x="771" y="1970"/>
                    <a:pt x="729" y="1968"/>
                    <a:pt x="677" y="1942"/>
                  </a:cubicBezTo>
                  <a:close/>
                  <a:moveTo>
                    <a:pt x="658" y="1993"/>
                  </a:moveTo>
                  <a:cubicBezTo>
                    <a:pt x="676" y="2003"/>
                    <a:pt x="676" y="2003"/>
                    <a:pt x="676" y="2003"/>
                  </a:cubicBezTo>
                  <a:cubicBezTo>
                    <a:pt x="712" y="2006"/>
                    <a:pt x="712" y="2006"/>
                    <a:pt x="712" y="2006"/>
                  </a:cubicBezTo>
                  <a:cubicBezTo>
                    <a:pt x="693" y="1988"/>
                    <a:pt x="693" y="1988"/>
                    <a:pt x="693" y="1988"/>
                  </a:cubicBezTo>
                  <a:lnTo>
                    <a:pt x="658" y="1993"/>
                  </a:lnTo>
                  <a:close/>
                  <a:moveTo>
                    <a:pt x="638" y="1997"/>
                  </a:moveTo>
                  <a:cubicBezTo>
                    <a:pt x="644" y="1991"/>
                    <a:pt x="644" y="1991"/>
                    <a:pt x="644" y="1991"/>
                  </a:cubicBezTo>
                  <a:cubicBezTo>
                    <a:pt x="617" y="1988"/>
                    <a:pt x="617" y="1988"/>
                    <a:pt x="617" y="1988"/>
                  </a:cubicBezTo>
                  <a:cubicBezTo>
                    <a:pt x="593" y="1988"/>
                    <a:pt x="593" y="1988"/>
                    <a:pt x="593" y="1988"/>
                  </a:cubicBezTo>
                  <a:cubicBezTo>
                    <a:pt x="602" y="2012"/>
                    <a:pt x="602" y="2012"/>
                    <a:pt x="602" y="2012"/>
                  </a:cubicBezTo>
                  <a:cubicBezTo>
                    <a:pt x="625" y="2014"/>
                    <a:pt x="625" y="2014"/>
                    <a:pt x="625" y="2014"/>
                  </a:cubicBezTo>
                  <a:cubicBezTo>
                    <a:pt x="619" y="2004"/>
                    <a:pt x="619" y="2004"/>
                    <a:pt x="619" y="2004"/>
                  </a:cubicBezTo>
                  <a:cubicBezTo>
                    <a:pt x="625" y="2000"/>
                    <a:pt x="625" y="2000"/>
                    <a:pt x="625" y="2000"/>
                  </a:cubicBezTo>
                  <a:cubicBezTo>
                    <a:pt x="632" y="2010"/>
                    <a:pt x="632" y="2010"/>
                    <a:pt x="632" y="2010"/>
                  </a:cubicBezTo>
                  <a:cubicBezTo>
                    <a:pt x="663" y="2010"/>
                    <a:pt x="663" y="2010"/>
                    <a:pt x="663" y="2010"/>
                  </a:cubicBezTo>
                  <a:cubicBezTo>
                    <a:pt x="673" y="2022"/>
                    <a:pt x="673" y="2022"/>
                    <a:pt x="673" y="2022"/>
                  </a:cubicBezTo>
                  <a:cubicBezTo>
                    <a:pt x="686" y="2022"/>
                    <a:pt x="686" y="2022"/>
                    <a:pt x="686" y="2022"/>
                  </a:cubicBezTo>
                  <a:cubicBezTo>
                    <a:pt x="666" y="2001"/>
                    <a:pt x="666" y="2001"/>
                    <a:pt x="666" y="2001"/>
                  </a:cubicBezTo>
                  <a:lnTo>
                    <a:pt x="638" y="1997"/>
                  </a:lnTo>
                  <a:close/>
                  <a:moveTo>
                    <a:pt x="537" y="1967"/>
                  </a:moveTo>
                  <a:cubicBezTo>
                    <a:pt x="495" y="1962"/>
                    <a:pt x="495" y="1962"/>
                    <a:pt x="495" y="1962"/>
                  </a:cubicBezTo>
                  <a:cubicBezTo>
                    <a:pt x="500" y="1974"/>
                    <a:pt x="500" y="1974"/>
                    <a:pt x="500" y="1974"/>
                  </a:cubicBezTo>
                  <a:cubicBezTo>
                    <a:pt x="527" y="1973"/>
                    <a:pt x="527" y="1973"/>
                    <a:pt x="527" y="1973"/>
                  </a:cubicBezTo>
                  <a:cubicBezTo>
                    <a:pt x="537" y="1987"/>
                    <a:pt x="537" y="1987"/>
                    <a:pt x="537" y="1987"/>
                  </a:cubicBezTo>
                  <a:cubicBezTo>
                    <a:pt x="575" y="2003"/>
                    <a:pt x="575" y="2003"/>
                    <a:pt x="575" y="2003"/>
                  </a:cubicBezTo>
                  <a:cubicBezTo>
                    <a:pt x="552" y="1983"/>
                    <a:pt x="552" y="1983"/>
                    <a:pt x="552" y="1983"/>
                  </a:cubicBezTo>
                  <a:lnTo>
                    <a:pt x="537" y="1967"/>
                  </a:lnTo>
                  <a:close/>
                  <a:moveTo>
                    <a:pt x="534" y="1924"/>
                  </a:moveTo>
                  <a:cubicBezTo>
                    <a:pt x="526" y="1935"/>
                    <a:pt x="526" y="1935"/>
                    <a:pt x="526" y="1935"/>
                  </a:cubicBezTo>
                  <a:cubicBezTo>
                    <a:pt x="530" y="1955"/>
                    <a:pt x="530" y="1955"/>
                    <a:pt x="530" y="1955"/>
                  </a:cubicBezTo>
                  <a:cubicBezTo>
                    <a:pt x="546" y="1949"/>
                    <a:pt x="546" y="1949"/>
                    <a:pt x="546" y="1949"/>
                  </a:cubicBezTo>
                  <a:lnTo>
                    <a:pt x="534" y="1924"/>
                  </a:lnTo>
                  <a:close/>
                  <a:moveTo>
                    <a:pt x="515" y="1954"/>
                  </a:moveTo>
                  <a:cubicBezTo>
                    <a:pt x="513" y="1942"/>
                    <a:pt x="513" y="1942"/>
                    <a:pt x="513" y="1942"/>
                  </a:cubicBezTo>
                  <a:cubicBezTo>
                    <a:pt x="479" y="1934"/>
                    <a:pt x="479" y="1934"/>
                    <a:pt x="479" y="1934"/>
                  </a:cubicBezTo>
                  <a:cubicBezTo>
                    <a:pt x="471" y="1945"/>
                    <a:pt x="471" y="1945"/>
                    <a:pt x="471" y="1945"/>
                  </a:cubicBezTo>
                  <a:cubicBezTo>
                    <a:pt x="472" y="1958"/>
                    <a:pt x="472" y="1958"/>
                    <a:pt x="472" y="1958"/>
                  </a:cubicBezTo>
                  <a:cubicBezTo>
                    <a:pt x="495" y="1949"/>
                    <a:pt x="495" y="1949"/>
                    <a:pt x="495" y="1949"/>
                  </a:cubicBezTo>
                  <a:lnTo>
                    <a:pt x="515" y="1954"/>
                  </a:lnTo>
                  <a:close/>
                  <a:moveTo>
                    <a:pt x="407" y="1848"/>
                  </a:moveTo>
                  <a:cubicBezTo>
                    <a:pt x="407" y="1848"/>
                    <a:pt x="381" y="1835"/>
                    <a:pt x="378" y="1847"/>
                  </a:cubicBezTo>
                  <a:cubicBezTo>
                    <a:pt x="375" y="1859"/>
                    <a:pt x="371" y="1874"/>
                    <a:pt x="375" y="1874"/>
                  </a:cubicBezTo>
                  <a:cubicBezTo>
                    <a:pt x="380" y="1874"/>
                    <a:pt x="397" y="1867"/>
                    <a:pt x="397" y="1867"/>
                  </a:cubicBezTo>
                  <a:cubicBezTo>
                    <a:pt x="399" y="1883"/>
                    <a:pt x="399" y="1883"/>
                    <a:pt x="399" y="1883"/>
                  </a:cubicBezTo>
                  <a:cubicBezTo>
                    <a:pt x="420" y="1873"/>
                    <a:pt x="420" y="1873"/>
                    <a:pt x="420" y="1873"/>
                  </a:cubicBezTo>
                  <a:cubicBezTo>
                    <a:pt x="409" y="1863"/>
                    <a:pt x="409" y="1863"/>
                    <a:pt x="409" y="1863"/>
                  </a:cubicBezTo>
                  <a:cubicBezTo>
                    <a:pt x="413" y="1851"/>
                    <a:pt x="413" y="1851"/>
                    <a:pt x="413" y="1851"/>
                  </a:cubicBezTo>
                  <a:lnTo>
                    <a:pt x="407" y="1848"/>
                  </a:lnTo>
                  <a:close/>
                  <a:moveTo>
                    <a:pt x="368" y="1886"/>
                  </a:moveTo>
                  <a:cubicBezTo>
                    <a:pt x="345" y="1873"/>
                    <a:pt x="345" y="1873"/>
                    <a:pt x="345" y="1873"/>
                  </a:cubicBezTo>
                  <a:cubicBezTo>
                    <a:pt x="362" y="1892"/>
                    <a:pt x="362" y="1892"/>
                    <a:pt x="362" y="1892"/>
                  </a:cubicBezTo>
                  <a:cubicBezTo>
                    <a:pt x="393" y="1896"/>
                    <a:pt x="393" y="1896"/>
                    <a:pt x="393" y="1896"/>
                  </a:cubicBezTo>
                  <a:cubicBezTo>
                    <a:pt x="404" y="1903"/>
                    <a:pt x="404" y="1903"/>
                    <a:pt x="404" y="1903"/>
                  </a:cubicBezTo>
                  <a:cubicBezTo>
                    <a:pt x="393" y="1889"/>
                    <a:pt x="393" y="1889"/>
                    <a:pt x="393" y="1889"/>
                  </a:cubicBezTo>
                  <a:lnTo>
                    <a:pt x="368" y="1886"/>
                  </a:lnTo>
                  <a:close/>
                  <a:moveTo>
                    <a:pt x="368" y="1835"/>
                  </a:moveTo>
                  <a:cubicBezTo>
                    <a:pt x="355" y="1822"/>
                    <a:pt x="355" y="1822"/>
                    <a:pt x="355" y="1822"/>
                  </a:cubicBezTo>
                  <a:cubicBezTo>
                    <a:pt x="351" y="1844"/>
                    <a:pt x="351" y="1844"/>
                    <a:pt x="351" y="1844"/>
                  </a:cubicBezTo>
                  <a:cubicBezTo>
                    <a:pt x="336" y="1848"/>
                    <a:pt x="336" y="1848"/>
                    <a:pt x="336" y="1848"/>
                  </a:cubicBezTo>
                  <a:cubicBezTo>
                    <a:pt x="365" y="1860"/>
                    <a:pt x="365" y="1860"/>
                    <a:pt x="365" y="1860"/>
                  </a:cubicBezTo>
                  <a:lnTo>
                    <a:pt x="368" y="1835"/>
                  </a:lnTo>
                  <a:close/>
                  <a:moveTo>
                    <a:pt x="296" y="1827"/>
                  </a:moveTo>
                  <a:cubicBezTo>
                    <a:pt x="319" y="1848"/>
                    <a:pt x="319" y="1848"/>
                    <a:pt x="319" y="1848"/>
                  </a:cubicBezTo>
                  <a:cubicBezTo>
                    <a:pt x="326" y="1841"/>
                    <a:pt x="326" y="1841"/>
                    <a:pt x="326" y="1841"/>
                  </a:cubicBezTo>
                  <a:cubicBezTo>
                    <a:pt x="306" y="1818"/>
                    <a:pt x="306" y="1818"/>
                    <a:pt x="306" y="1818"/>
                  </a:cubicBezTo>
                  <a:lnTo>
                    <a:pt x="296" y="1827"/>
                  </a:lnTo>
                  <a:close/>
                  <a:moveTo>
                    <a:pt x="342" y="1820"/>
                  </a:moveTo>
                  <a:cubicBezTo>
                    <a:pt x="335" y="1814"/>
                    <a:pt x="335" y="1814"/>
                    <a:pt x="335" y="1814"/>
                  </a:cubicBezTo>
                  <a:cubicBezTo>
                    <a:pt x="329" y="1824"/>
                    <a:pt x="329" y="1824"/>
                    <a:pt x="329" y="1824"/>
                  </a:cubicBezTo>
                  <a:cubicBezTo>
                    <a:pt x="336" y="1833"/>
                    <a:pt x="336" y="1833"/>
                    <a:pt x="336" y="1833"/>
                  </a:cubicBezTo>
                  <a:lnTo>
                    <a:pt x="342" y="1820"/>
                  </a:lnTo>
                  <a:close/>
                  <a:moveTo>
                    <a:pt x="303" y="1805"/>
                  </a:moveTo>
                  <a:cubicBezTo>
                    <a:pt x="306" y="1788"/>
                    <a:pt x="306" y="1788"/>
                    <a:pt x="306" y="1788"/>
                  </a:cubicBezTo>
                  <a:cubicBezTo>
                    <a:pt x="303" y="1763"/>
                    <a:pt x="303" y="1763"/>
                    <a:pt x="303" y="1763"/>
                  </a:cubicBezTo>
                  <a:cubicBezTo>
                    <a:pt x="292" y="1759"/>
                    <a:pt x="292" y="1759"/>
                    <a:pt x="292" y="1759"/>
                  </a:cubicBezTo>
                  <a:cubicBezTo>
                    <a:pt x="292" y="1770"/>
                    <a:pt x="292" y="1770"/>
                    <a:pt x="292" y="1770"/>
                  </a:cubicBezTo>
                  <a:cubicBezTo>
                    <a:pt x="270" y="1766"/>
                    <a:pt x="270" y="1766"/>
                    <a:pt x="270" y="1766"/>
                  </a:cubicBezTo>
                  <a:cubicBezTo>
                    <a:pt x="287" y="1789"/>
                    <a:pt x="287" y="1789"/>
                    <a:pt x="287" y="1789"/>
                  </a:cubicBezTo>
                  <a:cubicBezTo>
                    <a:pt x="283" y="1818"/>
                    <a:pt x="283" y="1818"/>
                    <a:pt x="283" y="1818"/>
                  </a:cubicBezTo>
                  <a:lnTo>
                    <a:pt x="303" y="1805"/>
                  </a:lnTo>
                  <a:close/>
                  <a:moveTo>
                    <a:pt x="243" y="1752"/>
                  </a:moveTo>
                  <a:cubicBezTo>
                    <a:pt x="254" y="1753"/>
                    <a:pt x="254" y="1753"/>
                    <a:pt x="254" y="1753"/>
                  </a:cubicBezTo>
                  <a:cubicBezTo>
                    <a:pt x="261" y="1775"/>
                    <a:pt x="261" y="1775"/>
                    <a:pt x="261" y="1775"/>
                  </a:cubicBezTo>
                  <a:cubicBezTo>
                    <a:pt x="266" y="1755"/>
                    <a:pt x="266" y="1755"/>
                    <a:pt x="266" y="1755"/>
                  </a:cubicBezTo>
                  <a:cubicBezTo>
                    <a:pt x="267" y="1739"/>
                    <a:pt x="267" y="1739"/>
                    <a:pt x="267" y="1739"/>
                  </a:cubicBezTo>
                  <a:cubicBezTo>
                    <a:pt x="250" y="1734"/>
                    <a:pt x="250" y="1734"/>
                    <a:pt x="250" y="1734"/>
                  </a:cubicBezTo>
                  <a:lnTo>
                    <a:pt x="243" y="1752"/>
                  </a:lnTo>
                  <a:close/>
                  <a:moveTo>
                    <a:pt x="248" y="1727"/>
                  </a:moveTo>
                  <a:cubicBezTo>
                    <a:pt x="253" y="1726"/>
                    <a:pt x="256" y="1717"/>
                    <a:pt x="256" y="1717"/>
                  </a:cubicBezTo>
                  <a:cubicBezTo>
                    <a:pt x="276" y="1734"/>
                    <a:pt x="276" y="1734"/>
                    <a:pt x="276" y="1734"/>
                  </a:cubicBezTo>
                  <a:cubicBezTo>
                    <a:pt x="277" y="1718"/>
                    <a:pt x="277" y="1718"/>
                    <a:pt x="277" y="1718"/>
                  </a:cubicBezTo>
                  <a:cubicBezTo>
                    <a:pt x="257" y="1697"/>
                    <a:pt x="257" y="1697"/>
                    <a:pt x="257" y="1697"/>
                  </a:cubicBezTo>
                  <a:cubicBezTo>
                    <a:pt x="257" y="1697"/>
                    <a:pt x="241" y="1674"/>
                    <a:pt x="241" y="1662"/>
                  </a:cubicBezTo>
                  <a:cubicBezTo>
                    <a:pt x="241" y="1651"/>
                    <a:pt x="230" y="1639"/>
                    <a:pt x="219" y="1633"/>
                  </a:cubicBezTo>
                  <a:cubicBezTo>
                    <a:pt x="209" y="1628"/>
                    <a:pt x="209" y="1639"/>
                    <a:pt x="209" y="1639"/>
                  </a:cubicBezTo>
                  <a:cubicBezTo>
                    <a:pt x="195" y="1635"/>
                    <a:pt x="195" y="1635"/>
                    <a:pt x="195" y="1635"/>
                  </a:cubicBezTo>
                  <a:cubicBezTo>
                    <a:pt x="195" y="1635"/>
                    <a:pt x="180" y="1662"/>
                    <a:pt x="191" y="1662"/>
                  </a:cubicBezTo>
                  <a:cubicBezTo>
                    <a:pt x="201" y="1662"/>
                    <a:pt x="221" y="1662"/>
                    <a:pt x="221" y="1662"/>
                  </a:cubicBezTo>
                  <a:cubicBezTo>
                    <a:pt x="208" y="1688"/>
                    <a:pt x="208" y="1688"/>
                    <a:pt x="208" y="1688"/>
                  </a:cubicBezTo>
                  <a:cubicBezTo>
                    <a:pt x="217" y="1688"/>
                    <a:pt x="217" y="1688"/>
                    <a:pt x="217" y="1688"/>
                  </a:cubicBezTo>
                  <a:cubicBezTo>
                    <a:pt x="231" y="1675"/>
                    <a:pt x="231" y="1675"/>
                    <a:pt x="231" y="1675"/>
                  </a:cubicBezTo>
                  <a:cubicBezTo>
                    <a:pt x="230" y="1691"/>
                    <a:pt x="230" y="1691"/>
                    <a:pt x="230" y="1691"/>
                  </a:cubicBezTo>
                  <a:cubicBezTo>
                    <a:pt x="230" y="1691"/>
                    <a:pt x="244" y="1729"/>
                    <a:pt x="248" y="1727"/>
                  </a:cubicBezTo>
                  <a:close/>
                  <a:moveTo>
                    <a:pt x="163" y="1391"/>
                  </a:moveTo>
                  <a:cubicBezTo>
                    <a:pt x="165" y="1359"/>
                    <a:pt x="165" y="1359"/>
                    <a:pt x="165" y="1359"/>
                  </a:cubicBezTo>
                  <a:cubicBezTo>
                    <a:pt x="144" y="1339"/>
                    <a:pt x="144" y="1339"/>
                    <a:pt x="144" y="1339"/>
                  </a:cubicBezTo>
                  <a:cubicBezTo>
                    <a:pt x="154" y="1329"/>
                    <a:pt x="154" y="1329"/>
                    <a:pt x="154" y="1329"/>
                  </a:cubicBezTo>
                  <a:cubicBezTo>
                    <a:pt x="140" y="1313"/>
                    <a:pt x="140" y="1313"/>
                    <a:pt x="140" y="1313"/>
                  </a:cubicBezTo>
                  <a:cubicBezTo>
                    <a:pt x="117" y="1304"/>
                    <a:pt x="117" y="1304"/>
                    <a:pt x="117" y="1304"/>
                  </a:cubicBezTo>
                  <a:cubicBezTo>
                    <a:pt x="117" y="1304"/>
                    <a:pt x="114" y="1340"/>
                    <a:pt x="123" y="1343"/>
                  </a:cubicBezTo>
                  <a:cubicBezTo>
                    <a:pt x="131" y="1346"/>
                    <a:pt x="137" y="1366"/>
                    <a:pt x="137" y="1366"/>
                  </a:cubicBezTo>
                  <a:cubicBezTo>
                    <a:pt x="133" y="1379"/>
                    <a:pt x="133" y="1379"/>
                    <a:pt x="133" y="1379"/>
                  </a:cubicBezTo>
                  <a:lnTo>
                    <a:pt x="163" y="1391"/>
                  </a:lnTo>
                  <a:close/>
                  <a:moveTo>
                    <a:pt x="163" y="1453"/>
                  </a:moveTo>
                  <a:cubicBezTo>
                    <a:pt x="170" y="1461"/>
                    <a:pt x="170" y="1461"/>
                    <a:pt x="170" y="1461"/>
                  </a:cubicBezTo>
                  <a:cubicBezTo>
                    <a:pt x="188" y="1461"/>
                    <a:pt x="188" y="1461"/>
                    <a:pt x="188" y="1461"/>
                  </a:cubicBezTo>
                  <a:cubicBezTo>
                    <a:pt x="195" y="1448"/>
                    <a:pt x="195" y="1448"/>
                    <a:pt x="195" y="1448"/>
                  </a:cubicBezTo>
                  <a:cubicBezTo>
                    <a:pt x="176" y="1453"/>
                    <a:pt x="176" y="1453"/>
                    <a:pt x="176" y="1453"/>
                  </a:cubicBezTo>
                  <a:lnTo>
                    <a:pt x="163" y="1453"/>
                  </a:lnTo>
                  <a:close/>
                  <a:moveTo>
                    <a:pt x="186" y="1483"/>
                  </a:moveTo>
                  <a:cubicBezTo>
                    <a:pt x="188" y="1495"/>
                    <a:pt x="188" y="1495"/>
                    <a:pt x="188" y="1495"/>
                  </a:cubicBezTo>
                  <a:cubicBezTo>
                    <a:pt x="204" y="1505"/>
                    <a:pt x="204" y="1505"/>
                    <a:pt x="204" y="1505"/>
                  </a:cubicBezTo>
                  <a:cubicBezTo>
                    <a:pt x="204" y="1489"/>
                    <a:pt x="204" y="1489"/>
                    <a:pt x="204" y="1489"/>
                  </a:cubicBezTo>
                  <a:cubicBezTo>
                    <a:pt x="195" y="1473"/>
                    <a:pt x="195" y="1473"/>
                    <a:pt x="195" y="1473"/>
                  </a:cubicBezTo>
                  <a:cubicBezTo>
                    <a:pt x="173" y="1474"/>
                    <a:pt x="173" y="1474"/>
                    <a:pt x="173" y="1474"/>
                  </a:cubicBezTo>
                  <a:lnTo>
                    <a:pt x="186" y="1483"/>
                  </a:lnTo>
                  <a:close/>
                  <a:moveTo>
                    <a:pt x="212" y="1463"/>
                  </a:moveTo>
                  <a:cubicBezTo>
                    <a:pt x="212" y="1463"/>
                    <a:pt x="244" y="1444"/>
                    <a:pt x="222" y="1440"/>
                  </a:cubicBezTo>
                  <a:cubicBezTo>
                    <a:pt x="201" y="1435"/>
                    <a:pt x="199" y="1463"/>
                    <a:pt x="212" y="1463"/>
                  </a:cubicBezTo>
                  <a:close/>
                  <a:moveTo>
                    <a:pt x="166" y="1409"/>
                  </a:moveTo>
                  <a:cubicBezTo>
                    <a:pt x="152" y="1420"/>
                    <a:pt x="159" y="1430"/>
                    <a:pt x="169" y="1427"/>
                  </a:cubicBezTo>
                  <a:cubicBezTo>
                    <a:pt x="181" y="1423"/>
                    <a:pt x="180" y="1399"/>
                    <a:pt x="166" y="1409"/>
                  </a:cubicBezTo>
                  <a:close/>
                  <a:moveTo>
                    <a:pt x="156" y="1437"/>
                  </a:moveTo>
                  <a:cubicBezTo>
                    <a:pt x="143" y="1440"/>
                    <a:pt x="143" y="1440"/>
                    <a:pt x="143" y="1440"/>
                  </a:cubicBezTo>
                  <a:cubicBezTo>
                    <a:pt x="150" y="1453"/>
                    <a:pt x="150" y="1453"/>
                    <a:pt x="150" y="1453"/>
                  </a:cubicBezTo>
                  <a:lnTo>
                    <a:pt x="156" y="1437"/>
                  </a:lnTo>
                  <a:close/>
                  <a:moveTo>
                    <a:pt x="476" y="1919"/>
                  </a:moveTo>
                  <a:cubicBezTo>
                    <a:pt x="485" y="1915"/>
                    <a:pt x="484" y="1925"/>
                    <a:pt x="484" y="1925"/>
                  </a:cubicBezTo>
                  <a:cubicBezTo>
                    <a:pt x="484" y="1925"/>
                    <a:pt x="499" y="1928"/>
                    <a:pt x="514" y="1925"/>
                  </a:cubicBezTo>
                  <a:cubicBezTo>
                    <a:pt x="528" y="1921"/>
                    <a:pt x="498" y="1899"/>
                    <a:pt x="498" y="1899"/>
                  </a:cubicBezTo>
                  <a:cubicBezTo>
                    <a:pt x="498" y="1874"/>
                    <a:pt x="498" y="1874"/>
                    <a:pt x="498" y="1874"/>
                  </a:cubicBezTo>
                  <a:cubicBezTo>
                    <a:pt x="523" y="1872"/>
                    <a:pt x="523" y="1872"/>
                    <a:pt x="523" y="1872"/>
                  </a:cubicBezTo>
                  <a:cubicBezTo>
                    <a:pt x="521" y="1860"/>
                    <a:pt x="521" y="1860"/>
                    <a:pt x="521" y="1860"/>
                  </a:cubicBezTo>
                  <a:cubicBezTo>
                    <a:pt x="537" y="1862"/>
                    <a:pt x="537" y="1862"/>
                    <a:pt x="537" y="1862"/>
                  </a:cubicBezTo>
                  <a:cubicBezTo>
                    <a:pt x="542" y="1850"/>
                    <a:pt x="542" y="1850"/>
                    <a:pt x="542" y="1850"/>
                  </a:cubicBezTo>
                  <a:cubicBezTo>
                    <a:pt x="527" y="1838"/>
                    <a:pt x="527" y="1838"/>
                    <a:pt x="527" y="1838"/>
                  </a:cubicBezTo>
                  <a:cubicBezTo>
                    <a:pt x="527" y="1838"/>
                    <a:pt x="507" y="1839"/>
                    <a:pt x="491" y="1837"/>
                  </a:cubicBezTo>
                  <a:cubicBezTo>
                    <a:pt x="475" y="1835"/>
                    <a:pt x="449" y="1842"/>
                    <a:pt x="449" y="1842"/>
                  </a:cubicBezTo>
                  <a:cubicBezTo>
                    <a:pt x="437" y="1830"/>
                    <a:pt x="437" y="1830"/>
                    <a:pt x="437" y="1830"/>
                  </a:cubicBezTo>
                  <a:cubicBezTo>
                    <a:pt x="413" y="1819"/>
                    <a:pt x="413" y="1819"/>
                    <a:pt x="413" y="1819"/>
                  </a:cubicBezTo>
                  <a:cubicBezTo>
                    <a:pt x="406" y="1808"/>
                    <a:pt x="406" y="1808"/>
                    <a:pt x="406" y="1808"/>
                  </a:cubicBezTo>
                  <a:cubicBezTo>
                    <a:pt x="392" y="1792"/>
                    <a:pt x="392" y="1792"/>
                    <a:pt x="392" y="1792"/>
                  </a:cubicBezTo>
                  <a:cubicBezTo>
                    <a:pt x="392" y="1792"/>
                    <a:pt x="398" y="1780"/>
                    <a:pt x="383" y="1767"/>
                  </a:cubicBezTo>
                  <a:cubicBezTo>
                    <a:pt x="368" y="1754"/>
                    <a:pt x="362" y="1772"/>
                    <a:pt x="352" y="1772"/>
                  </a:cubicBezTo>
                  <a:cubicBezTo>
                    <a:pt x="342" y="1772"/>
                    <a:pt x="338" y="1747"/>
                    <a:pt x="338" y="1747"/>
                  </a:cubicBezTo>
                  <a:cubicBezTo>
                    <a:pt x="318" y="1743"/>
                    <a:pt x="318" y="1743"/>
                    <a:pt x="318" y="1743"/>
                  </a:cubicBezTo>
                  <a:cubicBezTo>
                    <a:pt x="318" y="1743"/>
                    <a:pt x="320" y="1723"/>
                    <a:pt x="315" y="1718"/>
                  </a:cubicBezTo>
                  <a:cubicBezTo>
                    <a:pt x="310" y="1713"/>
                    <a:pt x="308" y="1697"/>
                    <a:pt x="308" y="1697"/>
                  </a:cubicBezTo>
                  <a:cubicBezTo>
                    <a:pt x="315" y="1693"/>
                    <a:pt x="315" y="1693"/>
                    <a:pt x="315" y="1693"/>
                  </a:cubicBezTo>
                  <a:cubicBezTo>
                    <a:pt x="316" y="1680"/>
                    <a:pt x="316" y="1680"/>
                    <a:pt x="316" y="1680"/>
                  </a:cubicBezTo>
                  <a:cubicBezTo>
                    <a:pt x="316" y="1680"/>
                    <a:pt x="331" y="1675"/>
                    <a:pt x="334" y="1670"/>
                  </a:cubicBezTo>
                  <a:cubicBezTo>
                    <a:pt x="337" y="1665"/>
                    <a:pt x="317" y="1650"/>
                    <a:pt x="317" y="1650"/>
                  </a:cubicBezTo>
                  <a:cubicBezTo>
                    <a:pt x="317" y="1650"/>
                    <a:pt x="333" y="1641"/>
                    <a:pt x="332" y="1638"/>
                  </a:cubicBezTo>
                  <a:cubicBezTo>
                    <a:pt x="331" y="1635"/>
                    <a:pt x="312" y="1624"/>
                    <a:pt x="312" y="1624"/>
                  </a:cubicBezTo>
                  <a:cubicBezTo>
                    <a:pt x="315" y="1594"/>
                    <a:pt x="315" y="1594"/>
                    <a:pt x="315" y="1594"/>
                  </a:cubicBezTo>
                  <a:cubicBezTo>
                    <a:pt x="326" y="1590"/>
                    <a:pt x="326" y="1590"/>
                    <a:pt x="326" y="1590"/>
                  </a:cubicBezTo>
                  <a:cubicBezTo>
                    <a:pt x="316" y="1573"/>
                    <a:pt x="316" y="1573"/>
                    <a:pt x="316" y="1573"/>
                  </a:cubicBezTo>
                  <a:cubicBezTo>
                    <a:pt x="319" y="1551"/>
                    <a:pt x="319" y="1551"/>
                    <a:pt x="319" y="1551"/>
                  </a:cubicBezTo>
                  <a:cubicBezTo>
                    <a:pt x="304" y="1533"/>
                    <a:pt x="304" y="1533"/>
                    <a:pt x="304" y="1533"/>
                  </a:cubicBezTo>
                  <a:cubicBezTo>
                    <a:pt x="307" y="1518"/>
                    <a:pt x="307" y="1518"/>
                    <a:pt x="307" y="1518"/>
                  </a:cubicBezTo>
                  <a:cubicBezTo>
                    <a:pt x="291" y="1506"/>
                    <a:pt x="291" y="1506"/>
                    <a:pt x="291" y="1506"/>
                  </a:cubicBezTo>
                  <a:cubicBezTo>
                    <a:pt x="291" y="1506"/>
                    <a:pt x="304" y="1495"/>
                    <a:pt x="307" y="1487"/>
                  </a:cubicBezTo>
                  <a:cubicBezTo>
                    <a:pt x="310" y="1479"/>
                    <a:pt x="287" y="1470"/>
                    <a:pt x="287" y="1470"/>
                  </a:cubicBezTo>
                  <a:cubicBezTo>
                    <a:pt x="287" y="1470"/>
                    <a:pt x="264" y="1463"/>
                    <a:pt x="263" y="1460"/>
                  </a:cubicBezTo>
                  <a:cubicBezTo>
                    <a:pt x="262" y="1457"/>
                    <a:pt x="294" y="1460"/>
                    <a:pt x="296" y="1449"/>
                  </a:cubicBezTo>
                  <a:cubicBezTo>
                    <a:pt x="298" y="1438"/>
                    <a:pt x="279" y="1443"/>
                    <a:pt x="272" y="1443"/>
                  </a:cubicBezTo>
                  <a:cubicBezTo>
                    <a:pt x="265" y="1443"/>
                    <a:pt x="260" y="1433"/>
                    <a:pt x="260" y="1433"/>
                  </a:cubicBezTo>
                  <a:cubicBezTo>
                    <a:pt x="260" y="1433"/>
                    <a:pt x="259" y="1416"/>
                    <a:pt x="258" y="1405"/>
                  </a:cubicBezTo>
                  <a:cubicBezTo>
                    <a:pt x="257" y="1394"/>
                    <a:pt x="241" y="1393"/>
                    <a:pt x="241" y="1393"/>
                  </a:cubicBezTo>
                  <a:cubicBezTo>
                    <a:pt x="245" y="1375"/>
                    <a:pt x="245" y="1375"/>
                    <a:pt x="245" y="1375"/>
                  </a:cubicBezTo>
                  <a:cubicBezTo>
                    <a:pt x="235" y="1370"/>
                    <a:pt x="235" y="1370"/>
                    <a:pt x="235" y="1370"/>
                  </a:cubicBezTo>
                  <a:cubicBezTo>
                    <a:pt x="235" y="1370"/>
                    <a:pt x="226" y="1366"/>
                    <a:pt x="223" y="1358"/>
                  </a:cubicBezTo>
                  <a:cubicBezTo>
                    <a:pt x="220" y="1350"/>
                    <a:pt x="215" y="1320"/>
                    <a:pt x="215" y="1320"/>
                  </a:cubicBezTo>
                  <a:cubicBezTo>
                    <a:pt x="215" y="1320"/>
                    <a:pt x="226" y="1311"/>
                    <a:pt x="231" y="1312"/>
                  </a:cubicBezTo>
                  <a:cubicBezTo>
                    <a:pt x="236" y="1313"/>
                    <a:pt x="207" y="1292"/>
                    <a:pt x="204" y="1286"/>
                  </a:cubicBezTo>
                  <a:cubicBezTo>
                    <a:pt x="201" y="1280"/>
                    <a:pt x="201" y="1261"/>
                    <a:pt x="201" y="1261"/>
                  </a:cubicBezTo>
                  <a:cubicBezTo>
                    <a:pt x="201" y="1261"/>
                    <a:pt x="194" y="1250"/>
                    <a:pt x="193" y="1244"/>
                  </a:cubicBezTo>
                  <a:cubicBezTo>
                    <a:pt x="192" y="1238"/>
                    <a:pt x="197" y="1220"/>
                    <a:pt x="197" y="1220"/>
                  </a:cubicBezTo>
                  <a:cubicBezTo>
                    <a:pt x="183" y="1212"/>
                    <a:pt x="183" y="1212"/>
                    <a:pt x="183" y="1212"/>
                  </a:cubicBezTo>
                  <a:cubicBezTo>
                    <a:pt x="183" y="1212"/>
                    <a:pt x="188" y="1204"/>
                    <a:pt x="187" y="1196"/>
                  </a:cubicBezTo>
                  <a:cubicBezTo>
                    <a:pt x="186" y="1188"/>
                    <a:pt x="176" y="1183"/>
                    <a:pt x="176" y="1183"/>
                  </a:cubicBezTo>
                  <a:cubicBezTo>
                    <a:pt x="189" y="1174"/>
                    <a:pt x="189" y="1174"/>
                    <a:pt x="189" y="1174"/>
                  </a:cubicBezTo>
                  <a:cubicBezTo>
                    <a:pt x="181" y="1146"/>
                    <a:pt x="181" y="1146"/>
                    <a:pt x="181" y="1146"/>
                  </a:cubicBezTo>
                  <a:cubicBezTo>
                    <a:pt x="181" y="1146"/>
                    <a:pt x="195" y="1141"/>
                    <a:pt x="200" y="1132"/>
                  </a:cubicBezTo>
                  <a:cubicBezTo>
                    <a:pt x="205" y="1123"/>
                    <a:pt x="186" y="1114"/>
                    <a:pt x="186" y="1114"/>
                  </a:cubicBezTo>
                  <a:cubicBezTo>
                    <a:pt x="185" y="1102"/>
                    <a:pt x="185" y="1102"/>
                    <a:pt x="185" y="1102"/>
                  </a:cubicBezTo>
                  <a:cubicBezTo>
                    <a:pt x="165" y="1085"/>
                    <a:pt x="165" y="1085"/>
                    <a:pt x="165" y="1085"/>
                  </a:cubicBezTo>
                  <a:cubicBezTo>
                    <a:pt x="165" y="1085"/>
                    <a:pt x="165" y="1064"/>
                    <a:pt x="165" y="1057"/>
                  </a:cubicBezTo>
                  <a:cubicBezTo>
                    <a:pt x="165" y="1050"/>
                    <a:pt x="153" y="1017"/>
                    <a:pt x="153" y="1017"/>
                  </a:cubicBezTo>
                  <a:cubicBezTo>
                    <a:pt x="170" y="1016"/>
                    <a:pt x="170" y="1016"/>
                    <a:pt x="170" y="1016"/>
                  </a:cubicBezTo>
                  <a:cubicBezTo>
                    <a:pt x="172" y="1004"/>
                    <a:pt x="172" y="1004"/>
                    <a:pt x="172" y="1004"/>
                  </a:cubicBezTo>
                  <a:cubicBezTo>
                    <a:pt x="172" y="1004"/>
                    <a:pt x="176" y="993"/>
                    <a:pt x="175" y="983"/>
                  </a:cubicBezTo>
                  <a:cubicBezTo>
                    <a:pt x="174" y="973"/>
                    <a:pt x="157" y="955"/>
                    <a:pt x="157" y="955"/>
                  </a:cubicBezTo>
                  <a:cubicBezTo>
                    <a:pt x="166" y="954"/>
                    <a:pt x="166" y="954"/>
                    <a:pt x="166" y="954"/>
                  </a:cubicBezTo>
                  <a:cubicBezTo>
                    <a:pt x="166" y="954"/>
                    <a:pt x="167" y="915"/>
                    <a:pt x="167" y="911"/>
                  </a:cubicBezTo>
                  <a:cubicBezTo>
                    <a:pt x="167" y="907"/>
                    <a:pt x="176" y="900"/>
                    <a:pt x="179" y="894"/>
                  </a:cubicBezTo>
                  <a:cubicBezTo>
                    <a:pt x="182" y="888"/>
                    <a:pt x="167" y="869"/>
                    <a:pt x="167" y="869"/>
                  </a:cubicBezTo>
                  <a:cubicBezTo>
                    <a:pt x="165" y="844"/>
                    <a:pt x="165" y="844"/>
                    <a:pt x="165" y="844"/>
                  </a:cubicBezTo>
                  <a:cubicBezTo>
                    <a:pt x="165" y="844"/>
                    <a:pt x="161" y="846"/>
                    <a:pt x="149" y="843"/>
                  </a:cubicBezTo>
                  <a:cubicBezTo>
                    <a:pt x="137" y="840"/>
                    <a:pt x="145" y="821"/>
                    <a:pt x="145" y="821"/>
                  </a:cubicBezTo>
                  <a:cubicBezTo>
                    <a:pt x="142" y="815"/>
                    <a:pt x="142" y="815"/>
                    <a:pt x="142" y="815"/>
                  </a:cubicBezTo>
                  <a:cubicBezTo>
                    <a:pt x="134" y="794"/>
                    <a:pt x="134" y="794"/>
                    <a:pt x="134" y="794"/>
                  </a:cubicBezTo>
                  <a:cubicBezTo>
                    <a:pt x="121" y="784"/>
                    <a:pt x="121" y="784"/>
                    <a:pt x="121" y="784"/>
                  </a:cubicBezTo>
                  <a:cubicBezTo>
                    <a:pt x="121" y="784"/>
                    <a:pt x="123" y="775"/>
                    <a:pt x="125" y="771"/>
                  </a:cubicBezTo>
                  <a:cubicBezTo>
                    <a:pt x="127" y="767"/>
                    <a:pt x="104" y="752"/>
                    <a:pt x="104" y="752"/>
                  </a:cubicBezTo>
                  <a:cubicBezTo>
                    <a:pt x="104" y="752"/>
                    <a:pt x="102" y="735"/>
                    <a:pt x="102" y="730"/>
                  </a:cubicBezTo>
                  <a:cubicBezTo>
                    <a:pt x="102" y="725"/>
                    <a:pt x="112" y="724"/>
                    <a:pt x="112" y="724"/>
                  </a:cubicBezTo>
                  <a:cubicBezTo>
                    <a:pt x="109" y="685"/>
                    <a:pt x="109" y="685"/>
                    <a:pt x="109" y="685"/>
                  </a:cubicBezTo>
                  <a:cubicBezTo>
                    <a:pt x="109" y="685"/>
                    <a:pt x="118" y="690"/>
                    <a:pt x="123" y="685"/>
                  </a:cubicBezTo>
                  <a:cubicBezTo>
                    <a:pt x="128" y="680"/>
                    <a:pt x="105" y="635"/>
                    <a:pt x="104" y="631"/>
                  </a:cubicBezTo>
                  <a:cubicBezTo>
                    <a:pt x="103" y="627"/>
                    <a:pt x="112" y="619"/>
                    <a:pt x="114" y="615"/>
                  </a:cubicBezTo>
                  <a:cubicBezTo>
                    <a:pt x="116" y="611"/>
                    <a:pt x="111" y="586"/>
                    <a:pt x="111" y="576"/>
                  </a:cubicBezTo>
                  <a:cubicBezTo>
                    <a:pt x="111" y="566"/>
                    <a:pt x="129" y="558"/>
                    <a:pt x="130" y="553"/>
                  </a:cubicBezTo>
                  <a:cubicBezTo>
                    <a:pt x="131" y="548"/>
                    <a:pt x="137" y="510"/>
                    <a:pt x="137" y="510"/>
                  </a:cubicBezTo>
                  <a:cubicBezTo>
                    <a:pt x="137" y="510"/>
                    <a:pt x="159" y="509"/>
                    <a:pt x="162" y="498"/>
                  </a:cubicBezTo>
                  <a:cubicBezTo>
                    <a:pt x="165" y="487"/>
                    <a:pt x="134" y="476"/>
                    <a:pt x="134" y="476"/>
                  </a:cubicBezTo>
                  <a:cubicBezTo>
                    <a:pt x="134" y="476"/>
                    <a:pt x="151" y="464"/>
                    <a:pt x="152" y="454"/>
                  </a:cubicBezTo>
                  <a:cubicBezTo>
                    <a:pt x="153" y="444"/>
                    <a:pt x="134" y="436"/>
                    <a:pt x="129" y="429"/>
                  </a:cubicBezTo>
                  <a:cubicBezTo>
                    <a:pt x="124" y="422"/>
                    <a:pt x="134" y="413"/>
                    <a:pt x="143" y="404"/>
                  </a:cubicBezTo>
                  <a:cubicBezTo>
                    <a:pt x="152" y="395"/>
                    <a:pt x="125" y="401"/>
                    <a:pt x="124" y="387"/>
                  </a:cubicBezTo>
                  <a:cubicBezTo>
                    <a:pt x="123" y="373"/>
                    <a:pt x="178" y="349"/>
                    <a:pt x="178" y="349"/>
                  </a:cubicBezTo>
                  <a:cubicBezTo>
                    <a:pt x="184" y="293"/>
                    <a:pt x="184" y="293"/>
                    <a:pt x="184" y="293"/>
                  </a:cubicBezTo>
                  <a:cubicBezTo>
                    <a:pt x="177" y="282"/>
                    <a:pt x="177" y="282"/>
                    <a:pt x="177" y="282"/>
                  </a:cubicBezTo>
                  <a:cubicBezTo>
                    <a:pt x="170" y="284"/>
                    <a:pt x="161" y="285"/>
                    <a:pt x="153" y="284"/>
                  </a:cubicBezTo>
                  <a:cubicBezTo>
                    <a:pt x="141" y="283"/>
                    <a:pt x="142" y="257"/>
                    <a:pt x="142" y="257"/>
                  </a:cubicBezTo>
                  <a:cubicBezTo>
                    <a:pt x="129" y="241"/>
                    <a:pt x="129" y="241"/>
                    <a:pt x="129" y="241"/>
                  </a:cubicBezTo>
                  <a:cubicBezTo>
                    <a:pt x="129" y="241"/>
                    <a:pt x="131" y="211"/>
                    <a:pt x="129" y="200"/>
                  </a:cubicBezTo>
                  <a:cubicBezTo>
                    <a:pt x="126" y="189"/>
                    <a:pt x="97" y="178"/>
                    <a:pt x="97" y="178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97" y="161"/>
                    <a:pt x="92" y="158"/>
                    <a:pt x="88" y="148"/>
                  </a:cubicBezTo>
                  <a:cubicBezTo>
                    <a:pt x="84" y="139"/>
                    <a:pt x="99" y="127"/>
                    <a:pt x="99" y="127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96" y="110"/>
                    <a:pt x="100" y="98"/>
                  </a:cubicBezTo>
                  <a:cubicBezTo>
                    <a:pt x="104" y="86"/>
                    <a:pt x="68" y="74"/>
                    <a:pt x="68" y="74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35" y="21"/>
                    <a:pt x="23" y="30"/>
                  </a:cubicBezTo>
                  <a:cubicBezTo>
                    <a:pt x="16" y="36"/>
                    <a:pt x="7" y="42"/>
                    <a:pt x="1" y="46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13" y="99"/>
                    <a:pt x="19" y="119"/>
                  </a:cubicBezTo>
                  <a:cubicBezTo>
                    <a:pt x="25" y="139"/>
                    <a:pt x="24" y="169"/>
                    <a:pt x="24" y="182"/>
                  </a:cubicBezTo>
                  <a:cubicBezTo>
                    <a:pt x="24" y="195"/>
                    <a:pt x="32" y="206"/>
                    <a:pt x="33" y="229"/>
                  </a:cubicBezTo>
                  <a:cubicBezTo>
                    <a:pt x="34" y="253"/>
                    <a:pt x="34" y="290"/>
                    <a:pt x="34" y="290"/>
                  </a:cubicBezTo>
                  <a:cubicBezTo>
                    <a:pt x="20" y="298"/>
                    <a:pt x="20" y="298"/>
                    <a:pt x="20" y="298"/>
                  </a:cubicBezTo>
                  <a:cubicBezTo>
                    <a:pt x="23" y="318"/>
                    <a:pt x="23" y="318"/>
                    <a:pt x="23" y="318"/>
                  </a:cubicBezTo>
                  <a:cubicBezTo>
                    <a:pt x="38" y="327"/>
                    <a:pt x="38" y="327"/>
                    <a:pt x="38" y="327"/>
                  </a:cubicBezTo>
                  <a:cubicBezTo>
                    <a:pt x="32" y="389"/>
                    <a:pt x="32" y="389"/>
                    <a:pt x="32" y="389"/>
                  </a:cubicBezTo>
                  <a:cubicBezTo>
                    <a:pt x="47" y="417"/>
                    <a:pt x="47" y="417"/>
                    <a:pt x="47" y="417"/>
                  </a:cubicBezTo>
                  <a:cubicBezTo>
                    <a:pt x="36" y="430"/>
                    <a:pt x="36" y="430"/>
                    <a:pt x="36" y="430"/>
                  </a:cubicBezTo>
                  <a:cubicBezTo>
                    <a:pt x="42" y="472"/>
                    <a:pt x="42" y="472"/>
                    <a:pt x="42" y="472"/>
                  </a:cubicBezTo>
                  <a:cubicBezTo>
                    <a:pt x="42" y="472"/>
                    <a:pt x="49" y="475"/>
                    <a:pt x="51" y="492"/>
                  </a:cubicBezTo>
                  <a:cubicBezTo>
                    <a:pt x="53" y="508"/>
                    <a:pt x="42" y="509"/>
                    <a:pt x="42" y="509"/>
                  </a:cubicBezTo>
                  <a:cubicBezTo>
                    <a:pt x="40" y="531"/>
                    <a:pt x="40" y="531"/>
                    <a:pt x="40" y="531"/>
                  </a:cubicBezTo>
                  <a:cubicBezTo>
                    <a:pt x="47" y="540"/>
                    <a:pt x="47" y="540"/>
                    <a:pt x="47" y="540"/>
                  </a:cubicBezTo>
                  <a:cubicBezTo>
                    <a:pt x="47" y="540"/>
                    <a:pt x="40" y="545"/>
                    <a:pt x="34" y="559"/>
                  </a:cubicBezTo>
                  <a:cubicBezTo>
                    <a:pt x="28" y="573"/>
                    <a:pt x="40" y="571"/>
                    <a:pt x="40" y="571"/>
                  </a:cubicBezTo>
                  <a:cubicBezTo>
                    <a:pt x="40" y="571"/>
                    <a:pt x="44" y="580"/>
                    <a:pt x="44" y="591"/>
                  </a:cubicBezTo>
                  <a:cubicBezTo>
                    <a:pt x="44" y="602"/>
                    <a:pt x="33" y="599"/>
                    <a:pt x="33" y="619"/>
                  </a:cubicBezTo>
                  <a:cubicBezTo>
                    <a:pt x="33" y="640"/>
                    <a:pt x="49" y="638"/>
                    <a:pt x="52" y="648"/>
                  </a:cubicBezTo>
                  <a:cubicBezTo>
                    <a:pt x="56" y="657"/>
                    <a:pt x="52" y="681"/>
                    <a:pt x="52" y="681"/>
                  </a:cubicBezTo>
                  <a:cubicBezTo>
                    <a:pt x="52" y="681"/>
                    <a:pt x="45" y="679"/>
                    <a:pt x="40" y="681"/>
                  </a:cubicBezTo>
                  <a:cubicBezTo>
                    <a:pt x="36" y="683"/>
                    <a:pt x="40" y="700"/>
                    <a:pt x="47" y="720"/>
                  </a:cubicBezTo>
                  <a:cubicBezTo>
                    <a:pt x="55" y="740"/>
                    <a:pt x="66" y="770"/>
                    <a:pt x="66" y="770"/>
                  </a:cubicBezTo>
                  <a:cubicBezTo>
                    <a:pt x="66" y="770"/>
                    <a:pt x="69" y="784"/>
                    <a:pt x="76" y="790"/>
                  </a:cubicBezTo>
                  <a:cubicBezTo>
                    <a:pt x="83" y="796"/>
                    <a:pt x="79" y="826"/>
                    <a:pt x="79" y="826"/>
                  </a:cubicBezTo>
                  <a:cubicBezTo>
                    <a:pt x="76" y="845"/>
                    <a:pt x="76" y="845"/>
                    <a:pt x="76" y="845"/>
                  </a:cubicBezTo>
                  <a:cubicBezTo>
                    <a:pt x="92" y="862"/>
                    <a:pt x="92" y="862"/>
                    <a:pt x="92" y="862"/>
                  </a:cubicBezTo>
                  <a:cubicBezTo>
                    <a:pt x="92" y="862"/>
                    <a:pt x="82" y="889"/>
                    <a:pt x="82" y="903"/>
                  </a:cubicBezTo>
                  <a:cubicBezTo>
                    <a:pt x="82" y="917"/>
                    <a:pt x="82" y="947"/>
                    <a:pt x="82" y="947"/>
                  </a:cubicBezTo>
                  <a:cubicBezTo>
                    <a:pt x="66" y="972"/>
                    <a:pt x="66" y="972"/>
                    <a:pt x="66" y="972"/>
                  </a:cubicBezTo>
                  <a:cubicBezTo>
                    <a:pt x="76" y="979"/>
                    <a:pt x="76" y="979"/>
                    <a:pt x="76" y="979"/>
                  </a:cubicBezTo>
                  <a:cubicBezTo>
                    <a:pt x="76" y="979"/>
                    <a:pt x="72" y="995"/>
                    <a:pt x="72" y="1004"/>
                  </a:cubicBezTo>
                  <a:cubicBezTo>
                    <a:pt x="72" y="1012"/>
                    <a:pt x="66" y="1056"/>
                    <a:pt x="66" y="1056"/>
                  </a:cubicBezTo>
                  <a:cubicBezTo>
                    <a:pt x="56" y="1058"/>
                    <a:pt x="56" y="1058"/>
                    <a:pt x="56" y="1058"/>
                  </a:cubicBezTo>
                  <a:cubicBezTo>
                    <a:pt x="56" y="1072"/>
                    <a:pt x="56" y="1072"/>
                    <a:pt x="56" y="1072"/>
                  </a:cubicBezTo>
                  <a:cubicBezTo>
                    <a:pt x="72" y="1102"/>
                    <a:pt x="72" y="1102"/>
                    <a:pt x="72" y="1102"/>
                  </a:cubicBezTo>
                  <a:cubicBezTo>
                    <a:pt x="72" y="1102"/>
                    <a:pt x="72" y="1121"/>
                    <a:pt x="72" y="1131"/>
                  </a:cubicBezTo>
                  <a:cubicBezTo>
                    <a:pt x="72" y="1142"/>
                    <a:pt x="95" y="1149"/>
                    <a:pt x="101" y="1165"/>
                  </a:cubicBezTo>
                  <a:cubicBezTo>
                    <a:pt x="107" y="1180"/>
                    <a:pt x="98" y="1218"/>
                    <a:pt x="98" y="1218"/>
                  </a:cubicBezTo>
                  <a:cubicBezTo>
                    <a:pt x="107" y="1225"/>
                    <a:pt x="107" y="1225"/>
                    <a:pt x="107" y="1225"/>
                  </a:cubicBezTo>
                  <a:cubicBezTo>
                    <a:pt x="107" y="1225"/>
                    <a:pt x="107" y="1254"/>
                    <a:pt x="107" y="1266"/>
                  </a:cubicBezTo>
                  <a:cubicBezTo>
                    <a:pt x="107" y="1278"/>
                    <a:pt x="134" y="1286"/>
                    <a:pt x="134" y="1286"/>
                  </a:cubicBezTo>
                  <a:cubicBezTo>
                    <a:pt x="129" y="1299"/>
                    <a:pt x="129" y="1299"/>
                    <a:pt x="129" y="1299"/>
                  </a:cubicBezTo>
                  <a:cubicBezTo>
                    <a:pt x="156" y="1299"/>
                    <a:pt x="156" y="1299"/>
                    <a:pt x="156" y="1299"/>
                  </a:cubicBezTo>
                  <a:cubicBezTo>
                    <a:pt x="156" y="1279"/>
                    <a:pt x="156" y="1279"/>
                    <a:pt x="156" y="1279"/>
                  </a:cubicBezTo>
                  <a:cubicBezTo>
                    <a:pt x="156" y="1279"/>
                    <a:pt x="169" y="1289"/>
                    <a:pt x="177" y="1290"/>
                  </a:cubicBezTo>
                  <a:cubicBezTo>
                    <a:pt x="186" y="1291"/>
                    <a:pt x="186" y="1277"/>
                    <a:pt x="186" y="1277"/>
                  </a:cubicBezTo>
                  <a:cubicBezTo>
                    <a:pt x="192" y="1290"/>
                    <a:pt x="192" y="1290"/>
                    <a:pt x="192" y="1290"/>
                  </a:cubicBezTo>
                  <a:cubicBezTo>
                    <a:pt x="192" y="1290"/>
                    <a:pt x="175" y="1300"/>
                    <a:pt x="173" y="1311"/>
                  </a:cubicBezTo>
                  <a:cubicBezTo>
                    <a:pt x="170" y="1322"/>
                    <a:pt x="186" y="1310"/>
                    <a:pt x="193" y="1313"/>
                  </a:cubicBezTo>
                  <a:cubicBezTo>
                    <a:pt x="200" y="1317"/>
                    <a:pt x="198" y="1330"/>
                    <a:pt x="198" y="1330"/>
                  </a:cubicBezTo>
                  <a:cubicBezTo>
                    <a:pt x="179" y="1328"/>
                    <a:pt x="179" y="1328"/>
                    <a:pt x="179" y="1328"/>
                  </a:cubicBezTo>
                  <a:cubicBezTo>
                    <a:pt x="190" y="1341"/>
                    <a:pt x="190" y="1341"/>
                    <a:pt x="190" y="1341"/>
                  </a:cubicBezTo>
                  <a:cubicBezTo>
                    <a:pt x="183" y="1349"/>
                    <a:pt x="183" y="1349"/>
                    <a:pt x="183" y="1349"/>
                  </a:cubicBezTo>
                  <a:cubicBezTo>
                    <a:pt x="195" y="1367"/>
                    <a:pt x="195" y="1367"/>
                    <a:pt x="195" y="1367"/>
                  </a:cubicBezTo>
                  <a:cubicBezTo>
                    <a:pt x="195" y="1367"/>
                    <a:pt x="188" y="1375"/>
                    <a:pt x="181" y="1384"/>
                  </a:cubicBezTo>
                  <a:cubicBezTo>
                    <a:pt x="174" y="1394"/>
                    <a:pt x="212" y="1403"/>
                    <a:pt x="212" y="1403"/>
                  </a:cubicBezTo>
                  <a:cubicBezTo>
                    <a:pt x="212" y="1403"/>
                    <a:pt x="205" y="1409"/>
                    <a:pt x="200" y="1413"/>
                  </a:cubicBezTo>
                  <a:cubicBezTo>
                    <a:pt x="195" y="1416"/>
                    <a:pt x="202" y="1427"/>
                    <a:pt x="212" y="1432"/>
                  </a:cubicBezTo>
                  <a:cubicBezTo>
                    <a:pt x="221" y="1436"/>
                    <a:pt x="234" y="1433"/>
                    <a:pt x="234" y="1433"/>
                  </a:cubicBezTo>
                  <a:cubicBezTo>
                    <a:pt x="239" y="1457"/>
                    <a:pt x="239" y="1457"/>
                    <a:pt x="239" y="1457"/>
                  </a:cubicBezTo>
                  <a:cubicBezTo>
                    <a:pt x="239" y="1457"/>
                    <a:pt x="219" y="1470"/>
                    <a:pt x="214" y="1477"/>
                  </a:cubicBezTo>
                  <a:cubicBezTo>
                    <a:pt x="209" y="1484"/>
                    <a:pt x="228" y="1485"/>
                    <a:pt x="228" y="1485"/>
                  </a:cubicBezTo>
                  <a:cubicBezTo>
                    <a:pt x="228" y="1485"/>
                    <a:pt x="252" y="1490"/>
                    <a:pt x="252" y="1497"/>
                  </a:cubicBezTo>
                  <a:cubicBezTo>
                    <a:pt x="252" y="1504"/>
                    <a:pt x="237" y="1498"/>
                    <a:pt x="227" y="1493"/>
                  </a:cubicBezTo>
                  <a:cubicBezTo>
                    <a:pt x="218" y="1488"/>
                    <a:pt x="216" y="1503"/>
                    <a:pt x="216" y="1503"/>
                  </a:cubicBezTo>
                  <a:cubicBezTo>
                    <a:pt x="235" y="1507"/>
                    <a:pt x="235" y="1507"/>
                    <a:pt x="235" y="1507"/>
                  </a:cubicBezTo>
                  <a:cubicBezTo>
                    <a:pt x="221" y="1514"/>
                    <a:pt x="221" y="1514"/>
                    <a:pt x="221" y="1514"/>
                  </a:cubicBezTo>
                  <a:cubicBezTo>
                    <a:pt x="222" y="1531"/>
                    <a:pt x="222" y="1531"/>
                    <a:pt x="222" y="1531"/>
                  </a:cubicBezTo>
                  <a:cubicBezTo>
                    <a:pt x="222" y="1531"/>
                    <a:pt x="238" y="1523"/>
                    <a:pt x="231" y="1544"/>
                  </a:cubicBezTo>
                  <a:cubicBezTo>
                    <a:pt x="224" y="1565"/>
                    <a:pt x="214" y="1535"/>
                    <a:pt x="214" y="1535"/>
                  </a:cubicBezTo>
                  <a:cubicBezTo>
                    <a:pt x="190" y="1536"/>
                    <a:pt x="190" y="1536"/>
                    <a:pt x="190" y="1536"/>
                  </a:cubicBezTo>
                  <a:cubicBezTo>
                    <a:pt x="206" y="1529"/>
                    <a:pt x="206" y="1529"/>
                    <a:pt x="206" y="1529"/>
                  </a:cubicBezTo>
                  <a:cubicBezTo>
                    <a:pt x="206" y="1529"/>
                    <a:pt x="189" y="1511"/>
                    <a:pt x="186" y="1512"/>
                  </a:cubicBezTo>
                  <a:cubicBezTo>
                    <a:pt x="182" y="1513"/>
                    <a:pt x="185" y="1522"/>
                    <a:pt x="185" y="1522"/>
                  </a:cubicBezTo>
                  <a:cubicBezTo>
                    <a:pt x="179" y="1516"/>
                    <a:pt x="179" y="1516"/>
                    <a:pt x="179" y="1516"/>
                  </a:cubicBezTo>
                  <a:cubicBezTo>
                    <a:pt x="154" y="1523"/>
                    <a:pt x="154" y="1523"/>
                    <a:pt x="154" y="1523"/>
                  </a:cubicBezTo>
                  <a:cubicBezTo>
                    <a:pt x="176" y="1528"/>
                    <a:pt x="176" y="1528"/>
                    <a:pt x="176" y="1528"/>
                  </a:cubicBezTo>
                  <a:cubicBezTo>
                    <a:pt x="176" y="1528"/>
                    <a:pt x="172" y="1531"/>
                    <a:pt x="168" y="1537"/>
                  </a:cubicBezTo>
                  <a:cubicBezTo>
                    <a:pt x="164" y="1543"/>
                    <a:pt x="148" y="1549"/>
                    <a:pt x="147" y="1558"/>
                  </a:cubicBezTo>
                  <a:cubicBezTo>
                    <a:pt x="146" y="1568"/>
                    <a:pt x="166" y="1572"/>
                    <a:pt x="169" y="1570"/>
                  </a:cubicBezTo>
                  <a:cubicBezTo>
                    <a:pt x="173" y="1568"/>
                    <a:pt x="161" y="1559"/>
                    <a:pt x="161" y="1559"/>
                  </a:cubicBezTo>
                  <a:cubicBezTo>
                    <a:pt x="176" y="1556"/>
                    <a:pt x="176" y="1556"/>
                    <a:pt x="176" y="1556"/>
                  </a:cubicBezTo>
                  <a:cubicBezTo>
                    <a:pt x="176" y="1556"/>
                    <a:pt x="183" y="1561"/>
                    <a:pt x="187" y="1565"/>
                  </a:cubicBezTo>
                  <a:cubicBezTo>
                    <a:pt x="190" y="1570"/>
                    <a:pt x="214" y="1567"/>
                    <a:pt x="214" y="1567"/>
                  </a:cubicBezTo>
                  <a:cubicBezTo>
                    <a:pt x="214" y="1567"/>
                    <a:pt x="229" y="1574"/>
                    <a:pt x="235" y="1582"/>
                  </a:cubicBezTo>
                  <a:cubicBezTo>
                    <a:pt x="241" y="1590"/>
                    <a:pt x="222" y="1598"/>
                    <a:pt x="222" y="1598"/>
                  </a:cubicBezTo>
                  <a:cubicBezTo>
                    <a:pt x="228" y="1608"/>
                    <a:pt x="228" y="1608"/>
                    <a:pt x="228" y="1608"/>
                  </a:cubicBezTo>
                  <a:cubicBezTo>
                    <a:pt x="240" y="1604"/>
                    <a:pt x="240" y="1604"/>
                    <a:pt x="240" y="1604"/>
                  </a:cubicBezTo>
                  <a:cubicBezTo>
                    <a:pt x="240" y="1615"/>
                    <a:pt x="240" y="1615"/>
                    <a:pt x="240" y="1615"/>
                  </a:cubicBezTo>
                  <a:cubicBezTo>
                    <a:pt x="252" y="1620"/>
                    <a:pt x="252" y="1620"/>
                    <a:pt x="252" y="1620"/>
                  </a:cubicBezTo>
                  <a:cubicBezTo>
                    <a:pt x="257" y="1604"/>
                    <a:pt x="257" y="1604"/>
                    <a:pt x="257" y="1604"/>
                  </a:cubicBezTo>
                  <a:cubicBezTo>
                    <a:pt x="266" y="1620"/>
                    <a:pt x="266" y="1620"/>
                    <a:pt x="266" y="1620"/>
                  </a:cubicBezTo>
                  <a:cubicBezTo>
                    <a:pt x="266" y="1620"/>
                    <a:pt x="285" y="1620"/>
                    <a:pt x="283" y="1634"/>
                  </a:cubicBezTo>
                  <a:cubicBezTo>
                    <a:pt x="280" y="1648"/>
                    <a:pt x="258" y="1632"/>
                    <a:pt x="250" y="1630"/>
                  </a:cubicBezTo>
                  <a:cubicBezTo>
                    <a:pt x="241" y="1629"/>
                    <a:pt x="248" y="1643"/>
                    <a:pt x="248" y="1643"/>
                  </a:cubicBezTo>
                  <a:cubicBezTo>
                    <a:pt x="248" y="1643"/>
                    <a:pt x="269" y="1650"/>
                    <a:pt x="270" y="1665"/>
                  </a:cubicBezTo>
                  <a:cubicBezTo>
                    <a:pt x="271" y="1679"/>
                    <a:pt x="256" y="1674"/>
                    <a:pt x="256" y="1674"/>
                  </a:cubicBezTo>
                  <a:cubicBezTo>
                    <a:pt x="265" y="1686"/>
                    <a:pt x="265" y="1686"/>
                    <a:pt x="265" y="1686"/>
                  </a:cubicBezTo>
                  <a:cubicBezTo>
                    <a:pt x="274" y="1710"/>
                    <a:pt x="274" y="1710"/>
                    <a:pt x="274" y="1710"/>
                  </a:cubicBezTo>
                  <a:cubicBezTo>
                    <a:pt x="283" y="1681"/>
                    <a:pt x="283" y="1681"/>
                    <a:pt x="283" y="1681"/>
                  </a:cubicBezTo>
                  <a:cubicBezTo>
                    <a:pt x="283" y="1701"/>
                    <a:pt x="283" y="1701"/>
                    <a:pt x="283" y="1701"/>
                  </a:cubicBezTo>
                  <a:cubicBezTo>
                    <a:pt x="296" y="1717"/>
                    <a:pt x="296" y="1717"/>
                    <a:pt x="296" y="1717"/>
                  </a:cubicBezTo>
                  <a:cubicBezTo>
                    <a:pt x="280" y="1717"/>
                    <a:pt x="280" y="1717"/>
                    <a:pt x="280" y="1717"/>
                  </a:cubicBezTo>
                  <a:cubicBezTo>
                    <a:pt x="283" y="1730"/>
                    <a:pt x="283" y="1730"/>
                    <a:pt x="283" y="1730"/>
                  </a:cubicBezTo>
                  <a:cubicBezTo>
                    <a:pt x="298" y="1731"/>
                    <a:pt x="298" y="1731"/>
                    <a:pt x="298" y="1731"/>
                  </a:cubicBezTo>
                  <a:cubicBezTo>
                    <a:pt x="289" y="1739"/>
                    <a:pt x="289" y="1739"/>
                    <a:pt x="289" y="1739"/>
                  </a:cubicBezTo>
                  <a:cubicBezTo>
                    <a:pt x="309" y="1745"/>
                    <a:pt x="309" y="1745"/>
                    <a:pt x="309" y="1745"/>
                  </a:cubicBezTo>
                  <a:cubicBezTo>
                    <a:pt x="296" y="1753"/>
                    <a:pt x="296" y="1753"/>
                    <a:pt x="296" y="1753"/>
                  </a:cubicBezTo>
                  <a:cubicBezTo>
                    <a:pt x="315" y="1760"/>
                    <a:pt x="315" y="1760"/>
                    <a:pt x="315" y="1760"/>
                  </a:cubicBezTo>
                  <a:cubicBezTo>
                    <a:pt x="310" y="1770"/>
                    <a:pt x="310" y="1770"/>
                    <a:pt x="310" y="1770"/>
                  </a:cubicBezTo>
                  <a:cubicBezTo>
                    <a:pt x="322" y="1773"/>
                    <a:pt x="322" y="1773"/>
                    <a:pt x="322" y="1773"/>
                  </a:cubicBezTo>
                  <a:cubicBezTo>
                    <a:pt x="322" y="1773"/>
                    <a:pt x="324" y="1750"/>
                    <a:pt x="331" y="1762"/>
                  </a:cubicBezTo>
                  <a:cubicBezTo>
                    <a:pt x="338" y="1773"/>
                    <a:pt x="329" y="1779"/>
                    <a:pt x="323" y="1783"/>
                  </a:cubicBezTo>
                  <a:cubicBezTo>
                    <a:pt x="317" y="1786"/>
                    <a:pt x="323" y="1794"/>
                    <a:pt x="323" y="1794"/>
                  </a:cubicBezTo>
                  <a:cubicBezTo>
                    <a:pt x="343" y="1795"/>
                    <a:pt x="343" y="1795"/>
                    <a:pt x="343" y="1795"/>
                  </a:cubicBezTo>
                  <a:cubicBezTo>
                    <a:pt x="343" y="1795"/>
                    <a:pt x="344" y="1805"/>
                    <a:pt x="350" y="1810"/>
                  </a:cubicBezTo>
                  <a:cubicBezTo>
                    <a:pt x="356" y="1815"/>
                    <a:pt x="373" y="1824"/>
                    <a:pt x="373" y="1824"/>
                  </a:cubicBezTo>
                  <a:cubicBezTo>
                    <a:pt x="370" y="1802"/>
                    <a:pt x="370" y="1802"/>
                    <a:pt x="370" y="1802"/>
                  </a:cubicBezTo>
                  <a:cubicBezTo>
                    <a:pt x="370" y="1802"/>
                    <a:pt x="391" y="1810"/>
                    <a:pt x="407" y="1821"/>
                  </a:cubicBezTo>
                  <a:cubicBezTo>
                    <a:pt x="422" y="1831"/>
                    <a:pt x="409" y="1841"/>
                    <a:pt x="409" y="1841"/>
                  </a:cubicBezTo>
                  <a:cubicBezTo>
                    <a:pt x="420" y="1848"/>
                    <a:pt x="420" y="1848"/>
                    <a:pt x="420" y="1848"/>
                  </a:cubicBezTo>
                  <a:cubicBezTo>
                    <a:pt x="419" y="1861"/>
                    <a:pt x="419" y="1861"/>
                    <a:pt x="419" y="1861"/>
                  </a:cubicBezTo>
                  <a:cubicBezTo>
                    <a:pt x="458" y="1861"/>
                    <a:pt x="458" y="1861"/>
                    <a:pt x="458" y="1861"/>
                  </a:cubicBezTo>
                  <a:cubicBezTo>
                    <a:pt x="462" y="1868"/>
                    <a:pt x="462" y="1868"/>
                    <a:pt x="462" y="1868"/>
                  </a:cubicBezTo>
                  <a:cubicBezTo>
                    <a:pt x="442" y="1868"/>
                    <a:pt x="442" y="1868"/>
                    <a:pt x="442" y="1868"/>
                  </a:cubicBezTo>
                  <a:cubicBezTo>
                    <a:pt x="434" y="1876"/>
                    <a:pt x="434" y="1876"/>
                    <a:pt x="434" y="1876"/>
                  </a:cubicBezTo>
                  <a:cubicBezTo>
                    <a:pt x="421" y="1877"/>
                    <a:pt x="421" y="1877"/>
                    <a:pt x="421" y="1877"/>
                  </a:cubicBezTo>
                  <a:cubicBezTo>
                    <a:pt x="410" y="1889"/>
                    <a:pt x="410" y="1889"/>
                    <a:pt x="410" y="1889"/>
                  </a:cubicBezTo>
                  <a:cubicBezTo>
                    <a:pt x="430" y="1892"/>
                    <a:pt x="430" y="1892"/>
                    <a:pt x="430" y="1892"/>
                  </a:cubicBezTo>
                  <a:cubicBezTo>
                    <a:pt x="426" y="1902"/>
                    <a:pt x="426" y="1902"/>
                    <a:pt x="426" y="1902"/>
                  </a:cubicBezTo>
                  <a:cubicBezTo>
                    <a:pt x="442" y="1900"/>
                    <a:pt x="442" y="1900"/>
                    <a:pt x="442" y="1900"/>
                  </a:cubicBezTo>
                  <a:cubicBezTo>
                    <a:pt x="444" y="1887"/>
                    <a:pt x="444" y="1887"/>
                    <a:pt x="444" y="1887"/>
                  </a:cubicBezTo>
                  <a:cubicBezTo>
                    <a:pt x="459" y="1893"/>
                    <a:pt x="459" y="1893"/>
                    <a:pt x="459" y="1893"/>
                  </a:cubicBezTo>
                  <a:cubicBezTo>
                    <a:pt x="459" y="1893"/>
                    <a:pt x="477" y="1868"/>
                    <a:pt x="486" y="1875"/>
                  </a:cubicBezTo>
                  <a:cubicBezTo>
                    <a:pt x="496" y="1882"/>
                    <a:pt x="467" y="1907"/>
                    <a:pt x="467" y="1907"/>
                  </a:cubicBezTo>
                  <a:cubicBezTo>
                    <a:pt x="467" y="1907"/>
                    <a:pt x="464" y="1900"/>
                    <a:pt x="455" y="1901"/>
                  </a:cubicBezTo>
                  <a:cubicBezTo>
                    <a:pt x="447" y="1902"/>
                    <a:pt x="452" y="1913"/>
                    <a:pt x="452" y="1913"/>
                  </a:cubicBezTo>
                  <a:cubicBezTo>
                    <a:pt x="440" y="1913"/>
                    <a:pt x="440" y="1913"/>
                    <a:pt x="440" y="1913"/>
                  </a:cubicBezTo>
                  <a:cubicBezTo>
                    <a:pt x="431" y="1910"/>
                    <a:pt x="419" y="1921"/>
                    <a:pt x="419" y="1921"/>
                  </a:cubicBezTo>
                  <a:cubicBezTo>
                    <a:pt x="428" y="1927"/>
                    <a:pt x="428" y="1927"/>
                    <a:pt x="428" y="1927"/>
                  </a:cubicBezTo>
                  <a:cubicBezTo>
                    <a:pt x="430" y="1945"/>
                    <a:pt x="430" y="1945"/>
                    <a:pt x="430" y="1945"/>
                  </a:cubicBezTo>
                  <a:cubicBezTo>
                    <a:pt x="450" y="1935"/>
                    <a:pt x="450" y="1935"/>
                    <a:pt x="450" y="1935"/>
                  </a:cubicBezTo>
                  <a:cubicBezTo>
                    <a:pt x="450" y="1935"/>
                    <a:pt x="455" y="1946"/>
                    <a:pt x="461" y="1945"/>
                  </a:cubicBezTo>
                  <a:cubicBezTo>
                    <a:pt x="466" y="1944"/>
                    <a:pt x="467" y="1924"/>
                    <a:pt x="476" y="1919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46" name="Freeform 326">
              <a:extLst>
                <a:ext uri="{FF2B5EF4-FFF2-40B4-BE49-F238E27FC236}">
                  <a16:creationId xmlns:a16="http://schemas.microsoft.com/office/drawing/2014/main" id="{CE4434B1-5C7E-87E7-0C2A-C6E9D01EF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-14398" y="-12507"/>
              <a:ext cx="406" cy="262"/>
            </a:xfrm>
            <a:custGeom>
              <a:avLst/>
              <a:gdLst>
                <a:gd name="T0" fmla="*/ 165 w 172"/>
                <a:gd name="T1" fmla="*/ 68 h 111"/>
                <a:gd name="T2" fmla="*/ 128 w 172"/>
                <a:gd name="T3" fmla="*/ 43 h 111"/>
                <a:gd name="T4" fmla="*/ 97 w 172"/>
                <a:gd name="T5" fmla="*/ 32 h 111"/>
                <a:gd name="T6" fmla="*/ 75 w 172"/>
                <a:gd name="T7" fmla="*/ 5 h 111"/>
                <a:gd name="T8" fmla="*/ 29 w 172"/>
                <a:gd name="T9" fmla="*/ 0 h 111"/>
                <a:gd name="T10" fmla="*/ 15 w 172"/>
                <a:gd name="T11" fmla="*/ 4 h 111"/>
                <a:gd name="T12" fmla="*/ 21 w 172"/>
                <a:gd name="T13" fmla="*/ 26 h 111"/>
                <a:gd name="T14" fmla="*/ 14 w 172"/>
                <a:gd name="T15" fmla="*/ 48 h 111"/>
                <a:gd name="T16" fmla="*/ 3 w 172"/>
                <a:gd name="T17" fmla="*/ 73 h 111"/>
                <a:gd name="T18" fmla="*/ 10 w 172"/>
                <a:gd name="T19" fmla="*/ 97 h 111"/>
                <a:gd name="T20" fmla="*/ 0 w 172"/>
                <a:gd name="T21" fmla="*/ 84 h 111"/>
                <a:gd name="T22" fmla="*/ 23 w 172"/>
                <a:gd name="T23" fmla="*/ 111 h 111"/>
                <a:gd name="T24" fmla="*/ 56 w 172"/>
                <a:gd name="T25" fmla="*/ 87 h 111"/>
                <a:gd name="T26" fmla="*/ 118 w 172"/>
                <a:gd name="T27" fmla="*/ 89 h 111"/>
                <a:gd name="T28" fmla="*/ 161 w 172"/>
                <a:gd name="T29" fmla="*/ 89 h 111"/>
                <a:gd name="T30" fmla="*/ 165 w 172"/>
                <a:gd name="T31" fmla="*/ 68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2" h="111">
                  <a:moveTo>
                    <a:pt x="165" y="68"/>
                  </a:moveTo>
                  <a:cubicBezTo>
                    <a:pt x="165" y="68"/>
                    <a:pt x="143" y="49"/>
                    <a:pt x="128" y="43"/>
                  </a:cubicBezTo>
                  <a:cubicBezTo>
                    <a:pt x="114" y="38"/>
                    <a:pt x="108" y="36"/>
                    <a:pt x="97" y="32"/>
                  </a:cubicBezTo>
                  <a:cubicBezTo>
                    <a:pt x="87" y="28"/>
                    <a:pt x="81" y="9"/>
                    <a:pt x="75" y="5"/>
                  </a:cubicBezTo>
                  <a:cubicBezTo>
                    <a:pt x="69" y="2"/>
                    <a:pt x="46" y="0"/>
                    <a:pt x="29" y="0"/>
                  </a:cubicBezTo>
                  <a:cubicBezTo>
                    <a:pt x="22" y="0"/>
                    <a:pt x="18" y="2"/>
                    <a:pt x="15" y="4"/>
                  </a:cubicBezTo>
                  <a:cubicBezTo>
                    <a:pt x="17" y="10"/>
                    <a:pt x="21" y="20"/>
                    <a:pt x="21" y="26"/>
                  </a:cubicBezTo>
                  <a:cubicBezTo>
                    <a:pt x="20" y="36"/>
                    <a:pt x="16" y="39"/>
                    <a:pt x="14" y="48"/>
                  </a:cubicBezTo>
                  <a:cubicBezTo>
                    <a:pt x="11" y="57"/>
                    <a:pt x="3" y="73"/>
                    <a:pt x="3" y="73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85" y="87"/>
                    <a:pt x="118" y="89"/>
                  </a:cubicBezTo>
                  <a:cubicBezTo>
                    <a:pt x="131" y="90"/>
                    <a:pt x="153" y="93"/>
                    <a:pt x="161" y="89"/>
                  </a:cubicBezTo>
                  <a:cubicBezTo>
                    <a:pt x="172" y="83"/>
                    <a:pt x="165" y="68"/>
                    <a:pt x="165" y="68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47" name="Freeform 327">
              <a:extLst>
                <a:ext uri="{FF2B5EF4-FFF2-40B4-BE49-F238E27FC236}">
                  <a16:creationId xmlns:a16="http://schemas.microsoft.com/office/drawing/2014/main" id="{94F529AE-FB41-BE74-A87B-0D230CD1EDAF}"/>
                </a:ext>
              </a:extLst>
            </p:cNvPr>
            <p:cNvSpPr>
              <a:spLocks/>
            </p:cNvSpPr>
            <p:nvPr/>
          </p:nvSpPr>
          <p:spPr bwMode="gray">
            <a:xfrm>
              <a:off x="-14660" y="-12510"/>
              <a:ext cx="311" cy="251"/>
            </a:xfrm>
            <a:custGeom>
              <a:avLst/>
              <a:gdLst>
                <a:gd name="T0" fmla="*/ 114 w 132"/>
                <a:gd name="T1" fmla="*/ 74 h 106"/>
                <a:gd name="T2" fmla="*/ 125 w 132"/>
                <a:gd name="T3" fmla="*/ 49 h 106"/>
                <a:gd name="T4" fmla="*/ 132 w 132"/>
                <a:gd name="T5" fmla="*/ 27 h 106"/>
                <a:gd name="T6" fmla="*/ 126 w 132"/>
                <a:gd name="T7" fmla="*/ 5 h 106"/>
                <a:gd name="T8" fmla="*/ 120 w 132"/>
                <a:gd name="T9" fmla="*/ 12 h 106"/>
                <a:gd name="T10" fmla="*/ 70 w 132"/>
                <a:gd name="T11" fmla="*/ 0 h 106"/>
                <a:gd name="T12" fmla="*/ 43 w 132"/>
                <a:gd name="T13" fmla="*/ 10 h 106"/>
                <a:gd name="T14" fmla="*/ 68 w 132"/>
                <a:gd name="T15" fmla="*/ 17 h 106"/>
                <a:gd name="T16" fmla="*/ 87 w 132"/>
                <a:gd name="T17" fmla="*/ 31 h 106"/>
                <a:gd name="T18" fmla="*/ 74 w 132"/>
                <a:gd name="T19" fmla="*/ 49 h 106"/>
                <a:gd name="T20" fmla="*/ 72 w 132"/>
                <a:gd name="T21" fmla="*/ 70 h 106"/>
                <a:gd name="T22" fmla="*/ 31 w 132"/>
                <a:gd name="T23" fmla="*/ 64 h 106"/>
                <a:gd name="T24" fmla="*/ 0 w 132"/>
                <a:gd name="T25" fmla="*/ 72 h 106"/>
                <a:gd name="T26" fmla="*/ 26 w 132"/>
                <a:gd name="T27" fmla="*/ 102 h 106"/>
                <a:gd name="T28" fmla="*/ 43 w 132"/>
                <a:gd name="T29" fmla="*/ 87 h 106"/>
                <a:gd name="T30" fmla="*/ 74 w 132"/>
                <a:gd name="T31" fmla="*/ 89 h 106"/>
                <a:gd name="T32" fmla="*/ 111 w 132"/>
                <a:gd name="T33" fmla="*/ 85 h 106"/>
                <a:gd name="T34" fmla="*/ 121 w 132"/>
                <a:gd name="T35" fmla="*/ 98 h 106"/>
                <a:gd name="T36" fmla="*/ 114 w 132"/>
                <a:gd name="T37" fmla="*/ 7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2" h="106">
                  <a:moveTo>
                    <a:pt x="114" y="74"/>
                  </a:moveTo>
                  <a:cubicBezTo>
                    <a:pt x="114" y="74"/>
                    <a:pt x="122" y="58"/>
                    <a:pt x="125" y="49"/>
                  </a:cubicBezTo>
                  <a:cubicBezTo>
                    <a:pt x="127" y="40"/>
                    <a:pt x="131" y="37"/>
                    <a:pt x="132" y="27"/>
                  </a:cubicBezTo>
                  <a:cubicBezTo>
                    <a:pt x="132" y="21"/>
                    <a:pt x="128" y="11"/>
                    <a:pt x="126" y="5"/>
                  </a:cubicBezTo>
                  <a:cubicBezTo>
                    <a:pt x="121" y="8"/>
                    <a:pt x="120" y="12"/>
                    <a:pt x="120" y="12"/>
                  </a:cubicBezTo>
                  <a:cubicBezTo>
                    <a:pt x="120" y="12"/>
                    <a:pt x="85" y="0"/>
                    <a:pt x="70" y="0"/>
                  </a:cubicBezTo>
                  <a:cubicBezTo>
                    <a:pt x="56" y="0"/>
                    <a:pt x="49" y="2"/>
                    <a:pt x="43" y="10"/>
                  </a:cubicBezTo>
                  <a:cubicBezTo>
                    <a:pt x="37" y="17"/>
                    <a:pt x="62" y="17"/>
                    <a:pt x="68" y="17"/>
                  </a:cubicBezTo>
                  <a:cubicBezTo>
                    <a:pt x="74" y="17"/>
                    <a:pt x="87" y="31"/>
                    <a:pt x="87" y="31"/>
                  </a:cubicBezTo>
                  <a:cubicBezTo>
                    <a:pt x="87" y="31"/>
                    <a:pt x="72" y="34"/>
                    <a:pt x="74" y="49"/>
                  </a:cubicBezTo>
                  <a:cubicBezTo>
                    <a:pt x="76" y="65"/>
                    <a:pt x="84" y="70"/>
                    <a:pt x="72" y="70"/>
                  </a:cubicBezTo>
                  <a:cubicBezTo>
                    <a:pt x="59" y="70"/>
                    <a:pt x="39" y="63"/>
                    <a:pt x="31" y="64"/>
                  </a:cubicBezTo>
                  <a:cubicBezTo>
                    <a:pt x="22" y="66"/>
                    <a:pt x="6" y="62"/>
                    <a:pt x="0" y="72"/>
                  </a:cubicBezTo>
                  <a:cubicBezTo>
                    <a:pt x="0" y="72"/>
                    <a:pt x="18" y="98"/>
                    <a:pt x="26" y="102"/>
                  </a:cubicBezTo>
                  <a:cubicBezTo>
                    <a:pt x="35" y="106"/>
                    <a:pt x="43" y="87"/>
                    <a:pt x="43" y="87"/>
                  </a:cubicBezTo>
                  <a:cubicBezTo>
                    <a:pt x="43" y="87"/>
                    <a:pt x="57" y="89"/>
                    <a:pt x="74" y="89"/>
                  </a:cubicBezTo>
                  <a:cubicBezTo>
                    <a:pt x="90" y="89"/>
                    <a:pt x="111" y="85"/>
                    <a:pt x="111" y="85"/>
                  </a:cubicBezTo>
                  <a:cubicBezTo>
                    <a:pt x="121" y="98"/>
                    <a:pt x="121" y="98"/>
                    <a:pt x="121" y="98"/>
                  </a:cubicBezTo>
                  <a:lnTo>
                    <a:pt x="114" y="7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48" name="Freeform 328">
              <a:extLst>
                <a:ext uri="{FF2B5EF4-FFF2-40B4-BE49-F238E27FC236}">
                  <a16:creationId xmlns:a16="http://schemas.microsoft.com/office/drawing/2014/main" id="{58D6A472-64CB-DAC4-3478-EC38F2A772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2589" y="-16443"/>
              <a:ext cx="7205" cy="6196"/>
            </a:xfrm>
            <a:custGeom>
              <a:avLst/>
              <a:gdLst>
                <a:gd name="T0" fmla="*/ 3045 w 3050"/>
                <a:gd name="T1" fmla="*/ 429 h 2623"/>
                <a:gd name="T2" fmla="*/ 3017 w 3050"/>
                <a:gd name="T3" fmla="*/ 487 h 2623"/>
                <a:gd name="T4" fmla="*/ 3043 w 3050"/>
                <a:gd name="T5" fmla="*/ 495 h 2623"/>
                <a:gd name="T6" fmla="*/ 3048 w 3050"/>
                <a:gd name="T7" fmla="*/ 446 h 2623"/>
                <a:gd name="T8" fmla="*/ 2944 w 3050"/>
                <a:gd name="T9" fmla="*/ 106 h 2623"/>
                <a:gd name="T10" fmla="*/ 2924 w 3050"/>
                <a:gd name="T11" fmla="*/ 87 h 2623"/>
                <a:gd name="T12" fmla="*/ 2899 w 3050"/>
                <a:gd name="T13" fmla="*/ 85 h 2623"/>
                <a:gd name="T14" fmla="*/ 2877 w 3050"/>
                <a:gd name="T15" fmla="*/ 77 h 2623"/>
                <a:gd name="T16" fmla="*/ 2843 w 3050"/>
                <a:gd name="T17" fmla="*/ 61 h 2623"/>
                <a:gd name="T18" fmla="*/ 2800 w 3050"/>
                <a:gd name="T19" fmla="*/ 37 h 2623"/>
                <a:gd name="T20" fmla="*/ 2771 w 3050"/>
                <a:gd name="T21" fmla="*/ 12 h 2623"/>
                <a:gd name="T22" fmla="*/ 2715 w 3050"/>
                <a:gd name="T23" fmla="*/ 12 h 2623"/>
                <a:gd name="T24" fmla="*/ 2686 w 3050"/>
                <a:gd name="T25" fmla="*/ 60 h 2623"/>
                <a:gd name="T26" fmla="*/ 2635 w 3050"/>
                <a:gd name="T27" fmla="*/ 97 h 2623"/>
                <a:gd name="T28" fmla="*/ 2580 w 3050"/>
                <a:gd name="T29" fmla="*/ 75 h 2623"/>
                <a:gd name="T30" fmla="*/ 2550 w 3050"/>
                <a:gd name="T31" fmla="*/ 125 h 2623"/>
                <a:gd name="T32" fmla="*/ 2495 w 3050"/>
                <a:gd name="T33" fmla="*/ 124 h 2623"/>
                <a:gd name="T34" fmla="*/ 2450 w 3050"/>
                <a:gd name="T35" fmla="*/ 161 h 2623"/>
                <a:gd name="T36" fmla="*/ 2514 w 3050"/>
                <a:gd name="T37" fmla="*/ 184 h 2623"/>
                <a:gd name="T38" fmla="*/ 2572 w 3050"/>
                <a:gd name="T39" fmla="*/ 199 h 2623"/>
                <a:gd name="T40" fmla="*/ 2597 w 3050"/>
                <a:gd name="T41" fmla="*/ 248 h 2623"/>
                <a:gd name="T42" fmla="*/ 2617 w 3050"/>
                <a:gd name="T43" fmla="*/ 320 h 2623"/>
                <a:gd name="T44" fmla="*/ 2576 w 3050"/>
                <a:gd name="T45" fmla="*/ 391 h 2623"/>
                <a:gd name="T46" fmla="*/ 2578 w 3050"/>
                <a:gd name="T47" fmla="*/ 414 h 2623"/>
                <a:gd name="T48" fmla="*/ 2612 w 3050"/>
                <a:gd name="T49" fmla="*/ 437 h 2623"/>
                <a:gd name="T50" fmla="*/ 2651 w 3050"/>
                <a:gd name="T51" fmla="*/ 441 h 2623"/>
                <a:gd name="T52" fmla="*/ 2673 w 3050"/>
                <a:gd name="T53" fmla="*/ 434 h 2623"/>
                <a:gd name="T54" fmla="*/ 2697 w 3050"/>
                <a:gd name="T55" fmla="*/ 446 h 2623"/>
                <a:gd name="T56" fmla="*/ 2717 w 3050"/>
                <a:gd name="T57" fmla="*/ 454 h 2623"/>
                <a:gd name="T58" fmla="*/ 2742 w 3050"/>
                <a:gd name="T59" fmla="*/ 463 h 2623"/>
                <a:gd name="T60" fmla="*/ 2763 w 3050"/>
                <a:gd name="T61" fmla="*/ 453 h 2623"/>
                <a:gd name="T62" fmla="*/ 2822 w 3050"/>
                <a:gd name="T63" fmla="*/ 397 h 2623"/>
                <a:gd name="T64" fmla="*/ 2882 w 3050"/>
                <a:gd name="T65" fmla="*/ 421 h 2623"/>
                <a:gd name="T66" fmla="*/ 2957 w 3050"/>
                <a:gd name="T67" fmla="*/ 388 h 2623"/>
                <a:gd name="T68" fmla="*/ 2950 w 3050"/>
                <a:gd name="T69" fmla="*/ 367 h 2623"/>
                <a:gd name="T70" fmla="*/ 2940 w 3050"/>
                <a:gd name="T71" fmla="*/ 335 h 2623"/>
                <a:gd name="T72" fmla="*/ 2922 w 3050"/>
                <a:gd name="T73" fmla="*/ 314 h 2623"/>
                <a:gd name="T74" fmla="*/ 2939 w 3050"/>
                <a:gd name="T75" fmla="*/ 289 h 2623"/>
                <a:gd name="T76" fmla="*/ 2934 w 3050"/>
                <a:gd name="T77" fmla="*/ 263 h 2623"/>
                <a:gd name="T78" fmla="*/ 2902 w 3050"/>
                <a:gd name="T79" fmla="*/ 259 h 2623"/>
                <a:gd name="T80" fmla="*/ 2918 w 3050"/>
                <a:gd name="T81" fmla="*/ 226 h 2623"/>
                <a:gd name="T82" fmla="*/ 2943 w 3050"/>
                <a:gd name="T83" fmla="*/ 198 h 2623"/>
                <a:gd name="T84" fmla="*/ 2966 w 3050"/>
                <a:gd name="T85" fmla="*/ 186 h 2623"/>
                <a:gd name="T86" fmla="*/ 2976 w 3050"/>
                <a:gd name="T87" fmla="*/ 128 h 2623"/>
                <a:gd name="T88" fmla="*/ 2982 w 3050"/>
                <a:gd name="T89" fmla="*/ 106 h 2623"/>
                <a:gd name="T90" fmla="*/ 90 w 3050"/>
                <a:gd name="T91" fmla="*/ 2439 h 2623"/>
                <a:gd name="T92" fmla="*/ 32 w 3050"/>
                <a:gd name="T93" fmla="*/ 2444 h 2623"/>
                <a:gd name="T94" fmla="*/ 32 w 3050"/>
                <a:gd name="T95" fmla="*/ 2544 h 2623"/>
                <a:gd name="T96" fmla="*/ 11 w 3050"/>
                <a:gd name="T97" fmla="*/ 2594 h 2623"/>
                <a:gd name="T98" fmla="*/ 38 w 3050"/>
                <a:gd name="T99" fmla="*/ 2611 h 2623"/>
                <a:gd name="T100" fmla="*/ 62 w 3050"/>
                <a:gd name="T101" fmla="*/ 2610 h 2623"/>
                <a:gd name="T102" fmla="*/ 108 w 3050"/>
                <a:gd name="T103" fmla="*/ 2570 h 2623"/>
                <a:gd name="T104" fmla="*/ 125 w 3050"/>
                <a:gd name="T105" fmla="*/ 2479 h 2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050" h="2623">
                  <a:moveTo>
                    <a:pt x="3048" y="446"/>
                  </a:moveTo>
                  <a:cubicBezTo>
                    <a:pt x="3043" y="444"/>
                    <a:pt x="3043" y="444"/>
                    <a:pt x="3043" y="444"/>
                  </a:cubicBezTo>
                  <a:cubicBezTo>
                    <a:pt x="3043" y="444"/>
                    <a:pt x="3049" y="436"/>
                    <a:pt x="3045" y="429"/>
                  </a:cubicBezTo>
                  <a:cubicBezTo>
                    <a:pt x="3041" y="422"/>
                    <a:pt x="3033" y="440"/>
                    <a:pt x="3033" y="440"/>
                  </a:cubicBezTo>
                  <a:cubicBezTo>
                    <a:pt x="3033" y="440"/>
                    <a:pt x="3004" y="453"/>
                    <a:pt x="3007" y="467"/>
                  </a:cubicBezTo>
                  <a:cubicBezTo>
                    <a:pt x="3010" y="481"/>
                    <a:pt x="3017" y="487"/>
                    <a:pt x="3017" y="487"/>
                  </a:cubicBezTo>
                  <a:cubicBezTo>
                    <a:pt x="3017" y="487"/>
                    <a:pt x="3008" y="498"/>
                    <a:pt x="3016" y="505"/>
                  </a:cubicBezTo>
                  <a:cubicBezTo>
                    <a:pt x="3024" y="512"/>
                    <a:pt x="3033" y="513"/>
                    <a:pt x="3033" y="513"/>
                  </a:cubicBezTo>
                  <a:cubicBezTo>
                    <a:pt x="3033" y="513"/>
                    <a:pt x="3043" y="506"/>
                    <a:pt x="3043" y="495"/>
                  </a:cubicBezTo>
                  <a:cubicBezTo>
                    <a:pt x="3043" y="484"/>
                    <a:pt x="3042" y="481"/>
                    <a:pt x="3042" y="481"/>
                  </a:cubicBezTo>
                  <a:cubicBezTo>
                    <a:pt x="3050" y="477"/>
                    <a:pt x="3050" y="477"/>
                    <a:pt x="3050" y="477"/>
                  </a:cubicBezTo>
                  <a:lnTo>
                    <a:pt x="3048" y="446"/>
                  </a:lnTo>
                  <a:close/>
                  <a:moveTo>
                    <a:pt x="2964" y="107"/>
                  </a:moveTo>
                  <a:cubicBezTo>
                    <a:pt x="2964" y="103"/>
                    <a:pt x="2964" y="103"/>
                    <a:pt x="2964" y="103"/>
                  </a:cubicBezTo>
                  <a:cubicBezTo>
                    <a:pt x="2964" y="103"/>
                    <a:pt x="2950" y="107"/>
                    <a:pt x="2944" y="106"/>
                  </a:cubicBezTo>
                  <a:cubicBezTo>
                    <a:pt x="2938" y="105"/>
                    <a:pt x="2940" y="100"/>
                    <a:pt x="2940" y="100"/>
                  </a:cubicBezTo>
                  <a:cubicBezTo>
                    <a:pt x="2923" y="100"/>
                    <a:pt x="2923" y="100"/>
                    <a:pt x="2923" y="100"/>
                  </a:cubicBezTo>
                  <a:cubicBezTo>
                    <a:pt x="2923" y="100"/>
                    <a:pt x="2927" y="90"/>
                    <a:pt x="2924" y="87"/>
                  </a:cubicBezTo>
                  <a:cubicBezTo>
                    <a:pt x="2921" y="84"/>
                    <a:pt x="2919" y="80"/>
                    <a:pt x="2919" y="80"/>
                  </a:cubicBezTo>
                  <a:cubicBezTo>
                    <a:pt x="2908" y="78"/>
                    <a:pt x="2908" y="78"/>
                    <a:pt x="2908" y="78"/>
                  </a:cubicBezTo>
                  <a:cubicBezTo>
                    <a:pt x="2899" y="85"/>
                    <a:pt x="2899" y="85"/>
                    <a:pt x="2899" y="85"/>
                  </a:cubicBezTo>
                  <a:cubicBezTo>
                    <a:pt x="2894" y="81"/>
                    <a:pt x="2894" y="81"/>
                    <a:pt x="2894" y="81"/>
                  </a:cubicBezTo>
                  <a:cubicBezTo>
                    <a:pt x="2880" y="81"/>
                    <a:pt x="2880" y="81"/>
                    <a:pt x="2880" y="81"/>
                  </a:cubicBezTo>
                  <a:cubicBezTo>
                    <a:pt x="2880" y="81"/>
                    <a:pt x="2879" y="80"/>
                    <a:pt x="2877" y="77"/>
                  </a:cubicBezTo>
                  <a:cubicBezTo>
                    <a:pt x="2875" y="74"/>
                    <a:pt x="2853" y="70"/>
                    <a:pt x="2853" y="70"/>
                  </a:cubicBezTo>
                  <a:cubicBezTo>
                    <a:pt x="2853" y="54"/>
                    <a:pt x="2853" y="54"/>
                    <a:pt x="2853" y="54"/>
                  </a:cubicBezTo>
                  <a:cubicBezTo>
                    <a:pt x="2843" y="61"/>
                    <a:pt x="2843" y="61"/>
                    <a:pt x="2843" y="61"/>
                  </a:cubicBezTo>
                  <a:cubicBezTo>
                    <a:pt x="2828" y="61"/>
                    <a:pt x="2828" y="61"/>
                    <a:pt x="2828" y="61"/>
                  </a:cubicBezTo>
                  <a:cubicBezTo>
                    <a:pt x="2828" y="61"/>
                    <a:pt x="2828" y="45"/>
                    <a:pt x="2823" y="42"/>
                  </a:cubicBezTo>
                  <a:cubicBezTo>
                    <a:pt x="2818" y="39"/>
                    <a:pt x="2800" y="37"/>
                    <a:pt x="2800" y="37"/>
                  </a:cubicBezTo>
                  <a:cubicBezTo>
                    <a:pt x="2793" y="30"/>
                    <a:pt x="2793" y="30"/>
                    <a:pt x="2793" y="30"/>
                  </a:cubicBezTo>
                  <a:cubicBezTo>
                    <a:pt x="2777" y="26"/>
                    <a:pt x="2777" y="26"/>
                    <a:pt x="2777" y="26"/>
                  </a:cubicBezTo>
                  <a:cubicBezTo>
                    <a:pt x="2771" y="12"/>
                    <a:pt x="2771" y="12"/>
                    <a:pt x="2771" y="12"/>
                  </a:cubicBezTo>
                  <a:cubicBezTo>
                    <a:pt x="2772" y="3"/>
                    <a:pt x="2772" y="3"/>
                    <a:pt x="2772" y="3"/>
                  </a:cubicBezTo>
                  <a:cubicBezTo>
                    <a:pt x="2772" y="3"/>
                    <a:pt x="2756" y="0"/>
                    <a:pt x="2746" y="4"/>
                  </a:cubicBezTo>
                  <a:cubicBezTo>
                    <a:pt x="2736" y="8"/>
                    <a:pt x="2711" y="4"/>
                    <a:pt x="2715" y="12"/>
                  </a:cubicBezTo>
                  <a:cubicBezTo>
                    <a:pt x="2719" y="20"/>
                    <a:pt x="2722" y="27"/>
                    <a:pt x="2722" y="27"/>
                  </a:cubicBezTo>
                  <a:cubicBezTo>
                    <a:pt x="2722" y="27"/>
                    <a:pt x="2730" y="44"/>
                    <a:pt x="2719" y="52"/>
                  </a:cubicBezTo>
                  <a:cubicBezTo>
                    <a:pt x="2708" y="60"/>
                    <a:pt x="2686" y="60"/>
                    <a:pt x="2686" y="60"/>
                  </a:cubicBezTo>
                  <a:cubicBezTo>
                    <a:pt x="2661" y="80"/>
                    <a:pt x="2661" y="80"/>
                    <a:pt x="2661" y="80"/>
                  </a:cubicBezTo>
                  <a:cubicBezTo>
                    <a:pt x="2670" y="86"/>
                    <a:pt x="2670" y="86"/>
                    <a:pt x="2670" y="86"/>
                  </a:cubicBezTo>
                  <a:cubicBezTo>
                    <a:pt x="2670" y="86"/>
                    <a:pt x="2650" y="98"/>
                    <a:pt x="2635" y="97"/>
                  </a:cubicBezTo>
                  <a:cubicBezTo>
                    <a:pt x="2620" y="96"/>
                    <a:pt x="2611" y="91"/>
                    <a:pt x="2611" y="91"/>
                  </a:cubicBezTo>
                  <a:cubicBezTo>
                    <a:pt x="2600" y="76"/>
                    <a:pt x="2600" y="76"/>
                    <a:pt x="2600" y="76"/>
                  </a:cubicBezTo>
                  <a:cubicBezTo>
                    <a:pt x="2600" y="76"/>
                    <a:pt x="2579" y="68"/>
                    <a:pt x="2580" y="75"/>
                  </a:cubicBezTo>
                  <a:cubicBezTo>
                    <a:pt x="2581" y="82"/>
                    <a:pt x="2592" y="96"/>
                    <a:pt x="2592" y="96"/>
                  </a:cubicBezTo>
                  <a:cubicBezTo>
                    <a:pt x="2592" y="96"/>
                    <a:pt x="2605" y="120"/>
                    <a:pt x="2587" y="123"/>
                  </a:cubicBezTo>
                  <a:cubicBezTo>
                    <a:pt x="2569" y="126"/>
                    <a:pt x="2550" y="125"/>
                    <a:pt x="2550" y="125"/>
                  </a:cubicBezTo>
                  <a:cubicBezTo>
                    <a:pt x="2543" y="136"/>
                    <a:pt x="2543" y="136"/>
                    <a:pt x="2543" y="136"/>
                  </a:cubicBezTo>
                  <a:cubicBezTo>
                    <a:pt x="2543" y="136"/>
                    <a:pt x="2527" y="116"/>
                    <a:pt x="2521" y="117"/>
                  </a:cubicBezTo>
                  <a:cubicBezTo>
                    <a:pt x="2515" y="118"/>
                    <a:pt x="2495" y="124"/>
                    <a:pt x="2495" y="124"/>
                  </a:cubicBezTo>
                  <a:cubicBezTo>
                    <a:pt x="2495" y="124"/>
                    <a:pt x="2459" y="129"/>
                    <a:pt x="2456" y="136"/>
                  </a:cubicBezTo>
                  <a:cubicBezTo>
                    <a:pt x="2453" y="143"/>
                    <a:pt x="2475" y="149"/>
                    <a:pt x="2474" y="152"/>
                  </a:cubicBezTo>
                  <a:cubicBezTo>
                    <a:pt x="2473" y="155"/>
                    <a:pt x="2444" y="153"/>
                    <a:pt x="2450" y="161"/>
                  </a:cubicBezTo>
                  <a:cubicBezTo>
                    <a:pt x="2456" y="169"/>
                    <a:pt x="2475" y="170"/>
                    <a:pt x="2475" y="170"/>
                  </a:cubicBezTo>
                  <a:cubicBezTo>
                    <a:pt x="2482" y="166"/>
                    <a:pt x="2482" y="166"/>
                    <a:pt x="2482" y="166"/>
                  </a:cubicBezTo>
                  <a:cubicBezTo>
                    <a:pt x="2514" y="184"/>
                    <a:pt x="2514" y="184"/>
                    <a:pt x="2514" y="184"/>
                  </a:cubicBezTo>
                  <a:cubicBezTo>
                    <a:pt x="2534" y="184"/>
                    <a:pt x="2534" y="184"/>
                    <a:pt x="2534" y="184"/>
                  </a:cubicBezTo>
                  <a:cubicBezTo>
                    <a:pt x="2546" y="196"/>
                    <a:pt x="2546" y="196"/>
                    <a:pt x="2546" y="196"/>
                  </a:cubicBezTo>
                  <a:cubicBezTo>
                    <a:pt x="2572" y="199"/>
                    <a:pt x="2572" y="199"/>
                    <a:pt x="2572" y="199"/>
                  </a:cubicBezTo>
                  <a:cubicBezTo>
                    <a:pt x="2553" y="209"/>
                    <a:pt x="2553" y="209"/>
                    <a:pt x="2553" y="209"/>
                  </a:cubicBezTo>
                  <a:cubicBezTo>
                    <a:pt x="2553" y="209"/>
                    <a:pt x="2572" y="240"/>
                    <a:pt x="2576" y="244"/>
                  </a:cubicBezTo>
                  <a:cubicBezTo>
                    <a:pt x="2580" y="248"/>
                    <a:pt x="2597" y="248"/>
                    <a:pt x="2597" y="248"/>
                  </a:cubicBezTo>
                  <a:cubicBezTo>
                    <a:pt x="2595" y="277"/>
                    <a:pt x="2595" y="277"/>
                    <a:pt x="2595" y="277"/>
                  </a:cubicBezTo>
                  <a:cubicBezTo>
                    <a:pt x="2608" y="297"/>
                    <a:pt x="2608" y="297"/>
                    <a:pt x="2608" y="297"/>
                  </a:cubicBezTo>
                  <a:cubicBezTo>
                    <a:pt x="2617" y="320"/>
                    <a:pt x="2617" y="320"/>
                    <a:pt x="2617" y="320"/>
                  </a:cubicBezTo>
                  <a:cubicBezTo>
                    <a:pt x="2596" y="294"/>
                    <a:pt x="2596" y="294"/>
                    <a:pt x="2596" y="294"/>
                  </a:cubicBezTo>
                  <a:cubicBezTo>
                    <a:pt x="2596" y="294"/>
                    <a:pt x="2594" y="323"/>
                    <a:pt x="2593" y="333"/>
                  </a:cubicBezTo>
                  <a:cubicBezTo>
                    <a:pt x="2592" y="343"/>
                    <a:pt x="2581" y="383"/>
                    <a:pt x="2576" y="391"/>
                  </a:cubicBezTo>
                  <a:cubicBezTo>
                    <a:pt x="2572" y="398"/>
                    <a:pt x="2574" y="407"/>
                    <a:pt x="2562" y="409"/>
                  </a:cubicBezTo>
                  <a:cubicBezTo>
                    <a:pt x="2563" y="415"/>
                    <a:pt x="2563" y="415"/>
                    <a:pt x="2563" y="415"/>
                  </a:cubicBezTo>
                  <a:cubicBezTo>
                    <a:pt x="2563" y="415"/>
                    <a:pt x="2572" y="407"/>
                    <a:pt x="2578" y="414"/>
                  </a:cubicBezTo>
                  <a:cubicBezTo>
                    <a:pt x="2584" y="421"/>
                    <a:pt x="2578" y="424"/>
                    <a:pt x="2578" y="424"/>
                  </a:cubicBezTo>
                  <a:cubicBezTo>
                    <a:pt x="2578" y="424"/>
                    <a:pt x="2592" y="426"/>
                    <a:pt x="2599" y="427"/>
                  </a:cubicBezTo>
                  <a:cubicBezTo>
                    <a:pt x="2606" y="428"/>
                    <a:pt x="2612" y="437"/>
                    <a:pt x="2612" y="437"/>
                  </a:cubicBezTo>
                  <a:cubicBezTo>
                    <a:pt x="2612" y="437"/>
                    <a:pt x="2622" y="433"/>
                    <a:pt x="2626" y="435"/>
                  </a:cubicBezTo>
                  <a:cubicBezTo>
                    <a:pt x="2630" y="437"/>
                    <a:pt x="2631" y="440"/>
                    <a:pt x="2631" y="440"/>
                  </a:cubicBezTo>
                  <a:cubicBezTo>
                    <a:pt x="2651" y="441"/>
                    <a:pt x="2651" y="441"/>
                    <a:pt x="2651" y="441"/>
                  </a:cubicBezTo>
                  <a:cubicBezTo>
                    <a:pt x="2653" y="449"/>
                    <a:pt x="2653" y="449"/>
                    <a:pt x="2653" y="449"/>
                  </a:cubicBezTo>
                  <a:cubicBezTo>
                    <a:pt x="2666" y="446"/>
                    <a:pt x="2666" y="446"/>
                    <a:pt x="2666" y="446"/>
                  </a:cubicBezTo>
                  <a:cubicBezTo>
                    <a:pt x="2666" y="446"/>
                    <a:pt x="2660" y="434"/>
                    <a:pt x="2673" y="434"/>
                  </a:cubicBezTo>
                  <a:cubicBezTo>
                    <a:pt x="2686" y="434"/>
                    <a:pt x="2686" y="441"/>
                    <a:pt x="2686" y="441"/>
                  </a:cubicBezTo>
                  <a:cubicBezTo>
                    <a:pt x="2695" y="442"/>
                    <a:pt x="2695" y="442"/>
                    <a:pt x="2695" y="442"/>
                  </a:cubicBezTo>
                  <a:cubicBezTo>
                    <a:pt x="2697" y="446"/>
                    <a:pt x="2697" y="446"/>
                    <a:pt x="2697" y="446"/>
                  </a:cubicBezTo>
                  <a:cubicBezTo>
                    <a:pt x="2698" y="445"/>
                    <a:pt x="2700" y="445"/>
                    <a:pt x="2702" y="445"/>
                  </a:cubicBezTo>
                  <a:cubicBezTo>
                    <a:pt x="2712" y="444"/>
                    <a:pt x="2716" y="445"/>
                    <a:pt x="2716" y="445"/>
                  </a:cubicBezTo>
                  <a:cubicBezTo>
                    <a:pt x="2717" y="454"/>
                    <a:pt x="2717" y="454"/>
                    <a:pt x="2717" y="454"/>
                  </a:cubicBezTo>
                  <a:cubicBezTo>
                    <a:pt x="2720" y="455"/>
                    <a:pt x="2722" y="459"/>
                    <a:pt x="2722" y="459"/>
                  </a:cubicBezTo>
                  <a:cubicBezTo>
                    <a:pt x="2722" y="459"/>
                    <a:pt x="2729" y="457"/>
                    <a:pt x="2732" y="456"/>
                  </a:cubicBezTo>
                  <a:cubicBezTo>
                    <a:pt x="2735" y="455"/>
                    <a:pt x="2742" y="463"/>
                    <a:pt x="2742" y="463"/>
                  </a:cubicBezTo>
                  <a:cubicBezTo>
                    <a:pt x="2742" y="463"/>
                    <a:pt x="2743" y="463"/>
                    <a:pt x="2750" y="463"/>
                  </a:cubicBezTo>
                  <a:cubicBezTo>
                    <a:pt x="2757" y="463"/>
                    <a:pt x="2757" y="453"/>
                    <a:pt x="2757" y="453"/>
                  </a:cubicBezTo>
                  <a:cubicBezTo>
                    <a:pt x="2763" y="453"/>
                    <a:pt x="2763" y="453"/>
                    <a:pt x="2763" y="453"/>
                  </a:cubicBezTo>
                  <a:cubicBezTo>
                    <a:pt x="2763" y="452"/>
                    <a:pt x="2763" y="451"/>
                    <a:pt x="2763" y="450"/>
                  </a:cubicBezTo>
                  <a:cubicBezTo>
                    <a:pt x="2763" y="440"/>
                    <a:pt x="2778" y="417"/>
                    <a:pt x="2785" y="413"/>
                  </a:cubicBezTo>
                  <a:cubicBezTo>
                    <a:pt x="2792" y="409"/>
                    <a:pt x="2813" y="392"/>
                    <a:pt x="2822" y="397"/>
                  </a:cubicBezTo>
                  <a:cubicBezTo>
                    <a:pt x="2831" y="402"/>
                    <a:pt x="2839" y="407"/>
                    <a:pt x="2839" y="407"/>
                  </a:cubicBezTo>
                  <a:cubicBezTo>
                    <a:pt x="2839" y="407"/>
                    <a:pt x="2862" y="401"/>
                    <a:pt x="2867" y="406"/>
                  </a:cubicBezTo>
                  <a:cubicBezTo>
                    <a:pt x="2872" y="411"/>
                    <a:pt x="2879" y="419"/>
                    <a:pt x="2882" y="421"/>
                  </a:cubicBezTo>
                  <a:cubicBezTo>
                    <a:pt x="2882" y="421"/>
                    <a:pt x="2907" y="431"/>
                    <a:pt x="2920" y="421"/>
                  </a:cubicBezTo>
                  <a:cubicBezTo>
                    <a:pt x="2933" y="411"/>
                    <a:pt x="2937" y="392"/>
                    <a:pt x="2943" y="390"/>
                  </a:cubicBezTo>
                  <a:cubicBezTo>
                    <a:pt x="2945" y="389"/>
                    <a:pt x="2951" y="389"/>
                    <a:pt x="2957" y="388"/>
                  </a:cubicBezTo>
                  <a:cubicBezTo>
                    <a:pt x="2957" y="385"/>
                    <a:pt x="2958" y="383"/>
                    <a:pt x="2960" y="383"/>
                  </a:cubicBezTo>
                  <a:cubicBezTo>
                    <a:pt x="2964" y="383"/>
                    <a:pt x="2970" y="373"/>
                    <a:pt x="2967" y="369"/>
                  </a:cubicBezTo>
                  <a:cubicBezTo>
                    <a:pt x="2964" y="365"/>
                    <a:pt x="2950" y="367"/>
                    <a:pt x="2950" y="367"/>
                  </a:cubicBezTo>
                  <a:cubicBezTo>
                    <a:pt x="2947" y="361"/>
                    <a:pt x="2947" y="361"/>
                    <a:pt x="2947" y="361"/>
                  </a:cubicBezTo>
                  <a:cubicBezTo>
                    <a:pt x="2947" y="361"/>
                    <a:pt x="2933" y="360"/>
                    <a:pt x="2934" y="350"/>
                  </a:cubicBezTo>
                  <a:cubicBezTo>
                    <a:pt x="2935" y="340"/>
                    <a:pt x="2941" y="340"/>
                    <a:pt x="2940" y="335"/>
                  </a:cubicBezTo>
                  <a:cubicBezTo>
                    <a:pt x="2939" y="330"/>
                    <a:pt x="2935" y="327"/>
                    <a:pt x="2935" y="327"/>
                  </a:cubicBezTo>
                  <a:cubicBezTo>
                    <a:pt x="2928" y="327"/>
                    <a:pt x="2928" y="327"/>
                    <a:pt x="2928" y="327"/>
                  </a:cubicBezTo>
                  <a:cubicBezTo>
                    <a:pt x="2922" y="314"/>
                    <a:pt x="2922" y="314"/>
                    <a:pt x="2922" y="314"/>
                  </a:cubicBezTo>
                  <a:cubicBezTo>
                    <a:pt x="2931" y="312"/>
                    <a:pt x="2931" y="312"/>
                    <a:pt x="2931" y="312"/>
                  </a:cubicBezTo>
                  <a:cubicBezTo>
                    <a:pt x="2931" y="312"/>
                    <a:pt x="2950" y="311"/>
                    <a:pt x="2950" y="302"/>
                  </a:cubicBezTo>
                  <a:cubicBezTo>
                    <a:pt x="2950" y="293"/>
                    <a:pt x="2939" y="289"/>
                    <a:pt x="2939" y="289"/>
                  </a:cubicBezTo>
                  <a:cubicBezTo>
                    <a:pt x="2931" y="281"/>
                    <a:pt x="2931" y="281"/>
                    <a:pt x="2931" y="281"/>
                  </a:cubicBezTo>
                  <a:cubicBezTo>
                    <a:pt x="2931" y="281"/>
                    <a:pt x="2941" y="277"/>
                    <a:pt x="2941" y="273"/>
                  </a:cubicBezTo>
                  <a:cubicBezTo>
                    <a:pt x="2941" y="269"/>
                    <a:pt x="2934" y="263"/>
                    <a:pt x="2934" y="263"/>
                  </a:cubicBezTo>
                  <a:cubicBezTo>
                    <a:pt x="2935" y="245"/>
                    <a:pt x="2935" y="245"/>
                    <a:pt x="2935" y="245"/>
                  </a:cubicBezTo>
                  <a:cubicBezTo>
                    <a:pt x="2935" y="245"/>
                    <a:pt x="2927" y="239"/>
                    <a:pt x="2920" y="243"/>
                  </a:cubicBezTo>
                  <a:cubicBezTo>
                    <a:pt x="2913" y="247"/>
                    <a:pt x="2908" y="260"/>
                    <a:pt x="2902" y="259"/>
                  </a:cubicBezTo>
                  <a:cubicBezTo>
                    <a:pt x="2896" y="258"/>
                    <a:pt x="2906" y="250"/>
                    <a:pt x="2906" y="250"/>
                  </a:cubicBezTo>
                  <a:cubicBezTo>
                    <a:pt x="2900" y="242"/>
                    <a:pt x="2900" y="242"/>
                    <a:pt x="2900" y="242"/>
                  </a:cubicBezTo>
                  <a:cubicBezTo>
                    <a:pt x="2900" y="242"/>
                    <a:pt x="2912" y="233"/>
                    <a:pt x="2918" y="226"/>
                  </a:cubicBezTo>
                  <a:cubicBezTo>
                    <a:pt x="2924" y="219"/>
                    <a:pt x="2921" y="213"/>
                    <a:pt x="2921" y="213"/>
                  </a:cubicBezTo>
                  <a:cubicBezTo>
                    <a:pt x="2921" y="213"/>
                    <a:pt x="2927" y="219"/>
                    <a:pt x="2932" y="213"/>
                  </a:cubicBezTo>
                  <a:cubicBezTo>
                    <a:pt x="2937" y="207"/>
                    <a:pt x="2943" y="198"/>
                    <a:pt x="2943" y="198"/>
                  </a:cubicBezTo>
                  <a:cubicBezTo>
                    <a:pt x="2948" y="189"/>
                    <a:pt x="2948" y="189"/>
                    <a:pt x="2948" y="189"/>
                  </a:cubicBezTo>
                  <a:cubicBezTo>
                    <a:pt x="2961" y="196"/>
                    <a:pt x="2961" y="196"/>
                    <a:pt x="2961" y="196"/>
                  </a:cubicBezTo>
                  <a:cubicBezTo>
                    <a:pt x="2966" y="186"/>
                    <a:pt x="2966" y="186"/>
                    <a:pt x="2966" y="186"/>
                  </a:cubicBezTo>
                  <a:cubicBezTo>
                    <a:pt x="2966" y="186"/>
                    <a:pt x="2962" y="177"/>
                    <a:pt x="2964" y="166"/>
                  </a:cubicBezTo>
                  <a:cubicBezTo>
                    <a:pt x="2966" y="155"/>
                    <a:pt x="2976" y="136"/>
                    <a:pt x="2976" y="136"/>
                  </a:cubicBezTo>
                  <a:cubicBezTo>
                    <a:pt x="2976" y="128"/>
                    <a:pt x="2976" y="128"/>
                    <a:pt x="2976" y="128"/>
                  </a:cubicBezTo>
                  <a:cubicBezTo>
                    <a:pt x="2990" y="117"/>
                    <a:pt x="2990" y="117"/>
                    <a:pt x="2990" y="117"/>
                  </a:cubicBezTo>
                  <a:cubicBezTo>
                    <a:pt x="2992" y="111"/>
                    <a:pt x="2992" y="111"/>
                    <a:pt x="2992" y="111"/>
                  </a:cubicBezTo>
                  <a:cubicBezTo>
                    <a:pt x="2982" y="106"/>
                    <a:pt x="2982" y="106"/>
                    <a:pt x="2982" y="106"/>
                  </a:cubicBezTo>
                  <a:lnTo>
                    <a:pt x="2964" y="107"/>
                  </a:lnTo>
                  <a:close/>
                  <a:moveTo>
                    <a:pt x="106" y="2472"/>
                  </a:moveTo>
                  <a:cubicBezTo>
                    <a:pt x="90" y="2439"/>
                    <a:pt x="90" y="2439"/>
                    <a:pt x="90" y="2439"/>
                  </a:cubicBezTo>
                  <a:cubicBezTo>
                    <a:pt x="67" y="2439"/>
                    <a:pt x="67" y="2439"/>
                    <a:pt x="67" y="2439"/>
                  </a:cubicBezTo>
                  <a:cubicBezTo>
                    <a:pt x="67" y="2439"/>
                    <a:pt x="44" y="2431"/>
                    <a:pt x="36" y="2423"/>
                  </a:cubicBezTo>
                  <a:cubicBezTo>
                    <a:pt x="32" y="2430"/>
                    <a:pt x="32" y="2439"/>
                    <a:pt x="32" y="2444"/>
                  </a:cubicBezTo>
                  <a:cubicBezTo>
                    <a:pt x="32" y="2451"/>
                    <a:pt x="21" y="2450"/>
                    <a:pt x="10" y="2467"/>
                  </a:cubicBezTo>
                  <a:cubicBezTo>
                    <a:pt x="0" y="2483"/>
                    <a:pt x="10" y="2504"/>
                    <a:pt x="11" y="2517"/>
                  </a:cubicBezTo>
                  <a:cubicBezTo>
                    <a:pt x="12" y="2529"/>
                    <a:pt x="31" y="2534"/>
                    <a:pt x="32" y="2544"/>
                  </a:cubicBezTo>
                  <a:cubicBezTo>
                    <a:pt x="33" y="2554"/>
                    <a:pt x="21" y="2559"/>
                    <a:pt x="21" y="2559"/>
                  </a:cubicBezTo>
                  <a:cubicBezTo>
                    <a:pt x="23" y="2587"/>
                    <a:pt x="23" y="2587"/>
                    <a:pt x="23" y="2587"/>
                  </a:cubicBezTo>
                  <a:cubicBezTo>
                    <a:pt x="23" y="2587"/>
                    <a:pt x="12" y="2591"/>
                    <a:pt x="11" y="2594"/>
                  </a:cubicBezTo>
                  <a:cubicBezTo>
                    <a:pt x="10" y="2597"/>
                    <a:pt x="4" y="2611"/>
                    <a:pt x="4" y="2611"/>
                  </a:cubicBezTo>
                  <a:cubicBezTo>
                    <a:pt x="4" y="2611"/>
                    <a:pt x="6" y="2621"/>
                    <a:pt x="20" y="2622"/>
                  </a:cubicBezTo>
                  <a:cubicBezTo>
                    <a:pt x="34" y="2623"/>
                    <a:pt x="32" y="2617"/>
                    <a:pt x="38" y="2611"/>
                  </a:cubicBezTo>
                  <a:cubicBezTo>
                    <a:pt x="44" y="2605"/>
                    <a:pt x="48" y="2613"/>
                    <a:pt x="48" y="2613"/>
                  </a:cubicBezTo>
                  <a:cubicBezTo>
                    <a:pt x="58" y="2615"/>
                    <a:pt x="58" y="2615"/>
                    <a:pt x="58" y="2615"/>
                  </a:cubicBezTo>
                  <a:cubicBezTo>
                    <a:pt x="62" y="2610"/>
                    <a:pt x="62" y="2610"/>
                    <a:pt x="62" y="2610"/>
                  </a:cubicBezTo>
                  <a:cubicBezTo>
                    <a:pt x="62" y="2610"/>
                    <a:pt x="66" y="2618"/>
                    <a:pt x="66" y="2619"/>
                  </a:cubicBezTo>
                  <a:cubicBezTo>
                    <a:pt x="72" y="2619"/>
                    <a:pt x="87" y="2613"/>
                    <a:pt x="87" y="2613"/>
                  </a:cubicBezTo>
                  <a:cubicBezTo>
                    <a:pt x="104" y="2599"/>
                    <a:pt x="105" y="2580"/>
                    <a:pt x="108" y="2570"/>
                  </a:cubicBezTo>
                  <a:cubicBezTo>
                    <a:pt x="111" y="2560"/>
                    <a:pt x="120" y="2545"/>
                    <a:pt x="127" y="2539"/>
                  </a:cubicBezTo>
                  <a:cubicBezTo>
                    <a:pt x="134" y="2533"/>
                    <a:pt x="139" y="2516"/>
                    <a:pt x="139" y="2516"/>
                  </a:cubicBezTo>
                  <a:cubicBezTo>
                    <a:pt x="137" y="2511"/>
                    <a:pt x="125" y="2479"/>
                    <a:pt x="125" y="2479"/>
                  </a:cubicBezTo>
                  <a:lnTo>
                    <a:pt x="106" y="2472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49" name="Freeform 329">
              <a:extLst>
                <a:ext uri="{FF2B5EF4-FFF2-40B4-BE49-F238E27FC236}">
                  <a16:creationId xmlns:a16="http://schemas.microsoft.com/office/drawing/2014/main" id="{52D8C836-A5DD-BC29-E7A9-F70EC5F2B8B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4647" y="-7171"/>
              <a:ext cx="1793" cy="1611"/>
            </a:xfrm>
            <a:custGeom>
              <a:avLst/>
              <a:gdLst>
                <a:gd name="T0" fmla="*/ 725 w 759"/>
                <a:gd name="T1" fmla="*/ 254 h 682"/>
                <a:gd name="T2" fmla="*/ 696 w 759"/>
                <a:gd name="T3" fmla="*/ 278 h 682"/>
                <a:gd name="T4" fmla="*/ 673 w 759"/>
                <a:gd name="T5" fmla="*/ 221 h 682"/>
                <a:gd name="T6" fmla="*/ 708 w 759"/>
                <a:gd name="T7" fmla="*/ 206 h 682"/>
                <a:gd name="T8" fmla="*/ 727 w 759"/>
                <a:gd name="T9" fmla="*/ 125 h 682"/>
                <a:gd name="T10" fmla="*/ 696 w 759"/>
                <a:gd name="T11" fmla="*/ 15 h 682"/>
                <a:gd name="T12" fmla="*/ 649 w 759"/>
                <a:gd name="T13" fmla="*/ 8 h 682"/>
                <a:gd name="T14" fmla="*/ 586 w 759"/>
                <a:gd name="T15" fmla="*/ 2 h 682"/>
                <a:gd name="T16" fmla="*/ 549 w 759"/>
                <a:gd name="T17" fmla="*/ 25 h 682"/>
                <a:gd name="T18" fmla="*/ 495 w 759"/>
                <a:gd name="T19" fmla="*/ 77 h 682"/>
                <a:gd name="T20" fmla="*/ 461 w 759"/>
                <a:gd name="T21" fmla="*/ 137 h 682"/>
                <a:gd name="T22" fmla="*/ 436 w 759"/>
                <a:gd name="T23" fmla="*/ 152 h 682"/>
                <a:gd name="T24" fmla="*/ 402 w 759"/>
                <a:gd name="T25" fmla="*/ 192 h 682"/>
                <a:gd name="T26" fmla="*/ 364 w 759"/>
                <a:gd name="T27" fmla="*/ 190 h 682"/>
                <a:gd name="T28" fmla="*/ 337 w 759"/>
                <a:gd name="T29" fmla="*/ 179 h 682"/>
                <a:gd name="T30" fmla="*/ 290 w 759"/>
                <a:gd name="T31" fmla="*/ 212 h 682"/>
                <a:gd name="T32" fmla="*/ 263 w 759"/>
                <a:gd name="T33" fmla="*/ 240 h 682"/>
                <a:gd name="T34" fmla="*/ 244 w 759"/>
                <a:gd name="T35" fmla="*/ 251 h 682"/>
                <a:gd name="T36" fmla="*/ 193 w 759"/>
                <a:gd name="T37" fmla="*/ 231 h 682"/>
                <a:gd name="T38" fmla="*/ 196 w 759"/>
                <a:gd name="T39" fmla="*/ 189 h 682"/>
                <a:gd name="T40" fmla="*/ 166 w 759"/>
                <a:gd name="T41" fmla="*/ 143 h 682"/>
                <a:gd name="T42" fmla="*/ 142 w 759"/>
                <a:gd name="T43" fmla="*/ 343 h 682"/>
                <a:gd name="T44" fmla="*/ 129 w 759"/>
                <a:gd name="T45" fmla="*/ 353 h 682"/>
                <a:gd name="T46" fmla="*/ 114 w 759"/>
                <a:gd name="T47" fmla="*/ 367 h 682"/>
                <a:gd name="T48" fmla="*/ 88 w 759"/>
                <a:gd name="T49" fmla="*/ 369 h 682"/>
                <a:gd name="T50" fmla="*/ 65 w 759"/>
                <a:gd name="T51" fmla="*/ 357 h 682"/>
                <a:gd name="T52" fmla="*/ 41 w 759"/>
                <a:gd name="T53" fmla="*/ 330 h 682"/>
                <a:gd name="T54" fmla="*/ 12 w 759"/>
                <a:gd name="T55" fmla="*/ 340 h 682"/>
                <a:gd name="T56" fmla="*/ 0 w 759"/>
                <a:gd name="T57" fmla="*/ 345 h 682"/>
                <a:gd name="T58" fmla="*/ 31 w 759"/>
                <a:gd name="T59" fmla="*/ 407 h 682"/>
                <a:gd name="T60" fmla="*/ 83 w 759"/>
                <a:gd name="T61" fmla="*/ 523 h 682"/>
                <a:gd name="T62" fmla="*/ 61 w 759"/>
                <a:gd name="T63" fmla="*/ 572 h 682"/>
                <a:gd name="T64" fmla="*/ 81 w 759"/>
                <a:gd name="T65" fmla="*/ 649 h 682"/>
                <a:gd name="T66" fmla="*/ 103 w 759"/>
                <a:gd name="T67" fmla="*/ 650 h 682"/>
                <a:gd name="T68" fmla="*/ 145 w 759"/>
                <a:gd name="T69" fmla="*/ 679 h 682"/>
                <a:gd name="T70" fmla="*/ 233 w 759"/>
                <a:gd name="T71" fmla="*/ 662 h 682"/>
                <a:gd name="T72" fmla="*/ 292 w 759"/>
                <a:gd name="T73" fmla="*/ 646 h 682"/>
                <a:gd name="T74" fmla="*/ 366 w 759"/>
                <a:gd name="T75" fmla="*/ 646 h 682"/>
                <a:gd name="T76" fmla="*/ 406 w 759"/>
                <a:gd name="T77" fmla="*/ 637 h 682"/>
                <a:gd name="T78" fmla="*/ 473 w 759"/>
                <a:gd name="T79" fmla="*/ 617 h 682"/>
                <a:gd name="T80" fmla="*/ 538 w 759"/>
                <a:gd name="T81" fmla="*/ 565 h 682"/>
                <a:gd name="T82" fmla="*/ 615 w 759"/>
                <a:gd name="T83" fmla="*/ 500 h 682"/>
                <a:gd name="T84" fmla="*/ 686 w 759"/>
                <a:gd name="T85" fmla="*/ 379 h 682"/>
                <a:gd name="T86" fmla="*/ 748 w 759"/>
                <a:gd name="T87" fmla="*/ 297 h 682"/>
                <a:gd name="T88" fmla="*/ 746 w 759"/>
                <a:gd name="T89" fmla="*/ 250 h 682"/>
                <a:gd name="T90" fmla="*/ 563 w 759"/>
                <a:gd name="T91" fmla="*/ 428 h 682"/>
                <a:gd name="T92" fmla="*/ 531 w 759"/>
                <a:gd name="T93" fmla="*/ 456 h 682"/>
                <a:gd name="T94" fmla="*/ 498 w 759"/>
                <a:gd name="T95" fmla="*/ 437 h 682"/>
                <a:gd name="T96" fmla="*/ 481 w 759"/>
                <a:gd name="T97" fmla="*/ 401 h 682"/>
                <a:gd name="T98" fmla="*/ 500 w 759"/>
                <a:gd name="T99" fmla="*/ 389 h 682"/>
                <a:gd name="T100" fmla="*/ 519 w 759"/>
                <a:gd name="T101" fmla="*/ 362 h 682"/>
                <a:gd name="T102" fmla="*/ 535 w 759"/>
                <a:gd name="T103" fmla="*/ 351 h 682"/>
                <a:gd name="T104" fmla="*/ 564 w 759"/>
                <a:gd name="T105" fmla="*/ 349 h 682"/>
                <a:gd name="T106" fmla="*/ 591 w 759"/>
                <a:gd name="T107" fmla="*/ 377 h 682"/>
                <a:gd name="T108" fmla="*/ 577 w 759"/>
                <a:gd name="T109" fmla="*/ 406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59" h="682">
                  <a:moveTo>
                    <a:pt x="746" y="250"/>
                  </a:moveTo>
                  <a:cubicBezTo>
                    <a:pt x="738" y="246"/>
                    <a:pt x="725" y="254"/>
                    <a:pt x="725" y="254"/>
                  </a:cubicBezTo>
                  <a:cubicBezTo>
                    <a:pt x="718" y="279"/>
                    <a:pt x="718" y="279"/>
                    <a:pt x="718" y="279"/>
                  </a:cubicBezTo>
                  <a:cubicBezTo>
                    <a:pt x="718" y="279"/>
                    <a:pt x="703" y="278"/>
                    <a:pt x="696" y="278"/>
                  </a:cubicBezTo>
                  <a:cubicBezTo>
                    <a:pt x="689" y="278"/>
                    <a:pt x="666" y="262"/>
                    <a:pt x="664" y="250"/>
                  </a:cubicBezTo>
                  <a:cubicBezTo>
                    <a:pt x="662" y="238"/>
                    <a:pt x="670" y="225"/>
                    <a:pt x="673" y="221"/>
                  </a:cubicBezTo>
                  <a:cubicBezTo>
                    <a:pt x="676" y="217"/>
                    <a:pt x="682" y="192"/>
                    <a:pt x="689" y="192"/>
                  </a:cubicBezTo>
                  <a:cubicBezTo>
                    <a:pt x="696" y="192"/>
                    <a:pt x="708" y="206"/>
                    <a:pt x="708" y="206"/>
                  </a:cubicBezTo>
                  <a:cubicBezTo>
                    <a:pt x="726" y="182"/>
                    <a:pt x="726" y="182"/>
                    <a:pt x="726" y="182"/>
                  </a:cubicBezTo>
                  <a:cubicBezTo>
                    <a:pt x="726" y="182"/>
                    <a:pt x="726" y="134"/>
                    <a:pt x="727" y="125"/>
                  </a:cubicBezTo>
                  <a:cubicBezTo>
                    <a:pt x="728" y="116"/>
                    <a:pt x="707" y="84"/>
                    <a:pt x="705" y="75"/>
                  </a:cubicBezTo>
                  <a:cubicBezTo>
                    <a:pt x="703" y="66"/>
                    <a:pt x="696" y="15"/>
                    <a:pt x="696" y="15"/>
                  </a:cubicBezTo>
                  <a:cubicBezTo>
                    <a:pt x="684" y="8"/>
                    <a:pt x="684" y="8"/>
                    <a:pt x="684" y="8"/>
                  </a:cubicBezTo>
                  <a:cubicBezTo>
                    <a:pt x="684" y="8"/>
                    <a:pt x="657" y="9"/>
                    <a:pt x="649" y="8"/>
                  </a:cubicBezTo>
                  <a:cubicBezTo>
                    <a:pt x="641" y="7"/>
                    <a:pt x="625" y="0"/>
                    <a:pt x="625" y="0"/>
                  </a:cubicBezTo>
                  <a:cubicBezTo>
                    <a:pt x="586" y="2"/>
                    <a:pt x="586" y="2"/>
                    <a:pt x="586" y="2"/>
                  </a:cubicBezTo>
                  <a:cubicBezTo>
                    <a:pt x="578" y="18"/>
                    <a:pt x="578" y="18"/>
                    <a:pt x="578" y="18"/>
                  </a:cubicBezTo>
                  <a:cubicBezTo>
                    <a:pt x="578" y="18"/>
                    <a:pt x="554" y="19"/>
                    <a:pt x="549" y="25"/>
                  </a:cubicBezTo>
                  <a:cubicBezTo>
                    <a:pt x="544" y="31"/>
                    <a:pt x="530" y="57"/>
                    <a:pt x="519" y="64"/>
                  </a:cubicBezTo>
                  <a:cubicBezTo>
                    <a:pt x="508" y="71"/>
                    <a:pt x="505" y="70"/>
                    <a:pt x="495" y="77"/>
                  </a:cubicBezTo>
                  <a:cubicBezTo>
                    <a:pt x="485" y="84"/>
                    <a:pt x="484" y="107"/>
                    <a:pt x="484" y="113"/>
                  </a:cubicBezTo>
                  <a:cubicBezTo>
                    <a:pt x="484" y="119"/>
                    <a:pt x="461" y="137"/>
                    <a:pt x="461" y="137"/>
                  </a:cubicBezTo>
                  <a:cubicBezTo>
                    <a:pt x="450" y="140"/>
                    <a:pt x="450" y="140"/>
                    <a:pt x="450" y="140"/>
                  </a:cubicBezTo>
                  <a:cubicBezTo>
                    <a:pt x="436" y="152"/>
                    <a:pt x="436" y="152"/>
                    <a:pt x="436" y="152"/>
                  </a:cubicBezTo>
                  <a:cubicBezTo>
                    <a:pt x="436" y="152"/>
                    <a:pt x="432" y="185"/>
                    <a:pt x="421" y="192"/>
                  </a:cubicBezTo>
                  <a:cubicBezTo>
                    <a:pt x="410" y="199"/>
                    <a:pt x="402" y="192"/>
                    <a:pt x="402" y="192"/>
                  </a:cubicBezTo>
                  <a:cubicBezTo>
                    <a:pt x="402" y="192"/>
                    <a:pt x="399" y="197"/>
                    <a:pt x="389" y="199"/>
                  </a:cubicBezTo>
                  <a:cubicBezTo>
                    <a:pt x="379" y="201"/>
                    <a:pt x="364" y="190"/>
                    <a:pt x="364" y="190"/>
                  </a:cubicBezTo>
                  <a:cubicBezTo>
                    <a:pt x="347" y="189"/>
                    <a:pt x="347" y="189"/>
                    <a:pt x="347" y="189"/>
                  </a:cubicBezTo>
                  <a:cubicBezTo>
                    <a:pt x="337" y="179"/>
                    <a:pt x="337" y="179"/>
                    <a:pt x="337" y="179"/>
                  </a:cubicBezTo>
                  <a:cubicBezTo>
                    <a:pt x="337" y="179"/>
                    <a:pt x="321" y="167"/>
                    <a:pt x="308" y="167"/>
                  </a:cubicBezTo>
                  <a:cubicBezTo>
                    <a:pt x="295" y="167"/>
                    <a:pt x="290" y="205"/>
                    <a:pt x="290" y="212"/>
                  </a:cubicBezTo>
                  <a:cubicBezTo>
                    <a:pt x="290" y="219"/>
                    <a:pt x="279" y="217"/>
                    <a:pt x="272" y="220"/>
                  </a:cubicBezTo>
                  <a:cubicBezTo>
                    <a:pt x="265" y="223"/>
                    <a:pt x="263" y="240"/>
                    <a:pt x="263" y="240"/>
                  </a:cubicBezTo>
                  <a:cubicBezTo>
                    <a:pt x="263" y="240"/>
                    <a:pt x="253" y="238"/>
                    <a:pt x="249" y="239"/>
                  </a:cubicBezTo>
                  <a:cubicBezTo>
                    <a:pt x="245" y="240"/>
                    <a:pt x="244" y="251"/>
                    <a:pt x="244" y="251"/>
                  </a:cubicBezTo>
                  <a:cubicBezTo>
                    <a:pt x="244" y="251"/>
                    <a:pt x="198" y="256"/>
                    <a:pt x="193" y="253"/>
                  </a:cubicBezTo>
                  <a:cubicBezTo>
                    <a:pt x="188" y="250"/>
                    <a:pt x="193" y="231"/>
                    <a:pt x="193" y="231"/>
                  </a:cubicBezTo>
                  <a:cubicBezTo>
                    <a:pt x="193" y="231"/>
                    <a:pt x="201" y="218"/>
                    <a:pt x="203" y="209"/>
                  </a:cubicBezTo>
                  <a:cubicBezTo>
                    <a:pt x="205" y="200"/>
                    <a:pt x="196" y="189"/>
                    <a:pt x="196" y="189"/>
                  </a:cubicBezTo>
                  <a:cubicBezTo>
                    <a:pt x="196" y="189"/>
                    <a:pt x="197" y="179"/>
                    <a:pt x="188" y="160"/>
                  </a:cubicBezTo>
                  <a:cubicBezTo>
                    <a:pt x="184" y="152"/>
                    <a:pt x="175" y="147"/>
                    <a:pt x="166" y="143"/>
                  </a:cubicBezTo>
                  <a:cubicBezTo>
                    <a:pt x="163" y="339"/>
                    <a:pt x="163" y="339"/>
                    <a:pt x="163" y="339"/>
                  </a:cubicBezTo>
                  <a:cubicBezTo>
                    <a:pt x="163" y="339"/>
                    <a:pt x="149" y="340"/>
                    <a:pt x="142" y="343"/>
                  </a:cubicBezTo>
                  <a:cubicBezTo>
                    <a:pt x="135" y="346"/>
                    <a:pt x="137" y="351"/>
                    <a:pt x="137" y="351"/>
                  </a:cubicBezTo>
                  <a:cubicBezTo>
                    <a:pt x="129" y="353"/>
                    <a:pt x="129" y="353"/>
                    <a:pt x="129" y="353"/>
                  </a:cubicBezTo>
                  <a:cubicBezTo>
                    <a:pt x="129" y="353"/>
                    <a:pt x="132" y="367"/>
                    <a:pt x="126" y="367"/>
                  </a:cubicBezTo>
                  <a:cubicBezTo>
                    <a:pt x="121" y="367"/>
                    <a:pt x="114" y="367"/>
                    <a:pt x="114" y="367"/>
                  </a:cubicBezTo>
                  <a:cubicBezTo>
                    <a:pt x="114" y="367"/>
                    <a:pt x="110" y="361"/>
                    <a:pt x="102" y="361"/>
                  </a:cubicBezTo>
                  <a:cubicBezTo>
                    <a:pt x="94" y="361"/>
                    <a:pt x="88" y="369"/>
                    <a:pt x="88" y="369"/>
                  </a:cubicBezTo>
                  <a:cubicBezTo>
                    <a:pt x="76" y="369"/>
                    <a:pt x="76" y="369"/>
                    <a:pt x="76" y="369"/>
                  </a:cubicBezTo>
                  <a:cubicBezTo>
                    <a:pt x="76" y="369"/>
                    <a:pt x="72" y="361"/>
                    <a:pt x="65" y="357"/>
                  </a:cubicBezTo>
                  <a:cubicBezTo>
                    <a:pt x="58" y="353"/>
                    <a:pt x="49" y="359"/>
                    <a:pt x="45" y="352"/>
                  </a:cubicBezTo>
                  <a:cubicBezTo>
                    <a:pt x="40" y="345"/>
                    <a:pt x="41" y="330"/>
                    <a:pt x="41" y="330"/>
                  </a:cubicBezTo>
                  <a:cubicBezTo>
                    <a:pt x="41" y="330"/>
                    <a:pt x="31" y="318"/>
                    <a:pt x="27" y="317"/>
                  </a:cubicBezTo>
                  <a:cubicBezTo>
                    <a:pt x="23" y="316"/>
                    <a:pt x="12" y="340"/>
                    <a:pt x="12" y="340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0" y="345"/>
                    <a:pt x="0" y="345"/>
                    <a:pt x="0" y="345"/>
                  </a:cubicBezTo>
                  <a:cubicBezTo>
                    <a:pt x="0" y="345"/>
                    <a:pt x="7" y="368"/>
                    <a:pt x="11" y="372"/>
                  </a:cubicBezTo>
                  <a:cubicBezTo>
                    <a:pt x="15" y="376"/>
                    <a:pt x="31" y="394"/>
                    <a:pt x="31" y="407"/>
                  </a:cubicBezTo>
                  <a:cubicBezTo>
                    <a:pt x="31" y="420"/>
                    <a:pt x="28" y="446"/>
                    <a:pt x="38" y="461"/>
                  </a:cubicBezTo>
                  <a:cubicBezTo>
                    <a:pt x="48" y="476"/>
                    <a:pt x="83" y="509"/>
                    <a:pt x="83" y="523"/>
                  </a:cubicBezTo>
                  <a:cubicBezTo>
                    <a:pt x="83" y="537"/>
                    <a:pt x="82" y="564"/>
                    <a:pt x="78" y="568"/>
                  </a:cubicBezTo>
                  <a:cubicBezTo>
                    <a:pt x="74" y="572"/>
                    <a:pt x="62" y="564"/>
                    <a:pt x="61" y="572"/>
                  </a:cubicBezTo>
                  <a:cubicBezTo>
                    <a:pt x="60" y="580"/>
                    <a:pt x="63" y="588"/>
                    <a:pt x="73" y="605"/>
                  </a:cubicBezTo>
                  <a:cubicBezTo>
                    <a:pt x="83" y="622"/>
                    <a:pt x="75" y="641"/>
                    <a:pt x="81" y="649"/>
                  </a:cubicBezTo>
                  <a:cubicBezTo>
                    <a:pt x="87" y="657"/>
                    <a:pt x="84" y="646"/>
                    <a:pt x="90" y="643"/>
                  </a:cubicBezTo>
                  <a:cubicBezTo>
                    <a:pt x="96" y="640"/>
                    <a:pt x="103" y="650"/>
                    <a:pt x="103" y="650"/>
                  </a:cubicBezTo>
                  <a:cubicBezTo>
                    <a:pt x="121" y="656"/>
                    <a:pt x="121" y="656"/>
                    <a:pt x="121" y="656"/>
                  </a:cubicBezTo>
                  <a:cubicBezTo>
                    <a:pt x="121" y="656"/>
                    <a:pt x="126" y="682"/>
                    <a:pt x="145" y="679"/>
                  </a:cubicBezTo>
                  <a:cubicBezTo>
                    <a:pt x="164" y="676"/>
                    <a:pt x="165" y="662"/>
                    <a:pt x="177" y="658"/>
                  </a:cubicBezTo>
                  <a:cubicBezTo>
                    <a:pt x="189" y="654"/>
                    <a:pt x="224" y="665"/>
                    <a:pt x="233" y="662"/>
                  </a:cubicBezTo>
                  <a:cubicBezTo>
                    <a:pt x="242" y="659"/>
                    <a:pt x="238" y="638"/>
                    <a:pt x="261" y="638"/>
                  </a:cubicBezTo>
                  <a:cubicBezTo>
                    <a:pt x="284" y="638"/>
                    <a:pt x="292" y="646"/>
                    <a:pt x="292" y="646"/>
                  </a:cubicBezTo>
                  <a:cubicBezTo>
                    <a:pt x="292" y="646"/>
                    <a:pt x="303" y="635"/>
                    <a:pt x="326" y="636"/>
                  </a:cubicBezTo>
                  <a:cubicBezTo>
                    <a:pt x="349" y="637"/>
                    <a:pt x="361" y="647"/>
                    <a:pt x="366" y="646"/>
                  </a:cubicBezTo>
                  <a:cubicBezTo>
                    <a:pt x="371" y="645"/>
                    <a:pt x="383" y="635"/>
                    <a:pt x="383" y="635"/>
                  </a:cubicBezTo>
                  <a:cubicBezTo>
                    <a:pt x="383" y="635"/>
                    <a:pt x="397" y="642"/>
                    <a:pt x="406" y="637"/>
                  </a:cubicBezTo>
                  <a:cubicBezTo>
                    <a:pt x="415" y="632"/>
                    <a:pt x="427" y="624"/>
                    <a:pt x="427" y="624"/>
                  </a:cubicBezTo>
                  <a:cubicBezTo>
                    <a:pt x="427" y="624"/>
                    <a:pt x="451" y="632"/>
                    <a:pt x="473" y="617"/>
                  </a:cubicBezTo>
                  <a:cubicBezTo>
                    <a:pt x="495" y="602"/>
                    <a:pt x="525" y="573"/>
                    <a:pt x="525" y="573"/>
                  </a:cubicBezTo>
                  <a:cubicBezTo>
                    <a:pt x="538" y="565"/>
                    <a:pt x="538" y="565"/>
                    <a:pt x="538" y="565"/>
                  </a:cubicBezTo>
                  <a:cubicBezTo>
                    <a:pt x="600" y="499"/>
                    <a:pt x="600" y="499"/>
                    <a:pt x="600" y="499"/>
                  </a:cubicBezTo>
                  <a:cubicBezTo>
                    <a:pt x="615" y="500"/>
                    <a:pt x="615" y="500"/>
                    <a:pt x="615" y="500"/>
                  </a:cubicBezTo>
                  <a:cubicBezTo>
                    <a:pt x="615" y="500"/>
                    <a:pt x="652" y="449"/>
                    <a:pt x="656" y="435"/>
                  </a:cubicBezTo>
                  <a:cubicBezTo>
                    <a:pt x="660" y="421"/>
                    <a:pt x="677" y="385"/>
                    <a:pt x="686" y="379"/>
                  </a:cubicBezTo>
                  <a:cubicBezTo>
                    <a:pt x="695" y="373"/>
                    <a:pt x="726" y="360"/>
                    <a:pt x="729" y="349"/>
                  </a:cubicBezTo>
                  <a:cubicBezTo>
                    <a:pt x="732" y="338"/>
                    <a:pt x="748" y="297"/>
                    <a:pt x="748" y="297"/>
                  </a:cubicBezTo>
                  <a:cubicBezTo>
                    <a:pt x="748" y="297"/>
                    <a:pt x="754" y="280"/>
                    <a:pt x="759" y="264"/>
                  </a:cubicBezTo>
                  <a:cubicBezTo>
                    <a:pt x="755" y="258"/>
                    <a:pt x="750" y="252"/>
                    <a:pt x="746" y="250"/>
                  </a:cubicBezTo>
                  <a:close/>
                  <a:moveTo>
                    <a:pt x="580" y="418"/>
                  </a:moveTo>
                  <a:cubicBezTo>
                    <a:pt x="580" y="418"/>
                    <a:pt x="571" y="426"/>
                    <a:pt x="563" y="428"/>
                  </a:cubicBezTo>
                  <a:cubicBezTo>
                    <a:pt x="555" y="430"/>
                    <a:pt x="552" y="428"/>
                    <a:pt x="542" y="432"/>
                  </a:cubicBezTo>
                  <a:cubicBezTo>
                    <a:pt x="532" y="436"/>
                    <a:pt x="531" y="456"/>
                    <a:pt x="531" y="456"/>
                  </a:cubicBezTo>
                  <a:cubicBezTo>
                    <a:pt x="516" y="457"/>
                    <a:pt x="516" y="457"/>
                    <a:pt x="516" y="457"/>
                  </a:cubicBezTo>
                  <a:cubicBezTo>
                    <a:pt x="498" y="437"/>
                    <a:pt x="498" y="437"/>
                    <a:pt x="498" y="437"/>
                  </a:cubicBezTo>
                  <a:cubicBezTo>
                    <a:pt x="498" y="426"/>
                    <a:pt x="498" y="426"/>
                    <a:pt x="498" y="426"/>
                  </a:cubicBezTo>
                  <a:cubicBezTo>
                    <a:pt x="481" y="401"/>
                    <a:pt x="481" y="401"/>
                    <a:pt x="481" y="401"/>
                  </a:cubicBezTo>
                  <a:cubicBezTo>
                    <a:pt x="498" y="399"/>
                    <a:pt x="498" y="399"/>
                    <a:pt x="498" y="399"/>
                  </a:cubicBezTo>
                  <a:cubicBezTo>
                    <a:pt x="500" y="389"/>
                    <a:pt x="500" y="389"/>
                    <a:pt x="500" y="389"/>
                  </a:cubicBezTo>
                  <a:cubicBezTo>
                    <a:pt x="512" y="376"/>
                    <a:pt x="512" y="376"/>
                    <a:pt x="512" y="376"/>
                  </a:cubicBezTo>
                  <a:cubicBezTo>
                    <a:pt x="512" y="376"/>
                    <a:pt x="514" y="366"/>
                    <a:pt x="519" y="362"/>
                  </a:cubicBezTo>
                  <a:cubicBezTo>
                    <a:pt x="524" y="358"/>
                    <a:pt x="534" y="361"/>
                    <a:pt x="534" y="361"/>
                  </a:cubicBezTo>
                  <a:cubicBezTo>
                    <a:pt x="535" y="351"/>
                    <a:pt x="535" y="351"/>
                    <a:pt x="535" y="351"/>
                  </a:cubicBezTo>
                  <a:cubicBezTo>
                    <a:pt x="543" y="348"/>
                    <a:pt x="543" y="348"/>
                    <a:pt x="543" y="348"/>
                  </a:cubicBezTo>
                  <a:cubicBezTo>
                    <a:pt x="543" y="348"/>
                    <a:pt x="559" y="343"/>
                    <a:pt x="564" y="349"/>
                  </a:cubicBezTo>
                  <a:cubicBezTo>
                    <a:pt x="569" y="355"/>
                    <a:pt x="581" y="374"/>
                    <a:pt x="581" y="374"/>
                  </a:cubicBezTo>
                  <a:cubicBezTo>
                    <a:pt x="591" y="377"/>
                    <a:pt x="591" y="377"/>
                    <a:pt x="591" y="377"/>
                  </a:cubicBezTo>
                  <a:cubicBezTo>
                    <a:pt x="592" y="393"/>
                    <a:pt x="592" y="393"/>
                    <a:pt x="592" y="393"/>
                  </a:cubicBezTo>
                  <a:cubicBezTo>
                    <a:pt x="577" y="406"/>
                    <a:pt x="577" y="406"/>
                    <a:pt x="577" y="406"/>
                  </a:cubicBezTo>
                  <a:lnTo>
                    <a:pt x="580" y="418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50" name="Freeform 330">
              <a:extLst>
                <a:ext uri="{FF2B5EF4-FFF2-40B4-BE49-F238E27FC236}">
                  <a16:creationId xmlns:a16="http://schemas.microsoft.com/office/drawing/2014/main" id="{944C9731-714E-D1D5-8D2E-6D2D004F1CA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7066" y="-17600"/>
              <a:ext cx="933" cy="1297"/>
            </a:xfrm>
            <a:custGeom>
              <a:avLst/>
              <a:gdLst>
                <a:gd name="T0" fmla="*/ 118 w 395"/>
                <a:gd name="T1" fmla="*/ 256 h 549"/>
                <a:gd name="T2" fmla="*/ 111 w 395"/>
                <a:gd name="T3" fmla="*/ 221 h 549"/>
                <a:gd name="T4" fmla="*/ 98 w 395"/>
                <a:gd name="T5" fmla="*/ 248 h 549"/>
                <a:gd name="T6" fmla="*/ 222 w 395"/>
                <a:gd name="T7" fmla="*/ 93 h 549"/>
                <a:gd name="T8" fmla="*/ 97 w 395"/>
                <a:gd name="T9" fmla="*/ 159 h 549"/>
                <a:gd name="T10" fmla="*/ 93 w 395"/>
                <a:gd name="T11" fmla="*/ 183 h 549"/>
                <a:gd name="T12" fmla="*/ 325 w 395"/>
                <a:gd name="T13" fmla="*/ 1 h 549"/>
                <a:gd name="T14" fmla="*/ 296 w 395"/>
                <a:gd name="T15" fmla="*/ 36 h 549"/>
                <a:gd name="T16" fmla="*/ 301 w 395"/>
                <a:gd name="T17" fmla="*/ 12 h 549"/>
                <a:gd name="T18" fmla="*/ 296 w 395"/>
                <a:gd name="T19" fmla="*/ 36 h 549"/>
                <a:gd name="T20" fmla="*/ 246 w 395"/>
                <a:gd name="T21" fmla="*/ 96 h 549"/>
                <a:gd name="T22" fmla="*/ 128 w 395"/>
                <a:gd name="T23" fmla="*/ 258 h 549"/>
                <a:gd name="T24" fmla="*/ 331 w 395"/>
                <a:gd name="T25" fmla="*/ 402 h 549"/>
                <a:gd name="T26" fmla="*/ 330 w 395"/>
                <a:gd name="T27" fmla="*/ 357 h 549"/>
                <a:gd name="T28" fmla="*/ 291 w 395"/>
                <a:gd name="T29" fmla="*/ 314 h 549"/>
                <a:gd name="T30" fmla="*/ 265 w 395"/>
                <a:gd name="T31" fmla="*/ 261 h 549"/>
                <a:gd name="T32" fmla="*/ 191 w 395"/>
                <a:gd name="T33" fmla="*/ 235 h 549"/>
                <a:gd name="T34" fmla="*/ 214 w 395"/>
                <a:gd name="T35" fmla="*/ 222 h 549"/>
                <a:gd name="T36" fmla="*/ 261 w 395"/>
                <a:gd name="T37" fmla="*/ 177 h 549"/>
                <a:gd name="T38" fmla="*/ 211 w 395"/>
                <a:gd name="T39" fmla="*/ 154 h 549"/>
                <a:gd name="T40" fmla="*/ 179 w 395"/>
                <a:gd name="T41" fmla="*/ 147 h 549"/>
                <a:gd name="T42" fmla="*/ 224 w 395"/>
                <a:gd name="T43" fmla="*/ 112 h 549"/>
                <a:gd name="T44" fmla="*/ 153 w 395"/>
                <a:gd name="T45" fmla="*/ 110 h 549"/>
                <a:gd name="T46" fmla="*/ 144 w 395"/>
                <a:gd name="T47" fmla="*/ 148 h 549"/>
                <a:gd name="T48" fmla="*/ 121 w 395"/>
                <a:gd name="T49" fmla="*/ 162 h 549"/>
                <a:gd name="T50" fmla="*/ 116 w 395"/>
                <a:gd name="T51" fmla="*/ 198 h 549"/>
                <a:gd name="T52" fmla="*/ 134 w 395"/>
                <a:gd name="T53" fmla="*/ 202 h 549"/>
                <a:gd name="T54" fmla="*/ 116 w 395"/>
                <a:gd name="T55" fmla="*/ 250 h 549"/>
                <a:gd name="T56" fmla="*/ 144 w 395"/>
                <a:gd name="T57" fmla="*/ 251 h 549"/>
                <a:gd name="T58" fmla="*/ 146 w 395"/>
                <a:gd name="T59" fmla="*/ 306 h 549"/>
                <a:gd name="T60" fmla="*/ 211 w 395"/>
                <a:gd name="T61" fmla="*/ 295 h 549"/>
                <a:gd name="T62" fmla="*/ 216 w 395"/>
                <a:gd name="T63" fmla="*/ 349 h 549"/>
                <a:gd name="T64" fmla="*/ 162 w 395"/>
                <a:gd name="T65" fmla="*/ 377 h 549"/>
                <a:gd name="T66" fmla="*/ 135 w 395"/>
                <a:gd name="T67" fmla="*/ 402 h 549"/>
                <a:gd name="T68" fmla="*/ 117 w 395"/>
                <a:gd name="T69" fmla="*/ 448 h 549"/>
                <a:gd name="T70" fmla="*/ 151 w 395"/>
                <a:gd name="T71" fmla="*/ 466 h 549"/>
                <a:gd name="T72" fmla="*/ 202 w 395"/>
                <a:gd name="T73" fmla="*/ 467 h 549"/>
                <a:gd name="T74" fmla="*/ 156 w 395"/>
                <a:gd name="T75" fmla="*/ 485 h 549"/>
                <a:gd name="T76" fmla="*/ 129 w 395"/>
                <a:gd name="T77" fmla="*/ 516 h 549"/>
                <a:gd name="T78" fmla="*/ 83 w 395"/>
                <a:gd name="T79" fmla="*/ 545 h 549"/>
                <a:gd name="T80" fmla="*/ 147 w 395"/>
                <a:gd name="T81" fmla="*/ 530 h 549"/>
                <a:gd name="T82" fmla="*/ 211 w 395"/>
                <a:gd name="T83" fmla="*/ 519 h 549"/>
                <a:gd name="T84" fmla="*/ 273 w 395"/>
                <a:gd name="T85" fmla="*/ 520 h 549"/>
                <a:gd name="T86" fmla="*/ 293 w 395"/>
                <a:gd name="T87" fmla="*/ 508 h 549"/>
                <a:gd name="T88" fmla="*/ 340 w 395"/>
                <a:gd name="T89" fmla="*/ 474 h 549"/>
                <a:gd name="T90" fmla="*/ 375 w 395"/>
                <a:gd name="T91" fmla="*/ 447 h 549"/>
                <a:gd name="T92" fmla="*/ 157 w 395"/>
                <a:gd name="T93" fmla="*/ 325 h 549"/>
                <a:gd name="T94" fmla="*/ 94 w 395"/>
                <a:gd name="T95" fmla="*/ 338 h 549"/>
                <a:gd name="T96" fmla="*/ 110 w 395"/>
                <a:gd name="T97" fmla="*/ 308 h 549"/>
                <a:gd name="T98" fmla="*/ 86 w 395"/>
                <a:gd name="T99" fmla="*/ 281 h 549"/>
                <a:gd name="T100" fmla="*/ 58 w 395"/>
                <a:gd name="T101" fmla="*/ 288 h 549"/>
                <a:gd name="T102" fmla="*/ 13 w 395"/>
                <a:gd name="T103" fmla="*/ 325 h 549"/>
                <a:gd name="T104" fmla="*/ 67 w 395"/>
                <a:gd name="T105" fmla="*/ 335 h 549"/>
                <a:gd name="T106" fmla="*/ 63 w 395"/>
                <a:gd name="T107" fmla="*/ 155 h 549"/>
                <a:gd name="T108" fmla="*/ 63 w 395"/>
                <a:gd name="T109" fmla="*/ 155 h 549"/>
                <a:gd name="T110" fmla="*/ 108 w 395"/>
                <a:gd name="T111" fmla="*/ 115 h 549"/>
                <a:gd name="T112" fmla="*/ 72 w 395"/>
                <a:gd name="T113" fmla="*/ 128 h 549"/>
                <a:gd name="T114" fmla="*/ 57 w 395"/>
                <a:gd name="T115" fmla="*/ 169 h 549"/>
                <a:gd name="T116" fmla="*/ 57 w 395"/>
                <a:gd name="T117" fmla="*/ 169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95" h="549">
                  <a:moveTo>
                    <a:pt x="118" y="256"/>
                  </a:moveTo>
                  <a:cubicBezTo>
                    <a:pt x="110" y="256"/>
                    <a:pt x="109" y="262"/>
                    <a:pt x="106" y="277"/>
                  </a:cubicBezTo>
                  <a:cubicBezTo>
                    <a:pt x="104" y="289"/>
                    <a:pt x="126" y="256"/>
                    <a:pt x="118" y="256"/>
                  </a:cubicBezTo>
                  <a:close/>
                  <a:moveTo>
                    <a:pt x="100" y="210"/>
                  </a:moveTo>
                  <a:cubicBezTo>
                    <a:pt x="96" y="210"/>
                    <a:pt x="90" y="222"/>
                    <a:pt x="94" y="225"/>
                  </a:cubicBezTo>
                  <a:cubicBezTo>
                    <a:pt x="98" y="228"/>
                    <a:pt x="111" y="221"/>
                    <a:pt x="111" y="221"/>
                  </a:cubicBezTo>
                  <a:cubicBezTo>
                    <a:pt x="111" y="221"/>
                    <a:pt x="104" y="210"/>
                    <a:pt x="100" y="210"/>
                  </a:cubicBezTo>
                  <a:close/>
                  <a:moveTo>
                    <a:pt x="87" y="261"/>
                  </a:moveTo>
                  <a:cubicBezTo>
                    <a:pt x="102" y="261"/>
                    <a:pt x="109" y="250"/>
                    <a:pt x="98" y="248"/>
                  </a:cubicBezTo>
                  <a:cubicBezTo>
                    <a:pt x="87" y="246"/>
                    <a:pt x="78" y="261"/>
                    <a:pt x="87" y="261"/>
                  </a:cubicBezTo>
                  <a:close/>
                  <a:moveTo>
                    <a:pt x="231" y="85"/>
                  </a:moveTo>
                  <a:cubicBezTo>
                    <a:pt x="223" y="78"/>
                    <a:pt x="222" y="93"/>
                    <a:pt x="222" y="93"/>
                  </a:cubicBezTo>
                  <a:cubicBezTo>
                    <a:pt x="229" y="99"/>
                    <a:pt x="239" y="92"/>
                    <a:pt x="231" y="85"/>
                  </a:cubicBezTo>
                  <a:close/>
                  <a:moveTo>
                    <a:pt x="103" y="176"/>
                  </a:moveTo>
                  <a:cubicBezTo>
                    <a:pt x="103" y="176"/>
                    <a:pt x="107" y="159"/>
                    <a:pt x="97" y="159"/>
                  </a:cubicBezTo>
                  <a:cubicBezTo>
                    <a:pt x="87" y="159"/>
                    <a:pt x="93" y="169"/>
                    <a:pt x="93" y="169"/>
                  </a:cubicBezTo>
                  <a:cubicBezTo>
                    <a:pt x="93" y="169"/>
                    <a:pt x="85" y="166"/>
                    <a:pt x="82" y="169"/>
                  </a:cubicBezTo>
                  <a:cubicBezTo>
                    <a:pt x="79" y="172"/>
                    <a:pt x="91" y="179"/>
                    <a:pt x="93" y="183"/>
                  </a:cubicBezTo>
                  <a:cubicBezTo>
                    <a:pt x="95" y="187"/>
                    <a:pt x="110" y="184"/>
                    <a:pt x="110" y="184"/>
                  </a:cubicBezTo>
                  <a:lnTo>
                    <a:pt x="103" y="176"/>
                  </a:lnTo>
                  <a:close/>
                  <a:moveTo>
                    <a:pt x="325" y="1"/>
                  </a:moveTo>
                  <a:cubicBezTo>
                    <a:pt x="318" y="2"/>
                    <a:pt x="316" y="11"/>
                    <a:pt x="316" y="11"/>
                  </a:cubicBezTo>
                  <a:cubicBezTo>
                    <a:pt x="327" y="16"/>
                    <a:pt x="332" y="0"/>
                    <a:pt x="325" y="1"/>
                  </a:cubicBezTo>
                  <a:close/>
                  <a:moveTo>
                    <a:pt x="296" y="36"/>
                  </a:moveTo>
                  <a:cubicBezTo>
                    <a:pt x="300" y="45"/>
                    <a:pt x="300" y="45"/>
                    <a:pt x="300" y="45"/>
                  </a:cubicBezTo>
                  <a:cubicBezTo>
                    <a:pt x="305" y="49"/>
                    <a:pt x="312" y="28"/>
                    <a:pt x="311" y="24"/>
                  </a:cubicBezTo>
                  <a:cubicBezTo>
                    <a:pt x="310" y="20"/>
                    <a:pt x="301" y="12"/>
                    <a:pt x="301" y="12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0" y="21"/>
                    <a:pt x="287" y="25"/>
                    <a:pt x="288" y="29"/>
                  </a:cubicBezTo>
                  <a:cubicBezTo>
                    <a:pt x="289" y="33"/>
                    <a:pt x="296" y="36"/>
                    <a:pt x="296" y="36"/>
                  </a:cubicBezTo>
                  <a:close/>
                  <a:moveTo>
                    <a:pt x="239" y="94"/>
                  </a:moveTo>
                  <a:cubicBezTo>
                    <a:pt x="237" y="104"/>
                    <a:pt x="237" y="104"/>
                    <a:pt x="237" y="104"/>
                  </a:cubicBezTo>
                  <a:cubicBezTo>
                    <a:pt x="246" y="96"/>
                    <a:pt x="246" y="96"/>
                    <a:pt x="246" y="96"/>
                  </a:cubicBezTo>
                  <a:lnTo>
                    <a:pt x="239" y="94"/>
                  </a:lnTo>
                  <a:close/>
                  <a:moveTo>
                    <a:pt x="137" y="269"/>
                  </a:moveTo>
                  <a:cubicBezTo>
                    <a:pt x="143" y="265"/>
                    <a:pt x="134" y="252"/>
                    <a:pt x="128" y="258"/>
                  </a:cubicBezTo>
                  <a:cubicBezTo>
                    <a:pt x="122" y="264"/>
                    <a:pt x="130" y="273"/>
                    <a:pt x="137" y="269"/>
                  </a:cubicBezTo>
                  <a:close/>
                  <a:moveTo>
                    <a:pt x="346" y="395"/>
                  </a:moveTo>
                  <a:cubicBezTo>
                    <a:pt x="346" y="395"/>
                    <a:pt x="341" y="409"/>
                    <a:pt x="331" y="402"/>
                  </a:cubicBezTo>
                  <a:cubicBezTo>
                    <a:pt x="321" y="394"/>
                    <a:pt x="341" y="387"/>
                    <a:pt x="340" y="378"/>
                  </a:cubicBezTo>
                  <a:cubicBezTo>
                    <a:pt x="339" y="369"/>
                    <a:pt x="308" y="364"/>
                    <a:pt x="308" y="359"/>
                  </a:cubicBezTo>
                  <a:cubicBezTo>
                    <a:pt x="308" y="354"/>
                    <a:pt x="330" y="357"/>
                    <a:pt x="330" y="357"/>
                  </a:cubicBezTo>
                  <a:cubicBezTo>
                    <a:pt x="321" y="349"/>
                    <a:pt x="321" y="349"/>
                    <a:pt x="321" y="349"/>
                  </a:cubicBezTo>
                  <a:cubicBezTo>
                    <a:pt x="321" y="349"/>
                    <a:pt x="312" y="328"/>
                    <a:pt x="308" y="321"/>
                  </a:cubicBezTo>
                  <a:cubicBezTo>
                    <a:pt x="304" y="314"/>
                    <a:pt x="291" y="314"/>
                    <a:pt x="291" y="314"/>
                  </a:cubicBezTo>
                  <a:cubicBezTo>
                    <a:pt x="291" y="314"/>
                    <a:pt x="283" y="305"/>
                    <a:pt x="275" y="299"/>
                  </a:cubicBezTo>
                  <a:cubicBezTo>
                    <a:pt x="267" y="293"/>
                    <a:pt x="273" y="261"/>
                    <a:pt x="273" y="261"/>
                  </a:cubicBezTo>
                  <a:cubicBezTo>
                    <a:pt x="265" y="261"/>
                    <a:pt x="265" y="261"/>
                    <a:pt x="265" y="261"/>
                  </a:cubicBezTo>
                  <a:cubicBezTo>
                    <a:pt x="265" y="261"/>
                    <a:pt x="264" y="255"/>
                    <a:pt x="250" y="245"/>
                  </a:cubicBezTo>
                  <a:cubicBezTo>
                    <a:pt x="235" y="235"/>
                    <a:pt x="216" y="245"/>
                    <a:pt x="208" y="246"/>
                  </a:cubicBezTo>
                  <a:cubicBezTo>
                    <a:pt x="200" y="247"/>
                    <a:pt x="191" y="235"/>
                    <a:pt x="191" y="235"/>
                  </a:cubicBezTo>
                  <a:cubicBezTo>
                    <a:pt x="191" y="235"/>
                    <a:pt x="205" y="240"/>
                    <a:pt x="209" y="239"/>
                  </a:cubicBezTo>
                  <a:cubicBezTo>
                    <a:pt x="213" y="238"/>
                    <a:pt x="231" y="234"/>
                    <a:pt x="232" y="228"/>
                  </a:cubicBezTo>
                  <a:cubicBezTo>
                    <a:pt x="233" y="223"/>
                    <a:pt x="214" y="222"/>
                    <a:pt x="214" y="222"/>
                  </a:cubicBezTo>
                  <a:cubicBezTo>
                    <a:pt x="230" y="218"/>
                    <a:pt x="230" y="218"/>
                    <a:pt x="230" y="218"/>
                  </a:cubicBezTo>
                  <a:cubicBezTo>
                    <a:pt x="230" y="218"/>
                    <a:pt x="239" y="211"/>
                    <a:pt x="245" y="206"/>
                  </a:cubicBezTo>
                  <a:cubicBezTo>
                    <a:pt x="250" y="201"/>
                    <a:pt x="261" y="177"/>
                    <a:pt x="261" y="177"/>
                  </a:cubicBezTo>
                  <a:cubicBezTo>
                    <a:pt x="261" y="177"/>
                    <a:pt x="276" y="168"/>
                    <a:pt x="276" y="161"/>
                  </a:cubicBezTo>
                  <a:cubicBezTo>
                    <a:pt x="276" y="154"/>
                    <a:pt x="222" y="159"/>
                    <a:pt x="222" y="159"/>
                  </a:cubicBezTo>
                  <a:cubicBezTo>
                    <a:pt x="222" y="159"/>
                    <a:pt x="223" y="154"/>
                    <a:pt x="211" y="154"/>
                  </a:cubicBezTo>
                  <a:cubicBezTo>
                    <a:pt x="199" y="154"/>
                    <a:pt x="177" y="162"/>
                    <a:pt x="177" y="162"/>
                  </a:cubicBezTo>
                  <a:cubicBezTo>
                    <a:pt x="185" y="155"/>
                    <a:pt x="185" y="155"/>
                    <a:pt x="185" y="155"/>
                  </a:cubicBezTo>
                  <a:cubicBezTo>
                    <a:pt x="179" y="147"/>
                    <a:pt x="179" y="147"/>
                    <a:pt x="179" y="147"/>
                  </a:cubicBezTo>
                  <a:cubicBezTo>
                    <a:pt x="191" y="145"/>
                    <a:pt x="191" y="145"/>
                    <a:pt x="191" y="145"/>
                  </a:cubicBezTo>
                  <a:cubicBezTo>
                    <a:pt x="212" y="132"/>
                    <a:pt x="212" y="132"/>
                    <a:pt x="212" y="132"/>
                  </a:cubicBezTo>
                  <a:cubicBezTo>
                    <a:pt x="212" y="132"/>
                    <a:pt x="223" y="123"/>
                    <a:pt x="224" y="112"/>
                  </a:cubicBezTo>
                  <a:cubicBezTo>
                    <a:pt x="225" y="105"/>
                    <a:pt x="211" y="107"/>
                    <a:pt x="203" y="108"/>
                  </a:cubicBezTo>
                  <a:cubicBezTo>
                    <a:pt x="195" y="109"/>
                    <a:pt x="183" y="115"/>
                    <a:pt x="175" y="115"/>
                  </a:cubicBezTo>
                  <a:cubicBezTo>
                    <a:pt x="167" y="115"/>
                    <a:pt x="160" y="106"/>
                    <a:pt x="153" y="110"/>
                  </a:cubicBezTo>
                  <a:cubicBezTo>
                    <a:pt x="146" y="114"/>
                    <a:pt x="153" y="124"/>
                    <a:pt x="153" y="124"/>
                  </a:cubicBezTo>
                  <a:cubicBezTo>
                    <a:pt x="153" y="124"/>
                    <a:pt x="146" y="125"/>
                    <a:pt x="141" y="129"/>
                  </a:cubicBezTo>
                  <a:cubicBezTo>
                    <a:pt x="136" y="133"/>
                    <a:pt x="144" y="148"/>
                    <a:pt x="144" y="148"/>
                  </a:cubicBezTo>
                  <a:cubicBezTo>
                    <a:pt x="115" y="151"/>
                    <a:pt x="115" y="151"/>
                    <a:pt x="115" y="151"/>
                  </a:cubicBezTo>
                  <a:cubicBezTo>
                    <a:pt x="115" y="157"/>
                    <a:pt x="115" y="157"/>
                    <a:pt x="115" y="157"/>
                  </a:cubicBezTo>
                  <a:cubicBezTo>
                    <a:pt x="121" y="162"/>
                    <a:pt x="121" y="162"/>
                    <a:pt x="121" y="162"/>
                  </a:cubicBezTo>
                  <a:cubicBezTo>
                    <a:pt x="130" y="180"/>
                    <a:pt x="130" y="180"/>
                    <a:pt x="130" y="180"/>
                  </a:cubicBezTo>
                  <a:cubicBezTo>
                    <a:pt x="130" y="180"/>
                    <a:pt x="124" y="185"/>
                    <a:pt x="121" y="188"/>
                  </a:cubicBezTo>
                  <a:cubicBezTo>
                    <a:pt x="118" y="191"/>
                    <a:pt x="116" y="198"/>
                    <a:pt x="116" y="198"/>
                  </a:cubicBezTo>
                  <a:cubicBezTo>
                    <a:pt x="105" y="203"/>
                    <a:pt x="105" y="203"/>
                    <a:pt x="105" y="203"/>
                  </a:cubicBezTo>
                  <a:cubicBezTo>
                    <a:pt x="105" y="203"/>
                    <a:pt x="111" y="212"/>
                    <a:pt x="119" y="211"/>
                  </a:cubicBezTo>
                  <a:cubicBezTo>
                    <a:pt x="127" y="210"/>
                    <a:pt x="134" y="202"/>
                    <a:pt x="134" y="202"/>
                  </a:cubicBezTo>
                  <a:cubicBezTo>
                    <a:pt x="133" y="214"/>
                    <a:pt x="133" y="214"/>
                    <a:pt x="133" y="214"/>
                  </a:cubicBezTo>
                  <a:cubicBezTo>
                    <a:pt x="133" y="214"/>
                    <a:pt x="120" y="220"/>
                    <a:pt x="115" y="228"/>
                  </a:cubicBezTo>
                  <a:cubicBezTo>
                    <a:pt x="110" y="237"/>
                    <a:pt x="116" y="250"/>
                    <a:pt x="116" y="250"/>
                  </a:cubicBezTo>
                  <a:cubicBezTo>
                    <a:pt x="116" y="250"/>
                    <a:pt x="127" y="242"/>
                    <a:pt x="134" y="247"/>
                  </a:cubicBezTo>
                  <a:cubicBezTo>
                    <a:pt x="140" y="252"/>
                    <a:pt x="153" y="241"/>
                    <a:pt x="153" y="241"/>
                  </a:cubicBezTo>
                  <a:cubicBezTo>
                    <a:pt x="144" y="251"/>
                    <a:pt x="144" y="251"/>
                    <a:pt x="144" y="251"/>
                  </a:cubicBezTo>
                  <a:cubicBezTo>
                    <a:pt x="149" y="269"/>
                    <a:pt x="149" y="269"/>
                    <a:pt x="149" y="269"/>
                  </a:cubicBezTo>
                  <a:cubicBezTo>
                    <a:pt x="149" y="269"/>
                    <a:pt x="138" y="282"/>
                    <a:pt x="130" y="296"/>
                  </a:cubicBezTo>
                  <a:cubicBezTo>
                    <a:pt x="123" y="309"/>
                    <a:pt x="146" y="306"/>
                    <a:pt x="146" y="306"/>
                  </a:cubicBezTo>
                  <a:cubicBezTo>
                    <a:pt x="146" y="306"/>
                    <a:pt x="159" y="300"/>
                    <a:pt x="166" y="303"/>
                  </a:cubicBezTo>
                  <a:cubicBezTo>
                    <a:pt x="173" y="306"/>
                    <a:pt x="189" y="293"/>
                    <a:pt x="189" y="293"/>
                  </a:cubicBezTo>
                  <a:cubicBezTo>
                    <a:pt x="211" y="295"/>
                    <a:pt x="211" y="295"/>
                    <a:pt x="211" y="295"/>
                  </a:cubicBezTo>
                  <a:cubicBezTo>
                    <a:pt x="211" y="295"/>
                    <a:pt x="188" y="308"/>
                    <a:pt x="186" y="318"/>
                  </a:cubicBezTo>
                  <a:cubicBezTo>
                    <a:pt x="185" y="328"/>
                    <a:pt x="215" y="335"/>
                    <a:pt x="215" y="335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08" y="361"/>
                    <a:pt x="208" y="361"/>
                    <a:pt x="208" y="361"/>
                  </a:cubicBezTo>
                  <a:cubicBezTo>
                    <a:pt x="208" y="361"/>
                    <a:pt x="210" y="375"/>
                    <a:pt x="207" y="379"/>
                  </a:cubicBezTo>
                  <a:cubicBezTo>
                    <a:pt x="204" y="383"/>
                    <a:pt x="162" y="377"/>
                    <a:pt x="162" y="377"/>
                  </a:cubicBezTo>
                  <a:cubicBezTo>
                    <a:pt x="162" y="377"/>
                    <a:pt x="152" y="374"/>
                    <a:pt x="143" y="376"/>
                  </a:cubicBezTo>
                  <a:cubicBezTo>
                    <a:pt x="134" y="378"/>
                    <a:pt x="149" y="389"/>
                    <a:pt x="149" y="389"/>
                  </a:cubicBezTo>
                  <a:cubicBezTo>
                    <a:pt x="135" y="402"/>
                    <a:pt x="135" y="402"/>
                    <a:pt x="135" y="402"/>
                  </a:cubicBezTo>
                  <a:cubicBezTo>
                    <a:pt x="163" y="400"/>
                    <a:pt x="163" y="400"/>
                    <a:pt x="163" y="400"/>
                  </a:cubicBezTo>
                  <a:cubicBezTo>
                    <a:pt x="163" y="400"/>
                    <a:pt x="163" y="423"/>
                    <a:pt x="156" y="430"/>
                  </a:cubicBezTo>
                  <a:cubicBezTo>
                    <a:pt x="149" y="437"/>
                    <a:pt x="121" y="445"/>
                    <a:pt x="117" y="448"/>
                  </a:cubicBezTo>
                  <a:cubicBezTo>
                    <a:pt x="113" y="451"/>
                    <a:pt x="118" y="466"/>
                    <a:pt x="122" y="468"/>
                  </a:cubicBezTo>
                  <a:cubicBezTo>
                    <a:pt x="126" y="470"/>
                    <a:pt x="144" y="456"/>
                    <a:pt x="144" y="456"/>
                  </a:cubicBezTo>
                  <a:cubicBezTo>
                    <a:pt x="144" y="456"/>
                    <a:pt x="147" y="462"/>
                    <a:pt x="151" y="466"/>
                  </a:cubicBezTo>
                  <a:cubicBezTo>
                    <a:pt x="155" y="470"/>
                    <a:pt x="165" y="466"/>
                    <a:pt x="165" y="466"/>
                  </a:cubicBezTo>
                  <a:cubicBezTo>
                    <a:pt x="165" y="466"/>
                    <a:pt x="173" y="475"/>
                    <a:pt x="181" y="476"/>
                  </a:cubicBezTo>
                  <a:cubicBezTo>
                    <a:pt x="190" y="477"/>
                    <a:pt x="197" y="472"/>
                    <a:pt x="202" y="467"/>
                  </a:cubicBezTo>
                  <a:cubicBezTo>
                    <a:pt x="207" y="462"/>
                    <a:pt x="220" y="463"/>
                    <a:pt x="220" y="463"/>
                  </a:cubicBezTo>
                  <a:cubicBezTo>
                    <a:pt x="220" y="463"/>
                    <a:pt x="204" y="478"/>
                    <a:pt x="194" y="485"/>
                  </a:cubicBezTo>
                  <a:cubicBezTo>
                    <a:pt x="183" y="492"/>
                    <a:pt x="163" y="485"/>
                    <a:pt x="156" y="485"/>
                  </a:cubicBezTo>
                  <a:cubicBezTo>
                    <a:pt x="149" y="485"/>
                    <a:pt x="151" y="495"/>
                    <a:pt x="151" y="495"/>
                  </a:cubicBezTo>
                  <a:cubicBezTo>
                    <a:pt x="151" y="495"/>
                    <a:pt x="142" y="495"/>
                    <a:pt x="135" y="498"/>
                  </a:cubicBezTo>
                  <a:cubicBezTo>
                    <a:pt x="127" y="501"/>
                    <a:pt x="135" y="507"/>
                    <a:pt x="129" y="516"/>
                  </a:cubicBezTo>
                  <a:cubicBezTo>
                    <a:pt x="124" y="524"/>
                    <a:pt x="117" y="520"/>
                    <a:pt x="110" y="520"/>
                  </a:cubicBezTo>
                  <a:cubicBezTo>
                    <a:pt x="103" y="520"/>
                    <a:pt x="106" y="530"/>
                    <a:pt x="99" y="536"/>
                  </a:cubicBezTo>
                  <a:cubicBezTo>
                    <a:pt x="92" y="542"/>
                    <a:pt x="83" y="541"/>
                    <a:pt x="83" y="545"/>
                  </a:cubicBezTo>
                  <a:cubicBezTo>
                    <a:pt x="83" y="549"/>
                    <a:pt x="102" y="549"/>
                    <a:pt x="105" y="549"/>
                  </a:cubicBezTo>
                  <a:cubicBezTo>
                    <a:pt x="108" y="549"/>
                    <a:pt x="116" y="539"/>
                    <a:pt x="122" y="534"/>
                  </a:cubicBezTo>
                  <a:cubicBezTo>
                    <a:pt x="128" y="529"/>
                    <a:pt x="138" y="530"/>
                    <a:pt x="147" y="530"/>
                  </a:cubicBezTo>
                  <a:cubicBezTo>
                    <a:pt x="156" y="530"/>
                    <a:pt x="159" y="540"/>
                    <a:pt x="165" y="540"/>
                  </a:cubicBezTo>
                  <a:cubicBezTo>
                    <a:pt x="171" y="540"/>
                    <a:pt x="184" y="515"/>
                    <a:pt x="191" y="512"/>
                  </a:cubicBezTo>
                  <a:cubicBezTo>
                    <a:pt x="197" y="508"/>
                    <a:pt x="211" y="519"/>
                    <a:pt x="211" y="519"/>
                  </a:cubicBezTo>
                  <a:cubicBezTo>
                    <a:pt x="228" y="520"/>
                    <a:pt x="228" y="520"/>
                    <a:pt x="228" y="520"/>
                  </a:cubicBezTo>
                  <a:cubicBezTo>
                    <a:pt x="248" y="512"/>
                    <a:pt x="248" y="512"/>
                    <a:pt x="248" y="512"/>
                  </a:cubicBezTo>
                  <a:cubicBezTo>
                    <a:pt x="248" y="512"/>
                    <a:pt x="267" y="521"/>
                    <a:pt x="273" y="520"/>
                  </a:cubicBezTo>
                  <a:cubicBezTo>
                    <a:pt x="279" y="519"/>
                    <a:pt x="265" y="508"/>
                    <a:pt x="271" y="503"/>
                  </a:cubicBezTo>
                  <a:cubicBezTo>
                    <a:pt x="277" y="498"/>
                    <a:pt x="286" y="513"/>
                    <a:pt x="286" y="513"/>
                  </a:cubicBezTo>
                  <a:cubicBezTo>
                    <a:pt x="293" y="508"/>
                    <a:pt x="293" y="508"/>
                    <a:pt x="293" y="508"/>
                  </a:cubicBezTo>
                  <a:cubicBezTo>
                    <a:pt x="293" y="508"/>
                    <a:pt x="346" y="508"/>
                    <a:pt x="359" y="501"/>
                  </a:cubicBezTo>
                  <a:cubicBezTo>
                    <a:pt x="371" y="494"/>
                    <a:pt x="379" y="479"/>
                    <a:pt x="379" y="479"/>
                  </a:cubicBezTo>
                  <a:cubicBezTo>
                    <a:pt x="340" y="474"/>
                    <a:pt x="340" y="474"/>
                    <a:pt x="340" y="474"/>
                  </a:cubicBezTo>
                  <a:cubicBezTo>
                    <a:pt x="358" y="471"/>
                    <a:pt x="358" y="471"/>
                    <a:pt x="358" y="471"/>
                  </a:cubicBezTo>
                  <a:cubicBezTo>
                    <a:pt x="354" y="461"/>
                    <a:pt x="354" y="461"/>
                    <a:pt x="354" y="461"/>
                  </a:cubicBezTo>
                  <a:cubicBezTo>
                    <a:pt x="354" y="461"/>
                    <a:pt x="368" y="448"/>
                    <a:pt x="375" y="447"/>
                  </a:cubicBezTo>
                  <a:cubicBezTo>
                    <a:pt x="382" y="446"/>
                    <a:pt x="393" y="435"/>
                    <a:pt x="394" y="415"/>
                  </a:cubicBezTo>
                  <a:cubicBezTo>
                    <a:pt x="395" y="394"/>
                    <a:pt x="346" y="395"/>
                    <a:pt x="346" y="395"/>
                  </a:cubicBezTo>
                  <a:close/>
                  <a:moveTo>
                    <a:pt x="157" y="325"/>
                  </a:moveTo>
                  <a:cubicBezTo>
                    <a:pt x="152" y="310"/>
                    <a:pt x="147" y="330"/>
                    <a:pt x="138" y="338"/>
                  </a:cubicBezTo>
                  <a:cubicBezTo>
                    <a:pt x="138" y="338"/>
                    <a:pt x="162" y="340"/>
                    <a:pt x="157" y="325"/>
                  </a:cubicBezTo>
                  <a:close/>
                  <a:moveTo>
                    <a:pt x="94" y="338"/>
                  </a:moveTo>
                  <a:cubicBezTo>
                    <a:pt x="97" y="335"/>
                    <a:pt x="99" y="329"/>
                    <a:pt x="99" y="329"/>
                  </a:cubicBezTo>
                  <a:cubicBezTo>
                    <a:pt x="99" y="329"/>
                    <a:pt x="104" y="336"/>
                    <a:pt x="107" y="330"/>
                  </a:cubicBezTo>
                  <a:cubicBezTo>
                    <a:pt x="110" y="324"/>
                    <a:pt x="117" y="314"/>
                    <a:pt x="110" y="308"/>
                  </a:cubicBezTo>
                  <a:cubicBezTo>
                    <a:pt x="103" y="302"/>
                    <a:pt x="103" y="293"/>
                    <a:pt x="103" y="293"/>
                  </a:cubicBezTo>
                  <a:cubicBezTo>
                    <a:pt x="98" y="295"/>
                    <a:pt x="98" y="295"/>
                    <a:pt x="98" y="295"/>
                  </a:cubicBezTo>
                  <a:cubicBezTo>
                    <a:pt x="98" y="295"/>
                    <a:pt x="93" y="283"/>
                    <a:pt x="86" y="281"/>
                  </a:cubicBezTo>
                  <a:cubicBezTo>
                    <a:pt x="79" y="279"/>
                    <a:pt x="61" y="282"/>
                    <a:pt x="61" y="282"/>
                  </a:cubicBezTo>
                  <a:cubicBezTo>
                    <a:pt x="61" y="282"/>
                    <a:pt x="61" y="282"/>
                    <a:pt x="61" y="281"/>
                  </a:cubicBezTo>
                  <a:cubicBezTo>
                    <a:pt x="58" y="288"/>
                    <a:pt x="58" y="288"/>
                    <a:pt x="58" y="288"/>
                  </a:cubicBezTo>
                  <a:cubicBezTo>
                    <a:pt x="28" y="302"/>
                    <a:pt x="28" y="302"/>
                    <a:pt x="28" y="302"/>
                  </a:cubicBezTo>
                  <a:cubicBezTo>
                    <a:pt x="29" y="312"/>
                    <a:pt x="29" y="312"/>
                    <a:pt x="29" y="312"/>
                  </a:cubicBezTo>
                  <a:cubicBezTo>
                    <a:pt x="29" y="312"/>
                    <a:pt x="0" y="318"/>
                    <a:pt x="13" y="325"/>
                  </a:cubicBezTo>
                  <a:cubicBezTo>
                    <a:pt x="26" y="333"/>
                    <a:pt x="38" y="335"/>
                    <a:pt x="38" y="335"/>
                  </a:cubicBezTo>
                  <a:cubicBezTo>
                    <a:pt x="55" y="319"/>
                    <a:pt x="55" y="319"/>
                    <a:pt x="55" y="319"/>
                  </a:cubicBezTo>
                  <a:cubicBezTo>
                    <a:pt x="67" y="335"/>
                    <a:pt x="67" y="335"/>
                    <a:pt x="67" y="335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91" y="340"/>
                    <a:pt x="93" y="339"/>
                    <a:pt x="94" y="338"/>
                  </a:cubicBezTo>
                  <a:close/>
                  <a:moveTo>
                    <a:pt x="63" y="155"/>
                  </a:moveTo>
                  <a:cubicBezTo>
                    <a:pt x="57" y="155"/>
                    <a:pt x="54" y="155"/>
                    <a:pt x="52" y="163"/>
                  </a:cubicBezTo>
                  <a:cubicBezTo>
                    <a:pt x="66" y="163"/>
                    <a:pt x="66" y="163"/>
                    <a:pt x="66" y="163"/>
                  </a:cubicBezTo>
                  <a:cubicBezTo>
                    <a:pt x="66" y="163"/>
                    <a:pt x="69" y="155"/>
                    <a:pt x="63" y="155"/>
                  </a:cubicBezTo>
                  <a:close/>
                  <a:moveTo>
                    <a:pt x="82" y="144"/>
                  </a:moveTo>
                  <a:cubicBezTo>
                    <a:pt x="82" y="144"/>
                    <a:pt x="88" y="146"/>
                    <a:pt x="94" y="145"/>
                  </a:cubicBezTo>
                  <a:cubicBezTo>
                    <a:pt x="100" y="144"/>
                    <a:pt x="108" y="115"/>
                    <a:pt x="108" y="115"/>
                  </a:cubicBezTo>
                  <a:cubicBezTo>
                    <a:pt x="108" y="115"/>
                    <a:pt x="100" y="117"/>
                    <a:pt x="94" y="122"/>
                  </a:cubicBezTo>
                  <a:cubicBezTo>
                    <a:pt x="88" y="126"/>
                    <a:pt x="86" y="133"/>
                    <a:pt x="86" y="133"/>
                  </a:cubicBezTo>
                  <a:cubicBezTo>
                    <a:pt x="86" y="133"/>
                    <a:pt x="78" y="125"/>
                    <a:pt x="72" y="128"/>
                  </a:cubicBezTo>
                  <a:cubicBezTo>
                    <a:pt x="67" y="131"/>
                    <a:pt x="73" y="153"/>
                    <a:pt x="73" y="153"/>
                  </a:cubicBezTo>
                  <a:lnTo>
                    <a:pt x="82" y="144"/>
                  </a:lnTo>
                  <a:close/>
                  <a:moveTo>
                    <a:pt x="57" y="169"/>
                  </a:moveTo>
                  <a:cubicBezTo>
                    <a:pt x="51" y="191"/>
                    <a:pt x="51" y="191"/>
                    <a:pt x="51" y="191"/>
                  </a:cubicBezTo>
                  <a:cubicBezTo>
                    <a:pt x="62" y="177"/>
                    <a:pt x="62" y="177"/>
                    <a:pt x="62" y="177"/>
                  </a:cubicBezTo>
                  <a:lnTo>
                    <a:pt x="57" y="169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51" name="Freeform 331">
              <a:extLst>
                <a:ext uri="{FF2B5EF4-FFF2-40B4-BE49-F238E27FC236}">
                  <a16:creationId xmlns:a16="http://schemas.microsoft.com/office/drawing/2014/main" id="{0FDB8376-6355-03F4-67F9-8A90BF873BEB}"/>
                </a:ext>
              </a:extLst>
            </p:cNvPr>
            <p:cNvSpPr>
              <a:spLocks/>
            </p:cNvSpPr>
            <p:nvPr/>
          </p:nvSpPr>
          <p:spPr bwMode="gray">
            <a:xfrm>
              <a:off x="-7302" y="-16953"/>
              <a:ext cx="446" cy="477"/>
            </a:xfrm>
            <a:custGeom>
              <a:avLst/>
              <a:gdLst>
                <a:gd name="T0" fmla="*/ 186 w 189"/>
                <a:gd name="T1" fmla="*/ 104 h 202"/>
                <a:gd name="T2" fmla="*/ 177 w 189"/>
                <a:gd name="T3" fmla="*/ 87 h 202"/>
                <a:gd name="T4" fmla="*/ 175 w 189"/>
                <a:gd name="T5" fmla="*/ 73 h 202"/>
                <a:gd name="T6" fmla="*/ 189 w 189"/>
                <a:gd name="T7" fmla="*/ 66 h 202"/>
                <a:gd name="T8" fmla="*/ 167 w 189"/>
                <a:gd name="T9" fmla="*/ 61 h 202"/>
                <a:gd name="T10" fmla="*/ 155 w 189"/>
                <a:gd name="T11" fmla="*/ 45 h 202"/>
                <a:gd name="T12" fmla="*/ 138 w 189"/>
                <a:gd name="T13" fmla="*/ 61 h 202"/>
                <a:gd name="T14" fmla="*/ 113 w 189"/>
                <a:gd name="T15" fmla="*/ 51 h 202"/>
                <a:gd name="T16" fmla="*/ 129 w 189"/>
                <a:gd name="T17" fmla="*/ 38 h 202"/>
                <a:gd name="T18" fmla="*/ 128 w 189"/>
                <a:gd name="T19" fmla="*/ 28 h 202"/>
                <a:gd name="T20" fmla="*/ 158 w 189"/>
                <a:gd name="T21" fmla="*/ 14 h 202"/>
                <a:gd name="T22" fmla="*/ 161 w 189"/>
                <a:gd name="T23" fmla="*/ 7 h 202"/>
                <a:gd name="T24" fmla="*/ 153 w 189"/>
                <a:gd name="T25" fmla="*/ 2 h 202"/>
                <a:gd name="T26" fmla="*/ 138 w 189"/>
                <a:gd name="T27" fmla="*/ 14 h 202"/>
                <a:gd name="T28" fmla="*/ 134 w 189"/>
                <a:gd name="T29" fmla="*/ 4 h 202"/>
                <a:gd name="T30" fmla="*/ 107 w 189"/>
                <a:gd name="T31" fmla="*/ 9 h 202"/>
                <a:gd name="T32" fmla="*/ 99 w 189"/>
                <a:gd name="T33" fmla="*/ 30 h 202"/>
                <a:gd name="T34" fmla="*/ 84 w 189"/>
                <a:gd name="T35" fmla="*/ 35 h 202"/>
                <a:gd name="T36" fmla="*/ 102 w 189"/>
                <a:gd name="T37" fmla="*/ 44 h 202"/>
                <a:gd name="T38" fmla="*/ 92 w 189"/>
                <a:gd name="T39" fmla="*/ 50 h 202"/>
                <a:gd name="T40" fmla="*/ 87 w 189"/>
                <a:gd name="T41" fmla="*/ 57 h 202"/>
                <a:gd name="T42" fmla="*/ 69 w 189"/>
                <a:gd name="T43" fmla="*/ 56 h 202"/>
                <a:gd name="T44" fmla="*/ 69 w 189"/>
                <a:gd name="T45" fmla="*/ 61 h 202"/>
                <a:gd name="T46" fmla="*/ 48 w 189"/>
                <a:gd name="T47" fmla="*/ 51 h 202"/>
                <a:gd name="T48" fmla="*/ 30 w 189"/>
                <a:gd name="T49" fmla="*/ 54 h 202"/>
                <a:gd name="T50" fmla="*/ 33 w 189"/>
                <a:gd name="T51" fmla="*/ 71 h 202"/>
                <a:gd name="T52" fmla="*/ 42 w 189"/>
                <a:gd name="T53" fmla="*/ 79 h 202"/>
                <a:gd name="T54" fmla="*/ 31 w 189"/>
                <a:gd name="T55" fmla="*/ 86 h 202"/>
                <a:gd name="T56" fmla="*/ 25 w 189"/>
                <a:gd name="T57" fmla="*/ 98 h 202"/>
                <a:gd name="T58" fmla="*/ 48 w 189"/>
                <a:gd name="T59" fmla="*/ 107 h 202"/>
                <a:gd name="T60" fmla="*/ 66 w 189"/>
                <a:gd name="T61" fmla="*/ 107 h 202"/>
                <a:gd name="T62" fmla="*/ 50 w 189"/>
                <a:gd name="T63" fmla="*/ 116 h 202"/>
                <a:gd name="T64" fmla="*/ 50 w 189"/>
                <a:gd name="T65" fmla="*/ 130 h 202"/>
                <a:gd name="T66" fmla="*/ 35 w 189"/>
                <a:gd name="T67" fmla="*/ 134 h 202"/>
                <a:gd name="T68" fmla="*/ 30 w 189"/>
                <a:gd name="T69" fmla="*/ 156 h 202"/>
                <a:gd name="T70" fmla="*/ 4 w 189"/>
                <a:gd name="T71" fmla="*/ 161 h 202"/>
                <a:gd name="T72" fmla="*/ 15 w 189"/>
                <a:gd name="T73" fmla="*/ 167 h 202"/>
                <a:gd name="T74" fmla="*/ 0 w 189"/>
                <a:gd name="T75" fmla="*/ 176 h 202"/>
                <a:gd name="T76" fmla="*/ 7 w 189"/>
                <a:gd name="T77" fmla="*/ 183 h 202"/>
                <a:gd name="T78" fmla="*/ 30 w 189"/>
                <a:gd name="T79" fmla="*/ 180 h 202"/>
                <a:gd name="T80" fmla="*/ 19 w 189"/>
                <a:gd name="T81" fmla="*/ 192 h 202"/>
                <a:gd name="T82" fmla="*/ 35 w 189"/>
                <a:gd name="T83" fmla="*/ 190 h 202"/>
                <a:gd name="T84" fmla="*/ 29 w 189"/>
                <a:gd name="T85" fmla="*/ 202 h 202"/>
                <a:gd name="T86" fmla="*/ 74 w 189"/>
                <a:gd name="T87" fmla="*/ 191 h 202"/>
                <a:gd name="T88" fmla="*/ 83 w 189"/>
                <a:gd name="T89" fmla="*/ 178 h 202"/>
                <a:gd name="T90" fmla="*/ 102 w 189"/>
                <a:gd name="T91" fmla="*/ 178 h 202"/>
                <a:gd name="T92" fmla="*/ 124 w 189"/>
                <a:gd name="T93" fmla="*/ 166 h 202"/>
                <a:gd name="T94" fmla="*/ 140 w 189"/>
                <a:gd name="T95" fmla="*/ 165 h 202"/>
                <a:gd name="T96" fmla="*/ 143 w 189"/>
                <a:gd name="T97" fmla="*/ 159 h 202"/>
                <a:gd name="T98" fmla="*/ 168 w 189"/>
                <a:gd name="T99" fmla="*/ 160 h 202"/>
                <a:gd name="T100" fmla="*/ 167 w 189"/>
                <a:gd name="T101" fmla="*/ 148 h 202"/>
                <a:gd name="T102" fmla="*/ 179 w 189"/>
                <a:gd name="T103" fmla="*/ 146 h 202"/>
                <a:gd name="T104" fmla="*/ 178 w 189"/>
                <a:gd name="T105" fmla="*/ 133 h 202"/>
                <a:gd name="T106" fmla="*/ 186 w 189"/>
                <a:gd name="T107" fmla="*/ 10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9" h="202">
                  <a:moveTo>
                    <a:pt x="186" y="104"/>
                  </a:moveTo>
                  <a:cubicBezTo>
                    <a:pt x="186" y="94"/>
                    <a:pt x="177" y="87"/>
                    <a:pt x="177" y="87"/>
                  </a:cubicBezTo>
                  <a:cubicBezTo>
                    <a:pt x="177" y="87"/>
                    <a:pt x="177" y="78"/>
                    <a:pt x="175" y="73"/>
                  </a:cubicBezTo>
                  <a:cubicBezTo>
                    <a:pt x="175" y="69"/>
                    <a:pt x="184" y="68"/>
                    <a:pt x="189" y="66"/>
                  </a:cubicBezTo>
                  <a:cubicBezTo>
                    <a:pt x="167" y="61"/>
                    <a:pt x="167" y="61"/>
                    <a:pt x="167" y="61"/>
                  </a:cubicBezTo>
                  <a:cubicBezTo>
                    <a:pt x="155" y="45"/>
                    <a:pt x="155" y="45"/>
                    <a:pt x="155" y="45"/>
                  </a:cubicBezTo>
                  <a:cubicBezTo>
                    <a:pt x="138" y="61"/>
                    <a:pt x="138" y="61"/>
                    <a:pt x="138" y="61"/>
                  </a:cubicBezTo>
                  <a:cubicBezTo>
                    <a:pt x="138" y="61"/>
                    <a:pt x="126" y="59"/>
                    <a:pt x="113" y="51"/>
                  </a:cubicBezTo>
                  <a:cubicBezTo>
                    <a:pt x="100" y="44"/>
                    <a:pt x="129" y="38"/>
                    <a:pt x="129" y="3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0" y="6"/>
                    <a:pt x="158" y="4"/>
                    <a:pt x="153" y="2"/>
                  </a:cubicBezTo>
                  <a:cubicBezTo>
                    <a:pt x="146" y="0"/>
                    <a:pt x="138" y="14"/>
                    <a:pt x="138" y="14"/>
                  </a:cubicBezTo>
                  <a:cubicBezTo>
                    <a:pt x="134" y="4"/>
                    <a:pt x="134" y="4"/>
                    <a:pt x="134" y="4"/>
                  </a:cubicBezTo>
                  <a:cubicBezTo>
                    <a:pt x="134" y="4"/>
                    <a:pt x="111" y="4"/>
                    <a:pt x="107" y="9"/>
                  </a:cubicBezTo>
                  <a:cubicBezTo>
                    <a:pt x="103" y="15"/>
                    <a:pt x="99" y="30"/>
                    <a:pt x="99" y="30"/>
                  </a:cubicBezTo>
                  <a:cubicBezTo>
                    <a:pt x="99" y="30"/>
                    <a:pt x="84" y="29"/>
                    <a:pt x="84" y="35"/>
                  </a:cubicBezTo>
                  <a:cubicBezTo>
                    <a:pt x="84" y="41"/>
                    <a:pt x="106" y="37"/>
                    <a:pt x="102" y="44"/>
                  </a:cubicBezTo>
                  <a:cubicBezTo>
                    <a:pt x="98" y="51"/>
                    <a:pt x="94" y="47"/>
                    <a:pt x="92" y="50"/>
                  </a:cubicBezTo>
                  <a:cubicBezTo>
                    <a:pt x="90" y="53"/>
                    <a:pt x="87" y="57"/>
                    <a:pt x="87" y="57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56" y="47"/>
                    <a:pt x="48" y="51"/>
                  </a:cubicBezTo>
                  <a:cubicBezTo>
                    <a:pt x="40" y="55"/>
                    <a:pt x="30" y="54"/>
                    <a:pt x="30" y="54"/>
                  </a:cubicBezTo>
                  <a:cubicBezTo>
                    <a:pt x="30" y="54"/>
                    <a:pt x="28" y="71"/>
                    <a:pt x="33" y="71"/>
                  </a:cubicBezTo>
                  <a:cubicBezTo>
                    <a:pt x="38" y="71"/>
                    <a:pt x="42" y="79"/>
                    <a:pt x="42" y="79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6"/>
                    <a:pt x="20" y="90"/>
                    <a:pt x="25" y="98"/>
                  </a:cubicBezTo>
                  <a:cubicBezTo>
                    <a:pt x="30" y="106"/>
                    <a:pt x="48" y="107"/>
                    <a:pt x="48" y="107"/>
                  </a:cubicBezTo>
                  <a:cubicBezTo>
                    <a:pt x="48" y="107"/>
                    <a:pt x="67" y="99"/>
                    <a:pt x="66" y="107"/>
                  </a:cubicBezTo>
                  <a:cubicBezTo>
                    <a:pt x="65" y="115"/>
                    <a:pt x="50" y="116"/>
                    <a:pt x="50" y="116"/>
                  </a:cubicBezTo>
                  <a:cubicBezTo>
                    <a:pt x="50" y="130"/>
                    <a:pt x="50" y="130"/>
                    <a:pt x="50" y="130"/>
                  </a:cubicBezTo>
                  <a:cubicBezTo>
                    <a:pt x="50" y="130"/>
                    <a:pt x="37" y="125"/>
                    <a:pt x="35" y="134"/>
                  </a:cubicBezTo>
                  <a:cubicBezTo>
                    <a:pt x="33" y="143"/>
                    <a:pt x="30" y="156"/>
                    <a:pt x="30" y="156"/>
                  </a:cubicBezTo>
                  <a:cubicBezTo>
                    <a:pt x="30" y="156"/>
                    <a:pt x="5" y="156"/>
                    <a:pt x="4" y="161"/>
                  </a:cubicBezTo>
                  <a:cubicBezTo>
                    <a:pt x="3" y="166"/>
                    <a:pt x="15" y="167"/>
                    <a:pt x="15" y="167"/>
                  </a:cubicBezTo>
                  <a:cubicBezTo>
                    <a:pt x="15" y="167"/>
                    <a:pt x="0" y="169"/>
                    <a:pt x="0" y="176"/>
                  </a:cubicBezTo>
                  <a:cubicBezTo>
                    <a:pt x="0" y="184"/>
                    <a:pt x="7" y="183"/>
                    <a:pt x="7" y="183"/>
                  </a:cubicBezTo>
                  <a:cubicBezTo>
                    <a:pt x="30" y="180"/>
                    <a:pt x="30" y="180"/>
                    <a:pt x="30" y="180"/>
                  </a:cubicBezTo>
                  <a:cubicBezTo>
                    <a:pt x="19" y="192"/>
                    <a:pt x="19" y="192"/>
                    <a:pt x="19" y="192"/>
                  </a:cubicBezTo>
                  <a:cubicBezTo>
                    <a:pt x="19" y="192"/>
                    <a:pt x="36" y="187"/>
                    <a:pt x="35" y="190"/>
                  </a:cubicBezTo>
                  <a:cubicBezTo>
                    <a:pt x="34" y="193"/>
                    <a:pt x="14" y="202"/>
                    <a:pt x="29" y="202"/>
                  </a:cubicBezTo>
                  <a:cubicBezTo>
                    <a:pt x="44" y="202"/>
                    <a:pt x="65" y="196"/>
                    <a:pt x="74" y="191"/>
                  </a:cubicBezTo>
                  <a:cubicBezTo>
                    <a:pt x="83" y="186"/>
                    <a:pt x="83" y="178"/>
                    <a:pt x="83" y="178"/>
                  </a:cubicBezTo>
                  <a:cubicBezTo>
                    <a:pt x="83" y="178"/>
                    <a:pt x="93" y="184"/>
                    <a:pt x="102" y="178"/>
                  </a:cubicBezTo>
                  <a:cubicBezTo>
                    <a:pt x="111" y="173"/>
                    <a:pt x="112" y="167"/>
                    <a:pt x="124" y="166"/>
                  </a:cubicBezTo>
                  <a:cubicBezTo>
                    <a:pt x="135" y="165"/>
                    <a:pt x="140" y="165"/>
                    <a:pt x="140" y="165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68" y="160"/>
                    <a:pt x="168" y="160"/>
                    <a:pt x="168" y="160"/>
                  </a:cubicBezTo>
                  <a:cubicBezTo>
                    <a:pt x="167" y="148"/>
                    <a:pt x="167" y="148"/>
                    <a:pt x="167" y="148"/>
                  </a:cubicBezTo>
                  <a:cubicBezTo>
                    <a:pt x="167" y="148"/>
                    <a:pt x="179" y="150"/>
                    <a:pt x="179" y="146"/>
                  </a:cubicBezTo>
                  <a:cubicBezTo>
                    <a:pt x="179" y="142"/>
                    <a:pt x="174" y="138"/>
                    <a:pt x="178" y="133"/>
                  </a:cubicBezTo>
                  <a:cubicBezTo>
                    <a:pt x="181" y="128"/>
                    <a:pt x="186" y="114"/>
                    <a:pt x="186" y="104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52" name="Freeform 332">
              <a:extLst>
                <a:ext uri="{FF2B5EF4-FFF2-40B4-BE49-F238E27FC236}">
                  <a16:creationId xmlns:a16="http://schemas.microsoft.com/office/drawing/2014/main" id="{DBE12309-B447-CB4D-7C1C-8DE18C0F7F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1311" y="-19887"/>
              <a:ext cx="6246" cy="3028"/>
            </a:xfrm>
            <a:custGeom>
              <a:avLst/>
              <a:gdLst>
                <a:gd name="T0" fmla="*/ 1565 w 2644"/>
                <a:gd name="T1" fmla="*/ 52 h 1282"/>
                <a:gd name="T2" fmla="*/ 1392 w 2644"/>
                <a:gd name="T3" fmla="*/ 47 h 1282"/>
                <a:gd name="T4" fmla="*/ 1490 w 2644"/>
                <a:gd name="T5" fmla="*/ 10 h 1282"/>
                <a:gd name="T6" fmla="*/ 1129 w 2644"/>
                <a:gd name="T7" fmla="*/ 20 h 1282"/>
                <a:gd name="T8" fmla="*/ 1006 w 2644"/>
                <a:gd name="T9" fmla="*/ 38 h 1282"/>
                <a:gd name="T10" fmla="*/ 728 w 2644"/>
                <a:gd name="T11" fmla="*/ 51 h 1282"/>
                <a:gd name="T12" fmla="*/ 452 w 2644"/>
                <a:gd name="T13" fmla="*/ 80 h 1282"/>
                <a:gd name="T14" fmla="*/ 236 w 2644"/>
                <a:gd name="T15" fmla="*/ 157 h 1282"/>
                <a:gd name="T16" fmla="*/ 83 w 2644"/>
                <a:gd name="T17" fmla="*/ 219 h 1282"/>
                <a:gd name="T18" fmla="*/ 96 w 2644"/>
                <a:gd name="T19" fmla="*/ 231 h 1282"/>
                <a:gd name="T20" fmla="*/ 106 w 2644"/>
                <a:gd name="T21" fmla="*/ 266 h 1282"/>
                <a:gd name="T22" fmla="*/ 313 w 2644"/>
                <a:gd name="T23" fmla="*/ 274 h 1282"/>
                <a:gd name="T24" fmla="*/ 399 w 2644"/>
                <a:gd name="T25" fmla="*/ 369 h 1282"/>
                <a:gd name="T26" fmla="*/ 370 w 2644"/>
                <a:gd name="T27" fmla="*/ 445 h 1282"/>
                <a:gd name="T28" fmla="*/ 438 w 2644"/>
                <a:gd name="T29" fmla="*/ 447 h 1282"/>
                <a:gd name="T30" fmla="*/ 432 w 2644"/>
                <a:gd name="T31" fmla="*/ 517 h 1282"/>
                <a:gd name="T32" fmla="*/ 456 w 2644"/>
                <a:gd name="T33" fmla="*/ 542 h 1282"/>
                <a:gd name="T34" fmla="*/ 421 w 2644"/>
                <a:gd name="T35" fmla="*/ 578 h 1282"/>
                <a:gd name="T36" fmla="*/ 408 w 2644"/>
                <a:gd name="T37" fmla="*/ 639 h 1282"/>
                <a:gd name="T38" fmla="*/ 354 w 2644"/>
                <a:gd name="T39" fmla="*/ 640 h 1282"/>
                <a:gd name="T40" fmla="*/ 276 w 2644"/>
                <a:gd name="T41" fmla="*/ 668 h 1282"/>
                <a:gd name="T42" fmla="*/ 273 w 2644"/>
                <a:gd name="T43" fmla="*/ 727 h 1282"/>
                <a:gd name="T44" fmla="*/ 270 w 2644"/>
                <a:gd name="T45" fmla="*/ 802 h 1282"/>
                <a:gd name="T46" fmla="*/ 328 w 2644"/>
                <a:gd name="T47" fmla="*/ 798 h 1282"/>
                <a:gd name="T48" fmla="*/ 286 w 2644"/>
                <a:gd name="T49" fmla="*/ 851 h 1282"/>
                <a:gd name="T50" fmla="*/ 322 w 2644"/>
                <a:gd name="T51" fmla="*/ 925 h 1282"/>
                <a:gd name="T52" fmla="*/ 398 w 2644"/>
                <a:gd name="T53" fmla="*/ 969 h 1282"/>
                <a:gd name="T54" fmla="*/ 443 w 2644"/>
                <a:gd name="T55" fmla="*/ 1000 h 1282"/>
                <a:gd name="T56" fmla="*/ 540 w 2644"/>
                <a:gd name="T57" fmla="*/ 948 h 1282"/>
                <a:gd name="T58" fmla="*/ 585 w 2644"/>
                <a:gd name="T59" fmla="*/ 903 h 1282"/>
                <a:gd name="T60" fmla="*/ 625 w 2644"/>
                <a:gd name="T61" fmla="*/ 858 h 1282"/>
                <a:gd name="T62" fmla="*/ 673 w 2644"/>
                <a:gd name="T63" fmla="*/ 802 h 1282"/>
                <a:gd name="T64" fmla="*/ 752 w 2644"/>
                <a:gd name="T65" fmla="*/ 741 h 1282"/>
                <a:gd name="T66" fmla="*/ 841 w 2644"/>
                <a:gd name="T67" fmla="*/ 727 h 1282"/>
                <a:gd name="T68" fmla="*/ 1053 w 2644"/>
                <a:gd name="T69" fmla="*/ 599 h 1282"/>
                <a:gd name="T70" fmla="*/ 1317 w 2644"/>
                <a:gd name="T71" fmla="*/ 578 h 1282"/>
                <a:gd name="T72" fmla="*/ 1303 w 2644"/>
                <a:gd name="T73" fmla="*/ 524 h 1282"/>
                <a:gd name="T74" fmla="*/ 1217 w 2644"/>
                <a:gd name="T75" fmla="*/ 512 h 1282"/>
                <a:gd name="T76" fmla="*/ 1271 w 2644"/>
                <a:gd name="T77" fmla="*/ 465 h 1282"/>
                <a:gd name="T78" fmla="*/ 1427 w 2644"/>
                <a:gd name="T79" fmla="*/ 502 h 1282"/>
                <a:gd name="T80" fmla="*/ 1425 w 2644"/>
                <a:gd name="T81" fmla="*/ 459 h 1282"/>
                <a:gd name="T82" fmla="*/ 1303 w 2644"/>
                <a:gd name="T83" fmla="*/ 412 h 1282"/>
                <a:gd name="T84" fmla="*/ 1471 w 2644"/>
                <a:gd name="T85" fmla="*/ 404 h 1282"/>
                <a:gd name="T86" fmla="*/ 1535 w 2644"/>
                <a:gd name="T87" fmla="*/ 368 h 1282"/>
                <a:gd name="T88" fmla="*/ 1546 w 2644"/>
                <a:gd name="T89" fmla="*/ 334 h 1282"/>
                <a:gd name="T90" fmla="*/ 1594 w 2644"/>
                <a:gd name="T91" fmla="*/ 289 h 1282"/>
                <a:gd name="T92" fmla="*/ 1590 w 2644"/>
                <a:gd name="T93" fmla="*/ 221 h 1282"/>
                <a:gd name="T94" fmla="*/ 1627 w 2644"/>
                <a:gd name="T95" fmla="*/ 165 h 1282"/>
                <a:gd name="T96" fmla="*/ 1659 w 2644"/>
                <a:gd name="T97" fmla="*/ 111 h 1282"/>
                <a:gd name="T98" fmla="*/ 1807 w 2644"/>
                <a:gd name="T99" fmla="*/ 79 h 1282"/>
                <a:gd name="T100" fmla="*/ 371 w 2644"/>
                <a:gd name="T101" fmla="*/ 534 h 1282"/>
                <a:gd name="T102" fmla="*/ 2531 w 2644"/>
                <a:gd name="T103" fmla="*/ 1160 h 1282"/>
                <a:gd name="T104" fmla="*/ 2458 w 2644"/>
                <a:gd name="T105" fmla="*/ 1164 h 1282"/>
                <a:gd name="T106" fmla="*/ 2471 w 2644"/>
                <a:gd name="T107" fmla="*/ 1249 h 1282"/>
                <a:gd name="T108" fmla="*/ 2517 w 2644"/>
                <a:gd name="T109" fmla="*/ 1268 h 1282"/>
                <a:gd name="T110" fmla="*/ 2531 w 2644"/>
                <a:gd name="T111" fmla="*/ 1179 h 1282"/>
                <a:gd name="T112" fmla="*/ 2577 w 2644"/>
                <a:gd name="T113" fmla="*/ 1240 h 1282"/>
                <a:gd name="T114" fmla="*/ 2624 w 2644"/>
                <a:gd name="T115" fmla="*/ 1211 h 1282"/>
                <a:gd name="T116" fmla="*/ 2629 w 2644"/>
                <a:gd name="T117" fmla="*/ 1260 h 1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44" h="1282">
                  <a:moveTo>
                    <a:pt x="1845" y="57"/>
                  </a:moveTo>
                  <a:cubicBezTo>
                    <a:pt x="1825" y="57"/>
                    <a:pt x="1757" y="51"/>
                    <a:pt x="1752" y="57"/>
                  </a:cubicBezTo>
                  <a:cubicBezTo>
                    <a:pt x="1747" y="63"/>
                    <a:pt x="1722" y="69"/>
                    <a:pt x="1711" y="69"/>
                  </a:cubicBezTo>
                  <a:cubicBezTo>
                    <a:pt x="1700" y="69"/>
                    <a:pt x="1655" y="60"/>
                    <a:pt x="1647" y="64"/>
                  </a:cubicBezTo>
                  <a:cubicBezTo>
                    <a:pt x="1639" y="68"/>
                    <a:pt x="1587" y="83"/>
                    <a:pt x="1581" y="86"/>
                  </a:cubicBezTo>
                  <a:cubicBezTo>
                    <a:pt x="1575" y="89"/>
                    <a:pt x="1523" y="101"/>
                    <a:pt x="1532" y="94"/>
                  </a:cubicBezTo>
                  <a:cubicBezTo>
                    <a:pt x="1541" y="87"/>
                    <a:pt x="1615" y="71"/>
                    <a:pt x="1610" y="61"/>
                  </a:cubicBezTo>
                  <a:cubicBezTo>
                    <a:pt x="1605" y="51"/>
                    <a:pt x="1576" y="48"/>
                    <a:pt x="1565" y="52"/>
                  </a:cubicBezTo>
                  <a:cubicBezTo>
                    <a:pt x="1554" y="56"/>
                    <a:pt x="1536" y="63"/>
                    <a:pt x="1536" y="63"/>
                  </a:cubicBezTo>
                  <a:cubicBezTo>
                    <a:pt x="1457" y="73"/>
                    <a:pt x="1457" y="73"/>
                    <a:pt x="1457" y="73"/>
                  </a:cubicBezTo>
                  <a:cubicBezTo>
                    <a:pt x="1457" y="73"/>
                    <a:pt x="1531" y="55"/>
                    <a:pt x="1513" y="54"/>
                  </a:cubicBezTo>
                  <a:cubicBezTo>
                    <a:pt x="1495" y="53"/>
                    <a:pt x="1427" y="52"/>
                    <a:pt x="1427" y="52"/>
                  </a:cubicBezTo>
                  <a:cubicBezTo>
                    <a:pt x="1403" y="57"/>
                    <a:pt x="1403" y="57"/>
                    <a:pt x="1403" y="57"/>
                  </a:cubicBezTo>
                  <a:cubicBezTo>
                    <a:pt x="1358" y="53"/>
                    <a:pt x="1358" y="53"/>
                    <a:pt x="1358" y="53"/>
                  </a:cubicBezTo>
                  <a:cubicBezTo>
                    <a:pt x="1358" y="53"/>
                    <a:pt x="1307" y="68"/>
                    <a:pt x="1309" y="61"/>
                  </a:cubicBezTo>
                  <a:cubicBezTo>
                    <a:pt x="1311" y="54"/>
                    <a:pt x="1371" y="47"/>
                    <a:pt x="1392" y="47"/>
                  </a:cubicBezTo>
                  <a:cubicBezTo>
                    <a:pt x="1413" y="47"/>
                    <a:pt x="1548" y="45"/>
                    <a:pt x="1557" y="45"/>
                  </a:cubicBezTo>
                  <a:cubicBezTo>
                    <a:pt x="1566" y="45"/>
                    <a:pt x="1645" y="43"/>
                    <a:pt x="1636" y="35"/>
                  </a:cubicBezTo>
                  <a:cubicBezTo>
                    <a:pt x="1627" y="27"/>
                    <a:pt x="1577" y="24"/>
                    <a:pt x="1558" y="27"/>
                  </a:cubicBezTo>
                  <a:cubicBezTo>
                    <a:pt x="1539" y="30"/>
                    <a:pt x="1526" y="29"/>
                    <a:pt x="1526" y="29"/>
                  </a:cubicBezTo>
                  <a:cubicBezTo>
                    <a:pt x="1526" y="29"/>
                    <a:pt x="1551" y="18"/>
                    <a:pt x="1535" y="17"/>
                  </a:cubicBezTo>
                  <a:cubicBezTo>
                    <a:pt x="1519" y="16"/>
                    <a:pt x="1492" y="19"/>
                    <a:pt x="1492" y="19"/>
                  </a:cubicBezTo>
                  <a:cubicBezTo>
                    <a:pt x="1492" y="19"/>
                    <a:pt x="1462" y="18"/>
                    <a:pt x="1455" y="16"/>
                  </a:cubicBezTo>
                  <a:cubicBezTo>
                    <a:pt x="1448" y="14"/>
                    <a:pt x="1483" y="17"/>
                    <a:pt x="1490" y="10"/>
                  </a:cubicBezTo>
                  <a:cubicBezTo>
                    <a:pt x="1497" y="3"/>
                    <a:pt x="1454" y="5"/>
                    <a:pt x="1432" y="5"/>
                  </a:cubicBezTo>
                  <a:cubicBezTo>
                    <a:pt x="1410" y="5"/>
                    <a:pt x="1355" y="8"/>
                    <a:pt x="1355" y="8"/>
                  </a:cubicBezTo>
                  <a:cubicBezTo>
                    <a:pt x="1355" y="8"/>
                    <a:pt x="1315" y="4"/>
                    <a:pt x="1292" y="2"/>
                  </a:cubicBezTo>
                  <a:cubicBezTo>
                    <a:pt x="1269" y="0"/>
                    <a:pt x="1246" y="5"/>
                    <a:pt x="1237" y="6"/>
                  </a:cubicBezTo>
                  <a:cubicBezTo>
                    <a:pt x="1228" y="7"/>
                    <a:pt x="1210" y="7"/>
                    <a:pt x="1188" y="6"/>
                  </a:cubicBezTo>
                  <a:cubicBezTo>
                    <a:pt x="1166" y="5"/>
                    <a:pt x="1144" y="5"/>
                    <a:pt x="1146" y="10"/>
                  </a:cubicBezTo>
                  <a:cubicBezTo>
                    <a:pt x="1148" y="15"/>
                    <a:pt x="1177" y="16"/>
                    <a:pt x="1177" y="16"/>
                  </a:cubicBezTo>
                  <a:cubicBezTo>
                    <a:pt x="1177" y="16"/>
                    <a:pt x="1142" y="21"/>
                    <a:pt x="1129" y="20"/>
                  </a:cubicBezTo>
                  <a:cubicBezTo>
                    <a:pt x="1116" y="19"/>
                    <a:pt x="1061" y="13"/>
                    <a:pt x="1047" y="11"/>
                  </a:cubicBezTo>
                  <a:cubicBezTo>
                    <a:pt x="1033" y="9"/>
                    <a:pt x="995" y="13"/>
                    <a:pt x="990" y="13"/>
                  </a:cubicBezTo>
                  <a:cubicBezTo>
                    <a:pt x="985" y="13"/>
                    <a:pt x="935" y="19"/>
                    <a:pt x="956" y="24"/>
                  </a:cubicBezTo>
                  <a:cubicBezTo>
                    <a:pt x="977" y="29"/>
                    <a:pt x="1046" y="31"/>
                    <a:pt x="1046" y="31"/>
                  </a:cubicBezTo>
                  <a:cubicBezTo>
                    <a:pt x="1103" y="38"/>
                    <a:pt x="1103" y="38"/>
                    <a:pt x="1103" y="38"/>
                  </a:cubicBezTo>
                  <a:cubicBezTo>
                    <a:pt x="1103" y="38"/>
                    <a:pt x="1048" y="40"/>
                    <a:pt x="1040" y="40"/>
                  </a:cubicBezTo>
                  <a:cubicBezTo>
                    <a:pt x="1032" y="40"/>
                    <a:pt x="984" y="27"/>
                    <a:pt x="985" y="31"/>
                  </a:cubicBezTo>
                  <a:cubicBezTo>
                    <a:pt x="986" y="35"/>
                    <a:pt x="1006" y="38"/>
                    <a:pt x="1006" y="38"/>
                  </a:cubicBezTo>
                  <a:cubicBezTo>
                    <a:pt x="975" y="41"/>
                    <a:pt x="975" y="41"/>
                    <a:pt x="975" y="41"/>
                  </a:cubicBezTo>
                  <a:cubicBezTo>
                    <a:pt x="975" y="41"/>
                    <a:pt x="958" y="55"/>
                    <a:pt x="962" y="59"/>
                  </a:cubicBezTo>
                  <a:cubicBezTo>
                    <a:pt x="966" y="63"/>
                    <a:pt x="938" y="64"/>
                    <a:pt x="925" y="56"/>
                  </a:cubicBezTo>
                  <a:cubicBezTo>
                    <a:pt x="912" y="48"/>
                    <a:pt x="885" y="42"/>
                    <a:pt x="859" y="40"/>
                  </a:cubicBezTo>
                  <a:cubicBezTo>
                    <a:pt x="833" y="38"/>
                    <a:pt x="804" y="38"/>
                    <a:pt x="804" y="38"/>
                  </a:cubicBezTo>
                  <a:cubicBezTo>
                    <a:pt x="806" y="58"/>
                    <a:pt x="806" y="58"/>
                    <a:pt x="806" y="58"/>
                  </a:cubicBezTo>
                  <a:cubicBezTo>
                    <a:pt x="806" y="58"/>
                    <a:pt x="786" y="61"/>
                    <a:pt x="773" y="59"/>
                  </a:cubicBezTo>
                  <a:cubicBezTo>
                    <a:pt x="760" y="57"/>
                    <a:pt x="736" y="49"/>
                    <a:pt x="728" y="51"/>
                  </a:cubicBezTo>
                  <a:cubicBezTo>
                    <a:pt x="720" y="53"/>
                    <a:pt x="702" y="62"/>
                    <a:pt x="702" y="62"/>
                  </a:cubicBezTo>
                  <a:cubicBezTo>
                    <a:pt x="702" y="62"/>
                    <a:pt x="713" y="44"/>
                    <a:pt x="700" y="44"/>
                  </a:cubicBezTo>
                  <a:cubicBezTo>
                    <a:pt x="687" y="44"/>
                    <a:pt x="616" y="45"/>
                    <a:pt x="597" y="48"/>
                  </a:cubicBezTo>
                  <a:cubicBezTo>
                    <a:pt x="578" y="51"/>
                    <a:pt x="545" y="44"/>
                    <a:pt x="550" y="49"/>
                  </a:cubicBezTo>
                  <a:cubicBezTo>
                    <a:pt x="555" y="54"/>
                    <a:pt x="590" y="71"/>
                    <a:pt x="590" y="71"/>
                  </a:cubicBezTo>
                  <a:cubicBezTo>
                    <a:pt x="590" y="71"/>
                    <a:pt x="536" y="54"/>
                    <a:pt x="527" y="54"/>
                  </a:cubicBezTo>
                  <a:cubicBezTo>
                    <a:pt x="518" y="54"/>
                    <a:pt x="491" y="49"/>
                    <a:pt x="487" y="59"/>
                  </a:cubicBezTo>
                  <a:cubicBezTo>
                    <a:pt x="483" y="69"/>
                    <a:pt x="465" y="80"/>
                    <a:pt x="452" y="80"/>
                  </a:cubicBezTo>
                  <a:cubicBezTo>
                    <a:pt x="439" y="80"/>
                    <a:pt x="402" y="80"/>
                    <a:pt x="402" y="80"/>
                  </a:cubicBezTo>
                  <a:cubicBezTo>
                    <a:pt x="402" y="80"/>
                    <a:pt x="328" y="94"/>
                    <a:pt x="324" y="95"/>
                  </a:cubicBezTo>
                  <a:cubicBezTo>
                    <a:pt x="320" y="96"/>
                    <a:pt x="248" y="106"/>
                    <a:pt x="259" y="113"/>
                  </a:cubicBezTo>
                  <a:cubicBezTo>
                    <a:pt x="270" y="120"/>
                    <a:pt x="310" y="122"/>
                    <a:pt x="315" y="121"/>
                  </a:cubicBezTo>
                  <a:cubicBezTo>
                    <a:pt x="320" y="120"/>
                    <a:pt x="335" y="118"/>
                    <a:pt x="335" y="118"/>
                  </a:cubicBezTo>
                  <a:cubicBezTo>
                    <a:pt x="311" y="128"/>
                    <a:pt x="311" y="128"/>
                    <a:pt x="311" y="128"/>
                  </a:cubicBezTo>
                  <a:cubicBezTo>
                    <a:pt x="300" y="139"/>
                    <a:pt x="300" y="139"/>
                    <a:pt x="300" y="139"/>
                  </a:cubicBezTo>
                  <a:cubicBezTo>
                    <a:pt x="300" y="139"/>
                    <a:pt x="253" y="157"/>
                    <a:pt x="236" y="157"/>
                  </a:cubicBezTo>
                  <a:cubicBezTo>
                    <a:pt x="219" y="157"/>
                    <a:pt x="151" y="157"/>
                    <a:pt x="137" y="169"/>
                  </a:cubicBezTo>
                  <a:cubicBezTo>
                    <a:pt x="123" y="181"/>
                    <a:pt x="112" y="167"/>
                    <a:pt x="112" y="167"/>
                  </a:cubicBezTo>
                  <a:cubicBezTo>
                    <a:pt x="90" y="176"/>
                    <a:pt x="90" y="176"/>
                    <a:pt x="90" y="176"/>
                  </a:cubicBezTo>
                  <a:cubicBezTo>
                    <a:pt x="57" y="175"/>
                    <a:pt x="57" y="175"/>
                    <a:pt x="57" y="175"/>
                  </a:cubicBezTo>
                  <a:cubicBezTo>
                    <a:pt x="57" y="175"/>
                    <a:pt x="0" y="181"/>
                    <a:pt x="14" y="191"/>
                  </a:cubicBezTo>
                  <a:cubicBezTo>
                    <a:pt x="28" y="201"/>
                    <a:pt x="51" y="212"/>
                    <a:pt x="51" y="212"/>
                  </a:cubicBezTo>
                  <a:cubicBezTo>
                    <a:pt x="71" y="204"/>
                    <a:pt x="71" y="204"/>
                    <a:pt x="71" y="204"/>
                  </a:cubicBezTo>
                  <a:cubicBezTo>
                    <a:pt x="71" y="204"/>
                    <a:pt x="73" y="216"/>
                    <a:pt x="83" y="219"/>
                  </a:cubicBezTo>
                  <a:cubicBezTo>
                    <a:pt x="93" y="222"/>
                    <a:pt x="116" y="209"/>
                    <a:pt x="116" y="209"/>
                  </a:cubicBezTo>
                  <a:cubicBezTo>
                    <a:pt x="116" y="209"/>
                    <a:pt x="112" y="220"/>
                    <a:pt x="122" y="220"/>
                  </a:cubicBezTo>
                  <a:cubicBezTo>
                    <a:pt x="132" y="220"/>
                    <a:pt x="169" y="204"/>
                    <a:pt x="176" y="209"/>
                  </a:cubicBezTo>
                  <a:cubicBezTo>
                    <a:pt x="183" y="214"/>
                    <a:pt x="181" y="220"/>
                    <a:pt x="181" y="220"/>
                  </a:cubicBezTo>
                  <a:cubicBezTo>
                    <a:pt x="170" y="221"/>
                    <a:pt x="170" y="221"/>
                    <a:pt x="170" y="221"/>
                  </a:cubicBezTo>
                  <a:cubicBezTo>
                    <a:pt x="170" y="221"/>
                    <a:pt x="162" y="232"/>
                    <a:pt x="155" y="232"/>
                  </a:cubicBezTo>
                  <a:cubicBezTo>
                    <a:pt x="148" y="232"/>
                    <a:pt x="152" y="226"/>
                    <a:pt x="141" y="226"/>
                  </a:cubicBezTo>
                  <a:cubicBezTo>
                    <a:pt x="130" y="226"/>
                    <a:pt x="96" y="231"/>
                    <a:pt x="96" y="231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31" y="208"/>
                    <a:pt x="20" y="227"/>
                  </a:cubicBezTo>
                  <a:cubicBezTo>
                    <a:pt x="9" y="246"/>
                    <a:pt x="36" y="252"/>
                    <a:pt x="44" y="251"/>
                  </a:cubicBezTo>
                  <a:cubicBezTo>
                    <a:pt x="52" y="250"/>
                    <a:pt x="79" y="251"/>
                    <a:pt x="79" y="251"/>
                  </a:cubicBezTo>
                  <a:cubicBezTo>
                    <a:pt x="79" y="251"/>
                    <a:pt x="36" y="254"/>
                    <a:pt x="41" y="261"/>
                  </a:cubicBezTo>
                  <a:cubicBezTo>
                    <a:pt x="46" y="268"/>
                    <a:pt x="74" y="274"/>
                    <a:pt x="74" y="274"/>
                  </a:cubicBezTo>
                  <a:cubicBezTo>
                    <a:pt x="98" y="277"/>
                    <a:pt x="98" y="277"/>
                    <a:pt x="98" y="277"/>
                  </a:cubicBezTo>
                  <a:cubicBezTo>
                    <a:pt x="98" y="277"/>
                    <a:pt x="99" y="267"/>
                    <a:pt x="106" y="266"/>
                  </a:cubicBezTo>
                  <a:cubicBezTo>
                    <a:pt x="113" y="265"/>
                    <a:pt x="121" y="276"/>
                    <a:pt x="121" y="276"/>
                  </a:cubicBezTo>
                  <a:cubicBezTo>
                    <a:pt x="144" y="267"/>
                    <a:pt x="144" y="267"/>
                    <a:pt x="144" y="267"/>
                  </a:cubicBezTo>
                  <a:cubicBezTo>
                    <a:pt x="144" y="267"/>
                    <a:pt x="148" y="277"/>
                    <a:pt x="151" y="277"/>
                  </a:cubicBezTo>
                  <a:cubicBezTo>
                    <a:pt x="154" y="277"/>
                    <a:pt x="184" y="263"/>
                    <a:pt x="193" y="265"/>
                  </a:cubicBezTo>
                  <a:cubicBezTo>
                    <a:pt x="202" y="267"/>
                    <a:pt x="209" y="271"/>
                    <a:pt x="214" y="271"/>
                  </a:cubicBezTo>
                  <a:cubicBezTo>
                    <a:pt x="219" y="271"/>
                    <a:pt x="230" y="262"/>
                    <a:pt x="236" y="262"/>
                  </a:cubicBezTo>
                  <a:cubicBezTo>
                    <a:pt x="242" y="262"/>
                    <a:pt x="259" y="273"/>
                    <a:pt x="259" y="273"/>
                  </a:cubicBezTo>
                  <a:cubicBezTo>
                    <a:pt x="259" y="273"/>
                    <a:pt x="291" y="268"/>
                    <a:pt x="313" y="274"/>
                  </a:cubicBezTo>
                  <a:cubicBezTo>
                    <a:pt x="335" y="280"/>
                    <a:pt x="339" y="291"/>
                    <a:pt x="339" y="291"/>
                  </a:cubicBezTo>
                  <a:cubicBezTo>
                    <a:pt x="339" y="291"/>
                    <a:pt x="361" y="286"/>
                    <a:pt x="361" y="291"/>
                  </a:cubicBezTo>
                  <a:cubicBezTo>
                    <a:pt x="361" y="296"/>
                    <a:pt x="351" y="306"/>
                    <a:pt x="351" y="306"/>
                  </a:cubicBezTo>
                  <a:cubicBezTo>
                    <a:pt x="357" y="315"/>
                    <a:pt x="357" y="315"/>
                    <a:pt x="357" y="315"/>
                  </a:cubicBezTo>
                  <a:cubicBezTo>
                    <a:pt x="357" y="315"/>
                    <a:pt x="390" y="321"/>
                    <a:pt x="390" y="330"/>
                  </a:cubicBezTo>
                  <a:cubicBezTo>
                    <a:pt x="390" y="339"/>
                    <a:pt x="374" y="343"/>
                    <a:pt x="374" y="343"/>
                  </a:cubicBezTo>
                  <a:cubicBezTo>
                    <a:pt x="383" y="359"/>
                    <a:pt x="383" y="359"/>
                    <a:pt x="383" y="359"/>
                  </a:cubicBezTo>
                  <a:cubicBezTo>
                    <a:pt x="399" y="369"/>
                    <a:pt x="399" y="369"/>
                    <a:pt x="399" y="369"/>
                  </a:cubicBezTo>
                  <a:cubicBezTo>
                    <a:pt x="385" y="374"/>
                    <a:pt x="385" y="374"/>
                    <a:pt x="385" y="374"/>
                  </a:cubicBezTo>
                  <a:cubicBezTo>
                    <a:pt x="395" y="387"/>
                    <a:pt x="395" y="387"/>
                    <a:pt x="395" y="387"/>
                  </a:cubicBezTo>
                  <a:cubicBezTo>
                    <a:pt x="395" y="387"/>
                    <a:pt x="383" y="386"/>
                    <a:pt x="383" y="395"/>
                  </a:cubicBezTo>
                  <a:cubicBezTo>
                    <a:pt x="383" y="404"/>
                    <a:pt x="405" y="407"/>
                    <a:pt x="402" y="412"/>
                  </a:cubicBezTo>
                  <a:cubicBezTo>
                    <a:pt x="399" y="417"/>
                    <a:pt x="380" y="426"/>
                    <a:pt x="380" y="426"/>
                  </a:cubicBezTo>
                  <a:cubicBezTo>
                    <a:pt x="388" y="433"/>
                    <a:pt x="388" y="433"/>
                    <a:pt x="388" y="433"/>
                  </a:cubicBezTo>
                  <a:cubicBezTo>
                    <a:pt x="388" y="433"/>
                    <a:pt x="347" y="438"/>
                    <a:pt x="348" y="441"/>
                  </a:cubicBezTo>
                  <a:cubicBezTo>
                    <a:pt x="349" y="444"/>
                    <a:pt x="357" y="446"/>
                    <a:pt x="370" y="445"/>
                  </a:cubicBezTo>
                  <a:cubicBezTo>
                    <a:pt x="383" y="444"/>
                    <a:pt x="367" y="455"/>
                    <a:pt x="367" y="455"/>
                  </a:cubicBezTo>
                  <a:cubicBezTo>
                    <a:pt x="367" y="455"/>
                    <a:pt x="316" y="456"/>
                    <a:pt x="328" y="465"/>
                  </a:cubicBezTo>
                  <a:cubicBezTo>
                    <a:pt x="340" y="474"/>
                    <a:pt x="353" y="479"/>
                    <a:pt x="369" y="478"/>
                  </a:cubicBezTo>
                  <a:cubicBezTo>
                    <a:pt x="385" y="477"/>
                    <a:pt x="389" y="467"/>
                    <a:pt x="389" y="467"/>
                  </a:cubicBezTo>
                  <a:cubicBezTo>
                    <a:pt x="389" y="467"/>
                    <a:pt x="416" y="469"/>
                    <a:pt x="414" y="460"/>
                  </a:cubicBezTo>
                  <a:cubicBezTo>
                    <a:pt x="412" y="451"/>
                    <a:pt x="419" y="439"/>
                    <a:pt x="419" y="439"/>
                  </a:cubicBezTo>
                  <a:cubicBezTo>
                    <a:pt x="421" y="458"/>
                    <a:pt x="421" y="458"/>
                    <a:pt x="421" y="458"/>
                  </a:cubicBezTo>
                  <a:cubicBezTo>
                    <a:pt x="438" y="447"/>
                    <a:pt x="438" y="447"/>
                    <a:pt x="438" y="447"/>
                  </a:cubicBezTo>
                  <a:cubicBezTo>
                    <a:pt x="438" y="447"/>
                    <a:pt x="430" y="453"/>
                    <a:pt x="434" y="458"/>
                  </a:cubicBezTo>
                  <a:cubicBezTo>
                    <a:pt x="438" y="463"/>
                    <a:pt x="463" y="465"/>
                    <a:pt x="463" y="465"/>
                  </a:cubicBezTo>
                  <a:cubicBezTo>
                    <a:pt x="454" y="471"/>
                    <a:pt x="454" y="471"/>
                    <a:pt x="454" y="471"/>
                  </a:cubicBezTo>
                  <a:cubicBezTo>
                    <a:pt x="454" y="471"/>
                    <a:pt x="448" y="484"/>
                    <a:pt x="457" y="487"/>
                  </a:cubicBezTo>
                  <a:cubicBezTo>
                    <a:pt x="466" y="490"/>
                    <a:pt x="479" y="504"/>
                    <a:pt x="473" y="510"/>
                  </a:cubicBezTo>
                  <a:cubicBezTo>
                    <a:pt x="467" y="516"/>
                    <a:pt x="456" y="513"/>
                    <a:pt x="456" y="513"/>
                  </a:cubicBezTo>
                  <a:cubicBezTo>
                    <a:pt x="456" y="519"/>
                    <a:pt x="456" y="519"/>
                    <a:pt x="456" y="519"/>
                  </a:cubicBezTo>
                  <a:cubicBezTo>
                    <a:pt x="456" y="519"/>
                    <a:pt x="441" y="518"/>
                    <a:pt x="432" y="517"/>
                  </a:cubicBezTo>
                  <a:cubicBezTo>
                    <a:pt x="423" y="516"/>
                    <a:pt x="415" y="506"/>
                    <a:pt x="415" y="506"/>
                  </a:cubicBezTo>
                  <a:cubicBezTo>
                    <a:pt x="375" y="505"/>
                    <a:pt x="375" y="505"/>
                    <a:pt x="375" y="505"/>
                  </a:cubicBezTo>
                  <a:cubicBezTo>
                    <a:pt x="375" y="505"/>
                    <a:pt x="351" y="483"/>
                    <a:pt x="345" y="505"/>
                  </a:cubicBezTo>
                  <a:cubicBezTo>
                    <a:pt x="343" y="514"/>
                    <a:pt x="355" y="520"/>
                    <a:pt x="362" y="521"/>
                  </a:cubicBezTo>
                  <a:cubicBezTo>
                    <a:pt x="369" y="522"/>
                    <a:pt x="374" y="518"/>
                    <a:pt x="383" y="522"/>
                  </a:cubicBezTo>
                  <a:cubicBezTo>
                    <a:pt x="392" y="526"/>
                    <a:pt x="400" y="540"/>
                    <a:pt x="415" y="540"/>
                  </a:cubicBezTo>
                  <a:cubicBezTo>
                    <a:pt x="430" y="540"/>
                    <a:pt x="441" y="534"/>
                    <a:pt x="441" y="534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70" y="533"/>
                    <a:pt x="470" y="533"/>
                    <a:pt x="470" y="533"/>
                  </a:cubicBezTo>
                  <a:cubicBezTo>
                    <a:pt x="467" y="547"/>
                    <a:pt x="467" y="547"/>
                    <a:pt x="467" y="547"/>
                  </a:cubicBezTo>
                  <a:cubicBezTo>
                    <a:pt x="467" y="547"/>
                    <a:pt x="452" y="540"/>
                    <a:pt x="450" y="547"/>
                  </a:cubicBezTo>
                  <a:cubicBezTo>
                    <a:pt x="448" y="554"/>
                    <a:pt x="459" y="561"/>
                    <a:pt x="459" y="561"/>
                  </a:cubicBezTo>
                  <a:cubicBezTo>
                    <a:pt x="459" y="561"/>
                    <a:pt x="432" y="561"/>
                    <a:pt x="433" y="566"/>
                  </a:cubicBezTo>
                  <a:cubicBezTo>
                    <a:pt x="434" y="571"/>
                    <a:pt x="454" y="572"/>
                    <a:pt x="454" y="572"/>
                  </a:cubicBezTo>
                  <a:cubicBezTo>
                    <a:pt x="454" y="572"/>
                    <a:pt x="451" y="581"/>
                    <a:pt x="446" y="583"/>
                  </a:cubicBezTo>
                  <a:cubicBezTo>
                    <a:pt x="441" y="585"/>
                    <a:pt x="425" y="572"/>
                    <a:pt x="421" y="578"/>
                  </a:cubicBezTo>
                  <a:cubicBezTo>
                    <a:pt x="417" y="584"/>
                    <a:pt x="427" y="592"/>
                    <a:pt x="427" y="592"/>
                  </a:cubicBezTo>
                  <a:cubicBezTo>
                    <a:pt x="411" y="591"/>
                    <a:pt x="411" y="591"/>
                    <a:pt x="411" y="591"/>
                  </a:cubicBezTo>
                  <a:cubicBezTo>
                    <a:pt x="416" y="605"/>
                    <a:pt x="416" y="605"/>
                    <a:pt x="416" y="605"/>
                  </a:cubicBezTo>
                  <a:cubicBezTo>
                    <a:pt x="416" y="605"/>
                    <a:pt x="395" y="606"/>
                    <a:pt x="398" y="616"/>
                  </a:cubicBezTo>
                  <a:cubicBezTo>
                    <a:pt x="401" y="626"/>
                    <a:pt x="420" y="628"/>
                    <a:pt x="420" y="628"/>
                  </a:cubicBezTo>
                  <a:cubicBezTo>
                    <a:pt x="420" y="628"/>
                    <a:pt x="422" y="639"/>
                    <a:pt x="415" y="639"/>
                  </a:cubicBezTo>
                  <a:cubicBezTo>
                    <a:pt x="408" y="639"/>
                    <a:pt x="413" y="647"/>
                    <a:pt x="413" y="647"/>
                  </a:cubicBezTo>
                  <a:cubicBezTo>
                    <a:pt x="413" y="647"/>
                    <a:pt x="411" y="649"/>
                    <a:pt x="408" y="639"/>
                  </a:cubicBezTo>
                  <a:cubicBezTo>
                    <a:pt x="405" y="629"/>
                    <a:pt x="394" y="624"/>
                    <a:pt x="394" y="624"/>
                  </a:cubicBezTo>
                  <a:cubicBezTo>
                    <a:pt x="394" y="624"/>
                    <a:pt x="377" y="593"/>
                    <a:pt x="367" y="595"/>
                  </a:cubicBezTo>
                  <a:cubicBezTo>
                    <a:pt x="357" y="597"/>
                    <a:pt x="331" y="609"/>
                    <a:pt x="345" y="617"/>
                  </a:cubicBezTo>
                  <a:cubicBezTo>
                    <a:pt x="359" y="625"/>
                    <a:pt x="381" y="628"/>
                    <a:pt x="381" y="628"/>
                  </a:cubicBezTo>
                  <a:cubicBezTo>
                    <a:pt x="381" y="628"/>
                    <a:pt x="364" y="630"/>
                    <a:pt x="353" y="630"/>
                  </a:cubicBezTo>
                  <a:cubicBezTo>
                    <a:pt x="342" y="630"/>
                    <a:pt x="328" y="625"/>
                    <a:pt x="320" y="630"/>
                  </a:cubicBezTo>
                  <a:cubicBezTo>
                    <a:pt x="312" y="635"/>
                    <a:pt x="289" y="640"/>
                    <a:pt x="296" y="643"/>
                  </a:cubicBezTo>
                  <a:cubicBezTo>
                    <a:pt x="303" y="646"/>
                    <a:pt x="344" y="639"/>
                    <a:pt x="354" y="640"/>
                  </a:cubicBezTo>
                  <a:cubicBezTo>
                    <a:pt x="364" y="641"/>
                    <a:pt x="388" y="643"/>
                    <a:pt x="388" y="643"/>
                  </a:cubicBezTo>
                  <a:cubicBezTo>
                    <a:pt x="388" y="643"/>
                    <a:pt x="368" y="644"/>
                    <a:pt x="362" y="644"/>
                  </a:cubicBezTo>
                  <a:cubicBezTo>
                    <a:pt x="356" y="644"/>
                    <a:pt x="290" y="649"/>
                    <a:pt x="284" y="654"/>
                  </a:cubicBezTo>
                  <a:cubicBezTo>
                    <a:pt x="278" y="659"/>
                    <a:pt x="278" y="663"/>
                    <a:pt x="294" y="662"/>
                  </a:cubicBezTo>
                  <a:cubicBezTo>
                    <a:pt x="310" y="661"/>
                    <a:pt x="348" y="657"/>
                    <a:pt x="348" y="657"/>
                  </a:cubicBezTo>
                  <a:cubicBezTo>
                    <a:pt x="348" y="657"/>
                    <a:pt x="375" y="656"/>
                    <a:pt x="376" y="659"/>
                  </a:cubicBezTo>
                  <a:cubicBezTo>
                    <a:pt x="377" y="662"/>
                    <a:pt x="330" y="664"/>
                    <a:pt x="330" y="664"/>
                  </a:cubicBezTo>
                  <a:cubicBezTo>
                    <a:pt x="330" y="664"/>
                    <a:pt x="275" y="666"/>
                    <a:pt x="276" y="668"/>
                  </a:cubicBezTo>
                  <a:cubicBezTo>
                    <a:pt x="277" y="670"/>
                    <a:pt x="286" y="675"/>
                    <a:pt x="295" y="675"/>
                  </a:cubicBezTo>
                  <a:cubicBezTo>
                    <a:pt x="304" y="675"/>
                    <a:pt x="318" y="682"/>
                    <a:pt x="318" y="682"/>
                  </a:cubicBezTo>
                  <a:cubicBezTo>
                    <a:pt x="318" y="682"/>
                    <a:pt x="294" y="676"/>
                    <a:pt x="289" y="682"/>
                  </a:cubicBezTo>
                  <a:cubicBezTo>
                    <a:pt x="284" y="688"/>
                    <a:pt x="289" y="690"/>
                    <a:pt x="289" y="690"/>
                  </a:cubicBezTo>
                  <a:cubicBezTo>
                    <a:pt x="289" y="690"/>
                    <a:pt x="258" y="699"/>
                    <a:pt x="262" y="705"/>
                  </a:cubicBezTo>
                  <a:cubicBezTo>
                    <a:pt x="287" y="706"/>
                    <a:pt x="287" y="706"/>
                    <a:pt x="287" y="706"/>
                  </a:cubicBezTo>
                  <a:cubicBezTo>
                    <a:pt x="264" y="716"/>
                    <a:pt x="264" y="716"/>
                    <a:pt x="264" y="716"/>
                  </a:cubicBezTo>
                  <a:cubicBezTo>
                    <a:pt x="264" y="716"/>
                    <a:pt x="263" y="729"/>
                    <a:pt x="273" y="727"/>
                  </a:cubicBezTo>
                  <a:cubicBezTo>
                    <a:pt x="283" y="725"/>
                    <a:pt x="306" y="725"/>
                    <a:pt x="306" y="725"/>
                  </a:cubicBezTo>
                  <a:cubicBezTo>
                    <a:pt x="306" y="725"/>
                    <a:pt x="267" y="736"/>
                    <a:pt x="274" y="744"/>
                  </a:cubicBezTo>
                  <a:cubicBezTo>
                    <a:pt x="281" y="752"/>
                    <a:pt x="304" y="740"/>
                    <a:pt x="304" y="740"/>
                  </a:cubicBezTo>
                  <a:cubicBezTo>
                    <a:pt x="304" y="740"/>
                    <a:pt x="287" y="755"/>
                    <a:pt x="285" y="762"/>
                  </a:cubicBezTo>
                  <a:cubicBezTo>
                    <a:pt x="283" y="769"/>
                    <a:pt x="280" y="775"/>
                    <a:pt x="286" y="775"/>
                  </a:cubicBezTo>
                  <a:cubicBezTo>
                    <a:pt x="292" y="775"/>
                    <a:pt x="303" y="767"/>
                    <a:pt x="303" y="767"/>
                  </a:cubicBezTo>
                  <a:cubicBezTo>
                    <a:pt x="303" y="767"/>
                    <a:pt x="298" y="783"/>
                    <a:pt x="291" y="783"/>
                  </a:cubicBezTo>
                  <a:cubicBezTo>
                    <a:pt x="284" y="783"/>
                    <a:pt x="269" y="792"/>
                    <a:pt x="270" y="802"/>
                  </a:cubicBezTo>
                  <a:cubicBezTo>
                    <a:pt x="271" y="812"/>
                    <a:pt x="294" y="793"/>
                    <a:pt x="294" y="793"/>
                  </a:cubicBezTo>
                  <a:cubicBezTo>
                    <a:pt x="294" y="793"/>
                    <a:pt x="309" y="776"/>
                    <a:pt x="313" y="780"/>
                  </a:cubicBezTo>
                  <a:cubicBezTo>
                    <a:pt x="317" y="784"/>
                    <a:pt x="341" y="774"/>
                    <a:pt x="341" y="774"/>
                  </a:cubicBezTo>
                  <a:cubicBezTo>
                    <a:pt x="338" y="784"/>
                    <a:pt x="338" y="784"/>
                    <a:pt x="338" y="784"/>
                  </a:cubicBezTo>
                  <a:cubicBezTo>
                    <a:pt x="352" y="774"/>
                    <a:pt x="352" y="774"/>
                    <a:pt x="352" y="774"/>
                  </a:cubicBezTo>
                  <a:cubicBezTo>
                    <a:pt x="338" y="791"/>
                    <a:pt x="338" y="791"/>
                    <a:pt x="338" y="791"/>
                  </a:cubicBezTo>
                  <a:cubicBezTo>
                    <a:pt x="360" y="794"/>
                    <a:pt x="360" y="794"/>
                    <a:pt x="360" y="794"/>
                  </a:cubicBezTo>
                  <a:cubicBezTo>
                    <a:pt x="360" y="794"/>
                    <a:pt x="330" y="794"/>
                    <a:pt x="328" y="798"/>
                  </a:cubicBezTo>
                  <a:cubicBezTo>
                    <a:pt x="326" y="802"/>
                    <a:pt x="335" y="804"/>
                    <a:pt x="335" y="804"/>
                  </a:cubicBezTo>
                  <a:cubicBezTo>
                    <a:pt x="335" y="804"/>
                    <a:pt x="312" y="809"/>
                    <a:pt x="306" y="810"/>
                  </a:cubicBezTo>
                  <a:cubicBezTo>
                    <a:pt x="300" y="811"/>
                    <a:pt x="307" y="816"/>
                    <a:pt x="307" y="816"/>
                  </a:cubicBezTo>
                  <a:cubicBezTo>
                    <a:pt x="307" y="816"/>
                    <a:pt x="283" y="821"/>
                    <a:pt x="281" y="826"/>
                  </a:cubicBezTo>
                  <a:cubicBezTo>
                    <a:pt x="279" y="831"/>
                    <a:pt x="305" y="829"/>
                    <a:pt x="305" y="829"/>
                  </a:cubicBezTo>
                  <a:cubicBezTo>
                    <a:pt x="305" y="829"/>
                    <a:pt x="284" y="833"/>
                    <a:pt x="284" y="836"/>
                  </a:cubicBezTo>
                  <a:cubicBezTo>
                    <a:pt x="284" y="839"/>
                    <a:pt x="304" y="844"/>
                    <a:pt x="304" y="844"/>
                  </a:cubicBezTo>
                  <a:cubicBezTo>
                    <a:pt x="304" y="844"/>
                    <a:pt x="287" y="844"/>
                    <a:pt x="286" y="851"/>
                  </a:cubicBezTo>
                  <a:cubicBezTo>
                    <a:pt x="285" y="858"/>
                    <a:pt x="310" y="855"/>
                    <a:pt x="310" y="855"/>
                  </a:cubicBezTo>
                  <a:cubicBezTo>
                    <a:pt x="298" y="870"/>
                    <a:pt x="298" y="870"/>
                    <a:pt x="298" y="870"/>
                  </a:cubicBezTo>
                  <a:cubicBezTo>
                    <a:pt x="317" y="867"/>
                    <a:pt x="317" y="867"/>
                    <a:pt x="317" y="867"/>
                  </a:cubicBezTo>
                  <a:cubicBezTo>
                    <a:pt x="317" y="867"/>
                    <a:pt x="295" y="880"/>
                    <a:pt x="298" y="891"/>
                  </a:cubicBezTo>
                  <a:cubicBezTo>
                    <a:pt x="301" y="902"/>
                    <a:pt x="324" y="900"/>
                    <a:pt x="324" y="900"/>
                  </a:cubicBezTo>
                  <a:cubicBezTo>
                    <a:pt x="313" y="915"/>
                    <a:pt x="313" y="915"/>
                    <a:pt x="313" y="915"/>
                  </a:cubicBezTo>
                  <a:cubicBezTo>
                    <a:pt x="334" y="908"/>
                    <a:pt x="334" y="908"/>
                    <a:pt x="334" y="908"/>
                  </a:cubicBezTo>
                  <a:cubicBezTo>
                    <a:pt x="334" y="908"/>
                    <a:pt x="319" y="920"/>
                    <a:pt x="322" y="925"/>
                  </a:cubicBezTo>
                  <a:cubicBezTo>
                    <a:pt x="325" y="930"/>
                    <a:pt x="344" y="931"/>
                    <a:pt x="344" y="931"/>
                  </a:cubicBezTo>
                  <a:cubicBezTo>
                    <a:pt x="344" y="931"/>
                    <a:pt x="334" y="934"/>
                    <a:pt x="337" y="940"/>
                  </a:cubicBezTo>
                  <a:cubicBezTo>
                    <a:pt x="340" y="946"/>
                    <a:pt x="351" y="943"/>
                    <a:pt x="351" y="943"/>
                  </a:cubicBezTo>
                  <a:cubicBezTo>
                    <a:pt x="351" y="943"/>
                    <a:pt x="336" y="955"/>
                    <a:pt x="339" y="959"/>
                  </a:cubicBezTo>
                  <a:cubicBezTo>
                    <a:pt x="342" y="963"/>
                    <a:pt x="358" y="961"/>
                    <a:pt x="358" y="961"/>
                  </a:cubicBezTo>
                  <a:cubicBezTo>
                    <a:pt x="356" y="969"/>
                    <a:pt x="356" y="969"/>
                    <a:pt x="356" y="969"/>
                  </a:cubicBezTo>
                  <a:cubicBezTo>
                    <a:pt x="382" y="963"/>
                    <a:pt x="382" y="963"/>
                    <a:pt x="382" y="963"/>
                  </a:cubicBezTo>
                  <a:cubicBezTo>
                    <a:pt x="382" y="963"/>
                    <a:pt x="390" y="976"/>
                    <a:pt x="398" y="969"/>
                  </a:cubicBezTo>
                  <a:cubicBezTo>
                    <a:pt x="406" y="962"/>
                    <a:pt x="431" y="946"/>
                    <a:pt x="435" y="948"/>
                  </a:cubicBezTo>
                  <a:cubicBezTo>
                    <a:pt x="439" y="950"/>
                    <a:pt x="428" y="958"/>
                    <a:pt x="428" y="958"/>
                  </a:cubicBezTo>
                  <a:cubicBezTo>
                    <a:pt x="443" y="962"/>
                    <a:pt x="443" y="962"/>
                    <a:pt x="443" y="962"/>
                  </a:cubicBezTo>
                  <a:cubicBezTo>
                    <a:pt x="457" y="955"/>
                    <a:pt x="457" y="955"/>
                    <a:pt x="457" y="955"/>
                  </a:cubicBezTo>
                  <a:cubicBezTo>
                    <a:pt x="457" y="955"/>
                    <a:pt x="436" y="968"/>
                    <a:pt x="431" y="973"/>
                  </a:cubicBezTo>
                  <a:cubicBezTo>
                    <a:pt x="426" y="978"/>
                    <a:pt x="422" y="983"/>
                    <a:pt x="430" y="983"/>
                  </a:cubicBezTo>
                  <a:cubicBezTo>
                    <a:pt x="438" y="983"/>
                    <a:pt x="465" y="978"/>
                    <a:pt x="465" y="978"/>
                  </a:cubicBezTo>
                  <a:cubicBezTo>
                    <a:pt x="465" y="978"/>
                    <a:pt x="434" y="994"/>
                    <a:pt x="443" y="1000"/>
                  </a:cubicBezTo>
                  <a:cubicBezTo>
                    <a:pt x="452" y="1006"/>
                    <a:pt x="471" y="1000"/>
                    <a:pt x="471" y="1000"/>
                  </a:cubicBezTo>
                  <a:cubicBezTo>
                    <a:pt x="471" y="1000"/>
                    <a:pt x="481" y="1019"/>
                    <a:pt x="493" y="1012"/>
                  </a:cubicBezTo>
                  <a:cubicBezTo>
                    <a:pt x="505" y="1005"/>
                    <a:pt x="511" y="998"/>
                    <a:pt x="511" y="998"/>
                  </a:cubicBezTo>
                  <a:cubicBezTo>
                    <a:pt x="511" y="998"/>
                    <a:pt x="506" y="995"/>
                    <a:pt x="502" y="989"/>
                  </a:cubicBezTo>
                  <a:cubicBezTo>
                    <a:pt x="498" y="983"/>
                    <a:pt x="515" y="990"/>
                    <a:pt x="520" y="985"/>
                  </a:cubicBezTo>
                  <a:cubicBezTo>
                    <a:pt x="525" y="980"/>
                    <a:pt x="524" y="964"/>
                    <a:pt x="524" y="964"/>
                  </a:cubicBezTo>
                  <a:cubicBezTo>
                    <a:pt x="524" y="964"/>
                    <a:pt x="546" y="974"/>
                    <a:pt x="545" y="964"/>
                  </a:cubicBezTo>
                  <a:cubicBezTo>
                    <a:pt x="544" y="954"/>
                    <a:pt x="540" y="948"/>
                    <a:pt x="540" y="948"/>
                  </a:cubicBezTo>
                  <a:cubicBezTo>
                    <a:pt x="540" y="948"/>
                    <a:pt x="546" y="957"/>
                    <a:pt x="552" y="958"/>
                  </a:cubicBezTo>
                  <a:cubicBezTo>
                    <a:pt x="557" y="958"/>
                    <a:pt x="562" y="949"/>
                    <a:pt x="559" y="944"/>
                  </a:cubicBezTo>
                  <a:cubicBezTo>
                    <a:pt x="553" y="934"/>
                    <a:pt x="547" y="931"/>
                    <a:pt x="547" y="931"/>
                  </a:cubicBezTo>
                  <a:cubicBezTo>
                    <a:pt x="547" y="931"/>
                    <a:pt x="569" y="937"/>
                    <a:pt x="569" y="933"/>
                  </a:cubicBezTo>
                  <a:cubicBezTo>
                    <a:pt x="569" y="929"/>
                    <a:pt x="564" y="923"/>
                    <a:pt x="564" y="923"/>
                  </a:cubicBezTo>
                  <a:cubicBezTo>
                    <a:pt x="582" y="922"/>
                    <a:pt x="582" y="922"/>
                    <a:pt x="582" y="922"/>
                  </a:cubicBezTo>
                  <a:cubicBezTo>
                    <a:pt x="574" y="908"/>
                    <a:pt x="574" y="908"/>
                    <a:pt x="574" y="908"/>
                  </a:cubicBezTo>
                  <a:cubicBezTo>
                    <a:pt x="585" y="903"/>
                    <a:pt x="585" y="903"/>
                    <a:pt x="585" y="903"/>
                  </a:cubicBezTo>
                  <a:cubicBezTo>
                    <a:pt x="585" y="903"/>
                    <a:pt x="572" y="894"/>
                    <a:pt x="569" y="893"/>
                  </a:cubicBezTo>
                  <a:cubicBezTo>
                    <a:pt x="566" y="892"/>
                    <a:pt x="580" y="887"/>
                    <a:pt x="580" y="887"/>
                  </a:cubicBezTo>
                  <a:cubicBezTo>
                    <a:pt x="566" y="873"/>
                    <a:pt x="566" y="873"/>
                    <a:pt x="566" y="873"/>
                  </a:cubicBezTo>
                  <a:cubicBezTo>
                    <a:pt x="566" y="873"/>
                    <a:pt x="580" y="885"/>
                    <a:pt x="584" y="882"/>
                  </a:cubicBezTo>
                  <a:cubicBezTo>
                    <a:pt x="588" y="879"/>
                    <a:pt x="596" y="873"/>
                    <a:pt x="596" y="873"/>
                  </a:cubicBezTo>
                  <a:cubicBezTo>
                    <a:pt x="596" y="873"/>
                    <a:pt x="612" y="875"/>
                    <a:pt x="615" y="872"/>
                  </a:cubicBezTo>
                  <a:cubicBezTo>
                    <a:pt x="618" y="869"/>
                    <a:pt x="611" y="859"/>
                    <a:pt x="611" y="859"/>
                  </a:cubicBezTo>
                  <a:cubicBezTo>
                    <a:pt x="625" y="858"/>
                    <a:pt x="625" y="858"/>
                    <a:pt x="625" y="858"/>
                  </a:cubicBezTo>
                  <a:cubicBezTo>
                    <a:pt x="630" y="841"/>
                    <a:pt x="630" y="841"/>
                    <a:pt x="630" y="841"/>
                  </a:cubicBezTo>
                  <a:cubicBezTo>
                    <a:pt x="630" y="841"/>
                    <a:pt x="650" y="848"/>
                    <a:pt x="656" y="843"/>
                  </a:cubicBezTo>
                  <a:cubicBezTo>
                    <a:pt x="662" y="838"/>
                    <a:pt x="657" y="829"/>
                    <a:pt x="657" y="829"/>
                  </a:cubicBezTo>
                  <a:cubicBezTo>
                    <a:pt x="657" y="829"/>
                    <a:pt x="664" y="839"/>
                    <a:pt x="671" y="839"/>
                  </a:cubicBezTo>
                  <a:cubicBezTo>
                    <a:pt x="675" y="839"/>
                    <a:pt x="678" y="830"/>
                    <a:pt x="680" y="828"/>
                  </a:cubicBezTo>
                  <a:cubicBezTo>
                    <a:pt x="685" y="821"/>
                    <a:pt x="680" y="811"/>
                    <a:pt x="680" y="811"/>
                  </a:cubicBezTo>
                  <a:cubicBezTo>
                    <a:pt x="655" y="807"/>
                    <a:pt x="655" y="807"/>
                    <a:pt x="655" y="807"/>
                  </a:cubicBezTo>
                  <a:cubicBezTo>
                    <a:pt x="673" y="802"/>
                    <a:pt x="673" y="802"/>
                    <a:pt x="673" y="802"/>
                  </a:cubicBezTo>
                  <a:cubicBezTo>
                    <a:pt x="693" y="794"/>
                    <a:pt x="693" y="794"/>
                    <a:pt x="693" y="794"/>
                  </a:cubicBezTo>
                  <a:cubicBezTo>
                    <a:pt x="694" y="780"/>
                    <a:pt x="694" y="780"/>
                    <a:pt x="694" y="780"/>
                  </a:cubicBezTo>
                  <a:cubicBezTo>
                    <a:pt x="681" y="777"/>
                    <a:pt x="681" y="777"/>
                    <a:pt x="681" y="777"/>
                  </a:cubicBezTo>
                  <a:cubicBezTo>
                    <a:pt x="686" y="765"/>
                    <a:pt x="686" y="765"/>
                    <a:pt x="686" y="765"/>
                  </a:cubicBezTo>
                  <a:cubicBezTo>
                    <a:pt x="707" y="765"/>
                    <a:pt x="707" y="765"/>
                    <a:pt x="707" y="765"/>
                  </a:cubicBezTo>
                  <a:cubicBezTo>
                    <a:pt x="707" y="765"/>
                    <a:pt x="721" y="769"/>
                    <a:pt x="728" y="763"/>
                  </a:cubicBezTo>
                  <a:cubicBezTo>
                    <a:pt x="735" y="757"/>
                    <a:pt x="730" y="745"/>
                    <a:pt x="730" y="745"/>
                  </a:cubicBezTo>
                  <a:cubicBezTo>
                    <a:pt x="752" y="741"/>
                    <a:pt x="752" y="741"/>
                    <a:pt x="752" y="741"/>
                  </a:cubicBezTo>
                  <a:cubicBezTo>
                    <a:pt x="752" y="741"/>
                    <a:pt x="783" y="747"/>
                    <a:pt x="791" y="740"/>
                  </a:cubicBezTo>
                  <a:cubicBezTo>
                    <a:pt x="799" y="733"/>
                    <a:pt x="802" y="726"/>
                    <a:pt x="802" y="726"/>
                  </a:cubicBezTo>
                  <a:cubicBezTo>
                    <a:pt x="811" y="721"/>
                    <a:pt x="811" y="721"/>
                    <a:pt x="811" y="721"/>
                  </a:cubicBezTo>
                  <a:cubicBezTo>
                    <a:pt x="811" y="721"/>
                    <a:pt x="813" y="710"/>
                    <a:pt x="824" y="708"/>
                  </a:cubicBezTo>
                  <a:cubicBezTo>
                    <a:pt x="835" y="706"/>
                    <a:pt x="804" y="740"/>
                    <a:pt x="812" y="740"/>
                  </a:cubicBezTo>
                  <a:cubicBezTo>
                    <a:pt x="820" y="740"/>
                    <a:pt x="828" y="738"/>
                    <a:pt x="828" y="738"/>
                  </a:cubicBezTo>
                  <a:cubicBezTo>
                    <a:pt x="832" y="725"/>
                    <a:pt x="832" y="725"/>
                    <a:pt x="832" y="725"/>
                  </a:cubicBezTo>
                  <a:cubicBezTo>
                    <a:pt x="841" y="727"/>
                    <a:pt x="841" y="727"/>
                    <a:pt x="841" y="727"/>
                  </a:cubicBezTo>
                  <a:cubicBezTo>
                    <a:pt x="849" y="718"/>
                    <a:pt x="849" y="718"/>
                    <a:pt x="849" y="718"/>
                  </a:cubicBezTo>
                  <a:cubicBezTo>
                    <a:pt x="849" y="718"/>
                    <a:pt x="866" y="733"/>
                    <a:pt x="878" y="725"/>
                  </a:cubicBezTo>
                  <a:cubicBezTo>
                    <a:pt x="890" y="717"/>
                    <a:pt x="907" y="704"/>
                    <a:pt x="907" y="704"/>
                  </a:cubicBezTo>
                  <a:cubicBezTo>
                    <a:pt x="907" y="704"/>
                    <a:pt x="923" y="709"/>
                    <a:pt x="950" y="698"/>
                  </a:cubicBezTo>
                  <a:cubicBezTo>
                    <a:pt x="977" y="687"/>
                    <a:pt x="974" y="670"/>
                    <a:pt x="992" y="658"/>
                  </a:cubicBezTo>
                  <a:cubicBezTo>
                    <a:pt x="1010" y="646"/>
                    <a:pt x="1052" y="634"/>
                    <a:pt x="1052" y="634"/>
                  </a:cubicBezTo>
                  <a:cubicBezTo>
                    <a:pt x="1052" y="634"/>
                    <a:pt x="1055" y="625"/>
                    <a:pt x="1054" y="619"/>
                  </a:cubicBezTo>
                  <a:cubicBezTo>
                    <a:pt x="1053" y="613"/>
                    <a:pt x="1046" y="601"/>
                    <a:pt x="1053" y="599"/>
                  </a:cubicBezTo>
                  <a:cubicBezTo>
                    <a:pt x="1060" y="597"/>
                    <a:pt x="1071" y="625"/>
                    <a:pt x="1082" y="625"/>
                  </a:cubicBezTo>
                  <a:cubicBezTo>
                    <a:pt x="1082" y="625"/>
                    <a:pt x="1124" y="624"/>
                    <a:pt x="1135" y="622"/>
                  </a:cubicBezTo>
                  <a:cubicBezTo>
                    <a:pt x="1146" y="620"/>
                    <a:pt x="1167" y="609"/>
                    <a:pt x="1190" y="606"/>
                  </a:cubicBezTo>
                  <a:cubicBezTo>
                    <a:pt x="1213" y="603"/>
                    <a:pt x="1253" y="600"/>
                    <a:pt x="1260" y="598"/>
                  </a:cubicBezTo>
                  <a:cubicBezTo>
                    <a:pt x="1267" y="596"/>
                    <a:pt x="1273" y="589"/>
                    <a:pt x="1273" y="589"/>
                  </a:cubicBezTo>
                  <a:cubicBezTo>
                    <a:pt x="1291" y="589"/>
                    <a:pt x="1291" y="589"/>
                    <a:pt x="1291" y="589"/>
                  </a:cubicBezTo>
                  <a:cubicBezTo>
                    <a:pt x="1300" y="578"/>
                    <a:pt x="1300" y="578"/>
                    <a:pt x="1300" y="578"/>
                  </a:cubicBezTo>
                  <a:cubicBezTo>
                    <a:pt x="1317" y="578"/>
                    <a:pt x="1317" y="578"/>
                    <a:pt x="1317" y="578"/>
                  </a:cubicBezTo>
                  <a:cubicBezTo>
                    <a:pt x="1317" y="578"/>
                    <a:pt x="1335" y="561"/>
                    <a:pt x="1339" y="558"/>
                  </a:cubicBezTo>
                  <a:cubicBezTo>
                    <a:pt x="1343" y="555"/>
                    <a:pt x="1369" y="553"/>
                    <a:pt x="1369" y="553"/>
                  </a:cubicBezTo>
                  <a:cubicBezTo>
                    <a:pt x="1401" y="542"/>
                    <a:pt x="1401" y="542"/>
                    <a:pt x="1401" y="542"/>
                  </a:cubicBezTo>
                  <a:cubicBezTo>
                    <a:pt x="1422" y="537"/>
                    <a:pt x="1422" y="537"/>
                    <a:pt x="1422" y="537"/>
                  </a:cubicBezTo>
                  <a:cubicBezTo>
                    <a:pt x="1427" y="529"/>
                    <a:pt x="1427" y="529"/>
                    <a:pt x="1427" y="529"/>
                  </a:cubicBezTo>
                  <a:cubicBezTo>
                    <a:pt x="1427" y="529"/>
                    <a:pt x="1407" y="531"/>
                    <a:pt x="1395" y="531"/>
                  </a:cubicBezTo>
                  <a:cubicBezTo>
                    <a:pt x="1383" y="531"/>
                    <a:pt x="1375" y="524"/>
                    <a:pt x="1360" y="522"/>
                  </a:cubicBezTo>
                  <a:cubicBezTo>
                    <a:pt x="1345" y="520"/>
                    <a:pt x="1317" y="520"/>
                    <a:pt x="1303" y="524"/>
                  </a:cubicBezTo>
                  <a:cubicBezTo>
                    <a:pt x="1289" y="528"/>
                    <a:pt x="1269" y="528"/>
                    <a:pt x="1269" y="528"/>
                  </a:cubicBezTo>
                  <a:cubicBezTo>
                    <a:pt x="1259" y="537"/>
                    <a:pt x="1259" y="537"/>
                    <a:pt x="1259" y="537"/>
                  </a:cubicBezTo>
                  <a:cubicBezTo>
                    <a:pt x="1259" y="537"/>
                    <a:pt x="1214" y="541"/>
                    <a:pt x="1221" y="535"/>
                  </a:cubicBezTo>
                  <a:cubicBezTo>
                    <a:pt x="1228" y="529"/>
                    <a:pt x="1288" y="520"/>
                    <a:pt x="1288" y="520"/>
                  </a:cubicBezTo>
                  <a:cubicBezTo>
                    <a:pt x="1288" y="520"/>
                    <a:pt x="1348" y="508"/>
                    <a:pt x="1333" y="499"/>
                  </a:cubicBezTo>
                  <a:cubicBezTo>
                    <a:pt x="1318" y="490"/>
                    <a:pt x="1310" y="490"/>
                    <a:pt x="1310" y="490"/>
                  </a:cubicBezTo>
                  <a:cubicBezTo>
                    <a:pt x="1310" y="490"/>
                    <a:pt x="1255" y="508"/>
                    <a:pt x="1249" y="511"/>
                  </a:cubicBezTo>
                  <a:cubicBezTo>
                    <a:pt x="1243" y="514"/>
                    <a:pt x="1217" y="512"/>
                    <a:pt x="1217" y="512"/>
                  </a:cubicBezTo>
                  <a:cubicBezTo>
                    <a:pt x="1241" y="500"/>
                    <a:pt x="1241" y="500"/>
                    <a:pt x="1241" y="500"/>
                  </a:cubicBezTo>
                  <a:cubicBezTo>
                    <a:pt x="1255" y="489"/>
                    <a:pt x="1255" y="489"/>
                    <a:pt x="1255" y="489"/>
                  </a:cubicBezTo>
                  <a:cubicBezTo>
                    <a:pt x="1255" y="489"/>
                    <a:pt x="1279" y="493"/>
                    <a:pt x="1286" y="491"/>
                  </a:cubicBezTo>
                  <a:cubicBezTo>
                    <a:pt x="1293" y="489"/>
                    <a:pt x="1311" y="485"/>
                    <a:pt x="1319" y="485"/>
                  </a:cubicBezTo>
                  <a:cubicBezTo>
                    <a:pt x="1327" y="485"/>
                    <a:pt x="1349" y="483"/>
                    <a:pt x="1337" y="477"/>
                  </a:cubicBezTo>
                  <a:cubicBezTo>
                    <a:pt x="1325" y="471"/>
                    <a:pt x="1287" y="470"/>
                    <a:pt x="1287" y="470"/>
                  </a:cubicBezTo>
                  <a:cubicBezTo>
                    <a:pt x="1255" y="472"/>
                    <a:pt x="1255" y="472"/>
                    <a:pt x="1255" y="472"/>
                  </a:cubicBezTo>
                  <a:cubicBezTo>
                    <a:pt x="1271" y="465"/>
                    <a:pt x="1271" y="465"/>
                    <a:pt x="1271" y="465"/>
                  </a:cubicBezTo>
                  <a:cubicBezTo>
                    <a:pt x="1255" y="455"/>
                    <a:pt x="1255" y="455"/>
                    <a:pt x="1255" y="455"/>
                  </a:cubicBezTo>
                  <a:cubicBezTo>
                    <a:pt x="1255" y="455"/>
                    <a:pt x="1253" y="446"/>
                    <a:pt x="1257" y="446"/>
                  </a:cubicBezTo>
                  <a:cubicBezTo>
                    <a:pt x="1261" y="446"/>
                    <a:pt x="1281" y="463"/>
                    <a:pt x="1294" y="464"/>
                  </a:cubicBezTo>
                  <a:cubicBezTo>
                    <a:pt x="1307" y="465"/>
                    <a:pt x="1348" y="477"/>
                    <a:pt x="1348" y="477"/>
                  </a:cubicBezTo>
                  <a:cubicBezTo>
                    <a:pt x="1348" y="477"/>
                    <a:pt x="1366" y="469"/>
                    <a:pt x="1367" y="478"/>
                  </a:cubicBezTo>
                  <a:cubicBezTo>
                    <a:pt x="1368" y="487"/>
                    <a:pt x="1356" y="501"/>
                    <a:pt x="1377" y="507"/>
                  </a:cubicBezTo>
                  <a:cubicBezTo>
                    <a:pt x="1398" y="513"/>
                    <a:pt x="1421" y="514"/>
                    <a:pt x="1421" y="514"/>
                  </a:cubicBezTo>
                  <a:cubicBezTo>
                    <a:pt x="1421" y="514"/>
                    <a:pt x="1423" y="499"/>
                    <a:pt x="1427" y="502"/>
                  </a:cubicBezTo>
                  <a:cubicBezTo>
                    <a:pt x="1431" y="505"/>
                    <a:pt x="1427" y="520"/>
                    <a:pt x="1436" y="520"/>
                  </a:cubicBezTo>
                  <a:cubicBezTo>
                    <a:pt x="1445" y="520"/>
                    <a:pt x="1457" y="510"/>
                    <a:pt x="1457" y="510"/>
                  </a:cubicBezTo>
                  <a:cubicBezTo>
                    <a:pt x="1457" y="494"/>
                    <a:pt x="1457" y="494"/>
                    <a:pt x="1457" y="494"/>
                  </a:cubicBezTo>
                  <a:cubicBezTo>
                    <a:pt x="1451" y="492"/>
                    <a:pt x="1451" y="492"/>
                    <a:pt x="1451" y="492"/>
                  </a:cubicBezTo>
                  <a:cubicBezTo>
                    <a:pt x="1451" y="492"/>
                    <a:pt x="1465" y="481"/>
                    <a:pt x="1459" y="476"/>
                  </a:cubicBezTo>
                  <a:cubicBezTo>
                    <a:pt x="1453" y="471"/>
                    <a:pt x="1442" y="477"/>
                    <a:pt x="1442" y="477"/>
                  </a:cubicBezTo>
                  <a:cubicBezTo>
                    <a:pt x="1436" y="462"/>
                    <a:pt x="1436" y="462"/>
                    <a:pt x="1436" y="462"/>
                  </a:cubicBezTo>
                  <a:cubicBezTo>
                    <a:pt x="1425" y="459"/>
                    <a:pt x="1425" y="459"/>
                    <a:pt x="1425" y="459"/>
                  </a:cubicBezTo>
                  <a:cubicBezTo>
                    <a:pt x="1428" y="449"/>
                    <a:pt x="1428" y="449"/>
                    <a:pt x="1428" y="449"/>
                  </a:cubicBezTo>
                  <a:cubicBezTo>
                    <a:pt x="1380" y="430"/>
                    <a:pt x="1380" y="430"/>
                    <a:pt x="1380" y="430"/>
                  </a:cubicBezTo>
                  <a:cubicBezTo>
                    <a:pt x="1353" y="437"/>
                    <a:pt x="1353" y="437"/>
                    <a:pt x="1353" y="437"/>
                  </a:cubicBezTo>
                  <a:cubicBezTo>
                    <a:pt x="1347" y="434"/>
                    <a:pt x="1347" y="434"/>
                    <a:pt x="1347" y="434"/>
                  </a:cubicBezTo>
                  <a:cubicBezTo>
                    <a:pt x="1369" y="427"/>
                    <a:pt x="1369" y="427"/>
                    <a:pt x="1369" y="427"/>
                  </a:cubicBezTo>
                  <a:cubicBezTo>
                    <a:pt x="1371" y="424"/>
                    <a:pt x="1371" y="424"/>
                    <a:pt x="1371" y="424"/>
                  </a:cubicBezTo>
                  <a:cubicBezTo>
                    <a:pt x="1371" y="424"/>
                    <a:pt x="1370" y="415"/>
                    <a:pt x="1353" y="415"/>
                  </a:cubicBezTo>
                  <a:cubicBezTo>
                    <a:pt x="1336" y="415"/>
                    <a:pt x="1303" y="412"/>
                    <a:pt x="1303" y="412"/>
                  </a:cubicBezTo>
                  <a:cubicBezTo>
                    <a:pt x="1314" y="398"/>
                    <a:pt x="1314" y="398"/>
                    <a:pt x="1314" y="398"/>
                  </a:cubicBezTo>
                  <a:cubicBezTo>
                    <a:pt x="1314" y="398"/>
                    <a:pt x="1327" y="396"/>
                    <a:pt x="1337" y="400"/>
                  </a:cubicBezTo>
                  <a:cubicBezTo>
                    <a:pt x="1347" y="404"/>
                    <a:pt x="1363" y="393"/>
                    <a:pt x="1363" y="393"/>
                  </a:cubicBezTo>
                  <a:cubicBezTo>
                    <a:pt x="1381" y="390"/>
                    <a:pt x="1381" y="390"/>
                    <a:pt x="1381" y="390"/>
                  </a:cubicBezTo>
                  <a:cubicBezTo>
                    <a:pt x="1413" y="400"/>
                    <a:pt x="1413" y="400"/>
                    <a:pt x="1413" y="400"/>
                  </a:cubicBezTo>
                  <a:cubicBezTo>
                    <a:pt x="1427" y="397"/>
                    <a:pt x="1427" y="397"/>
                    <a:pt x="1427" y="397"/>
                  </a:cubicBezTo>
                  <a:cubicBezTo>
                    <a:pt x="1427" y="397"/>
                    <a:pt x="1453" y="418"/>
                    <a:pt x="1464" y="418"/>
                  </a:cubicBezTo>
                  <a:cubicBezTo>
                    <a:pt x="1475" y="418"/>
                    <a:pt x="1471" y="404"/>
                    <a:pt x="1471" y="404"/>
                  </a:cubicBezTo>
                  <a:cubicBezTo>
                    <a:pt x="1445" y="400"/>
                    <a:pt x="1445" y="400"/>
                    <a:pt x="1445" y="400"/>
                  </a:cubicBezTo>
                  <a:cubicBezTo>
                    <a:pt x="1425" y="390"/>
                    <a:pt x="1425" y="390"/>
                    <a:pt x="1425" y="390"/>
                  </a:cubicBezTo>
                  <a:cubicBezTo>
                    <a:pt x="1394" y="387"/>
                    <a:pt x="1394" y="387"/>
                    <a:pt x="1394" y="387"/>
                  </a:cubicBezTo>
                  <a:cubicBezTo>
                    <a:pt x="1394" y="387"/>
                    <a:pt x="1401" y="378"/>
                    <a:pt x="1408" y="375"/>
                  </a:cubicBezTo>
                  <a:cubicBezTo>
                    <a:pt x="1415" y="372"/>
                    <a:pt x="1432" y="390"/>
                    <a:pt x="1448" y="390"/>
                  </a:cubicBezTo>
                  <a:cubicBezTo>
                    <a:pt x="1464" y="390"/>
                    <a:pt x="1492" y="391"/>
                    <a:pt x="1492" y="391"/>
                  </a:cubicBezTo>
                  <a:cubicBezTo>
                    <a:pt x="1534" y="386"/>
                    <a:pt x="1534" y="386"/>
                    <a:pt x="1534" y="386"/>
                  </a:cubicBezTo>
                  <a:cubicBezTo>
                    <a:pt x="1535" y="368"/>
                    <a:pt x="1535" y="368"/>
                    <a:pt x="1535" y="368"/>
                  </a:cubicBezTo>
                  <a:cubicBezTo>
                    <a:pt x="1506" y="361"/>
                    <a:pt x="1506" y="361"/>
                    <a:pt x="1506" y="361"/>
                  </a:cubicBezTo>
                  <a:cubicBezTo>
                    <a:pt x="1491" y="371"/>
                    <a:pt x="1491" y="371"/>
                    <a:pt x="1491" y="371"/>
                  </a:cubicBezTo>
                  <a:cubicBezTo>
                    <a:pt x="1491" y="371"/>
                    <a:pt x="1477" y="359"/>
                    <a:pt x="1481" y="355"/>
                  </a:cubicBezTo>
                  <a:cubicBezTo>
                    <a:pt x="1485" y="351"/>
                    <a:pt x="1517" y="354"/>
                    <a:pt x="1517" y="354"/>
                  </a:cubicBezTo>
                  <a:cubicBezTo>
                    <a:pt x="1546" y="346"/>
                    <a:pt x="1546" y="346"/>
                    <a:pt x="1546" y="346"/>
                  </a:cubicBezTo>
                  <a:cubicBezTo>
                    <a:pt x="1546" y="346"/>
                    <a:pt x="1563" y="356"/>
                    <a:pt x="1576" y="352"/>
                  </a:cubicBezTo>
                  <a:cubicBezTo>
                    <a:pt x="1589" y="348"/>
                    <a:pt x="1602" y="339"/>
                    <a:pt x="1597" y="337"/>
                  </a:cubicBezTo>
                  <a:cubicBezTo>
                    <a:pt x="1592" y="335"/>
                    <a:pt x="1550" y="334"/>
                    <a:pt x="1546" y="334"/>
                  </a:cubicBezTo>
                  <a:cubicBezTo>
                    <a:pt x="1542" y="334"/>
                    <a:pt x="1550" y="326"/>
                    <a:pt x="1538" y="323"/>
                  </a:cubicBezTo>
                  <a:cubicBezTo>
                    <a:pt x="1526" y="320"/>
                    <a:pt x="1498" y="321"/>
                    <a:pt x="1498" y="321"/>
                  </a:cubicBezTo>
                  <a:cubicBezTo>
                    <a:pt x="1498" y="321"/>
                    <a:pt x="1532" y="320"/>
                    <a:pt x="1535" y="314"/>
                  </a:cubicBezTo>
                  <a:cubicBezTo>
                    <a:pt x="1538" y="308"/>
                    <a:pt x="1499" y="301"/>
                    <a:pt x="1499" y="301"/>
                  </a:cubicBezTo>
                  <a:cubicBezTo>
                    <a:pt x="1499" y="301"/>
                    <a:pt x="1521" y="296"/>
                    <a:pt x="1528" y="299"/>
                  </a:cubicBezTo>
                  <a:cubicBezTo>
                    <a:pt x="1535" y="302"/>
                    <a:pt x="1559" y="310"/>
                    <a:pt x="1565" y="308"/>
                  </a:cubicBezTo>
                  <a:cubicBezTo>
                    <a:pt x="1571" y="306"/>
                    <a:pt x="1573" y="320"/>
                    <a:pt x="1583" y="316"/>
                  </a:cubicBezTo>
                  <a:cubicBezTo>
                    <a:pt x="1593" y="312"/>
                    <a:pt x="1601" y="294"/>
                    <a:pt x="1594" y="289"/>
                  </a:cubicBezTo>
                  <a:cubicBezTo>
                    <a:pt x="1587" y="284"/>
                    <a:pt x="1570" y="272"/>
                    <a:pt x="1570" y="272"/>
                  </a:cubicBezTo>
                  <a:cubicBezTo>
                    <a:pt x="1531" y="264"/>
                    <a:pt x="1531" y="264"/>
                    <a:pt x="1531" y="264"/>
                  </a:cubicBezTo>
                  <a:cubicBezTo>
                    <a:pt x="1531" y="264"/>
                    <a:pt x="1513" y="256"/>
                    <a:pt x="1520" y="250"/>
                  </a:cubicBezTo>
                  <a:cubicBezTo>
                    <a:pt x="1527" y="244"/>
                    <a:pt x="1549" y="249"/>
                    <a:pt x="1549" y="249"/>
                  </a:cubicBezTo>
                  <a:cubicBezTo>
                    <a:pt x="1580" y="242"/>
                    <a:pt x="1580" y="242"/>
                    <a:pt x="1580" y="242"/>
                  </a:cubicBezTo>
                  <a:cubicBezTo>
                    <a:pt x="1580" y="242"/>
                    <a:pt x="1591" y="244"/>
                    <a:pt x="1623" y="246"/>
                  </a:cubicBezTo>
                  <a:cubicBezTo>
                    <a:pt x="1655" y="248"/>
                    <a:pt x="1670" y="225"/>
                    <a:pt x="1647" y="223"/>
                  </a:cubicBezTo>
                  <a:cubicBezTo>
                    <a:pt x="1624" y="221"/>
                    <a:pt x="1590" y="221"/>
                    <a:pt x="1590" y="221"/>
                  </a:cubicBezTo>
                  <a:cubicBezTo>
                    <a:pt x="1589" y="211"/>
                    <a:pt x="1589" y="211"/>
                    <a:pt x="1589" y="211"/>
                  </a:cubicBezTo>
                  <a:cubicBezTo>
                    <a:pt x="1609" y="210"/>
                    <a:pt x="1609" y="210"/>
                    <a:pt x="1609" y="210"/>
                  </a:cubicBezTo>
                  <a:cubicBezTo>
                    <a:pt x="1609" y="210"/>
                    <a:pt x="1603" y="195"/>
                    <a:pt x="1587" y="197"/>
                  </a:cubicBezTo>
                  <a:cubicBezTo>
                    <a:pt x="1571" y="199"/>
                    <a:pt x="1583" y="215"/>
                    <a:pt x="1574" y="216"/>
                  </a:cubicBezTo>
                  <a:cubicBezTo>
                    <a:pt x="1565" y="217"/>
                    <a:pt x="1540" y="204"/>
                    <a:pt x="1549" y="201"/>
                  </a:cubicBezTo>
                  <a:cubicBezTo>
                    <a:pt x="1558" y="198"/>
                    <a:pt x="1582" y="193"/>
                    <a:pt x="1585" y="185"/>
                  </a:cubicBezTo>
                  <a:cubicBezTo>
                    <a:pt x="1588" y="177"/>
                    <a:pt x="1598" y="165"/>
                    <a:pt x="1601" y="164"/>
                  </a:cubicBezTo>
                  <a:cubicBezTo>
                    <a:pt x="1604" y="163"/>
                    <a:pt x="1618" y="170"/>
                    <a:pt x="1627" y="165"/>
                  </a:cubicBezTo>
                  <a:cubicBezTo>
                    <a:pt x="1636" y="160"/>
                    <a:pt x="1649" y="151"/>
                    <a:pt x="1649" y="151"/>
                  </a:cubicBezTo>
                  <a:cubicBezTo>
                    <a:pt x="1639" y="141"/>
                    <a:pt x="1639" y="141"/>
                    <a:pt x="1639" y="141"/>
                  </a:cubicBezTo>
                  <a:cubicBezTo>
                    <a:pt x="1639" y="141"/>
                    <a:pt x="1665" y="128"/>
                    <a:pt x="1671" y="128"/>
                  </a:cubicBezTo>
                  <a:cubicBezTo>
                    <a:pt x="1677" y="128"/>
                    <a:pt x="1687" y="138"/>
                    <a:pt x="1695" y="132"/>
                  </a:cubicBezTo>
                  <a:cubicBezTo>
                    <a:pt x="1703" y="126"/>
                    <a:pt x="1723" y="122"/>
                    <a:pt x="1711" y="119"/>
                  </a:cubicBezTo>
                  <a:cubicBezTo>
                    <a:pt x="1699" y="116"/>
                    <a:pt x="1670" y="119"/>
                    <a:pt x="1670" y="119"/>
                  </a:cubicBezTo>
                  <a:cubicBezTo>
                    <a:pt x="1670" y="119"/>
                    <a:pt x="1615" y="134"/>
                    <a:pt x="1626" y="123"/>
                  </a:cubicBezTo>
                  <a:cubicBezTo>
                    <a:pt x="1637" y="112"/>
                    <a:pt x="1659" y="111"/>
                    <a:pt x="1659" y="111"/>
                  </a:cubicBezTo>
                  <a:cubicBezTo>
                    <a:pt x="1659" y="111"/>
                    <a:pt x="1700" y="113"/>
                    <a:pt x="1721" y="112"/>
                  </a:cubicBezTo>
                  <a:cubicBezTo>
                    <a:pt x="1742" y="111"/>
                    <a:pt x="1758" y="104"/>
                    <a:pt x="1758" y="104"/>
                  </a:cubicBezTo>
                  <a:cubicBezTo>
                    <a:pt x="1758" y="104"/>
                    <a:pt x="1723" y="95"/>
                    <a:pt x="1717" y="98"/>
                  </a:cubicBezTo>
                  <a:cubicBezTo>
                    <a:pt x="1711" y="101"/>
                    <a:pt x="1672" y="102"/>
                    <a:pt x="1672" y="102"/>
                  </a:cubicBezTo>
                  <a:cubicBezTo>
                    <a:pt x="1672" y="102"/>
                    <a:pt x="1625" y="105"/>
                    <a:pt x="1642" y="100"/>
                  </a:cubicBezTo>
                  <a:cubicBezTo>
                    <a:pt x="1659" y="95"/>
                    <a:pt x="1710" y="94"/>
                    <a:pt x="1710" y="94"/>
                  </a:cubicBezTo>
                  <a:cubicBezTo>
                    <a:pt x="1710" y="94"/>
                    <a:pt x="1776" y="95"/>
                    <a:pt x="1787" y="92"/>
                  </a:cubicBezTo>
                  <a:cubicBezTo>
                    <a:pt x="1798" y="89"/>
                    <a:pt x="1807" y="79"/>
                    <a:pt x="1807" y="79"/>
                  </a:cubicBezTo>
                  <a:cubicBezTo>
                    <a:pt x="1807" y="79"/>
                    <a:pt x="1834" y="80"/>
                    <a:pt x="1851" y="78"/>
                  </a:cubicBezTo>
                  <a:cubicBezTo>
                    <a:pt x="1868" y="76"/>
                    <a:pt x="1891" y="67"/>
                    <a:pt x="1891" y="67"/>
                  </a:cubicBezTo>
                  <a:cubicBezTo>
                    <a:pt x="1891" y="67"/>
                    <a:pt x="1865" y="57"/>
                    <a:pt x="1845" y="57"/>
                  </a:cubicBezTo>
                  <a:close/>
                  <a:moveTo>
                    <a:pt x="345" y="566"/>
                  </a:moveTo>
                  <a:cubicBezTo>
                    <a:pt x="353" y="568"/>
                    <a:pt x="353" y="568"/>
                    <a:pt x="353" y="568"/>
                  </a:cubicBezTo>
                  <a:cubicBezTo>
                    <a:pt x="353" y="568"/>
                    <a:pt x="371" y="564"/>
                    <a:pt x="377" y="564"/>
                  </a:cubicBezTo>
                  <a:cubicBezTo>
                    <a:pt x="383" y="564"/>
                    <a:pt x="397" y="554"/>
                    <a:pt x="395" y="546"/>
                  </a:cubicBezTo>
                  <a:cubicBezTo>
                    <a:pt x="393" y="538"/>
                    <a:pt x="371" y="534"/>
                    <a:pt x="371" y="534"/>
                  </a:cubicBezTo>
                  <a:cubicBezTo>
                    <a:pt x="371" y="534"/>
                    <a:pt x="361" y="526"/>
                    <a:pt x="351" y="526"/>
                  </a:cubicBezTo>
                  <a:cubicBezTo>
                    <a:pt x="341" y="526"/>
                    <a:pt x="337" y="532"/>
                    <a:pt x="321" y="526"/>
                  </a:cubicBezTo>
                  <a:cubicBezTo>
                    <a:pt x="317" y="542"/>
                    <a:pt x="317" y="542"/>
                    <a:pt x="317" y="542"/>
                  </a:cubicBezTo>
                  <a:cubicBezTo>
                    <a:pt x="317" y="542"/>
                    <a:pt x="309" y="546"/>
                    <a:pt x="309" y="552"/>
                  </a:cubicBezTo>
                  <a:cubicBezTo>
                    <a:pt x="309" y="558"/>
                    <a:pt x="321" y="564"/>
                    <a:pt x="321" y="564"/>
                  </a:cubicBezTo>
                  <a:cubicBezTo>
                    <a:pt x="317" y="572"/>
                    <a:pt x="317" y="572"/>
                    <a:pt x="317" y="572"/>
                  </a:cubicBezTo>
                  <a:lnTo>
                    <a:pt x="345" y="566"/>
                  </a:lnTo>
                  <a:close/>
                  <a:moveTo>
                    <a:pt x="2531" y="1160"/>
                  </a:moveTo>
                  <a:cubicBezTo>
                    <a:pt x="2535" y="1157"/>
                    <a:pt x="2548" y="1143"/>
                    <a:pt x="2545" y="1138"/>
                  </a:cubicBezTo>
                  <a:cubicBezTo>
                    <a:pt x="2542" y="1133"/>
                    <a:pt x="2538" y="1126"/>
                    <a:pt x="2538" y="1126"/>
                  </a:cubicBezTo>
                  <a:cubicBezTo>
                    <a:pt x="2538" y="1126"/>
                    <a:pt x="2520" y="1124"/>
                    <a:pt x="2519" y="1127"/>
                  </a:cubicBezTo>
                  <a:cubicBezTo>
                    <a:pt x="2518" y="1130"/>
                    <a:pt x="2498" y="1155"/>
                    <a:pt x="2498" y="1160"/>
                  </a:cubicBezTo>
                  <a:cubicBezTo>
                    <a:pt x="2498" y="1165"/>
                    <a:pt x="2501" y="1177"/>
                    <a:pt x="2501" y="1177"/>
                  </a:cubicBezTo>
                  <a:cubicBezTo>
                    <a:pt x="2488" y="1166"/>
                    <a:pt x="2488" y="1166"/>
                    <a:pt x="2488" y="1166"/>
                  </a:cubicBezTo>
                  <a:cubicBezTo>
                    <a:pt x="2482" y="1145"/>
                    <a:pt x="2482" y="1145"/>
                    <a:pt x="2482" y="1145"/>
                  </a:cubicBezTo>
                  <a:cubicBezTo>
                    <a:pt x="2482" y="1145"/>
                    <a:pt x="2457" y="1161"/>
                    <a:pt x="2458" y="1164"/>
                  </a:cubicBezTo>
                  <a:cubicBezTo>
                    <a:pt x="2459" y="1167"/>
                    <a:pt x="2472" y="1165"/>
                    <a:pt x="2473" y="1168"/>
                  </a:cubicBezTo>
                  <a:cubicBezTo>
                    <a:pt x="2474" y="1171"/>
                    <a:pt x="2483" y="1185"/>
                    <a:pt x="2483" y="1185"/>
                  </a:cubicBezTo>
                  <a:cubicBezTo>
                    <a:pt x="2460" y="1181"/>
                    <a:pt x="2460" y="1181"/>
                    <a:pt x="2460" y="1181"/>
                  </a:cubicBezTo>
                  <a:cubicBezTo>
                    <a:pt x="2460" y="1181"/>
                    <a:pt x="2448" y="1196"/>
                    <a:pt x="2449" y="1204"/>
                  </a:cubicBezTo>
                  <a:cubicBezTo>
                    <a:pt x="2450" y="1212"/>
                    <a:pt x="2466" y="1214"/>
                    <a:pt x="2466" y="1214"/>
                  </a:cubicBezTo>
                  <a:cubicBezTo>
                    <a:pt x="2466" y="1214"/>
                    <a:pt x="2452" y="1230"/>
                    <a:pt x="2455" y="1232"/>
                  </a:cubicBezTo>
                  <a:cubicBezTo>
                    <a:pt x="2458" y="1234"/>
                    <a:pt x="2472" y="1234"/>
                    <a:pt x="2472" y="1234"/>
                  </a:cubicBezTo>
                  <a:cubicBezTo>
                    <a:pt x="2471" y="1249"/>
                    <a:pt x="2471" y="1249"/>
                    <a:pt x="2471" y="1249"/>
                  </a:cubicBezTo>
                  <a:cubicBezTo>
                    <a:pt x="2463" y="1259"/>
                    <a:pt x="2463" y="1259"/>
                    <a:pt x="2463" y="1259"/>
                  </a:cubicBezTo>
                  <a:cubicBezTo>
                    <a:pt x="2473" y="1264"/>
                    <a:pt x="2473" y="1264"/>
                    <a:pt x="2473" y="1264"/>
                  </a:cubicBezTo>
                  <a:cubicBezTo>
                    <a:pt x="2473" y="1264"/>
                    <a:pt x="2480" y="1264"/>
                    <a:pt x="2484" y="1264"/>
                  </a:cubicBezTo>
                  <a:cubicBezTo>
                    <a:pt x="2488" y="1264"/>
                    <a:pt x="2496" y="1269"/>
                    <a:pt x="2496" y="1269"/>
                  </a:cubicBezTo>
                  <a:cubicBezTo>
                    <a:pt x="2496" y="1269"/>
                    <a:pt x="2498" y="1267"/>
                    <a:pt x="2506" y="1267"/>
                  </a:cubicBezTo>
                  <a:cubicBezTo>
                    <a:pt x="2513" y="1266"/>
                    <a:pt x="2514" y="1270"/>
                    <a:pt x="2514" y="1270"/>
                  </a:cubicBezTo>
                  <a:cubicBezTo>
                    <a:pt x="2514" y="1270"/>
                    <a:pt x="2515" y="1269"/>
                    <a:pt x="2517" y="1268"/>
                  </a:cubicBezTo>
                  <a:cubicBezTo>
                    <a:pt x="2517" y="1268"/>
                    <a:pt x="2517" y="1268"/>
                    <a:pt x="2517" y="1268"/>
                  </a:cubicBezTo>
                  <a:cubicBezTo>
                    <a:pt x="2513" y="1258"/>
                    <a:pt x="2510" y="1252"/>
                    <a:pt x="2510" y="1252"/>
                  </a:cubicBezTo>
                  <a:cubicBezTo>
                    <a:pt x="2521" y="1239"/>
                    <a:pt x="2521" y="1239"/>
                    <a:pt x="2521" y="1239"/>
                  </a:cubicBezTo>
                  <a:cubicBezTo>
                    <a:pt x="2521" y="1239"/>
                    <a:pt x="2503" y="1224"/>
                    <a:pt x="2513" y="1222"/>
                  </a:cubicBezTo>
                  <a:cubicBezTo>
                    <a:pt x="2523" y="1220"/>
                    <a:pt x="2531" y="1213"/>
                    <a:pt x="2531" y="1213"/>
                  </a:cubicBezTo>
                  <a:cubicBezTo>
                    <a:pt x="2535" y="1194"/>
                    <a:pt x="2535" y="1194"/>
                    <a:pt x="2535" y="1194"/>
                  </a:cubicBezTo>
                  <a:cubicBezTo>
                    <a:pt x="2549" y="1194"/>
                    <a:pt x="2549" y="1194"/>
                    <a:pt x="2549" y="1194"/>
                  </a:cubicBezTo>
                  <a:cubicBezTo>
                    <a:pt x="2554" y="1179"/>
                    <a:pt x="2554" y="1179"/>
                    <a:pt x="2554" y="1179"/>
                  </a:cubicBezTo>
                  <a:cubicBezTo>
                    <a:pt x="2531" y="1179"/>
                    <a:pt x="2531" y="1179"/>
                    <a:pt x="2531" y="1179"/>
                  </a:cubicBezTo>
                  <a:cubicBezTo>
                    <a:pt x="2531" y="1179"/>
                    <a:pt x="2527" y="1163"/>
                    <a:pt x="2531" y="1160"/>
                  </a:cubicBezTo>
                  <a:close/>
                  <a:moveTo>
                    <a:pt x="2525" y="1228"/>
                  </a:moveTo>
                  <a:cubicBezTo>
                    <a:pt x="2527" y="1252"/>
                    <a:pt x="2527" y="1252"/>
                    <a:pt x="2527" y="1252"/>
                  </a:cubicBezTo>
                  <a:cubicBezTo>
                    <a:pt x="2533" y="1252"/>
                    <a:pt x="2543" y="1262"/>
                    <a:pt x="2543" y="1262"/>
                  </a:cubicBezTo>
                  <a:cubicBezTo>
                    <a:pt x="2549" y="1244"/>
                    <a:pt x="2549" y="1244"/>
                    <a:pt x="2549" y="1244"/>
                  </a:cubicBezTo>
                  <a:cubicBezTo>
                    <a:pt x="2537" y="1230"/>
                    <a:pt x="2537" y="1230"/>
                    <a:pt x="2537" y="1230"/>
                  </a:cubicBezTo>
                  <a:lnTo>
                    <a:pt x="2525" y="1228"/>
                  </a:lnTo>
                  <a:close/>
                  <a:moveTo>
                    <a:pt x="2577" y="1240"/>
                  </a:moveTo>
                  <a:cubicBezTo>
                    <a:pt x="2576" y="1251"/>
                    <a:pt x="2567" y="1253"/>
                    <a:pt x="2579" y="1254"/>
                  </a:cubicBezTo>
                  <a:cubicBezTo>
                    <a:pt x="2591" y="1255"/>
                    <a:pt x="2596" y="1253"/>
                    <a:pt x="2596" y="1253"/>
                  </a:cubicBezTo>
                  <a:cubicBezTo>
                    <a:pt x="2596" y="1253"/>
                    <a:pt x="2604" y="1272"/>
                    <a:pt x="2605" y="1265"/>
                  </a:cubicBezTo>
                  <a:cubicBezTo>
                    <a:pt x="2607" y="1259"/>
                    <a:pt x="2617" y="1245"/>
                    <a:pt x="2619" y="1244"/>
                  </a:cubicBezTo>
                  <a:cubicBezTo>
                    <a:pt x="2621" y="1244"/>
                    <a:pt x="2630" y="1244"/>
                    <a:pt x="2622" y="1239"/>
                  </a:cubicBezTo>
                  <a:cubicBezTo>
                    <a:pt x="2614" y="1234"/>
                    <a:pt x="2607" y="1227"/>
                    <a:pt x="2610" y="1227"/>
                  </a:cubicBezTo>
                  <a:cubicBezTo>
                    <a:pt x="2613" y="1226"/>
                    <a:pt x="2620" y="1227"/>
                    <a:pt x="2615" y="1224"/>
                  </a:cubicBezTo>
                  <a:cubicBezTo>
                    <a:pt x="2610" y="1220"/>
                    <a:pt x="2624" y="1211"/>
                    <a:pt x="2624" y="1211"/>
                  </a:cubicBezTo>
                  <a:cubicBezTo>
                    <a:pt x="2624" y="1211"/>
                    <a:pt x="2616" y="1199"/>
                    <a:pt x="2615" y="1200"/>
                  </a:cubicBezTo>
                  <a:cubicBezTo>
                    <a:pt x="2614" y="1200"/>
                    <a:pt x="2601" y="1205"/>
                    <a:pt x="2601" y="1210"/>
                  </a:cubicBezTo>
                  <a:cubicBezTo>
                    <a:pt x="2601" y="1215"/>
                    <a:pt x="2601" y="1219"/>
                    <a:pt x="2601" y="1219"/>
                  </a:cubicBezTo>
                  <a:cubicBezTo>
                    <a:pt x="2601" y="1219"/>
                    <a:pt x="2592" y="1207"/>
                    <a:pt x="2590" y="1208"/>
                  </a:cubicBezTo>
                  <a:cubicBezTo>
                    <a:pt x="2588" y="1209"/>
                    <a:pt x="2585" y="1213"/>
                    <a:pt x="2585" y="1213"/>
                  </a:cubicBezTo>
                  <a:cubicBezTo>
                    <a:pt x="2569" y="1224"/>
                    <a:pt x="2569" y="1224"/>
                    <a:pt x="2569" y="1224"/>
                  </a:cubicBezTo>
                  <a:cubicBezTo>
                    <a:pt x="2569" y="1224"/>
                    <a:pt x="2578" y="1229"/>
                    <a:pt x="2577" y="1240"/>
                  </a:cubicBezTo>
                  <a:close/>
                  <a:moveTo>
                    <a:pt x="2629" y="1260"/>
                  </a:moveTo>
                  <a:cubicBezTo>
                    <a:pt x="2612" y="1266"/>
                    <a:pt x="2612" y="1266"/>
                    <a:pt x="2612" y="1266"/>
                  </a:cubicBezTo>
                  <a:cubicBezTo>
                    <a:pt x="2612" y="1266"/>
                    <a:pt x="2602" y="1270"/>
                    <a:pt x="2598" y="1269"/>
                  </a:cubicBezTo>
                  <a:cubicBezTo>
                    <a:pt x="2594" y="1269"/>
                    <a:pt x="2578" y="1262"/>
                    <a:pt x="2573" y="1262"/>
                  </a:cubicBezTo>
                  <a:cubicBezTo>
                    <a:pt x="2563" y="1262"/>
                    <a:pt x="2565" y="1273"/>
                    <a:pt x="2573" y="1272"/>
                  </a:cubicBezTo>
                  <a:cubicBezTo>
                    <a:pt x="2581" y="1270"/>
                    <a:pt x="2592" y="1282"/>
                    <a:pt x="2592" y="1282"/>
                  </a:cubicBezTo>
                  <a:cubicBezTo>
                    <a:pt x="2592" y="1282"/>
                    <a:pt x="2609" y="1279"/>
                    <a:pt x="2626" y="1275"/>
                  </a:cubicBezTo>
                  <a:cubicBezTo>
                    <a:pt x="2644" y="1272"/>
                    <a:pt x="2629" y="1260"/>
                    <a:pt x="2629" y="1260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53" name="Freeform 333">
              <a:extLst>
                <a:ext uri="{FF2B5EF4-FFF2-40B4-BE49-F238E27FC236}">
                  <a16:creationId xmlns:a16="http://schemas.microsoft.com/office/drawing/2014/main" id="{AC60A6DD-B29E-DFC4-772A-729DEEB52B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4274" y="-17463"/>
              <a:ext cx="560" cy="252"/>
            </a:xfrm>
            <a:custGeom>
              <a:avLst/>
              <a:gdLst>
                <a:gd name="T0" fmla="*/ 228 w 237"/>
                <a:gd name="T1" fmla="*/ 76 h 107"/>
                <a:gd name="T2" fmla="*/ 221 w 237"/>
                <a:gd name="T3" fmla="*/ 74 h 107"/>
                <a:gd name="T4" fmla="*/ 226 w 237"/>
                <a:gd name="T5" fmla="*/ 56 h 107"/>
                <a:gd name="T6" fmla="*/ 217 w 237"/>
                <a:gd name="T7" fmla="*/ 52 h 107"/>
                <a:gd name="T8" fmla="*/ 220 w 237"/>
                <a:gd name="T9" fmla="*/ 36 h 107"/>
                <a:gd name="T10" fmla="*/ 231 w 237"/>
                <a:gd name="T11" fmla="*/ 30 h 107"/>
                <a:gd name="T12" fmla="*/ 228 w 237"/>
                <a:gd name="T13" fmla="*/ 21 h 107"/>
                <a:gd name="T14" fmla="*/ 231 w 237"/>
                <a:gd name="T15" fmla="*/ 11 h 107"/>
                <a:gd name="T16" fmla="*/ 170 w 237"/>
                <a:gd name="T17" fmla="*/ 1 h 107"/>
                <a:gd name="T18" fmla="*/ 110 w 237"/>
                <a:gd name="T19" fmla="*/ 6 h 107"/>
                <a:gd name="T20" fmla="*/ 60 w 237"/>
                <a:gd name="T21" fmla="*/ 31 h 107"/>
                <a:gd name="T22" fmla="*/ 66 w 237"/>
                <a:gd name="T23" fmla="*/ 56 h 107"/>
                <a:gd name="T24" fmla="*/ 105 w 237"/>
                <a:gd name="T25" fmla="*/ 61 h 107"/>
                <a:gd name="T26" fmla="*/ 98 w 237"/>
                <a:gd name="T27" fmla="*/ 85 h 107"/>
                <a:gd name="T28" fmla="*/ 102 w 237"/>
                <a:gd name="T29" fmla="*/ 85 h 107"/>
                <a:gd name="T30" fmla="*/ 123 w 237"/>
                <a:gd name="T31" fmla="*/ 79 h 107"/>
                <a:gd name="T32" fmla="*/ 144 w 237"/>
                <a:gd name="T33" fmla="*/ 78 h 107"/>
                <a:gd name="T34" fmla="*/ 172 w 237"/>
                <a:gd name="T35" fmla="*/ 95 h 107"/>
                <a:gd name="T36" fmla="*/ 192 w 237"/>
                <a:gd name="T37" fmla="*/ 107 h 107"/>
                <a:gd name="T38" fmla="*/ 203 w 237"/>
                <a:gd name="T39" fmla="*/ 101 h 107"/>
                <a:gd name="T40" fmla="*/ 216 w 237"/>
                <a:gd name="T41" fmla="*/ 106 h 107"/>
                <a:gd name="T42" fmla="*/ 224 w 237"/>
                <a:gd name="T43" fmla="*/ 105 h 107"/>
                <a:gd name="T44" fmla="*/ 224 w 237"/>
                <a:gd name="T45" fmla="*/ 97 h 107"/>
                <a:gd name="T46" fmla="*/ 237 w 237"/>
                <a:gd name="T47" fmla="*/ 88 h 107"/>
                <a:gd name="T48" fmla="*/ 228 w 237"/>
                <a:gd name="T49" fmla="*/ 76 h 107"/>
                <a:gd name="T50" fmla="*/ 27 w 237"/>
                <a:gd name="T51" fmla="*/ 53 h 107"/>
                <a:gd name="T52" fmla="*/ 7 w 237"/>
                <a:gd name="T53" fmla="*/ 55 h 107"/>
                <a:gd name="T54" fmla="*/ 9 w 237"/>
                <a:gd name="T55" fmla="*/ 74 h 107"/>
                <a:gd name="T56" fmla="*/ 14 w 237"/>
                <a:gd name="T57" fmla="*/ 87 h 107"/>
                <a:gd name="T58" fmla="*/ 34 w 237"/>
                <a:gd name="T59" fmla="*/ 74 h 107"/>
                <a:gd name="T60" fmla="*/ 55 w 237"/>
                <a:gd name="T61" fmla="*/ 60 h 107"/>
                <a:gd name="T62" fmla="*/ 51 w 237"/>
                <a:gd name="T63" fmla="*/ 49 h 107"/>
                <a:gd name="T64" fmla="*/ 27 w 237"/>
                <a:gd name="T65" fmla="*/ 53 h 107"/>
                <a:gd name="T66" fmla="*/ 29 w 237"/>
                <a:gd name="T67" fmla="*/ 45 h 107"/>
                <a:gd name="T68" fmla="*/ 35 w 237"/>
                <a:gd name="T69" fmla="*/ 25 h 107"/>
                <a:gd name="T70" fmla="*/ 29 w 237"/>
                <a:gd name="T71" fmla="*/ 4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7" h="107">
                  <a:moveTo>
                    <a:pt x="228" y="76"/>
                  </a:moveTo>
                  <a:cubicBezTo>
                    <a:pt x="221" y="74"/>
                    <a:pt x="221" y="74"/>
                    <a:pt x="221" y="74"/>
                  </a:cubicBezTo>
                  <a:cubicBezTo>
                    <a:pt x="226" y="56"/>
                    <a:pt x="226" y="56"/>
                    <a:pt x="226" y="56"/>
                  </a:cubicBezTo>
                  <a:cubicBezTo>
                    <a:pt x="217" y="52"/>
                    <a:pt x="217" y="52"/>
                    <a:pt x="217" y="52"/>
                  </a:cubicBezTo>
                  <a:cubicBezTo>
                    <a:pt x="217" y="52"/>
                    <a:pt x="216" y="38"/>
                    <a:pt x="220" y="36"/>
                  </a:cubicBezTo>
                  <a:cubicBezTo>
                    <a:pt x="224" y="34"/>
                    <a:pt x="231" y="30"/>
                    <a:pt x="231" y="30"/>
                  </a:cubicBezTo>
                  <a:cubicBezTo>
                    <a:pt x="228" y="21"/>
                    <a:pt x="228" y="21"/>
                    <a:pt x="228" y="21"/>
                  </a:cubicBezTo>
                  <a:cubicBezTo>
                    <a:pt x="231" y="11"/>
                    <a:pt x="231" y="11"/>
                    <a:pt x="231" y="11"/>
                  </a:cubicBezTo>
                  <a:cubicBezTo>
                    <a:pt x="215" y="8"/>
                    <a:pt x="180" y="2"/>
                    <a:pt x="170" y="1"/>
                  </a:cubicBezTo>
                  <a:cubicBezTo>
                    <a:pt x="157" y="0"/>
                    <a:pt x="110" y="6"/>
                    <a:pt x="110" y="6"/>
                  </a:cubicBezTo>
                  <a:cubicBezTo>
                    <a:pt x="110" y="6"/>
                    <a:pt x="60" y="24"/>
                    <a:pt x="60" y="31"/>
                  </a:cubicBezTo>
                  <a:cubicBezTo>
                    <a:pt x="60" y="38"/>
                    <a:pt x="66" y="56"/>
                    <a:pt x="66" y="56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102" y="85"/>
                    <a:pt x="102" y="85"/>
                    <a:pt x="102" y="85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3" y="79"/>
                    <a:pt x="129" y="75"/>
                    <a:pt x="144" y="78"/>
                  </a:cubicBezTo>
                  <a:cubicBezTo>
                    <a:pt x="159" y="81"/>
                    <a:pt x="161" y="86"/>
                    <a:pt x="172" y="95"/>
                  </a:cubicBezTo>
                  <a:cubicBezTo>
                    <a:pt x="183" y="104"/>
                    <a:pt x="186" y="107"/>
                    <a:pt x="192" y="107"/>
                  </a:cubicBezTo>
                  <a:cubicBezTo>
                    <a:pt x="198" y="107"/>
                    <a:pt x="200" y="100"/>
                    <a:pt x="203" y="101"/>
                  </a:cubicBezTo>
                  <a:cubicBezTo>
                    <a:pt x="206" y="102"/>
                    <a:pt x="216" y="106"/>
                    <a:pt x="216" y="106"/>
                  </a:cubicBezTo>
                  <a:cubicBezTo>
                    <a:pt x="224" y="105"/>
                    <a:pt x="224" y="105"/>
                    <a:pt x="224" y="105"/>
                  </a:cubicBezTo>
                  <a:cubicBezTo>
                    <a:pt x="224" y="97"/>
                    <a:pt x="224" y="97"/>
                    <a:pt x="224" y="97"/>
                  </a:cubicBezTo>
                  <a:cubicBezTo>
                    <a:pt x="237" y="88"/>
                    <a:pt x="237" y="88"/>
                    <a:pt x="237" y="88"/>
                  </a:cubicBezTo>
                  <a:lnTo>
                    <a:pt x="228" y="76"/>
                  </a:lnTo>
                  <a:close/>
                  <a:moveTo>
                    <a:pt x="27" y="53"/>
                  </a:moveTo>
                  <a:cubicBezTo>
                    <a:pt x="27" y="53"/>
                    <a:pt x="14" y="52"/>
                    <a:pt x="7" y="55"/>
                  </a:cubicBezTo>
                  <a:cubicBezTo>
                    <a:pt x="0" y="57"/>
                    <a:pt x="9" y="74"/>
                    <a:pt x="9" y="74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30" y="74"/>
                    <a:pt x="34" y="74"/>
                  </a:cubicBezTo>
                  <a:cubicBezTo>
                    <a:pt x="38" y="74"/>
                    <a:pt x="55" y="60"/>
                    <a:pt x="55" y="60"/>
                  </a:cubicBezTo>
                  <a:cubicBezTo>
                    <a:pt x="51" y="49"/>
                    <a:pt x="51" y="49"/>
                    <a:pt x="51" y="49"/>
                  </a:cubicBezTo>
                  <a:lnTo>
                    <a:pt x="27" y="53"/>
                  </a:lnTo>
                  <a:close/>
                  <a:moveTo>
                    <a:pt x="29" y="45"/>
                  </a:moveTo>
                  <a:cubicBezTo>
                    <a:pt x="44" y="45"/>
                    <a:pt x="48" y="23"/>
                    <a:pt x="35" y="25"/>
                  </a:cubicBezTo>
                  <a:cubicBezTo>
                    <a:pt x="22" y="28"/>
                    <a:pt x="15" y="45"/>
                    <a:pt x="29" y="4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54" name="Freeform 334">
              <a:extLst>
                <a:ext uri="{FF2B5EF4-FFF2-40B4-BE49-F238E27FC236}">
                  <a16:creationId xmlns:a16="http://schemas.microsoft.com/office/drawing/2014/main" id="{AE2F9110-35D3-A9C7-5618-01CAFDC071C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93" y="-8936"/>
              <a:ext cx="397" cy="182"/>
            </a:xfrm>
            <a:custGeom>
              <a:avLst/>
              <a:gdLst>
                <a:gd name="T0" fmla="*/ 53 w 168"/>
                <a:gd name="T1" fmla="*/ 33 h 77"/>
                <a:gd name="T2" fmla="*/ 53 w 168"/>
                <a:gd name="T3" fmla="*/ 33 h 77"/>
                <a:gd name="T4" fmla="*/ 53 w 168"/>
                <a:gd name="T5" fmla="*/ 33 h 77"/>
                <a:gd name="T6" fmla="*/ 53 w 168"/>
                <a:gd name="T7" fmla="*/ 33 h 77"/>
                <a:gd name="T8" fmla="*/ 152 w 168"/>
                <a:gd name="T9" fmla="*/ 0 h 77"/>
                <a:gd name="T10" fmla="*/ 139 w 168"/>
                <a:gd name="T11" fmla="*/ 14 h 77"/>
                <a:gd name="T12" fmla="*/ 84 w 168"/>
                <a:gd name="T13" fmla="*/ 15 h 77"/>
                <a:gd name="T14" fmla="*/ 67 w 168"/>
                <a:gd name="T15" fmla="*/ 33 h 77"/>
                <a:gd name="T16" fmla="*/ 53 w 168"/>
                <a:gd name="T17" fmla="*/ 33 h 77"/>
                <a:gd name="T18" fmla="*/ 60 w 168"/>
                <a:gd name="T19" fmla="*/ 47 h 77"/>
                <a:gd name="T20" fmla="*/ 50 w 168"/>
                <a:gd name="T21" fmla="*/ 66 h 77"/>
                <a:gd name="T22" fmla="*/ 52 w 168"/>
                <a:gd name="T23" fmla="*/ 77 h 77"/>
                <a:gd name="T24" fmla="*/ 57 w 168"/>
                <a:gd name="T25" fmla="*/ 72 h 77"/>
                <a:gd name="T26" fmla="*/ 67 w 168"/>
                <a:gd name="T27" fmla="*/ 69 h 77"/>
                <a:gd name="T28" fmla="*/ 89 w 168"/>
                <a:gd name="T29" fmla="*/ 53 h 77"/>
                <a:gd name="T30" fmla="*/ 111 w 168"/>
                <a:gd name="T31" fmla="*/ 59 h 77"/>
                <a:gd name="T32" fmla="*/ 168 w 168"/>
                <a:gd name="T33" fmla="*/ 9 h 77"/>
                <a:gd name="T34" fmla="*/ 152 w 168"/>
                <a:gd name="T35" fmla="*/ 0 h 77"/>
                <a:gd name="T36" fmla="*/ 0 w 168"/>
                <a:gd name="T37" fmla="*/ 58 h 77"/>
                <a:gd name="T38" fmla="*/ 4 w 168"/>
                <a:gd name="T39" fmla="*/ 67 h 77"/>
                <a:gd name="T40" fmla="*/ 24 w 168"/>
                <a:gd name="T41" fmla="*/ 61 h 77"/>
                <a:gd name="T42" fmla="*/ 28 w 168"/>
                <a:gd name="T43" fmla="*/ 48 h 77"/>
                <a:gd name="T44" fmla="*/ 11 w 168"/>
                <a:gd name="T45" fmla="*/ 47 h 77"/>
                <a:gd name="T46" fmla="*/ 0 w 168"/>
                <a:gd name="T47" fmla="*/ 5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77">
                  <a:moveTo>
                    <a:pt x="53" y="33"/>
                  </a:move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lose/>
                  <a:moveTo>
                    <a:pt x="152" y="0"/>
                  </a:moveTo>
                  <a:cubicBezTo>
                    <a:pt x="139" y="14"/>
                    <a:pt x="139" y="14"/>
                    <a:pt x="139" y="14"/>
                  </a:cubicBezTo>
                  <a:cubicBezTo>
                    <a:pt x="139" y="14"/>
                    <a:pt x="96" y="15"/>
                    <a:pt x="84" y="15"/>
                  </a:cubicBezTo>
                  <a:cubicBezTo>
                    <a:pt x="73" y="15"/>
                    <a:pt x="67" y="33"/>
                    <a:pt x="67" y="33"/>
                  </a:cubicBezTo>
                  <a:cubicBezTo>
                    <a:pt x="67" y="33"/>
                    <a:pt x="61" y="32"/>
                    <a:pt x="53" y="33"/>
                  </a:cubicBezTo>
                  <a:cubicBezTo>
                    <a:pt x="60" y="47"/>
                    <a:pt x="60" y="47"/>
                    <a:pt x="60" y="47"/>
                  </a:cubicBezTo>
                  <a:cubicBezTo>
                    <a:pt x="60" y="47"/>
                    <a:pt x="56" y="54"/>
                    <a:pt x="50" y="66"/>
                  </a:cubicBezTo>
                  <a:cubicBezTo>
                    <a:pt x="46" y="72"/>
                    <a:pt x="49" y="76"/>
                    <a:pt x="52" y="77"/>
                  </a:cubicBezTo>
                  <a:cubicBezTo>
                    <a:pt x="55" y="74"/>
                    <a:pt x="57" y="72"/>
                    <a:pt x="57" y="72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98" y="62"/>
                    <a:pt x="111" y="59"/>
                  </a:cubicBezTo>
                  <a:cubicBezTo>
                    <a:pt x="124" y="56"/>
                    <a:pt x="168" y="9"/>
                    <a:pt x="168" y="9"/>
                  </a:cubicBezTo>
                  <a:lnTo>
                    <a:pt x="152" y="0"/>
                  </a:lnTo>
                  <a:close/>
                  <a:moveTo>
                    <a:pt x="0" y="58"/>
                  </a:moveTo>
                  <a:cubicBezTo>
                    <a:pt x="4" y="67"/>
                    <a:pt x="4" y="67"/>
                    <a:pt x="4" y="67"/>
                  </a:cubicBezTo>
                  <a:cubicBezTo>
                    <a:pt x="15" y="58"/>
                    <a:pt x="24" y="61"/>
                    <a:pt x="24" y="61"/>
                  </a:cubicBezTo>
                  <a:cubicBezTo>
                    <a:pt x="24" y="61"/>
                    <a:pt x="24" y="54"/>
                    <a:pt x="28" y="48"/>
                  </a:cubicBezTo>
                  <a:cubicBezTo>
                    <a:pt x="11" y="47"/>
                    <a:pt x="11" y="47"/>
                    <a:pt x="11" y="47"/>
                  </a:cubicBezTo>
                  <a:lnTo>
                    <a:pt x="0" y="58"/>
                  </a:lnTo>
                  <a:close/>
                </a:path>
              </a:pathLst>
            </a:custGeom>
            <a:grpFill/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55" name="Freeform 335">
              <a:extLst>
                <a:ext uri="{FF2B5EF4-FFF2-40B4-BE49-F238E27FC236}">
                  <a16:creationId xmlns:a16="http://schemas.microsoft.com/office/drawing/2014/main" id="{4C57BB39-F75E-7C7D-D68A-DE7509ADBC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62" y="-9767"/>
              <a:ext cx="1724" cy="1160"/>
            </a:xfrm>
            <a:custGeom>
              <a:avLst/>
              <a:gdLst>
                <a:gd name="T0" fmla="*/ 296 w 730"/>
                <a:gd name="T1" fmla="*/ 19 h 491"/>
                <a:gd name="T2" fmla="*/ 331 w 730"/>
                <a:gd name="T3" fmla="*/ 7 h 491"/>
                <a:gd name="T4" fmla="*/ 521 w 730"/>
                <a:gd name="T5" fmla="*/ 171 h 491"/>
                <a:gd name="T6" fmla="*/ 476 w 730"/>
                <a:gd name="T7" fmla="*/ 209 h 491"/>
                <a:gd name="T8" fmla="*/ 404 w 730"/>
                <a:gd name="T9" fmla="*/ 228 h 491"/>
                <a:gd name="T10" fmla="*/ 398 w 730"/>
                <a:gd name="T11" fmla="*/ 257 h 491"/>
                <a:gd name="T12" fmla="*/ 474 w 730"/>
                <a:gd name="T13" fmla="*/ 251 h 491"/>
                <a:gd name="T14" fmla="*/ 523 w 730"/>
                <a:gd name="T15" fmla="*/ 228 h 491"/>
                <a:gd name="T16" fmla="*/ 536 w 730"/>
                <a:gd name="T17" fmla="*/ 206 h 491"/>
                <a:gd name="T18" fmla="*/ 555 w 730"/>
                <a:gd name="T19" fmla="*/ 140 h 491"/>
                <a:gd name="T20" fmla="*/ 564 w 730"/>
                <a:gd name="T21" fmla="*/ 94 h 491"/>
                <a:gd name="T22" fmla="*/ 520 w 730"/>
                <a:gd name="T23" fmla="*/ 58 h 491"/>
                <a:gd name="T24" fmla="*/ 494 w 730"/>
                <a:gd name="T25" fmla="*/ 31 h 491"/>
                <a:gd name="T26" fmla="*/ 516 w 730"/>
                <a:gd name="T27" fmla="*/ 69 h 491"/>
                <a:gd name="T28" fmla="*/ 576 w 730"/>
                <a:gd name="T29" fmla="*/ 122 h 491"/>
                <a:gd name="T30" fmla="*/ 599 w 730"/>
                <a:gd name="T31" fmla="*/ 131 h 491"/>
                <a:gd name="T32" fmla="*/ 728 w 730"/>
                <a:gd name="T33" fmla="*/ 249 h 491"/>
                <a:gd name="T34" fmla="*/ 664 w 730"/>
                <a:gd name="T35" fmla="*/ 185 h 491"/>
                <a:gd name="T36" fmla="*/ 670 w 730"/>
                <a:gd name="T37" fmla="*/ 225 h 491"/>
                <a:gd name="T38" fmla="*/ 730 w 730"/>
                <a:gd name="T39" fmla="*/ 300 h 491"/>
                <a:gd name="T40" fmla="*/ 17 w 730"/>
                <a:gd name="T41" fmla="*/ 401 h 491"/>
                <a:gd name="T42" fmla="*/ 17 w 730"/>
                <a:gd name="T43" fmla="*/ 401 h 491"/>
                <a:gd name="T44" fmla="*/ 452 w 730"/>
                <a:gd name="T45" fmla="*/ 453 h 491"/>
                <a:gd name="T46" fmla="*/ 437 w 730"/>
                <a:gd name="T47" fmla="*/ 426 h 491"/>
                <a:gd name="T48" fmla="*/ 408 w 730"/>
                <a:gd name="T49" fmla="*/ 388 h 491"/>
                <a:gd name="T50" fmla="*/ 374 w 730"/>
                <a:gd name="T51" fmla="*/ 375 h 491"/>
                <a:gd name="T52" fmla="*/ 357 w 730"/>
                <a:gd name="T53" fmla="*/ 337 h 491"/>
                <a:gd name="T54" fmla="*/ 304 w 730"/>
                <a:gd name="T55" fmla="*/ 274 h 491"/>
                <a:gd name="T56" fmla="*/ 308 w 730"/>
                <a:gd name="T57" fmla="*/ 220 h 491"/>
                <a:gd name="T58" fmla="*/ 256 w 730"/>
                <a:gd name="T59" fmla="*/ 169 h 491"/>
                <a:gd name="T60" fmla="*/ 200 w 730"/>
                <a:gd name="T61" fmla="*/ 113 h 491"/>
                <a:gd name="T62" fmla="*/ 151 w 730"/>
                <a:gd name="T63" fmla="*/ 91 h 491"/>
                <a:gd name="T64" fmla="*/ 49 w 730"/>
                <a:gd name="T65" fmla="*/ 49 h 491"/>
                <a:gd name="T66" fmla="*/ 6 w 730"/>
                <a:gd name="T67" fmla="*/ 36 h 491"/>
                <a:gd name="T68" fmla="*/ 30 w 730"/>
                <a:gd name="T69" fmla="*/ 155 h 491"/>
                <a:gd name="T70" fmla="*/ 27 w 730"/>
                <a:gd name="T71" fmla="*/ 253 h 491"/>
                <a:gd name="T72" fmla="*/ 26 w 730"/>
                <a:gd name="T73" fmla="*/ 282 h 491"/>
                <a:gd name="T74" fmla="*/ 15 w 730"/>
                <a:gd name="T75" fmla="*/ 353 h 491"/>
                <a:gd name="T76" fmla="*/ 17 w 730"/>
                <a:gd name="T77" fmla="*/ 401 h 491"/>
                <a:gd name="T78" fmla="*/ 88 w 730"/>
                <a:gd name="T79" fmla="*/ 408 h 491"/>
                <a:gd name="T80" fmla="*/ 71 w 730"/>
                <a:gd name="T81" fmla="*/ 347 h 491"/>
                <a:gd name="T82" fmla="*/ 130 w 730"/>
                <a:gd name="T83" fmla="*/ 329 h 491"/>
                <a:gd name="T84" fmla="*/ 146 w 730"/>
                <a:gd name="T85" fmla="*/ 313 h 491"/>
                <a:gd name="T86" fmla="*/ 185 w 730"/>
                <a:gd name="T87" fmla="*/ 311 h 491"/>
                <a:gd name="T88" fmla="*/ 258 w 730"/>
                <a:gd name="T89" fmla="*/ 342 h 491"/>
                <a:gd name="T90" fmla="*/ 302 w 730"/>
                <a:gd name="T91" fmla="*/ 398 h 491"/>
                <a:gd name="T92" fmla="*/ 418 w 730"/>
                <a:gd name="T93" fmla="*/ 464 h 491"/>
                <a:gd name="T94" fmla="*/ 450 w 730"/>
                <a:gd name="T95" fmla="*/ 464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30" h="491">
                  <a:moveTo>
                    <a:pt x="331" y="7"/>
                  </a:moveTo>
                  <a:cubicBezTo>
                    <a:pt x="318" y="0"/>
                    <a:pt x="296" y="19"/>
                    <a:pt x="296" y="19"/>
                  </a:cubicBezTo>
                  <a:cubicBezTo>
                    <a:pt x="315" y="31"/>
                    <a:pt x="315" y="31"/>
                    <a:pt x="315" y="31"/>
                  </a:cubicBezTo>
                  <a:cubicBezTo>
                    <a:pt x="333" y="35"/>
                    <a:pt x="344" y="14"/>
                    <a:pt x="331" y="7"/>
                  </a:cubicBezTo>
                  <a:close/>
                  <a:moveTo>
                    <a:pt x="508" y="150"/>
                  </a:moveTo>
                  <a:cubicBezTo>
                    <a:pt x="499" y="159"/>
                    <a:pt x="521" y="171"/>
                    <a:pt x="521" y="171"/>
                  </a:cubicBezTo>
                  <a:cubicBezTo>
                    <a:pt x="523" y="184"/>
                    <a:pt x="523" y="184"/>
                    <a:pt x="523" y="184"/>
                  </a:cubicBezTo>
                  <a:cubicBezTo>
                    <a:pt x="476" y="209"/>
                    <a:pt x="476" y="209"/>
                    <a:pt x="476" y="209"/>
                  </a:cubicBezTo>
                  <a:cubicBezTo>
                    <a:pt x="476" y="209"/>
                    <a:pt x="452" y="207"/>
                    <a:pt x="436" y="210"/>
                  </a:cubicBezTo>
                  <a:cubicBezTo>
                    <a:pt x="420" y="213"/>
                    <a:pt x="414" y="222"/>
                    <a:pt x="404" y="228"/>
                  </a:cubicBezTo>
                  <a:cubicBezTo>
                    <a:pt x="394" y="234"/>
                    <a:pt x="388" y="222"/>
                    <a:pt x="382" y="234"/>
                  </a:cubicBezTo>
                  <a:cubicBezTo>
                    <a:pt x="398" y="257"/>
                    <a:pt x="398" y="257"/>
                    <a:pt x="398" y="257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74" y="251"/>
                    <a:pt x="474" y="251"/>
                    <a:pt x="474" y="251"/>
                  </a:cubicBezTo>
                  <a:cubicBezTo>
                    <a:pt x="474" y="251"/>
                    <a:pt x="486" y="251"/>
                    <a:pt x="499" y="250"/>
                  </a:cubicBezTo>
                  <a:cubicBezTo>
                    <a:pt x="513" y="248"/>
                    <a:pt x="523" y="228"/>
                    <a:pt x="523" y="228"/>
                  </a:cubicBezTo>
                  <a:cubicBezTo>
                    <a:pt x="542" y="223"/>
                    <a:pt x="542" y="223"/>
                    <a:pt x="542" y="223"/>
                  </a:cubicBezTo>
                  <a:cubicBezTo>
                    <a:pt x="536" y="206"/>
                    <a:pt x="536" y="206"/>
                    <a:pt x="536" y="206"/>
                  </a:cubicBezTo>
                  <a:cubicBezTo>
                    <a:pt x="554" y="209"/>
                    <a:pt x="554" y="209"/>
                    <a:pt x="554" y="209"/>
                  </a:cubicBezTo>
                  <a:cubicBezTo>
                    <a:pt x="554" y="209"/>
                    <a:pt x="562" y="157"/>
                    <a:pt x="555" y="140"/>
                  </a:cubicBezTo>
                  <a:cubicBezTo>
                    <a:pt x="548" y="122"/>
                    <a:pt x="517" y="141"/>
                    <a:pt x="508" y="150"/>
                  </a:cubicBezTo>
                  <a:close/>
                  <a:moveTo>
                    <a:pt x="564" y="94"/>
                  </a:moveTo>
                  <a:cubicBezTo>
                    <a:pt x="555" y="94"/>
                    <a:pt x="555" y="94"/>
                    <a:pt x="555" y="94"/>
                  </a:cubicBezTo>
                  <a:cubicBezTo>
                    <a:pt x="555" y="94"/>
                    <a:pt x="524" y="60"/>
                    <a:pt x="520" y="58"/>
                  </a:cubicBezTo>
                  <a:cubicBezTo>
                    <a:pt x="516" y="55"/>
                    <a:pt x="508" y="55"/>
                    <a:pt x="508" y="55"/>
                  </a:cubicBezTo>
                  <a:cubicBezTo>
                    <a:pt x="494" y="31"/>
                    <a:pt x="494" y="31"/>
                    <a:pt x="494" y="31"/>
                  </a:cubicBezTo>
                  <a:cubicBezTo>
                    <a:pt x="486" y="63"/>
                    <a:pt x="486" y="63"/>
                    <a:pt x="486" y="63"/>
                  </a:cubicBezTo>
                  <a:cubicBezTo>
                    <a:pt x="516" y="69"/>
                    <a:pt x="516" y="69"/>
                    <a:pt x="516" y="69"/>
                  </a:cubicBezTo>
                  <a:cubicBezTo>
                    <a:pt x="516" y="69"/>
                    <a:pt x="539" y="96"/>
                    <a:pt x="545" y="102"/>
                  </a:cubicBezTo>
                  <a:cubicBezTo>
                    <a:pt x="551" y="107"/>
                    <a:pt x="571" y="109"/>
                    <a:pt x="576" y="122"/>
                  </a:cubicBezTo>
                  <a:cubicBezTo>
                    <a:pt x="580" y="135"/>
                    <a:pt x="562" y="179"/>
                    <a:pt x="589" y="181"/>
                  </a:cubicBezTo>
                  <a:cubicBezTo>
                    <a:pt x="604" y="182"/>
                    <a:pt x="612" y="150"/>
                    <a:pt x="599" y="131"/>
                  </a:cubicBezTo>
                  <a:cubicBezTo>
                    <a:pt x="586" y="112"/>
                    <a:pt x="564" y="94"/>
                    <a:pt x="564" y="94"/>
                  </a:cubicBezTo>
                  <a:close/>
                  <a:moveTo>
                    <a:pt x="728" y="249"/>
                  </a:moveTo>
                  <a:cubicBezTo>
                    <a:pt x="687" y="202"/>
                    <a:pt x="687" y="202"/>
                    <a:pt x="687" y="202"/>
                  </a:cubicBezTo>
                  <a:cubicBezTo>
                    <a:pt x="687" y="202"/>
                    <a:pt x="683" y="177"/>
                    <a:pt x="664" y="185"/>
                  </a:cubicBezTo>
                  <a:cubicBezTo>
                    <a:pt x="653" y="190"/>
                    <a:pt x="659" y="206"/>
                    <a:pt x="659" y="206"/>
                  </a:cubicBezTo>
                  <a:cubicBezTo>
                    <a:pt x="670" y="225"/>
                    <a:pt x="670" y="225"/>
                    <a:pt x="670" y="225"/>
                  </a:cubicBezTo>
                  <a:cubicBezTo>
                    <a:pt x="687" y="257"/>
                    <a:pt x="687" y="257"/>
                    <a:pt x="687" y="257"/>
                  </a:cubicBezTo>
                  <a:cubicBezTo>
                    <a:pt x="730" y="300"/>
                    <a:pt x="730" y="300"/>
                    <a:pt x="730" y="300"/>
                  </a:cubicBezTo>
                  <a:lnTo>
                    <a:pt x="728" y="249"/>
                  </a:lnTo>
                  <a:close/>
                  <a:moveTo>
                    <a:pt x="17" y="401"/>
                  </a:moveTo>
                  <a:cubicBezTo>
                    <a:pt x="17" y="401"/>
                    <a:pt x="17" y="401"/>
                    <a:pt x="17" y="401"/>
                  </a:cubicBezTo>
                  <a:cubicBezTo>
                    <a:pt x="17" y="401"/>
                    <a:pt x="17" y="401"/>
                    <a:pt x="17" y="401"/>
                  </a:cubicBezTo>
                  <a:cubicBezTo>
                    <a:pt x="17" y="401"/>
                    <a:pt x="17" y="401"/>
                    <a:pt x="17" y="401"/>
                  </a:cubicBezTo>
                  <a:close/>
                  <a:moveTo>
                    <a:pt x="452" y="453"/>
                  </a:moveTo>
                  <a:cubicBezTo>
                    <a:pt x="425" y="436"/>
                    <a:pt x="425" y="436"/>
                    <a:pt x="425" y="436"/>
                  </a:cubicBezTo>
                  <a:cubicBezTo>
                    <a:pt x="437" y="426"/>
                    <a:pt x="437" y="426"/>
                    <a:pt x="437" y="426"/>
                  </a:cubicBezTo>
                  <a:cubicBezTo>
                    <a:pt x="437" y="426"/>
                    <a:pt x="413" y="425"/>
                    <a:pt x="406" y="418"/>
                  </a:cubicBezTo>
                  <a:cubicBezTo>
                    <a:pt x="400" y="411"/>
                    <a:pt x="408" y="397"/>
                    <a:pt x="408" y="388"/>
                  </a:cubicBezTo>
                  <a:cubicBezTo>
                    <a:pt x="408" y="379"/>
                    <a:pt x="375" y="396"/>
                    <a:pt x="375" y="396"/>
                  </a:cubicBezTo>
                  <a:cubicBezTo>
                    <a:pt x="374" y="375"/>
                    <a:pt x="374" y="375"/>
                    <a:pt x="374" y="375"/>
                  </a:cubicBezTo>
                  <a:cubicBezTo>
                    <a:pt x="357" y="367"/>
                    <a:pt x="357" y="367"/>
                    <a:pt x="357" y="367"/>
                  </a:cubicBezTo>
                  <a:cubicBezTo>
                    <a:pt x="357" y="337"/>
                    <a:pt x="357" y="337"/>
                    <a:pt x="357" y="337"/>
                  </a:cubicBezTo>
                  <a:cubicBezTo>
                    <a:pt x="321" y="311"/>
                    <a:pt x="321" y="311"/>
                    <a:pt x="321" y="311"/>
                  </a:cubicBezTo>
                  <a:cubicBezTo>
                    <a:pt x="304" y="274"/>
                    <a:pt x="304" y="274"/>
                    <a:pt x="304" y="274"/>
                  </a:cubicBezTo>
                  <a:cubicBezTo>
                    <a:pt x="304" y="274"/>
                    <a:pt x="342" y="261"/>
                    <a:pt x="342" y="245"/>
                  </a:cubicBezTo>
                  <a:cubicBezTo>
                    <a:pt x="342" y="229"/>
                    <a:pt x="308" y="220"/>
                    <a:pt x="308" y="220"/>
                  </a:cubicBezTo>
                  <a:cubicBezTo>
                    <a:pt x="306" y="216"/>
                    <a:pt x="256" y="202"/>
                    <a:pt x="256" y="202"/>
                  </a:cubicBezTo>
                  <a:cubicBezTo>
                    <a:pt x="256" y="202"/>
                    <a:pt x="252" y="189"/>
                    <a:pt x="256" y="169"/>
                  </a:cubicBezTo>
                  <a:cubicBezTo>
                    <a:pt x="260" y="150"/>
                    <a:pt x="232" y="147"/>
                    <a:pt x="232" y="147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51" y="91"/>
                    <a:pt x="151" y="91"/>
                    <a:pt x="151" y="91"/>
                  </a:cubicBezTo>
                  <a:cubicBezTo>
                    <a:pt x="131" y="87"/>
                    <a:pt x="131" y="87"/>
                    <a:pt x="131" y="87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75"/>
                    <a:pt x="30" y="139"/>
                    <a:pt x="30" y="155"/>
                  </a:cubicBezTo>
                  <a:cubicBezTo>
                    <a:pt x="30" y="175"/>
                    <a:pt x="22" y="197"/>
                    <a:pt x="24" y="212"/>
                  </a:cubicBezTo>
                  <a:cubicBezTo>
                    <a:pt x="26" y="227"/>
                    <a:pt x="27" y="253"/>
                    <a:pt x="27" y="253"/>
                  </a:cubicBezTo>
                  <a:cubicBezTo>
                    <a:pt x="27" y="253"/>
                    <a:pt x="0" y="271"/>
                    <a:pt x="11" y="277"/>
                  </a:cubicBezTo>
                  <a:cubicBezTo>
                    <a:pt x="22" y="284"/>
                    <a:pt x="26" y="282"/>
                    <a:pt x="26" y="282"/>
                  </a:cubicBezTo>
                  <a:cubicBezTo>
                    <a:pt x="26" y="282"/>
                    <a:pt x="23" y="319"/>
                    <a:pt x="21" y="327"/>
                  </a:cubicBezTo>
                  <a:cubicBezTo>
                    <a:pt x="19" y="334"/>
                    <a:pt x="15" y="353"/>
                    <a:pt x="15" y="353"/>
                  </a:cubicBezTo>
                  <a:cubicBezTo>
                    <a:pt x="19" y="369"/>
                    <a:pt x="19" y="369"/>
                    <a:pt x="19" y="369"/>
                  </a:cubicBezTo>
                  <a:cubicBezTo>
                    <a:pt x="17" y="401"/>
                    <a:pt x="17" y="401"/>
                    <a:pt x="17" y="401"/>
                  </a:cubicBezTo>
                  <a:cubicBezTo>
                    <a:pt x="34" y="405"/>
                    <a:pt x="75" y="396"/>
                    <a:pt x="75" y="396"/>
                  </a:cubicBezTo>
                  <a:cubicBezTo>
                    <a:pt x="88" y="408"/>
                    <a:pt x="88" y="408"/>
                    <a:pt x="88" y="408"/>
                  </a:cubicBezTo>
                  <a:cubicBezTo>
                    <a:pt x="88" y="408"/>
                    <a:pt x="114" y="398"/>
                    <a:pt x="126" y="388"/>
                  </a:cubicBezTo>
                  <a:cubicBezTo>
                    <a:pt x="138" y="377"/>
                    <a:pt x="71" y="347"/>
                    <a:pt x="71" y="347"/>
                  </a:cubicBezTo>
                  <a:cubicBezTo>
                    <a:pt x="71" y="347"/>
                    <a:pt x="126" y="355"/>
                    <a:pt x="138" y="353"/>
                  </a:cubicBezTo>
                  <a:cubicBezTo>
                    <a:pt x="150" y="350"/>
                    <a:pt x="130" y="329"/>
                    <a:pt x="130" y="329"/>
                  </a:cubicBezTo>
                  <a:cubicBezTo>
                    <a:pt x="130" y="329"/>
                    <a:pt x="146" y="341"/>
                    <a:pt x="151" y="338"/>
                  </a:cubicBezTo>
                  <a:cubicBezTo>
                    <a:pt x="156" y="336"/>
                    <a:pt x="146" y="313"/>
                    <a:pt x="146" y="313"/>
                  </a:cubicBezTo>
                  <a:cubicBezTo>
                    <a:pt x="146" y="313"/>
                    <a:pt x="156" y="322"/>
                    <a:pt x="163" y="324"/>
                  </a:cubicBezTo>
                  <a:cubicBezTo>
                    <a:pt x="169" y="325"/>
                    <a:pt x="179" y="312"/>
                    <a:pt x="185" y="311"/>
                  </a:cubicBezTo>
                  <a:cubicBezTo>
                    <a:pt x="192" y="309"/>
                    <a:pt x="202" y="329"/>
                    <a:pt x="209" y="333"/>
                  </a:cubicBezTo>
                  <a:cubicBezTo>
                    <a:pt x="215" y="337"/>
                    <a:pt x="240" y="332"/>
                    <a:pt x="258" y="342"/>
                  </a:cubicBezTo>
                  <a:cubicBezTo>
                    <a:pt x="277" y="353"/>
                    <a:pt x="270" y="376"/>
                    <a:pt x="277" y="388"/>
                  </a:cubicBezTo>
                  <a:cubicBezTo>
                    <a:pt x="283" y="400"/>
                    <a:pt x="296" y="392"/>
                    <a:pt x="302" y="398"/>
                  </a:cubicBezTo>
                  <a:cubicBezTo>
                    <a:pt x="307" y="405"/>
                    <a:pt x="316" y="446"/>
                    <a:pt x="330" y="456"/>
                  </a:cubicBezTo>
                  <a:cubicBezTo>
                    <a:pt x="345" y="466"/>
                    <a:pt x="409" y="460"/>
                    <a:pt x="418" y="464"/>
                  </a:cubicBezTo>
                  <a:cubicBezTo>
                    <a:pt x="427" y="468"/>
                    <a:pt x="447" y="491"/>
                    <a:pt x="459" y="491"/>
                  </a:cubicBezTo>
                  <a:cubicBezTo>
                    <a:pt x="471" y="491"/>
                    <a:pt x="450" y="464"/>
                    <a:pt x="450" y="464"/>
                  </a:cubicBezTo>
                  <a:lnTo>
                    <a:pt x="452" y="45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56" name="Freeform 336">
              <a:extLst>
                <a:ext uri="{FF2B5EF4-FFF2-40B4-BE49-F238E27FC236}">
                  <a16:creationId xmlns:a16="http://schemas.microsoft.com/office/drawing/2014/main" id="{41E61744-A93B-9B76-A048-FC4017552E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0" y="-10710"/>
              <a:ext cx="5147" cy="2077"/>
            </a:xfrm>
            <a:custGeom>
              <a:avLst/>
              <a:gdLst>
                <a:gd name="T0" fmla="*/ 455 w 2179"/>
                <a:gd name="T1" fmla="*/ 287 h 879"/>
                <a:gd name="T2" fmla="*/ 603 w 2179"/>
                <a:gd name="T3" fmla="*/ 446 h 879"/>
                <a:gd name="T4" fmla="*/ 558 w 2179"/>
                <a:gd name="T5" fmla="*/ 443 h 879"/>
                <a:gd name="T6" fmla="*/ 162 w 2179"/>
                <a:gd name="T7" fmla="*/ 330 h 879"/>
                <a:gd name="T8" fmla="*/ 40 w 2179"/>
                <a:gd name="T9" fmla="*/ 174 h 879"/>
                <a:gd name="T10" fmla="*/ 1708 w 2179"/>
                <a:gd name="T11" fmla="*/ 314 h 879"/>
                <a:gd name="T12" fmla="*/ 1627 w 2179"/>
                <a:gd name="T13" fmla="*/ 412 h 879"/>
                <a:gd name="T14" fmla="*/ 1950 w 2179"/>
                <a:gd name="T15" fmla="*/ 413 h 879"/>
                <a:gd name="T16" fmla="*/ 1124 w 2179"/>
                <a:gd name="T17" fmla="*/ 485 h 879"/>
                <a:gd name="T18" fmla="*/ 1210 w 2179"/>
                <a:gd name="T19" fmla="*/ 476 h 879"/>
                <a:gd name="T20" fmla="*/ 1285 w 2179"/>
                <a:gd name="T21" fmla="*/ 614 h 879"/>
                <a:gd name="T22" fmla="*/ 1291 w 2179"/>
                <a:gd name="T23" fmla="*/ 446 h 879"/>
                <a:gd name="T24" fmla="*/ 1240 w 2179"/>
                <a:gd name="T25" fmla="*/ 370 h 879"/>
                <a:gd name="T26" fmla="*/ 1415 w 2179"/>
                <a:gd name="T27" fmla="*/ 258 h 879"/>
                <a:gd name="T28" fmla="*/ 1253 w 2179"/>
                <a:gd name="T29" fmla="*/ 232 h 879"/>
                <a:gd name="T30" fmla="*/ 1328 w 2179"/>
                <a:gd name="T31" fmla="*/ 387 h 879"/>
                <a:gd name="T32" fmla="*/ 1127 w 2179"/>
                <a:gd name="T33" fmla="*/ 743 h 879"/>
                <a:gd name="T34" fmla="*/ 1542 w 2179"/>
                <a:gd name="T35" fmla="*/ 370 h 879"/>
                <a:gd name="T36" fmla="*/ 1603 w 2179"/>
                <a:gd name="T37" fmla="*/ 288 h 879"/>
                <a:gd name="T38" fmla="*/ 1548 w 2179"/>
                <a:gd name="T39" fmla="*/ 230 h 879"/>
                <a:gd name="T40" fmla="*/ 1517 w 2179"/>
                <a:gd name="T41" fmla="*/ 471 h 879"/>
                <a:gd name="T42" fmla="*/ 1634 w 2179"/>
                <a:gd name="T43" fmla="*/ 448 h 879"/>
                <a:gd name="T44" fmla="*/ 1654 w 2179"/>
                <a:gd name="T45" fmla="*/ 509 h 879"/>
                <a:gd name="T46" fmla="*/ 2007 w 2179"/>
                <a:gd name="T47" fmla="*/ 423 h 879"/>
                <a:gd name="T48" fmla="*/ 1820 w 2179"/>
                <a:gd name="T49" fmla="*/ 350 h 879"/>
                <a:gd name="T50" fmla="*/ 1749 w 2179"/>
                <a:gd name="T51" fmla="*/ 393 h 879"/>
                <a:gd name="T52" fmla="*/ 1790 w 2179"/>
                <a:gd name="T53" fmla="*/ 530 h 879"/>
                <a:gd name="T54" fmla="*/ 1964 w 2179"/>
                <a:gd name="T55" fmla="*/ 567 h 879"/>
                <a:gd name="T56" fmla="*/ 2077 w 2179"/>
                <a:gd name="T57" fmla="*/ 729 h 879"/>
                <a:gd name="T58" fmla="*/ 2168 w 2179"/>
                <a:gd name="T59" fmla="*/ 726 h 879"/>
                <a:gd name="T60" fmla="*/ 258 w 2179"/>
                <a:gd name="T61" fmla="*/ 478 h 879"/>
                <a:gd name="T62" fmla="*/ 2037 w 2179"/>
                <a:gd name="T63" fmla="*/ 711 h 879"/>
                <a:gd name="T64" fmla="*/ 1860 w 2179"/>
                <a:gd name="T65" fmla="*/ 679 h 879"/>
                <a:gd name="T66" fmla="*/ 1427 w 2179"/>
                <a:gd name="T67" fmla="*/ 403 h 879"/>
                <a:gd name="T68" fmla="*/ 863 w 2179"/>
                <a:gd name="T69" fmla="*/ 677 h 879"/>
                <a:gd name="T70" fmla="*/ 499 w 2179"/>
                <a:gd name="T71" fmla="*/ 620 h 879"/>
                <a:gd name="T72" fmla="*/ 450 w 2179"/>
                <a:gd name="T73" fmla="*/ 413 h 879"/>
                <a:gd name="T74" fmla="*/ 340 w 2179"/>
                <a:gd name="T75" fmla="*/ 238 h 879"/>
                <a:gd name="T76" fmla="*/ 151 w 2179"/>
                <a:gd name="T77" fmla="*/ 72 h 879"/>
                <a:gd name="T78" fmla="*/ 119 w 2179"/>
                <a:gd name="T79" fmla="*/ 154 h 879"/>
                <a:gd name="T80" fmla="*/ 275 w 2179"/>
                <a:gd name="T81" fmla="*/ 408 h 879"/>
                <a:gd name="T82" fmla="*/ 444 w 2179"/>
                <a:gd name="T83" fmla="*/ 630 h 879"/>
                <a:gd name="T84" fmla="*/ 1408 w 2179"/>
                <a:gd name="T85" fmla="*/ 828 h 879"/>
                <a:gd name="T86" fmla="*/ 778 w 2179"/>
                <a:gd name="T87" fmla="*/ 674 h 879"/>
                <a:gd name="T88" fmla="*/ 535 w 2179"/>
                <a:gd name="T89" fmla="*/ 624 h 879"/>
                <a:gd name="T90" fmla="*/ 705 w 2179"/>
                <a:gd name="T91" fmla="*/ 728 h 879"/>
                <a:gd name="T92" fmla="*/ 1004 w 2179"/>
                <a:gd name="T93" fmla="*/ 484 h 879"/>
                <a:gd name="T94" fmla="*/ 1139 w 2179"/>
                <a:gd name="T95" fmla="*/ 271 h 879"/>
                <a:gd name="T96" fmla="*/ 1086 w 2179"/>
                <a:gd name="T97" fmla="*/ 110 h 879"/>
                <a:gd name="T98" fmla="*/ 939 w 2179"/>
                <a:gd name="T99" fmla="*/ 208 h 879"/>
                <a:gd name="T100" fmla="*/ 712 w 2179"/>
                <a:gd name="T101" fmla="*/ 247 h 879"/>
                <a:gd name="T102" fmla="*/ 716 w 2179"/>
                <a:gd name="T103" fmla="*/ 388 h 879"/>
                <a:gd name="T104" fmla="*/ 822 w 2179"/>
                <a:gd name="T105" fmla="*/ 472 h 879"/>
                <a:gd name="T106" fmla="*/ 974 w 2179"/>
                <a:gd name="T107" fmla="*/ 755 h 879"/>
                <a:gd name="T108" fmla="*/ 1187 w 2179"/>
                <a:gd name="T109" fmla="*/ 827 h 879"/>
                <a:gd name="T110" fmla="*/ 1151 w 2179"/>
                <a:gd name="T111" fmla="*/ 787 h 879"/>
                <a:gd name="T112" fmla="*/ 1056 w 2179"/>
                <a:gd name="T113" fmla="*/ 774 h 879"/>
                <a:gd name="T114" fmla="*/ 1067 w 2179"/>
                <a:gd name="T115" fmla="*/ 771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79" h="879">
                  <a:moveTo>
                    <a:pt x="1196" y="656"/>
                  </a:moveTo>
                  <a:cubicBezTo>
                    <a:pt x="1210" y="655"/>
                    <a:pt x="1210" y="655"/>
                    <a:pt x="1210" y="655"/>
                  </a:cubicBezTo>
                  <a:cubicBezTo>
                    <a:pt x="1218" y="637"/>
                    <a:pt x="1218" y="637"/>
                    <a:pt x="1218" y="637"/>
                  </a:cubicBezTo>
                  <a:cubicBezTo>
                    <a:pt x="1215" y="622"/>
                    <a:pt x="1215" y="622"/>
                    <a:pt x="1215" y="622"/>
                  </a:cubicBezTo>
                  <a:lnTo>
                    <a:pt x="1196" y="656"/>
                  </a:lnTo>
                  <a:close/>
                  <a:moveTo>
                    <a:pt x="453" y="310"/>
                  </a:moveTo>
                  <a:cubicBezTo>
                    <a:pt x="472" y="321"/>
                    <a:pt x="472" y="321"/>
                    <a:pt x="472" y="321"/>
                  </a:cubicBezTo>
                  <a:cubicBezTo>
                    <a:pt x="472" y="300"/>
                    <a:pt x="472" y="300"/>
                    <a:pt x="472" y="300"/>
                  </a:cubicBezTo>
                  <a:cubicBezTo>
                    <a:pt x="455" y="287"/>
                    <a:pt x="455" y="287"/>
                    <a:pt x="455" y="287"/>
                  </a:cubicBezTo>
                  <a:lnTo>
                    <a:pt x="453" y="310"/>
                  </a:lnTo>
                  <a:close/>
                  <a:moveTo>
                    <a:pt x="455" y="331"/>
                  </a:moveTo>
                  <a:cubicBezTo>
                    <a:pt x="441" y="344"/>
                    <a:pt x="441" y="344"/>
                    <a:pt x="441" y="344"/>
                  </a:cubicBezTo>
                  <a:cubicBezTo>
                    <a:pt x="458" y="365"/>
                    <a:pt x="458" y="365"/>
                    <a:pt x="458" y="365"/>
                  </a:cubicBezTo>
                  <a:lnTo>
                    <a:pt x="455" y="331"/>
                  </a:lnTo>
                  <a:close/>
                  <a:moveTo>
                    <a:pt x="611" y="478"/>
                  </a:moveTo>
                  <a:cubicBezTo>
                    <a:pt x="624" y="491"/>
                    <a:pt x="624" y="491"/>
                    <a:pt x="624" y="491"/>
                  </a:cubicBezTo>
                  <a:cubicBezTo>
                    <a:pt x="630" y="474"/>
                    <a:pt x="630" y="474"/>
                    <a:pt x="630" y="474"/>
                  </a:cubicBezTo>
                  <a:cubicBezTo>
                    <a:pt x="630" y="474"/>
                    <a:pt x="622" y="444"/>
                    <a:pt x="603" y="446"/>
                  </a:cubicBezTo>
                  <a:cubicBezTo>
                    <a:pt x="584" y="447"/>
                    <a:pt x="590" y="466"/>
                    <a:pt x="596" y="484"/>
                  </a:cubicBezTo>
                  <a:lnTo>
                    <a:pt x="611" y="478"/>
                  </a:lnTo>
                  <a:close/>
                  <a:moveTo>
                    <a:pt x="459" y="249"/>
                  </a:moveTo>
                  <a:cubicBezTo>
                    <a:pt x="454" y="237"/>
                    <a:pt x="440" y="244"/>
                    <a:pt x="450" y="260"/>
                  </a:cubicBezTo>
                  <a:cubicBezTo>
                    <a:pt x="461" y="279"/>
                    <a:pt x="464" y="261"/>
                    <a:pt x="459" y="249"/>
                  </a:cubicBezTo>
                  <a:close/>
                  <a:moveTo>
                    <a:pt x="507" y="418"/>
                  </a:moveTo>
                  <a:cubicBezTo>
                    <a:pt x="507" y="418"/>
                    <a:pt x="512" y="447"/>
                    <a:pt x="523" y="459"/>
                  </a:cubicBezTo>
                  <a:cubicBezTo>
                    <a:pt x="533" y="471"/>
                    <a:pt x="559" y="471"/>
                    <a:pt x="559" y="471"/>
                  </a:cubicBezTo>
                  <a:cubicBezTo>
                    <a:pt x="558" y="443"/>
                    <a:pt x="558" y="443"/>
                    <a:pt x="558" y="443"/>
                  </a:cubicBezTo>
                  <a:cubicBezTo>
                    <a:pt x="546" y="435"/>
                    <a:pt x="546" y="435"/>
                    <a:pt x="546" y="435"/>
                  </a:cubicBezTo>
                  <a:cubicBezTo>
                    <a:pt x="545" y="415"/>
                    <a:pt x="545" y="415"/>
                    <a:pt x="545" y="415"/>
                  </a:cubicBezTo>
                  <a:cubicBezTo>
                    <a:pt x="545" y="415"/>
                    <a:pt x="530" y="390"/>
                    <a:pt x="508" y="384"/>
                  </a:cubicBezTo>
                  <a:cubicBezTo>
                    <a:pt x="486" y="378"/>
                    <a:pt x="487" y="403"/>
                    <a:pt x="487" y="403"/>
                  </a:cubicBezTo>
                  <a:cubicBezTo>
                    <a:pt x="487" y="403"/>
                    <a:pt x="473" y="399"/>
                    <a:pt x="480" y="419"/>
                  </a:cubicBezTo>
                  <a:lnTo>
                    <a:pt x="507" y="418"/>
                  </a:lnTo>
                  <a:close/>
                  <a:moveTo>
                    <a:pt x="169" y="296"/>
                  </a:moveTo>
                  <a:cubicBezTo>
                    <a:pt x="154" y="310"/>
                    <a:pt x="154" y="310"/>
                    <a:pt x="154" y="310"/>
                  </a:cubicBezTo>
                  <a:cubicBezTo>
                    <a:pt x="162" y="330"/>
                    <a:pt x="162" y="330"/>
                    <a:pt x="162" y="330"/>
                  </a:cubicBezTo>
                  <a:cubicBezTo>
                    <a:pt x="162" y="330"/>
                    <a:pt x="152" y="348"/>
                    <a:pt x="164" y="344"/>
                  </a:cubicBezTo>
                  <a:cubicBezTo>
                    <a:pt x="171" y="341"/>
                    <a:pt x="168" y="316"/>
                    <a:pt x="168" y="316"/>
                  </a:cubicBezTo>
                  <a:cubicBezTo>
                    <a:pt x="175" y="307"/>
                    <a:pt x="175" y="307"/>
                    <a:pt x="175" y="307"/>
                  </a:cubicBezTo>
                  <a:lnTo>
                    <a:pt x="169" y="296"/>
                  </a:lnTo>
                  <a:close/>
                  <a:moveTo>
                    <a:pt x="180" y="360"/>
                  </a:moveTo>
                  <a:cubicBezTo>
                    <a:pt x="170" y="372"/>
                    <a:pt x="176" y="414"/>
                    <a:pt x="198" y="410"/>
                  </a:cubicBezTo>
                  <a:cubicBezTo>
                    <a:pt x="207" y="408"/>
                    <a:pt x="191" y="348"/>
                    <a:pt x="180" y="360"/>
                  </a:cubicBezTo>
                  <a:close/>
                  <a:moveTo>
                    <a:pt x="35" y="152"/>
                  </a:moveTo>
                  <a:cubicBezTo>
                    <a:pt x="30" y="157"/>
                    <a:pt x="28" y="173"/>
                    <a:pt x="40" y="174"/>
                  </a:cubicBezTo>
                  <a:cubicBezTo>
                    <a:pt x="52" y="176"/>
                    <a:pt x="55" y="189"/>
                    <a:pt x="66" y="181"/>
                  </a:cubicBezTo>
                  <a:cubicBezTo>
                    <a:pt x="73" y="175"/>
                    <a:pt x="40" y="146"/>
                    <a:pt x="35" y="152"/>
                  </a:cubicBezTo>
                  <a:close/>
                  <a:moveTo>
                    <a:pt x="112" y="221"/>
                  </a:moveTo>
                  <a:cubicBezTo>
                    <a:pt x="104" y="221"/>
                    <a:pt x="94" y="234"/>
                    <a:pt x="106" y="242"/>
                  </a:cubicBezTo>
                  <a:cubicBezTo>
                    <a:pt x="118" y="250"/>
                    <a:pt x="122" y="280"/>
                    <a:pt x="134" y="280"/>
                  </a:cubicBezTo>
                  <a:cubicBezTo>
                    <a:pt x="141" y="280"/>
                    <a:pt x="142" y="249"/>
                    <a:pt x="138" y="245"/>
                  </a:cubicBezTo>
                  <a:cubicBezTo>
                    <a:pt x="134" y="241"/>
                    <a:pt x="120" y="221"/>
                    <a:pt x="112" y="221"/>
                  </a:cubicBezTo>
                  <a:close/>
                  <a:moveTo>
                    <a:pt x="1721" y="328"/>
                  </a:moveTo>
                  <a:cubicBezTo>
                    <a:pt x="1721" y="328"/>
                    <a:pt x="1725" y="316"/>
                    <a:pt x="1708" y="314"/>
                  </a:cubicBezTo>
                  <a:cubicBezTo>
                    <a:pt x="1691" y="311"/>
                    <a:pt x="1680" y="316"/>
                    <a:pt x="1680" y="316"/>
                  </a:cubicBezTo>
                  <a:cubicBezTo>
                    <a:pt x="1684" y="334"/>
                    <a:pt x="1684" y="334"/>
                    <a:pt x="1684" y="334"/>
                  </a:cubicBezTo>
                  <a:cubicBezTo>
                    <a:pt x="1693" y="333"/>
                    <a:pt x="1721" y="328"/>
                    <a:pt x="1721" y="328"/>
                  </a:cubicBezTo>
                  <a:close/>
                  <a:moveTo>
                    <a:pt x="230" y="434"/>
                  </a:moveTo>
                  <a:cubicBezTo>
                    <a:pt x="239" y="433"/>
                    <a:pt x="226" y="413"/>
                    <a:pt x="218" y="418"/>
                  </a:cubicBezTo>
                  <a:cubicBezTo>
                    <a:pt x="211" y="422"/>
                    <a:pt x="220" y="436"/>
                    <a:pt x="230" y="434"/>
                  </a:cubicBezTo>
                  <a:close/>
                  <a:moveTo>
                    <a:pt x="1652" y="438"/>
                  </a:moveTo>
                  <a:cubicBezTo>
                    <a:pt x="1674" y="429"/>
                    <a:pt x="1672" y="413"/>
                    <a:pt x="1672" y="413"/>
                  </a:cubicBezTo>
                  <a:cubicBezTo>
                    <a:pt x="1627" y="412"/>
                    <a:pt x="1627" y="412"/>
                    <a:pt x="1627" y="412"/>
                  </a:cubicBezTo>
                  <a:cubicBezTo>
                    <a:pt x="1627" y="412"/>
                    <a:pt x="1630" y="447"/>
                    <a:pt x="1652" y="438"/>
                  </a:cubicBezTo>
                  <a:close/>
                  <a:moveTo>
                    <a:pt x="1609" y="194"/>
                  </a:moveTo>
                  <a:cubicBezTo>
                    <a:pt x="1624" y="182"/>
                    <a:pt x="1618" y="175"/>
                    <a:pt x="1605" y="171"/>
                  </a:cubicBezTo>
                  <a:cubicBezTo>
                    <a:pt x="1592" y="167"/>
                    <a:pt x="1586" y="172"/>
                    <a:pt x="1586" y="172"/>
                  </a:cubicBezTo>
                  <a:cubicBezTo>
                    <a:pt x="1586" y="172"/>
                    <a:pt x="1601" y="202"/>
                    <a:pt x="1609" y="194"/>
                  </a:cubicBezTo>
                  <a:close/>
                  <a:moveTo>
                    <a:pt x="1918" y="353"/>
                  </a:moveTo>
                  <a:cubicBezTo>
                    <a:pt x="1937" y="362"/>
                    <a:pt x="1945" y="353"/>
                    <a:pt x="1930" y="346"/>
                  </a:cubicBezTo>
                  <a:cubicBezTo>
                    <a:pt x="1916" y="340"/>
                    <a:pt x="1910" y="349"/>
                    <a:pt x="1918" y="353"/>
                  </a:cubicBezTo>
                  <a:close/>
                  <a:moveTo>
                    <a:pt x="1950" y="413"/>
                  </a:moveTo>
                  <a:cubicBezTo>
                    <a:pt x="1959" y="413"/>
                    <a:pt x="1986" y="406"/>
                    <a:pt x="1986" y="406"/>
                  </a:cubicBezTo>
                  <a:cubicBezTo>
                    <a:pt x="1986" y="406"/>
                    <a:pt x="1962" y="396"/>
                    <a:pt x="1957" y="395"/>
                  </a:cubicBezTo>
                  <a:cubicBezTo>
                    <a:pt x="1953" y="394"/>
                    <a:pt x="1924" y="400"/>
                    <a:pt x="1924" y="400"/>
                  </a:cubicBezTo>
                  <a:cubicBezTo>
                    <a:pt x="1924" y="400"/>
                    <a:pt x="1940" y="413"/>
                    <a:pt x="1950" y="413"/>
                  </a:cubicBezTo>
                  <a:close/>
                  <a:moveTo>
                    <a:pt x="1145" y="370"/>
                  </a:moveTo>
                  <a:cubicBezTo>
                    <a:pt x="1142" y="380"/>
                    <a:pt x="1161" y="400"/>
                    <a:pt x="1153" y="409"/>
                  </a:cubicBezTo>
                  <a:cubicBezTo>
                    <a:pt x="1145" y="418"/>
                    <a:pt x="1122" y="424"/>
                    <a:pt x="1120" y="437"/>
                  </a:cubicBezTo>
                  <a:cubicBezTo>
                    <a:pt x="1119" y="451"/>
                    <a:pt x="1130" y="464"/>
                    <a:pt x="1130" y="464"/>
                  </a:cubicBezTo>
                  <a:cubicBezTo>
                    <a:pt x="1130" y="464"/>
                    <a:pt x="1114" y="478"/>
                    <a:pt x="1124" y="485"/>
                  </a:cubicBezTo>
                  <a:cubicBezTo>
                    <a:pt x="1135" y="492"/>
                    <a:pt x="1153" y="477"/>
                    <a:pt x="1157" y="489"/>
                  </a:cubicBezTo>
                  <a:cubicBezTo>
                    <a:pt x="1161" y="501"/>
                    <a:pt x="1153" y="510"/>
                    <a:pt x="1153" y="510"/>
                  </a:cubicBezTo>
                  <a:cubicBezTo>
                    <a:pt x="1164" y="524"/>
                    <a:pt x="1164" y="524"/>
                    <a:pt x="1164" y="524"/>
                  </a:cubicBezTo>
                  <a:cubicBezTo>
                    <a:pt x="1158" y="568"/>
                    <a:pt x="1158" y="568"/>
                    <a:pt x="1158" y="568"/>
                  </a:cubicBezTo>
                  <a:cubicBezTo>
                    <a:pt x="1158" y="568"/>
                    <a:pt x="1134" y="582"/>
                    <a:pt x="1146" y="606"/>
                  </a:cubicBezTo>
                  <a:cubicBezTo>
                    <a:pt x="1157" y="630"/>
                    <a:pt x="1173" y="630"/>
                    <a:pt x="1191" y="612"/>
                  </a:cubicBezTo>
                  <a:cubicBezTo>
                    <a:pt x="1208" y="595"/>
                    <a:pt x="1188" y="566"/>
                    <a:pt x="1188" y="566"/>
                  </a:cubicBezTo>
                  <a:cubicBezTo>
                    <a:pt x="1188" y="566"/>
                    <a:pt x="1209" y="551"/>
                    <a:pt x="1209" y="530"/>
                  </a:cubicBezTo>
                  <a:cubicBezTo>
                    <a:pt x="1208" y="508"/>
                    <a:pt x="1217" y="489"/>
                    <a:pt x="1210" y="476"/>
                  </a:cubicBezTo>
                  <a:cubicBezTo>
                    <a:pt x="1202" y="464"/>
                    <a:pt x="1198" y="439"/>
                    <a:pt x="1200" y="434"/>
                  </a:cubicBezTo>
                  <a:cubicBezTo>
                    <a:pt x="1201" y="429"/>
                    <a:pt x="1207" y="401"/>
                    <a:pt x="1217" y="419"/>
                  </a:cubicBezTo>
                  <a:cubicBezTo>
                    <a:pt x="1228" y="437"/>
                    <a:pt x="1228" y="468"/>
                    <a:pt x="1228" y="468"/>
                  </a:cubicBezTo>
                  <a:cubicBezTo>
                    <a:pt x="1251" y="494"/>
                    <a:pt x="1251" y="494"/>
                    <a:pt x="1251" y="494"/>
                  </a:cubicBezTo>
                  <a:cubicBezTo>
                    <a:pt x="1248" y="529"/>
                    <a:pt x="1248" y="529"/>
                    <a:pt x="1248" y="529"/>
                  </a:cubicBezTo>
                  <a:cubicBezTo>
                    <a:pt x="1265" y="551"/>
                    <a:pt x="1265" y="551"/>
                    <a:pt x="1265" y="551"/>
                  </a:cubicBezTo>
                  <a:cubicBezTo>
                    <a:pt x="1266" y="575"/>
                    <a:pt x="1266" y="575"/>
                    <a:pt x="1266" y="575"/>
                  </a:cubicBezTo>
                  <a:cubicBezTo>
                    <a:pt x="1275" y="624"/>
                    <a:pt x="1275" y="624"/>
                    <a:pt x="1275" y="624"/>
                  </a:cubicBezTo>
                  <a:cubicBezTo>
                    <a:pt x="1285" y="614"/>
                    <a:pt x="1285" y="614"/>
                    <a:pt x="1285" y="614"/>
                  </a:cubicBezTo>
                  <a:cubicBezTo>
                    <a:pt x="1312" y="622"/>
                    <a:pt x="1312" y="622"/>
                    <a:pt x="1312" y="622"/>
                  </a:cubicBezTo>
                  <a:cubicBezTo>
                    <a:pt x="1312" y="622"/>
                    <a:pt x="1314" y="605"/>
                    <a:pt x="1313" y="592"/>
                  </a:cubicBezTo>
                  <a:cubicBezTo>
                    <a:pt x="1312" y="579"/>
                    <a:pt x="1319" y="572"/>
                    <a:pt x="1319" y="572"/>
                  </a:cubicBezTo>
                  <a:cubicBezTo>
                    <a:pt x="1325" y="588"/>
                    <a:pt x="1325" y="588"/>
                    <a:pt x="1325" y="588"/>
                  </a:cubicBezTo>
                  <a:cubicBezTo>
                    <a:pt x="1325" y="588"/>
                    <a:pt x="1342" y="590"/>
                    <a:pt x="1344" y="574"/>
                  </a:cubicBezTo>
                  <a:cubicBezTo>
                    <a:pt x="1345" y="558"/>
                    <a:pt x="1341" y="546"/>
                    <a:pt x="1341" y="546"/>
                  </a:cubicBezTo>
                  <a:cubicBezTo>
                    <a:pt x="1341" y="546"/>
                    <a:pt x="1301" y="514"/>
                    <a:pt x="1303" y="502"/>
                  </a:cubicBezTo>
                  <a:cubicBezTo>
                    <a:pt x="1305" y="490"/>
                    <a:pt x="1324" y="477"/>
                    <a:pt x="1313" y="467"/>
                  </a:cubicBezTo>
                  <a:cubicBezTo>
                    <a:pt x="1301" y="457"/>
                    <a:pt x="1292" y="454"/>
                    <a:pt x="1291" y="446"/>
                  </a:cubicBezTo>
                  <a:cubicBezTo>
                    <a:pt x="1291" y="437"/>
                    <a:pt x="1304" y="418"/>
                    <a:pt x="1290" y="412"/>
                  </a:cubicBezTo>
                  <a:cubicBezTo>
                    <a:pt x="1277" y="407"/>
                    <a:pt x="1257" y="390"/>
                    <a:pt x="1257" y="390"/>
                  </a:cubicBezTo>
                  <a:cubicBezTo>
                    <a:pt x="1257" y="390"/>
                    <a:pt x="1279" y="395"/>
                    <a:pt x="1289" y="385"/>
                  </a:cubicBezTo>
                  <a:cubicBezTo>
                    <a:pt x="1298" y="376"/>
                    <a:pt x="1308" y="354"/>
                    <a:pt x="1308" y="354"/>
                  </a:cubicBezTo>
                  <a:cubicBezTo>
                    <a:pt x="1308" y="354"/>
                    <a:pt x="1347" y="356"/>
                    <a:pt x="1348" y="348"/>
                  </a:cubicBezTo>
                  <a:cubicBezTo>
                    <a:pt x="1349" y="339"/>
                    <a:pt x="1338" y="324"/>
                    <a:pt x="1328" y="323"/>
                  </a:cubicBezTo>
                  <a:cubicBezTo>
                    <a:pt x="1317" y="323"/>
                    <a:pt x="1310" y="341"/>
                    <a:pt x="1310" y="341"/>
                  </a:cubicBezTo>
                  <a:cubicBezTo>
                    <a:pt x="1310" y="341"/>
                    <a:pt x="1281" y="333"/>
                    <a:pt x="1269" y="337"/>
                  </a:cubicBezTo>
                  <a:cubicBezTo>
                    <a:pt x="1258" y="340"/>
                    <a:pt x="1252" y="369"/>
                    <a:pt x="1240" y="370"/>
                  </a:cubicBezTo>
                  <a:cubicBezTo>
                    <a:pt x="1229" y="370"/>
                    <a:pt x="1230" y="350"/>
                    <a:pt x="1213" y="340"/>
                  </a:cubicBezTo>
                  <a:cubicBezTo>
                    <a:pt x="1196" y="330"/>
                    <a:pt x="1188" y="333"/>
                    <a:pt x="1188" y="333"/>
                  </a:cubicBezTo>
                  <a:cubicBezTo>
                    <a:pt x="1188" y="333"/>
                    <a:pt x="1193" y="274"/>
                    <a:pt x="1209" y="273"/>
                  </a:cubicBezTo>
                  <a:cubicBezTo>
                    <a:pt x="1225" y="272"/>
                    <a:pt x="1255" y="283"/>
                    <a:pt x="1269" y="279"/>
                  </a:cubicBezTo>
                  <a:cubicBezTo>
                    <a:pt x="1282" y="276"/>
                    <a:pt x="1273" y="264"/>
                    <a:pt x="1284" y="266"/>
                  </a:cubicBezTo>
                  <a:cubicBezTo>
                    <a:pt x="1296" y="267"/>
                    <a:pt x="1349" y="293"/>
                    <a:pt x="1359" y="294"/>
                  </a:cubicBezTo>
                  <a:cubicBezTo>
                    <a:pt x="1370" y="294"/>
                    <a:pt x="1372" y="285"/>
                    <a:pt x="1379" y="281"/>
                  </a:cubicBezTo>
                  <a:cubicBezTo>
                    <a:pt x="1386" y="277"/>
                    <a:pt x="1399" y="283"/>
                    <a:pt x="1408" y="278"/>
                  </a:cubicBezTo>
                  <a:cubicBezTo>
                    <a:pt x="1417" y="272"/>
                    <a:pt x="1406" y="267"/>
                    <a:pt x="1415" y="258"/>
                  </a:cubicBezTo>
                  <a:cubicBezTo>
                    <a:pt x="1423" y="249"/>
                    <a:pt x="1443" y="240"/>
                    <a:pt x="1443" y="240"/>
                  </a:cubicBezTo>
                  <a:cubicBezTo>
                    <a:pt x="1436" y="220"/>
                    <a:pt x="1436" y="220"/>
                    <a:pt x="1436" y="220"/>
                  </a:cubicBezTo>
                  <a:cubicBezTo>
                    <a:pt x="1384" y="242"/>
                    <a:pt x="1384" y="242"/>
                    <a:pt x="1384" y="242"/>
                  </a:cubicBezTo>
                  <a:cubicBezTo>
                    <a:pt x="1384" y="242"/>
                    <a:pt x="1396" y="255"/>
                    <a:pt x="1381" y="256"/>
                  </a:cubicBezTo>
                  <a:cubicBezTo>
                    <a:pt x="1366" y="257"/>
                    <a:pt x="1353" y="248"/>
                    <a:pt x="1344" y="248"/>
                  </a:cubicBezTo>
                  <a:cubicBezTo>
                    <a:pt x="1336" y="248"/>
                    <a:pt x="1321" y="261"/>
                    <a:pt x="1311" y="259"/>
                  </a:cubicBezTo>
                  <a:cubicBezTo>
                    <a:pt x="1300" y="256"/>
                    <a:pt x="1275" y="244"/>
                    <a:pt x="1268" y="244"/>
                  </a:cubicBezTo>
                  <a:cubicBezTo>
                    <a:pt x="1261" y="244"/>
                    <a:pt x="1245" y="244"/>
                    <a:pt x="1245" y="244"/>
                  </a:cubicBezTo>
                  <a:cubicBezTo>
                    <a:pt x="1253" y="232"/>
                    <a:pt x="1253" y="232"/>
                    <a:pt x="1253" y="232"/>
                  </a:cubicBezTo>
                  <a:cubicBezTo>
                    <a:pt x="1253" y="232"/>
                    <a:pt x="1226" y="225"/>
                    <a:pt x="1223" y="228"/>
                  </a:cubicBezTo>
                  <a:cubicBezTo>
                    <a:pt x="1219" y="232"/>
                    <a:pt x="1224" y="249"/>
                    <a:pt x="1212" y="256"/>
                  </a:cubicBezTo>
                  <a:cubicBezTo>
                    <a:pt x="1201" y="263"/>
                    <a:pt x="1179" y="261"/>
                    <a:pt x="1179" y="267"/>
                  </a:cubicBezTo>
                  <a:cubicBezTo>
                    <a:pt x="1179" y="273"/>
                    <a:pt x="1178" y="287"/>
                    <a:pt x="1178" y="287"/>
                  </a:cubicBezTo>
                  <a:cubicBezTo>
                    <a:pt x="1164" y="289"/>
                    <a:pt x="1164" y="289"/>
                    <a:pt x="1164" y="289"/>
                  </a:cubicBezTo>
                  <a:cubicBezTo>
                    <a:pt x="1174" y="336"/>
                    <a:pt x="1174" y="336"/>
                    <a:pt x="1174" y="336"/>
                  </a:cubicBezTo>
                  <a:cubicBezTo>
                    <a:pt x="1164" y="335"/>
                    <a:pt x="1164" y="335"/>
                    <a:pt x="1164" y="335"/>
                  </a:cubicBezTo>
                  <a:cubicBezTo>
                    <a:pt x="1164" y="335"/>
                    <a:pt x="1147" y="360"/>
                    <a:pt x="1145" y="370"/>
                  </a:cubicBezTo>
                  <a:close/>
                  <a:moveTo>
                    <a:pt x="1328" y="387"/>
                  </a:moveTo>
                  <a:cubicBezTo>
                    <a:pt x="1328" y="400"/>
                    <a:pt x="1328" y="400"/>
                    <a:pt x="1328" y="400"/>
                  </a:cubicBezTo>
                  <a:cubicBezTo>
                    <a:pt x="1328" y="400"/>
                    <a:pt x="1343" y="412"/>
                    <a:pt x="1350" y="395"/>
                  </a:cubicBezTo>
                  <a:cubicBezTo>
                    <a:pt x="1358" y="379"/>
                    <a:pt x="1328" y="387"/>
                    <a:pt x="1328" y="387"/>
                  </a:cubicBezTo>
                  <a:close/>
                  <a:moveTo>
                    <a:pt x="1127" y="743"/>
                  </a:moveTo>
                  <a:cubicBezTo>
                    <a:pt x="1118" y="740"/>
                    <a:pt x="1111" y="746"/>
                    <a:pt x="1111" y="746"/>
                  </a:cubicBezTo>
                  <a:cubicBezTo>
                    <a:pt x="1080" y="739"/>
                    <a:pt x="1080" y="739"/>
                    <a:pt x="1080" y="739"/>
                  </a:cubicBezTo>
                  <a:cubicBezTo>
                    <a:pt x="1099" y="766"/>
                    <a:pt x="1099" y="766"/>
                    <a:pt x="1099" y="766"/>
                  </a:cubicBezTo>
                  <a:cubicBezTo>
                    <a:pt x="1099" y="766"/>
                    <a:pt x="1126" y="793"/>
                    <a:pt x="1132" y="775"/>
                  </a:cubicBezTo>
                  <a:cubicBezTo>
                    <a:pt x="1137" y="758"/>
                    <a:pt x="1136" y="746"/>
                    <a:pt x="1127" y="743"/>
                  </a:cubicBezTo>
                  <a:close/>
                  <a:moveTo>
                    <a:pt x="1400" y="740"/>
                  </a:moveTo>
                  <a:cubicBezTo>
                    <a:pt x="1379" y="754"/>
                    <a:pt x="1379" y="754"/>
                    <a:pt x="1379" y="754"/>
                  </a:cubicBezTo>
                  <a:cubicBezTo>
                    <a:pt x="1400" y="759"/>
                    <a:pt x="1400" y="759"/>
                    <a:pt x="1400" y="759"/>
                  </a:cubicBezTo>
                  <a:lnTo>
                    <a:pt x="1400" y="740"/>
                  </a:lnTo>
                  <a:close/>
                  <a:moveTo>
                    <a:pt x="327" y="200"/>
                  </a:moveTo>
                  <a:cubicBezTo>
                    <a:pt x="315" y="190"/>
                    <a:pt x="304" y="196"/>
                    <a:pt x="310" y="212"/>
                  </a:cubicBezTo>
                  <a:cubicBezTo>
                    <a:pt x="314" y="226"/>
                    <a:pt x="339" y="209"/>
                    <a:pt x="327" y="200"/>
                  </a:cubicBezTo>
                  <a:close/>
                  <a:moveTo>
                    <a:pt x="1569" y="393"/>
                  </a:moveTo>
                  <a:cubicBezTo>
                    <a:pt x="1561" y="383"/>
                    <a:pt x="1542" y="370"/>
                    <a:pt x="1542" y="370"/>
                  </a:cubicBezTo>
                  <a:cubicBezTo>
                    <a:pt x="1540" y="400"/>
                    <a:pt x="1540" y="400"/>
                    <a:pt x="1540" y="400"/>
                  </a:cubicBezTo>
                  <a:cubicBezTo>
                    <a:pt x="1552" y="408"/>
                    <a:pt x="1578" y="404"/>
                    <a:pt x="1569" y="393"/>
                  </a:cubicBezTo>
                  <a:close/>
                  <a:moveTo>
                    <a:pt x="1543" y="318"/>
                  </a:moveTo>
                  <a:cubicBezTo>
                    <a:pt x="1552" y="325"/>
                    <a:pt x="1590" y="359"/>
                    <a:pt x="1599" y="356"/>
                  </a:cubicBezTo>
                  <a:cubicBezTo>
                    <a:pt x="1608" y="353"/>
                    <a:pt x="1598" y="340"/>
                    <a:pt x="1587" y="334"/>
                  </a:cubicBezTo>
                  <a:cubicBezTo>
                    <a:pt x="1577" y="328"/>
                    <a:pt x="1571" y="316"/>
                    <a:pt x="1581" y="306"/>
                  </a:cubicBezTo>
                  <a:cubicBezTo>
                    <a:pt x="1592" y="296"/>
                    <a:pt x="1611" y="306"/>
                    <a:pt x="1611" y="306"/>
                  </a:cubicBezTo>
                  <a:cubicBezTo>
                    <a:pt x="1620" y="299"/>
                    <a:pt x="1620" y="299"/>
                    <a:pt x="1620" y="299"/>
                  </a:cubicBezTo>
                  <a:cubicBezTo>
                    <a:pt x="1603" y="288"/>
                    <a:pt x="1603" y="288"/>
                    <a:pt x="1603" y="288"/>
                  </a:cubicBezTo>
                  <a:cubicBezTo>
                    <a:pt x="1603" y="288"/>
                    <a:pt x="1617" y="281"/>
                    <a:pt x="1620" y="269"/>
                  </a:cubicBezTo>
                  <a:cubicBezTo>
                    <a:pt x="1623" y="258"/>
                    <a:pt x="1608" y="250"/>
                    <a:pt x="1598" y="249"/>
                  </a:cubicBezTo>
                  <a:cubicBezTo>
                    <a:pt x="1587" y="247"/>
                    <a:pt x="1577" y="274"/>
                    <a:pt x="1565" y="275"/>
                  </a:cubicBezTo>
                  <a:cubicBezTo>
                    <a:pt x="1554" y="277"/>
                    <a:pt x="1557" y="250"/>
                    <a:pt x="1557" y="250"/>
                  </a:cubicBezTo>
                  <a:cubicBezTo>
                    <a:pt x="1557" y="250"/>
                    <a:pt x="1567" y="237"/>
                    <a:pt x="1570" y="227"/>
                  </a:cubicBezTo>
                  <a:cubicBezTo>
                    <a:pt x="1573" y="216"/>
                    <a:pt x="1567" y="211"/>
                    <a:pt x="1567" y="211"/>
                  </a:cubicBezTo>
                  <a:cubicBezTo>
                    <a:pt x="1576" y="184"/>
                    <a:pt x="1576" y="184"/>
                    <a:pt x="1576" y="184"/>
                  </a:cubicBezTo>
                  <a:cubicBezTo>
                    <a:pt x="1548" y="211"/>
                    <a:pt x="1548" y="211"/>
                    <a:pt x="1548" y="211"/>
                  </a:cubicBezTo>
                  <a:cubicBezTo>
                    <a:pt x="1548" y="230"/>
                    <a:pt x="1548" y="230"/>
                    <a:pt x="1548" y="230"/>
                  </a:cubicBezTo>
                  <a:cubicBezTo>
                    <a:pt x="1548" y="230"/>
                    <a:pt x="1525" y="240"/>
                    <a:pt x="1527" y="265"/>
                  </a:cubicBezTo>
                  <a:cubicBezTo>
                    <a:pt x="1529" y="281"/>
                    <a:pt x="1540" y="284"/>
                    <a:pt x="1543" y="293"/>
                  </a:cubicBezTo>
                  <a:cubicBezTo>
                    <a:pt x="1546" y="302"/>
                    <a:pt x="1535" y="310"/>
                    <a:pt x="1543" y="318"/>
                  </a:cubicBezTo>
                  <a:close/>
                  <a:moveTo>
                    <a:pt x="1505" y="474"/>
                  </a:moveTo>
                  <a:cubicBezTo>
                    <a:pt x="1496" y="464"/>
                    <a:pt x="1496" y="464"/>
                    <a:pt x="1496" y="464"/>
                  </a:cubicBezTo>
                  <a:cubicBezTo>
                    <a:pt x="1482" y="475"/>
                    <a:pt x="1482" y="475"/>
                    <a:pt x="1482" y="475"/>
                  </a:cubicBezTo>
                  <a:cubicBezTo>
                    <a:pt x="1482" y="475"/>
                    <a:pt x="1475" y="494"/>
                    <a:pt x="1489" y="503"/>
                  </a:cubicBezTo>
                  <a:cubicBezTo>
                    <a:pt x="1502" y="513"/>
                    <a:pt x="1521" y="509"/>
                    <a:pt x="1521" y="509"/>
                  </a:cubicBezTo>
                  <a:cubicBezTo>
                    <a:pt x="1529" y="498"/>
                    <a:pt x="1517" y="471"/>
                    <a:pt x="1517" y="471"/>
                  </a:cubicBezTo>
                  <a:lnTo>
                    <a:pt x="1505" y="474"/>
                  </a:lnTo>
                  <a:close/>
                  <a:moveTo>
                    <a:pt x="1437" y="740"/>
                  </a:moveTo>
                  <a:cubicBezTo>
                    <a:pt x="1487" y="728"/>
                    <a:pt x="1487" y="728"/>
                    <a:pt x="1487" y="728"/>
                  </a:cubicBezTo>
                  <a:cubicBezTo>
                    <a:pt x="1449" y="718"/>
                    <a:pt x="1449" y="718"/>
                    <a:pt x="1449" y="718"/>
                  </a:cubicBezTo>
                  <a:lnTo>
                    <a:pt x="1437" y="740"/>
                  </a:lnTo>
                  <a:close/>
                  <a:moveTo>
                    <a:pt x="1700" y="502"/>
                  </a:moveTo>
                  <a:cubicBezTo>
                    <a:pt x="1686" y="490"/>
                    <a:pt x="1686" y="490"/>
                    <a:pt x="1686" y="490"/>
                  </a:cubicBezTo>
                  <a:cubicBezTo>
                    <a:pt x="1687" y="479"/>
                    <a:pt x="1687" y="479"/>
                    <a:pt x="1687" y="479"/>
                  </a:cubicBezTo>
                  <a:cubicBezTo>
                    <a:pt x="1687" y="479"/>
                    <a:pt x="1681" y="458"/>
                    <a:pt x="1634" y="448"/>
                  </a:cubicBezTo>
                  <a:cubicBezTo>
                    <a:pt x="1618" y="444"/>
                    <a:pt x="1608" y="454"/>
                    <a:pt x="1597" y="459"/>
                  </a:cubicBezTo>
                  <a:cubicBezTo>
                    <a:pt x="1591" y="461"/>
                    <a:pt x="1583" y="457"/>
                    <a:pt x="1579" y="460"/>
                  </a:cubicBezTo>
                  <a:cubicBezTo>
                    <a:pt x="1566" y="468"/>
                    <a:pt x="1562" y="484"/>
                    <a:pt x="1566" y="487"/>
                  </a:cubicBezTo>
                  <a:cubicBezTo>
                    <a:pt x="1573" y="493"/>
                    <a:pt x="1580" y="479"/>
                    <a:pt x="1580" y="479"/>
                  </a:cubicBezTo>
                  <a:cubicBezTo>
                    <a:pt x="1580" y="479"/>
                    <a:pt x="1580" y="495"/>
                    <a:pt x="1591" y="497"/>
                  </a:cubicBezTo>
                  <a:cubicBezTo>
                    <a:pt x="1602" y="498"/>
                    <a:pt x="1604" y="478"/>
                    <a:pt x="1604" y="478"/>
                  </a:cubicBezTo>
                  <a:cubicBezTo>
                    <a:pt x="1604" y="478"/>
                    <a:pt x="1612" y="489"/>
                    <a:pt x="1619" y="489"/>
                  </a:cubicBezTo>
                  <a:cubicBezTo>
                    <a:pt x="1626" y="489"/>
                    <a:pt x="1644" y="474"/>
                    <a:pt x="1644" y="474"/>
                  </a:cubicBezTo>
                  <a:cubicBezTo>
                    <a:pt x="1654" y="509"/>
                    <a:pt x="1654" y="509"/>
                    <a:pt x="1654" y="509"/>
                  </a:cubicBezTo>
                  <a:cubicBezTo>
                    <a:pt x="1673" y="495"/>
                    <a:pt x="1673" y="495"/>
                    <a:pt x="1673" y="495"/>
                  </a:cubicBezTo>
                  <a:cubicBezTo>
                    <a:pt x="1695" y="519"/>
                    <a:pt x="1695" y="519"/>
                    <a:pt x="1695" y="519"/>
                  </a:cubicBezTo>
                  <a:lnTo>
                    <a:pt x="1700" y="502"/>
                  </a:lnTo>
                  <a:close/>
                  <a:moveTo>
                    <a:pt x="2179" y="454"/>
                  </a:moveTo>
                  <a:cubicBezTo>
                    <a:pt x="2153" y="435"/>
                    <a:pt x="2153" y="435"/>
                    <a:pt x="2153" y="435"/>
                  </a:cubicBezTo>
                  <a:cubicBezTo>
                    <a:pt x="2153" y="435"/>
                    <a:pt x="2134" y="437"/>
                    <a:pt x="2124" y="437"/>
                  </a:cubicBezTo>
                  <a:cubicBezTo>
                    <a:pt x="2113" y="437"/>
                    <a:pt x="2045" y="394"/>
                    <a:pt x="2032" y="390"/>
                  </a:cubicBezTo>
                  <a:cubicBezTo>
                    <a:pt x="2019" y="386"/>
                    <a:pt x="1998" y="405"/>
                    <a:pt x="1998" y="405"/>
                  </a:cubicBezTo>
                  <a:cubicBezTo>
                    <a:pt x="2007" y="423"/>
                    <a:pt x="2007" y="423"/>
                    <a:pt x="2007" y="423"/>
                  </a:cubicBezTo>
                  <a:cubicBezTo>
                    <a:pt x="1956" y="428"/>
                    <a:pt x="1956" y="428"/>
                    <a:pt x="1956" y="428"/>
                  </a:cubicBezTo>
                  <a:cubicBezTo>
                    <a:pt x="1960" y="446"/>
                    <a:pt x="1960" y="446"/>
                    <a:pt x="1960" y="446"/>
                  </a:cubicBezTo>
                  <a:cubicBezTo>
                    <a:pt x="1960" y="446"/>
                    <a:pt x="1950" y="477"/>
                    <a:pt x="1913" y="484"/>
                  </a:cubicBezTo>
                  <a:cubicBezTo>
                    <a:pt x="1876" y="492"/>
                    <a:pt x="1886" y="443"/>
                    <a:pt x="1880" y="443"/>
                  </a:cubicBezTo>
                  <a:cubicBezTo>
                    <a:pt x="1875" y="443"/>
                    <a:pt x="1869" y="465"/>
                    <a:pt x="1869" y="465"/>
                  </a:cubicBezTo>
                  <a:cubicBezTo>
                    <a:pt x="1869" y="465"/>
                    <a:pt x="1861" y="448"/>
                    <a:pt x="1861" y="439"/>
                  </a:cubicBezTo>
                  <a:cubicBezTo>
                    <a:pt x="1861" y="429"/>
                    <a:pt x="1862" y="402"/>
                    <a:pt x="1859" y="385"/>
                  </a:cubicBezTo>
                  <a:cubicBezTo>
                    <a:pt x="1857" y="368"/>
                    <a:pt x="1846" y="350"/>
                    <a:pt x="1846" y="350"/>
                  </a:cubicBezTo>
                  <a:cubicBezTo>
                    <a:pt x="1820" y="350"/>
                    <a:pt x="1820" y="350"/>
                    <a:pt x="1820" y="350"/>
                  </a:cubicBezTo>
                  <a:cubicBezTo>
                    <a:pt x="1820" y="350"/>
                    <a:pt x="1799" y="326"/>
                    <a:pt x="1781" y="326"/>
                  </a:cubicBezTo>
                  <a:cubicBezTo>
                    <a:pt x="1763" y="326"/>
                    <a:pt x="1744" y="351"/>
                    <a:pt x="1744" y="351"/>
                  </a:cubicBezTo>
                  <a:cubicBezTo>
                    <a:pt x="1728" y="355"/>
                    <a:pt x="1728" y="355"/>
                    <a:pt x="1728" y="355"/>
                  </a:cubicBezTo>
                  <a:cubicBezTo>
                    <a:pt x="1723" y="367"/>
                    <a:pt x="1723" y="367"/>
                    <a:pt x="1723" y="367"/>
                  </a:cubicBezTo>
                  <a:cubicBezTo>
                    <a:pt x="1711" y="373"/>
                    <a:pt x="1711" y="373"/>
                    <a:pt x="1711" y="373"/>
                  </a:cubicBezTo>
                  <a:cubicBezTo>
                    <a:pt x="1711" y="364"/>
                    <a:pt x="1711" y="364"/>
                    <a:pt x="1711" y="364"/>
                  </a:cubicBezTo>
                  <a:cubicBezTo>
                    <a:pt x="1711" y="364"/>
                    <a:pt x="1704" y="352"/>
                    <a:pt x="1693" y="356"/>
                  </a:cubicBezTo>
                  <a:cubicBezTo>
                    <a:pt x="1693" y="356"/>
                    <a:pt x="1693" y="369"/>
                    <a:pt x="1702" y="382"/>
                  </a:cubicBezTo>
                  <a:cubicBezTo>
                    <a:pt x="1711" y="395"/>
                    <a:pt x="1732" y="388"/>
                    <a:pt x="1749" y="393"/>
                  </a:cubicBezTo>
                  <a:cubicBezTo>
                    <a:pt x="1766" y="398"/>
                    <a:pt x="1751" y="406"/>
                    <a:pt x="1760" y="422"/>
                  </a:cubicBezTo>
                  <a:cubicBezTo>
                    <a:pt x="1769" y="437"/>
                    <a:pt x="1799" y="424"/>
                    <a:pt x="1821" y="424"/>
                  </a:cubicBezTo>
                  <a:cubicBezTo>
                    <a:pt x="1844" y="424"/>
                    <a:pt x="1845" y="429"/>
                    <a:pt x="1845" y="440"/>
                  </a:cubicBezTo>
                  <a:cubicBezTo>
                    <a:pt x="1845" y="450"/>
                    <a:pt x="1819" y="440"/>
                    <a:pt x="1811" y="441"/>
                  </a:cubicBezTo>
                  <a:cubicBezTo>
                    <a:pt x="1803" y="443"/>
                    <a:pt x="1785" y="454"/>
                    <a:pt x="1785" y="454"/>
                  </a:cubicBezTo>
                  <a:cubicBezTo>
                    <a:pt x="1785" y="454"/>
                    <a:pt x="1757" y="454"/>
                    <a:pt x="1751" y="461"/>
                  </a:cubicBezTo>
                  <a:cubicBezTo>
                    <a:pt x="1744" y="467"/>
                    <a:pt x="1774" y="474"/>
                    <a:pt x="1781" y="478"/>
                  </a:cubicBezTo>
                  <a:cubicBezTo>
                    <a:pt x="1787" y="482"/>
                    <a:pt x="1797" y="498"/>
                    <a:pt x="1797" y="498"/>
                  </a:cubicBezTo>
                  <a:cubicBezTo>
                    <a:pt x="1797" y="498"/>
                    <a:pt x="1781" y="517"/>
                    <a:pt x="1790" y="530"/>
                  </a:cubicBezTo>
                  <a:cubicBezTo>
                    <a:pt x="1799" y="543"/>
                    <a:pt x="1819" y="508"/>
                    <a:pt x="1819" y="504"/>
                  </a:cubicBezTo>
                  <a:cubicBezTo>
                    <a:pt x="1819" y="500"/>
                    <a:pt x="1838" y="471"/>
                    <a:pt x="1838" y="471"/>
                  </a:cubicBezTo>
                  <a:cubicBezTo>
                    <a:pt x="1836" y="496"/>
                    <a:pt x="1836" y="496"/>
                    <a:pt x="1836" y="496"/>
                  </a:cubicBezTo>
                  <a:cubicBezTo>
                    <a:pt x="1836" y="496"/>
                    <a:pt x="1849" y="509"/>
                    <a:pt x="1859" y="518"/>
                  </a:cubicBezTo>
                  <a:cubicBezTo>
                    <a:pt x="1870" y="528"/>
                    <a:pt x="1891" y="520"/>
                    <a:pt x="1891" y="520"/>
                  </a:cubicBezTo>
                  <a:cubicBezTo>
                    <a:pt x="1882" y="529"/>
                    <a:pt x="1882" y="529"/>
                    <a:pt x="1882" y="529"/>
                  </a:cubicBezTo>
                  <a:cubicBezTo>
                    <a:pt x="1903" y="549"/>
                    <a:pt x="1903" y="549"/>
                    <a:pt x="1903" y="549"/>
                  </a:cubicBezTo>
                  <a:cubicBezTo>
                    <a:pt x="1941" y="550"/>
                    <a:pt x="1941" y="550"/>
                    <a:pt x="1941" y="550"/>
                  </a:cubicBezTo>
                  <a:cubicBezTo>
                    <a:pt x="1964" y="567"/>
                    <a:pt x="1964" y="567"/>
                    <a:pt x="1964" y="567"/>
                  </a:cubicBezTo>
                  <a:cubicBezTo>
                    <a:pt x="1964" y="567"/>
                    <a:pt x="2006" y="581"/>
                    <a:pt x="2030" y="598"/>
                  </a:cubicBezTo>
                  <a:cubicBezTo>
                    <a:pt x="2053" y="615"/>
                    <a:pt x="2048" y="621"/>
                    <a:pt x="2049" y="640"/>
                  </a:cubicBezTo>
                  <a:cubicBezTo>
                    <a:pt x="2051" y="660"/>
                    <a:pt x="2073" y="669"/>
                    <a:pt x="2073" y="669"/>
                  </a:cubicBezTo>
                  <a:cubicBezTo>
                    <a:pt x="2073" y="669"/>
                    <a:pt x="2056" y="672"/>
                    <a:pt x="2056" y="681"/>
                  </a:cubicBezTo>
                  <a:cubicBezTo>
                    <a:pt x="2056" y="690"/>
                    <a:pt x="2082" y="691"/>
                    <a:pt x="2082" y="691"/>
                  </a:cubicBezTo>
                  <a:cubicBezTo>
                    <a:pt x="2066" y="697"/>
                    <a:pt x="2066" y="697"/>
                    <a:pt x="2066" y="697"/>
                  </a:cubicBezTo>
                  <a:cubicBezTo>
                    <a:pt x="2067" y="705"/>
                    <a:pt x="2067" y="705"/>
                    <a:pt x="2067" y="705"/>
                  </a:cubicBezTo>
                  <a:cubicBezTo>
                    <a:pt x="2072" y="708"/>
                    <a:pt x="2072" y="708"/>
                    <a:pt x="2072" y="708"/>
                  </a:cubicBezTo>
                  <a:cubicBezTo>
                    <a:pt x="2077" y="729"/>
                    <a:pt x="2077" y="729"/>
                    <a:pt x="2077" y="729"/>
                  </a:cubicBezTo>
                  <a:cubicBezTo>
                    <a:pt x="2067" y="750"/>
                    <a:pt x="2067" y="750"/>
                    <a:pt x="2067" y="750"/>
                  </a:cubicBezTo>
                  <a:cubicBezTo>
                    <a:pt x="2073" y="749"/>
                    <a:pt x="2078" y="748"/>
                    <a:pt x="2081" y="749"/>
                  </a:cubicBezTo>
                  <a:cubicBezTo>
                    <a:pt x="2086" y="752"/>
                    <a:pt x="2120" y="737"/>
                    <a:pt x="2120" y="737"/>
                  </a:cubicBezTo>
                  <a:cubicBezTo>
                    <a:pt x="2120" y="755"/>
                    <a:pt x="2120" y="755"/>
                    <a:pt x="2120" y="755"/>
                  </a:cubicBezTo>
                  <a:cubicBezTo>
                    <a:pt x="2120" y="755"/>
                    <a:pt x="2147" y="788"/>
                    <a:pt x="2159" y="797"/>
                  </a:cubicBezTo>
                  <a:cubicBezTo>
                    <a:pt x="2161" y="798"/>
                    <a:pt x="2162" y="799"/>
                    <a:pt x="2164" y="800"/>
                  </a:cubicBezTo>
                  <a:cubicBezTo>
                    <a:pt x="2166" y="768"/>
                    <a:pt x="2166" y="768"/>
                    <a:pt x="2166" y="768"/>
                  </a:cubicBezTo>
                  <a:cubicBezTo>
                    <a:pt x="2162" y="752"/>
                    <a:pt x="2162" y="752"/>
                    <a:pt x="2162" y="752"/>
                  </a:cubicBezTo>
                  <a:cubicBezTo>
                    <a:pt x="2162" y="752"/>
                    <a:pt x="2166" y="733"/>
                    <a:pt x="2168" y="726"/>
                  </a:cubicBezTo>
                  <a:cubicBezTo>
                    <a:pt x="2170" y="718"/>
                    <a:pt x="2173" y="681"/>
                    <a:pt x="2173" y="681"/>
                  </a:cubicBezTo>
                  <a:cubicBezTo>
                    <a:pt x="2173" y="681"/>
                    <a:pt x="2169" y="683"/>
                    <a:pt x="2158" y="676"/>
                  </a:cubicBezTo>
                  <a:cubicBezTo>
                    <a:pt x="2147" y="670"/>
                    <a:pt x="2174" y="652"/>
                    <a:pt x="2174" y="652"/>
                  </a:cubicBezTo>
                  <a:cubicBezTo>
                    <a:pt x="2174" y="652"/>
                    <a:pt x="2173" y="626"/>
                    <a:pt x="2171" y="611"/>
                  </a:cubicBezTo>
                  <a:cubicBezTo>
                    <a:pt x="2169" y="596"/>
                    <a:pt x="2177" y="574"/>
                    <a:pt x="2177" y="554"/>
                  </a:cubicBezTo>
                  <a:cubicBezTo>
                    <a:pt x="2177" y="538"/>
                    <a:pt x="2179" y="474"/>
                    <a:pt x="2179" y="454"/>
                  </a:cubicBezTo>
                  <a:close/>
                  <a:moveTo>
                    <a:pt x="228" y="446"/>
                  </a:moveTo>
                  <a:cubicBezTo>
                    <a:pt x="220" y="453"/>
                    <a:pt x="238" y="462"/>
                    <a:pt x="238" y="462"/>
                  </a:cubicBezTo>
                  <a:cubicBezTo>
                    <a:pt x="238" y="462"/>
                    <a:pt x="250" y="486"/>
                    <a:pt x="258" y="478"/>
                  </a:cubicBezTo>
                  <a:cubicBezTo>
                    <a:pt x="266" y="470"/>
                    <a:pt x="234" y="442"/>
                    <a:pt x="228" y="446"/>
                  </a:cubicBezTo>
                  <a:close/>
                  <a:moveTo>
                    <a:pt x="1691" y="739"/>
                  </a:moveTo>
                  <a:cubicBezTo>
                    <a:pt x="1701" y="745"/>
                    <a:pt x="1701" y="745"/>
                    <a:pt x="1701" y="745"/>
                  </a:cubicBezTo>
                  <a:cubicBezTo>
                    <a:pt x="1720" y="730"/>
                    <a:pt x="1720" y="730"/>
                    <a:pt x="1720" y="730"/>
                  </a:cubicBezTo>
                  <a:cubicBezTo>
                    <a:pt x="1720" y="730"/>
                    <a:pt x="1742" y="738"/>
                    <a:pt x="1742" y="716"/>
                  </a:cubicBezTo>
                  <a:cubicBezTo>
                    <a:pt x="1742" y="694"/>
                    <a:pt x="1691" y="720"/>
                    <a:pt x="1691" y="739"/>
                  </a:cubicBezTo>
                  <a:close/>
                  <a:moveTo>
                    <a:pt x="2068" y="714"/>
                  </a:moveTo>
                  <a:cubicBezTo>
                    <a:pt x="2067" y="713"/>
                    <a:pt x="2067" y="713"/>
                    <a:pt x="2067" y="713"/>
                  </a:cubicBezTo>
                  <a:cubicBezTo>
                    <a:pt x="2065" y="710"/>
                    <a:pt x="2056" y="702"/>
                    <a:pt x="2037" y="711"/>
                  </a:cubicBezTo>
                  <a:cubicBezTo>
                    <a:pt x="2015" y="721"/>
                    <a:pt x="2011" y="759"/>
                    <a:pt x="2011" y="759"/>
                  </a:cubicBezTo>
                  <a:cubicBezTo>
                    <a:pt x="2053" y="754"/>
                    <a:pt x="2053" y="754"/>
                    <a:pt x="2053" y="754"/>
                  </a:cubicBezTo>
                  <a:cubicBezTo>
                    <a:pt x="2053" y="754"/>
                    <a:pt x="2059" y="752"/>
                    <a:pt x="2066" y="750"/>
                  </a:cubicBezTo>
                  <a:cubicBezTo>
                    <a:pt x="2072" y="728"/>
                    <a:pt x="2072" y="728"/>
                    <a:pt x="2072" y="728"/>
                  </a:cubicBezTo>
                  <a:lnTo>
                    <a:pt x="2068" y="714"/>
                  </a:lnTo>
                  <a:close/>
                  <a:moveTo>
                    <a:pt x="1857" y="631"/>
                  </a:moveTo>
                  <a:cubicBezTo>
                    <a:pt x="1847" y="641"/>
                    <a:pt x="1847" y="641"/>
                    <a:pt x="1847" y="641"/>
                  </a:cubicBezTo>
                  <a:cubicBezTo>
                    <a:pt x="1849" y="676"/>
                    <a:pt x="1849" y="676"/>
                    <a:pt x="1849" y="676"/>
                  </a:cubicBezTo>
                  <a:cubicBezTo>
                    <a:pt x="1860" y="679"/>
                    <a:pt x="1860" y="679"/>
                    <a:pt x="1860" y="679"/>
                  </a:cubicBezTo>
                  <a:cubicBezTo>
                    <a:pt x="1859" y="666"/>
                    <a:pt x="1859" y="666"/>
                    <a:pt x="1859" y="666"/>
                  </a:cubicBezTo>
                  <a:cubicBezTo>
                    <a:pt x="1866" y="663"/>
                    <a:pt x="1866" y="663"/>
                    <a:pt x="1866" y="663"/>
                  </a:cubicBezTo>
                  <a:cubicBezTo>
                    <a:pt x="1865" y="648"/>
                    <a:pt x="1865" y="648"/>
                    <a:pt x="1865" y="648"/>
                  </a:cubicBezTo>
                  <a:cubicBezTo>
                    <a:pt x="1856" y="648"/>
                    <a:pt x="1856" y="648"/>
                    <a:pt x="1856" y="648"/>
                  </a:cubicBezTo>
                  <a:cubicBezTo>
                    <a:pt x="1868" y="628"/>
                    <a:pt x="1868" y="628"/>
                    <a:pt x="1868" y="628"/>
                  </a:cubicBezTo>
                  <a:cubicBezTo>
                    <a:pt x="1881" y="606"/>
                    <a:pt x="1881" y="606"/>
                    <a:pt x="1881" y="606"/>
                  </a:cubicBezTo>
                  <a:cubicBezTo>
                    <a:pt x="1862" y="610"/>
                    <a:pt x="1862" y="610"/>
                    <a:pt x="1862" y="610"/>
                  </a:cubicBezTo>
                  <a:lnTo>
                    <a:pt x="1857" y="631"/>
                  </a:lnTo>
                  <a:close/>
                  <a:moveTo>
                    <a:pt x="1427" y="403"/>
                  </a:moveTo>
                  <a:cubicBezTo>
                    <a:pt x="1427" y="403"/>
                    <a:pt x="1405" y="391"/>
                    <a:pt x="1398" y="394"/>
                  </a:cubicBezTo>
                  <a:cubicBezTo>
                    <a:pt x="1392" y="397"/>
                    <a:pt x="1389" y="406"/>
                    <a:pt x="1389" y="406"/>
                  </a:cubicBezTo>
                  <a:cubicBezTo>
                    <a:pt x="1396" y="420"/>
                    <a:pt x="1427" y="415"/>
                    <a:pt x="1427" y="415"/>
                  </a:cubicBezTo>
                  <a:cubicBezTo>
                    <a:pt x="1480" y="405"/>
                    <a:pt x="1480" y="405"/>
                    <a:pt x="1480" y="405"/>
                  </a:cubicBezTo>
                  <a:lnTo>
                    <a:pt x="1427" y="403"/>
                  </a:lnTo>
                  <a:close/>
                  <a:moveTo>
                    <a:pt x="879" y="696"/>
                  </a:moveTo>
                  <a:cubicBezTo>
                    <a:pt x="917" y="669"/>
                    <a:pt x="917" y="669"/>
                    <a:pt x="917" y="669"/>
                  </a:cubicBezTo>
                  <a:cubicBezTo>
                    <a:pt x="914" y="663"/>
                    <a:pt x="914" y="663"/>
                    <a:pt x="914" y="663"/>
                  </a:cubicBezTo>
                  <a:cubicBezTo>
                    <a:pt x="914" y="663"/>
                    <a:pt x="864" y="667"/>
                    <a:pt x="863" y="677"/>
                  </a:cubicBezTo>
                  <a:cubicBezTo>
                    <a:pt x="858" y="702"/>
                    <a:pt x="879" y="696"/>
                    <a:pt x="879" y="696"/>
                  </a:cubicBezTo>
                  <a:close/>
                  <a:moveTo>
                    <a:pt x="959" y="747"/>
                  </a:moveTo>
                  <a:cubicBezTo>
                    <a:pt x="949" y="747"/>
                    <a:pt x="933" y="747"/>
                    <a:pt x="933" y="747"/>
                  </a:cubicBezTo>
                  <a:cubicBezTo>
                    <a:pt x="930" y="766"/>
                    <a:pt x="930" y="766"/>
                    <a:pt x="930" y="766"/>
                  </a:cubicBezTo>
                  <a:cubicBezTo>
                    <a:pt x="930" y="766"/>
                    <a:pt x="940" y="794"/>
                    <a:pt x="953" y="783"/>
                  </a:cubicBezTo>
                  <a:cubicBezTo>
                    <a:pt x="966" y="773"/>
                    <a:pt x="969" y="747"/>
                    <a:pt x="959" y="747"/>
                  </a:cubicBezTo>
                  <a:close/>
                  <a:moveTo>
                    <a:pt x="475" y="622"/>
                  </a:moveTo>
                  <a:cubicBezTo>
                    <a:pt x="480" y="617"/>
                    <a:pt x="480" y="602"/>
                    <a:pt x="480" y="602"/>
                  </a:cubicBezTo>
                  <a:cubicBezTo>
                    <a:pt x="499" y="620"/>
                    <a:pt x="499" y="620"/>
                    <a:pt x="499" y="620"/>
                  </a:cubicBezTo>
                  <a:cubicBezTo>
                    <a:pt x="499" y="620"/>
                    <a:pt x="507" y="597"/>
                    <a:pt x="507" y="581"/>
                  </a:cubicBezTo>
                  <a:cubicBezTo>
                    <a:pt x="507" y="565"/>
                    <a:pt x="516" y="521"/>
                    <a:pt x="516" y="521"/>
                  </a:cubicBezTo>
                  <a:cubicBezTo>
                    <a:pt x="516" y="521"/>
                    <a:pt x="507" y="516"/>
                    <a:pt x="507" y="506"/>
                  </a:cubicBezTo>
                  <a:cubicBezTo>
                    <a:pt x="507" y="497"/>
                    <a:pt x="526" y="482"/>
                    <a:pt x="520" y="477"/>
                  </a:cubicBezTo>
                  <a:cubicBezTo>
                    <a:pt x="515" y="472"/>
                    <a:pt x="510" y="468"/>
                    <a:pt x="510" y="468"/>
                  </a:cubicBezTo>
                  <a:cubicBezTo>
                    <a:pt x="502" y="437"/>
                    <a:pt x="502" y="437"/>
                    <a:pt x="502" y="437"/>
                  </a:cubicBezTo>
                  <a:cubicBezTo>
                    <a:pt x="474" y="438"/>
                    <a:pt x="474" y="438"/>
                    <a:pt x="474" y="438"/>
                  </a:cubicBezTo>
                  <a:cubicBezTo>
                    <a:pt x="474" y="438"/>
                    <a:pt x="478" y="420"/>
                    <a:pt x="471" y="416"/>
                  </a:cubicBezTo>
                  <a:cubicBezTo>
                    <a:pt x="464" y="412"/>
                    <a:pt x="450" y="413"/>
                    <a:pt x="450" y="413"/>
                  </a:cubicBezTo>
                  <a:cubicBezTo>
                    <a:pt x="444" y="366"/>
                    <a:pt x="444" y="366"/>
                    <a:pt x="444" y="366"/>
                  </a:cubicBezTo>
                  <a:cubicBezTo>
                    <a:pt x="444" y="366"/>
                    <a:pt x="402" y="370"/>
                    <a:pt x="399" y="357"/>
                  </a:cubicBezTo>
                  <a:cubicBezTo>
                    <a:pt x="396" y="344"/>
                    <a:pt x="410" y="328"/>
                    <a:pt x="410" y="328"/>
                  </a:cubicBezTo>
                  <a:cubicBezTo>
                    <a:pt x="394" y="326"/>
                    <a:pt x="394" y="326"/>
                    <a:pt x="394" y="326"/>
                  </a:cubicBezTo>
                  <a:cubicBezTo>
                    <a:pt x="394" y="326"/>
                    <a:pt x="419" y="297"/>
                    <a:pt x="410" y="289"/>
                  </a:cubicBezTo>
                  <a:cubicBezTo>
                    <a:pt x="400" y="281"/>
                    <a:pt x="358" y="300"/>
                    <a:pt x="358" y="300"/>
                  </a:cubicBezTo>
                  <a:cubicBezTo>
                    <a:pt x="358" y="300"/>
                    <a:pt x="383" y="276"/>
                    <a:pt x="375" y="272"/>
                  </a:cubicBezTo>
                  <a:cubicBezTo>
                    <a:pt x="367" y="268"/>
                    <a:pt x="343" y="264"/>
                    <a:pt x="343" y="264"/>
                  </a:cubicBezTo>
                  <a:cubicBezTo>
                    <a:pt x="343" y="264"/>
                    <a:pt x="354" y="256"/>
                    <a:pt x="340" y="238"/>
                  </a:cubicBezTo>
                  <a:cubicBezTo>
                    <a:pt x="327" y="221"/>
                    <a:pt x="304" y="220"/>
                    <a:pt x="304" y="220"/>
                  </a:cubicBezTo>
                  <a:cubicBezTo>
                    <a:pt x="304" y="220"/>
                    <a:pt x="298" y="200"/>
                    <a:pt x="291" y="192"/>
                  </a:cubicBezTo>
                  <a:cubicBezTo>
                    <a:pt x="284" y="184"/>
                    <a:pt x="275" y="190"/>
                    <a:pt x="275" y="190"/>
                  </a:cubicBezTo>
                  <a:cubicBezTo>
                    <a:pt x="279" y="205"/>
                    <a:pt x="279" y="205"/>
                    <a:pt x="279" y="205"/>
                  </a:cubicBezTo>
                  <a:cubicBezTo>
                    <a:pt x="279" y="205"/>
                    <a:pt x="254" y="186"/>
                    <a:pt x="248" y="180"/>
                  </a:cubicBezTo>
                  <a:cubicBezTo>
                    <a:pt x="243" y="173"/>
                    <a:pt x="232" y="146"/>
                    <a:pt x="232" y="146"/>
                  </a:cubicBezTo>
                  <a:cubicBezTo>
                    <a:pt x="232" y="146"/>
                    <a:pt x="202" y="125"/>
                    <a:pt x="188" y="113"/>
                  </a:cubicBezTo>
                  <a:cubicBezTo>
                    <a:pt x="175" y="101"/>
                    <a:pt x="152" y="82"/>
                    <a:pt x="152" y="82"/>
                  </a:cubicBezTo>
                  <a:cubicBezTo>
                    <a:pt x="152" y="82"/>
                    <a:pt x="156" y="77"/>
                    <a:pt x="151" y="72"/>
                  </a:cubicBezTo>
                  <a:cubicBezTo>
                    <a:pt x="146" y="66"/>
                    <a:pt x="139" y="60"/>
                    <a:pt x="139" y="60"/>
                  </a:cubicBezTo>
                  <a:cubicBezTo>
                    <a:pt x="139" y="60"/>
                    <a:pt x="128" y="41"/>
                    <a:pt x="120" y="34"/>
                  </a:cubicBezTo>
                  <a:cubicBezTo>
                    <a:pt x="112" y="28"/>
                    <a:pt x="104" y="29"/>
                    <a:pt x="104" y="29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27" y="0"/>
                    <a:pt x="16" y="2"/>
                  </a:cubicBezTo>
                  <a:cubicBezTo>
                    <a:pt x="6" y="5"/>
                    <a:pt x="0" y="29"/>
                    <a:pt x="7" y="41"/>
                  </a:cubicBezTo>
                  <a:cubicBezTo>
                    <a:pt x="14" y="53"/>
                    <a:pt x="88" y="121"/>
                    <a:pt x="88" y="121"/>
                  </a:cubicBezTo>
                  <a:cubicBezTo>
                    <a:pt x="111" y="157"/>
                    <a:pt x="111" y="157"/>
                    <a:pt x="111" y="157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19" y="154"/>
                    <a:pt x="122" y="178"/>
                    <a:pt x="128" y="184"/>
                  </a:cubicBezTo>
                  <a:cubicBezTo>
                    <a:pt x="135" y="189"/>
                    <a:pt x="170" y="202"/>
                    <a:pt x="178" y="218"/>
                  </a:cubicBezTo>
                  <a:cubicBezTo>
                    <a:pt x="186" y="234"/>
                    <a:pt x="194" y="266"/>
                    <a:pt x="194" y="266"/>
                  </a:cubicBezTo>
                  <a:cubicBezTo>
                    <a:pt x="194" y="266"/>
                    <a:pt x="191" y="301"/>
                    <a:pt x="199" y="301"/>
                  </a:cubicBezTo>
                  <a:cubicBezTo>
                    <a:pt x="207" y="301"/>
                    <a:pt x="219" y="293"/>
                    <a:pt x="222" y="302"/>
                  </a:cubicBezTo>
                  <a:cubicBezTo>
                    <a:pt x="224" y="312"/>
                    <a:pt x="230" y="328"/>
                    <a:pt x="230" y="328"/>
                  </a:cubicBezTo>
                  <a:cubicBezTo>
                    <a:pt x="255" y="349"/>
                    <a:pt x="255" y="349"/>
                    <a:pt x="255" y="349"/>
                  </a:cubicBezTo>
                  <a:cubicBezTo>
                    <a:pt x="254" y="365"/>
                    <a:pt x="254" y="365"/>
                    <a:pt x="254" y="365"/>
                  </a:cubicBezTo>
                  <a:cubicBezTo>
                    <a:pt x="275" y="408"/>
                    <a:pt x="275" y="408"/>
                    <a:pt x="275" y="408"/>
                  </a:cubicBezTo>
                  <a:cubicBezTo>
                    <a:pt x="275" y="408"/>
                    <a:pt x="268" y="421"/>
                    <a:pt x="278" y="436"/>
                  </a:cubicBezTo>
                  <a:cubicBezTo>
                    <a:pt x="287" y="450"/>
                    <a:pt x="296" y="453"/>
                    <a:pt x="296" y="453"/>
                  </a:cubicBezTo>
                  <a:cubicBezTo>
                    <a:pt x="296" y="453"/>
                    <a:pt x="306" y="477"/>
                    <a:pt x="314" y="485"/>
                  </a:cubicBezTo>
                  <a:cubicBezTo>
                    <a:pt x="322" y="493"/>
                    <a:pt x="343" y="501"/>
                    <a:pt x="343" y="501"/>
                  </a:cubicBezTo>
                  <a:cubicBezTo>
                    <a:pt x="343" y="526"/>
                    <a:pt x="343" y="526"/>
                    <a:pt x="343" y="526"/>
                  </a:cubicBezTo>
                  <a:cubicBezTo>
                    <a:pt x="343" y="526"/>
                    <a:pt x="392" y="568"/>
                    <a:pt x="395" y="572"/>
                  </a:cubicBezTo>
                  <a:cubicBezTo>
                    <a:pt x="398" y="576"/>
                    <a:pt x="411" y="577"/>
                    <a:pt x="411" y="577"/>
                  </a:cubicBezTo>
                  <a:cubicBezTo>
                    <a:pt x="411" y="577"/>
                    <a:pt x="422" y="602"/>
                    <a:pt x="430" y="606"/>
                  </a:cubicBezTo>
                  <a:cubicBezTo>
                    <a:pt x="438" y="610"/>
                    <a:pt x="440" y="632"/>
                    <a:pt x="444" y="630"/>
                  </a:cubicBezTo>
                  <a:cubicBezTo>
                    <a:pt x="448" y="629"/>
                    <a:pt x="442" y="608"/>
                    <a:pt x="447" y="605"/>
                  </a:cubicBezTo>
                  <a:cubicBezTo>
                    <a:pt x="452" y="602"/>
                    <a:pt x="470" y="628"/>
                    <a:pt x="475" y="622"/>
                  </a:cubicBezTo>
                  <a:close/>
                  <a:moveTo>
                    <a:pt x="1416" y="798"/>
                  </a:moveTo>
                  <a:cubicBezTo>
                    <a:pt x="1409" y="784"/>
                    <a:pt x="1409" y="784"/>
                    <a:pt x="1409" y="784"/>
                  </a:cubicBezTo>
                  <a:cubicBezTo>
                    <a:pt x="1404" y="785"/>
                    <a:pt x="1397" y="786"/>
                    <a:pt x="1392" y="790"/>
                  </a:cubicBezTo>
                  <a:cubicBezTo>
                    <a:pt x="1380" y="797"/>
                    <a:pt x="1380" y="812"/>
                    <a:pt x="1380" y="812"/>
                  </a:cubicBezTo>
                  <a:cubicBezTo>
                    <a:pt x="1380" y="812"/>
                    <a:pt x="1369" y="809"/>
                    <a:pt x="1357" y="820"/>
                  </a:cubicBezTo>
                  <a:cubicBezTo>
                    <a:pt x="1345" y="832"/>
                    <a:pt x="1322" y="855"/>
                    <a:pt x="1342" y="870"/>
                  </a:cubicBezTo>
                  <a:cubicBezTo>
                    <a:pt x="1353" y="879"/>
                    <a:pt x="1393" y="842"/>
                    <a:pt x="1408" y="828"/>
                  </a:cubicBezTo>
                  <a:cubicBezTo>
                    <a:pt x="1405" y="827"/>
                    <a:pt x="1402" y="823"/>
                    <a:pt x="1406" y="817"/>
                  </a:cubicBezTo>
                  <a:cubicBezTo>
                    <a:pt x="1412" y="805"/>
                    <a:pt x="1416" y="798"/>
                    <a:pt x="1416" y="798"/>
                  </a:cubicBezTo>
                  <a:close/>
                  <a:moveTo>
                    <a:pt x="921" y="753"/>
                  </a:moveTo>
                  <a:cubicBezTo>
                    <a:pt x="921" y="734"/>
                    <a:pt x="894" y="734"/>
                    <a:pt x="879" y="731"/>
                  </a:cubicBezTo>
                  <a:cubicBezTo>
                    <a:pt x="865" y="728"/>
                    <a:pt x="866" y="759"/>
                    <a:pt x="866" y="759"/>
                  </a:cubicBezTo>
                  <a:cubicBezTo>
                    <a:pt x="841" y="740"/>
                    <a:pt x="841" y="740"/>
                    <a:pt x="841" y="740"/>
                  </a:cubicBezTo>
                  <a:cubicBezTo>
                    <a:pt x="841" y="740"/>
                    <a:pt x="847" y="724"/>
                    <a:pt x="847" y="700"/>
                  </a:cubicBezTo>
                  <a:cubicBezTo>
                    <a:pt x="847" y="677"/>
                    <a:pt x="799" y="686"/>
                    <a:pt x="799" y="686"/>
                  </a:cubicBezTo>
                  <a:cubicBezTo>
                    <a:pt x="778" y="674"/>
                    <a:pt x="778" y="674"/>
                    <a:pt x="778" y="674"/>
                  </a:cubicBezTo>
                  <a:cubicBezTo>
                    <a:pt x="775" y="659"/>
                    <a:pt x="775" y="659"/>
                    <a:pt x="775" y="659"/>
                  </a:cubicBezTo>
                  <a:cubicBezTo>
                    <a:pt x="749" y="659"/>
                    <a:pt x="749" y="659"/>
                    <a:pt x="749" y="659"/>
                  </a:cubicBezTo>
                  <a:cubicBezTo>
                    <a:pt x="749" y="659"/>
                    <a:pt x="744" y="680"/>
                    <a:pt x="744" y="684"/>
                  </a:cubicBezTo>
                  <a:cubicBezTo>
                    <a:pt x="744" y="688"/>
                    <a:pt x="709" y="677"/>
                    <a:pt x="693" y="674"/>
                  </a:cubicBezTo>
                  <a:cubicBezTo>
                    <a:pt x="677" y="671"/>
                    <a:pt x="648" y="672"/>
                    <a:pt x="648" y="672"/>
                  </a:cubicBezTo>
                  <a:cubicBezTo>
                    <a:pt x="648" y="672"/>
                    <a:pt x="630" y="650"/>
                    <a:pt x="621" y="640"/>
                  </a:cubicBezTo>
                  <a:cubicBezTo>
                    <a:pt x="612" y="630"/>
                    <a:pt x="598" y="641"/>
                    <a:pt x="598" y="641"/>
                  </a:cubicBezTo>
                  <a:cubicBezTo>
                    <a:pt x="598" y="641"/>
                    <a:pt x="573" y="628"/>
                    <a:pt x="567" y="627"/>
                  </a:cubicBezTo>
                  <a:cubicBezTo>
                    <a:pt x="561" y="625"/>
                    <a:pt x="535" y="624"/>
                    <a:pt x="535" y="624"/>
                  </a:cubicBezTo>
                  <a:cubicBezTo>
                    <a:pt x="535" y="624"/>
                    <a:pt x="524" y="615"/>
                    <a:pt x="511" y="619"/>
                  </a:cubicBezTo>
                  <a:cubicBezTo>
                    <a:pt x="498" y="624"/>
                    <a:pt x="498" y="652"/>
                    <a:pt x="491" y="656"/>
                  </a:cubicBezTo>
                  <a:cubicBezTo>
                    <a:pt x="483" y="661"/>
                    <a:pt x="469" y="666"/>
                    <a:pt x="472" y="677"/>
                  </a:cubicBezTo>
                  <a:cubicBezTo>
                    <a:pt x="496" y="672"/>
                    <a:pt x="496" y="672"/>
                    <a:pt x="496" y="672"/>
                  </a:cubicBezTo>
                  <a:cubicBezTo>
                    <a:pt x="527" y="675"/>
                    <a:pt x="527" y="675"/>
                    <a:pt x="527" y="675"/>
                  </a:cubicBezTo>
                  <a:cubicBezTo>
                    <a:pt x="527" y="675"/>
                    <a:pt x="504" y="688"/>
                    <a:pt x="514" y="699"/>
                  </a:cubicBezTo>
                  <a:cubicBezTo>
                    <a:pt x="524" y="709"/>
                    <a:pt x="558" y="691"/>
                    <a:pt x="558" y="691"/>
                  </a:cubicBezTo>
                  <a:cubicBezTo>
                    <a:pt x="558" y="691"/>
                    <a:pt x="608" y="718"/>
                    <a:pt x="623" y="722"/>
                  </a:cubicBezTo>
                  <a:cubicBezTo>
                    <a:pt x="637" y="727"/>
                    <a:pt x="687" y="728"/>
                    <a:pt x="705" y="728"/>
                  </a:cubicBezTo>
                  <a:cubicBezTo>
                    <a:pt x="722" y="728"/>
                    <a:pt x="727" y="747"/>
                    <a:pt x="737" y="756"/>
                  </a:cubicBezTo>
                  <a:cubicBezTo>
                    <a:pt x="747" y="765"/>
                    <a:pt x="780" y="771"/>
                    <a:pt x="794" y="772"/>
                  </a:cubicBezTo>
                  <a:cubicBezTo>
                    <a:pt x="809" y="774"/>
                    <a:pt x="815" y="771"/>
                    <a:pt x="837" y="772"/>
                  </a:cubicBezTo>
                  <a:cubicBezTo>
                    <a:pt x="859" y="774"/>
                    <a:pt x="877" y="801"/>
                    <a:pt x="885" y="806"/>
                  </a:cubicBezTo>
                  <a:cubicBezTo>
                    <a:pt x="894" y="810"/>
                    <a:pt x="904" y="801"/>
                    <a:pt x="904" y="801"/>
                  </a:cubicBezTo>
                  <a:cubicBezTo>
                    <a:pt x="904" y="801"/>
                    <a:pt x="921" y="810"/>
                    <a:pt x="921" y="804"/>
                  </a:cubicBezTo>
                  <a:cubicBezTo>
                    <a:pt x="921" y="793"/>
                    <a:pt x="910" y="778"/>
                    <a:pt x="910" y="778"/>
                  </a:cubicBezTo>
                  <a:cubicBezTo>
                    <a:pt x="910" y="778"/>
                    <a:pt x="921" y="772"/>
                    <a:pt x="921" y="753"/>
                  </a:cubicBezTo>
                  <a:close/>
                  <a:moveTo>
                    <a:pt x="1004" y="484"/>
                  </a:moveTo>
                  <a:cubicBezTo>
                    <a:pt x="1004" y="484"/>
                    <a:pt x="1025" y="467"/>
                    <a:pt x="1031" y="460"/>
                  </a:cubicBezTo>
                  <a:cubicBezTo>
                    <a:pt x="1036" y="453"/>
                    <a:pt x="1055" y="403"/>
                    <a:pt x="1055" y="403"/>
                  </a:cubicBezTo>
                  <a:cubicBezTo>
                    <a:pt x="1055" y="403"/>
                    <a:pt x="1037" y="401"/>
                    <a:pt x="1034" y="388"/>
                  </a:cubicBezTo>
                  <a:cubicBezTo>
                    <a:pt x="1031" y="376"/>
                    <a:pt x="1037" y="361"/>
                    <a:pt x="1042" y="348"/>
                  </a:cubicBezTo>
                  <a:cubicBezTo>
                    <a:pt x="1048" y="334"/>
                    <a:pt x="1070" y="336"/>
                    <a:pt x="1083" y="334"/>
                  </a:cubicBezTo>
                  <a:cubicBezTo>
                    <a:pt x="1095" y="333"/>
                    <a:pt x="1102" y="309"/>
                    <a:pt x="1101" y="301"/>
                  </a:cubicBezTo>
                  <a:cubicBezTo>
                    <a:pt x="1099" y="293"/>
                    <a:pt x="1079" y="301"/>
                    <a:pt x="1079" y="301"/>
                  </a:cubicBezTo>
                  <a:cubicBezTo>
                    <a:pt x="1079" y="301"/>
                    <a:pt x="1076" y="288"/>
                    <a:pt x="1088" y="275"/>
                  </a:cubicBezTo>
                  <a:cubicBezTo>
                    <a:pt x="1101" y="264"/>
                    <a:pt x="1128" y="269"/>
                    <a:pt x="1139" y="271"/>
                  </a:cubicBezTo>
                  <a:cubicBezTo>
                    <a:pt x="1150" y="274"/>
                    <a:pt x="1150" y="257"/>
                    <a:pt x="1150" y="257"/>
                  </a:cubicBezTo>
                  <a:cubicBezTo>
                    <a:pt x="1124" y="235"/>
                    <a:pt x="1124" y="235"/>
                    <a:pt x="1124" y="235"/>
                  </a:cubicBezTo>
                  <a:cubicBezTo>
                    <a:pt x="1124" y="208"/>
                    <a:pt x="1124" y="208"/>
                    <a:pt x="1124" y="208"/>
                  </a:cubicBezTo>
                  <a:cubicBezTo>
                    <a:pt x="1124" y="208"/>
                    <a:pt x="1105" y="207"/>
                    <a:pt x="1105" y="199"/>
                  </a:cubicBezTo>
                  <a:cubicBezTo>
                    <a:pt x="1105" y="191"/>
                    <a:pt x="1117" y="179"/>
                    <a:pt x="1116" y="168"/>
                  </a:cubicBezTo>
                  <a:cubicBezTo>
                    <a:pt x="1115" y="156"/>
                    <a:pt x="1082" y="153"/>
                    <a:pt x="1082" y="153"/>
                  </a:cubicBezTo>
                  <a:cubicBezTo>
                    <a:pt x="1093" y="135"/>
                    <a:pt x="1093" y="135"/>
                    <a:pt x="1093" y="135"/>
                  </a:cubicBezTo>
                  <a:cubicBezTo>
                    <a:pt x="1082" y="130"/>
                    <a:pt x="1082" y="130"/>
                    <a:pt x="1082" y="130"/>
                  </a:cubicBezTo>
                  <a:cubicBezTo>
                    <a:pt x="1086" y="110"/>
                    <a:pt x="1086" y="110"/>
                    <a:pt x="1086" y="110"/>
                  </a:cubicBezTo>
                  <a:cubicBezTo>
                    <a:pt x="1078" y="99"/>
                    <a:pt x="1078" y="99"/>
                    <a:pt x="1078" y="99"/>
                  </a:cubicBezTo>
                  <a:cubicBezTo>
                    <a:pt x="1070" y="92"/>
                    <a:pt x="1051" y="75"/>
                    <a:pt x="1047" y="75"/>
                  </a:cubicBezTo>
                  <a:cubicBezTo>
                    <a:pt x="1043" y="74"/>
                    <a:pt x="1002" y="73"/>
                    <a:pt x="987" y="74"/>
                  </a:cubicBezTo>
                  <a:cubicBezTo>
                    <a:pt x="973" y="75"/>
                    <a:pt x="980" y="97"/>
                    <a:pt x="978" y="113"/>
                  </a:cubicBezTo>
                  <a:cubicBezTo>
                    <a:pt x="977" y="129"/>
                    <a:pt x="968" y="144"/>
                    <a:pt x="968" y="144"/>
                  </a:cubicBezTo>
                  <a:cubicBezTo>
                    <a:pt x="968" y="144"/>
                    <a:pt x="961" y="143"/>
                    <a:pt x="955" y="152"/>
                  </a:cubicBezTo>
                  <a:cubicBezTo>
                    <a:pt x="948" y="161"/>
                    <a:pt x="960" y="177"/>
                    <a:pt x="960" y="177"/>
                  </a:cubicBezTo>
                  <a:cubicBezTo>
                    <a:pt x="938" y="196"/>
                    <a:pt x="938" y="196"/>
                    <a:pt x="938" y="196"/>
                  </a:cubicBezTo>
                  <a:cubicBezTo>
                    <a:pt x="939" y="208"/>
                    <a:pt x="939" y="208"/>
                    <a:pt x="939" y="208"/>
                  </a:cubicBezTo>
                  <a:cubicBezTo>
                    <a:pt x="922" y="231"/>
                    <a:pt x="922" y="231"/>
                    <a:pt x="922" y="231"/>
                  </a:cubicBezTo>
                  <a:cubicBezTo>
                    <a:pt x="906" y="231"/>
                    <a:pt x="906" y="231"/>
                    <a:pt x="906" y="231"/>
                  </a:cubicBezTo>
                  <a:cubicBezTo>
                    <a:pt x="906" y="231"/>
                    <a:pt x="888" y="244"/>
                    <a:pt x="885" y="244"/>
                  </a:cubicBezTo>
                  <a:cubicBezTo>
                    <a:pt x="882" y="245"/>
                    <a:pt x="857" y="229"/>
                    <a:pt x="853" y="227"/>
                  </a:cubicBezTo>
                  <a:cubicBezTo>
                    <a:pt x="849" y="224"/>
                    <a:pt x="824" y="227"/>
                    <a:pt x="824" y="227"/>
                  </a:cubicBezTo>
                  <a:cubicBezTo>
                    <a:pt x="824" y="227"/>
                    <a:pt x="811" y="248"/>
                    <a:pt x="801" y="254"/>
                  </a:cubicBezTo>
                  <a:cubicBezTo>
                    <a:pt x="791" y="260"/>
                    <a:pt x="778" y="251"/>
                    <a:pt x="764" y="251"/>
                  </a:cubicBezTo>
                  <a:cubicBezTo>
                    <a:pt x="749" y="251"/>
                    <a:pt x="750" y="259"/>
                    <a:pt x="746" y="261"/>
                  </a:cubicBezTo>
                  <a:cubicBezTo>
                    <a:pt x="742" y="264"/>
                    <a:pt x="720" y="256"/>
                    <a:pt x="712" y="247"/>
                  </a:cubicBezTo>
                  <a:cubicBezTo>
                    <a:pt x="708" y="243"/>
                    <a:pt x="706" y="237"/>
                    <a:pt x="703" y="231"/>
                  </a:cubicBezTo>
                  <a:cubicBezTo>
                    <a:pt x="703" y="231"/>
                    <a:pt x="703" y="231"/>
                    <a:pt x="703" y="231"/>
                  </a:cubicBezTo>
                  <a:cubicBezTo>
                    <a:pt x="703" y="231"/>
                    <a:pt x="684" y="213"/>
                    <a:pt x="671" y="227"/>
                  </a:cubicBezTo>
                  <a:cubicBezTo>
                    <a:pt x="657" y="242"/>
                    <a:pt x="650" y="278"/>
                    <a:pt x="650" y="278"/>
                  </a:cubicBezTo>
                  <a:cubicBezTo>
                    <a:pt x="666" y="300"/>
                    <a:pt x="666" y="300"/>
                    <a:pt x="666" y="300"/>
                  </a:cubicBezTo>
                  <a:cubicBezTo>
                    <a:pt x="673" y="335"/>
                    <a:pt x="673" y="335"/>
                    <a:pt x="673" y="335"/>
                  </a:cubicBezTo>
                  <a:cubicBezTo>
                    <a:pt x="704" y="353"/>
                    <a:pt x="704" y="353"/>
                    <a:pt x="704" y="353"/>
                  </a:cubicBezTo>
                  <a:cubicBezTo>
                    <a:pt x="699" y="377"/>
                    <a:pt x="699" y="377"/>
                    <a:pt x="699" y="377"/>
                  </a:cubicBezTo>
                  <a:cubicBezTo>
                    <a:pt x="716" y="388"/>
                    <a:pt x="716" y="388"/>
                    <a:pt x="716" y="388"/>
                  </a:cubicBezTo>
                  <a:cubicBezTo>
                    <a:pt x="705" y="407"/>
                    <a:pt x="705" y="407"/>
                    <a:pt x="705" y="407"/>
                  </a:cubicBezTo>
                  <a:cubicBezTo>
                    <a:pt x="718" y="425"/>
                    <a:pt x="718" y="425"/>
                    <a:pt x="718" y="425"/>
                  </a:cubicBezTo>
                  <a:cubicBezTo>
                    <a:pt x="707" y="432"/>
                    <a:pt x="707" y="432"/>
                    <a:pt x="707" y="432"/>
                  </a:cubicBezTo>
                  <a:cubicBezTo>
                    <a:pt x="717" y="470"/>
                    <a:pt x="717" y="470"/>
                    <a:pt x="717" y="470"/>
                  </a:cubicBezTo>
                  <a:cubicBezTo>
                    <a:pt x="745" y="466"/>
                    <a:pt x="745" y="466"/>
                    <a:pt x="745" y="466"/>
                  </a:cubicBezTo>
                  <a:cubicBezTo>
                    <a:pt x="765" y="473"/>
                    <a:pt x="765" y="473"/>
                    <a:pt x="765" y="473"/>
                  </a:cubicBezTo>
                  <a:cubicBezTo>
                    <a:pt x="765" y="473"/>
                    <a:pt x="777" y="451"/>
                    <a:pt x="789" y="451"/>
                  </a:cubicBezTo>
                  <a:cubicBezTo>
                    <a:pt x="801" y="451"/>
                    <a:pt x="789" y="483"/>
                    <a:pt x="801" y="493"/>
                  </a:cubicBezTo>
                  <a:cubicBezTo>
                    <a:pt x="812" y="502"/>
                    <a:pt x="822" y="472"/>
                    <a:pt x="822" y="472"/>
                  </a:cubicBezTo>
                  <a:cubicBezTo>
                    <a:pt x="840" y="484"/>
                    <a:pt x="840" y="484"/>
                    <a:pt x="840" y="484"/>
                  </a:cubicBezTo>
                  <a:cubicBezTo>
                    <a:pt x="840" y="484"/>
                    <a:pt x="856" y="470"/>
                    <a:pt x="865" y="470"/>
                  </a:cubicBezTo>
                  <a:cubicBezTo>
                    <a:pt x="874" y="469"/>
                    <a:pt x="868" y="495"/>
                    <a:pt x="878" y="498"/>
                  </a:cubicBezTo>
                  <a:cubicBezTo>
                    <a:pt x="888" y="502"/>
                    <a:pt x="919" y="486"/>
                    <a:pt x="935" y="489"/>
                  </a:cubicBezTo>
                  <a:cubicBezTo>
                    <a:pt x="951" y="493"/>
                    <a:pt x="936" y="542"/>
                    <a:pt x="936" y="542"/>
                  </a:cubicBezTo>
                  <a:cubicBezTo>
                    <a:pt x="936" y="542"/>
                    <a:pt x="950" y="538"/>
                    <a:pt x="966" y="531"/>
                  </a:cubicBezTo>
                  <a:cubicBezTo>
                    <a:pt x="982" y="523"/>
                    <a:pt x="1004" y="484"/>
                    <a:pt x="1004" y="484"/>
                  </a:cubicBezTo>
                  <a:close/>
                  <a:moveTo>
                    <a:pt x="990" y="745"/>
                  </a:moveTo>
                  <a:cubicBezTo>
                    <a:pt x="980" y="744"/>
                    <a:pt x="974" y="755"/>
                    <a:pt x="974" y="755"/>
                  </a:cubicBezTo>
                  <a:cubicBezTo>
                    <a:pt x="974" y="755"/>
                    <a:pt x="991" y="770"/>
                    <a:pt x="1002" y="763"/>
                  </a:cubicBezTo>
                  <a:cubicBezTo>
                    <a:pt x="1012" y="755"/>
                    <a:pt x="1000" y="747"/>
                    <a:pt x="990" y="745"/>
                  </a:cubicBezTo>
                  <a:close/>
                  <a:moveTo>
                    <a:pt x="1148" y="822"/>
                  </a:moveTo>
                  <a:cubicBezTo>
                    <a:pt x="1125" y="815"/>
                    <a:pt x="1125" y="815"/>
                    <a:pt x="1125" y="815"/>
                  </a:cubicBezTo>
                  <a:cubicBezTo>
                    <a:pt x="1118" y="821"/>
                    <a:pt x="1119" y="822"/>
                    <a:pt x="1129" y="838"/>
                  </a:cubicBezTo>
                  <a:cubicBezTo>
                    <a:pt x="1140" y="854"/>
                    <a:pt x="1147" y="843"/>
                    <a:pt x="1160" y="843"/>
                  </a:cubicBezTo>
                  <a:cubicBezTo>
                    <a:pt x="1173" y="843"/>
                    <a:pt x="1163" y="852"/>
                    <a:pt x="1173" y="862"/>
                  </a:cubicBezTo>
                  <a:cubicBezTo>
                    <a:pt x="1184" y="872"/>
                    <a:pt x="1204" y="863"/>
                    <a:pt x="1204" y="863"/>
                  </a:cubicBezTo>
                  <a:cubicBezTo>
                    <a:pt x="1204" y="863"/>
                    <a:pt x="1200" y="844"/>
                    <a:pt x="1187" y="827"/>
                  </a:cubicBezTo>
                  <a:cubicBezTo>
                    <a:pt x="1173" y="809"/>
                    <a:pt x="1148" y="822"/>
                    <a:pt x="1148" y="822"/>
                  </a:cubicBezTo>
                  <a:close/>
                  <a:moveTo>
                    <a:pt x="1312" y="751"/>
                  </a:moveTo>
                  <a:cubicBezTo>
                    <a:pt x="1293" y="767"/>
                    <a:pt x="1293" y="767"/>
                    <a:pt x="1293" y="767"/>
                  </a:cubicBezTo>
                  <a:cubicBezTo>
                    <a:pt x="1293" y="767"/>
                    <a:pt x="1282" y="755"/>
                    <a:pt x="1271" y="756"/>
                  </a:cubicBezTo>
                  <a:cubicBezTo>
                    <a:pt x="1261" y="758"/>
                    <a:pt x="1249" y="771"/>
                    <a:pt x="1249" y="771"/>
                  </a:cubicBezTo>
                  <a:cubicBezTo>
                    <a:pt x="1249" y="771"/>
                    <a:pt x="1239" y="745"/>
                    <a:pt x="1221" y="748"/>
                  </a:cubicBezTo>
                  <a:cubicBezTo>
                    <a:pt x="1204" y="751"/>
                    <a:pt x="1182" y="777"/>
                    <a:pt x="1182" y="777"/>
                  </a:cubicBezTo>
                  <a:cubicBezTo>
                    <a:pt x="1158" y="775"/>
                    <a:pt x="1158" y="775"/>
                    <a:pt x="1158" y="775"/>
                  </a:cubicBezTo>
                  <a:cubicBezTo>
                    <a:pt x="1151" y="787"/>
                    <a:pt x="1151" y="787"/>
                    <a:pt x="1151" y="787"/>
                  </a:cubicBezTo>
                  <a:cubicBezTo>
                    <a:pt x="1167" y="784"/>
                    <a:pt x="1167" y="784"/>
                    <a:pt x="1167" y="784"/>
                  </a:cubicBezTo>
                  <a:cubicBezTo>
                    <a:pt x="1167" y="784"/>
                    <a:pt x="1179" y="790"/>
                    <a:pt x="1191" y="795"/>
                  </a:cubicBezTo>
                  <a:cubicBezTo>
                    <a:pt x="1202" y="799"/>
                    <a:pt x="1214" y="781"/>
                    <a:pt x="1214" y="781"/>
                  </a:cubicBezTo>
                  <a:cubicBezTo>
                    <a:pt x="1276" y="780"/>
                    <a:pt x="1276" y="780"/>
                    <a:pt x="1276" y="780"/>
                  </a:cubicBezTo>
                  <a:cubicBezTo>
                    <a:pt x="1308" y="775"/>
                    <a:pt x="1308" y="775"/>
                    <a:pt x="1308" y="775"/>
                  </a:cubicBezTo>
                  <a:cubicBezTo>
                    <a:pt x="1334" y="752"/>
                    <a:pt x="1334" y="752"/>
                    <a:pt x="1334" y="752"/>
                  </a:cubicBezTo>
                  <a:cubicBezTo>
                    <a:pt x="1333" y="742"/>
                    <a:pt x="1333" y="742"/>
                    <a:pt x="1333" y="742"/>
                  </a:cubicBezTo>
                  <a:lnTo>
                    <a:pt x="1312" y="751"/>
                  </a:lnTo>
                  <a:close/>
                  <a:moveTo>
                    <a:pt x="1056" y="774"/>
                  </a:moveTo>
                  <a:cubicBezTo>
                    <a:pt x="1056" y="774"/>
                    <a:pt x="1042" y="759"/>
                    <a:pt x="1034" y="761"/>
                  </a:cubicBezTo>
                  <a:cubicBezTo>
                    <a:pt x="1025" y="762"/>
                    <a:pt x="1006" y="791"/>
                    <a:pt x="1006" y="791"/>
                  </a:cubicBezTo>
                  <a:cubicBezTo>
                    <a:pt x="1041" y="796"/>
                    <a:pt x="1041" y="796"/>
                    <a:pt x="1041" y="796"/>
                  </a:cubicBezTo>
                  <a:cubicBezTo>
                    <a:pt x="1042" y="810"/>
                    <a:pt x="1042" y="810"/>
                    <a:pt x="1042" y="810"/>
                  </a:cubicBezTo>
                  <a:cubicBezTo>
                    <a:pt x="1057" y="808"/>
                    <a:pt x="1057" y="808"/>
                    <a:pt x="1057" y="808"/>
                  </a:cubicBezTo>
                  <a:cubicBezTo>
                    <a:pt x="1063" y="794"/>
                    <a:pt x="1063" y="794"/>
                    <a:pt x="1063" y="794"/>
                  </a:cubicBezTo>
                  <a:cubicBezTo>
                    <a:pt x="1082" y="805"/>
                    <a:pt x="1082" y="805"/>
                    <a:pt x="1082" y="805"/>
                  </a:cubicBezTo>
                  <a:cubicBezTo>
                    <a:pt x="1101" y="783"/>
                    <a:pt x="1101" y="783"/>
                    <a:pt x="1101" y="783"/>
                  </a:cubicBezTo>
                  <a:cubicBezTo>
                    <a:pt x="1067" y="771"/>
                    <a:pt x="1067" y="771"/>
                    <a:pt x="1067" y="771"/>
                  </a:cubicBezTo>
                  <a:lnTo>
                    <a:pt x="1056" y="774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57" name="Freeform 337">
              <a:extLst>
                <a:ext uri="{FF2B5EF4-FFF2-40B4-BE49-F238E27FC236}">
                  <a16:creationId xmlns:a16="http://schemas.microsoft.com/office/drawing/2014/main" id="{138B3098-D9C6-944B-6F67-147762DC07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63" y="-5628"/>
              <a:ext cx="2011" cy="1549"/>
            </a:xfrm>
            <a:custGeom>
              <a:avLst/>
              <a:gdLst>
                <a:gd name="T0" fmla="*/ 489 w 851"/>
                <a:gd name="T1" fmla="*/ 375 h 656"/>
                <a:gd name="T2" fmla="*/ 477 w 851"/>
                <a:gd name="T3" fmla="*/ 361 h 656"/>
                <a:gd name="T4" fmla="*/ 456 w 851"/>
                <a:gd name="T5" fmla="*/ 351 h 656"/>
                <a:gd name="T6" fmla="*/ 425 w 851"/>
                <a:gd name="T7" fmla="*/ 380 h 656"/>
                <a:gd name="T8" fmla="*/ 360 w 851"/>
                <a:gd name="T9" fmla="*/ 432 h 656"/>
                <a:gd name="T10" fmla="*/ 261 w 851"/>
                <a:gd name="T11" fmla="*/ 484 h 656"/>
                <a:gd name="T12" fmla="*/ 177 w 851"/>
                <a:gd name="T13" fmla="*/ 513 h 656"/>
                <a:gd name="T14" fmla="*/ 112 w 851"/>
                <a:gd name="T15" fmla="*/ 564 h 656"/>
                <a:gd name="T16" fmla="*/ 56 w 851"/>
                <a:gd name="T17" fmla="*/ 583 h 656"/>
                <a:gd name="T18" fmla="*/ 0 w 851"/>
                <a:gd name="T19" fmla="*/ 608 h 656"/>
                <a:gd name="T20" fmla="*/ 12 w 851"/>
                <a:gd name="T21" fmla="*/ 629 h 656"/>
                <a:gd name="T22" fmla="*/ 47 w 851"/>
                <a:gd name="T23" fmla="*/ 631 h 656"/>
                <a:gd name="T24" fmla="*/ 65 w 851"/>
                <a:gd name="T25" fmla="*/ 637 h 656"/>
                <a:gd name="T26" fmla="*/ 96 w 851"/>
                <a:gd name="T27" fmla="*/ 648 h 656"/>
                <a:gd name="T28" fmla="*/ 152 w 851"/>
                <a:gd name="T29" fmla="*/ 653 h 656"/>
                <a:gd name="T30" fmla="*/ 215 w 851"/>
                <a:gd name="T31" fmla="*/ 620 h 656"/>
                <a:gd name="T32" fmla="*/ 265 w 851"/>
                <a:gd name="T33" fmla="*/ 574 h 656"/>
                <a:gd name="T34" fmla="*/ 279 w 851"/>
                <a:gd name="T35" fmla="*/ 557 h 656"/>
                <a:gd name="T36" fmla="*/ 306 w 851"/>
                <a:gd name="T37" fmla="*/ 517 h 656"/>
                <a:gd name="T38" fmla="*/ 343 w 851"/>
                <a:gd name="T39" fmla="*/ 510 h 656"/>
                <a:gd name="T40" fmla="*/ 388 w 851"/>
                <a:gd name="T41" fmla="*/ 503 h 656"/>
                <a:gd name="T42" fmla="*/ 395 w 851"/>
                <a:gd name="T43" fmla="*/ 480 h 656"/>
                <a:gd name="T44" fmla="*/ 430 w 851"/>
                <a:gd name="T45" fmla="*/ 456 h 656"/>
                <a:gd name="T46" fmla="*/ 468 w 851"/>
                <a:gd name="T47" fmla="*/ 430 h 656"/>
                <a:gd name="T48" fmla="*/ 518 w 851"/>
                <a:gd name="T49" fmla="*/ 389 h 656"/>
                <a:gd name="T50" fmla="*/ 498 w 851"/>
                <a:gd name="T51" fmla="*/ 375 h 656"/>
                <a:gd name="T52" fmla="*/ 841 w 851"/>
                <a:gd name="T53" fmla="*/ 205 h 656"/>
                <a:gd name="T54" fmla="*/ 821 w 851"/>
                <a:gd name="T55" fmla="*/ 186 h 656"/>
                <a:gd name="T56" fmla="*/ 768 w 851"/>
                <a:gd name="T57" fmla="*/ 192 h 656"/>
                <a:gd name="T58" fmla="*/ 777 w 851"/>
                <a:gd name="T59" fmla="*/ 120 h 656"/>
                <a:gd name="T60" fmla="*/ 756 w 851"/>
                <a:gd name="T61" fmla="*/ 129 h 656"/>
                <a:gd name="T62" fmla="*/ 740 w 851"/>
                <a:gd name="T63" fmla="*/ 126 h 656"/>
                <a:gd name="T64" fmla="*/ 750 w 851"/>
                <a:gd name="T65" fmla="*/ 62 h 656"/>
                <a:gd name="T66" fmla="*/ 720 w 851"/>
                <a:gd name="T67" fmla="*/ 27 h 656"/>
                <a:gd name="T68" fmla="*/ 692 w 851"/>
                <a:gd name="T69" fmla="*/ 11 h 656"/>
                <a:gd name="T70" fmla="*/ 679 w 851"/>
                <a:gd name="T71" fmla="*/ 12 h 656"/>
                <a:gd name="T72" fmla="*/ 686 w 851"/>
                <a:gd name="T73" fmla="*/ 60 h 656"/>
                <a:gd name="T74" fmla="*/ 692 w 851"/>
                <a:gd name="T75" fmla="*/ 70 h 656"/>
                <a:gd name="T76" fmla="*/ 712 w 851"/>
                <a:gd name="T77" fmla="*/ 89 h 656"/>
                <a:gd name="T78" fmla="*/ 705 w 851"/>
                <a:gd name="T79" fmla="*/ 102 h 656"/>
                <a:gd name="T80" fmla="*/ 715 w 851"/>
                <a:gd name="T81" fmla="*/ 136 h 656"/>
                <a:gd name="T82" fmla="*/ 694 w 851"/>
                <a:gd name="T83" fmla="*/ 148 h 656"/>
                <a:gd name="T84" fmla="*/ 682 w 851"/>
                <a:gd name="T85" fmla="*/ 185 h 656"/>
                <a:gd name="T86" fmla="*/ 656 w 851"/>
                <a:gd name="T87" fmla="*/ 209 h 656"/>
                <a:gd name="T88" fmla="*/ 578 w 851"/>
                <a:gd name="T89" fmla="*/ 255 h 656"/>
                <a:gd name="T90" fmla="*/ 609 w 851"/>
                <a:gd name="T91" fmla="*/ 302 h 656"/>
                <a:gd name="T92" fmla="*/ 576 w 851"/>
                <a:gd name="T93" fmla="*/ 359 h 656"/>
                <a:gd name="T94" fmla="*/ 557 w 851"/>
                <a:gd name="T95" fmla="*/ 381 h 656"/>
                <a:gd name="T96" fmla="*/ 644 w 851"/>
                <a:gd name="T97" fmla="*/ 340 h 656"/>
                <a:gd name="T98" fmla="*/ 697 w 851"/>
                <a:gd name="T99" fmla="*/ 308 h 656"/>
                <a:gd name="T100" fmla="*/ 715 w 851"/>
                <a:gd name="T101" fmla="*/ 277 h 656"/>
                <a:gd name="T102" fmla="*/ 774 w 851"/>
                <a:gd name="T103" fmla="*/ 266 h 656"/>
                <a:gd name="T104" fmla="*/ 805 w 851"/>
                <a:gd name="T105" fmla="*/ 23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51" h="656">
                  <a:moveTo>
                    <a:pt x="498" y="375"/>
                  </a:moveTo>
                  <a:cubicBezTo>
                    <a:pt x="489" y="375"/>
                    <a:pt x="489" y="375"/>
                    <a:pt x="489" y="375"/>
                  </a:cubicBezTo>
                  <a:cubicBezTo>
                    <a:pt x="495" y="350"/>
                    <a:pt x="495" y="350"/>
                    <a:pt x="495" y="350"/>
                  </a:cubicBezTo>
                  <a:cubicBezTo>
                    <a:pt x="477" y="361"/>
                    <a:pt x="477" y="361"/>
                    <a:pt x="477" y="361"/>
                  </a:cubicBezTo>
                  <a:cubicBezTo>
                    <a:pt x="477" y="361"/>
                    <a:pt x="490" y="335"/>
                    <a:pt x="478" y="335"/>
                  </a:cubicBezTo>
                  <a:cubicBezTo>
                    <a:pt x="466" y="334"/>
                    <a:pt x="456" y="351"/>
                    <a:pt x="456" y="351"/>
                  </a:cubicBezTo>
                  <a:cubicBezTo>
                    <a:pt x="445" y="358"/>
                    <a:pt x="445" y="358"/>
                    <a:pt x="445" y="358"/>
                  </a:cubicBezTo>
                  <a:cubicBezTo>
                    <a:pt x="445" y="358"/>
                    <a:pt x="434" y="369"/>
                    <a:pt x="425" y="380"/>
                  </a:cubicBezTo>
                  <a:cubicBezTo>
                    <a:pt x="417" y="391"/>
                    <a:pt x="396" y="393"/>
                    <a:pt x="381" y="403"/>
                  </a:cubicBezTo>
                  <a:cubicBezTo>
                    <a:pt x="366" y="414"/>
                    <a:pt x="360" y="432"/>
                    <a:pt x="360" y="432"/>
                  </a:cubicBezTo>
                  <a:cubicBezTo>
                    <a:pt x="360" y="432"/>
                    <a:pt x="313" y="446"/>
                    <a:pt x="300" y="455"/>
                  </a:cubicBezTo>
                  <a:cubicBezTo>
                    <a:pt x="285" y="464"/>
                    <a:pt x="261" y="484"/>
                    <a:pt x="261" y="484"/>
                  </a:cubicBezTo>
                  <a:cubicBezTo>
                    <a:pt x="261" y="484"/>
                    <a:pt x="234" y="488"/>
                    <a:pt x="217" y="495"/>
                  </a:cubicBezTo>
                  <a:cubicBezTo>
                    <a:pt x="201" y="503"/>
                    <a:pt x="192" y="505"/>
                    <a:pt x="177" y="513"/>
                  </a:cubicBezTo>
                  <a:cubicBezTo>
                    <a:pt x="161" y="522"/>
                    <a:pt x="131" y="533"/>
                    <a:pt x="119" y="539"/>
                  </a:cubicBezTo>
                  <a:cubicBezTo>
                    <a:pt x="106" y="545"/>
                    <a:pt x="112" y="564"/>
                    <a:pt x="112" y="564"/>
                  </a:cubicBezTo>
                  <a:cubicBezTo>
                    <a:pt x="102" y="555"/>
                    <a:pt x="102" y="555"/>
                    <a:pt x="102" y="555"/>
                  </a:cubicBezTo>
                  <a:cubicBezTo>
                    <a:pt x="102" y="555"/>
                    <a:pt x="67" y="577"/>
                    <a:pt x="56" y="583"/>
                  </a:cubicBezTo>
                  <a:cubicBezTo>
                    <a:pt x="44" y="590"/>
                    <a:pt x="39" y="587"/>
                    <a:pt x="23" y="593"/>
                  </a:cubicBezTo>
                  <a:cubicBezTo>
                    <a:pt x="7" y="599"/>
                    <a:pt x="0" y="608"/>
                    <a:pt x="0" y="608"/>
                  </a:cubicBezTo>
                  <a:cubicBezTo>
                    <a:pt x="0" y="608"/>
                    <a:pt x="20" y="607"/>
                    <a:pt x="18" y="611"/>
                  </a:cubicBezTo>
                  <a:cubicBezTo>
                    <a:pt x="16" y="615"/>
                    <a:pt x="8" y="620"/>
                    <a:pt x="12" y="629"/>
                  </a:cubicBezTo>
                  <a:cubicBezTo>
                    <a:pt x="17" y="638"/>
                    <a:pt x="40" y="624"/>
                    <a:pt x="40" y="624"/>
                  </a:cubicBezTo>
                  <a:cubicBezTo>
                    <a:pt x="47" y="631"/>
                    <a:pt x="47" y="631"/>
                    <a:pt x="47" y="631"/>
                  </a:cubicBezTo>
                  <a:cubicBezTo>
                    <a:pt x="63" y="631"/>
                    <a:pt x="63" y="631"/>
                    <a:pt x="63" y="631"/>
                  </a:cubicBezTo>
                  <a:cubicBezTo>
                    <a:pt x="65" y="637"/>
                    <a:pt x="65" y="637"/>
                    <a:pt x="65" y="637"/>
                  </a:cubicBezTo>
                  <a:cubicBezTo>
                    <a:pt x="87" y="634"/>
                    <a:pt x="87" y="634"/>
                    <a:pt x="87" y="634"/>
                  </a:cubicBezTo>
                  <a:cubicBezTo>
                    <a:pt x="96" y="648"/>
                    <a:pt x="96" y="648"/>
                    <a:pt x="96" y="648"/>
                  </a:cubicBezTo>
                  <a:cubicBezTo>
                    <a:pt x="118" y="645"/>
                    <a:pt x="118" y="645"/>
                    <a:pt x="118" y="645"/>
                  </a:cubicBezTo>
                  <a:cubicBezTo>
                    <a:pt x="118" y="645"/>
                    <a:pt x="136" y="656"/>
                    <a:pt x="152" y="653"/>
                  </a:cubicBezTo>
                  <a:cubicBezTo>
                    <a:pt x="167" y="650"/>
                    <a:pt x="172" y="634"/>
                    <a:pt x="182" y="627"/>
                  </a:cubicBezTo>
                  <a:cubicBezTo>
                    <a:pt x="192" y="620"/>
                    <a:pt x="200" y="630"/>
                    <a:pt x="215" y="620"/>
                  </a:cubicBezTo>
                  <a:cubicBezTo>
                    <a:pt x="230" y="610"/>
                    <a:pt x="220" y="597"/>
                    <a:pt x="232" y="586"/>
                  </a:cubicBezTo>
                  <a:cubicBezTo>
                    <a:pt x="243" y="574"/>
                    <a:pt x="257" y="582"/>
                    <a:pt x="265" y="574"/>
                  </a:cubicBezTo>
                  <a:cubicBezTo>
                    <a:pt x="273" y="567"/>
                    <a:pt x="265" y="558"/>
                    <a:pt x="265" y="558"/>
                  </a:cubicBezTo>
                  <a:cubicBezTo>
                    <a:pt x="279" y="557"/>
                    <a:pt x="279" y="557"/>
                    <a:pt x="279" y="557"/>
                  </a:cubicBezTo>
                  <a:cubicBezTo>
                    <a:pt x="318" y="527"/>
                    <a:pt x="318" y="527"/>
                    <a:pt x="318" y="527"/>
                  </a:cubicBezTo>
                  <a:cubicBezTo>
                    <a:pt x="306" y="517"/>
                    <a:pt x="306" y="517"/>
                    <a:pt x="306" y="517"/>
                  </a:cubicBezTo>
                  <a:cubicBezTo>
                    <a:pt x="333" y="527"/>
                    <a:pt x="333" y="527"/>
                    <a:pt x="333" y="527"/>
                  </a:cubicBezTo>
                  <a:cubicBezTo>
                    <a:pt x="333" y="527"/>
                    <a:pt x="334" y="511"/>
                    <a:pt x="343" y="510"/>
                  </a:cubicBezTo>
                  <a:cubicBezTo>
                    <a:pt x="352" y="509"/>
                    <a:pt x="360" y="517"/>
                    <a:pt x="372" y="520"/>
                  </a:cubicBezTo>
                  <a:cubicBezTo>
                    <a:pt x="383" y="522"/>
                    <a:pt x="388" y="503"/>
                    <a:pt x="388" y="503"/>
                  </a:cubicBezTo>
                  <a:cubicBezTo>
                    <a:pt x="378" y="495"/>
                    <a:pt x="378" y="495"/>
                    <a:pt x="378" y="495"/>
                  </a:cubicBezTo>
                  <a:cubicBezTo>
                    <a:pt x="395" y="480"/>
                    <a:pt x="395" y="480"/>
                    <a:pt x="395" y="480"/>
                  </a:cubicBezTo>
                  <a:cubicBezTo>
                    <a:pt x="407" y="466"/>
                    <a:pt x="407" y="466"/>
                    <a:pt x="407" y="466"/>
                  </a:cubicBezTo>
                  <a:cubicBezTo>
                    <a:pt x="407" y="466"/>
                    <a:pt x="418" y="459"/>
                    <a:pt x="430" y="456"/>
                  </a:cubicBezTo>
                  <a:cubicBezTo>
                    <a:pt x="442" y="453"/>
                    <a:pt x="447" y="436"/>
                    <a:pt x="447" y="436"/>
                  </a:cubicBezTo>
                  <a:cubicBezTo>
                    <a:pt x="447" y="436"/>
                    <a:pt x="458" y="434"/>
                    <a:pt x="468" y="430"/>
                  </a:cubicBezTo>
                  <a:cubicBezTo>
                    <a:pt x="479" y="426"/>
                    <a:pt x="488" y="408"/>
                    <a:pt x="488" y="408"/>
                  </a:cubicBezTo>
                  <a:cubicBezTo>
                    <a:pt x="488" y="408"/>
                    <a:pt x="508" y="401"/>
                    <a:pt x="518" y="389"/>
                  </a:cubicBezTo>
                  <a:cubicBezTo>
                    <a:pt x="529" y="376"/>
                    <a:pt x="516" y="353"/>
                    <a:pt x="516" y="353"/>
                  </a:cubicBezTo>
                  <a:lnTo>
                    <a:pt x="498" y="375"/>
                  </a:lnTo>
                  <a:close/>
                  <a:moveTo>
                    <a:pt x="815" y="215"/>
                  </a:moveTo>
                  <a:cubicBezTo>
                    <a:pt x="823" y="210"/>
                    <a:pt x="831" y="213"/>
                    <a:pt x="841" y="205"/>
                  </a:cubicBezTo>
                  <a:cubicBezTo>
                    <a:pt x="851" y="197"/>
                    <a:pt x="847" y="183"/>
                    <a:pt x="839" y="176"/>
                  </a:cubicBezTo>
                  <a:cubicBezTo>
                    <a:pt x="831" y="168"/>
                    <a:pt x="821" y="186"/>
                    <a:pt x="821" y="186"/>
                  </a:cubicBezTo>
                  <a:cubicBezTo>
                    <a:pt x="821" y="186"/>
                    <a:pt x="815" y="186"/>
                    <a:pt x="806" y="184"/>
                  </a:cubicBezTo>
                  <a:cubicBezTo>
                    <a:pt x="798" y="181"/>
                    <a:pt x="780" y="195"/>
                    <a:pt x="768" y="192"/>
                  </a:cubicBezTo>
                  <a:cubicBezTo>
                    <a:pt x="756" y="189"/>
                    <a:pt x="761" y="145"/>
                    <a:pt x="761" y="145"/>
                  </a:cubicBezTo>
                  <a:cubicBezTo>
                    <a:pt x="777" y="120"/>
                    <a:pt x="777" y="120"/>
                    <a:pt x="777" y="120"/>
                  </a:cubicBezTo>
                  <a:cubicBezTo>
                    <a:pt x="777" y="120"/>
                    <a:pt x="777" y="102"/>
                    <a:pt x="767" y="103"/>
                  </a:cubicBezTo>
                  <a:cubicBezTo>
                    <a:pt x="756" y="103"/>
                    <a:pt x="756" y="119"/>
                    <a:pt x="756" y="129"/>
                  </a:cubicBezTo>
                  <a:cubicBezTo>
                    <a:pt x="755" y="138"/>
                    <a:pt x="743" y="146"/>
                    <a:pt x="743" y="146"/>
                  </a:cubicBezTo>
                  <a:cubicBezTo>
                    <a:pt x="740" y="126"/>
                    <a:pt x="740" y="126"/>
                    <a:pt x="740" y="126"/>
                  </a:cubicBezTo>
                  <a:cubicBezTo>
                    <a:pt x="726" y="113"/>
                    <a:pt x="726" y="113"/>
                    <a:pt x="726" y="113"/>
                  </a:cubicBezTo>
                  <a:cubicBezTo>
                    <a:pt x="726" y="113"/>
                    <a:pt x="750" y="82"/>
                    <a:pt x="750" y="62"/>
                  </a:cubicBezTo>
                  <a:cubicBezTo>
                    <a:pt x="751" y="42"/>
                    <a:pt x="717" y="41"/>
                    <a:pt x="717" y="41"/>
                  </a:cubicBezTo>
                  <a:cubicBezTo>
                    <a:pt x="720" y="27"/>
                    <a:pt x="720" y="27"/>
                    <a:pt x="720" y="27"/>
                  </a:cubicBezTo>
                  <a:cubicBezTo>
                    <a:pt x="707" y="25"/>
                    <a:pt x="707" y="25"/>
                    <a:pt x="707" y="25"/>
                  </a:cubicBezTo>
                  <a:cubicBezTo>
                    <a:pt x="692" y="11"/>
                    <a:pt x="692" y="11"/>
                    <a:pt x="692" y="11"/>
                  </a:cubicBezTo>
                  <a:cubicBezTo>
                    <a:pt x="699" y="0"/>
                    <a:pt x="699" y="0"/>
                    <a:pt x="699" y="0"/>
                  </a:cubicBezTo>
                  <a:cubicBezTo>
                    <a:pt x="679" y="12"/>
                    <a:pt x="679" y="12"/>
                    <a:pt x="679" y="12"/>
                  </a:cubicBezTo>
                  <a:cubicBezTo>
                    <a:pt x="692" y="35"/>
                    <a:pt x="692" y="35"/>
                    <a:pt x="692" y="35"/>
                  </a:cubicBezTo>
                  <a:cubicBezTo>
                    <a:pt x="686" y="60"/>
                    <a:pt x="686" y="60"/>
                    <a:pt x="686" y="60"/>
                  </a:cubicBezTo>
                  <a:cubicBezTo>
                    <a:pt x="701" y="66"/>
                    <a:pt x="701" y="66"/>
                    <a:pt x="701" y="66"/>
                  </a:cubicBezTo>
                  <a:cubicBezTo>
                    <a:pt x="692" y="70"/>
                    <a:pt x="692" y="70"/>
                    <a:pt x="692" y="70"/>
                  </a:cubicBezTo>
                  <a:cubicBezTo>
                    <a:pt x="696" y="84"/>
                    <a:pt x="696" y="84"/>
                    <a:pt x="696" y="84"/>
                  </a:cubicBezTo>
                  <a:cubicBezTo>
                    <a:pt x="712" y="89"/>
                    <a:pt x="712" y="89"/>
                    <a:pt x="712" y="89"/>
                  </a:cubicBezTo>
                  <a:cubicBezTo>
                    <a:pt x="696" y="97"/>
                    <a:pt x="696" y="97"/>
                    <a:pt x="696" y="97"/>
                  </a:cubicBezTo>
                  <a:cubicBezTo>
                    <a:pt x="705" y="102"/>
                    <a:pt x="705" y="102"/>
                    <a:pt x="705" y="102"/>
                  </a:cubicBezTo>
                  <a:cubicBezTo>
                    <a:pt x="705" y="102"/>
                    <a:pt x="702" y="116"/>
                    <a:pt x="702" y="122"/>
                  </a:cubicBezTo>
                  <a:cubicBezTo>
                    <a:pt x="702" y="129"/>
                    <a:pt x="715" y="136"/>
                    <a:pt x="715" y="136"/>
                  </a:cubicBezTo>
                  <a:cubicBezTo>
                    <a:pt x="702" y="138"/>
                    <a:pt x="702" y="138"/>
                    <a:pt x="702" y="138"/>
                  </a:cubicBezTo>
                  <a:cubicBezTo>
                    <a:pt x="694" y="148"/>
                    <a:pt x="694" y="148"/>
                    <a:pt x="694" y="148"/>
                  </a:cubicBezTo>
                  <a:cubicBezTo>
                    <a:pt x="705" y="154"/>
                    <a:pt x="705" y="154"/>
                    <a:pt x="705" y="154"/>
                  </a:cubicBezTo>
                  <a:cubicBezTo>
                    <a:pt x="705" y="154"/>
                    <a:pt x="684" y="174"/>
                    <a:pt x="682" y="185"/>
                  </a:cubicBezTo>
                  <a:cubicBezTo>
                    <a:pt x="681" y="196"/>
                    <a:pt x="691" y="199"/>
                    <a:pt x="691" y="199"/>
                  </a:cubicBezTo>
                  <a:cubicBezTo>
                    <a:pt x="691" y="199"/>
                    <a:pt x="669" y="203"/>
                    <a:pt x="656" y="209"/>
                  </a:cubicBezTo>
                  <a:cubicBezTo>
                    <a:pt x="643" y="214"/>
                    <a:pt x="646" y="217"/>
                    <a:pt x="630" y="229"/>
                  </a:cubicBezTo>
                  <a:cubicBezTo>
                    <a:pt x="613" y="242"/>
                    <a:pt x="599" y="243"/>
                    <a:pt x="578" y="255"/>
                  </a:cubicBezTo>
                  <a:cubicBezTo>
                    <a:pt x="557" y="268"/>
                    <a:pt x="576" y="302"/>
                    <a:pt x="576" y="302"/>
                  </a:cubicBezTo>
                  <a:cubicBezTo>
                    <a:pt x="576" y="302"/>
                    <a:pt x="599" y="300"/>
                    <a:pt x="609" y="302"/>
                  </a:cubicBezTo>
                  <a:cubicBezTo>
                    <a:pt x="619" y="304"/>
                    <a:pt x="609" y="323"/>
                    <a:pt x="609" y="338"/>
                  </a:cubicBezTo>
                  <a:cubicBezTo>
                    <a:pt x="610" y="354"/>
                    <a:pt x="593" y="353"/>
                    <a:pt x="576" y="359"/>
                  </a:cubicBezTo>
                  <a:cubicBezTo>
                    <a:pt x="559" y="365"/>
                    <a:pt x="567" y="370"/>
                    <a:pt x="567" y="370"/>
                  </a:cubicBezTo>
                  <a:cubicBezTo>
                    <a:pt x="557" y="381"/>
                    <a:pt x="557" y="381"/>
                    <a:pt x="557" y="381"/>
                  </a:cubicBezTo>
                  <a:cubicBezTo>
                    <a:pt x="557" y="381"/>
                    <a:pt x="575" y="394"/>
                    <a:pt x="589" y="390"/>
                  </a:cubicBezTo>
                  <a:cubicBezTo>
                    <a:pt x="602" y="385"/>
                    <a:pt x="633" y="351"/>
                    <a:pt x="644" y="340"/>
                  </a:cubicBezTo>
                  <a:cubicBezTo>
                    <a:pt x="655" y="329"/>
                    <a:pt x="682" y="321"/>
                    <a:pt x="687" y="321"/>
                  </a:cubicBezTo>
                  <a:cubicBezTo>
                    <a:pt x="692" y="320"/>
                    <a:pt x="697" y="308"/>
                    <a:pt x="697" y="308"/>
                  </a:cubicBezTo>
                  <a:cubicBezTo>
                    <a:pt x="697" y="308"/>
                    <a:pt x="704" y="305"/>
                    <a:pt x="715" y="301"/>
                  </a:cubicBezTo>
                  <a:cubicBezTo>
                    <a:pt x="726" y="296"/>
                    <a:pt x="715" y="277"/>
                    <a:pt x="715" y="277"/>
                  </a:cubicBezTo>
                  <a:cubicBezTo>
                    <a:pt x="715" y="277"/>
                    <a:pt x="725" y="269"/>
                    <a:pt x="738" y="263"/>
                  </a:cubicBezTo>
                  <a:cubicBezTo>
                    <a:pt x="752" y="257"/>
                    <a:pt x="762" y="269"/>
                    <a:pt x="774" y="266"/>
                  </a:cubicBezTo>
                  <a:cubicBezTo>
                    <a:pt x="786" y="264"/>
                    <a:pt x="782" y="240"/>
                    <a:pt x="782" y="240"/>
                  </a:cubicBezTo>
                  <a:cubicBezTo>
                    <a:pt x="782" y="240"/>
                    <a:pt x="793" y="237"/>
                    <a:pt x="805" y="236"/>
                  </a:cubicBezTo>
                  <a:cubicBezTo>
                    <a:pt x="816" y="235"/>
                    <a:pt x="808" y="221"/>
                    <a:pt x="815" y="21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58" name="Freeform 338">
              <a:extLst>
                <a:ext uri="{FF2B5EF4-FFF2-40B4-BE49-F238E27FC236}">
                  <a16:creationId xmlns:a16="http://schemas.microsoft.com/office/drawing/2014/main" id="{1321FAD8-F09B-4BD6-CF22-42C5404AE7D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28" y="-8631"/>
              <a:ext cx="4483" cy="4191"/>
            </a:xfrm>
            <a:custGeom>
              <a:avLst/>
              <a:gdLst>
                <a:gd name="T0" fmla="*/ 971 w 1898"/>
                <a:gd name="T1" fmla="*/ 1367 h 1774"/>
                <a:gd name="T2" fmla="*/ 1008 w 1898"/>
                <a:gd name="T3" fmla="*/ 1349 h 1774"/>
                <a:gd name="T4" fmla="*/ 1830 w 1898"/>
                <a:gd name="T5" fmla="*/ 698 h 1774"/>
                <a:gd name="T6" fmla="*/ 1797 w 1898"/>
                <a:gd name="T7" fmla="*/ 622 h 1774"/>
                <a:gd name="T8" fmla="*/ 1707 w 1898"/>
                <a:gd name="T9" fmla="*/ 471 h 1774"/>
                <a:gd name="T10" fmla="*/ 1649 w 1898"/>
                <a:gd name="T11" fmla="*/ 192 h 1774"/>
                <a:gd name="T12" fmla="*/ 1596 w 1898"/>
                <a:gd name="T13" fmla="*/ 64 h 1774"/>
                <a:gd name="T14" fmla="*/ 1541 w 1898"/>
                <a:gd name="T15" fmla="*/ 18 h 1774"/>
                <a:gd name="T16" fmla="*/ 1494 w 1898"/>
                <a:gd name="T17" fmla="*/ 189 h 1774"/>
                <a:gd name="T18" fmla="*/ 1283 w 1898"/>
                <a:gd name="T19" fmla="*/ 306 h 1774"/>
                <a:gd name="T20" fmla="*/ 1239 w 1898"/>
                <a:gd name="T21" fmla="*/ 181 h 1774"/>
                <a:gd name="T22" fmla="*/ 1269 w 1898"/>
                <a:gd name="T23" fmla="*/ 69 h 1774"/>
                <a:gd name="T24" fmla="*/ 1170 w 1898"/>
                <a:gd name="T25" fmla="*/ 75 h 1774"/>
                <a:gd name="T26" fmla="*/ 1050 w 1898"/>
                <a:gd name="T27" fmla="*/ 42 h 1774"/>
                <a:gd name="T28" fmla="*/ 1012 w 1898"/>
                <a:gd name="T29" fmla="*/ 86 h 1774"/>
                <a:gd name="T30" fmla="*/ 910 w 1898"/>
                <a:gd name="T31" fmla="*/ 212 h 1774"/>
                <a:gd name="T32" fmla="*/ 872 w 1898"/>
                <a:gd name="T33" fmla="*/ 235 h 1774"/>
                <a:gd name="T34" fmla="*/ 848 w 1898"/>
                <a:gd name="T35" fmla="*/ 215 h 1774"/>
                <a:gd name="T36" fmla="*/ 788 w 1898"/>
                <a:gd name="T37" fmla="*/ 185 h 1774"/>
                <a:gd name="T38" fmla="*/ 731 w 1898"/>
                <a:gd name="T39" fmla="*/ 238 h 1774"/>
                <a:gd name="T40" fmla="*/ 676 w 1898"/>
                <a:gd name="T41" fmla="*/ 279 h 1774"/>
                <a:gd name="T42" fmla="*/ 614 w 1898"/>
                <a:gd name="T43" fmla="*/ 310 h 1774"/>
                <a:gd name="T44" fmla="*/ 606 w 1898"/>
                <a:gd name="T45" fmla="*/ 348 h 1774"/>
                <a:gd name="T46" fmla="*/ 531 w 1898"/>
                <a:gd name="T47" fmla="*/ 409 h 1774"/>
                <a:gd name="T48" fmla="*/ 359 w 1898"/>
                <a:gd name="T49" fmla="*/ 505 h 1774"/>
                <a:gd name="T50" fmla="*/ 218 w 1898"/>
                <a:gd name="T51" fmla="*/ 554 h 1774"/>
                <a:gd name="T52" fmla="*/ 83 w 1898"/>
                <a:gd name="T53" fmla="*/ 649 h 1774"/>
                <a:gd name="T54" fmla="*/ 48 w 1898"/>
                <a:gd name="T55" fmla="*/ 813 h 1774"/>
                <a:gd name="T56" fmla="*/ 35 w 1898"/>
                <a:gd name="T57" fmla="*/ 937 h 1774"/>
                <a:gd name="T58" fmla="*/ 87 w 1898"/>
                <a:gd name="T59" fmla="*/ 1141 h 1774"/>
                <a:gd name="T60" fmla="*/ 56 w 1898"/>
                <a:gd name="T61" fmla="*/ 1305 h 1774"/>
                <a:gd name="T62" fmla="*/ 186 w 1898"/>
                <a:gd name="T63" fmla="*/ 1285 h 1774"/>
                <a:gd name="T64" fmla="*/ 384 w 1898"/>
                <a:gd name="T65" fmla="*/ 1244 h 1774"/>
                <a:gd name="T66" fmla="*/ 594 w 1898"/>
                <a:gd name="T67" fmla="*/ 1153 h 1774"/>
                <a:gd name="T68" fmla="*/ 896 w 1898"/>
                <a:gd name="T69" fmla="*/ 1136 h 1774"/>
                <a:gd name="T70" fmla="*/ 932 w 1898"/>
                <a:gd name="T71" fmla="*/ 1225 h 1774"/>
                <a:gd name="T72" fmla="*/ 962 w 1898"/>
                <a:gd name="T73" fmla="*/ 1304 h 1774"/>
                <a:gd name="T74" fmla="*/ 1060 w 1898"/>
                <a:gd name="T75" fmla="*/ 1224 h 1774"/>
                <a:gd name="T76" fmla="*/ 1083 w 1898"/>
                <a:gd name="T77" fmla="*/ 1210 h 1774"/>
                <a:gd name="T78" fmla="*/ 1011 w 1898"/>
                <a:gd name="T79" fmla="*/ 1319 h 1774"/>
                <a:gd name="T80" fmla="*/ 1072 w 1898"/>
                <a:gd name="T81" fmla="*/ 1339 h 1774"/>
                <a:gd name="T82" fmla="*/ 1118 w 1898"/>
                <a:gd name="T83" fmla="*/ 1477 h 1774"/>
                <a:gd name="T84" fmla="*/ 1319 w 1898"/>
                <a:gd name="T85" fmla="*/ 1502 h 1774"/>
                <a:gd name="T86" fmla="*/ 1360 w 1898"/>
                <a:gd name="T87" fmla="*/ 1532 h 1774"/>
                <a:gd name="T88" fmla="*/ 1533 w 1898"/>
                <a:gd name="T89" fmla="*/ 1461 h 1774"/>
                <a:gd name="T90" fmla="*/ 1641 w 1898"/>
                <a:gd name="T91" fmla="*/ 1275 h 1774"/>
                <a:gd name="T92" fmla="*/ 1874 w 1898"/>
                <a:gd name="T93" fmla="*/ 952 h 1774"/>
                <a:gd name="T94" fmla="*/ 1364 w 1898"/>
                <a:gd name="T95" fmla="*/ 1612 h 1774"/>
                <a:gd name="T96" fmla="*/ 1274 w 1898"/>
                <a:gd name="T97" fmla="*/ 1651 h 1774"/>
                <a:gd name="T98" fmla="*/ 1184 w 1898"/>
                <a:gd name="T99" fmla="*/ 1616 h 1774"/>
                <a:gd name="T100" fmla="*/ 1155 w 1898"/>
                <a:gd name="T101" fmla="*/ 1713 h 1774"/>
                <a:gd name="T102" fmla="*/ 1214 w 1898"/>
                <a:gd name="T103" fmla="*/ 1769 h 1774"/>
                <a:gd name="T104" fmla="*/ 1282 w 1898"/>
                <a:gd name="T105" fmla="*/ 1706 h 1774"/>
                <a:gd name="T106" fmla="*/ 1290 w 1898"/>
                <a:gd name="T107" fmla="*/ 195 h 1774"/>
                <a:gd name="T108" fmla="*/ 1209 w 1898"/>
                <a:gd name="T109" fmla="*/ 1549 h 1774"/>
                <a:gd name="T110" fmla="*/ 1357 w 1898"/>
                <a:gd name="T111" fmla="*/ 1597 h 1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98" h="1774">
                  <a:moveTo>
                    <a:pt x="1024" y="43"/>
                  </a:moveTo>
                  <a:cubicBezTo>
                    <a:pt x="1014" y="29"/>
                    <a:pt x="990" y="54"/>
                    <a:pt x="999" y="65"/>
                  </a:cubicBezTo>
                  <a:cubicBezTo>
                    <a:pt x="1008" y="75"/>
                    <a:pt x="1024" y="43"/>
                    <a:pt x="1024" y="43"/>
                  </a:cubicBezTo>
                  <a:close/>
                  <a:moveTo>
                    <a:pt x="986" y="1341"/>
                  </a:moveTo>
                  <a:cubicBezTo>
                    <a:pt x="972" y="1343"/>
                    <a:pt x="954" y="1348"/>
                    <a:pt x="961" y="1354"/>
                  </a:cubicBezTo>
                  <a:cubicBezTo>
                    <a:pt x="968" y="1360"/>
                    <a:pt x="971" y="1367"/>
                    <a:pt x="971" y="1367"/>
                  </a:cubicBezTo>
                  <a:cubicBezTo>
                    <a:pt x="985" y="1367"/>
                    <a:pt x="999" y="1359"/>
                    <a:pt x="999" y="1359"/>
                  </a:cubicBezTo>
                  <a:cubicBezTo>
                    <a:pt x="1007" y="1359"/>
                    <a:pt x="1007" y="1359"/>
                    <a:pt x="1007" y="1359"/>
                  </a:cubicBezTo>
                  <a:cubicBezTo>
                    <a:pt x="1011" y="1356"/>
                    <a:pt x="1011" y="1356"/>
                    <a:pt x="1011" y="1356"/>
                  </a:cubicBezTo>
                  <a:cubicBezTo>
                    <a:pt x="1022" y="1356"/>
                    <a:pt x="1022" y="1356"/>
                    <a:pt x="1022" y="1356"/>
                  </a:cubicBezTo>
                  <a:cubicBezTo>
                    <a:pt x="1026" y="1351"/>
                    <a:pt x="1026" y="1351"/>
                    <a:pt x="1026" y="1351"/>
                  </a:cubicBezTo>
                  <a:cubicBezTo>
                    <a:pt x="1008" y="1349"/>
                    <a:pt x="1008" y="1349"/>
                    <a:pt x="1008" y="1349"/>
                  </a:cubicBezTo>
                  <a:cubicBezTo>
                    <a:pt x="1008" y="1349"/>
                    <a:pt x="1000" y="1340"/>
                    <a:pt x="986" y="1341"/>
                  </a:cubicBezTo>
                  <a:close/>
                  <a:moveTo>
                    <a:pt x="1869" y="774"/>
                  </a:moveTo>
                  <a:cubicBezTo>
                    <a:pt x="1869" y="774"/>
                    <a:pt x="1866" y="733"/>
                    <a:pt x="1865" y="727"/>
                  </a:cubicBezTo>
                  <a:cubicBezTo>
                    <a:pt x="1863" y="721"/>
                    <a:pt x="1843" y="720"/>
                    <a:pt x="1843" y="720"/>
                  </a:cubicBezTo>
                  <a:cubicBezTo>
                    <a:pt x="1843" y="706"/>
                    <a:pt x="1843" y="706"/>
                    <a:pt x="1843" y="706"/>
                  </a:cubicBezTo>
                  <a:cubicBezTo>
                    <a:pt x="1830" y="698"/>
                    <a:pt x="1830" y="698"/>
                    <a:pt x="1830" y="698"/>
                  </a:cubicBezTo>
                  <a:cubicBezTo>
                    <a:pt x="1830" y="698"/>
                    <a:pt x="1835" y="681"/>
                    <a:pt x="1830" y="674"/>
                  </a:cubicBezTo>
                  <a:cubicBezTo>
                    <a:pt x="1825" y="667"/>
                    <a:pt x="1805" y="660"/>
                    <a:pt x="1805" y="660"/>
                  </a:cubicBezTo>
                  <a:cubicBezTo>
                    <a:pt x="1805" y="660"/>
                    <a:pt x="1840" y="654"/>
                    <a:pt x="1842" y="641"/>
                  </a:cubicBezTo>
                  <a:cubicBezTo>
                    <a:pt x="1844" y="627"/>
                    <a:pt x="1822" y="623"/>
                    <a:pt x="1822" y="623"/>
                  </a:cubicBezTo>
                  <a:cubicBezTo>
                    <a:pt x="1822" y="623"/>
                    <a:pt x="1815" y="602"/>
                    <a:pt x="1804" y="603"/>
                  </a:cubicBezTo>
                  <a:cubicBezTo>
                    <a:pt x="1792" y="604"/>
                    <a:pt x="1797" y="622"/>
                    <a:pt x="1797" y="622"/>
                  </a:cubicBezTo>
                  <a:cubicBezTo>
                    <a:pt x="1783" y="619"/>
                    <a:pt x="1783" y="619"/>
                    <a:pt x="1783" y="619"/>
                  </a:cubicBezTo>
                  <a:cubicBezTo>
                    <a:pt x="1783" y="619"/>
                    <a:pt x="1796" y="578"/>
                    <a:pt x="1796" y="568"/>
                  </a:cubicBezTo>
                  <a:cubicBezTo>
                    <a:pt x="1795" y="559"/>
                    <a:pt x="1775" y="557"/>
                    <a:pt x="1771" y="547"/>
                  </a:cubicBezTo>
                  <a:cubicBezTo>
                    <a:pt x="1768" y="538"/>
                    <a:pt x="1781" y="521"/>
                    <a:pt x="1777" y="507"/>
                  </a:cubicBezTo>
                  <a:cubicBezTo>
                    <a:pt x="1773" y="494"/>
                    <a:pt x="1713" y="465"/>
                    <a:pt x="1713" y="465"/>
                  </a:cubicBezTo>
                  <a:cubicBezTo>
                    <a:pt x="1707" y="471"/>
                    <a:pt x="1707" y="471"/>
                    <a:pt x="1707" y="471"/>
                  </a:cubicBezTo>
                  <a:cubicBezTo>
                    <a:pt x="1707" y="471"/>
                    <a:pt x="1679" y="439"/>
                    <a:pt x="1677" y="417"/>
                  </a:cubicBezTo>
                  <a:cubicBezTo>
                    <a:pt x="1676" y="394"/>
                    <a:pt x="1685" y="381"/>
                    <a:pt x="1685" y="361"/>
                  </a:cubicBezTo>
                  <a:cubicBezTo>
                    <a:pt x="1685" y="341"/>
                    <a:pt x="1666" y="298"/>
                    <a:pt x="1662" y="282"/>
                  </a:cubicBezTo>
                  <a:cubicBezTo>
                    <a:pt x="1658" y="266"/>
                    <a:pt x="1669" y="256"/>
                    <a:pt x="1671" y="247"/>
                  </a:cubicBezTo>
                  <a:cubicBezTo>
                    <a:pt x="1673" y="238"/>
                    <a:pt x="1666" y="200"/>
                    <a:pt x="1666" y="200"/>
                  </a:cubicBezTo>
                  <a:cubicBezTo>
                    <a:pt x="1649" y="192"/>
                    <a:pt x="1649" y="192"/>
                    <a:pt x="1649" y="192"/>
                  </a:cubicBezTo>
                  <a:cubicBezTo>
                    <a:pt x="1649" y="192"/>
                    <a:pt x="1635" y="177"/>
                    <a:pt x="1625" y="177"/>
                  </a:cubicBezTo>
                  <a:cubicBezTo>
                    <a:pt x="1615" y="176"/>
                    <a:pt x="1609" y="191"/>
                    <a:pt x="1609" y="191"/>
                  </a:cubicBezTo>
                  <a:cubicBezTo>
                    <a:pt x="1609" y="191"/>
                    <a:pt x="1602" y="176"/>
                    <a:pt x="1601" y="167"/>
                  </a:cubicBezTo>
                  <a:cubicBezTo>
                    <a:pt x="1600" y="159"/>
                    <a:pt x="1607" y="135"/>
                    <a:pt x="1607" y="135"/>
                  </a:cubicBezTo>
                  <a:cubicBezTo>
                    <a:pt x="1596" y="120"/>
                    <a:pt x="1596" y="120"/>
                    <a:pt x="1596" y="120"/>
                  </a:cubicBezTo>
                  <a:cubicBezTo>
                    <a:pt x="1596" y="64"/>
                    <a:pt x="1596" y="64"/>
                    <a:pt x="1596" y="64"/>
                  </a:cubicBezTo>
                  <a:cubicBezTo>
                    <a:pt x="1596" y="64"/>
                    <a:pt x="1575" y="50"/>
                    <a:pt x="1578" y="41"/>
                  </a:cubicBezTo>
                  <a:cubicBezTo>
                    <a:pt x="1582" y="32"/>
                    <a:pt x="1586" y="20"/>
                    <a:pt x="1581" y="15"/>
                  </a:cubicBezTo>
                  <a:cubicBezTo>
                    <a:pt x="1576" y="11"/>
                    <a:pt x="1564" y="9"/>
                    <a:pt x="1564" y="9"/>
                  </a:cubicBezTo>
                  <a:cubicBezTo>
                    <a:pt x="1565" y="0"/>
                    <a:pt x="1565" y="0"/>
                    <a:pt x="1565" y="0"/>
                  </a:cubicBezTo>
                  <a:cubicBezTo>
                    <a:pt x="1545" y="5"/>
                    <a:pt x="1545" y="5"/>
                    <a:pt x="1545" y="5"/>
                  </a:cubicBezTo>
                  <a:cubicBezTo>
                    <a:pt x="1541" y="18"/>
                    <a:pt x="1541" y="18"/>
                    <a:pt x="1541" y="18"/>
                  </a:cubicBezTo>
                  <a:cubicBezTo>
                    <a:pt x="1541" y="18"/>
                    <a:pt x="1529" y="26"/>
                    <a:pt x="1523" y="30"/>
                  </a:cubicBezTo>
                  <a:cubicBezTo>
                    <a:pt x="1518" y="34"/>
                    <a:pt x="1531" y="60"/>
                    <a:pt x="1531" y="70"/>
                  </a:cubicBezTo>
                  <a:cubicBezTo>
                    <a:pt x="1530" y="81"/>
                    <a:pt x="1496" y="118"/>
                    <a:pt x="1496" y="118"/>
                  </a:cubicBezTo>
                  <a:cubicBezTo>
                    <a:pt x="1507" y="127"/>
                    <a:pt x="1507" y="127"/>
                    <a:pt x="1507" y="127"/>
                  </a:cubicBezTo>
                  <a:cubicBezTo>
                    <a:pt x="1507" y="127"/>
                    <a:pt x="1492" y="147"/>
                    <a:pt x="1490" y="155"/>
                  </a:cubicBezTo>
                  <a:cubicBezTo>
                    <a:pt x="1488" y="163"/>
                    <a:pt x="1494" y="189"/>
                    <a:pt x="1494" y="189"/>
                  </a:cubicBezTo>
                  <a:cubicBezTo>
                    <a:pt x="1494" y="189"/>
                    <a:pt x="1473" y="273"/>
                    <a:pt x="1472" y="285"/>
                  </a:cubicBezTo>
                  <a:cubicBezTo>
                    <a:pt x="1471" y="296"/>
                    <a:pt x="1444" y="325"/>
                    <a:pt x="1444" y="325"/>
                  </a:cubicBezTo>
                  <a:cubicBezTo>
                    <a:pt x="1444" y="325"/>
                    <a:pt x="1445" y="358"/>
                    <a:pt x="1428" y="366"/>
                  </a:cubicBezTo>
                  <a:cubicBezTo>
                    <a:pt x="1411" y="373"/>
                    <a:pt x="1375" y="381"/>
                    <a:pt x="1375" y="381"/>
                  </a:cubicBezTo>
                  <a:cubicBezTo>
                    <a:pt x="1375" y="381"/>
                    <a:pt x="1354" y="347"/>
                    <a:pt x="1349" y="337"/>
                  </a:cubicBezTo>
                  <a:cubicBezTo>
                    <a:pt x="1344" y="328"/>
                    <a:pt x="1303" y="314"/>
                    <a:pt x="1283" y="306"/>
                  </a:cubicBezTo>
                  <a:cubicBezTo>
                    <a:pt x="1262" y="299"/>
                    <a:pt x="1249" y="266"/>
                    <a:pt x="1246" y="262"/>
                  </a:cubicBezTo>
                  <a:cubicBezTo>
                    <a:pt x="1243" y="259"/>
                    <a:pt x="1223" y="261"/>
                    <a:pt x="1223" y="261"/>
                  </a:cubicBezTo>
                  <a:cubicBezTo>
                    <a:pt x="1207" y="231"/>
                    <a:pt x="1207" y="231"/>
                    <a:pt x="1207" y="231"/>
                  </a:cubicBezTo>
                  <a:cubicBezTo>
                    <a:pt x="1220" y="217"/>
                    <a:pt x="1220" y="217"/>
                    <a:pt x="1220" y="217"/>
                  </a:cubicBezTo>
                  <a:cubicBezTo>
                    <a:pt x="1220" y="217"/>
                    <a:pt x="1213" y="206"/>
                    <a:pt x="1221" y="195"/>
                  </a:cubicBezTo>
                  <a:cubicBezTo>
                    <a:pt x="1229" y="184"/>
                    <a:pt x="1239" y="181"/>
                    <a:pt x="1239" y="181"/>
                  </a:cubicBezTo>
                  <a:cubicBezTo>
                    <a:pt x="1235" y="151"/>
                    <a:pt x="1235" y="151"/>
                    <a:pt x="1235" y="151"/>
                  </a:cubicBezTo>
                  <a:cubicBezTo>
                    <a:pt x="1248" y="139"/>
                    <a:pt x="1248" y="139"/>
                    <a:pt x="1248" y="139"/>
                  </a:cubicBezTo>
                  <a:cubicBezTo>
                    <a:pt x="1248" y="139"/>
                    <a:pt x="1262" y="146"/>
                    <a:pt x="1267" y="144"/>
                  </a:cubicBezTo>
                  <a:cubicBezTo>
                    <a:pt x="1273" y="142"/>
                    <a:pt x="1274" y="119"/>
                    <a:pt x="1274" y="119"/>
                  </a:cubicBezTo>
                  <a:cubicBezTo>
                    <a:pt x="1299" y="95"/>
                    <a:pt x="1299" y="95"/>
                    <a:pt x="1299" y="95"/>
                  </a:cubicBezTo>
                  <a:cubicBezTo>
                    <a:pt x="1299" y="95"/>
                    <a:pt x="1285" y="72"/>
                    <a:pt x="1269" y="69"/>
                  </a:cubicBezTo>
                  <a:cubicBezTo>
                    <a:pt x="1252" y="67"/>
                    <a:pt x="1231" y="92"/>
                    <a:pt x="1231" y="92"/>
                  </a:cubicBezTo>
                  <a:cubicBezTo>
                    <a:pt x="1229" y="78"/>
                    <a:pt x="1229" y="78"/>
                    <a:pt x="1229" y="78"/>
                  </a:cubicBezTo>
                  <a:cubicBezTo>
                    <a:pt x="1209" y="80"/>
                    <a:pt x="1209" y="80"/>
                    <a:pt x="1209" y="80"/>
                  </a:cubicBezTo>
                  <a:cubicBezTo>
                    <a:pt x="1200" y="89"/>
                    <a:pt x="1200" y="89"/>
                    <a:pt x="1200" y="89"/>
                  </a:cubicBezTo>
                  <a:cubicBezTo>
                    <a:pt x="1194" y="78"/>
                    <a:pt x="1194" y="78"/>
                    <a:pt x="1194" y="78"/>
                  </a:cubicBezTo>
                  <a:cubicBezTo>
                    <a:pt x="1170" y="75"/>
                    <a:pt x="1170" y="75"/>
                    <a:pt x="1170" y="75"/>
                  </a:cubicBezTo>
                  <a:cubicBezTo>
                    <a:pt x="1170" y="75"/>
                    <a:pt x="1144" y="56"/>
                    <a:pt x="1139" y="56"/>
                  </a:cubicBezTo>
                  <a:cubicBezTo>
                    <a:pt x="1135" y="57"/>
                    <a:pt x="1101" y="53"/>
                    <a:pt x="1101" y="53"/>
                  </a:cubicBezTo>
                  <a:cubicBezTo>
                    <a:pt x="1101" y="53"/>
                    <a:pt x="1093" y="31"/>
                    <a:pt x="1086" y="28"/>
                  </a:cubicBezTo>
                  <a:cubicBezTo>
                    <a:pt x="1080" y="24"/>
                    <a:pt x="1078" y="38"/>
                    <a:pt x="1078" y="38"/>
                  </a:cubicBezTo>
                  <a:cubicBezTo>
                    <a:pt x="1078" y="38"/>
                    <a:pt x="1053" y="25"/>
                    <a:pt x="1047" y="30"/>
                  </a:cubicBezTo>
                  <a:cubicBezTo>
                    <a:pt x="1041" y="34"/>
                    <a:pt x="1050" y="42"/>
                    <a:pt x="1050" y="42"/>
                  </a:cubicBezTo>
                  <a:cubicBezTo>
                    <a:pt x="1050" y="42"/>
                    <a:pt x="1037" y="41"/>
                    <a:pt x="1035" y="46"/>
                  </a:cubicBezTo>
                  <a:cubicBezTo>
                    <a:pt x="1032" y="52"/>
                    <a:pt x="1049" y="58"/>
                    <a:pt x="1060" y="61"/>
                  </a:cubicBezTo>
                  <a:cubicBezTo>
                    <a:pt x="1071" y="64"/>
                    <a:pt x="1077" y="56"/>
                    <a:pt x="1077" y="56"/>
                  </a:cubicBezTo>
                  <a:cubicBezTo>
                    <a:pt x="1099" y="65"/>
                    <a:pt x="1099" y="65"/>
                    <a:pt x="1099" y="65"/>
                  </a:cubicBezTo>
                  <a:cubicBezTo>
                    <a:pt x="1099" y="65"/>
                    <a:pt x="1077" y="78"/>
                    <a:pt x="1065" y="83"/>
                  </a:cubicBezTo>
                  <a:cubicBezTo>
                    <a:pt x="1054" y="88"/>
                    <a:pt x="1020" y="84"/>
                    <a:pt x="1012" y="86"/>
                  </a:cubicBezTo>
                  <a:cubicBezTo>
                    <a:pt x="1005" y="88"/>
                    <a:pt x="955" y="114"/>
                    <a:pt x="955" y="114"/>
                  </a:cubicBezTo>
                  <a:cubicBezTo>
                    <a:pt x="955" y="114"/>
                    <a:pt x="949" y="131"/>
                    <a:pt x="948" y="142"/>
                  </a:cubicBezTo>
                  <a:cubicBezTo>
                    <a:pt x="947" y="152"/>
                    <a:pt x="968" y="161"/>
                    <a:pt x="968" y="161"/>
                  </a:cubicBezTo>
                  <a:cubicBezTo>
                    <a:pt x="935" y="163"/>
                    <a:pt x="935" y="163"/>
                    <a:pt x="935" y="163"/>
                  </a:cubicBezTo>
                  <a:cubicBezTo>
                    <a:pt x="912" y="185"/>
                    <a:pt x="912" y="185"/>
                    <a:pt x="912" y="185"/>
                  </a:cubicBezTo>
                  <a:cubicBezTo>
                    <a:pt x="912" y="185"/>
                    <a:pt x="916" y="205"/>
                    <a:pt x="910" y="212"/>
                  </a:cubicBezTo>
                  <a:cubicBezTo>
                    <a:pt x="904" y="219"/>
                    <a:pt x="927" y="226"/>
                    <a:pt x="936" y="231"/>
                  </a:cubicBezTo>
                  <a:cubicBezTo>
                    <a:pt x="946" y="235"/>
                    <a:pt x="942" y="256"/>
                    <a:pt x="942" y="256"/>
                  </a:cubicBezTo>
                  <a:cubicBezTo>
                    <a:pt x="927" y="242"/>
                    <a:pt x="927" y="242"/>
                    <a:pt x="927" y="242"/>
                  </a:cubicBezTo>
                  <a:cubicBezTo>
                    <a:pt x="907" y="244"/>
                    <a:pt x="907" y="244"/>
                    <a:pt x="907" y="244"/>
                  </a:cubicBezTo>
                  <a:cubicBezTo>
                    <a:pt x="899" y="256"/>
                    <a:pt x="899" y="256"/>
                    <a:pt x="899" y="256"/>
                  </a:cubicBezTo>
                  <a:cubicBezTo>
                    <a:pt x="872" y="235"/>
                    <a:pt x="872" y="235"/>
                    <a:pt x="872" y="235"/>
                  </a:cubicBezTo>
                  <a:cubicBezTo>
                    <a:pt x="869" y="256"/>
                    <a:pt x="869" y="256"/>
                    <a:pt x="869" y="256"/>
                  </a:cubicBezTo>
                  <a:cubicBezTo>
                    <a:pt x="853" y="261"/>
                    <a:pt x="853" y="261"/>
                    <a:pt x="853" y="261"/>
                  </a:cubicBezTo>
                  <a:cubicBezTo>
                    <a:pt x="856" y="279"/>
                    <a:pt x="856" y="279"/>
                    <a:pt x="856" y="279"/>
                  </a:cubicBezTo>
                  <a:cubicBezTo>
                    <a:pt x="837" y="276"/>
                    <a:pt x="837" y="276"/>
                    <a:pt x="837" y="276"/>
                  </a:cubicBezTo>
                  <a:cubicBezTo>
                    <a:pt x="856" y="232"/>
                    <a:pt x="856" y="232"/>
                    <a:pt x="856" y="232"/>
                  </a:cubicBezTo>
                  <a:cubicBezTo>
                    <a:pt x="856" y="232"/>
                    <a:pt x="851" y="226"/>
                    <a:pt x="848" y="215"/>
                  </a:cubicBezTo>
                  <a:cubicBezTo>
                    <a:pt x="846" y="203"/>
                    <a:pt x="827" y="205"/>
                    <a:pt x="827" y="205"/>
                  </a:cubicBezTo>
                  <a:cubicBezTo>
                    <a:pt x="816" y="187"/>
                    <a:pt x="816" y="187"/>
                    <a:pt x="816" y="187"/>
                  </a:cubicBezTo>
                  <a:cubicBezTo>
                    <a:pt x="816" y="187"/>
                    <a:pt x="825" y="167"/>
                    <a:pt x="814" y="159"/>
                  </a:cubicBezTo>
                  <a:cubicBezTo>
                    <a:pt x="802" y="151"/>
                    <a:pt x="787" y="162"/>
                    <a:pt x="787" y="169"/>
                  </a:cubicBezTo>
                  <a:cubicBezTo>
                    <a:pt x="786" y="176"/>
                    <a:pt x="792" y="176"/>
                    <a:pt x="792" y="176"/>
                  </a:cubicBezTo>
                  <a:cubicBezTo>
                    <a:pt x="788" y="185"/>
                    <a:pt x="788" y="185"/>
                    <a:pt x="788" y="185"/>
                  </a:cubicBezTo>
                  <a:cubicBezTo>
                    <a:pt x="768" y="184"/>
                    <a:pt x="768" y="184"/>
                    <a:pt x="768" y="184"/>
                  </a:cubicBezTo>
                  <a:cubicBezTo>
                    <a:pt x="771" y="202"/>
                    <a:pt x="771" y="202"/>
                    <a:pt x="771" y="202"/>
                  </a:cubicBezTo>
                  <a:cubicBezTo>
                    <a:pt x="758" y="196"/>
                    <a:pt x="758" y="196"/>
                    <a:pt x="758" y="196"/>
                  </a:cubicBezTo>
                  <a:cubicBezTo>
                    <a:pt x="746" y="201"/>
                    <a:pt x="746" y="201"/>
                    <a:pt x="746" y="201"/>
                  </a:cubicBezTo>
                  <a:cubicBezTo>
                    <a:pt x="746" y="201"/>
                    <a:pt x="751" y="209"/>
                    <a:pt x="749" y="219"/>
                  </a:cubicBezTo>
                  <a:cubicBezTo>
                    <a:pt x="747" y="230"/>
                    <a:pt x="731" y="238"/>
                    <a:pt x="731" y="238"/>
                  </a:cubicBezTo>
                  <a:cubicBezTo>
                    <a:pt x="736" y="214"/>
                    <a:pt x="736" y="214"/>
                    <a:pt x="736" y="214"/>
                  </a:cubicBezTo>
                  <a:cubicBezTo>
                    <a:pt x="724" y="229"/>
                    <a:pt x="724" y="229"/>
                    <a:pt x="724" y="229"/>
                  </a:cubicBezTo>
                  <a:cubicBezTo>
                    <a:pt x="724" y="229"/>
                    <a:pt x="713" y="227"/>
                    <a:pt x="706" y="237"/>
                  </a:cubicBezTo>
                  <a:cubicBezTo>
                    <a:pt x="699" y="247"/>
                    <a:pt x="710" y="268"/>
                    <a:pt x="710" y="268"/>
                  </a:cubicBezTo>
                  <a:cubicBezTo>
                    <a:pt x="679" y="255"/>
                    <a:pt x="679" y="255"/>
                    <a:pt x="679" y="255"/>
                  </a:cubicBezTo>
                  <a:cubicBezTo>
                    <a:pt x="676" y="279"/>
                    <a:pt x="676" y="279"/>
                    <a:pt x="676" y="279"/>
                  </a:cubicBezTo>
                  <a:cubicBezTo>
                    <a:pt x="665" y="281"/>
                    <a:pt x="665" y="281"/>
                    <a:pt x="665" y="281"/>
                  </a:cubicBezTo>
                  <a:cubicBezTo>
                    <a:pt x="676" y="298"/>
                    <a:pt x="676" y="298"/>
                    <a:pt x="676" y="298"/>
                  </a:cubicBezTo>
                  <a:cubicBezTo>
                    <a:pt x="688" y="297"/>
                    <a:pt x="688" y="297"/>
                    <a:pt x="688" y="297"/>
                  </a:cubicBezTo>
                  <a:cubicBezTo>
                    <a:pt x="685" y="308"/>
                    <a:pt x="685" y="308"/>
                    <a:pt x="685" y="308"/>
                  </a:cubicBezTo>
                  <a:cubicBezTo>
                    <a:pt x="638" y="312"/>
                    <a:pt x="638" y="312"/>
                    <a:pt x="638" y="312"/>
                  </a:cubicBezTo>
                  <a:cubicBezTo>
                    <a:pt x="638" y="312"/>
                    <a:pt x="624" y="302"/>
                    <a:pt x="614" y="310"/>
                  </a:cubicBezTo>
                  <a:cubicBezTo>
                    <a:pt x="604" y="319"/>
                    <a:pt x="620" y="337"/>
                    <a:pt x="620" y="337"/>
                  </a:cubicBezTo>
                  <a:cubicBezTo>
                    <a:pt x="622" y="359"/>
                    <a:pt x="622" y="359"/>
                    <a:pt x="622" y="359"/>
                  </a:cubicBezTo>
                  <a:cubicBezTo>
                    <a:pt x="616" y="373"/>
                    <a:pt x="616" y="373"/>
                    <a:pt x="616" y="373"/>
                  </a:cubicBezTo>
                  <a:cubicBezTo>
                    <a:pt x="620" y="399"/>
                    <a:pt x="620" y="399"/>
                    <a:pt x="620" y="399"/>
                  </a:cubicBezTo>
                  <a:cubicBezTo>
                    <a:pt x="609" y="400"/>
                    <a:pt x="609" y="400"/>
                    <a:pt x="609" y="400"/>
                  </a:cubicBezTo>
                  <a:cubicBezTo>
                    <a:pt x="606" y="348"/>
                    <a:pt x="606" y="348"/>
                    <a:pt x="606" y="348"/>
                  </a:cubicBezTo>
                  <a:cubicBezTo>
                    <a:pt x="595" y="337"/>
                    <a:pt x="595" y="337"/>
                    <a:pt x="595" y="337"/>
                  </a:cubicBezTo>
                  <a:cubicBezTo>
                    <a:pt x="593" y="316"/>
                    <a:pt x="593" y="316"/>
                    <a:pt x="593" y="316"/>
                  </a:cubicBezTo>
                  <a:cubicBezTo>
                    <a:pt x="580" y="317"/>
                    <a:pt x="580" y="317"/>
                    <a:pt x="580" y="317"/>
                  </a:cubicBezTo>
                  <a:cubicBezTo>
                    <a:pt x="569" y="333"/>
                    <a:pt x="569" y="333"/>
                    <a:pt x="569" y="333"/>
                  </a:cubicBezTo>
                  <a:cubicBezTo>
                    <a:pt x="569" y="333"/>
                    <a:pt x="556" y="344"/>
                    <a:pt x="537" y="360"/>
                  </a:cubicBezTo>
                  <a:cubicBezTo>
                    <a:pt x="519" y="376"/>
                    <a:pt x="531" y="409"/>
                    <a:pt x="531" y="409"/>
                  </a:cubicBezTo>
                  <a:cubicBezTo>
                    <a:pt x="531" y="409"/>
                    <a:pt x="548" y="414"/>
                    <a:pt x="546" y="423"/>
                  </a:cubicBezTo>
                  <a:cubicBezTo>
                    <a:pt x="543" y="433"/>
                    <a:pt x="510" y="445"/>
                    <a:pt x="504" y="448"/>
                  </a:cubicBezTo>
                  <a:cubicBezTo>
                    <a:pt x="498" y="451"/>
                    <a:pt x="501" y="461"/>
                    <a:pt x="501" y="461"/>
                  </a:cubicBezTo>
                  <a:cubicBezTo>
                    <a:pt x="501" y="461"/>
                    <a:pt x="480" y="480"/>
                    <a:pt x="463" y="494"/>
                  </a:cubicBezTo>
                  <a:cubicBezTo>
                    <a:pt x="445" y="507"/>
                    <a:pt x="393" y="512"/>
                    <a:pt x="393" y="512"/>
                  </a:cubicBezTo>
                  <a:cubicBezTo>
                    <a:pt x="359" y="505"/>
                    <a:pt x="359" y="505"/>
                    <a:pt x="359" y="505"/>
                  </a:cubicBezTo>
                  <a:cubicBezTo>
                    <a:pt x="332" y="519"/>
                    <a:pt x="332" y="519"/>
                    <a:pt x="332" y="519"/>
                  </a:cubicBezTo>
                  <a:cubicBezTo>
                    <a:pt x="295" y="524"/>
                    <a:pt x="295" y="524"/>
                    <a:pt x="295" y="524"/>
                  </a:cubicBezTo>
                  <a:cubicBezTo>
                    <a:pt x="290" y="529"/>
                    <a:pt x="290" y="529"/>
                    <a:pt x="290" y="529"/>
                  </a:cubicBezTo>
                  <a:cubicBezTo>
                    <a:pt x="290" y="529"/>
                    <a:pt x="280" y="529"/>
                    <a:pt x="271" y="534"/>
                  </a:cubicBezTo>
                  <a:cubicBezTo>
                    <a:pt x="262" y="538"/>
                    <a:pt x="251" y="549"/>
                    <a:pt x="251" y="549"/>
                  </a:cubicBezTo>
                  <a:cubicBezTo>
                    <a:pt x="251" y="549"/>
                    <a:pt x="232" y="550"/>
                    <a:pt x="218" y="554"/>
                  </a:cubicBezTo>
                  <a:cubicBezTo>
                    <a:pt x="204" y="558"/>
                    <a:pt x="188" y="587"/>
                    <a:pt x="188" y="587"/>
                  </a:cubicBezTo>
                  <a:cubicBezTo>
                    <a:pt x="188" y="587"/>
                    <a:pt x="153" y="595"/>
                    <a:pt x="146" y="599"/>
                  </a:cubicBezTo>
                  <a:cubicBezTo>
                    <a:pt x="138" y="604"/>
                    <a:pt x="103" y="649"/>
                    <a:pt x="103" y="649"/>
                  </a:cubicBezTo>
                  <a:cubicBezTo>
                    <a:pt x="109" y="605"/>
                    <a:pt x="109" y="605"/>
                    <a:pt x="109" y="605"/>
                  </a:cubicBezTo>
                  <a:cubicBezTo>
                    <a:pt x="97" y="612"/>
                    <a:pt x="97" y="612"/>
                    <a:pt x="97" y="612"/>
                  </a:cubicBezTo>
                  <a:cubicBezTo>
                    <a:pt x="83" y="649"/>
                    <a:pt x="83" y="649"/>
                    <a:pt x="83" y="649"/>
                  </a:cubicBezTo>
                  <a:cubicBezTo>
                    <a:pt x="83" y="649"/>
                    <a:pt x="69" y="675"/>
                    <a:pt x="62" y="690"/>
                  </a:cubicBezTo>
                  <a:cubicBezTo>
                    <a:pt x="56" y="705"/>
                    <a:pt x="79" y="711"/>
                    <a:pt x="79" y="711"/>
                  </a:cubicBezTo>
                  <a:cubicBezTo>
                    <a:pt x="79" y="711"/>
                    <a:pt x="59" y="732"/>
                    <a:pt x="49" y="741"/>
                  </a:cubicBezTo>
                  <a:cubicBezTo>
                    <a:pt x="38" y="750"/>
                    <a:pt x="58" y="789"/>
                    <a:pt x="59" y="795"/>
                  </a:cubicBezTo>
                  <a:cubicBezTo>
                    <a:pt x="59" y="802"/>
                    <a:pt x="84" y="845"/>
                    <a:pt x="78" y="849"/>
                  </a:cubicBezTo>
                  <a:cubicBezTo>
                    <a:pt x="72" y="854"/>
                    <a:pt x="48" y="813"/>
                    <a:pt x="48" y="813"/>
                  </a:cubicBezTo>
                  <a:cubicBezTo>
                    <a:pt x="36" y="811"/>
                    <a:pt x="36" y="811"/>
                    <a:pt x="36" y="811"/>
                  </a:cubicBezTo>
                  <a:cubicBezTo>
                    <a:pt x="46" y="841"/>
                    <a:pt x="46" y="841"/>
                    <a:pt x="46" y="841"/>
                  </a:cubicBezTo>
                  <a:cubicBezTo>
                    <a:pt x="23" y="821"/>
                    <a:pt x="23" y="821"/>
                    <a:pt x="23" y="821"/>
                  </a:cubicBezTo>
                  <a:cubicBezTo>
                    <a:pt x="23" y="821"/>
                    <a:pt x="19" y="844"/>
                    <a:pt x="22" y="858"/>
                  </a:cubicBezTo>
                  <a:cubicBezTo>
                    <a:pt x="25" y="872"/>
                    <a:pt x="48" y="907"/>
                    <a:pt x="48" y="907"/>
                  </a:cubicBezTo>
                  <a:cubicBezTo>
                    <a:pt x="48" y="907"/>
                    <a:pt x="37" y="929"/>
                    <a:pt x="35" y="937"/>
                  </a:cubicBezTo>
                  <a:cubicBezTo>
                    <a:pt x="33" y="945"/>
                    <a:pt x="63" y="968"/>
                    <a:pt x="64" y="974"/>
                  </a:cubicBezTo>
                  <a:cubicBezTo>
                    <a:pt x="65" y="981"/>
                    <a:pt x="66" y="1003"/>
                    <a:pt x="60" y="1011"/>
                  </a:cubicBezTo>
                  <a:cubicBezTo>
                    <a:pt x="55" y="1019"/>
                    <a:pt x="68" y="1065"/>
                    <a:pt x="68" y="1065"/>
                  </a:cubicBezTo>
                  <a:cubicBezTo>
                    <a:pt x="68" y="1065"/>
                    <a:pt x="64" y="1067"/>
                    <a:pt x="56" y="1073"/>
                  </a:cubicBezTo>
                  <a:cubicBezTo>
                    <a:pt x="49" y="1079"/>
                    <a:pt x="65" y="1115"/>
                    <a:pt x="65" y="1115"/>
                  </a:cubicBezTo>
                  <a:cubicBezTo>
                    <a:pt x="65" y="1115"/>
                    <a:pt x="85" y="1124"/>
                    <a:pt x="87" y="1141"/>
                  </a:cubicBezTo>
                  <a:cubicBezTo>
                    <a:pt x="89" y="1157"/>
                    <a:pt x="60" y="1186"/>
                    <a:pt x="60" y="1186"/>
                  </a:cubicBezTo>
                  <a:cubicBezTo>
                    <a:pt x="60" y="1186"/>
                    <a:pt x="69" y="1219"/>
                    <a:pt x="52" y="1236"/>
                  </a:cubicBezTo>
                  <a:cubicBezTo>
                    <a:pt x="35" y="1252"/>
                    <a:pt x="4" y="1244"/>
                    <a:pt x="4" y="1244"/>
                  </a:cubicBezTo>
                  <a:cubicBezTo>
                    <a:pt x="0" y="1276"/>
                    <a:pt x="0" y="1276"/>
                    <a:pt x="0" y="1276"/>
                  </a:cubicBezTo>
                  <a:cubicBezTo>
                    <a:pt x="0" y="1276"/>
                    <a:pt x="32" y="1284"/>
                    <a:pt x="41" y="1289"/>
                  </a:cubicBezTo>
                  <a:cubicBezTo>
                    <a:pt x="50" y="1295"/>
                    <a:pt x="56" y="1305"/>
                    <a:pt x="56" y="1305"/>
                  </a:cubicBezTo>
                  <a:cubicBezTo>
                    <a:pt x="73" y="1303"/>
                    <a:pt x="73" y="1303"/>
                    <a:pt x="73" y="1303"/>
                  </a:cubicBezTo>
                  <a:cubicBezTo>
                    <a:pt x="73" y="1303"/>
                    <a:pt x="82" y="1312"/>
                    <a:pt x="96" y="1317"/>
                  </a:cubicBezTo>
                  <a:cubicBezTo>
                    <a:pt x="109" y="1322"/>
                    <a:pt x="140" y="1312"/>
                    <a:pt x="153" y="1311"/>
                  </a:cubicBezTo>
                  <a:cubicBezTo>
                    <a:pt x="165" y="1311"/>
                    <a:pt x="155" y="1295"/>
                    <a:pt x="155" y="1295"/>
                  </a:cubicBezTo>
                  <a:cubicBezTo>
                    <a:pt x="180" y="1297"/>
                    <a:pt x="180" y="1297"/>
                    <a:pt x="180" y="1297"/>
                  </a:cubicBezTo>
                  <a:cubicBezTo>
                    <a:pt x="186" y="1285"/>
                    <a:pt x="186" y="1285"/>
                    <a:pt x="186" y="1285"/>
                  </a:cubicBezTo>
                  <a:cubicBezTo>
                    <a:pt x="213" y="1281"/>
                    <a:pt x="213" y="1281"/>
                    <a:pt x="213" y="1281"/>
                  </a:cubicBezTo>
                  <a:cubicBezTo>
                    <a:pt x="213" y="1281"/>
                    <a:pt x="237" y="1256"/>
                    <a:pt x="250" y="1255"/>
                  </a:cubicBezTo>
                  <a:cubicBezTo>
                    <a:pt x="262" y="1255"/>
                    <a:pt x="274" y="1270"/>
                    <a:pt x="281" y="1268"/>
                  </a:cubicBezTo>
                  <a:cubicBezTo>
                    <a:pt x="289" y="1266"/>
                    <a:pt x="326" y="1248"/>
                    <a:pt x="326" y="1248"/>
                  </a:cubicBezTo>
                  <a:cubicBezTo>
                    <a:pt x="326" y="1248"/>
                    <a:pt x="348" y="1258"/>
                    <a:pt x="359" y="1256"/>
                  </a:cubicBezTo>
                  <a:cubicBezTo>
                    <a:pt x="370" y="1255"/>
                    <a:pt x="377" y="1245"/>
                    <a:pt x="384" y="1244"/>
                  </a:cubicBezTo>
                  <a:cubicBezTo>
                    <a:pt x="392" y="1244"/>
                    <a:pt x="411" y="1256"/>
                    <a:pt x="426" y="1253"/>
                  </a:cubicBezTo>
                  <a:cubicBezTo>
                    <a:pt x="441" y="1250"/>
                    <a:pt x="438" y="1231"/>
                    <a:pt x="438" y="1231"/>
                  </a:cubicBezTo>
                  <a:cubicBezTo>
                    <a:pt x="438" y="1231"/>
                    <a:pt x="450" y="1228"/>
                    <a:pt x="454" y="1225"/>
                  </a:cubicBezTo>
                  <a:cubicBezTo>
                    <a:pt x="459" y="1222"/>
                    <a:pt x="465" y="1195"/>
                    <a:pt x="478" y="1183"/>
                  </a:cubicBezTo>
                  <a:cubicBezTo>
                    <a:pt x="491" y="1171"/>
                    <a:pt x="524" y="1179"/>
                    <a:pt x="535" y="1176"/>
                  </a:cubicBezTo>
                  <a:cubicBezTo>
                    <a:pt x="545" y="1174"/>
                    <a:pt x="579" y="1155"/>
                    <a:pt x="594" y="1153"/>
                  </a:cubicBezTo>
                  <a:cubicBezTo>
                    <a:pt x="610" y="1151"/>
                    <a:pt x="612" y="1158"/>
                    <a:pt x="631" y="1161"/>
                  </a:cubicBezTo>
                  <a:cubicBezTo>
                    <a:pt x="650" y="1164"/>
                    <a:pt x="697" y="1131"/>
                    <a:pt x="716" y="1125"/>
                  </a:cubicBezTo>
                  <a:cubicBezTo>
                    <a:pt x="736" y="1119"/>
                    <a:pt x="819" y="1113"/>
                    <a:pt x="819" y="1113"/>
                  </a:cubicBezTo>
                  <a:cubicBezTo>
                    <a:pt x="826" y="1106"/>
                    <a:pt x="826" y="1106"/>
                    <a:pt x="826" y="1106"/>
                  </a:cubicBezTo>
                  <a:cubicBezTo>
                    <a:pt x="826" y="1106"/>
                    <a:pt x="854" y="1131"/>
                    <a:pt x="872" y="1138"/>
                  </a:cubicBezTo>
                  <a:cubicBezTo>
                    <a:pt x="889" y="1145"/>
                    <a:pt x="896" y="1136"/>
                    <a:pt x="896" y="1136"/>
                  </a:cubicBezTo>
                  <a:cubicBezTo>
                    <a:pt x="896" y="1136"/>
                    <a:pt x="899" y="1153"/>
                    <a:pt x="907" y="1156"/>
                  </a:cubicBezTo>
                  <a:cubicBezTo>
                    <a:pt x="915" y="1159"/>
                    <a:pt x="920" y="1152"/>
                    <a:pt x="920" y="1152"/>
                  </a:cubicBezTo>
                  <a:cubicBezTo>
                    <a:pt x="923" y="1167"/>
                    <a:pt x="923" y="1167"/>
                    <a:pt x="923" y="1167"/>
                  </a:cubicBezTo>
                  <a:cubicBezTo>
                    <a:pt x="923" y="1167"/>
                    <a:pt x="935" y="1165"/>
                    <a:pt x="936" y="1174"/>
                  </a:cubicBezTo>
                  <a:cubicBezTo>
                    <a:pt x="937" y="1182"/>
                    <a:pt x="918" y="1206"/>
                    <a:pt x="918" y="1206"/>
                  </a:cubicBezTo>
                  <a:cubicBezTo>
                    <a:pt x="932" y="1225"/>
                    <a:pt x="932" y="1225"/>
                    <a:pt x="932" y="1225"/>
                  </a:cubicBezTo>
                  <a:cubicBezTo>
                    <a:pt x="941" y="1216"/>
                    <a:pt x="941" y="1216"/>
                    <a:pt x="941" y="1216"/>
                  </a:cubicBezTo>
                  <a:cubicBezTo>
                    <a:pt x="954" y="1243"/>
                    <a:pt x="954" y="1243"/>
                    <a:pt x="954" y="1243"/>
                  </a:cubicBezTo>
                  <a:cubicBezTo>
                    <a:pt x="954" y="1243"/>
                    <a:pt x="963" y="1270"/>
                    <a:pt x="964" y="1279"/>
                  </a:cubicBezTo>
                  <a:cubicBezTo>
                    <a:pt x="965" y="1287"/>
                    <a:pt x="937" y="1280"/>
                    <a:pt x="937" y="1280"/>
                  </a:cubicBezTo>
                  <a:cubicBezTo>
                    <a:pt x="944" y="1303"/>
                    <a:pt x="944" y="1303"/>
                    <a:pt x="944" y="1303"/>
                  </a:cubicBezTo>
                  <a:cubicBezTo>
                    <a:pt x="944" y="1303"/>
                    <a:pt x="953" y="1303"/>
                    <a:pt x="962" y="1304"/>
                  </a:cubicBezTo>
                  <a:cubicBezTo>
                    <a:pt x="971" y="1304"/>
                    <a:pt x="970" y="1311"/>
                    <a:pt x="970" y="1311"/>
                  </a:cubicBezTo>
                  <a:cubicBezTo>
                    <a:pt x="983" y="1308"/>
                    <a:pt x="983" y="1308"/>
                    <a:pt x="983" y="1308"/>
                  </a:cubicBezTo>
                  <a:cubicBezTo>
                    <a:pt x="983" y="1308"/>
                    <a:pt x="979" y="1294"/>
                    <a:pt x="979" y="1283"/>
                  </a:cubicBezTo>
                  <a:cubicBezTo>
                    <a:pt x="980" y="1272"/>
                    <a:pt x="998" y="1263"/>
                    <a:pt x="1010" y="1261"/>
                  </a:cubicBezTo>
                  <a:cubicBezTo>
                    <a:pt x="1022" y="1258"/>
                    <a:pt x="1045" y="1222"/>
                    <a:pt x="1045" y="1222"/>
                  </a:cubicBezTo>
                  <a:cubicBezTo>
                    <a:pt x="1060" y="1224"/>
                    <a:pt x="1060" y="1224"/>
                    <a:pt x="1060" y="1224"/>
                  </a:cubicBezTo>
                  <a:cubicBezTo>
                    <a:pt x="1074" y="1191"/>
                    <a:pt x="1074" y="1191"/>
                    <a:pt x="1074" y="1191"/>
                  </a:cubicBezTo>
                  <a:cubicBezTo>
                    <a:pt x="1074" y="1191"/>
                    <a:pt x="1093" y="1188"/>
                    <a:pt x="1102" y="1187"/>
                  </a:cubicBezTo>
                  <a:cubicBezTo>
                    <a:pt x="1110" y="1186"/>
                    <a:pt x="1115" y="1156"/>
                    <a:pt x="1115" y="1156"/>
                  </a:cubicBezTo>
                  <a:cubicBezTo>
                    <a:pt x="1115" y="1156"/>
                    <a:pt x="1120" y="1180"/>
                    <a:pt x="1121" y="1187"/>
                  </a:cubicBezTo>
                  <a:cubicBezTo>
                    <a:pt x="1122" y="1195"/>
                    <a:pt x="1093" y="1209"/>
                    <a:pt x="1093" y="1209"/>
                  </a:cubicBezTo>
                  <a:cubicBezTo>
                    <a:pt x="1083" y="1210"/>
                    <a:pt x="1083" y="1210"/>
                    <a:pt x="1083" y="1210"/>
                  </a:cubicBezTo>
                  <a:cubicBezTo>
                    <a:pt x="1078" y="1217"/>
                    <a:pt x="1078" y="1217"/>
                    <a:pt x="1078" y="1217"/>
                  </a:cubicBezTo>
                  <a:cubicBezTo>
                    <a:pt x="1089" y="1240"/>
                    <a:pt x="1089" y="1240"/>
                    <a:pt x="1089" y="1240"/>
                  </a:cubicBezTo>
                  <a:cubicBezTo>
                    <a:pt x="1089" y="1240"/>
                    <a:pt x="1079" y="1244"/>
                    <a:pt x="1072" y="1248"/>
                  </a:cubicBezTo>
                  <a:cubicBezTo>
                    <a:pt x="1065" y="1253"/>
                    <a:pt x="1047" y="1276"/>
                    <a:pt x="1047" y="1276"/>
                  </a:cubicBezTo>
                  <a:cubicBezTo>
                    <a:pt x="1047" y="1276"/>
                    <a:pt x="1042" y="1295"/>
                    <a:pt x="1035" y="1299"/>
                  </a:cubicBezTo>
                  <a:cubicBezTo>
                    <a:pt x="1028" y="1304"/>
                    <a:pt x="1004" y="1313"/>
                    <a:pt x="1011" y="1319"/>
                  </a:cubicBezTo>
                  <a:cubicBezTo>
                    <a:pt x="1018" y="1326"/>
                    <a:pt x="1045" y="1316"/>
                    <a:pt x="1054" y="1313"/>
                  </a:cubicBezTo>
                  <a:cubicBezTo>
                    <a:pt x="1062" y="1309"/>
                    <a:pt x="1063" y="1296"/>
                    <a:pt x="1069" y="1287"/>
                  </a:cubicBezTo>
                  <a:cubicBezTo>
                    <a:pt x="1076" y="1277"/>
                    <a:pt x="1090" y="1267"/>
                    <a:pt x="1090" y="1267"/>
                  </a:cubicBezTo>
                  <a:cubicBezTo>
                    <a:pt x="1090" y="1267"/>
                    <a:pt x="1093" y="1292"/>
                    <a:pt x="1095" y="1298"/>
                  </a:cubicBezTo>
                  <a:cubicBezTo>
                    <a:pt x="1097" y="1304"/>
                    <a:pt x="1084" y="1315"/>
                    <a:pt x="1075" y="1320"/>
                  </a:cubicBezTo>
                  <a:cubicBezTo>
                    <a:pt x="1067" y="1325"/>
                    <a:pt x="1066" y="1333"/>
                    <a:pt x="1072" y="1339"/>
                  </a:cubicBezTo>
                  <a:cubicBezTo>
                    <a:pt x="1079" y="1344"/>
                    <a:pt x="1110" y="1344"/>
                    <a:pt x="1110" y="1344"/>
                  </a:cubicBezTo>
                  <a:cubicBezTo>
                    <a:pt x="1115" y="1351"/>
                    <a:pt x="1115" y="1351"/>
                    <a:pt x="1115" y="1351"/>
                  </a:cubicBezTo>
                  <a:cubicBezTo>
                    <a:pt x="1100" y="1364"/>
                    <a:pt x="1100" y="1364"/>
                    <a:pt x="1100" y="1364"/>
                  </a:cubicBezTo>
                  <a:cubicBezTo>
                    <a:pt x="1100" y="1364"/>
                    <a:pt x="1116" y="1393"/>
                    <a:pt x="1118" y="1403"/>
                  </a:cubicBezTo>
                  <a:cubicBezTo>
                    <a:pt x="1121" y="1414"/>
                    <a:pt x="1097" y="1430"/>
                    <a:pt x="1088" y="1441"/>
                  </a:cubicBezTo>
                  <a:cubicBezTo>
                    <a:pt x="1078" y="1452"/>
                    <a:pt x="1110" y="1474"/>
                    <a:pt x="1118" y="1477"/>
                  </a:cubicBezTo>
                  <a:cubicBezTo>
                    <a:pt x="1125" y="1480"/>
                    <a:pt x="1139" y="1500"/>
                    <a:pt x="1154" y="1505"/>
                  </a:cubicBezTo>
                  <a:cubicBezTo>
                    <a:pt x="1169" y="1510"/>
                    <a:pt x="1180" y="1501"/>
                    <a:pt x="1194" y="1504"/>
                  </a:cubicBezTo>
                  <a:cubicBezTo>
                    <a:pt x="1207" y="1507"/>
                    <a:pt x="1210" y="1524"/>
                    <a:pt x="1229" y="1527"/>
                  </a:cubicBezTo>
                  <a:cubicBezTo>
                    <a:pt x="1249" y="1531"/>
                    <a:pt x="1297" y="1498"/>
                    <a:pt x="1297" y="1498"/>
                  </a:cubicBezTo>
                  <a:cubicBezTo>
                    <a:pt x="1297" y="1498"/>
                    <a:pt x="1290" y="1484"/>
                    <a:pt x="1305" y="1475"/>
                  </a:cubicBezTo>
                  <a:cubicBezTo>
                    <a:pt x="1320" y="1466"/>
                    <a:pt x="1319" y="1502"/>
                    <a:pt x="1319" y="1502"/>
                  </a:cubicBezTo>
                  <a:cubicBezTo>
                    <a:pt x="1330" y="1501"/>
                    <a:pt x="1330" y="1501"/>
                    <a:pt x="1330" y="1501"/>
                  </a:cubicBezTo>
                  <a:cubicBezTo>
                    <a:pt x="1320" y="1517"/>
                    <a:pt x="1320" y="1517"/>
                    <a:pt x="1320" y="1517"/>
                  </a:cubicBezTo>
                  <a:cubicBezTo>
                    <a:pt x="1333" y="1518"/>
                    <a:pt x="1333" y="1518"/>
                    <a:pt x="1333" y="1518"/>
                  </a:cubicBezTo>
                  <a:cubicBezTo>
                    <a:pt x="1333" y="1518"/>
                    <a:pt x="1334" y="1530"/>
                    <a:pt x="1341" y="1539"/>
                  </a:cubicBezTo>
                  <a:cubicBezTo>
                    <a:pt x="1347" y="1547"/>
                    <a:pt x="1354" y="1543"/>
                    <a:pt x="1354" y="1543"/>
                  </a:cubicBezTo>
                  <a:cubicBezTo>
                    <a:pt x="1360" y="1532"/>
                    <a:pt x="1360" y="1532"/>
                    <a:pt x="1360" y="1532"/>
                  </a:cubicBezTo>
                  <a:cubicBezTo>
                    <a:pt x="1360" y="1532"/>
                    <a:pt x="1378" y="1530"/>
                    <a:pt x="1388" y="1521"/>
                  </a:cubicBezTo>
                  <a:cubicBezTo>
                    <a:pt x="1399" y="1513"/>
                    <a:pt x="1443" y="1482"/>
                    <a:pt x="1443" y="1482"/>
                  </a:cubicBezTo>
                  <a:cubicBezTo>
                    <a:pt x="1438" y="1472"/>
                    <a:pt x="1438" y="1472"/>
                    <a:pt x="1438" y="1472"/>
                  </a:cubicBezTo>
                  <a:cubicBezTo>
                    <a:pt x="1462" y="1468"/>
                    <a:pt x="1462" y="1468"/>
                    <a:pt x="1462" y="1468"/>
                  </a:cubicBezTo>
                  <a:cubicBezTo>
                    <a:pt x="1471" y="1476"/>
                    <a:pt x="1471" y="1476"/>
                    <a:pt x="1471" y="1476"/>
                  </a:cubicBezTo>
                  <a:cubicBezTo>
                    <a:pt x="1471" y="1476"/>
                    <a:pt x="1510" y="1469"/>
                    <a:pt x="1533" y="1461"/>
                  </a:cubicBezTo>
                  <a:cubicBezTo>
                    <a:pt x="1555" y="1452"/>
                    <a:pt x="1557" y="1408"/>
                    <a:pt x="1560" y="1396"/>
                  </a:cubicBezTo>
                  <a:cubicBezTo>
                    <a:pt x="1564" y="1385"/>
                    <a:pt x="1590" y="1370"/>
                    <a:pt x="1590" y="1370"/>
                  </a:cubicBezTo>
                  <a:cubicBezTo>
                    <a:pt x="1590" y="1355"/>
                    <a:pt x="1590" y="1355"/>
                    <a:pt x="1590" y="1355"/>
                  </a:cubicBezTo>
                  <a:cubicBezTo>
                    <a:pt x="1590" y="1355"/>
                    <a:pt x="1605" y="1349"/>
                    <a:pt x="1613" y="1338"/>
                  </a:cubicBezTo>
                  <a:cubicBezTo>
                    <a:pt x="1620" y="1328"/>
                    <a:pt x="1631" y="1314"/>
                    <a:pt x="1631" y="1314"/>
                  </a:cubicBezTo>
                  <a:cubicBezTo>
                    <a:pt x="1631" y="1314"/>
                    <a:pt x="1633" y="1285"/>
                    <a:pt x="1641" y="1275"/>
                  </a:cubicBezTo>
                  <a:cubicBezTo>
                    <a:pt x="1648" y="1266"/>
                    <a:pt x="1682" y="1228"/>
                    <a:pt x="1695" y="1222"/>
                  </a:cubicBezTo>
                  <a:cubicBezTo>
                    <a:pt x="1707" y="1216"/>
                    <a:pt x="1709" y="1185"/>
                    <a:pt x="1709" y="1185"/>
                  </a:cubicBezTo>
                  <a:cubicBezTo>
                    <a:pt x="1709" y="1185"/>
                    <a:pt x="1732" y="1189"/>
                    <a:pt x="1741" y="1179"/>
                  </a:cubicBezTo>
                  <a:cubicBezTo>
                    <a:pt x="1750" y="1170"/>
                    <a:pt x="1797" y="1111"/>
                    <a:pt x="1800" y="1104"/>
                  </a:cubicBezTo>
                  <a:cubicBezTo>
                    <a:pt x="1804" y="1098"/>
                    <a:pt x="1803" y="1067"/>
                    <a:pt x="1813" y="1060"/>
                  </a:cubicBezTo>
                  <a:cubicBezTo>
                    <a:pt x="1822" y="1053"/>
                    <a:pt x="1864" y="971"/>
                    <a:pt x="1874" y="952"/>
                  </a:cubicBezTo>
                  <a:cubicBezTo>
                    <a:pt x="1884" y="933"/>
                    <a:pt x="1872" y="920"/>
                    <a:pt x="1871" y="907"/>
                  </a:cubicBezTo>
                  <a:cubicBezTo>
                    <a:pt x="1870" y="894"/>
                    <a:pt x="1880" y="873"/>
                    <a:pt x="1889" y="859"/>
                  </a:cubicBezTo>
                  <a:cubicBezTo>
                    <a:pt x="1898" y="845"/>
                    <a:pt x="1888" y="783"/>
                    <a:pt x="1888" y="783"/>
                  </a:cubicBezTo>
                  <a:lnTo>
                    <a:pt x="1869" y="774"/>
                  </a:lnTo>
                  <a:close/>
                  <a:moveTo>
                    <a:pt x="1347" y="1624"/>
                  </a:moveTo>
                  <a:cubicBezTo>
                    <a:pt x="1349" y="1631"/>
                    <a:pt x="1373" y="1619"/>
                    <a:pt x="1364" y="1612"/>
                  </a:cubicBezTo>
                  <a:cubicBezTo>
                    <a:pt x="1355" y="1605"/>
                    <a:pt x="1347" y="1624"/>
                    <a:pt x="1347" y="1624"/>
                  </a:cubicBezTo>
                  <a:close/>
                  <a:moveTo>
                    <a:pt x="1332" y="1632"/>
                  </a:moveTo>
                  <a:cubicBezTo>
                    <a:pt x="1323" y="1626"/>
                    <a:pt x="1312" y="1646"/>
                    <a:pt x="1312" y="1646"/>
                  </a:cubicBezTo>
                  <a:cubicBezTo>
                    <a:pt x="1312" y="1646"/>
                    <a:pt x="1308" y="1640"/>
                    <a:pt x="1304" y="1640"/>
                  </a:cubicBezTo>
                  <a:cubicBezTo>
                    <a:pt x="1300" y="1639"/>
                    <a:pt x="1277" y="1643"/>
                    <a:pt x="1277" y="1643"/>
                  </a:cubicBezTo>
                  <a:cubicBezTo>
                    <a:pt x="1274" y="1651"/>
                    <a:pt x="1274" y="1651"/>
                    <a:pt x="1274" y="1651"/>
                  </a:cubicBezTo>
                  <a:cubicBezTo>
                    <a:pt x="1261" y="1640"/>
                    <a:pt x="1261" y="1640"/>
                    <a:pt x="1261" y="1640"/>
                  </a:cubicBezTo>
                  <a:cubicBezTo>
                    <a:pt x="1236" y="1638"/>
                    <a:pt x="1236" y="1638"/>
                    <a:pt x="1236" y="1638"/>
                  </a:cubicBezTo>
                  <a:cubicBezTo>
                    <a:pt x="1221" y="1620"/>
                    <a:pt x="1221" y="1620"/>
                    <a:pt x="1221" y="1620"/>
                  </a:cubicBezTo>
                  <a:cubicBezTo>
                    <a:pt x="1221" y="1620"/>
                    <a:pt x="1216" y="1623"/>
                    <a:pt x="1210" y="1624"/>
                  </a:cubicBezTo>
                  <a:cubicBezTo>
                    <a:pt x="1205" y="1625"/>
                    <a:pt x="1188" y="1605"/>
                    <a:pt x="1188" y="1605"/>
                  </a:cubicBezTo>
                  <a:cubicBezTo>
                    <a:pt x="1184" y="1616"/>
                    <a:pt x="1184" y="1616"/>
                    <a:pt x="1184" y="1616"/>
                  </a:cubicBezTo>
                  <a:cubicBezTo>
                    <a:pt x="1188" y="1629"/>
                    <a:pt x="1188" y="1629"/>
                    <a:pt x="1188" y="1629"/>
                  </a:cubicBezTo>
                  <a:cubicBezTo>
                    <a:pt x="1188" y="1629"/>
                    <a:pt x="1189" y="1645"/>
                    <a:pt x="1187" y="1650"/>
                  </a:cubicBezTo>
                  <a:cubicBezTo>
                    <a:pt x="1185" y="1655"/>
                    <a:pt x="1179" y="1663"/>
                    <a:pt x="1185" y="1674"/>
                  </a:cubicBezTo>
                  <a:cubicBezTo>
                    <a:pt x="1191" y="1685"/>
                    <a:pt x="1184" y="1691"/>
                    <a:pt x="1176" y="1694"/>
                  </a:cubicBezTo>
                  <a:cubicBezTo>
                    <a:pt x="1167" y="1696"/>
                    <a:pt x="1160" y="1686"/>
                    <a:pt x="1160" y="1686"/>
                  </a:cubicBezTo>
                  <a:cubicBezTo>
                    <a:pt x="1160" y="1686"/>
                    <a:pt x="1156" y="1700"/>
                    <a:pt x="1155" y="1713"/>
                  </a:cubicBezTo>
                  <a:cubicBezTo>
                    <a:pt x="1154" y="1727"/>
                    <a:pt x="1166" y="1748"/>
                    <a:pt x="1166" y="1748"/>
                  </a:cubicBezTo>
                  <a:cubicBezTo>
                    <a:pt x="1181" y="1750"/>
                    <a:pt x="1181" y="1750"/>
                    <a:pt x="1181" y="1750"/>
                  </a:cubicBezTo>
                  <a:cubicBezTo>
                    <a:pt x="1168" y="1757"/>
                    <a:pt x="1168" y="1757"/>
                    <a:pt x="1168" y="1757"/>
                  </a:cubicBezTo>
                  <a:cubicBezTo>
                    <a:pt x="1173" y="1774"/>
                    <a:pt x="1173" y="1774"/>
                    <a:pt x="1173" y="1774"/>
                  </a:cubicBezTo>
                  <a:cubicBezTo>
                    <a:pt x="1173" y="1774"/>
                    <a:pt x="1185" y="1769"/>
                    <a:pt x="1191" y="1766"/>
                  </a:cubicBezTo>
                  <a:cubicBezTo>
                    <a:pt x="1198" y="1763"/>
                    <a:pt x="1203" y="1773"/>
                    <a:pt x="1214" y="1769"/>
                  </a:cubicBezTo>
                  <a:cubicBezTo>
                    <a:pt x="1225" y="1764"/>
                    <a:pt x="1232" y="1748"/>
                    <a:pt x="1239" y="1752"/>
                  </a:cubicBezTo>
                  <a:cubicBezTo>
                    <a:pt x="1247" y="1757"/>
                    <a:pt x="1236" y="1768"/>
                    <a:pt x="1236" y="1768"/>
                  </a:cubicBezTo>
                  <a:cubicBezTo>
                    <a:pt x="1247" y="1772"/>
                    <a:pt x="1247" y="1772"/>
                    <a:pt x="1247" y="1772"/>
                  </a:cubicBezTo>
                  <a:cubicBezTo>
                    <a:pt x="1247" y="1772"/>
                    <a:pt x="1268" y="1744"/>
                    <a:pt x="1277" y="1738"/>
                  </a:cubicBezTo>
                  <a:cubicBezTo>
                    <a:pt x="1285" y="1733"/>
                    <a:pt x="1268" y="1726"/>
                    <a:pt x="1268" y="1726"/>
                  </a:cubicBezTo>
                  <a:cubicBezTo>
                    <a:pt x="1282" y="1706"/>
                    <a:pt x="1282" y="1706"/>
                    <a:pt x="1282" y="1706"/>
                  </a:cubicBezTo>
                  <a:cubicBezTo>
                    <a:pt x="1282" y="1706"/>
                    <a:pt x="1292" y="1710"/>
                    <a:pt x="1303" y="1704"/>
                  </a:cubicBezTo>
                  <a:cubicBezTo>
                    <a:pt x="1314" y="1699"/>
                    <a:pt x="1305" y="1678"/>
                    <a:pt x="1315" y="1667"/>
                  </a:cubicBezTo>
                  <a:cubicBezTo>
                    <a:pt x="1326" y="1656"/>
                    <a:pt x="1340" y="1638"/>
                    <a:pt x="1332" y="1632"/>
                  </a:cubicBezTo>
                  <a:close/>
                  <a:moveTo>
                    <a:pt x="1269" y="162"/>
                  </a:moveTo>
                  <a:cubicBezTo>
                    <a:pt x="1263" y="162"/>
                    <a:pt x="1259" y="193"/>
                    <a:pt x="1259" y="193"/>
                  </a:cubicBezTo>
                  <a:cubicBezTo>
                    <a:pt x="1269" y="207"/>
                    <a:pt x="1290" y="195"/>
                    <a:pt x="1290" y="195"/>
                  </a:cubicBezTo>
                  <a:cubicBezTo>
                    <a:pt x="1286" y="186"/>
                    <a:pt x="1286" y="186"/>
                    <a:pt x="1286" y="186"/>
                  </a:cubicBezTo>
                  <a:cubicBezTo>
                    <a:pt x="1290" y="167"/>
                    <a:pt x="1290" y="167"/>
                    <a:pt x="1290" y="167"/>
                  </a:cubicBezTo>
                  <a:cubicBezTo>
                    <a:pt x="1290" y="167"/>
                    <a:pt x="1274" y="162"/>
                    <a:pt x="1269" y="162"/>
                  </a:cubicBezTo>
                  <a:close/>
                  <a:moveTo>
                    <a:pt x="1182" y="1554"/>
                  </a:moveTo>
                  <a:cubicBezTo>
                    <a:pt x="1175" y="1581"/>
                    <a:pt x="1175" y="1581"/>
                    <a:pt x="1175" y="1581"/>
                  </a:cubicBezTo>
                  <a:cubicBezTo>
                    <a:pt x="1209" y="1549"/>
                    <a:pt x="1209" y="1549"/>
                    <a:pt x="1209" y="1549"/>
                  </a:cubicBezTo>
                  <a:lnTo>
                    <a:pt x="1182" y="1554"/>
                  </a:lnTo>
                  <a:close/>
                  <a:moveTo>
                    <a:pt x="1357" y="1597"/>
                  </a:moveTo>
                  <a:cubicBezTo>
                    <a:pt x="1345" y="1572"/>
                    <a:pt x="1345" y="1572"/>
                    <a:pt x="1345" y="1572"/>
                  </a:cubicBezTo>
                  <a:cubicBezTo>
                    <a:pt x="1345" y="1572"/>
                    <a:pt x="1333" y="1579"/>
                    <a:pt x="1332" y="1587"/>
                  </a:cubicBezTo>
                  <a:cubicBezTo>
                    <a:pt x="1332" y="1594"/>
                    <a:pt x="1334" y="1597"/>
                    <a:pt x="1343" y="1600"/>
                  </a:cubicBezTo>
                  <a:cubicBezTo>
                    <a:pt x="1352" y="1603"/>
                    <a:pt x="1357" y="1597"/>
                    <a:pt x="1357" y="1597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59" name="Freeform 339">
              <a:extLst>
                <a:ext uri="{FF2B5EF4-FFF2-40B4-BE49-F238E27FC236}">
                  <a16:creationId xmlns:a16="http://schemas.microsoft.com/office/drawing/2014/main" id="{25797BF8-83AC-FC16-AF18-AE7935004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-14816" y="-15399"/>
              <a:ext cx="52" cy="59"/>
            </a:xfrm>
            <a:custGeom>
              <a:avLst/>
              <a:gdLst>
                <a:gd name="T0" fmla="*/ 0 w 22"/>
                <a:gd name="T1" fmla="*/ 15 h 25"/>
                <a:gd name="T2" fmla="*/ 12 w 22"/>
                <a:gd name="T3" fmla="*/ 22 h 25"/>
                <a:gd name="T4" fmla="*/ 15 w 22"/>
                <a:gd name="T5" fmla="*/ 9 h 25"/>
                <a:gd name="T6" fmla="*/ 0 w 22"/>
                <a:gd name="T7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5">
                  <a:moveTo>
                    <a:pt x="0" y="15"/>
                  </a:moveTo>
                  <a:cubicBezTo>
                    <a:pt x="0" y="15"/>
                    <a:pt x="2" y="25"/>
                    <a:pt x="12" y="22"/>
                  </a:cubicBezTo>
                  <a:cubicBezTo>
                    <a:pt x="22" y="19"/>
                    <a:pt x="18" y="18"/>
                    <a:pt x="15" y="9"/>
                  </a:cubicBezTo>
                  <a:cubicBezTo>
                    <a:pt x="12" y="0"/>
                    <a:pt x="0" y="4"/>
                    <a:pt x="0" y="1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60" name="Freeform 340">
              <a:extLst>
                <a:ext uri="{FF2B5EF4-FFF2-40B4-BE49-F238E27FC236}">
                  <a16:creationId xmlns:a16="http://schemas.microsoft.com/office/drawing/2014/main" id="{51936F37-59ED-CCB9-8698-2235C331503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8896" y="-19856"/>
              <a:ext cx="8783" cy="4554"/>
            </a:xfrm>
            <a:custGeom>
              <a:avLst/>
              <a:gdLst>
                <a:gd name="T0" fmla="*/ 1824 w 3718"/>
                <a:gd name="T1" fmla="*/ 304 h 1928"/>
                <a:gd name="T2" fmla="*/ 1868 w 3718"/>
                <a:gd name="T3" fmla="*/ 216 h 1928"/>
                <a:gd name="T4" fmla="*/ 141 w 3718"/>
                <a:gd name="T5" fmla="*/ 1354 h 1928"/>
                <a:gd name="T6" fmla="*/ 138 w 3718"/>
                <a:gd name="T7" fmla="*/ 1561 h 1928"/>
                <a:gd name="T8" fmla="*/ 1554 w 3718"/>
                <a:gd name="T9" fmla="*/ 213 h 1928"/>
                <a:gd name="T10" fmla="*/ 34 w 3718"/>
                <a:gd name="T11" fmla="*/ 1340 h 1928"/>
                <a:gd name="T12" fmla="*/ 1227 w 3718"/>
                <a:gd name="T13" fmla="*/ 437 h 1928"/>
                <a:gd name="T14" fmla="*/ 2245 w 3718"/>
                <a:gd name="T15" fmla="*/ 414 h 1928"/>
                <a:gd name="T16" fmla="*/ 2627 w 3718"/>
                <a:gd name="T17" fmla="*/ 171 h 1928"/>
                <a:gd name="T18" fmla="*/ 2592 w 3718"/>
                <a:gd name="T19" fmla="*/ 114 h 1928"/>
                <a:gd name="T20" fmla="*/ 2731 w 3718"/>
                <a:gd name="T21" fmla="*/ 327 h 1928"/>
                <a:gd name="T22" fmla="*/ 2578 w 3718"/>
                <a:gd name="T23" fmla="*/ 240 h 1928"/>
                <a:gd name="T24" fmla="*/ 2488 w 3718"/>
                <a:gd name="T25" fmla="*/ 156 h 1928"/>
                <a:gd name="T26" fmla="*/ 1744 w 3718"/>
                <a:gd name="T27" fmla="*/ 405 h 1928"/>
                <a:gd name="T28" fmla="*/ 1851 w 3718"/>
                <a:gd name="T29" fmla="*/ 586 h 1928"/>
                <a:gd name="T30" fmla="*/ 2278 w 3718"/>
                <a:gd name="T31" fmla="*/ 144 h 1928"/>
                <a:gd name="T32" fmla="*/ 3024 w 3718"/>
                <a:gd name="T33" fmla="*/ 564 h 1928"/>
                <a:gd name="T34" fmla="*/ 2988 w 3718"/>
                <a:gd name="T35" fmla="*/ 474 h 1928"/>
                <a:gd name="T36" fmla="*/ 2753 w 3718"/>
                <a:gd name="T37" fmla="*/ 381 h 1928"/>
                <a:gd name="T38" fmla="*/ 2565 w 3718"/>
                <a:gd name="T39" fmla="*/ 358 h 1928"/>
                <a:gd name="T40" fmla="*/ 2816 w 3718"/>
                <a:gd name="T41" fmla="*/ 590 h 1928"/>
                <a:gd name="T42" fmla="*/ 2732 w 3718"/>
                <a:gd name="T43" fmla="*/ 829 h 1928"/>
                <a:gd name="T44" fmla="*/ 2995 w 3718"/>
                <a:gd name="T45" fmla="*/ 792 h 1928"/>
                <a:gd name="T46" fmla="*/ 3152 w 3718"/>
                <a:gd name="T47" fmla="*/ 694 h 1928"/>
                <a:gd name="T48" fmla="*/ 2821 w 3718"/>
                <a:gd name="T49" fmla="*/ 613 h 1928"/>
                <a:gd name="T50" fmla="*/ 3034 w 3718"/>
                <a:gd name="T51" fmla="*/ 25 h 1928"/>
                <a:gd name="T52" fmla="*/ 3027 w 3718"/>
                <a:gd name="T53" fmla="*/ 92 h 1928"/>
                <a:gd name="T54" fmla="*/ 2737 w 3718"/>
                <a:gd name="T55" fmla="*/ 191 h 1928"/>
                <a:gd name="T56" fmla="*/ 2975 w 3718"/>
                <a:gd name="T57" fmla="*/ 248 h 1928"/>
                <a:gd name="T58" fmla="*/ 3379 w 3718"/>
                <a:gd name="T59" fmla="*/ 91 h 1928"/>
                <a:gd name="T60" fmla="*/ 2747 w 3718"/>
                <a:gd name="T61" fmla="*/ 549 h 1928"/>
                <a:gd name="T62" fmla="*/ 2686 w 3718"/>
                <a:gd name="T63" fmla="*/ 1536 h 1928"/>
                <a:gd name="T64" fmla="*/ 2958 w 3718"/>
                <a:gd name="T65" fmla="*/ 1304 h 1928"/>
                <a:gd name="T66" fmla="*/ 2899 w 3718"/>
                <a:gd name="T67" fmla="*/ 1093 h 1928"/>
                <a:gd name="T68" fmla="*/ 2744 w 3718"/>
                <a:gd name="T69" fmla="*/ 1079 h 1928"/>
                <a:gd name="T70" fmla="*/ 2677 w 3718"/>
                <a:gd name="T71" fmla="*/ 900 h 1928"/>
                <a:gd name="T72" fmla="*/ 2180 w 3718"/>
                <a:gd name="T73" fmla="*/ 1298 h 1928"/>
                <a:gd name="T74" fmla="*/ 1908 w 3718"/>
                <a:gd name="T75" fmla="*/ 1200 h 1928"/>
                <a:gd name="T76" fmla="*/ 1986 w 3718"/>
                <a:gd name="T77" fmla="*/ 814 h 1928"/>
                <a:gd name="T78" fmla="*/ 2401 w 3718"/>
                <a:gd name="T79" fmla="*/ 658 h 1928"/>
                <a:gd name="T80" fmla="*/ 2262 w 3718"/>
                <a:gd name="T81" fmla="*/ 563 h 1928"/>
                <a:gd name="T82" fmla="*/ 2163 w 3718"/>
                <a:gd name="T83" fmla="*/ 561 h 1928"/>
                <a:gd name="T84" fmla="*/ 1863 w 3718"/>
                <a:gd name="T85" fmla="*/ 625 h 1928"/>
                <a:gd name="T86" fmla="*/ 1155 w 3718"/>
                <a:gd name="T87" fmla="*/ 554 h 1928"/>
                <a:gd name="T88" fmla="*/ 983 w 3718"/>
                <a:gd name="T89" fmla="*/ 514 h 1928"/>
                <a:gd name="T90" fmla="*/ 52 w 3718"/>
                <a:gd name="T91" fmla="*/ 964 h 1928"/>
                <a:gd name="T92" fmla="*/ 225 w 3718"/>
                <a:gd name="T93" fmla="*/ 1187 h 1928"/>
                <a:gd name="T94" fmla="*/ 184 w 3718"/>
                <a:gd name="T95" fmla="*/ 1387 h 1928"/>
                <a:gd name="T96" fmla="*/ 1394 w 3718"/>
                <a:gd name="T97" fmla="*/ 1537 h 1928"/>
                <a:gd name="T98" fmla="*/ 1727 w 3718"/>
                <a:gd name="T99" fmla="*/ 1604 h 1928"/>
                <a:gd name="T100" fmla="*/ 1868 w 3718"/>
                <a:gd name="T101" fmla="*/ 1783 h 1928"/>
                <a:gd name="T102" fmla="*/ 1928 w 3718"/>
                <a:gd name="T103" fmla="*/ 1826 h 1928"/>
                <a:gd name="T104" fmla="*/ 2453 w 3718"/>
                <a:gd name="T105" fmla="*/ 1735 h 1928"/>
                <a:gd name="T106" fmla="*/ 2655 w 3718"/>
                <a:gd name="T107" fmla="*/ 1772 h 1928"/>
                <a:gd name="T108" fmla="*/ 2574 w 3718"/>
                <a:gd name="T109" fmla="*/ 1597 h 1928"/>
                <a:gd name="T110" fmla="*/ 2967 w 3718"/>
                <a:gd name="T111" fmla="*/ 1436 h 1928"/>
                <a:gd name="T112" fmla="*/ 1119 w 3718"/>
                <a:gd name="T113" fmla="*/ 664 h 1928"/>
                <a:gd name="T114" fmla="*/ 990 w 3718"/>
                <a:gd name="T115" fmla="*/ 760 h 1928"/>
                <a:gd name="T116" fmla="*/ 985 w 3718"/>
                <a:gd name="T117" fmla="*/ 939 h 1928"/>
                <a:gd name="T118" fmla="*/ 1403 w 3718"/>
                <a:gd name="T119" fmla="*/ 1433 h 1928"/>
                <a:gd name="T120" fmla="*/ 2456 w 3718"/>
                <a:gd name="T121" fmla="*/ 825 h 1928"/>
                <a:gd name="T122" fmla="*/ 2386 w 3718"/>
                <a:gd name="T123" fmla="*/ 823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18" h="1928">
                  <a:moveTo>
                    <a:pt x="2074" y="170"/>
                  </a:moveTo>
                  <a:cubicBezTo>
                    <a:pt x="2084" y="169"/>
                    <a:pt x="2113" y="177"/>
                    <a:pt x="2115" y="169"/>
                  </a:cubicBezTo>
                  <a:cubicBezTo>
                    <a:pt x="2117" y="160"/>
                    <a:pt x="2107" y="154"/>
                    <a:pt x="2091" y="154"/>
                  </a:cubicBezTo>
                  <a:cubicBezTo>
                    <a:pt x="2074" y="154"/>
                    <a:pt x="2009" y="165"/>
                    <a:pt x="2009" y="165"/>
                  </a:cubicBezTo>
                  <a:cubicBezTo>
                    <a:pt x="2009" y="165"/>
                    <a:pt x="2065" y="171"/>
                    <a:pt x="2074" y="170"/>
                  </a:cubicBezTo>
                  <a:close/>
                  <a:moveTo>
                    <a:pt x="1990" y="214"/>
                  </a:moveTo>
                  <a:cubicBezTo>
                    <a:pt x="2052" y="218"/>
                    <a:pt x="2047" y="199"/>
                    <a:pt x="2047" y="199"/>
                  </a:cubicBezTo>
                  <a:cubicBezTo>
                    <a:pt x="2043" y="189"/>
                    <a:pt x="2043" y="189"/>
                    <a:pt x="2043" y="189"/>
                  </a:cubicBezTo>
                  <a:cubicBezTo>
                    <a:pt x="2089" y="184"/>
                    <a:pt x="2089" y="184"/>
                    <a:pt x="2089" y="184"/>
                  </a:cubicBezTo>
                  <a:cubicBezTo>
                    <a:pt x="2078" y="176"/>
                    <a:pt x="2078" y="176"/>
                    <a:pt x="2078" y="176"/>
                  </a:cubicBezTo>
                  <a:cubicBezTo>
                    <a:pt x="2033" y="178"/>
                    <a:pt x="2033" y="178"/>
                    <a:pt x="2033" y="178"/>
                  </a:cubicBezTo>
                  <a:cubicBezTo>
                    <a:pt x="2025" y="186"/>
                    <a:pt x="2025" y="186"/>
                    <a:pt x="2025" y="186"/>
                  </a:cubicBezTo>
                  <a:cubicBezTo>
                    <a:pt x="2025" y="186"/>
                    <a:pt x="1966" y="173"/>
                    <a:pt x="1959" y="189"/>
                  </a:cubicBezTo>
                  <a:cubicBezTo>
                    <a:pt x="1953" y="205"/>
                    <a:pt x="1990" y="214"/>
                    <a:pt x="1990" y="214"/>
                  </a:cubicBezTo>
                  <a:close/>
                  <a:moveTo>
                    <a:pt x="1785" y="257"/>
                  </a:moveTo>
                  <a:cubicBezTo>
                    <a:pt x="1749" y="275"/>
                    <a:pt x="1749" y="275"/>
                    <a:pt x="1749" y="275"/>
                  </a:cubicBezTo>
                  <a:cubicBezTo>
                    <a:pt x="1749" y="275"/>
                    <a:pt x="1784" y="281"/>
                    <a:pt x="1768" y="284"/>
                  </a:cubicBezTo>
                  <a:cubicBezTo>
                    <a:pt x="1752" y="288"/>
                    <a:pt x="1694" y="292"/>
                    <a:pt x="1694" y="292"/>
                  </a:cubicBezTo>
                  <a:cubicBezTo>
                    <a:pt x="1680" y="308"/>
                    <a:pt x="1680" y="308"/>
                    <a:pt x="1680" y="308"/>
                  </a:cubicBezTo>
                  <a:cubicBezTo>
                    <a:pt x="1717" y="303"/>
                    <a:pt x="1717" y="303"/>
                    <a:pt x="1717" y="303"/>
                  </a:cubicBezTo>
                  <a:cubicBezTo>
                    <a:pt x="1717" y="303"/>
                    <a:pt x="1732" y="308"/>
                    <a:pt x="1751" y="311"/>
                  </a:cubicBezTo>
                  <a:cubicBezTo>
                    <a:pt x="1770" y="314"/>
                    <a:pt x="1826" y="295"/>
                    <a:pt x="1826" y="295"/>
                  </a:cubicBezTo>
                  <a:cubicBezTo>
                    <a:pt x="1824" y="304"/>
                    <a:pt x="1824" y="304"/>
                    <a:pt x="1824" y="304"/>
                  </a:cubicBezTo>
                  <a:cubicBezTo>
                    <a:pt x="1824" y="304"/>
                    <a:pt x="1862" y="299"/>
                    <a:pt x="1892" y="297"/>
                  </a:cubicBezTo>
                  <a:cubicBezTo>
                    <a:pt x="1920" y="295"/>
                    <a:pt x="1895" y="302"/>
                    <a:pt x="1885" y="304"/>
                  </a:cubicBezTo>
                  <a:cubicBezTo>
                    <a:pt x="1875" y="305"/>
                    <a:pt x="1841" y="309"/>
                    <a:pt x="1816" y="312"/>
                  </a:cubicBezTo>
                  <a:cubicBezTo>
                    <a:pt x="1791" y="315"/>
                    <a:pt x="1760" y="326"/>
                    <a:pt x="1760" y="326"/>
                  </a:cubicBezTo>
                  <a:cubicBezTo>
                    <a:pt x="1760" y="326"/>
                    <a:pt x="1788" y="331"/>
                    <a:pt x="1838" y="333"/>
                  </a:cubicBezTo>
                  <a:cubicBezTo>
                    <a:pt x="1886" y="334"/>
                    <a:pt x="1920" y="313"/>
                    <a:pt x="1920" y="313"/>
                  </a:cubicBezTo>
                  <a:cubicBezTo>
                    <a:pt x="1970" y="300"/>
                    <a:pt x="1970" y="300"/>
                    <a:pt x="1970" y="300"/>
                  </a:cubicBezTo>
                  <a:cubicBezTo>
                    <a:pt x="1970" y="300"/>
                    <a:pt x="1987" y="306"/>
                    <a:pt x="2035" y="300"/>
                  </a:cubicBezTo>
                  <a:cubicBezTo>
                    <a:pt x="2081" y="294"/>
                    <a:pt x="2084" y="284"/>
                    <a:pt x="2103" y="279"/>
                  </a:cubicBezTo>
                  <a:cubicBezTo>
                    <a:pt x="2121" y="274"/>
                    <a:pt x="2106" y="254"/>
                    <a:pt x="2086" y="254"/>
                  </a:cubicBezTo>
                  <a:cubicBezTo>
                    <a:pt x="2066" y="255"/>
                    <a:pt x="2072" y="268"/>
                    <a:pt x="2072" y="268"/>
                  </a:cubicBezTo>
                  <a:cubicBezTo>
                    <a:pt x="2045" y="267"/>
                    <a:pt x="2045" y="267"/>
                    <a:pt x="2045" y="267"/>
                  </a:cubicBezTo>
                  <a:cubicBezTo>
                    <a:pt x="2045" y="267"/>
                    <a:pt x="2050" y="260"/>
                    <a:pt x="2055" y="252"/>
                  </a:cubicBezTo>
                  <a:cubicBezTo>
                    <a:pt x="2060" y="244"/>
                    <a:pt x="2073" y="229"/>
                    <a:pt x="2061" y="229"/>
                  </a:cubicBezTo>
                  <a:cubicBezTo>
                    <a:pt x="2049" y="228"/>
                    <a:pt x="2024" y="239"/>
                    <a:pt x="1991" y="249"/>
                  </a:cubicBezTo>
                  <a:cubicBezTo>
                    <a:pt x="1957" y="259"/>
                    <a:pt x="2012" y="256"/>
                    <a:pt x="2012" y="256"/>
                  </a:cubicBezTo>
                  <a:cubicBezTo>
                    <a:pt x="2009" y="272"/>
                    <a:pt x="2009" y="272"/>
                    <a:pt x="2009" y="272"/>
                  </a:cubicBezTo>
                  <a:cubicBezTo>
                    <a:pt x="1929" y="282"/>
                    <a:pt x="1929" y="282"/>
                    <a:pt x="1929" y="282"/>
                  </a:cubicBezTo>
                  <a:cubicBezTo>
                    <a:pt x="1929" y="282"/>
                    <a:pt x="1923" y="262"/>
                    <a:pt x="1928" y="253"/>
                  </a:cubicBezTo>
                  <a:cubicBezTo>
                    <a:pt x="1932" y="244"/>
                    <a:pt x="1875" y="240"/>
                    <a:pt x="1875" y="240"/>
                  </a:cubicBezTo>
                  <a:lnTo>
                    <a:pt x="1785" y="257"/>
                  </a:lnTo>
                  <a:close/>
                  <a:moveTo>
                    <a:pt x="1887" y="230"/>
                  </a:moveTo>
                  <a:cubicBezTo>
                    <a:pt x="1905" y="215"/>
                    <a:pt x="1886" y="206"/>
                    <a:pt x="1868" y="216"/>
                  </a:cubicBezTo>
                  <a:cubicBezTo>
                    <a:pt x="1849" y="226"/>
                    <a:pt x="1887" y="230"/>
                    <a:pt x="1887" y="230"/>
                  </a:cubicBezTo>
                  <a:close/>
                  <a:moveTo>
                    <a:pt x="2008" y="377"/>
                  </a:moveTo>
                  <a:cubicBezTo>
                    <a:pt x="1988" y="361"/>
                    <a:pt x="1988" y="361"/>
                    <a:pt x="1988" y="361"/>
                  </a:cubicBezTo>
                  <a:cubicBezTo>
                    <a:pt x="1969" y="363"/>
                    <a:pt x="1969" y="363"/>
                    <a:pt x="1969" y="363"/>
                  </a:cubicBezTo>
                  <a:cubicBezTo>
                    <a:pt x="1969" y="363"/>
                    <a:pt x="1957" y="348"/>
                    <a:pt x="1932" y="357"/>
                  </a:cubicBezTo>
                  <a:cubicBezTo>
                    <a:pt x="1906" y="365"/>
                    <a:pt x="1964" y="389"/>
                    <a:pt x="1964" y="389"/>
                  </a:cubicBezTo>
                  <a:lnTo>
                    <a:pt x="2008" y="377"/>
                  </a:lnTo>
                  <a:close/>
                  <a:moveTo>
                    <a:pt x="1638" y="280"/>
                  </a:moveTo>
                  <a:cubicBezTo>
                    <a:pt x="1598" y="290"/>
                    <a:pt x="1626" y="295"/>
                    <a:pt x="1626" y="295"/>
                  </a:cubicBezTo>
                  <a:cubicBezTo>
                    <a:pt x="1683" y="281"/>
                    <a:pt x="1679" y="269"/>
                    <a:pt x="1638" y="280"/>
                  </a:cubicBezTo>
                  <a:close/>
                  <a:moveTo>
                    <a:pt x="1978" y="572"/>
                  </a:moveTo>
                  <a:cubicBezTo>
                    <a:pt x="1997" y="574"/>
                    <a:pt x="2006" y="580"/>
                    <a:pt x="2022" y="588"/>
                  </a:cubicBezTo>
                  <a:cubicBezTo>
                    <a:pt x="2038" y="596"/>
                    <a:pt x="2092" y="587"/>
                    <a:pt x="2092" y="587"/>
                  </a:cubicBezTo>
                  <a:cubicBezTo>
                    <a:pt x="2078" y="542"/>
                    <a:pt x="2078" y="542"/>
                    <a:pt x="2078" y="542"/>
                  </a:cubicBezTo>
                  <a:cubicBezTo>
                    <a:pt x="2012" y="528"/>
                    <a:pt x="2012" y="528"/>
                    <a:pt x="2012" y="528"/>
                  </a:cubicBezTo>
                  <a:cubicBezTo>
                    <a:pt x="1990" y="553"/>
                    <a:pt x="1990" y="553"/>
                    <a:pt x="1990" y="553"/>
                  </a:cubicBezTo>
                  <a:cubicBezTo>
                    <a:pt x="1968" y="555"/>
                    <a:pt x="1968" y="555"/>
                    <a:pt x="1968" y="555"/>
                  </a:cubicBezTo>
                  <a:cubicBezTo>
                    <a:pt x="1968" y="555"/>
                    <a:pt x="1959" y="571"/>
                    <a:pt x="1978" y="572"/>
                  </a:cubicBezTo>
                  <a:close/>
                  <a:moveTo>
                    <a:pt x="109" y="1360"/>
                  </a:moveTo>
                  <a:cubicBezTo>
                    <a:pt x="109" y="1369"/>
                    <a:pt x="126" y="1366"/>
                    <a:pt x="126" y="1366"/>
                  </a:cubicBezTo>
                  <a:cubicBezTo>
                    <a:pt x="124" y="1383"/>
                    <a:pt x="124" y="1383"/>
                    <a:pt x="124" y="1383"/>
                  </a:cubicBezTo>
                  <a:cubicBezTo>
                    <a:pt x="143" y="1371"/>
                    <a:pt x="143" y="1371"/>
                    <a:pt x="143" y="1371"/>
                  </a:cubicBezTo>
                  <a:cubicBezTo>
                    <a:pt x="141" y="1354"/>
                    <a:pt x="141" y="1354"/>
                    <a:pt x="141" y="1354"/>
                  </a:cubicBezTo>
                  <a:cubicBezTo>
                    <a:pt x="141" y="1354"/>
                    <a:pt x="109" y="1351"/>
                    <a:pt x="109" y="1360"/>
                  </a:cubicBezTo>
                  <a:close/>
                  <a:moveTo>
                    <a:pt x="166" y="1535"/>
                  </a:moveTo>
                  <a:cubicBezTo>
                    <a:pt x="166" y="1535"/>
                    <a:pt x="163" y="1521"/>
                    <a:pt x="164" y="1514"/>
                  </a:cubicBezTo>
                  <a:cubicBezTo>
                    <a:pt x="165" y="1507"/>
                    <a:pt x="170" y="1495"/>
                    <a:pt x="162" y="1485"/>
                  </a:cubicBezTo>
                  <a:cubicBezTo>
                    <a:pt x="162" y="1485"/>
                    <a:pt x="136" y="1481"/>
                    <a:pt x="127" y="1479"/>
                  </a:cubicBezTo>
                  <a:cubicBezTo>
                    <a:pt x="118" y="1477"/>
                    <a:pt x="103" y="1453"/>
                    <a:pt x="91" y="1452"/>
                  </a:cubicBezTo>
                  <a:cubicBezTo>
                    <a:pt x="79" y="1451"/>
                    <a:pt x="59" y="1463"/>
                    <a:pt x="64" y="1471"/>
                  </a:cubicBezTo>
                  <a:cubicBezTo>
                    <a:pt x="69" y="1479"/>
                    <a:pt x="78" y="1477"/>
                    <a:pt x="78" y="1477"/>
                  </a:cubicBezTo>
                  <a:cubicBezTo>
                    <a:pt x="87" y="1471"/>
                    <a:pt x="87" y="1471"/>
                    <a:pt x="87" y="1471"/>
                  </a:cubicBezTo>
                  <a:cubicBezTo>
                    <a:pt x="94" y="1476"/>
                    <a:pt x="94" y="1476"/>
                    <a:pt x="94" y="1476"/>
                  </a:cubicBezTo>
                  <a:cubicBezTo>
                    <a:pt x="88" y="1483"/>
                    <a:pt x="88" y="1483"/>
                    <a:pt x="88" y="1483"/>
                  </a:cubicBezTo>
                  <a:cubicBezTo>
                    <a:pt x="88" y="1483"/>
                    <a:pt x="59" y="1488"/>
                    <a:pt x="67" y="1497"/>
                  </a:cubicBezTo>
                  <a:cubicBezTo>
                    <a:pt x="75" y="1506"/>
                    <a:pt x="90" y="1497"/>
                    <a:pt x="90" y="1497"/>
                  </a:cubicBezTo>
                  <a:cubicBezTo>
                    <a:pt x="85" y="1512"/>
                    <a:pt x="85" y="1512"/>
                    <a:pt x="85" y="1512"/>
                  </a:cubicBezTo>
                  <a:cubicBezTo>
                    <a:pt x="100" y="1511"/>
                    <a:pt x="100" y="1511"/>
                    <a:pt x="100" y="1511"/>
                  </a:cubicBezTo>
                  <a:cubicBezTo>
                    <a:pt x="86" y="1522"/>
                    <a:pt x="86" y="1522"/>
                    <a:pt x="86" y="1522"/>
                  </a:cubicBezTo>
                  <a:cubicBezTo>
                    <a:pt x="112" y="1520"/>
                    <a:pt x="112" y="1520"/>
                    <a:pt x="112" y="1520"/>
                  </a:cubicBezTo>
                  <a:cubicBezTo>
                    <a:pt x="112" y="1520"/>
                    <a:pt x="85" y="1531"/>
                    <a:pt x="91" y="1536"/>
                  </a:cubicBezTo>
                  <a:cubicBezTo>
                    <a:pt x="97" y="1541"/>
                    <a:pt x="109" y="1520"/>
                    <a:pt x="115" y="1531"/>
                  </a:cubicBezTo>
                  <a:cubicBezTo>
                    <a:pt x="121" y="1542"/>
                    <a:pt x="99" y="1546"/>
                    <a:pt x="105" y="1553"/>
                  </a:cubicBezTo>
                  <a:cubicBezTo>
                    <a:pt x="111" y="1560"/>
                    <a:pt x="137" y="1555"/>
                    <a:pt x="137" y="1555"/>
                  </a:cubicBezTo>
                  <a:cubicBezTo>
                    <a:pt x="150" y="1547"/>
                    <a:pt x="150" y="1547"/>
                    <a:pt x="150" y="1547"/>
                  </a:cubicBezTo>
                  <a:cubicBezTo>
                    <a:pt x="138" y="1561"/>
                    <a:pt x="138" y="1561"/>
                    <a:pt x="138" y="1561"/>
                  </a:cubicBezTo>
                  <a:cubicBezTo>
                    <a:pt x="138" y="1561"/>
                    <a:pt x="113" y="1561"/>
                    <a:pt x="124" y="1570"/>
                  </a:cubicBezTo>
                  <a:cubicBezTo>
                    <a:pt x="135" y="1579"/>
                    <a:pt x="144" y="1579"/>
                    <a:pt x="144" y="1579"/>
                  </a:cubicBezTo>
                  <a:cubicBezTo>
                    <a:pt x="144" y="1579"/>
                    <a:pt x="168" y="1596"/>
                    <a:pt x="180" y="1586"/>
                  </a:cubicBezTo>
                  <a:cubicBezTo>
                    <a:pt x="192" y="1576"/>
                    <a:pt x="201" y="1568"/>
                    <a:pt x="192" y="1557"/>
                  </a:cubicBezTo>
                  <a:cubicBezTo>
                    <a:pt x="183" y="1546"/>
                    <a:pt x="166" y="1535"/>
                    <a:pt x="166" y="1535"/>
                  </a:cubicBezTo>
                  <a:close/>
                  <a:moveTo>
                    <a:pt x="1536" y="249"/>
                  </a:moveTo>
                  <a:cubicBezTo>
                    <a:pt x="1536" y="249"/>
                    <a:pt x="1574" y="242"/>
                    <a:pt x="1583" y="248"/>
                  </a:cubicBezTo>
                  <a:cubicBezTo>
                    <a:pt x="1593" y="254"/>
                    <a:pt x="1587" y="264"/>
                    <a:pt x="1599" y="264"/>
                  </a:cubicBezTo>
                  <a:cubicBezTo>
                    <a:pt x="1612" y="264"/>
                    <a:pt x="1634" y="259"/>
                    <a:pt x="1634" y="259"/>
                  </a:cubicBezTo>
                  <a:cubicBezTo>
                    <a:pt x="1634" y="259"/>
                    <a:pt x="1650" y="268"/>
                    <a:pt x="1665" y="261"/>
                  </a:cubicBezTo>
                  <a:cubicBezTo>
                    <a:pt x="1681" y="255"/>
                    <a:pt x="1678" y="238"/>
                    <a:pt x="1678" y="238"/>
                  </a:cubicBezTo>
                  <a:cubicBezTo>
                    <a:pt x="1700" y="238"/>
                    <a:pt x="1700" y="238"/>
                    <a:pt x="1700" y="238"/>
                  </a:cubicBezTo>
                  <a:cubicBezTo>
                    <a:pt x="1744" y="224"/>
                    <a:pt x="1744" y="224"/>
                    <a:pt x="1744" y="224"/>
                  </a:cubicBezTo>
                  <a:cubicBezTo>
                    <a:pt x="1719" y="247"/>
                    <a:pt x="1719" y="247"/>
                    <a:pt x="1719" y="247"/>
                  </a:cubicBezTo>
                  <a:cubicBezTo>
                    <a:pt x="1754" y="253"/>
                    <a:pt x="1754" y="253"/>
                    <a:pt x="1754" y="253"/>
                  </a:cubicBezTo>
                  <a:cubicBezTo>
                    <a:pt x="1791" y="238"/>
                    <a:pt x="1791" y="238"/>
                    <a:pt x="1791" y="238"/>
                  </a:cubicBezTo>
                  <a:cubicBezTo>
                    <a:pt x="1854" y="209"/>
                    <a:pt x="1854" y="209"/>
                    <a:pt x="1854" y="209"/>
                  </a:cubicBezTo>
                  <a:cubicBezTo>
                    <a:pt x="1854" y="209"/>
                    <a:pt x="1806" y="194"/>
                    <a:pt x="1797" y="194"/>
                  </a:cubicBezTo>
                  <a:cubicBezTo>
                    <a:pt x="1787" y="194"/>
                    <a:pt x="1734" y="190"/>
                    <a:pt x="1734" y="190"/>
                  </a:cubicBezTo>
                  <a:cubicBezTo>
                    <a:pt x="1683" y="198"/>
                    <a:pt x="1683" y="198"/>
                    <a:pt x="1683" y="198"/>
                  </a:cubicBezTo>
                  <a:cubicBezTo>
                    <a:pt x="1680" y="212"/>
                    <a:pt x="1680" y="212"/>
                    <a:pt x="1680" y="212"/>
                  </a:cubicBezTo>
                  <a:cubicBezTo>
                    <a:pt x="1602" y="218"/>
                    <a:pt x="1602" y="218"/>
                    <a:pt x="1602" y="218"/>
                  </a:cubicBezTo>
                  <a:cubicBezTo>
                    <a:pt x="1602" y="218"/>
                    <a:pt x="1576" y="209"/>
                    <a:pt x="1554" y="213"/>
                  </a:cubicBezTo>
                  <a:cubicBezTo>
                    <a:pt x="1532" y="216"/>
                    <a:pt x="1535" y="224"/>
                    <a:pt x="1535" y="224"/>
                  </a:cubicBezTo>
                  <a:cubicBezTo>
                    <a:pt x="1535" y="229"/>
                    <a:pt x="1536" y="249"/>
                    <a:pt x="1536" y="249"/>
                  </a:cubicBezTo>
                  <a:close/>
                  <a:moveTo>
                    <a:pt x="100" y="1323"/>
                  </a:moveTo>
                  <a:cubicBezTo>
                    <a:pt x="102" y="1338"/>
                    <a:pt x="113" y="1344"/>
                    <a:pt x="113" y="1344"/>
                  </a:cubicBezTo>
                  <a:cubicBezTo>
                    <a:pt x="121" y="1323"/>
                    <a:pt x="121" y="1323"/>
                    <a:pt x="121" y="1323"/>
                  </a:cubicBezTo>
                  <a:cubicBezTo>
                    <a:pt x="121" y="1323"/>
                    <a:pt x="98" y="1308"/>
                    <a:pt x="100" y="1323"/>
                  </a:cubicBezTo>
                  <a:close/>
                  <a:moveTo>
                    <a:pt x="82" y="1291"/>
                  </a:moveTo>
                  <a:cubicBezTo>
                    <a:pt x="78" y="1290"/>
                    <a:pt x="62" y="1294"/>
                    <a:pt x="56" y="1297"/>
                  </a:cubicBezTo>
                  <a:cubicBezTo>
                    <a:pt x="50" y="1300"/>
                    <a:pt x="45" y="1315"/>
                    <a:pt x="35" y="1315"/>
                  </a:cubicBezTo>
                  <a:cubicBezTo>
                    <a:pt x="25" y="1315"/>
                    <a:pt x="24" y="1307"/>
                    <a:pt x="34" y="1307"/>
                  </a:cubicBezTo>
                  <a:cubicBezTo>
                    <a:pt x="44" y="1307"/>
                    <a:pt x="62" y="1294"/>
                    <a:pt x="48" y="1295"/>
                  </a:cubicBezTo>
                  <a:cubicBezTo>
                    <a:pt x="34" y="1296"/>
                    <a:pt x="32" y="1299"/>
                    <a:pt x="32" y="1299"/>
                  </a:cubicBezTo>
                  <a:cubicBezTo>
                    <a:pt x="32" y="1299"/>
                    <a:pt x="35" y="1285"/>
                    <a:pt x="24" y="1289"/>
                  </a:cubicBezTo>
                  <a:cubicBezTo>
                    <a:pt x="13" y="1293"/>
                    <a:pt x="11" y="1306"/>
                    <a:pt x="11" y="1306"/>
                  </a:cubicBezTo>
                  <a:cubicBezTo>
                    <a:pt x="3" y="1324"/>
                    <a:pt x="3" y="1324"/>
                    <a:pt x="3" y="1324"/>
                  </a:cubicBezTo>
                  <a:cubicBezTo>
                    <a:pt x="3" y="1324"/>
                    <a:pt x="0" y="1336"/>
                    <a:pt x="3" y="1337"/>
                  </a:cubicBezTo>
                  <a:cubicBezTo>
                    <a:pt x="6" y="1338"/>
                    <a:pt x="9" y="1347"/>
                    <a:pt x="9" y="1347"/>
                  </a:cubicBezTo>
                  <a:cubicBezTo>
                    <a:pt x="0" y="1351"/>
                    <a:pt x="0" y="1351"/>
                    <a:pt x="0" y="1351"/>
                  </a:cubicBezTo>
                  <a:cubicBezTo>
                    <a:pt x="5" y="1386"/>
                    <a:pt x="5" y="1386"/>
                    <a:pt x="5" y="1386"/>
                  </a:cubicBezTo>
                  <a:cubicBezTo>
                    <a:pt x="5" y="1386"/>
                    <a:pt x="0" y="1398"/>
                    <a:pt x="16" y="1397"/>
                  </a:cubicBezTo>
                  <a:cubicBezTo>
                    <a:pt x="27" y="1396"/>
                    <a:pt x="16" y="1379"/>
                    <a:pt x="13" y="1372"/>
                  </a:cubicBezTo>
                  <a:cubicBezTo>
                    <a:pt x="10" y="1365"/>
                    <a:pt x="18" y="1359"/>
                    <a:pt x="23" y="1356"/>
                  </a:cubicBezTo>
                  <a:cubicBezTo>
                    <a:pt x="28" y="1353"/>
                    <a:pt x="36" y="1344"/>
                    <a:pt x="34" y="1340"/>
                  </a:cubicBezTo>
                  <a:cubicBezTo>
                    <a:pt x="34" y="1340"/>
                    <a:pt x="32" y="1329"/>
                    <a:pt x="38" y="1324"/>
                  </a:cubicBezTo>
                  <a:cubicBezTo>
                    <a:pt x="44" y="1319"/>
                    <a:pt x="55" y="1308"/>
                    <a:pt x="64" y="1303"/>
                  </a:cubicBezTo>
                  <a:cubicBezTo>
                    <a:pt x="73" y="1298"/>
                    <a:pt x="86" y="1292"/>
                    <a:pt x="82" y="1291"/>
                  </a:cubicBezTo>
                  <a:close/>
                  <a:moveTo>
                    <a:pt x="1263" y="454"/>
                  </a:moveTo>
                  <a:cubicBezTo>
                    <a:pt x="1268" y="466"/>
                    <a:pt x="1238" y="482"/>
                    <a:pt x="1266" y="478"/>
                  </a:cubicBezTo>
                  <a:cubicBezTo>
                    <a:pt x="1294" y="474"/>
                    <a:pt x="1328" y="462"/>
                    <a:pt x="1328" y="462"/>
                  </a:cubicBezTo>
                  <a:cubicBezTo>
                    <a:pt x="1354" y="468"/>
                    <a:pt x="1354" y="468"/>
                    <a:pt x="1354" y="468"/>
                  </a:cubicBezTo>
                  <a:cubicBezTo>
                    <a:pt x="1405" y="430"/>
                    <a:pt x="1405" y="430"/>
                    <a:pt x="1405" y="430"/>
                  </a:cubicBezTo>
                  <a:cubicBezTo>
                    <a:pt x="1493" y="402"/>
                    <a:pt x="1493" y="402"/>
                    <a:pt x="1493" y="402"/>
                  </a:cubicBezTo>
                  <a:cubicBezTo>
                    <a:pt x="1576" y="379"/>
                    <a:pt x="1576" y="379"/>
                    <a:pt x="1576" y="379"/>
                  </a:cubicBezTo>
                  <a:cubicBezTo>
                    <a:pt x="1642" y="366"/>
                    <a:pt x="1642" y="366"/>
                    <a:pt x="1642" y="366"/>
                  </a:cubicBezTo>
                  <a:cubicBezTo>
                    <a:pt x="1642" y="366"/>
                    <a:pt x="1603" y="334"/>
                    <a:pt x="1600" y="330"/>
                  </a:cubicBezTo>
                  <a:cubicBezTo>
                    <a:pt x="1596" y="327"/>
                    <a:pt x="1549" y="333"/>
                    <a:pt x="1549" y="333"/>
                  </a:cubicBezTo>
                  <a:cubicBezTo>
                    <a:pt x="1505" y="339"/>
                    <a:pt x="1505" y="339"/>
                    <a:pt x="1505" y="339"/>
                  </a:cubicBezTo>
                  <a:cubicBezTo>
                    <a:pt x="1481" y="321"/>
                    <a:pt x="1481" y="321"/>
                    <a:pt x="1481" y="321"/>
                  </a:cubicBezTo>
                  <a:cubicBezTo>
                    <a:pt x="1427" y="328"/>
                    <a:pt x="1427" y="328"/>
                    <a:pt x="1427" y="328"/>
                  </a:cubicBezTo>
                  <a:cubicBezTo>
                    <a:pt x="1393" y="338"/>
                    <a:pt x="1393" y="338"/>
                    <a:pt x="1393" y="338"/>
                  </a:cubicBezTo>
                  <a:cubicBezTo>
                    <a:pt x="1383" y="351"/>
                    <a:pt x="1383" y="351"/>
                    <a:pt x="1383" y="351"/>
                  </a:cubicBezTo>
                  <a:cubicBezTo>
                    <a:pt x="1372" y="371"/>
                    <a:pt x="1372" y="371"/>
                    <a:pt x="1372" y="371"/>
                  </a:cubicBezTo>
                  <a:cubicBezTo>
                    <a:pt x="1340" y="380"/>
                    <a:pt x="1340" y="380"/>
                    <a:pt x="1340" y="380"/>
                  </a:cubicBezTo>
                  <a:cubicBezTo>
                    <a:pt x="1294" y="393"/>
                    <a:pt x="1294" y="393"/>
                    <a:pt x="1294" y="393"/>
                  </a:cubicBezTo>
                  <a:cubicBezTo>
                    <a:pt x="1307" y="401"/>
                    <a:pt x="1307" y="401"/>
                    <a:pt x="1307" y="401"/>
                  </a:cubicBezTo>
                  <a:cubicBezTo>
                    <a:pt x="1227" y="437"/>
                    <a:pt x="1227" y="437"/>
                    <a:pt x="1227" y="437"/>
                  </a:cubicBezTo>
                  <a:cubicBezTo>
                    <a:pt x="1227" y="437"/>
                    <a:pt x="1259" y="442"/>
                    <a:pt x="1263" y="454"/>
                  </a:cubicBezTo>
                  <a:close/>
                  <a:moveTo>
                    <a:pt x="132" y="1313"/>
                  </a:moveTo>
                  <a:cubicBezTo>
                    <a:pt x="125" y="1331"/>
                    <a:pt x="125" y="1331"/>
                    <a:pt x="125" y="1331"/>
                  </a:cubicBezTo>
                  <a:cubicBezTo>
                    <a:pt x="127" y="1343"/>
                    <a:pt x="127" y="1343"/>
                    <a:pt x="127" y="1343"/>
                  </a:cubicBezTo>
                  <a:cubicBezTo>
                    <a:pt x="143" y="1333"/>
                    <a:pt x="143" y="1333"/>
                    <a:pt x="143" y="1333"/>
                  </a:cubicBezTo>
                  <a:lnTo>
                    <a:pt x="132" y="1313"/>
                  </a:lnTo>
                  <a:close/>
                  <a:moveTo>
                    <a:pt x="2786" y="403"/>
                  </a:moveTo>
                  <a:cubicBezTo>
                    <a:pt x="2802" y="409"/>
                    <a:pt x="2824" y="395"/>
                    <a:pt x="2824" y="395"/>
                  </a:cubicBezTo>
                  <a:cubicBezTo>
                    <a:pt x="2865" y="394"/>
                    <a:pt x="2865" y="394"/>
                    <a:pt x="2865" y="394"/>
                  </a:cubicBezTo>
                  <a:cubicBezTo>
                    <a:pt x="2865" y="394"/>
                    <a:pt x="2891" y="404"/>
                    <a:pt x="2899" y="398"/>
                  </a:cubicBezTo>
                  <a:cubicBezTo>
                    <a:pt x="2906" y="393"/>
                    <a:pt x="2900" y="370"/>
                    <a:pt x="2883" y="366"/>
                  </a:cubicBezTo>
                  <a:cubicBezTo>
                    <a:pt x="2865" y="362"/>
                    <a:pt x="2849" y="367"/>
                    <a:pt x="2849" y="367"/>
                  </a:cubicBezTo>
                  <a:cubicBezTo>
                    <a:pt x="2823" y="367"/>
                    <a:pt x="2823" y="367"/>
                    <a:pt x="2823" y="367"/>
                  </a:cubicBezTo>
                  <a:cubicBezTo>
                    <a:pt x="2823" y="367"/>
                    <a:pt x="2793" y="355"/>
                    <a:pt x="2782" y="364"/>
                  </a:cubicBezTo>
                  <a:cubicBezTo>
                    <a:pt x="2772" y="372"/>
                    <a:pt x="2768" y="378"/>
                    <a:pt x="2768" y="378"/>
                  </a:cubicBezTo>
                  <a:cubicBezTo>
                    <a:pt x="2781" y="385"/>
                    <a:pt x="2781" y="385"/>
                    <a:pt x="2781" y="385"/>
                  </a:cubicBezTo>
                  <a:cubicBezTo>
                    <a:pt x="2781" y="385"/>
                    <a:pt x="2772" y="397"/>
                    <a:pt x="2786" y="403"/>
                  </a:cubicBezTo>
                  <a:close/>
                  <a:moveTo>
                    <a:pt x="2471" y="347"/>
                  </a:moveTo>
                  <a:cubicBezTo>
                    <a:pt x="2457" y="346"/>
                    <a:pt x="2380" y="337"/>
                    <a:pt x="2339" y="339"/>
                  </a:cubicBezTo>
                  <a:cubicBezTo>
                    <a:pt x="2300" y="340"/>
                    <a:pt x="2311" y="339"/>
                    <a:pt x="2310" y="347"/>
                  </a:cubicBezTo>
                  <a:cubicBezTo>
                    <a:pt x="2308" y="356"/>
                    <a:pt x="2294" y="359"/>
                    <a:pt x="2260" y="367"/>
                  </a:cubicBezTo>
                  <a:cubicBezTo>
                    <a:pt x="2227" y="374"/>
                    <a:pt x="2259" y="375"/>
                    <a:pt x="2257" y="397"/>
                  </a:cubicBezTo>
                  <a:cubicBezTo>
                    <a:pt x="2245" y="414"/>
                    <a:pt x="2245" y="414"/>
                    <a:pt x="2245" y="414"/>
                  </a:cubicBezTo>
                  <a:cubicBezTo>
                    <a:pt x="2265" y="426"/>
                    <a:pt x="2265" y="426"/>
                    <a:pt x="2265" y="426"/>
                  </a:cubicBezTo>
                  <a:cubicBezTo>
                    <a:pt x="2318" y="404"/>
                    <a:pt x="2318" y="404"/>
                    <a:pt x="2318" y="404"/>
                  </a:cubicBezTo>
                  <a:cubicBezTo>
                    <a:pt x="2318" y="404"/>
                    <a:pt x="2299" y="397"/>
                    <a:pt x="2323" y="390"/>
                  </a:cubicBezTo>
                  <a:cubicBezTo>
                    <a:pt x="2348" y="383"/>
                    <a:pt x="2365" y="403"/>
                    <a:pt x="2365" y="403"/>
                  </a:cubicBezTo>
                  <a:cubicBezTo>
                    <a:pt x="2403" y="398"/>
                    <a:pt x="2403" y="398"/>
                    <a:pt x="2403" y="398"/>
                  </a:cubicBezTo>
                  <a:cubicBezTo>
                    <a:pt x="2398" y="383"/>
                    <a:pt x="2398" y="383"/>
                    <a:pt x="2398" y="383"/>
                  </a:cubicBezTo>
                  <a:cubicBezTo>
                    <a:pt x="2398" y="383"/>
                    <a:pt x="2447" y="381"/>
                    <a:pt x="2457" y="369"/>
                  </a:cubicBezTo>
                  <a:cubicBezTo>
                    <a:pt x="2467" y="358"/>
                    <a:pt x="2484" y="347"/>
                    <a:pt x="2471" y="347"/>
                  </a:cubicBezTo>
                  <a:close/>
                  <a:moveTo>
                    <a:pt x="2526" y="101"/>
                  </a:moveTo>
                  <a:cubicBezTo>
                    <a:pt x="2489" y="105"/>
                    <a:pt x="2489" y="105"/>
                    <a:pt x="2489" y="105"/>
                  </a:cubicBezTo>
                  <a:cubicBezTo>
                    <a:pt x="2503" y="123"/>
                    <a:pt x="2503" y="123"/>
                    <a:pt x="2503" y="123"/>
                  </a:cubicBezTo>
                  <a:lnTo>
                    <a:pt x="2526" y="101"/>
                  </a:lnTo>
                  <a:close/>
                  <a:moveTo>
                    <a:pt x="2406" y="324"/>
                  </a:moveTo>
                  <a:cubicBezTo>
                    <a:pt x="2417" y="317"/>
                    <a:pt x="2442" y="298"/>
                    <a:pt x="2438" y="290"/>
                  </a:cubicBezTo>
                  <a:cubicBezTo>
                    <a:pt x="2434" y="281"/>
                    <a:pt x="2400" y="283"/>
                    <a:pt x="2389" y="284"/>
                  </a:cubicBezTo>
                  <a:cubicBezTo>
                    <a:pt x="2366" y="286"/>
                    <a:pt x="2322" y="301"/>
                    <a:pt x="2334" y="309"/>
                  </a:cubicBezTo>
                  <a:cubicBezTo>
                    <a:pt x="2346" y="316"/>
                    <a:pt x="2406" y="324"/>
                    <a:pt x="2406" y="324"/>
                  </a:cubicBezTo>
                  <a:close/>
                  <a:moveTo>
                    <a:pt x="2634" y="123"/>
                  </a:moveTo>
                  <a:cubicBezTo>
                    <a:pt x="2598" y="131"/>
                    <a:pt x="2598" y="131"/>
                    <a:pt x="2598" y="131"/>
                  </a:cubicBezTo>
                  <a:cubicBezTo>
                    <a:pt x="2623" y="142"/>
                    <a:pt x="2623" y="142"/>
                    <a:pt x="2623" y="142"/>
                  </a:cubicBezTo>
                  <a:cubicBezTo>
                    <a:pt x="2623" y="142"/>
                    <a:pt x="2609" y="146"/>
                    <a:pt x="2611" y="156"/>
                  </a:cubicBezTo>
                  <a:cubicBezTo>
                    <a:pt x="2613" y="165"/>
                    <a:pt x="2640" y="162"/>
                    <a:pt x="2640" y="162"/>
                  </a:cubicBezTo>
                  <a:cubicBezTo>
                    <a:pt x="2627" y="171"/>
                    <a:pt x="2627" y="171"/>
                    <a:pt x="2627" y="171"/>
                  </a:cubicBezTo>
                  <a:cubicBezTo>
                    <a:pt x="2627" y="171"/>
                    <a:pt x="2645" y="175"/>
                    <a:pt x="2659" y="184"/>
                  </a:cubicBezTo>
                  <a:cubicBezTo>
                    <a:pt x="2673" y="192"/>
                    <a:pt x="2698" y="172"/>
                    <a:pt x="2698" y="172"/>
                  </a:cubicBezTo>
                  <a:cubicBezTo>
                    <a:pt x="2714" y="164"/>
                    <a:pt x="2714" y="164"/>
                    <a:pt x="2714" y="164"/>
                  </a:cubicBezTo>
                  <a:cubicBezTo>
                    <a:pt x="2714" y="164"/>
                    <a:pt x="2719" y="170"/>
                    <a:pt x="2725" y="181"/>
                  </a:cubicBezTo>
                  <a:cubicBezTo>
                    <a:pt x="2732" y="191"/>
                    <a:pt x="2756" y="173"/>
                    <a:pt x="2765" y="171"/>
                  </a:cubicBezTo>
                  <a:cubicBezTo>
                    <a:pt x="2774" y="169"/>
                    <a:pt x="2787" y="155"/>
                    <a:pt x="2787" y="155"/>
                  </a:cubicBezTo>
                  <a:cubicBezTo>
                    <a:pt x="2795" y="164"/>
                    <a:pt x="2795" y="164"/>
                    <a:pt x="2795" y="164"/>
                  </a:cubicBezTo>
                  <a:cubicBezTo>
                    <a:pt x="2795" y="164"/>
                    <a:pt x="2808" y="151"/>
                    <a:pt x="2810" y="146"/>
                  </a:cubicBezTo>
                  <a:cubicBezTo>
                    <a:pt x="2812" y="141"/>
                    <a:pt x="2865" y="143"/>
                    <a:pt x="2877" y="143"/>
                  </a:cubicBezTo>
                  <a:cubicBezTo>
                    <a:pt x="2889" y="143"/>
                    <a:pt x="2886" y="129"/>
                    <a:pt x="2886" y="129"/>
                  </a:cubicBezTo>
                  <a:cubicBezTo>
                    <a:pt x="2844" y="128"/>
                    <a:pt x="2844" y="128"/>
                    <a:pt x="2844" y="128"/>
                  </a:cubicBezTo>
                  <a:cubicBezTo>
                    <a:pt x="2864" y="117"/>
                    <a:pt x="2864" y="117"/>
                    <a:pt x="2864" y="117"/>
                  </a:cubicBezTo>
                  <a:cubicBezTo>
                    <a:pt x="2864" y="117"/>
                    <a:pt x="2872" y="97"/>
                    <a:pt x="2867" y="90"/>
                  </a:cubicBezTo>
                  <a:cubicBezTo>
                    <a:pt x="2863" y="84"/>
                    <a:pt x="2829" y="102"/>
                    <a:pt x="2829" y="102"/>
                  </a:cubicBezTo>
                  <a:cubicBezTo>
                    <a:pt x="2826" y="85"/>
                    <a:pt x="2826" y="85"/>
                    <a:pt x="2826" y="85"/>
                  </a:cubicBezTo>
                  <a:cubicBezTo>
                    <a:pt x="2794" y="91"/>
                    <a:pt x="2794" y="91"/>
                    <a:pt x="2794" y="91"/>
                  </a:cubicBezTo>
                  <a:cubicBezTo>
                    <a:pt x="2794" y="91"/>
                    <a:pt x="2791" y="71"/>
                    <a:pt x="2781" y="60"/>
                  </a:cubicBezTo>
                  <a:cubicBezTo>
                    <a:pt x="2772" y="49"/>
                    <a:pt x="2730" y="72"/>
                    <a:pt x="2730" y="72"/>
                  </a:cubicBezTo>
                  <a:cubicBezTo>
                    <a:pt x="2678" y="75"/>
                    <a:pt x="2678" y="75"/>
                    <a:pt x="2678" y="75"/>
                  </a:cubicBezTo>
                  <a:cubicBezTo>
                    <a:pt x="2695" y="88"/>
                    <a:pt x="2695" y="88"/>
                    <a:pt x="2695" y="88"/>
                  </a:cubicBezTo>
                  <a:cubicBezTo>
                    <a:pt x="2695" y="88"/>
                    <a:pt x="2658" y="85"/>
                    <a:pt x="2645" y="89"/>
                  </a:cubicBezTo>
                  <a:cubicBezTo>
                    <a:pt x="2633" y="93"/>
                    <a:pt x="2653" y="106"/>
                    <a:pt x="2653" y="106"/>
                  </a:cubicBezTo>
                  <a:cubicBezTo>
                    <a:pt x="2653" y="106"/>
                    <a:pt x="2596" y="100"/>
                    <a:pt x="2592" y="114"/>
                  </a:cubicBezTo>
                  <a:cubicBezTo>
                    <a:pt x="2587" y="128"/>
                    <a:pt x="2634" y="123"/>
                    <a:pt x="2634" y="123"/>
                  </a:cubicBezTo>
                  <a:close/>
                  <a:moveTo>
                    <a:pt x="2644" y="199"/>
                  </a:moveTo>
                  <a:cubicBezTo>
                    <a:pt x="2622" y="203"/>
                    <a:pt x="2622" y="213"/>
                    <a:pt x="2622" y="213"/>
                  </a:cubicBezTo>
                  <a:cubicBezTo>
                    <a:pt x="2640" y="216"/>
                    <a:pt x="2640" y="216"/>
                    <a:pt x="2640" y="216"/>
                  </a:cubicBezTo>
                  <a:cubicBezTo>
                    <a:pt x="2655" y="216"/>
                    <a:pt x="2667" y="195"/>
                    <a:pt x="2644" y="199"/>
                  </a:cubicBezTo>
                  <a:close/>
                  <a:moveTo>
                    <a:pt x="2488" y="226"/>
                  </a:moveTo>
                  <a:cubicBezTo>
                    <a:pt x="2484" y="226"/>
                    <a:pt x="2476" y="222"/>
                    <a:pt x="2476" y="222"/>
                  </a:cubicBezTo>
                  <a:cubicBezTo>
                    <a:pt x="2476" y="222"/>
                    <a:pt x="2416" y="222"/>
                    <a:pt x="2416" y="230"/>
                  </a:cubicBezTo>
                  <a:cubicBezTo>
                    <a:pt x="2416" y="239"/>
                    <a:pt x="2435" y="241"/>
                    <a:pt x="2435" y="241"/>
                  </a:cubicBezTo>
                  <a:cubicBezTo>
                    <a:pt x="2436" y="253"/>
                    <a:pt x="2436" y="253"/>
                    <a:pt x="2436" y="253"/>
                  </a:cubicBezTo>
                  <a:cubicBezTo>
                    <a:pt x="2436" y="253"/>
                    <a:pt x="2486" y="258"/>
                    <a:pt x="2490" y="256"/>
                  </a:cubicBezTo>
                  <a:cubicBezTo>
                    <a:pt x="2494" y="254"/>
                    <a:pt x="2506" y="255"/>
                    <a:pt x="2512" y="255"/>
                  </a:cubicBezTo>
                  <a:cubicBezTo>
                    <a:pt x="2510" y="263"/>
                    <a:pt x="2508" y="274"/>
                    <a:pt x="2508" y="274"/>
                  </a:cubicBezTo>
                  <a:cubicBezTo>
                    <a:pt x="2471" y="301"/>
                    <a:pt x="2471" y="301"/>
                    <a:pt x="2471" y="301"/>
                  </a:cubicBezTo>
                  <a:cubicBezTo>
                    <a:pt x="2485" y="307"/>
                    <a:pt x="2485" y="307"/>
                    <a:pt x="2485" y="307"/>
                  </a:cubicBezTo>
                  <a:cubicBezTo>
                    <a:pt x="2485" y="307"/>
                    <a:pt x="2461" y="322"/>
                    <a:pt x="2473" y="322"/>
                  </a:cubicBezTo>
                  <a:cubicBezTo>
                    <a:pt x="2485" y="322"/>
                    <a:pt x="2503" y="312"/>
                    <a:pt x="2503" y="312"/>
                  </a:cubicBezTo>
                  <a:cubicBezTo>
                    <a:pt x="2503" y="312"/>
                    <a:pt x="2494" y="325"/>
                    <a:pt x="2513" y="324"/>
                  </a:cubicBezTo>
                  <a:cubicBezTo>
                    <a:pt x="2532" y="323"/>
                    <a:pt x="2568" y="311"/>
                    <a:pt x="2568" y="311"/>
                  </a:cubicBezTo>
                  <a:cubicBezTo>
                    <a:pt x="2569" y="325"/>
                    <a:pt x="2569" y="325"/>
                    <a:pt x="2569" y="325"/>
                  </a:cubicBezTo>
                  <a:cubicBezTo>
                    <a:pt x="2614" y="322"/>
                    <a:pt x="2614" y="322"/>
                    <a:pt x="2614" y="322"/>
                  </a:cubicBezTo>
                  <a:cubicBezTo>
                    <a:pt x="2667" y="332"/>
                    <a:pt x="2667" y="332"/>
                    <a:pt x="2667" y="332"/>
                  </a:cubicBezTo>
                  <a:cubicBezTo>
                    <a:pt x="2731" y="327"/>
                    <a:pt x="2731" y="327"/>
                    <a:pt x="2731" y="327"/>
                  </a:cubicBezTo>
                  <a:cubicBezTo>
                    <a:pt x="2749" y="312"/>
                    <a:pt x="2749" y="312"/>
                    <a:pt x="2749" y="312"/>
                  </a:cubicBezTo>
                  <a:cubicBezTo>
                    <a:pt x="2749" y="312"/>
                    <a:pt x="2738" y="326"/>
                    <a:pt x="2751" y="327"/>
                  </a:cubicBezTo>
                  <a:cubicBezTo>
                    <a:pt x="2764" y="328"/>
                    <a:pt x="2839" y="326"/>
                    <a:pt x="2839" y="326"/>
                  </a:cubicBezTo>
                  <a:cubicBezTo>
                    <a:pt x="2846" y="312"/>
                    <a:pt x="2846" y="312"/>
                    <a:pt x="2846" y="312"/>
                  </a:cubicBezTo>
                  <a:cubicBezTo>
                    <a:pt x="2890" y="294"/>
                    <a:pt x="2890" y="294"/>
                    <a:pt x="2890" y="294"/>
                  </a:cubicBezTo>
                  <a:cubicBezTo>
                    <a:pt x="2879" y="290"/>
                    <a:pt x="2879" y="290"/>
                    <a:pt x="2879" y="290"/>
                  </a:cubicBezTo>
                  <a:cubicBezTo>
                    <a:pt x="2879" y="281"/>
                    <a:pt x="2879" y="281"/>
                    <a:pt x="2879" y="281"/>
                  </a:cubicBezTo>
                  <a:cubicBezTo>
                    <a:pt x="2879" y="281"/>
                    <a:pt x="2834" y="270"/>
                    <a:pt x="2818" y="270"/>
                  </a:cubicBezTo>
                  <a:cubicBezTo>
                    <a:pt x="2802" y="270"/>
                    <a:pt x="2681" y="294"/>
                    <a:pt x="2681" y="294"/>
                  </a:cubicBezTo>
                  <a:cubicBezTo>
                    <a:pt x="2681" y="294"/>
                    <a:pt x="2666" y="283"/>
                    <a:pt x="2658" y="282"/>
                  </a:cubicBezTo>
                  <a:cubicBezTo>
                    <a:pt x="2651" y="281"/>
                    <a:pt x="2621" y="294"/>
                    <a:pt x="2621" y="294"/>
                  </a:cubicBezTo>
                  <a:cubicBezTo>
                    <a:pt x="2608" y="280"/>
                    <a:pt x="2608" y="280"/>
                    <a:pt x="2608" y="280"/>
                  </a:cubicBezTo>
                  <a:cubicBezTo>
                    <a:pt x="2596" y="286"/>
                    <a:pt x="2596" y="286"/>
                    <a:pt x="2596" y="286"/>
                  </a:cubicBezTo>
                  <a:cubicBezTo>
                    <a:pt x="2574" y="282"/>
                    <a:pt x="2574" y="282"/>
                    <a:pt x="2574" y="282"/>
                  </a:cubicBezTo>
                  <a:cubicBezTo>
                    <a:pt x="2596" y="274"/>
                    <a:pt x="2596" y="274"/>
                    <a:pt x="2596" y="274"/>
                  </a:cubicBezTo>
                  <a:cubicBezTo>
                    <a:pt x="2583" y="268"/>
                    <a:pt x="2583" y="268"/>
                    <a:pt x="2583" y="268"/>
                  </a:cubicBezTo>
                  <a:cubicBezTo>
                    <a:pt x="2546" y="272"/>
                    <a:pt x="2546" y="272"/>
                    <a:pt x="2546" y="272"/>
                  </a:cubicBezTo>
                  <a:cubicBezTo>
                    <a:pt x="2570" y="265"/>
                    <a:pt x="2570" y="265"/>
                    <a:pt x="2570" y="265"/>
                  </a:cubicBezTo>
                  <a:cubicBezTo>
                    <a:pt x="2569" y="260"/>
                    <a:pt x="2569" y="260"/>
                    <a:pt x="2569" y="260"/>
                  </a:cubicBezTo>
                  <a:cubicBezTo>
                    <a:pt x="2615" y="259"/>
                    <a:pt x="2615" y="259"/>
                    <a:pt x="2615" y="259"/>
                  </a:cubicBezTo>
                  <a:cubicBezTo>
                    <a:pt x="2592" y="251"/>
                    <a:pt x="2592" y="251"/>
                    <a:pt x="2592" y="251"/>
                  </a:cubicBezTo>
                  <a:cubicBezTo>
                    <a:pt x="2576" y="251"/>
                    <a:pt x="2576" y="251"/>
                    <a:pt x="2576" y="251"/>
                  </a:cubicBezTo>
                  <a:cubicBezTo>
                    <a:pt x="2576" y="251"/>
                    <a:pt x="2588" y="241"/>
                    <a:pt x="2578" y="240"/>
                  </a:cubicBezTo>
                  <a:cubicBezTo>
                    <a:pt x="2570" y="239"/>
                    <a:pt x="2539" y="241"/>
                    <a:pt x="2523" y="244"/>
                  </a:cubicBezTo>
                  <a:cubicBezTo>
                    <a:pt x="2521" y="237"/>
                    <a:pt x="2492" y="226"/>
                    <a:pt x="2488" y="226"/>
                  </a:cubicBezTo>
                  <a:close/>
                  <a:moveTo>
                    <a:pt x="2173" y="281"/>
                  </a:moveTo>
                  <a:cubicBezTo>
                    <a:pt x="2182" y="281"/>
                    <a:pt x="2226" y="288"/>
                    <a:pt x="2226" y="288"/>
                  </a:cubicBezTo>
                  <a:cubicBezTo>
                    <a:pt x="2226" y="288"/>
                    <a:pt x="2202" y="308"/>
                    <a:pt x="2217" y="308"/>
                  </a:cubicBezTo>
                  <a:cubicBezTo>
                    <a:pt x="2232" y="308"/>
                    <a:pt x="2270" y="308"/>
                    <a:pt x="2270" y="308"/>
                  </a:cubicBezTo>
                  <a:cubicBezTo>
                    <a:pt x="2284" y="308"/>
                    <a:pt x="2309" y="302"/>
                    <a:pt x="2305" y="294"/>
                  </a:cubicBezTo>
                  <a:cubicBezTo>
                    <a:pt x="2301" y="285"/>
                    <a:pt x="2341" y="282"/>
                    <a:pt x="2339" y="273"/>
                  </a:cubicBezTo>
                  <a:cubicBezTo>
                    <a:pt x="2338" y="265"/>
                    <a:pt x="2376" y="259"/>
                    <a:pt x="2362" y="247"/>
                  </a:cubicBezTo>
                  <a:cubicBezTo>
                    <a:pt x="2348" y="236"/>
                    <a:pt x="2329" y="244"/>
                    <a:pt x="2329" y="244"/>
                  </a:cubicBezTo>
                  <a:cubicBezTo>
                    <a:pt x="2329" y="244"/>
                    <a:pt x="2282" y="229"/>
                    <a:pt x="2279" y="238"/>
                  </a:cubicBezTo>
                  <a:cubicBezTo>
                    <a:pt x="2276" y="246"/>
                    <a:pt x="2276" y="267"/>
                    <a:pt x="2276" y="267"/>
                  </a:cubicBezTo>
                  <a:cubicBezTo>
                    <a:pt x="2276" y="267"/>
                    <a:pt x="2255" y="242"/>
                    <a:pt x="2244" y="251"/>
                  </a:cubicBezTo>
                  <a:cubicBezTo>
                    <a:pt x="2232" y="259"/>
                    <a:pt x="2222" y="283"/>
                    <a:pt x="2213" y="276"/>
                  </a:cubicBezTo>
                  <a:cubicBezTo>
                    <a:pt x="2205" y="270"/>
                    <a:pt x="2200" y="245"/>
                    <a:pt x="2191" y="243"/>
                  </a:cubicBezTo>
                  <a:cubicBezTo>
                    <a:pt x="2181" y="241"/>
                    <a:pt x="2155" y="243"/>
                    <a:pt x="2156" y="256"/>
                  </a:cubicBezTo>
                  <a:cubicBezTo>
                    <a:pt x="2157" y="269"/>
                    <a:pt x="2165" y="281"/>
                    <a:pt x="2173" y="281"/>
                  </a:cubicBezTo>
                  <a:close/>
                  <a:moveTo>
                    <a:pt x="2477" y="192"/>
                  </a:moveTo>
                  <a:cubicBezTo>
                    <a:pt x="2487" y="195"/>
                    <a:pt x="2490" y="205"/>
                    <a:pt x="2490" y="205"/>
                  </a:cubicBezTo>
                  <a:cubicBezTo>
                    <a:pt x="2490" y="205"/>
                    <a:pt x="2532" y="202"/>
                    <a:pt x="2552" y="201"/>
                  </a:cubicBezTo>
                  <a:cubicBezTo>
                    <a:pt x="2571" y="200"/>
                    <a:pt x="2528" y="189"/>
                    <a:pt x="2528" y="189"/>
                  </a:cubicBezTo>
                  <a:cubicBezTo>
                    <a:pt x="2528" y="189"/>
                    <a:pt x="2537" y="179"/>
                    <a:pt x="2547" y="177"/>
                  </a:cubicBezTo>
                  <a:cubicBezTo>
                    <a:pt x="2558" y="175"/>
                    <a:pt x="2518" y="162"/>
                    <a:pt x="2488" y="156"/>
                  </a:cubicBezTo>
                  <a:cubicBezTo>
                    <a:pt x="2488" y="156"/>
                    <a:pt x="2464" y="160"/>
                    <a:pt x="2460" y="164"/>
                  </a:cubicBezTo>
                  <a:cubicBezTo>
                    <a:pt x="2456" y="169"/>
                    <a:pt x="2468" y="190"/>
                    <a:pt x="2477" y="192"/>
                  </a:cubicBezTo>
                  <a:close/>
                  <a:moveTo>
                    <a:pt x="2188" y="339"/>
                  </a:moveTo>
                  <a:cubicBezTo>
                    <a:pt x="2188" y="339"/>
                    <a:pt x="2127" y="341"/>
                    <a:pt x="2093" y="352"/>
                  </a:cubicBezTo>
                  <a:cubicBezTo>
                    <a:pt x="2060" y="363"/>
                    <a:pt x="2112" y="372"/>
                    <a:pt x="2101" y="385"/>
                  </a:cubicBezTo>
                  <a:cubicBezTo>
                    <a:pt x="2090" y="399"/>
                    <a:pt x="2068" y="364"/>
                    <a:pt x="2030" y="380"/>
                  </a:cubicBezTo>
                  <a:cubicBezTo>
                    <a:pt x="2042" y="405"/>
                    <a:pt x="2042" y="405"/>
                    <a:pt x="2042" y="405"/>
                  </a:cubicBezTo>
                  <a:cubicBezTo>
                    <a:pt x="2042" y="405"/>
                    <a:pt x="2048" y="415"/>
                    <a:pt x="2065" y="418"/>
                  </a:cubicBezTo>
                  <a:cubicBezTo>
                    <a:pt x="2083" y="421"/>
                    <a:pt x="2082" y="456"/>
                    <a:pt x="2082" y="456"/>
                  </a:cubicBezTo>
                  <a:cubicBezTo>
                    <a:pt x="2082" y="456"/>
                    <a:pt x="2152" y="447"/>
                    <a:pt x="2174" y="442"/>
                  </a:cubicBezTo>
                  <a:cubicBezTo>
                    <a:pt x="2196" y="436"/>
                    <a:pt x="2196" y="395"/>
                    <a:pt x="2196" y="395"/>
                  </a:cubicBezTo>
                  <a:cubicBezTo>
                    <a:pt x="2152" y="385"/>
                    <a:pt x="2152" y="385"/>
                    <a:pt x="2152" y="385"/>
                  </a:cubicBezTo>
                  <a:cubicBezTo>
                    <a:pt x="2152" y="385"/>
                    <a:pt x="2205" y="367"/>
                    <a:pt x="2232" y="358"/>
                  </a:cubicBezTo>
                  <a:cubicBezTo>
                    <a:pt x="2258" y="348"/>
                    <a:pt x="2188" y="339"/>
                    <a:pt x="2188" y="339"/>
                  </a:cubicBezTo>
                  <a:close/>
                  <a:moveTo>
                    <a:pt x="1929" y="499"/>
                  </a:moveTo>
                  <a:cubicBezTo>
                    <a:pt x="1927" y="493"/>
                    <a:pt x="1862" y="494"/>
                    <a:pt x="1862" y="494"/>
                  </a:cubicBezTo>
                  <a:cubicBezTo>
                    <a:pt x="1915" y="466"/>
                    <a:pt x="1915" y="466"/>
                    <a:pt x="1915" y="466"/>
                  </a:cubicBezTo>
                  <a:cubicBezTo>
                    <a:pt x="1915" y="466"/>
                    <a:pt x="1947" y="392"/>
                    <a:pt x="1918" y="383"/>
                  </a:cubicBezTo>
                  <a:cubicBezTo>
                    <a:pt x="1891" y="375"/>
                    <a:pt x="1852" y="393"/>
                    <a:pt x="1852" y="393"/>
                  </a:cubicBezTo>
                  <a:cubicBezTo>
                    <a:pt x="1852" y="393"/>
                    <a:pt x="1826" y="447"/>
                    <a:pt x="1802" y="450"/>
                  </a:cubicBezTo>
                  <a:cubicBezTo>
                    <a:pt x="1778" y="453"/>
                    <a:pt x="1818" y="413"/>
                    <a:pt x="1816" y="403"/>
                  </a:cubicBezTo>
                  <a:cubicBezTo>
                    <a:pt x="1814" y="393"/>
                    <a:pt x="1750" y="392"/>
                    <a:pt x="1750" y="392"/>
                  </a:cubicBezTo>
                  <a:cubicBezTo>
                    <a:pt x="1744" y="405"/>
                    <a:pt x="1744" y="405"/>
                    <a:pt x="1744" y="405"/>
                  </a:cubicBezTo>
                  <a:cubicBezTo>
                    <a:pt x="1744" y="405"/>
                    <a:pt x="1708" y="420"/>
                    <a:pt x="1671" y="423"/>
                  </a:cubicBezTo>
                  <a:cubicBezTo>
                    <a:pt x="1635" y="425"/>
                    <a:pt x="1687" y="412"/>
                    <a:pt x="1723" y="400"/>
                  </a:cubicBezTo>
                  <a:cubicBezTo>
                    <a:pt x="1761" y="388"/>
                    <a:pt x="1704" y="386"/>
                    <a:pt x="1704" y="386"/>
                  </a:cubicBezTo>
                  <a:cubicBezTo>
                    <a:pt x="1664" y="398"/>
                    <a:pt x="1664" y="398"/>
                    <a:pt x="1664" y="398"/>
                  </a:cubicBezTo>
                  <a:cubicBezTo>
                    <a:pt x="1636" y="401"/>
                    <a:pt x="1636" y="401"/>
                    <a:pt x="1636" y="401"/>
                  </a:cubicBezTo>
                  <a:cubicBezTo>
                    <a:pt x="1636" y="401"/>
                    <a:pt x="1651" y="391"/>
                    <a:pt x="1667" y="380"/>
                  </a:cubicBezTo>
                  <a:cubicBezTo>
                    <a:pt x="1682" y="369"/>
                    <a:pt x="1663" y="371"/>
                    <a:pt x="1663" y="371"/>
                  </a:cubicBezTo>
                  <a:cubicBezTo>
                    <a:pt x="1564" y="402"/>
                    <a:pt x="1564" y="402"/>
                    <a:pt x="1564" y="402"/>
                  </a:cubicBezTo>
                  <a:cubicBezTo>
                    <a:pt x="1550" y="403"/>
                    <a:pt x="1550" y="403"/>
                    <a:pt x="1550" y="403"/>
                  </a:cubicBezTo>
                  <a:cubicBezTo>
                    <a:pt x="1494" y="420"/>
                    <a:pt x="1494" y="420"/>
                    <a:pt x="1494" y="420"/>
                  </a:cubicBezTo>
                  <a:cubicBezTo>
                    <a:pt x="1496" y="428"/>
                    <a:pt x="1496" y="428"/>
                    <a:pt x="1496" y="428"/>
                  </a:cubicBezTo>
                  <a:cubicBezTo>
                    <a:pt x="1456" y="443"/>
                    <a:pt x="1456" y="443"/>
                    <a:pt x="1456" y="443"/>
                  </a:cubicBezTo>
                  <a:cubicBezTo>
                    <a:pt x="1447" y="453"/>
                    <a:pt x="1447" y="453"/>
                    <a:pt x="1447" y="453"/>
                  </a:cubicBezTo>
                  <a:cubicBezTo>
                    <a:pt x="1465" y="461"/>
                    <a:pt x="1465" y="461"/>
                    <a:pt x="1465" y="461"/>
                  </a:cubicBezTo>
                  <a:cubicBezTo>
                    <a:pt x="1465" y="461"/>
                    <a:pt x="1487" y="446"/>
                    <a:pt x="1492" y="458"/>
                  </a:cubicBezTo>
                  <a:cubicBezTo>
                    <a:pt x="1497" y="470"/>
                    <a:pt x="1451" y="464"/>
                    <a:pt x="1440" y="483"/>
                  </a:cubicBezTo>
                  <a:cubicBezTo>
                    <a:pt x="1428" y="503"/>
                    <a:pt x="1587" y="484"/>
                    <a:pt x="1565" y="502"/>
                  </a:cubicBezTo>
                  <a:cubicBezTo>
                    <a:pt x="1544" y="519"/>
                    <a:pt x="1417" y="508"/>
                    <a:pt x="1406" y="525"/>
                  </a:cubicBezTo>
                  <a:cubicBezTo>
                    <a:pt x="1395" y="542"/>
                    <a:pt x="1427" y="540"/>
                    <a:pt x="1450" y="552"/>
                  </a:cubicBezTo>
                  <a:cubicBezTo>
                    <a:pt x="1473" y="564"/>
                    <a:pt x="1438" y="557"/>
                    <a:pt x="1434" y="574"/>
                  </a:cubicBezTo>
                  <a:cubicBezTo>
                    <a:pt x="1430" y="590"/>
                    <a:pt x="1533" y="582"/>
                    <a:pt x="1533" y="582"/>
                  </a:cubicBezTo>
                  <a:cubicBezTo>
                    <a:pt x="1533" y="582"/>
                    <a:pt x="1702" y="566"/>
                    <a:pt x="1741" y="554"/>
                  </a:cubicBezTo>
                  <a:cubicBezTo>
                    <a:pt x="1768" y="545"/>
                    <a:pt x="1819" y="583"/>
                    <a:pt x="1851" y="586"/>
                  </a:cubicBezTo>
                  <a:cubicBezTo>
                    <a:pt x="1884" y="588"/>
                    <a:pt x="1895" y="551"/>
                    <a:pt x="1895" y="551"/>
                  </a:cubicBezTo>
                  <a:cubicBezTo>
                    <a:pt x="1843" y="550"/>
                    <a:pt x="1843" y="550"/>
                    <a:pt x="1843" y="550"/>
                  </a:cubicBezTo>
                  <a:cubicBezTo>
                    <a:pt x="1865" y="533"/>
                    <a:pt x="1865" y="533"/>
                    <a:pt x="1865" y="533"/>
                  </a:cubicBezTo>
                  <a:cubicBezTo>
                    <a:pt x="1865" y="533"/>
                    <a:pt x="1897" y="539"/>
                    <a:pt x="1929" y="532"/>
                  </a:cubicBezTo>
                  <a:cubicBezTo>
                    <a:pt x="1962" y="525"/>
                    <a:pt x="1931" y="506"/>
                    <a:pt x="1929" y="499"/>
                  </a:cubicBezTo>
                  <a:close/>
                  <a:moveTo>
                    <a:pt x="1909" y="590"/>
                  </a:moveTo>
                  <a:cubicBezTo>
                    <a:pt x="1941" y="591"/>
                    <a:pt x="1947" y="573"/>
                    <a:pt x="1925" y="574"/>
                  </a:cubicBezTo>
                  <a:cubicBezTo>
                    <a:pt x="1903" y="574"/>
                    <a:pt x="1909" y="590"/>
                    <a:pt x="1909" y="590"/>
                  </a:cubicBezTo>
                  <a:close/>
                  <a:moveTo>
                    <a:pt x="2183" y="224"/>
                  </a:moveTo>
                  <a:cubicBezTo>
                    <a:pt x="2201" y="221"/>
                    <a:pt x="2202" y="193"/>
                    <a:pt x="2187" y="193"/>
                  </a:cubicBezTo>
                  <a:cubicBezTo>
                    <a:pt x="2173" y="193"/>
                    <a:pt x="2166" y="226"/>
                    <a:pt x="2183" y="224"/>
                  </a:cubicBezTo>
                  <a:close/>
                  <a:moveTo>
                    <a:pt x="2307" y="155"/>
                  </a:moveTo>
                  <a:cubicBezTo>
                    <a:pt x="2307" y="155"/>
                    <a:pt x="2289" y="172"/>
                    <a:pt x="2303" y="173"/>
                  </a:cubicBezTo>
                  <a:cubicBezTo>
                    <a:pt x="2317" y="174"/>
                    <a:pt x="2349" y="175"/>
                    <a:pt x="2349" y="175"/>
                  </a:cubicBezTo>
                  <a:cubicBezTo>
                    <a:pt x="2349" y="175"/>
                    <a:pt x="2363" y="191"/>
                    <a:pt x="2380" y="191"/>
                  </a:cubicBezTo>
                  <a:cubicBezTo>
                    <a:pt x="2398" y="191"/>
                    <a:pt x="2411" y="177"/>
                    <a:pt x="2411" y="177"/>
                  </a:cubicBezTo>
                  <a:cubicBezTo>
                    <a:pt x="2402" y="169"/>
                    <a:pt x="2402" y="169"/>
                    <a:pt x="2402" y="169"/>
                  </a:cubicBezTo>
                  <a:cubicBezTo>
                    <a:pt x="2423" y="165"/>
                    <a:pt x="2423" y="165"/>
                    <a:pt x="2423" y="165"/>
                  </a:cubicBezTo>
                  <a:cubicBezTo>
                    <a:pt x="2393" y="143"/>
                    <a:pt x="2393" y="143"/>
                    <a:pt x="2393" y="143"/>
                  </a:cubicBezTo>
                  <a:cubicBezTo>
                    <a:pt x="2365" y="147"/>
                    <a:pt x="2365" y="147"/>
                    <a:pt x="2365" y="147"/>
                  </a:cubicBezTo>
                  <a:cubicBezTo>
                    <a:pt x="2355" y="132"/>
                    <a:pt x="2355" y="132"/>
                    <a:pt x="2355" y="132"/>
                  </a:cubicBezTo>
                  <a:cubicBezTo>
                    <a:pt x="2336" y="132"/>
                    <a:pt x="2336" y="132"/>
                    <a:pt x="2336" y="132"/>
                  </a:cubicBezTo>
                  <a:cubicBezTo>
                    <a:pt x="2314" y="132"/>
                    <a:pt x="2279" y="132"/>
                    <a:pt x="2278" y="144"/>
                  </a:cubicBezTo>
                  <a:cubicBezTo>
                    <a:pt x="2277" y="156"/>
                    <a:pt x="2307" y="155"/>
                    <a:pt x="2307" y="155"/>
                  </a:cubicBezTo>
                  <a:close/>
                  <a:moveTo>
                    <a:pt x="2285" y="872"/>
                  </a:moveTo>
                  <a:cubicBezTo>
                    <a:pt x="2230" y="922"/>
                    <a:pt x="2320" y="886"/>
                    <a:pt x="2320" y="886"/>
                  </a:cubicBezTo>
                  <a:cubicBezTo>
                    <a:pt x="2366" y="843"/>
                    <a:pt x="2339" y="821"/>
                    <a:pt x="2285" y="872"/>
                  </a:cubicBezTo>
                  <a:close/>
                  <a:moveTo>
                    <a:pt x="2943" y="929"/>
                  </a:moveTo>
                  <a:cubicBezTo>
                    <a:pt x="2953" y="921"/>
                    <a:pt x="2946" y="918"/>
                    <a:pt x="2946" y="918"/>
                  </a:cubicBezTo>
                  <a:cubicBezTo>
                    <a:pt x="2946" y="918"/>
                    <a:pt x="2924" y="913"/>
                    <a:pt x="2921" y="922"/>
                  </a:cubicBezTo>
                  <a:cubicBezTo>
                    <a:pt x="2921" y="922"/>
                    <a:pt x="2932" y="936"/>
                    <a:pt x="2943" y="929"/>
                  </a:cubicBezTo>
                  <a:close/>
                  <a:moveTo>
                    <a:pt x="2077" y="1360"/>
                  </a:moveTo>
                  <a:cubicBezTo>
                    <a:pt x="2105" y="1356"/>
                    <a:pt x="2070" y="1342"/>
                    <a:pt x="2070" y="1342"/>
                  </a:cubicBezTo>
                  <a:cubicBezTo>
                    <a:pt x="2026" y="1351"/>
                    <a:pt x="2048" y="1363"/>
                    <a:pt x="2077" y="1360"/>
                  </a:cubicBezTo>
                  <a:close/>
                  <a:moveTo>
                    <a:pt x="3172" y="665"/>
                  </a:moveTo>
                  <a:cubicBezTo>
                    <a:pt x="3167" y="669"/>
                    <a:pt x="3155" y="660"/>
                    <a:pt x="3155" y="660"/>
                  </a:cubicBezTo>
                  <a:cubicBezTo>
                    <a:pt x="3133" y="673"/>
                    <a:pt x="3133" y="673"/>
                    <a:pt x="3133" y="673"/>
                  </a:cubicBezTo>
                  <a:cubicBezTo>
                    <a:pt x="3135" y="656"/>
                    <a:pt x="3135" y="656"/>
                    <a:pt x="3135" y="656"/>
                  </a:cubicBezTo>
                  <a:cubicBezTo>
                    <a:pt x="3107" y="656"/>
                    <a:pt x="3107" y="656"/>
                    <a:pt x="3107" y="656"/>
                  </a:cubicBezTo>
                  <a:cubicBezTo>
                    <a:pt x="3107" y="656"/>
                    <a:pt x="3139" y="646"/>
                    <a:pt x="3133" y="636"/>
                  </a:cubicBezTo>
                  <a:cubicBezTo>
                    <a:pt x="3128" y="625"/>
                    <a:pt x="3079" y="624"/>
                    <a:pt x="3079" y="624"/>
                  </a:cubicBezTo>
                  <a:cubicBezTo>
                    <a:pt x="3073" y="613"/>
                    <a:pt x="3073" y="613"/>
                    <a:pt x="3073" y="613"/>
                  </a:cubicBezTo>
                  <a:cubicBezTo>
                    <a:pt x="3041" y="612"/>
                    <a:pt x="3041" y="612"/>
                    <a:pt x="3041" y="612"/>
                  </a:cubicBezTo>
                  <a:cubicBezTo>
                    <a:pt x="2997" y="581"/>
                    <a:pt x="2997" y="581"/>
                    <a:pt x="2997" y="581"/>
                  </a:cubicBezTo>
                  <a:cubicBezTo>
                    <a:pt x="3044" y="578"/>
                    <a:pt x="3044" y="578"/>
                    <a:pt x="3044" y="578"/>
                  </a:cubicBezTo>
                  <a:cubicBezTo>
                    <a:pt x="3024" y="564"/>
                    <a:pt x="3024" y="564"/>
                    <a:pt x="3024" y="564"/>
                  </a:cubicBezTo>
                  <a:cubicBezTo>
                    <a:pt x="3024" y="564"/>
                    <a:pt x="3037" y="560"/>
                    <a:pt x="3041" y="560"/>
                  </a:cubicBezTo>
                  <a:cubicBezTo>
                    <a:pt x="3045" y="560"/>
                    <a:pt x="3097" y="572"/>
                    <a:pt x="3091" y="558"/>
                  </a:cubicBezTo>
                  <a:cubicBezTo>
                    <a:pt x="3084" y="545"/>
                    <a:pt x="3029" y="548"/>
                    <a:pt x="3029" y="548"/>
                  </a:cubicBezTo>
                  <a:cubicBezTo>
                    <a:pt x="3011" y="546"/>
                    <a:pt x="3011" y="546"/>
                    <a:pt x="3011" y="546"/>
                  </a:cubicBezTo>
                  <a:cubicBezTo>
                    <a:pt x="3011" y="546"/>
                    <a:pt x="3088" y="544"/>
                    <a:pt x="3091" y="534"/>
                  </a:cubicBezTo>
                  <a:cubicBezTo>
                    <a:pt x="3093" y="525"/>
                    <a:pt x="3069" y="525"/>
                    <a:pt x="3069" y="525"/>
                  </a:cubicBezTo>
                  <a:cubicBezTo>
                    <a:pt x="3000" y="536"/>
                    <a:pt x="3000" y="536"/>
                    <a:pt x="3000" y="536"/>
                  </a:cubicBezTo>
                  <a:cubicBezTo>
                    <a:pt x="3040" y="512"/>
                    <a:pt x="3040" y="512"/>
                    <a:pt x="3040" y="512"/>
                  </a:cubicBezTo>
                  <a:cubicBezTo>
                    <a:pt x="3040" y="512"/>
                    <a:pt x="3093" y="518"/>
                    <a:pt x="3077" y="504"/>
                  </a:cubicBezTo>
                  <a:cubicBezTo>
                    <a:pt x="3061" y="489"/>
                    <a:pt x="3035" y="489"/>
                    <a:pt x="3035" y="489"/>
                  </a:cubicBezTo>
                  <a:cubicBezTo>
                    <a:pt x="3009" y="504"/>
                    <a:pt x="3009" y="504"/>
                    <a:pt x="3009" y="504"/>
                  </a:cubicBezTo>
                  <a:cubicBezTo>
                    <a:pt x="2999" y="500"/>
                    <a:pt x="2999" y="500"/>
                    <a:pt x="2999" y="500"/>
                  </a:cubicBezTo>
                  <a:cubicBezTo>
                    <a:pt x="2971" y="520"/>
                    <a:pt x="2971" y="520"/>
                    <a:pt x="2971" y="520"/>
                  </a:cubicBezTo>
                  <a:cubicBezTo>
                    <a:pt x="2973" y="505"/>
                    <a:pt x="2973" y="505"/>
                    <a:pt x="2973" y="505"/>
                  </a:cubicBezTo>
                  <a:cubicBezTo>
                    <a:pt x="2959" y="517"/>
                    <a:pt x="2959" y="517"/>
                    <a:pt x="2959" y="517"/>
                  </a:cubicBezTo>
                  <a:cubicBezTo>
                    <a:pt x="2973" y="497"/>
                    <a:pt x="2973" y="497"/>
                    <a:pt x="2973" y="497"/>
                  </a:cubicBezTo>
                  <a:cubicBezTo>
                    <a:pt x="2973" y="497"/>
                    <a:pt x="2993" y="502"/>
                    <a:pt x="3003" y="493"/>
                  </a:cubicBezTo>
                  <a:cubicBezTo>
                    <a:pt x="3012" y="484"/>
                    <a:pt x="3012" y="470"/>
                    <a:pt x="3005" y="472"/>
                  </a:cubicBezTo>
                  <a:cubicBezTo>
                    <a:pt x="2999" y="473"/>
                    <a:pt x="2991" y="485"/>
                    <a:pt x="2991" y="485"/>
                  </a:cubicBezTo>
                  <a:cubicBezTo>
                    <a:pt x="2967" y="486"/>
                    <a:pt x="2967" y="486"/>
                    <a:pt x="2967" y="486"/>
                  </a:cubicBezTo>
                  <a:cubicBezTo>
                    <a:pt x="2952" y="493"/>
                    <a:pt x="2952" y="493"/>
                    <a:pt x="2952" y="493"/>
                  </a:cubicBezTo>
                  <a:cubicBezTo>
                    <a:pt x="2968" y="474"/>
                    <a:pt x="2968" y="474"/>
                    <a:pt x="2968" y="474"/>
                  </a:cubicBezTo>
                  <a:cubicBezTo>
                    <a:pt x="2988" y="474"/>
                    <a:pt x="2988" y="474"/>
                    <a:pt x="2988" y="474"/>
                  </a:cubicBezTo>
                  <a:cubicBezTo>
                    <a:pt x="2988" y="474"/>
                    <a:pt x="3012" y="465"/>
                    <a:pt x="2999" y="457"/>
                  </a:cubicBezTo>
                  <a:cubicBezTo>
                    <a:pt x="2985" y="449"/>
                    <a:pt x="2941" y="469"/>
                    <a:pt x="2941" y="469"/>
                  </a:cubicBezTo>
                  <a:cubicBezTo>
                    <a:pt x="2933" y="460"/>
                    <a:pt x="2933" y="460"/>
                    <a:pt x="2933" y="460"/>
                  </a:cubicBezTo>
                  <a:cubicBezTo>
                    <a:pt x="2917" y="472"/>
                    <a:pt x="2917" y="472"/>
                    <a:pt x="2917" y="472"/>
                  </a:cubicBezTo>
                  <a:cubicBezTo>
                    <a:pt x="2932" y="452"/>
                    <a:pt x="2932" y="452"/>
                    <a:pt x="2932" y="452"/>
                  </a:cubicBezTo>
                  <a:cubicBezTo>
                    <a:pt x="2895" y="465"/>
                    <a:pt x="2895" y="465"/>
                    <a:pt x="2895" y="465"/>
                  </a:cubicBezTo>
                  <a:cubicBezTo>
                    <a:pt x="2895" y="450"/>
                    <a:pt x="2895" y="450"/>
                    <a:pt x="2895" y="450"/>
                  </a:cubicBezTo>
                  <a:cubicBezTo>
                    <a:pt x="2895" y="450"/>
                    <a:pt x="2931" y="441"/>
                    <a:pt x="2931" y="437"/>
                  </a:cubicBezTo>
                  <a:cubicBezTo>
                    <a:pt x="2931" y="433"/>
                    <a:pt x="2881" y="442"/>
                    <a:pt x="2881" y="442"/>
                  </a:cubicBezTo>
                  <a:cubicBezTo>
                    <a:pt x="2880" y="434"/>
                    <a:pt x="2880" y="434"/>
                    <a:pt x="2880" y="434"/>
                  </a:cubicBezTo>
                  <a:cubicBezTo>
                    <a:pt x="2880" y="434"/>
                    <a:pt x="2928" y="424"/>
                    <a:pt x="2923" y="417"/>
                  </a:cubicBezTo>
                  <a:cubicBezTo>
                    <a:pt x="2917" y="410"/>
                    <a:pt x="2852" y="409"/>
                    <a:pt x="2844" y="406"/>
                  </a:cubicBezTo>
                  <a:cubicBezTo>
                    <a:pt x="2836" y="404"/>
                    <a:pt x="2820" y="406"/>
                    <a:pt x="2819" y="410"/>
                  </a:cubicBezTo>
                  <a:cubicBezTo>
                    <a:pt x="2817" y="414"/>
                    <a:pt x="2828" y="428"/>
                    <a:pt x="2828" y="428"/>
                  </a:cubicBezTo>
                  <a:cubicBezTo>
                    <a:pt x="2804" y="424"/>
                    <a:pt x="2804" y="424"/>
                    <a:pt x="2804" y="424"/>
                  </a:cubicBezTo>
                  <a:cubicBezTo>
                    <a:pt x="2807" y="442"/>
                    <a:pt x="2807" y="442"/>
                    <a:pt x="2807" y="442"/>
                  </a:cubicBezTo>
                  <a:cubicBezTo>
                    <a:pt x="2793" y="425"/>
                    <a:pt x="2793" y="425"/>
                    <a:pt x="2793" y="425"/>
                  </a:cubicBezTo>
                  <a:cubicBezTo>
                    <a:pt x="2768" y="441"/>
                    <a:pt x="2768" y="441"/>
                    <a:pt x="2768" y="441"/>
                  </a:cubicBezTo>
                  <a:cubicBezTo>
                    <a:pt x="2768" y="441"/>
                    <a:pt x="2773" y="426"/>
                    <a:pt x="2768" y="422"/>
                  </a:cubicBezTo>
                  <a:cubicBezTo>
                    <a:pt x="2763" y="418"/>
                    <a:pt x="2715" y="438"/>
                    <a:pt x="2715" y="438"/>
                  </a:cubicBezTo>
                  <a:cubicBezTo>
                    <a:pt x="2727" y="413"/>
                    <a:pt x="2727" y="413"/>
                    <a:pt x="2727" y="413"/>
                  </a:cubicBezTo>
                  <a:cubicBezTo>
                    <a:pt x="2727" y="413"/>
                    <a:pt x="2767" y="412"/>
                    <a:pt x="2767" y="402"/>
                  </a:cubicBezTo>
                  <a:cubicBezTo>
                    <a:pt x="2767" y="393"/>
                    <a:pt x="2753" y="381"/>
                    <a:pt x="2753" y="381"/>
                  </a:cubicBezTo>
                  <a:cubicBezTo>
                    <a:pt x="2753" y="381"/>
                    <a:pt x="2777" y="364"/>
                    <a:pt x="2761" y="361"/>
                  </a:cubicBezTo>
                  <a:cubicBezTo>
                    <a:pt x="2745" y="358"/>
                    <a:pt x="2699" y="362"/>
                    <a:pt x="2699" y="362"/>
                  </a:cubicBezTo>
                  <a:cubicBezTo>
                    <a:pt x="2684" y="373"/>
                    <a:pt x="2684" y="373"/>
                    <a:pt x="2684" y="373"/>
                  </a:cubicBezTo>
                  <a:cubicBezTo>
                    <a:pt x="2625" y="374"/>
                    <a:pt x="2625" y="374"/>
                    <a:pt x="2625" y="374"/>
                  </a:cubicBezTo>
                  <a:cubicBezTo>
                    <a:pt x="2632" y="385"/>
                    <a:pt x="2632" y="385"/>
                    <a:pt x="2632" y="385"/>
                  </a:cubicBezTo>
                  <a:cubicBezTo>
                    <a:pt x="2652" y="393"/>
                    <a:pt x="2652" y="393"/>
                    <a:pt x="2652" y="393"/>
                  </a:cubicBezTo>
                  <a:cubicBezTo>
                    <a:pt x="2623" y="385"/>
                    <a:pt x="2623" y="385"/>
                    <a:pt x="2623" y="385"/>
                  </a:cubicBezTo>
                  <a:cubicBezTo>
                    <a:pt x="2629" y="401"/>
                    <a:pt x="2629" y="401"/>
                    <a:pt x="2629" y="401"/>
                  </a:cubicBezTo>
                  <a:cubicBezTo>
                    <a:pt x="2629" y="401"/>
                    <a:pt x="2597" y="388"/>
                    <a:pt x="2588" y="400"/>
                  </a:cubicBezTo>
                  <a:cubicBezTo>
                    <a:pt x="2579" y="412"/>
                    <a:pt x="2596" y="424"/>
                    <a:pt x="2596" y="424"/>
                  </a:cubicBezTo>
                  <a:cubicBezTo>
                    <a:pt x="2599" y="441"/>
                    <a:pt x="2599" y="441"/>
                    <a:pt x="2599" y="441"/>
                  </a:cubicBezTo>
                  <a:cubicBezTo>
                    <a:pt x="2599" y="441"/>
                    <a:pt x="2579" y="429"/>
                    <a:pt x="2568" y="432"/>
                  </a:cubicBezTo>
                  <a:cubicBezTo>
                    <a:pt x="2557" y="434"/>
                    <a:pt x="2543" y="453"/>
                    <a:pt x="2555" y="454"/>
                  </a:cubicBezTo>
                  <a:cubicBezTo>
                    <a:pt x="2567" y="456"/>
                    <a:pt x="2571" y="462"/>
                    <a:pt x="2571" y="462"/>
                  </a:cubicBezTo>
                  <a:cubicBezTo>
                    <a:pt x="2540" y="477"/>
                    <a:pt x="2540" y="477"/>
                    <a:pt x="2540" y="477"/>
                  </a:cubicBezTo>
                  <a:cubicBezTo>
                    <a:pt x="2500" y="481"/>
                    <a:pt x="2500" y="481"/>
                    <a:pt x="2500" y="481"/>
                  </a:cubicBezTo>
                  <a:cubicBezTo>
                    <a:pt x="2500" y="481"/>
                    <a:pt x="2539" y="473"/>
                    <a:pt x="2539" y="464"/>
                  </a:cubicBezTo>
                  <a:cubicBezTo>
                    <a:pt x="2539" y="454"/>
                    <a:pt x="2515" y="453"/>
                    <a:pt x="2525" y="440"/>
                  </a:cubicBezTo>
                  <a:cubicBezTo>
                    <a:pt x="2536" y="426"/>
                    <a:pt x="2549" y="425"/>
                    <a:pt x="2549" y="425"/>
                  </a:cubicBezTo>
                  <a:cubicBezTo>
                    <a:pt x="2549" y="406"/>
                    <a:pt x="2549" y="406"/>
                    <a:pt x="2549" y="406"/>
                  </a:cubicBezTo>
                  <a:cubicBezTo>
                    <a:pt x="2549" y="406"/>
                    <a:pt x="2584" y="384"/>
                    <a:pt x="2596" y="378"/>
                  </a:cubicBezTo>
                  <a:cubicBezTo>
                    <a:pt x="2608" y="373"/>
                    <a:pt x="2653" y="366"/>
                    <a:pt x="2645" y="362"/>
                  </a:cubicBezTo>
                  <a:cubicBezTo>
                    <a:pt x="2637" y="358"/>
                    <a:pt x="2591" y="357"/>
                    <a:pt x="2565" y="358"/>
                  </a:cubicBezTo>
                  <a:cubicBezTo>
                    <a:pt x="2540" y="360"/>
                    <a:pt x="2472" y="401"/>
                    <a:pt x="2472" y="401"/>
                  </a:cubicBezTo>
                  <a:cubicBezTo>
                    <a:pt x="2472" y="401"/>
                    <a:pt x="2443" y="414"/>
                    <a:pt x="2433" y="416"/>
                  </a:cubicBezTo>
                  <a:cubicBezTo>
                    <a:pt x="2424" y="417"/>
                    <a:pt x="2420" y="428"/>
                    <a:pt x="2420" y="428"/>
                  </a:cubicBezTo>
                  <a:cubicBezTo>
                    <a:pt x="2420" y="428"/>
                    <a:pt x="2373" y="454"/>
                    <a:pt x="2391" y="461"/>
                  </a:cubicBezTo>
                  <a:cubicBezTo>
                    <a:pt x="2408" y="468"/>
                    <a:pt x="2460" y="464"/>
                    <a:pt x="2453" y="473"/>
                  </a:cubicBezTo>
                  <a:cubicBezTo>
                    <a:pt x="2447" y="482"/>
                    <a:pt x="2360" y="481"/>
                    <a:pt x="2381" y="496"/>
                  </a:cubicBezTo>
                  <a:cubicBezTo>
                    <a:pt x="2403" y="510"/>
                    <a:pt x="2429" y="513"/>
                    <a:pt x="2429" y="513"/>
                  </a:cubicBezTo>
                  <a:cubicBezTo>
                    <a:pt x="2460" y="501"/>
                    <a:pt x="2460" y="501"/>
                    <a:pt x="2460" y="501"/>
                  </a:cubicBezTo>
                  <a:cubicBezTo>
                    <a:pt x="2460" y="501"/>
                    <a:pt x="2451" y="517"/>
                    <a:pt x="2473" y="517"/>
                  </a:cubicBezTo>
                  <a:cubicBezTo>
                    <a:pt x="2496" y="517"/>
                    <a:pt x="2584" y="536"/>
                    <a:pt x="2595" y="530"/>
                  </a:cubicBezTo>
                  <a:cubicBezTo>
                    <a:pt x="2605" y="525"/>
                    <a:pt x="2581" y="513"/>
                    <a:pt x="2581" y="513"/>
                  </a:cubicBezTo>
                  <a:cubicBezTo>
                    <a:pt x="2581" y="513"/>
                    <a:pt x="2648" y="520"/>
                    <a:pt x="2659" y="521"/>
                  </a:cubicBezTo>
                  <a:cubicBezTo>
                    <a:pt x="2669" y="522"/>
                    <a:pt x="2696" y="533"/>
                    <a:pt x="2705" y="528"/>
                  </a:cubicBezTo>
                  <a:cubicBezTo>
                    <a:pt x="2715" y="522"/>
                    <a:pt x="2696" y="502"/>
                    <a:pt x="2696" y="502"/>
                  </a:cubicBezTo>
                  <a:cubicBezTo>
                    <a:pt x="2727" y="496"/>
                    <a:pt x="2727" y="496"/>
                    <a:pt x="2727" y="496"/>
                  </a:cubicBezTo>
                  <a:cubicBezTo>
                    <a:pt x="2727" y="496"/>
                    <a:pt x="2735" y="518"/>
                    <a:pt x="2739" y="517"/>
                  </a:cubicBezTo>
                  <a:cubicBezTo>
                    <a:pt x="2743" y="516"/>
                    <a:pt x="2757" y="532"/>
                    <a:pt x="2757" y="532"/>
                  </a:cubicBezTo>
                  <a:cubicBezTo>
                    <a:pt x="2777" y="525"/>
                    <a:pt x="2777" y="525"/>
                    <a:pt x="2777" y="525"/>
                  </a:cubicBezTo>
                  <a:cubicBezTo>
                    <a:pt x="2777" y="525"/>
                    <a:pt x="2769" y="545"/>
                    <a:pt x="2773" y="546"/>
                  </a:cubicBezTo>
                  <a:cubicBezTo>
                    <a:pt x="2777" y="548"/>
                    <a:pt x="2807" y="554"/>
                    <a:pt x="2807" y="554"/>
                  </a:cubicBezTo>
                  <a:cubicBezTo>
                    <a:pt x="2807" y="554"/>
                    <a:pt x="2785" y="573"/>
                    <a:pt x="2793" y="573"/>
                  </a:cubicBezTo>
                  <a:cubicBezTo>
                    <a:pt x="2801" y="573"/>
                    <a:pt x="2820" y="573"/>
                    <a:pt x="2820" y="573"/>
                  </a:cubicBezTo>
                  <a:cubicBezTo>
                    <a:pt x="2816" y="590"/>
                    <a:pt x="2816" y="590"/>
                    <a:pt x="2816" y="590"/>
                  </a:cubicBezTo>
                  <a:cubicBezTo>
                    <a:pt x="2816" y="590"/>
                    <a:pt x="2849" y="594"/>
                    <a:pt x="2849" y="610"/>
                  </a:cubicBezTo>
                  <a:cubicBezTo>
                    <a:pt x="2849" y="626"/>
                    <a:pt x="2827" y="660"/>
                    <a:pt x="2821" y="661"/>
                  </a:cubicBezTo>
                  <a:cubicBezTo>
                    <a:pt x="2816" y="662"/>
                    <a:pt x="2728" y="701"/>
                    <a:pt x="2728" y="701"/>
                  </a:cubicBezTo>
                  <a:cubicBezTo>
                    <a:pt x="2728" y="701"/>
                    <a:pt x="2756" y="720"/>
                    <a:pt x="2741" y="726"/>
                  </a:cubicBezTo>
                  <a:cubicBezTo>
                    <a:pt x="2727" y="733"/>
                    <a:pt x="2707" y="734"/>
                    <a:pt x="2707" y="734"/>
                  </a:cubicBezTo>
                  <a:cubicBezTo>
                    <a:pt x="2655" y="741"/>
                    <a:pt x="2655" y="741"/>
                    <a:pt x="2655" y="741"/>
                  </a:cubicBezTo>
                  <a:cubicBezTo>
                    <a:pt x="2649" y="756"/>
                    <a:pt x="2649" y="756"/>
                    <a:pt x="2649" y="756"/>
                  </a:cubicBezTo>
                  <a:cubicBezTo>
                    <a:pt x="2640" y="742"/>
                    <a:pt x="2640" y="742"/>
                    <a:pt x="2640" y="742"/>
                  </a:cubicBezTo>
                  <a:cubicBezTo>
                    <a:pt x="2640" y="742"/>
                    <a:pt x="2613" y="733"/>
                    <a:pt x="2600" y="736"/>
                  </a:cubicBezTo>
                  <a:cubicBezTo>
                    <a:pt x="2587" y="738"/>
                    <a:pt x="2588" y="750"/>
                    <a:pt x="2588" y="750"/>
                  </a:cubicBezTo>
                  <a:cubicBezTo>
                    <a:pt x="2588" y="750"/>
                    <a:pt x="2543" y="760"/>
                    <a:pt x="2543" y="776"/>
                  </a:cubicBezTo>
                  <a:cubicBezTo>
                    <a:pt x="2543" y="800"/>
                    <a:pt x="2577" y="794"/>
                    <a:pt x="2604" y="785"/>
                  </a:cubicBezTo>
                  <a:cubicBezTo>
                    <a:pt x="2631" y="776"/>
                    <a:pt x="2637" y="777"/>
                    <a:pt x="2637" y="777"/>
                  </a:cubicBezTo>
                  <a:cubicBezTo>
                    <a:pt x="2637" y="777"/>
                    <a:pt x="2656" y="790"/>
                    <a:pt x="2663" y="785"/>
                  </a:cubicBezTo>
                  <a:cubicBezTo>
                    <a:pt x="2669" y="780"/>
                    <a:pt x="2665" y="769"/>
                    <a:pt x="2665" y="769"/>
                  </a:cubicBezTo>
                  <a:cubicBezTo>
                    <a:pt x="2681" y="754"/>
                    <a:pt x="2681" y="754"/>
                    <a:pt x="2681" y="754"/>
                  </a:cubicBezTo>
                  <a:cubicBezTo>
                    <a:pt x="2681" y="754"/>
                    <a:pt x="2668" y="766"/>
                    <a:pt x="2677" y="769"/>
                  </a:cubicBezTo>
                  <a:cubicBezTo>
                    <a:pt x="2687" y="772"/>
                    <a:pt x="2721" y="772"/>
                    <a:pt x="2721" y="772"/>
                  </a:cubicBezTo>
                  <a:cubicBezTo>
                    <a:pt x="2721" y="772"/>
                    <a:pt x="2707" y="778"/>
                    <a:pt x="2708" y="785"/>
                  </a:cubicBezTo>
                  <a:cubicBezTo>
                    <a:pt x="2709" y="792"/>
                    <a:pt x="2731" y="796"/>
                    <a:pt x="2731" y="796"/>
                  </a:cubicBezTo>
                  <a:cubicBezTo>
                    <a:pt x="2731" y="796"/>
                    <a:pt x="2717" y="805"/>
                    <a:pt x="2728" y="812"/>
                  </a:cubicBezTo>
                  <a:cubicBezTo>
                    <a:pt x="2739" y="818"/>
                    <a:pt x="2763" y="818"/>
                    <a:pt x="2763" y="818"/>
                  </a:cubicBezTo>
                  <a:cubicBezTo>
                    <a:pt x="2732" y="829"/>
                    <a:pt x="2732" y="829"/>
                    <a:pt x="2732" y="829"/>
                  </a:cubicBezTo>
                  <a:cubicBezTo>
                    <a:pt x="2732" y="829"/>
                    <a:pt x="2737" y="850"/>
                    <a:pt x="2743" y="849"/>
                  </a:cubicBezTo>
                  <a:cubicBezTo>
                    <a:pt x="2748" y="848"/>
                    <a:pt x="2759" y="841"/>
                    <a:pt x="2759" y="841"/>
                  </a:cubicBezTo>
                  <a:cubicBezTo>
                    <a:pt x="2759" y="841"/>
                    <a:pt x="2761" y="856"/>
                    <a:pt x="2771" y="857"/>
                  </a:cubicBezTo>
                  <a:cubicBezTo>
                    <a:pt x="2780" y="858"/>
                    <a:pt x="2801" y="861"/>
                    <a:pt x="2801" y="861"/>
                  </a:cubicBezTo>
                  <a:cubicBezTo>
                    <a:pt x="2801" y="861"/>
                    <a:pt x="2800" y="878"/>
                    <a:pt x="2816" y="882"/>
                  </a:cubicBezTo>
                  <a:cubicBezTo>
                    <a:pt x="2832" y="886"/>
                    <a:pt x="2843" y="878"/>
                    <a:pt x="2857" y="886"/>
                  </a:cubicBezTo>
                  <a:cubicBezTo>
                    <a:pt x="2872" y="894"/>
                    <a:pt x="2908" y="909"/>
                    <a:pt x="2908" y="909"/>
                  </a:cubicBezTo>
                  <a:cubicBezTo>
                    <a:pt x="2908" y="909"/>
                    <a:pt x="2919" y="889"/>
                    <a:pt x="2907" y="876"/>
                  </a:cubicBezTo>
                  <a:cubicBezTo>
                    <a:pt x="2895" y="862"/>
                    <a:pt x="2875" y="850"/>
                    <a:pt x="2875" y="850"/>
                  </a:cubicBezTo>
                  <a:cubicBezTo>
                    <a:pt x="2875" y="850"/>
                    <a:pt x="2855" y="825"/>
                    <a:pt x="2860" y="817"/>
                  </a:cubicBezTo>
                  <a:cubicBezTo>
                    <a:pt x="2865" y="809"/>
                    <a:pt x="2888" y="832"/>
                    <a:pt x="2888" y="832"/>
                  </a:cubicBezTo>
                  <a:cubicBezTo>
                    <a:pt x="2888" y="812"/>
                    <a:pt x="2888" y="812"/>
                    <a:pt x="2888" y="812"/>
                  </a:cubicBezTo>
                  <a:cubicBezTo>
                    <a:pt x="2888" y="812"/>
                    <a:pt x="2897" y="837"/>
                    <a:pt x="2907" y="837"/>
                  </a:cubicBezTo>
                  <a:cubicBezTo>
                    <a:pt x="2916" y="837"/>
                    <a:pt x="2931" y="833"/>
                    <a:pt x="2931" y="833"/>
                  </a:cubicBezTo>
                  <a:cubicBezTo>
                    <a:pt x="2931" y="833"/>
                    <a:pt x="2927" y="854"/>
                    <a:pt x="2937" y="853"/>
                  </a:cubicBezTo>
                  <a:cubicBezTo>
                    <a:pt x="2948" y="852"/>
                    <a:pt x="2952" y="864"/>
                    <a:pt x="2952" y="864"/>
                  </a:cubicBezTo>
                  <a:cubicBezTo>
                    <a:pt x="2965" y="849"/>
                    <a:pt x="2965" y="849"/>
                    <a:pt x="2965" y="849"/>
                  </a:cubicBezTo>
                  <a:cubicBezTo>
                    <a:pt x="2965" y="849"/>
                    <a:pt x="2975" y="861"/>
                    <a:pt x="2980" y="858"/>
                  </a:cubicBezTo>
                  <a:cubicBezTo>
                    <a:pt x="2985" y="856"/>
                    <a:pt x="2979" y="840"/>
                    <a:pt x="2979" y="840"/>
                  </a:cubicBezTo>
                  <a:cubicBezTo>
                    <a:pt x="2989" y="809"/>
                    <a:pt x="2989" y="809"/>
                    <a:pt x="2989" y="809"/>
                  </a:cubicBezTo>
                  <a:cubicBezTo>
                    <a:pt x="2989" y="809"/>
                    <a:pt x="2989" y="836"/>
                    <a:pt x="2997" y="836"/>
                  </a:cubicBezTo>
                  <a:cubicBezTo>
                    <a:pt x="3005" y="836"/>
                    <a:pt x="3009" y="808"/>
                    <a:pt x="3009" y="808"/>
                  </a:cubicBezTo>
                  <a:cubicBezTo>
                    <a:pt x="2995" y="792"/>
                    <a:pt x="2995" y="792"/>
                    <a:pt x="2995" y="792"/>
                  </a:cubicBezTo>
                  <a:cubicBezTo>
                    <a:pt x="3009" y="788"/>
                    <a:pt x="3009" y="788"/>
                    <a:pt x="3009" y="788"/>
                  </a:cubicBezTo>
                  <a:cubicBezTo>
                    <a:pt x="2997" y="778"/>
                    <a:pt x="2997" y="778"/>
                    <a:pt x="2997" y="778"/>
                  </a:cubicBezTo>
                  <a:cubicBezTo>
                    <a:pt x="2999" y="765"/>
                    <a:pt x="2999" y="765"/>
                    <a:pt x="2999" y="765"/>
                  </a:cubicBezTo>
                  <a:cubicBezTo>
                    <a:pt x="2979" y="768"/>
                    <a:pt x="2979" y="768"/>
                    <a:pt x="2979" y="768"/>
                  </a:cubicBezTo>
                  <a:cubicBezTo>
                    <a:pt x="2979" y="757"/>
                    <a:pt x="2979" y="757"/>
                    <a:pt x="2979" y="757"/>
                  </a:cubicBezTo>
                  <a:cubicBezTo>
                    <a:pt x="2964" y="757"/>
                    <a:pt x="2964" y="757"/>
                    <a:pt x="2964" y="757"/>
                  </a:cubicBezTo>
                  <a:cubicBezTo>
                    <a:pt x="2963" y="724"/>
                    <a:pt x="2963" y="724"/>
                    <a:pt x="2963" y="724"/>
                  </a:cubicBezTo>
                  <a:cubicBezTo>
                    <a:pt x="2941" y="725"/>
                    <a:pt x="2941" y="725"/>
                    <a:pt x="2941" y="725"/>
                  </a:cubicBezTo>
                  <a:cubicBezTo>
                    <a:pt x="2941" y="725"/>
                    <a:pt x="2929" y="705"/>
                    <a:pt x="2941" y="702"/>
                  </a:cubicBezTo>
                  <a:cubicBezTo>
                    <a:pt x="2953" y="700"/>
                    <a:pt x="2961" y="717"/>
                    <a:pt x="2969" y="714"/>
                  </a:cubicBezTo>
                  <a:cubicBezTo>
                    <a:pt x="2977" y="712"/>
                    <a:pt x="2976" y="686"/>
                    <a:pt x="2976" y="686"/>
                  </a:cubicBezTo>
                  <a:cubicBezTo>
                    <a:pt x="2991" y="690"/>
                    <a:pt x="2991" y="690"/>
                    <a:pt x="2991" y="690"/>
                  </a:cubicBezTo>
                  <a:cubicBezTo>
                    <a:pt x="3016" y="678"/>
                    <a:pt x="3016" y="678"/>
                    <a:pt x="3016" y="678"/>
                  </a:cubicBezTo>
                  <a:cubicBezTo>
                    <a:pt x="3016" y="678"/>
                    <a:pt x="3017" y="710"/>
                    <a:pt x="3024" y="704"/>
                  </a:cubicBezTo>
                  <a:cubicBezTo>
                    <a:pt x="3031" y="697"/>
                    <a:pt x="3044" y="697"/>
                    <a:pt x="3044" y="697"/>
                  </a:cubicBezTo>
                  <a:cubicBezTo>
                    <a:pt x="3036" y="709"/>
                    <a:pt x="3036" y="709"/>
                    <a:pt x="3036" y="709"/>
                  </a:cubicBezTo>
                  <a:cubicBezTo>
                    <a:pt x="3051" y="710"/>
                    <a:pt x="3051" y="710"/>
                    <a:pt x="3051" y="710"/>
                  </a:cubicBezTo>
                  <a:cubicBezTo>
                    <a:pt x="3044" y="729"/>
                    <a:pt x="3044" y="729"/>
                    <a:pt x="3044" y="729"/>
                  </a:cubicBezTo>
                  <a:cubicBezTo>
                    <a:pt x="3044" y="729"/>
                    <a:pt x="3067" y="770"/>
                    <a:pt x="3083" y="760"/>
                  </a:cubicBezTo>
                  <a:cubicBezTo>
                    <a:pt x="3099" y="749"/>
                    <a:pt x="3101" y="724"/>
                    <a:pt x="3101" y="724"/>
                  </a:cubicBezTo>
                  <a:cubicBezTo>
                    <a:pt x="3108" y="714"/>
                    <a:pt x="3108" y="714"/>
                    <a:pt x="3108" y="714"/>
                  </a:cubicBezTo>
                  <a:cubicBezTo>
                    <a:pt x="3108" y="714"/>
                    <a:pt x="3127" y="730"/>
                    <a:pt x="3140" y="721"/>
                  </a:cubicBezTo>
                  <a:cubicBezTo>
                    <a:pt x="3153" y="712"/>
                    <a:pt x="3152" y="694"/>
                    <a:pt x="3152" y="694"/>
                  </a:cubicBezTo>
                  <a:cubicBezTo>
                    <a:pt x="3152" y="694"/>
                    <a:pt x="3187" y="704"/>
                    <a:pt x="3201" y="688"/>
                  </a:cubicBezTo>
                  <a:cubicBezTo>
                    <a:pt x="3216" y="672"/>
                    <a:pt x="3177" y="661"/>
                    <a:pt x="3172" y="665"/>
                  </a:cubicBezTo>
                  <a:close/>
                  <a:moveTo>
                    <a:pt x="2983" y="872"/>
                  </a:moveTo>
                  <a:cubicBezTo>
                    <a:pt x="2963" y="876"/>
                    <a:pt x="2963" y="876"/>
                    <a:pt x="2963" y="876"/>
                  </a:cubicBezTo>
                  <a:cubicBezTo>
                    <a:pt x="2960" y="885"/>
                    <a:pt x="2960" y="885"/>
                    <a:pt x="2960" y="885"/>
                  </a:cubicBezTo>
                  <a:cubicBezTo>
                    <a:pt x="2983" y="882"/>
                    <a:pt x="2983" y="882"/>
                    <a:pt x="2983" y="882"/>
                  </a:cubicBezTo>
                  <a:lnTo>
                    <a:pt x="2983" y="872"/>
                  </a:lnTo>
                  <a:close/>
                  <a:moveTo>
                    <a:pt x="2758" y="861"/>
                  </a:moveTo>
                  <a:cubicBezTo>
                    <a:pt x="2746" y="862"/>
                    <a:pt x="2747" y="878"/>
                    <a:pt x="2761" y="878"/>
                  </a:cubicBezTo>
                  <a:cubicBezTo>
                    <a:pt x="2785" y="878"/>
                    <a:pt x="2771" y="859"/>
                    <a:pt x="2758" y="861"/>
                  </a:cubicBezTo>
                  <a:close/>
                  <a:moveTo>
                    <a:pt x="2555" y="832"/>
                  </a:moveTo>
                  <a:cubicBezTo>
                    <a:pt x="2565" y="822"/>
                    <a:pt x="2540" y="818"/>
                    <a:pt x="2540" y="818"/>
                  </a:cubicBezTo>
                  <a:cubicBezTo>
                    <a:pt x="2540" y="818"/>
                    <a:pt x="2540" y="847"/>
                    <a:pt x="2555" y="832"/>
                  </a:cubicBezTo>
                  <a:close/>
                  <a:moveTo>
                    <a:pt x="2800" y="969"/>
                  </a:moveTo>
                  <a:cubicBezTo>
                    <a:pt x="2777" y="971"/>
                    <a:pt x="2777" y="971"/>
                    <a:pt x="2777" y="971"/>
                  </a:cubicBezTo>
                  <a:cubicBezTo>
                    <a:pt x="2801" y="987"/>
                    <a:pt x="2801" y="987"/>
                    <a:pt x="2801" y="987"/>
                  </a:cubicBezTo>
                  <a:cubicBezTo>
                    <a:pt x="2820" y="978"/>
                    <a:pt x="2800" y="969"/>
                    <a:pt x="2800" y="969"/>
                  </a:cubicBezTo>
                  <a:close/>
                  <a:moveTo>
                    <a:pt x="2779" y="582"/>
                  </a:moveTo>
                  <a:cubicBezTo>
                    <a:pt x="2752" y="576"/>
                    <a:pt x="2779" y="594"/>
                    <a:pt x="2779" y="594"/>
                  </a:cubicBezTo>
                  <a:cubicBezTo>
                    <a:pt x="2795" y="592"/>
                    <a:pt x="2807" y="588"/>
                    <a:pt x="2779" y="582"/>
                  </a:cubicBezTo>
                  <a:close/>
                  <a:moveTo>
                    <a:pt x="2779" y="626"/>
                  </a:moveTo>
                  <a:cubicBezTo>
                    <a:pt x="2821" y="624"/>
                    <a:pt x="2821" y="624"/>
                    <a:pt x="2821" y="624"/>
                  </a:cubicBezTo>
                  <a:cubicBezTo>
                    <a:pt x="2821" y="613"/>
                    <a:pt x="2821" y="613"/>
                    <a:pt x="2821" y="613"/>
                  </a:cubicBezTo>
                  <a:cubicBezTo>
                    <a:pt x="2791" y="615"/>
                    <a:pt x="2791" y="615"/>
                    <a:pt x="2791" y="615"/>
                  </a:cubicBezTo>
                  <a:lnTo>
                    <a:pt x="2779" y="626"/>
                  </a:lnTo>
                  <a:close/>
                  <a:moveTo>
                    <a:pt x="3715" y="26"/>
                  </a:moveTo>
                  <a:cubicBezTo>
                    <a:pt x="3713" y="23"/>
                    <a:pt x="3658" y="28"/>
                    <a:pt x="3658" y="28"/>
                  </a:cubicBezTo>
                  <a:cubicBezTo>
                    <a:pt x="3660" y="18"/>
                    <a:pt x="3660" y="18"/>
                    <a:pt x="3660" y="18"/>
                  </a:cubicBezTo>
                  <a:cubicBezTo>
                    <a:pt x="3660" y="18"/>
                    <a:pt x="3625" y="10"/>
                    <a:pt x="3612" y="10"/>
                  </a:cubicBezTo>
                  <a:cubicBezTo>
                    <a:pt x="3599" y="10"/>
                    <a:pt x="3527" y="25"/>
                    <a:pt x="3527" y="25"/>
                  </a:cubicBezTo>
                  <a:cubicBezTo>
                    <a:pt x="3560" y="10"/>
                    <a:pt x="3560" y="10"/>
                    <a:pt x="3560" y="10"/>
                  </a:cubicBezTo>
                  <a:cubicBezTo>
                    <a:pt x="3515" y="12"/>
                    <a:pt x="3515" y="12"/>
                    <a:pt x="3515" y="12"/>
                  </a:cubicBezTo>
                  <a:cubicBezTo>
                    <a:pt x="3515" y="12"/>
                    <a:pt x="3479" y="0"/>
                    <a:pt x="3469" y="2"/>
                  </a:cubicBezTo>
                  <a:cubicBezTo>
                    <a:pt x="3458" y="4"/>
                    <a:pt x="3453" y="15"/>
                    <a:pt x="3453" y="15"/>
                  </a:cubicBezTo>
                  <a:cubicBezTo>
                    <a:pt x="3453" y="15"/>
                    <a:pt x="3427" y="3"/>
                    <a:pt x="3418" y="3"/>
                  </a:cubicBezTo>
                  <a:cubicBezTo>
                    <a:pt x="3409" y="3"/>
                    <a:pt x="3389" y="18"/>
                    <a:pt x="3389" y="18"/>
                  </a:cubicBezTo>
                  <a:cubicBezTo>
                    <a:pt x="3363" y="10"/>
                    <a:pt x="3363" y="10"/>
                    <a:pt x="3363" y="10"/>
                  </a:cubicBezTo>
                  <a:cubicBezTo>
                    <a:pt x="3290" y="7"/>
                    <a:pt x="3290" y="7"/>
                    <a:pt x="3290" y="7"/>
                  </a:cubicBezTo>
                  <a:cubicBezTo>
                    <a:pt x="3308" y="25"/>
                    <a:pt x="3308" y="25"/>
                    <a:pt x="3308" y="25"/>
                  </a:cubicBezTo>
                  <a:cubicBezTo>
                    <a:pt x="3266" y="11"/>
                    <a:pt x="3266" y="11"/>
                    <a:pt x="3266" y="11"/>
                  </a:cubicBezTo>
                  <a:cubicBezTo>
                    <a:pt x="3225" y="18"/>
                    <a:pt x="3225" y="18"/>
                    <a:pt x="3225" y="18"/>
                  </a:cubicBezTo>
                  <a:cubicBezTo>
                    <a:pt x="3225" y="18"/>
                    <a:pt x="3195" y="12"/>
                    <a:pt x="3179" y="12"/>
                  </a:cubicBezTo>
                  <a:cubicBezTo>
                    <a:pt x="3163" y="12"/>
                    <a:pt x="3114" y="24"/>
                    <a:pt x="3114" y="24"/>
                  </a:cubicBezTo>
                  <a:cubicBezTo>
                    <a:pt x="3172" y="42"/>
                    <a:pt x="3172" y="42"/>
                    <a:pt x="3172" y="42"/>
                  </a:cubicBezTo>
                  <a:cubicBezTo>
                    <a:pt x="3114" y="34"/>
                    <a:pt x="3114" y="34"/>
                    <a:pt x="3114" y="34"/>
                  </a:cubicBezTo>
                  <a:cubicBezTo>
                    <a:pt x="3114" y="34"/>
                    <a:pt x="3059" y="23"/>
                    <a:pt x="3034" y="25"/>
                  </a:cubicBezTo>
                  <a:cubicBezTo>
                    <a:pt x="3010" y="28"/>
                    <a:pt x="3018" y="42"/>
                    <a:pt x="3018" y="42"/>
                  </a:cubicBezTo>
                  <a:cubicBezTo>
                    <a:pt x="3018" y="42"/>
                    <a:pt x="2956" y="36"/>
                    <a:pt x="2943" y="36"/>
                  </a:cubicBezTo>
                  <a:cubicBezTo>
                    <a:pt x="2930" y="36"/>
                    <a:pt x="2830" y="46"/>
                    <a:pt x="2826" y="48"/>
                  </a:cubicBezTo>
                  <a:cubicBezTo>
                    <a:pt x="2823" y="50"/>
                    <a:pt x="2849" y="56"/>
                    <a:pt x="2849" y="56"/>
                  </a:cubicBezTo>
                  <a:cubicBezTo>
                    <a:pt x="2905" y="59"/>
                    <a:pt x="2905" y="59"/>
                    <a:pt x="2905" y="59"/>
                  </a:cubicBezTo>
                  <a:cubicBezTo>
                    <a:pt x="2850" y="67"/>
                    <a:pt x="2850" y="67"/>
                    <a:pt x="2850" y="67"/>
                  </a:cubicBezTo>
                  <a:cubicBezTo>
                    <a:pt x="2850" y="67"/>
                    <a:pt x="2870" y="76"/>
                    <a:pt x="2884" y="76"/>
                  </a:cubicBezTo>
                  <a:cubicBezTo>
                    <a:pt x="2898" y="76"/>
                    <a:pt x="2935" y="70"/>
                    <a:pt x="2935" y="70"/>
                  </a:cubicBezTo>
                  <a:cubicBezTo>
                    <a:pt x="2935" y="70"/>
                    <a:pt x="2960" y="62"/>
                    <a:pt x="2978" y="62"/>
                  </a:cubicBezTo>
                  <a:cubicBezTo>
                    <a:pt x="2997" y="62"/>
                    <a:pt x="3040" y="71"/>
                    <a:pt x="3040" y="71"/>
                  </a:cubicBezTo>
                  <a:cubicBezTo>
                    <a:pt x="3040" y="71"/>
                    <a:pt x="2989" y="72"/>
                    <a:pt x="2977" y="73"/>
                  </a:cubicBezTo>
                  <a:cubicBezTo>
                    <a:pt x="2965" y="74"/>
                    <a:pt x="2930" y="87"/>
                    <a:pt x="2930" y="87"/>
                  </a:cubicBezTo>
                  <a:cubicBezTo>
                    <a:pt x="2930" y="87"/>
                    <a:pt x="2958" y="87"/>
                    <a:pt x="2979" y="89"/>
                  </a:cubicBezTo>
                  <a:cubicBezTo>
                    <a:pt x="3001" y="91"/>
                    <a:pt x="3006" y="83"/>
                    <a:pt x="3006" y="83"/>
                  </a:cubicBezTo>
                  <a:cubicBezTo>
                    <a:pt x="3050" y="83"/>
                    <a:pt x="3050" y="83"/>
                    <a:pt x="3050" y="83"/>
                  </a:cubicBezTo>
                  <a:cubicBezTo>
                    <a:pt x="3050" y="83"/>
                    <a:pt x="3064" y="84"/>
                    <a:pt x="3081" y="84"/>
                  </a:cubicBezTo>
                  <a:cubicBezTo>
                    <a:pt x="3098" y="84"/>
                    <a:pt x="3138" y="73"/>
                    <a:pt x="3142" y="70"/>
                  </a:cubicBezTo>
                  <a:cubicBezTo>
                    <a:pt x="3147" y="66"/>
                    <a:pt x="3173" y="63"/>
                    <a:pt x="3186" y="59"/>
                  </a:cubicBezTo>
                  <a:cubicBezTo>
                    <a:pt x="3199" y="54"/>
                    <a:pt x="3220" y="59"/>
                    <a:pt x="3220" y="59"/>
                  </a:cubicBezTo>
                  <a:cubicBezTo>
                    <a:pt x="3162" y="76"/>
                    <a:pt x="3162" y="76"/>
                    <a:pt x="3162" y="76"/>
                  </a:cubicBezTo>
                  <a:cubicBezTo>
                    <a:pt x="3185" y="77"/>
                    <a:pt x="3185" y="77"/>
                    <a:pt x="3185" y="77"/>
                  </a:cubicBezTo>
                  <a:cubicBezTo>
                    <a:pt x="3153" y="87"/>
                    <a:pt x="3153" y="87"/>
                    <a:pt x="3153" y="87"/>
                  </a:cubicBezTo>
                  <a:cubicBezTo>
                    <a:pt x="3153" y="87"/>
                    <a:pt x="3040" y="92"/>
                    <a:pt x="3027" y="92"/>
                  </a:cubicBezTo>
                  <a:cubicBezTo>
                    <a:pt x="3014" y="92"/>
                    <a:pt x="3014" y="104"/>
                    <a:pt x="3014" y="104"/>
                  </a:cubicBezTo>
                  <a:cubicBezTo>
                    <a:pt x="3065" y="119"/>
                    <a:pt x="3065" y="119"/>
                    <a:pt x="3065" y="119"/>
                  </a:cubicBezTo>
                  <a:cubicBezTo>
                    <a:pt x="3065" y="119"/>
                    <a:pt x="3045" y="125"/>
                    <a:pt x="3033" y="125"/>
                  </a:cubicBezTo>
                  <a:cubicBezTo>
                    <a:pt x="3022" y="125"/>
                    <a:pt x="2974" y="99"/>
                    <a:pt x="2974" y="99"/>
                  </a:cubicBezTo>
                  <a:cubicBezTo>
                    <a:pt x="2974" y="99"/>
                    <a:pt x="2925" y="100"/>
                    <a:pt x="2912" y="100"/>
                  </a:cubicBezTo>
                  <a:cubicBezTo>
                    <a:pt x="2899" y="100"/>
                    <a:pt x="2891" y="115"/>
                    <a:pt x="2891" y="115"/>
                  </a:cubicBezTo>
                  <a:cubicBezTo>
                    <a:pt x="2912" y="126"/>
                    <a:pt x="2912" y="126"/>
                    <a:pt x="2912" y="126"/>
                  </a:cubicBezTo>
                  <a:cubicBezTo>
                    <a:pt x="2912" y="126"/>
                    <a:pt x="2923" y="142"/>
                    <a:pt x="2940" y="145"/>
                  </a:cubicBezTo>
                  <a:cubicBezTo>
                    <a:pt x="2956" y="148"/>
                    <a:pt x="2989" y="144"/>
                    <a:pt x="2989" y="144"/>
                  </a:cubicBezTo>
                  <a:cubicBezTo>
                    <a:pt x="2989" y="144"/>
                    <a:pt x="2981" y="153"/>
                    <a:pt x="2964" y="155"/>
                  </a:cubicBezTo>
                  <a:cubicBezTo>
                    <a:pt x="2948" y="157"/>
                    <a:pt x="2917" y="151"/>
                    <a:pt x="2909" y="149"/>
                  </a:cubicBezTo>
                  <a:cubicBezTo>
                    <a:pt x="2902" y="147"/>
                    <a:pt x="2846" y="157"/>
                    <a:pt x="2828" y="157"/>
                  </a:cubicBezTo>
                  <a:cubicBezTo>
                    <a:pt x="2809" y="157"/>
                    <a:pt x="2774" y="182"/>
                    <a:pt x="2774" y="182"/>
                  </a:cubicBezTo>
                  <a:cubicBezTo>
                    <a:pt x="2823" y="174"/>
                    <a:pt x="2823" y="174"/>
                    <a:pt x="2823" y="174"/>
                  </a:cubicBezTo>
                  <a:cubicBezTo>
                    <a:pt x="2821" y="186"/>
                    <a:pt x="2821" y="186"/>
                    <a:pt x="2821" y="186"/>
                  </a:cubicBezTo>
                  <a:cubicBezTo>
                    <a:pt x="2863" y="174"/>
                    <a:pt x="2863" y="174"/>
                    <a:pt x="2863" y="174"/>
                  </a:cubicBezTo>
                  <a:cubicBezTo>
                    <a:pt x="2816" y="192"/>
                    <a:pt x="2816" y="192"/>
                    <a:pt x="2816" y="192"/>
                  </a:cubicBezTo>
                  <a:cubicBezTo>
                    <a:pt x="2816" y="192"/>
                    <a:pt x="2824" y="203"/>
                    <a:pt x="2840" y="203"/>
                  </a:cubicBezTo>
                  <a:cubicBezTo>
                    <a:pt x="2857" y="203"/>
                    <a:pt x="2902" y="186"/>
                    <a:pt x="2902" y="186"/>
                  </a:cubicBezTo>
                  <a:cubicBezTo>
                    <a:pt x="2834" y="212"/>
                    <a:pt x="2834" y="212"/>
                    <a:pt x="2834" y="212"/>
                  </a:cubicBezTo>
                  <a:cubicBezTo>
                    <a:pt x="2789" y="209"/>
                    <a:pt x="2789" y="209"/>
                    <a:pt x="2789" y="209"/>
                  </a:cubicBezTo>
                  <a:cubicBezTo>
                    <a:pt x="2780" y="192"/>
                    <a:pt x="2780" y="192"/>
                    <a:pt x="2780" y="192"/>
                  </a:cubicBezTo>
                  <a:cubicBezTo>
                    <a:pt x="2780" y="192"/>
                    <a:pt x="2747" y="189"/>
                    <a:pt x="2737" y="191"/>
                  </a:cubicBezTo>
                  <a:cubicBezTo>
                    <a:pt x="2727" y="193"/>
                    <a:pt x="2741" y="218"/>
                    <a:pt x="2741" y="218"/>
                  </a:cubicBezTo>
                  <a:cubicBezTo>
                    <a:pt x="2741" y="218"/>
                    <a:pt x="2697" y="222"/>
                    <a:pt x="2691" y="222"/>
                  </a:cubicBezTo>
                  <a:cubicBezTo>
                    <a:pt x="2684" y="222"/>
                    <a:pt x="2654" y="237"/>
                    <a:pt x="2634" y="239"/>
                  </a:cubicBezTo>
                  <a:cubicBezTo>
                    <a:pt x="2622" y="240"/>
                    <a:pt x="2613" y="241"/>
                    <a:pt x="2610" y="241"/>
                  </a:cubicBezTo>
                  <a:cubicBezTo>
                    <a:pt x="2607" y="241"/>
                    <a:pt x="2626" y="247"/>
                    <a:pt x="2641" y="247"/>
                  </a:cubicBezTo>
                  <a:cubicBezTo>
                    <a:pt x="2656" y="247"/>
                    <a:pt x="2663" y="240"/>
                    <a:pt x="2663" y="240"/>
                  </a:cubicBezTo>
                  <a:cubicBezTo>
                    <a:pt x="2655" y="252"/>
                    <a:pt x="2655" y="252"/>
                    <a:pt x="2655" y="252"/>
                  </a:cubicBezTo>
                  <a:cubicBezTo>
                    <a:pt x="2680" y="247"/>
                    <a:pt x="2680" y="247"/>
                    <a:pt x="2680" y="247"/>
                  </a:cubicBezTo>
                  <a:cubicBezTo>
                    <a:pt x="2695" y="240"/>
                    <a:pt x="2695" y="240"/>
                    <a:pt x="2695" y="240"/>
                  </a:cubicBezTo>
                  <a:cubicBezTo>
                    <a:pt x="2695" y="248"/>
                    <a:pt x="2695" y="248"/>
                    <a:pt x="2695" y="248"/>
                  </a:cubicBezTo>
                  <a:cubicBezTo>
                    <a:pt x="2712" y="246"/>
                    <a:pt x="2712" y="246"/>
                    <a:pt x="2712" y="246"/>
                  </a:cubicBezTo>
                  <a:cubicBezTo>
                    <a:pt x="2728" y="244"/>
                    <a:pt x="2728" y="244"/>
                    <a:pt x="2728" y="244"/>
                  </a:cubicBezTo>
                  <a:cubicBezTo>
                    <a:pt x="2728" y="244"/>
                    <a:pt x="2729" y="253"/>
                    <a:pt x="2740" y="254"/>
                  </a:cubicBezTo>
                  <a:cubicBezTo>
                    <a:pt x="2751" y="255"/>
                    <a:pt x="2773" y="241"/>
                    <a:pt x="2773" y="241"/>
                  </a:cubicBezTo>
                  <a:cubicBezTo>
                    <a:pt x="2778" y="250"/>
                    <a:pt x="2778" y="250"/>
                    <a:pt x="2778" y="250"/>
                  </a:cubicBezTo>
                  <a:cubicBezTo>
                    <a:pt x="2796" y="240"/>
                    <a:pt x="2796" y="240"/>
                    <a:pt x="2796" y="240"/>
                  </a:cubicBezTo>
                  <a:cubicBezTo>
                    <a:pt x="2796" y="240"/>
                    <a:pt x="2802" y="248"/>
                    <a:pt x="2810" y="251"/>
                  </a:cubicBezTo>
                  <a:cubicBezTo>
                    <a:pt x="2819" y="253"/>
                    <a:pt x="2828" y="242"/>
                    <a:pt x="2828" y="242"/>
                  </a:cubicBezTo>
                  <a:cubicBezTo>
                    <a:pt x="2828" y="242"/>
                    <a:pt x="2837" y="250"/>
                    <a:pt x="2850" y="250"/>
                  </a:cubicBezTo>
                  <a:cubicBezTo>
                    <a:pt x="2863" y="250"/>
                    <a:pt x="2853" y="238"/>
                    <a:pt x="2853" y="238"/>
                  </a:cubicBezTo>
                  <a:cubicBezTo>
                    <a:pt x="2891" y="252"/>
                    <a:pt x="2891" y="252"/>
                    <a:pt x="2891" y="252"/>
                  </a:cubicBezTo>
                  <a:cubicBezTo>
                    <a:pt x="2891" y="252"/>
                    <a:pt x="2898" y="261"/>
                    <a:pt x="2902" y="261"/>
                  </a:cubicBezTo>
                  <a:cubicBezTo>
                    <a:pt x="2906" y="261"/>
                    <a:pt x="2964" y="248"/>
                    <a:pt x="2975" y="248"/>
                  </a:cubicBezTo>
                  <a:cubicBezTo>
                    <a:pt x="2986" y="248"/>
                    <a:pt x="3011" y="238"/>
                    <a:pt x="3015" y="231"/>
                  </a:cubicBezTo>
                  <a:cubicBezTo>
                    <a:pt x="3019" y="225"/>
                    <a:pt x="2973" y="230"/>
                    <a:pt x="2973" y="230"/>
                  </a:cubicBezTo>
                  <a:cubicBezTo>
                    <a:pt x="2973" y="230"/>
                    <a:pt x="2982" y="223"/>
                    <a:pt x="2975" y="220"/>
                  </a:cubicBezTo>
                  <a:cubicBezTo>
                    <a:pt x="2969" y="218"/>
                    <a:pt x="2943" y="220"/>
                    <a:pt x="2943" y="220"/>
                  </a:cubicBezTo>
                  <a:cubicBezTo>
                    <a:pt x="2905" y="214"/>
                    <a:pt x="2905" y="214"/>
                    <a:pt x="2905" y="214"/>
                  </a:cubicBezTo>
                  <a:cubicBezTo>
                    <a:pt x="2917" y="201"/>
                    <a:pt x="2917" y="201"/>
                    <a:pt x="2917" y="201"/>
                  </a:cubicBezTo>
                  <a:cubicBezTo>
                    <a:pt x="2959" y="215"/>
                    <a:pt x="2959" y="215"/>
                    <a:pt x="2959" y="215"/>
                  </a:cubicBezTo>
                  <a:cubicBezTo>
                    <a:pt x="2959" y="215"/>
                    <a:pt x="3014" y="212"/>
                    <a:pt x="3034" y="211"/>
                  </a:cubicBezTo>
                  <a:cubicBezTo>
                    <a:pt x="3055" y="210"/>
                    <a:pt x="3050" y="192"/>
                    <a:pt x="3050" y="192"/>
                  </a:cubicBezTo>
                  <a:cubicBezTo>
                    <a:pt x="3050" y="192"/>
                    <a:pt x="3075" y="187"/>
                    <a:pt x="3094" y="187"/>
                  </a:cubicBezTo>
                  <a:cubicBezTo>
                    <a:pt x="3112" y="187"/>
                    <a:pt x="3150" y="178"/>
                    <a:pt x="3150" y="178"/>
                  </a:cubicBezTo>
                  <a:cubicBezTo>
                    <a:pt x="3132" y="167"/>
                    <a:pt x="3132" y="167"/>
                    <a:pt x="3132" y="167"/>
                  </a:cubicBezTo>
                  <a:cubicBezTo>
                    <a:pt x="3132" y="167"/>
                    <a:pt x="3155" y="167"/>
                    <a:pt x="3180" y="161"/>
                  </a:cubicBezTo>
                  <a:cubicBezTo>
                    <a:pt x="3205" y="156"/>
                    <a:pt x="3147" y="146"/>
                    <a:pt x="3147" y="146"/>
                  </a:cubicBezTo>
                  <a:cubicBezTo>
                    <a:pt x="3147" y="146"/>
                    <a:pt x="3115" y="147"/>
                    <a:pt x="3104" y="143"/>
                  </a:cubicBezTo>
                  <a:cubicBezTo>
                    <a:pt x="3094" y="139"/>
                    <a:pt x="3152" y="125"/>
                    <a:pt x="3155" y="126"/>
                  </a:cubicBezTo>
                  <a:cubicBezTo>
                    <a:pt x="3158" y="127"/>
                    <a:pt x="3200" y="131"/>
                    <a:pt x="3200" y="131"/>
                  </a:cubicBezTo>
                  <a:cubicBezTo>
                    <a:pt x="3200" y="131"/>
                    <a:pt x="3248" y="129"/>
                    <a:pt x="3263" y="126"/>
                  </a:cubicBezTo>
                  <a:cubicBezTo>
                    <a:pt x="3278" y="122"/>
                    <a:pt x="3229" y="120"/>
                    <a:pt x="3247" y="113"/>
                  </a:cubicBezTo>
                  <a:cubicBezTo>
                    <a:pt x="3264" y="105"/>
                    <a:pt x="3296" y="119"/>
                    <a:pt x="3316" y="119"/>
                  </a:cubicBezTo>
                  <a:cubicBezTo>
                    <a:pt x="3335" y="119"/>
                    <a:pt x="3328" y="102"/>
                    <a:pt x="3328" y="102"/>
                  </a:cubicBezTo>
                  <a:cubicBezTo>
                    <a:pt x="3376" y="105"/>
                    <a:pt x="3376" y="105"/>
                    <a:pt x="3376" y="105"/>
                  </a:cubicBezTo>
                  <a:cubicBezTo>
                    <a:pt x="3379" y="91"/>
                    <a:pt x="3379" y="91"/>
                    <a:pt x="3379" y="91"/>
                  </a:cubicBezTo>
                  <a:cubicBezTo>
                    <a:pt x="3379" y="91"/>
                    <a:pt x="3392" y="95"/>
                    <a:pt x="3401" y="95"/>
                  </a:cubicBezTo>
                  <a:cubicBezTo>
                    <a:pt x="3409" y="95"/>
                    <a:pt x="3440" y="83"/>
                    <a:pt x="3440" y="83"/>
                  </a:cubicBezTo>
                  <a:cubicBezTo>
                    <a:pt x="3440" y="83"/>
                    <a:pt x="3499" y="73"/>
                    <a:pt x="3531" y="67"/>
                  </a:cubicBezTo>
                  <a:cubicBezTo>
                    <a:pt x="3564" y="62"/>
                    <a:pt x="3567" y="57"/>
                    <a:pt x="3562" y="57"/>
                  </a:cubicBezTo>
                  <a:cubicBezTo>
                    <a:pt x="3558" y="57"/>
                    <a:pt x="3491" y="60"/>
                    <a:pt x="3491" y="60"/>
                  </a:cubicBezTo>
                  <a:cubicBezTo>
                    <a:pt x="3474" y="67"/>
                    <a:pt x="3474" y="67"/>
                    <a:pt x="3474" y="67"/>
                  </a:cubicBezTo>
                  <a:cubicBezTo>
                    <a:pt x="3428" y="64"/>
                    <a:pt x="3428" y="64"/>
                    <a:pt x="3428" y="64"/>
                  </a:cubicBezTo>
                  <a:cubicBezTo>
                    <a:pt x="3481" y="61"/>
                    <a:pt x="3481" y="61"/>
                    <a:pt x="3481" y="61"/>
                  </a:cubicBezTo>
                  <a:cubicBezTo>
                    <a:pt x="3479" y="52"/>
                    <a:pt x="3479" y="52"/>
                    <a:pt x="3479" y="52"/>
                  </a:cubicBezTo>
                  <a:cubicBezTo>
                    <a:pt x="3512" y="57"/>
                    <a:pt x="3512" y="57"/>
                    <a:pt x="3512" y="57"/>
                  </a:cubicBezTo>
                  <a:cubicBezTo>
                    <a:pt x="3512" y="57"/>
                    <a:pt x="3517" y="49"/>
                    <a:pt x="3526" y="49"/>
                  </a:cubicBezTo>
                  <a:cubicBezTo>
                    <a:pt x="3534" y="49"/>
                    <a:pt x="3635" y="45"/>
                    <a:pt x="3653" y="44"/>
                  </a:cubicBezTo>
                  <a:cubicBezTo>
                    <a:pt x="3671" y="43"/>
                    <a:pt x="3718" y="30"/>
                    <a:pt x="3715" y="26"/>
                  </a:cubicBezTo>
                  <a:close/>
                  <a:moveTo>
                    <a:pt x="2687" y="644"/>
                  </a:moveTo>
                  <a:cubicBezTo>
                    <a:pt x="2722" y="650"/>
                    <a:pt x="2732" y="643"/>
                    <a:pt x="2747" y="633"/>
                  </a:cubicBezTo>
                  <a:cubicBezTo>
                    <a:pt x="2763" y="624"/>
                    <a:pt x="2759" y="608"/>
                    <a:pt x="2745" y="604"/>
                  </a:cubicBezTo>
                  <a:cubicBezTo>
                    <a:pt x="2731" y="601"/>
                    <a:pt x="2698" y="610"/>
                    <a:pt x="2698" y="610"/>
                  </a:cubicBezTo>
                  <a:cubicBezTo>
                    <a:pt x="2660" y="634"/>
                    <a:pt x="2652" y="639"/>
                    <a:pt x="2687" y="644"/>
                  </a:cubicBezTo>
                  <a:close/>
                  <a:moveTo>
                    <a:pt x="2674" y="560"/>
                  </a:moveTo>
                  <a:cubicBezTo>
                    <a:pt x="2658" y="565"/>
                    <a:pt x="2633" y="576"/>
                    <a:pt x="2657" y="571"/>
                  </a:cubicBezTo>
                  <a:cubicBezTo>
                    <a:pt x="2680" y="566"/>
                    <a:pt x="2700" y="558"/>
                    <a:pt x="2700" y="558"/>
                  </a:cubicBezTo>
                  <a:cubicBezTo>
                    <a:pt x="2724" y="540"/>
                    <a:pt x="2690" y="555"/>
                    <a:pt x="2674" y="560"/>
                  </a:cubicBezTo>
                  <a:close/>
                  <a:moveTo>
                    <a:pt x="2747" y="549"/>
                  </a:moveTo>
                  <a:cubicBezTo>
                    <a:pt x="2733" y="543"/>
                    <a:pt x="2722" y="562"/>
                    <a:pt x="2735" y="566"/>
                  </a:cubicBezTo>
                  <a:cubicBezTo>
                    <a:pt x="2735" y="566"/>
                    <a:pt x="2761" y="555"/>
                    <a:pt x="2747" y="549"/>
                  </a:cubicBezTo>
                  <a:close/>
                  <a:moveTo>
                    <a:pt x="2349" y="710"/>
                  </a:moveTo>
                  <a:cubicBezTo>
                    <a:pt x="2337" y="712"/>
                    <a:pt x="2327" y="729"/>
                    <a:pt x="2346" y="729"/>
                  </a:cubicBezTo>
                  <a:cubicBezTo>
                    <a:pt x="2357" y="729"/>
                    <a:pt x="2362" y="708"/>
                    <a:pt x="2349" y="710"/>
                  </a:cubicBezTo>
                  <a:close/>
                  <a:moveTo>
                    <a:pt x="2390" y="712"/>
                  </a:moveTo>
                  <a:cubicBezTo>
                    <a:pt x="2374" y="710"/>
                    <a:pt x="2385" y="727"/>
                    <a:pt x="2385" y="727"/>
                  </a:cubicBezTo>
                  <a:cubicBezTo>
                    <a:pt x="2396" y="726"/>
                    <a:pt x="2405" y="713"/>
                    <a:pt x="2390" y="712"/>
                  </a:cubicBezTo>
                  <a:close/>
                  <a:moveTo>
                    <a:pt x="2500" y="829"/>
                  </a:moveTo>
                  <a:cubicBezTo>
                    <a:pt x="2477" y="841"/>
                    <a:pt x="2509" y="849"/>
                    <a:pt x="2509" y="849"/>
                  </a:cubicBezTo>
                  <a:cubicBezTo>
                    <a:pt x="2532" y="836"/>
                    <a:pt x="2524" y="816"/>
                    <a:pt x="2500" y="829"/>
                  </a:cubicBezTo>
                  <a:close/>
                  <a:moveTo>
                    <a:pt x="2653" y="1691"/>
                  </a:moveTo>
                  <a:cubicBezTo>
                    <a:pt x="2633" y="1687"/>
                    <a:pt x="2622" y="1678"/>
                    <a:pt x="2622" y="1678"/>
                  </a:cubicBezTo>
                  <a:cubicBezTo>
                    <a:pt x="2612" y="1687"/>
                    <a:pt x="2612" y="1687"/>
                    <a:pt x="2612" y="1687"/>
                  </a:cubicBezTo>
                  <a:cubicBezTo>
                    <a:pt x="2612" y="1687"/>
                    <a:pt x="2629" y="1696"/>
                    <a:pt x="2633" y="1699"/>
                  </a:cubicBezTo>
                  <a:cubicBezTo>
                    <a:pt x="2637" y="1702"/>
                    <a:pt x="2656" y="1701"/>
                    <a:pt x="2656" y="1701"/>
                  </a:cubicBezTo>
                  <a:cubicBezTo>
                    <a:pt x="2656" y="1701"/>
                    <a:pt x="2666" y="1706"/>
                    <a:pt x="2676" y="1705"/>
                  </a:cubicBezTo>
                  <a:cubicBezTo>
                    <a:pt x="2687" y="1704"/>
                    <a:pt x="2691" y="1693"/>
                    <a:pt x="2691" y="1693"/>
                  </a:cubicBezTo>
                  <a:cubicBezTo>
                    <a:pt x="2691" y="1693"/>
                    <a:pt x="2674" y="1695"/>
                    <a:pt x="2653" y="1691"/>
                  </a:cubicBezTo>
                  <a:close/>
                  <a:moveTo>
                    <a:pt x="2731" y="1524"/>
                  </a:moveTo>
                  <a:cubicBezTo>
                    <a:pt x="2731" y="1524"/>
                    <a:pt x="2698" y="1516"/>
                    <a:pt x="2671" y="1515"/>
                  </a:cubicBezTo>
                  <a:cubicBezTo>
                    <a:pt x="2644" y="1514"/>
                    <a:pt x="2686" y="1526"/>
                    <a:pt x="2686" y="1526"/>
                  </a:cubicBezTo>
                  <a:cubicBezTo>
                    <a:pt x="2686" y="1536"/>
                    <a:pt x="2686" y="1536"/>
                    <a:pt x="2686" y="1536"/>
                  </a:cubicBezTo>
                  <a:cubicBezTo>
                    <a:pt x="2686" y="1536"/>
                    <a:pt x="2719" y="1541"/>
                    <a:pt x="2748" y="1546"/>
                  </a:cubicBezTo>
                  <a:cubicBezTo>
                    <a:pt x="2777" y="1551"/>
                    <a:pt x="2804" y="1540"/>
                    <a:pt x="2731" y="1524"/>
                  </a:cubicBezTo>
                  <a:close/>
                  <a:moveTo>
                    <a:pt x="2793" y="1702"/>
                  </a:moveTo>
                  <a:cubicBezTo>
                    <a:pt x="2780" y="1699"/>
                    <a:pt x="2766" y="1706"/>
                    <a:pt x="2761" y="1709"/>
                  </a:cubicBezTo>
                  <a:cubicBezTo>
                    <a:pt x="2765" y="1706"/>
                    <a:pt x="2774" y="1700"/>
                    <a:pt x="2783" y="1690"/>
                  </a:cubicBezTo>
                  <a:cubicBezTo>
                    <a:pt x="2795" y="1677"/>
                    <a:pt x="2764" y="1676"/>
                    <a:pt x="2750" y="1692"/>
                  </a:cubicBezTo>
                  <a:cubicBezTo>
                    <a:pt x="2744" y="1706"/>
                    <a:pt x="2744" y="1706"/>
                    <a:pt x="2744" y="1706"/>
                  </a:cubicBezTo>
                  <a:cubicBezTo>
                    <a:pt x="2736" y="1720"/>
                    <a:pt x="2736" y="1720"/>
                    <a:pt x="2736" y="1720"/>
                  </a:cubicBezTo>
                  <a:cubicBezTo>
                    <a:pt x="2773" y="1715"/>
                    <a:pt x="2773" y="1715"/>
                    <a:pt x="2773" y="1715"/>
                  </a:cubicBezTo>
                  <a:cubicBezTo>
                    <a:pt x="2773" y="1715"/>
                    <a:pt x="2810" y="1706"/>
                    <a:pt x="2793" y="1702"/>
                  </a:cubicBezTo>
                  <a:close/>
                  <a:moveTo>
                    <a:pt x="3058" y="1312"/>
                  </a:moveTo>
                  <a:cubicBezTo>
                    <a:pt x="3051" y="1320"/>
                    <a:pt x="3052" y="1335"/>
                    <a:pt x="3037" y="1324"/>
                  </a:cubicBezTo>
                  <a:cubicBezTo>
                    <a:pt x="3022" y="1313"/>
                    <a:pt x="3046" y="1306"/>
                    <a:pt x="3046" y="1306"/>
                  </a:cubicBezTo>
                  <a:cubicBezTo>
                    <a:pt x="3043" y="1289"/>
                    <a:pt x="3043" y="1289"/>
                    <a:pt x="3043" y="1289"/>
                  </a:cubicBezTo>
                  <a:cubicBezTo>
                    <a:pt x="3023" y="1288"/>
                    <a:pt x="3023" y="1288"/>
                    <a:pt x="3023" y="1288"/>
                  </a:cubicBezTo>
                  <a:cubicBezTo>
                    <a:pt x="3023" y="1288"/>
                    <a:pt x="2977" y="1308"/>
                    <a:pt x="2974" y="1312"/>
                  </a:cubicBezTo>
                  <a:cubicBezTo>
                    <a:pt x="2971" y="1316"/>
                    <a:pt x="2935" y="1320"/>
                    <a:pt x="2935" y="1320"/>
                  </a:cubicBezTo>
                  <a:cubicBezTo>
                    <a:pt x="2914" y="1334"/>
                    <a:pt x="2914" y="1334"/>
                    <a:pt x="2914" y="1334"/>
                  </a:cubicBezTo>
                  <a:cubicBezTo>
                    <a:pt x="2922" y="1319"/>
                    <a:pt x="2922" y="1319"/>
                    <a:pt x="2922" y="1319"/>
                  </a:cubicBezTo>
                  <a:cubicBezTo>
                    <a:pt x="2907" y="1308"/>
                    <a:pt x="2907" y="1308"/>
                    <a:pt x="2907" y="1308"/>
                  </a:cubicBezTo>
                  <a:cubicBezTo>
                    <a:pt x="2930" y="1313"/>
                    <a:pt x="2930" y="1313"/>
                    <a:pt x="2930" y="1313"/>
                  </a:cubicBezTo>
                  <a:cubicBezTo>
                    <a:pt x="2940" y="1305"/>
                    <a:pt x="2940" y="1305"/>
                    <a:pt x="2940" y="1305"/>
                  </a:cubicBezTo>
                  <a:cubicBezTo>
                    <a:pt x="2958" y="1304"/>
                    <a:pt x="2958" y="1304"/>
                    <a:pt x="2958" y="1304"/>
                  </a:cubicBezTo>
                  <a:cubicBezTo>
                    <a:pt x="2960" y="1291"/>
                    <a:pt x="2960" y="1291"/>
                    <a:pt x="2960" y="1291"/>
                  </a:cubicBezTo>
                  <a:cubicBezTo>
                    <a:pt x="2960" y="1291"/>
                    <a:pt x="2981" y="1294"/>
                    <a:pt x="2993" y="1289"/>
                  </a:cubicBezTo>
                  <a:cubicBezTo>
                    <a:pt x="3005" y="1284"/>
                    <a:pt x="3022" y="1275"/>
                    <a:pt x="3022" y="1275"/>
                  </a:cubicBezTo>
                  <a:cubicBezTo>
                    <a:pt x="3022" y="1275"/>
                    <a:pt x="3070" y="1280"/>
                    <a:pt x="3069" y="1275"/>
                  </a:cubicBezTo>
                  <a:cubicBezTo>
                    <a:pt x="3068" y="1270"/>
                    <a:pt x="3050" y="1262"/>
                    <a:pt x="3050" y="1262"/>
                  </a:cubicBezTo>
                  <a:cubicBezTo>
                    <a:pt x="3049" y="1246"/>
                    <a:pt x="3049" y="1246"/>
                    <a:pt x="3049" y="1246"/>
                  </a:cubicBezTo>
                  <a:cubicBezTo>
                    <a:pt x="3049" y="1246"/>
                    <a:pt x="3021" y="1255"/>
                    <a:pt x="3015" y="1254"/>
                  </a:cubicBezTo>
                  <a:cubicBezTo>
                    <a:pt x="3009" y="1253"/>
                    <a:pt x="3007" y="1241"/>
                    <a:pt x="3007" y="1241"/>
                  </a:cubicBezTo>
                  <a:cubicBezTo>
                    <a:pt x="2967" y="1253"/>
                    <a:pt x="2967" y="1253"/>
                    <a:pt x="2967" y="1253"/>
                  </a:cubicBezTo>
                  <a:cubicBezTo>
                    <a:pt x="2969" y="1233"/>
                    <a:pt x="2969" y="1233"/>
                    <a:pt x="2969" y="1233"/>
                  </a:cubicBezTo>
                  <a:cubicBezTo>
                    <a:pt x="2940" y="1243"/>
                    <a:pt x="2940" y="1243"/>
                    <a:pt x="2940" y="1243"/>
                  </a:cubicBezTo>
                  <a:cubicBezTo>
                    <a:pt x="2940" y="1243"/>
                    <a:pt x="2971" y="1208"/>
                    <a:pt x="2963" y="1204"/>
                  </a:cubicBezTo>
                  <a:cubicBezTo>
                    <a:pt x="2955" y="1200"/>
                    <a:pt x="2930" y="1200"/>
                    <a:pt x="2930" y="1200"/>
                  </a:cubicBezTo>
                  <a:cubicBezTo>
                    <a:pt x="2933" y="1184"/>
                    <a:pt x="2933" y="1184"/>
                    <a:pt x="2933" y="1184"/>
                  </a:cubicBezTo>
                  <a:cubicBezTo>
                    <a:pt x="2911" y="1184"/>
                    <a:pt x="2911" y="1184"/>
                    <a:pt x="2911" y="1184"/>
                  </a:cubicBezTo>
                  <a:cubicBezTo>
                    <a:pt x="2920" y="1170"/>
                    <a:pt x="2920" y="1170"/>
                    <a:pt x="2920" y="1170"/>
                  </a:cubicBezTo>
                  <a:cubicBezTo>
                    <a:pt x="2902" y="1154"/>
                    <a:pt x="2902" y="1154"/>
                    <a:pt x="2902" y="1154"/>
                  </a:cubicBezTo>
                  <a:cubicBezTo>
                    <a:pt x="2902" y="1154"/>
                    <a:pt x="2932" y="1161"/>
                    <a:pt x="2940" y="1155"/>
                  </a:cubicBezTo>
                  <a:cubicBezTo>
                    <a:pt x="2948" y="1149"/>
                    <a:pt x="2959" y="1144"/>
                    <a:pt x="2959" y="1144"/>
                  </a:cubicBezTo>
                  <a:cubicBezTo>
                    <a:pt x="2929" y="1126"/>
                    <a:pt x="2929" y="1126"/>
                    <a:pt x="2929" y="1126"/>
                  </a:cubicBezTo>
                  <a:cubicBezTo>
                    <a:pt x="2962" y="1107"/>
                    <a:pt x="2962" y="1107"/>
                    <a:pt x="2962" y="1107"/>
                  </a:cubicBezTo>
                  <a:cubicBezTo>
                    <a:pt x="2929" y="1092"/>
                    <a:pt x="2929" y="1092"/>
                    <a:pt x="2929" y="1092"/>
                  </a:cubicBezTo>
                  <a:cubicBezTo>
                    <a:pt x="2899" y="1093"/>
                    <a:pt x="2899" y="1093"/>
                    <a:pt x="2899" y="1093"/>
                  </a:cubicBezTo>
                  <a:cubicBezTo>
                    <a:pt x="2935" y="1080"/>
                    <a:pt x="2935" y="1080"/>
                    <a:pt x="2935" y="1080"/>
                  </a:cubicBezTo>
                  <a:cubicBezTo>
                    <a:pt x="2910" y="1074"/>
                    <a:pt x="2910" y="1074"/>
                    <a:pt x="2910" y="1074"/>
                  </a:cubicBezTo>
                  <a:cubicBezTo>
                    <a:pt x="2940" y="1060"/>
                    <a:pt x="2940" y="1060"/>
                    <a:pt x="2940" y="1060"/>
                  </a:cubicBezTo>
                  <a:cubicBezTo>
                    <a:pt x="2935" y="1044"/>
                    <a:pt x="2935" y="1044"/>
                    <a:pt x="2935" y="1044"/>
                  </a:cubicBezTo>
                  <a:cubicBezTo>
                    <a:pt x="2913" y="1042"/>
                    <a:pt x="2913" y="1042"/>
                    <a:pt x="2913" y="1042"/>
                  </a:cubicBezTo>
                  <a:cubicBezTo>
                    <a:pt x="2913" y="1042"/>
                    <a:pt x="2931" y="1032"/>
                    <a:pt x="2923" y="1013"/>
                  </a:cubicBezTo>
                  <a:cubicBezTo>
                    <a:pt x="2915" y="994"/>
                    <a:pt x="2907" y="997"/>
                    <a:pt x="2907" y="997"/>
                  </a:cubicBezTo>
                  <a:cubicBezTo>
                    <a:pt x="2916" y="983"/>
                    <a:pt x="2916" y="983"/>
                    <a:pt x="2916" y="983"/>
                  </a:cubicBezTo>
                  <a:cubicBezTo>
                    <a:pt x="2916" y="983"/>
                    <a:pt x="2892" y="994"/>
                    <a:pt x="2887" y="1001"/>
                  </a:cubicBezTo>
                  <a:cubicBezTo>
                    <a:pt x="2882" y="1008"/>
                    <a:pt x="2886" y="1014"/>
                    <a:pt x="2886" y="1014"/>
                  </a:cubicBezTo>
                  <a:cubicBezTo>
                    <a:pt x="2867" y="1008"/>
                    <a:pt x="2867" y="1008"/>
                    <a:pt x="2867" y="1008"/>
                  </a:cubicBezTo>
                  <a:cubicBezTo>
                    <a:pt x="2871" y="1030"/>
                    <a:pt x="2871" y="1030"/>
                    <a:pt x="2871" y="1030"/>
                  </a:cubicBezTo>
                  <a:cubicBezTo>
                    <a:pt x="2853" y="1029"/>
                    <a:pt x="2853" y="1029"/>
                    <a:pt x="2853" y="1029"/>
                  </a:cubicBezTo>
                  <a:cubicBezTo>
                    <a:pt x="2845" y="1043"/>
                    <a:pt x="2845" y="1043"/>
                    <a:pt x="2845" y="1043"/>
                  </a:cubicBezTo>
                  <a:cubicBezTo>
                    <a:pt x="2850" y="1049"/>
                    <a:pt x="2850" y="1049"/>
                    <a:pt x="2850" y="1049"/>
                  </a:cubicBezTo>
                  <a:cubicBezTo>
                    <a:pt x="2834" y="1050"/>
                    <a:pt x="2834" y="1050"/>
                    <a:pt x="2834" y="1050"/>
                  </a:cubicBezTo>
                  <a:cubicBezTo>
                    <a:pt x="2819" y="1080"/>
                    <a:pt x="2819" y="1080"/>
                    <a:pt x="2819" y="1080"/>
                  </a:cubicBezTo>
                  <a:cubicBezTo>
                    <a:pt x="2811" y="1080"/>
                    <a:pt x="2811" y="1080"/>
                    <a:pt x="2811" y="1080"/>
                  </a:cubicBezTo>
                  <a:cubicBezTo>
                    <a:pt x="2821" y="1055"/>
                    <a:pt x="2821" y="1055"/>
                    <a:pt x="2821" y="1055"/>
                  </a:cubicBezTo>
                  <a:cubicBezTo>
                    <a:pt x="2821" y="1055"/>
                    <a:pt x="2811" y="1040"/>
                    <a:pt x="2802" y="1049"/>
                  </a:cubicBezTo>
                  <a:cubicBezTo>
                    <a:pt x="2793" y="1058"/>
                    <a:pt x="2781" y="1071"/>
                    <a:pt x="2774" y="1072"/>
                  </a:cubicBezTo>
                  <a:cubicBezTo>
                    <a:pt x="2767" y="1073"/>
                    <a:pt x="2739" y="1094"/>
                    <a:pt x="2739" y="1094"/>
                  </a:cubicBezTo>
                  <a:cubicBezTo>
                    <a:pt x="2744" y="1079"/>
                    <a:pt x="2744" y="1079"/>
                    <a:pt x="2744" y="1079"/>
                  </a:cubicBezTo>
                  <a:cubicBezTo>
                    <a:pt x="2743" y="1068"/>
                    <a:pt x="2743" y="1068"/>
                    <a:pt x="2743" y="1068"/>
                  </a:cubicBezTo>
                  <a:cubicBezTo>
                    <a:pt x="2718" y="1089"/>
                    <a:pt x="2718" y="1089"/>
                    <a:pt x="2718" y="1089"/>
                  </a:cubicBezTo>
                  <a:cubicBezTo>
                    <a:pt x="2674" y="1099"/>
                    <a:pt x="2674" y="1099"/>
                    <a:pt x="2674" y="1099"/>
                  </a:cubicBezTo>
                  <a:cubicBezTo>
                    <a:pt x="2715" y="1085"/>
                    <a:pt x="2715" y="1085"/>
                    <a:pt x="2715" y="1085"/>
                  </a:cubicBezTo>
                  <a:cubicBezTo>
                    <a:pt x="2715" y="1085"/>
                    <a:pt x="2739" y="1058"/>
                    <a:pt x="2726" y="1052"/>
                  </a:cubicBezTo>
                  <a:cubicBezTo>
                    <a:pt x="2713" y="1046"/>
                    <a:pt x="2698" y="1052"/>
                    <a:pt x="2698" y="1052"/>
                  </a:cubicBezTo>
                  <a:cubicBezTo>
                    <a:pt x="2698" y="1052"/>
                    <a:pt x="2665" y="1067"/>
                    <a:pt x="2667" y="1056"/>
                  </a:cubicBezTo>
                  <a:cubicBezTo>
                    <a:pt x="2669" y="1045"/>
                    <a:pt x="2686" y="1042"/>
                    <a:pt x="2686" y="1042"/>
                  </a:cubicBezTo>
                  <a:cubicBezTo>
                    <a:pt x="2685" y="1049"/>
                    <a:pt x="2685" y="1049"/>
                    <a:pt x="2685" y="1049"/>
                  </a:cubicBezTo>
                  <a:cubicBezTo>
                    <a:pt x="2699" y="1044"/>
                    <a:pt x="2699" y="1044"/>
                    <a:pt x="2699" y="1044"/>
                  </a:cubicBezTo>
                  <a:cubicBezTo>
                    <a:pt x="2696" y="1025"/>
                    <a:pt x="2696" y="1025"/>
                    <a:pt x="2696" y="1025"/>
                  </a:cubicBezTo>
                  <a:cubicBezTo>
                    <a:pt x="2696" y="1025"/>
                    <a:pt x="2721" y="1011"/>
                    <a:pt x="2712" y="1004"/>
                  </a:cubicBezTo>
                  <a:cubicBezTo>
                    <a:pt x="2703" y="997"/>
                    <a:pt x="2676" y="993"/>
                    <a:pt x="2676" y="993"/>
                  </a:cubicBezTo>
                  <a:cubicBezTo>
                    <a:pt x="2676" y="993"/>
                    <a:pt x="2721" y="995"/>
                    <a:pt x="2724" y="983"/>
                  </a:cubicBezTo>
                  <a:cubicBezTo>
                    <a:pt x="2727" y="971"/>
                    <a:pt x="2730" y="968"/>
                    <a:pt x="2736" y="964"/>
                  </a:cubicBezTo>
                  <a:cubicBezTo>
                    <a:pt x="2742" y="960"/>
                    <a:pt x="2762" y="959"/>
                    <a:pt x="2752" y="950"/>
                  </a:cubicBezTo>
                  <a:cubicBezTo>
                    <a:pt x="2742" y="941"/>
                    <a:pt x="2732" y="957"/>
                    <a:pt x="2732" y="957"/>
                  </a:cubicBezTo>
                  <a:cubicBezTo>
                    <a:pt x="2726" y="940"/>
                    <a:pt x="2726" y="940"/>
                    <a:pt x="2726" y="940"/>
                  </a:cubicBezTo>
                  <a:cubicBezTo>
                    <a:pt x="2726" y="940"/>
                    <a:pt x="2695" y="941"/>
                    <a:pt x="2686" y="941"/>
                  </a:cubicBezTo>
                  <a:cubicBezTo>
                    <a:pt x="2677" y="941"/>
                    <a:pt x="2675" y="926"/>
                    <a:pt x="2683" y="923"/>
                  </a:cubicBezTo>
                  <a:cubicBezTo>
                    <a:pt x="2691" y="920"/>
                    <a:pt x="2692" y="913"/>
                    <a:pt x="2685" y="911"/>
                  </a:cubicBezTo>
                  <a:cubicBezTo>
                    <a:pt x="2678" y="909"/>
                    <a:pt x="2672" y="916"/>
                    <a:pt x="2672" y="916"/>
                  </a:cubicBezTo>
                  <a:cubicBezTo>
                    <a:pt x="2677" y="900"/>
                    <a:pt x="2677" y="900"/>
                    <a:pt x="2677" y="900"/>
                  </a:cubicBezTo>
                  <a:cubicBezTo>
                    <a:pt x="2653" y="904"/>
                    <a:pt x="2653" y="904"/>
                    <a:pt x="2653" y="904"/>
                  </a:cubicBezTo>
                  <a:cubicBezTo>
                    <a:pt x="2653" y="904"/>
                    <a:pt x="2657" y="875"/>
                    <a:pt x="2640" y="875"/>
                  </a:cubicBezTo>
                  <a:cubicBezTo>
                    <a:pt x="2623" y="875"/>
                    <a:pt x="2595" y="892"/>
                    <a:pt x="2595" y="892"/>
                  </a:cubicBezTo>
                  <a:cubicBezTo>
                    <a:pt x="2595" y="892"/>
                    <a:pt x="2587" y="881"/>
                    <a:pt x="2579" y="881"/>
                  </a:cubicBezTo>
                  <a:cubicBezTo>
                    <a:pt x="2571" y="881"/>
                    <a:pt x="2554" y="890"/>
                    <a:pt x="2554" y="890"/>
                  </a:cubicBezTo>
                  <a:cubicBezTo>
                    <a:pt x="2554" y="890"/>
                    <a:pt x="2508" y="868"/>
                    <a:pt x="2492" y="871"/>
                  </a:cubicBezTo>
                  <a:cubicBezTo>
                    <a:pt x="2476" y="874"/>
                    <a:pt x="2470" y="886"/>
                    <a:pt x="2470" y="886"/>
                  </a:cubicBezTo>
                  <a:cubicBezTo>
                    <a:pt x="2470" y="886"/>
                    <a:pt x="2449" y="896"/>
                    <a:pt x="2456" y="904"/>
                  </a:cubicBezTo>
                  <a:cubicBezTo>
                    <a:pt x="2463" y="912"/>
                    <a:pt x="2476" y="913"/>
                    <a:pt x="2470" y="921"/>
                  </a:cubicBezTo>
                  <a:cubicBezTo>
                    <a:pt x="2464" y="929"/>
                    <a:pt x="2439" y="945"/>
                    <a:pt x="2439" y="945"/>
                  </a:cubicBezTo>
                  <a:cubicBezTo>
                    <a:pt x="2421" y="952"/>
                    <a:pt x="2421" y="952"/>
                    <a:pt x="2421" y="952"/>
                  </a:cubicBezTo>
                  <a:cubicBezTo>
                    <a:pt x="2438" y="961"/>
                    <a:pt x="2438" y="961"/>
                    <a:pt x="2438" y="961"/>
                  </a:cubicBezTo>
                  <a:cubicBezTo>
                    <a:pt x="2438" y="961"/>
                    <a:pt x="2423" y="968"/>
                    <a:pt x="2422" y="977"/>
                  </a:cubicBezTo>
                  <a:cubicBezTo>
                    <a:pt x="2421" y="986"/>
                    <a:pt x="2429" y="993"/>
                    <a:pt x="2421" y="1003"/>
                  </a:cubicBezTo>
                  <a:cubicBezTo>
                    <a:pt x="2413" y="1013"/>
                    <a:pt x="2406" y="1005"/>
                    <a:pt x="2393" y="1013"/>
                  </a:cubicBezTo>
                  <a:cubicBezTo>
                    <a:pt x="2380" y="1021"/>
                    <a:pt x="2382" y="1034"/>
                    <a:pt x="2382" y="1034"/>
                  </a:cubicBezTo>
                  <a:cubicBezTo>
                    <a:pt x="2382" y="1034"/>
                    <a:pt x="2366" y="1037"/>
                    <a:pt x="2360" y="1043"/>
                  </a:cubicBezTo>
                  <a:cubicBezTo>
                    <a:pt x="2354" y="1049"/>
                    <a:pt x="2334" y="1054"/>
                    <a:pt x="2336" y="1062"/>
                  </a:cubicBezTo>
                  <a:cubicBezTo>
                    <a:pt x="2338" y="1070"/>
                    <a:pt x="2375" y="1084"/>
                    <a:pt x="2375" y="1093"/>
                  </a:cubicBezTo>
                  <a:cubicBezTo>
                    <a:pt x="2375" y="1102"/>
                    <a:pt x="2374" y="1167"/>
                    <a:pt x="2339" y="1187"/>
                  </a:cubicBezTo>
                  <a:cubicBezTo>
                    <a:pt x="2304" y="1207"/>
                    <a:pt x="2259" y="1242"/>
                    <a:pt x="2241" y="1243"/>
                  </a:cubicBezTo>
                  <a:cubicBezTo>
                    <a:pt x="2223" y="1244"/>
                    <a:pt x="2174" y="1247"/>
                    <a:pt x="2171" y="1256"/>
                  </a:cubicBezTo>
                  <a:cubicBezTo>
                    <a:pt x="2168" y="1265"/>
                    <a:pt x="2180" y="1293"/>
                    <a:pt x="2180" y="1298"/>
                  </a:cubicBezTo>
                  <a:cubicBezTo>
                    <a:pt x="2180" y="1303"/>
                    <a:pt x="2159" y="1324"/>
                    <a:pt x="2155" y="1339"/>
                  </a:cubicBezTo>
                  <a:cubicBezTo>
                    <a:pt x="2151" y="1354"/>
                    <a:pt x="2154" y="1387"/>
                    <a:pt x="2154" y="1387"/>
                  </a:cubicBezTo>
                  <a:cubicBezTo>
                    <a:pt x="2154" y="1387"/>
                    <a:pt x="2120" y="1404"/>
                    <a:pt x="2119" y="1409"/>
                  </a:cubicBezTo>
                  <a:cubicBezTo>
                    <a:pt x="2118" y="1414"/>
                    <a:pt x="2117" y="1431"/>
                    <a:pt x="2117" y="1431"/>
                  </a:cubicBezTo>
                  <a:cubicBezTo>
                    <a:pt x="2104" y="1447"/>
                    <a:pt x="2104" y="1447"/>
                    <a:pt x="2104" y="1447"/>
                  </a:cubicBezTo>
                  <a:cubicBezTo>
                    <a:pt x="2104" y="1447"/>
                    <a:pt x="2111" y="1423"/>
                    <a:pt x="2100" y="1422"/>
                  </a:cubicBezTo>
                  <a:cubicBezTo>
                    <a:pt x="2089" y="1421"/>
                    <a:pt x="2067" y="1435"/>
                    <a:pt x="2072" y="1446"/>
                  </a:cubicBezTo>
                  <a:cubicBezTo>
                    <a:pt x="2077" y="1457"/>
                    <a:pt x="2071" y="1466"/>
                    <a:pt x="2071" y="1466"/>
                  </a:cubicBezTo>
                  <a:cubicBezTo>
                    <a:pt x="2071" y="1466"/>
                    <a:pt x="2069" y="1446"/>
                    <a:pt x="2063" y="1441"/>
                  </a:cubicBezTo>
                  <a:cubicBezTo>
                    <a:pt x="2057" y="1436"/>
                    <a:pt x="2019" y="1447"/>
                    <a:pt x="2019" y="1447"/>
                  </a:cubicBezTo>
                  <a:cubicBezTo>
                    <a:pt x="2019" y="1447"/>
                    <a:pt x="2055" y="1426"/>
                    <a:pt x="2051" y="1413"/>
                  </a:cubicBezTo>
                  <a:cubicBezTo>
                    <a:pt x="2047" y="1400"/>
                    <a:pt x="2011" y="1389"/>
                    <a:pt x="2011" y="1389"/>
                  </a:cubicBezTo>
                  <a:cubicBezTo>
                    <a:pt x="2011" y="1389"/>
                    <a:pt x="2028" y="1386"/>
                    <a:pt x="2028" y="1379"/>
                  </a:cubicBezTo>
                  <a:cubicBezTo>
                    <a:pt x="2028" y="1372"/>
                    <a:pt x="2016" y="1346"/>
                    <a:pt x="2016" y="1346"/>
                  </a:cubicBezTo>
                  <a:cubicBezTo>
                    <a:pt x="2038" y="1331"/>
                    <a:pt x="2038" y="1331"/>
                    <a:pt x="2038" y="1331"/>
                  </a:cubicBezTo>
                  <a:cubicBezTo>
                    <a:pt x="2037" y="1316"/>
                    <a:pt x="2037" y="1316"/>
                    <a:pt x="2037" y="1316"/>
                  </a:cubicBezTo>
                  <a:cubicBezTo>
                    <a:pt x="2054" y="1305"/>
                    <a:pt x="2054" y="1305"/>
                    <a:pt x="2054" y="1305"/>
                  </a:cubicBezTo>
                  <a:cubicBezTo>
                    <a:pt x="2053" y="1280"/>
                    <a:pt x="2053" y="1280"/>
                    <a:pt x="2053" y="1280"/>
                  </a:cubicBezTo>
                  <a:cubicBezTo>
                    <a:pt x="2053" y="1280"/>
                    <a:pt x="2102" y="1253"/>
                    <a:pt x="2078" y="1241"/>
                  </a:cubicBezTo>
                  <a:cubicBezTo>
                    <a:pt x="2054" y="1229"/>
                    <a:pt x="1982" y="1233"/>
                    <a:pt x="1982" y="1233"/>
                  </a:cubicBezTo>
                  <a:cubicBezTo>
                    <a:pt x="1958" y="1241"/>
                    <a:pt x="1958" y="1241"/>
                    <a:pt x="1958" y="1241"/>
                  </a:cubicBezTo>
                  <a:cubicBezTo>
                    <a:pt x="1958" y="1241"/>
                    <a:pt x="1976" y="1220"/>
                    <a:pt x="1966" y="1215"/>
                  </a:cubicBezTo>
                  <a:cubicBezTo>
                    <a:pt x="1956" y="1210"/>
                    <a:pt x="1908" y="1200"/>
                    <a:pt x="1908" y="1200"/>
                  </a:cubicBezTo>
                  <a:cubicBezTo>
                    <a:pt x="1908" y="1200"/>
                    <a:pt x="1913" y="1178"/>
                    <a:pt x="1894" y="1164"/>
                  </a:cubicBezTo>
                  <a:cubicBezTo>
                    <a:pt x="1875" y="1150"/>
                    <a:pt x="1850" y="1149"/>
                    <a:pt x="1850" y="1149"/>
                  </a:cubicBezTo>
                  <a:cubicBezTo>
                    <a:pt x="1850" y="1149"/>
                    <a:pt x="1851" y="1137"/>
                    <a:pt x="1823" y="1136"/>
                  </a:cubicBezTo>
                  <a:cubicBezTo>
                    <a:pt x="1795" y="1135"/>
                    <a:pt x="1726" y="1147"/>
                    <a:pt x="1726" y="1147"/>
                  </a:cubicBezTo>
                  <a:cubicBezTo>
                    <a:pt x="1726" y="1147"/>
                    <a:pt x="1759" y="1137"/>
                    <a:pt x="1760" y="1125"/>
                  </a:cubicBezTo>
                  <a:cubicBezTo>
                    <a:pt x="1761" y="1113"/>
                    <a:pt x="1779" y="1061"/>
                    <a:pt x="1779" y="1061"/>
                  </a:cubicBezTo>
                  <a:cubicBezTo>
                    <a:pt x="1779" y="1061"/>
                    <a:pt x="1749" y="1055"/>
                    <a:pt x="1746" y="1057"/>
                  </a:cubicBezTo>
                  <a:cubicBezTo>
                    <a:pt x="1743" y="1059"/>
                    <a:pt x="1720" y="1075"/>
                    <a:pt x="1720" y="1075"/>
                  </a:cubicBezTo>
                  <a:cubicBezTo>
                    <a:pt x="1730" y="1056"/>
                    <a:pt x="1730" y="1056"/>
                    <a:pt x="1730" y="1056"/>
                  </a:cubicBezTo>
                  <a:cubicBezTo>
                    <a:pt x="1726" y="1041"/>
                    <a:pt x="1726" y="1041"/>
                    <a:pt x="1726" y="1041"/>
                  </a:cubicBezTo>
                  <a:cubicBezTo>
                    <a:pt x="1726" y="1041"/>
                    <a:pt x="1752" y="1019"/>
                    <a:pt x="1764" y="998"/>
                  </a:cubicBezTo>
                  <a:cubicBezTo>
                    <a:pt x="1776" y="977"/>
                    <a:pt x="1844" y="940"/>
                    <a:pt x="1844" y="940"/>
                  </a:cubicBezTo>
                  <a:cubicBezTo>
                    <a:pt x="1838" y="929"/>
                    <a:pt x="1838" y="929"/>
                    <a:pt x="1838" y="929"/>
                  </a:cubicBezTo>
                  <a:cubicBezTo>
                    <a:pt x="1881" y="915"/>
                    <a:pt x="1881" y="915"/>
                    <a:pt x="1881" y="915"/>
                  </a:cubicBezTo>
                  <a:cubicBezTo>
                    <a:pt x="1882" y="904"/>
                    <a:pt x="1882" y="904"/>
                    <a:pt x="1882" y="904"/>
                  </a:cubicBezTo>
                  <a:cubicBezTo>
                    <a:pt x="1909" y="900"/>
                    <a:pt x="1909" y="900"/>
                    <a:pt x="1909" y="900"/>
                  </a:cubicBezTo>
                  <a:cubicBezTo>
                    <a:pt x="1911" y="887"/>
                    <a:pt x="1911" y="887"/>
                    <a:pt x="1911" y="887"/>
                  </a:cubicBezTo>
                  <a:cubicBezTo>
                    <a:pt x="1932" y="884"/>
                    <a:pt x="1932" y="884"/>
                    <a:pt x="1932" y="884"/>
                  </a:cubicBezTo>
                  <a:cubicBezTo>
                    <a:pt x="1966" y="857"/>
                    <a:pt x="1966" y="857"/>
                    <a:pt x="1966" y="857"/>
                  </a:cubicBezTo>
                  <a:cubicBezTo>
                    <a:pt x="1966" y="857"/>
                    <a:pt x="2040" y="860"/>
                    <a:pt x="2040" y="847"/>
                  </a:cubicBezTo>
                  <a:cubicBezTo>
                    <a:pt x="2040" y="834"/>
                    <a:pt x="2020" y="819"/>
                    <a:pt x="2020" y="819"/>
                  </a:cubicBezTo>
                  <a:cubicBezTo>
                    <a:pt x="1980" y="824"/>
                    <a:pt x="1980" y="824"/>
                    <a:pt x="1980" y="824"/>
                  </a:cubicBezTo>
                  <a:cubicBezTo>
                    <a:pt x="1986" y="814"/>
                    <a:pt x="1986" y="814"/>
                    <a:pt x="1986" y="814"/>
                  </a:cubicBezTo>
                  <a:cubicBezTo>
                    <a:pt x="1950" y="800"/>
                    <a:pt x="1950" y="800"/>
                    <a:pt x="1950" y="800"/>
                  </a:cubicBezTo>
                  <a:cubicBezTo>
                    <a:pt x="1966" y="795"/>
                    <a:pt x="1966" y="795"/>
                    <a:pt x="1966" y="795"/>
                  </a:cubicBezTo>
                  <a:cubicBezTo>
                    <a:pt x="2021" y="811"/>
                    <a:pt x="2021" y="811"/>
                    <a:pt x="2021" y="811"/>
                  </a:cubicBezTo>
                  <a:cubicBezTo>
                    <a:pt x="2021" y="811"/>
                    <a:pt x="2042" y="833"/>
                    <a:pt x="2061" y="825"/>
                  </a:cubicBezTo>
                  <a:cubicBezTo>
                    <a:pt x="2080" y="817"/>
                    <a:pt x="2096" y="784"/>
                    <a:pt x="2103" y="789"/>
                  </a:cubicBezTo>
                  <a:cubicBezTo>
                    <a:pt x="2110" y="794"/>
                    <a:pt x="2131" y="804"/>
                    <a:pt x="2140" y="802"/>
                  </a:cubicBezTo>
                  <a:cubicBezTo>
                    <a:pt x="2140" y="802"/>
                    <a:pt x="2185" y="783"/>
                    <a:pt x="2203" y="776"/>
                  </a:cubicBezTo>
                  <a:cubicBezTo>
                    <a:pt x="2221" y="769"/>
                    <a:pt x="2255" y="750"/>
                    <a:pt x="2243" y="747"/>
                  </a:cubicBezTo>
                  <a:cubicBezTo>
                    <a:pt x="2231" y="744"/>
                    <a:pt x="2175" y="744"/>
                    <a:pt x="2175" y="744"/>
                  </a:cubicBezTo>
                  <a:cubicBezTo>
                    <a:pt x="2171" y="728"/>
                    <a:pt x="2171" y="728"/>
                    <a:pt x="2171" y="728"/>
                  </a:cubicBezTo>
                  <a:cubicBezTo>
                    <a:pt x="2115" y="708"/>
                    <a:pt x="2115" y="708"/>
                    <a:pt x="2115" y="708"/>
                  </a:cubicBezTo>
                  <a:cubicBezTo>
                    <a:pt x="2115" y="708"/>
                    <a:pt x="2171" y="700"/>
                    <a:pt x="2186" y="706"/>
                  </a:cubicBezTo>
                  <a:cubicBezTo>
                    <a:pt x="2201" y="712"/>
                    <a:pt x="2215" y="738"/>
                    <a:pt x="2230" y="738"/>
                  </a:cubicBezTo>
                  <a:cubicBezTo>
                    <a:pt x="2245" y="738"/>
                    <a:pt x="2324" y="700"/>
                    <a:pt x="2324" y="700"/>
                  </a:cubicBezTo>
                  <a:cubicBezTo>
                    <a:pt x="2305" y="692"/>
                    <a:pt x="2305" y="692"/>
                    <a:pt x="2305" y="692"/>
                  </a:cubicBezTo>
                  <a:cubicBezTo>
                    <a:pt x="2305" y="692"/>
                    <a:pt x="2319" y="680"/>
                    <a:pt x="2337" y="680"/>
                  </a:cubicBezTo>
                  <a:cubicBezTo>
                    <a:pt x="2355" y="680"/>
                    <a:pt x="2360" y="694"/>
                    <a:pt x="2360" y="694"/>
                  </a:cubicBezTo>
                  <a:cubicBezTo>
                    <a:pt x="2380" y="701"/>
                    <a:pt x="2380" y="701"/>
                    <a:pt x="2380" y="701"/>
                  </a:cubicBezTo>
                  <a:cubicBezTo>
                    <a:pt x="2381" y="688"/>
                    <a:pt x="2381" y="688"/>
                    <a:pt x="2381" y="688"/>
                  </a:cubicBezTo>
                  <a:cubicBezTo>
                    <a:pt x="2381" y="688"/>
                    <a:pt x="2395" y="705"/>
                    <a:pt x="2400" y="696"/>
                  </a:cubicBezTo>
                  <a:cubicBezTo>
                    <a:pt x="2405" y="687"/>
                    <a:pt x="2388" y="669"/>
                    <a:pt x="2388" y="669"/>
                  </a:cubicBezTo>
                  <a:cubicBezTo>
                    <a:pt x="2374" y="663"/>
                    <a:pt x="2374" y="663"/>
                    <a:pt x="2374" y="663"/>
                  </a:cubicBezTo>
                  <a:cubicBezTo>
                    <a:pt x="2401" y="658"/>
                    <a:pt x="2401" y="658"/>
                    <a:pt x="2401" y="658"/>
                  </a:cubicBezTo>
                  <a:cubicBezTo>
                    <a:pt x="2401" y="658"/>
                    <a:pt x="2415" y="697"/>
                    <a:pt x="2424" y="695"/>
                  </a:cubicBezTo>
                  <a:cubicBezTo>
                    <a:pt x="2433" y="693"/>
                    <a:pt x="2546" y="660"/>
                    <a:pt x="2532" y="641"/>
                  </a:cubicBezTo>
                  <a:cubicBezTo>
                    <a:pt x="2518" y="622"/>
                    <a:pt x="2507" y="607"/>
                    <a:pt x="2518" y="600"/>
                  </a:cubicBezTo>
                  <a:cubicBezTo>
                    <a:pt x="2529" y="593"/>
                    <a:pt x="2579" y="591"/>
                    <a:pt x="2580" y="585"/>
                  </a:cubicBezTo>
                  <a:cubicBezTo>
                    <a:pt x="2581" y="579"/>
                    <a:pt x="2570" y="553"/>
                    <a:pt x="2570" y="553"/>
                  </a:cubicBezTo>
                  <a:cubicBezTo>
                    <a:pt x="2558" y="538"/>
                    <a:pt x="2558" y="538"/>
                    <a:pt x="2558" y="538"/>
                  </a:cubicBezTo>
                  <a:cubicBezTo>
                    <a:pt x="2558" y="538"/>
                    <a:pt x="2496" y="520"/>
                    <a:pt x="2470" y="538"/>
                  </a:cubicBezTo>
                  <a:cubicBezTo>
                    <a:pt x="2444" y="556"/>
                    <a:pt x="2466" y="568"/>
                    <a:pt x="2466" y="568"/>
                  </a:cubicBezTo>
                  <a:cubicBezTo>
                    <a:pt x="2442" y="583"/>
                    <a:pt x="2442" y="583"/>
                    <a:pt x="2442" y="583"/>
                  </a:cubicBezTo>
                  <a:cubicBezTo>
                    <a:pt x="2428" y="583"/>
                    <a:pt x="2428" y="583"/>
                    <a:pt x="2428" y="583"/>
                  </a:cubicBezTo>
                  <a:cubicBezTo>
                    <a:pt x="2383" y="614"/>
                    <a:pt x="2383" y="614"/>
                    <a:pt x="2383" y="614"/>
                  </a:cubicBezTo>
                  <a:cubicBezTo>
                    <a:pt x="2366" y="621"/>
                    <a:pt x="2366" y="621"/>
                    <a:pt x="2366" y="621"/>
                  </a:cubicBezTo>
                  <a:cubicBezTo>
                    <a:pt x="2366" y="621"/>
                    <a:pt x="2354" y="639"/>
                    <a:pt x="2350" y="642"/>
                  </a:cubicBezTo>
                  <a:cubicBezTo>
                    <a:pt x="2346" y="645"/>
                    <a:pt x="2327" y="646"/>
                    <a:pt x="2327" y="646"/>
                  </a:cubicBezTo>
                  <a:cubicBezTo>
                    <a:pt x="2304" y="658"/>
                    <a:pt x="2304" y="658"/>
                    <a:pt x="2304" y="658"/>
                  </a:cubicBezTo>
                  <a:cubicBezTo>
                    <a:pt x="2304" y="658"/>
                    <a:pt x="2293" y="624"/>
                    <a:pt x="2299" y="613"/>
                  </a:cubicBezTo>
                  <a:cubicBezTo>
                    <a:pt x="2305" y="602"/>
                    <a:pt x="2336" y="607"/>
                    <a:pt x="2341" y="591"/>
                  </a:cubicBezTo>
                  <a:cubicBezTo>
                    <a:pt x="2346" y="575"/>
                    <a:pt x="2330" y="558"/>
                    <a:pt x="2327" y="558"/>
                  </a:cubicBezTo>
                  <a:cubicBezTo>
                    <a:pt x="2324" y="558"/>
                    <a:pt x="2271" y="582"/>
                    <a:pt x="2271" y="582"/>
                  </a:cubicBezTo>
                  <a:cubicBezTo>
                    <a:pt x="2252" y="603"/>
                    <a:pt x="2252" y="603"/>
                    <a:pt x="2252" y="603"/>
                  </a:cubicBezTo>
                  <a:cubicBezTo>
                    <a:pt x="2246" y="594"/>
                    <a:pt x="2246" y="594"/>
                    <a:pt x="2246" y="594"/>
                  </a:cubicBezTo>
                  <a:cubicBezTo>
                    <a:pt x="2264" y="576"/>
                    <a:pt x="2264" y="576"/>
                    <a:pt x="2264" y="576"/>
                  </a:cubicBezTo>
                  <a:cubicBezTo>
                    <a:pt x="2262" y="563"/>
                    <a:pt x="2262" y="563"/>
                    <a:pt x="2262" y="563"/>
                  </a:cubicBezTo>
                  <a:cubicBezTo>
                    <a:pt x="2292" y="552"/>
                    <a:pt x="2292" y="552"/>
                    <a:pt x="2292" y="552"/>
                  </a:cubicBezTo>
                  <a:cubicBezTo>
                    <a:pt x="2265" y="547"/>
                    <a:pt x="2265" y="547"/>
                    <a:pt x="2265" y="547"/>
                  </a:cubicBezTo>
                  <a:cubicBezTo>
                    <a:pt x="2270" y="537"/>
                    <a:pt x="2270" y="537"/>
                    <a:pt x="2270" y="537"/>
                  </a:cubicBezTo>
                  <a:cubicBezTo>
                    <a:pt x="2238" y="547"/>
                    <a:pt x="2238" y="547"/>
                    <a:pt x="2238" y="547"/>
                  </a:cubicBezTo>
                  <a:cubicBezTo>
                    <a:pt x="2224" y="539"/>
                    <a:pt x="2224" y="539"/>
                    <a:pt x="2224" y="539"/>
                  </a:cubicBezTo>
                  <a:cubicBezTo>
                    <a:pt x="2249" y="530"/>
                    <a:pt x="2249" y="530"/>
                    <a:pt x="2249" y="530"/>
                  </a:cubicBezTo>
                  <a:cubicBezTo>
                    <a:pt x="2250" y="520"/>
                    <a:pt x="2250" y="520"/>
                    <a:pt x="2250" y="520"/>
                  </a:cubicBezTo>
                  <a:cubicBezTo>
                    <a:pt x="2250" y="520"/>
                    <a:pt x="2286" y="528"/>
                    <a:pt x="2284" y="515"/>
                  </a:cubicBezTo>
                  <a:cubicBezTo>
                    <a:pt x="2282" y="502"/>
                    <a:pt x="2254" y="505"/>
                    <a:pt x="2266" y="488"/>
                  </a:cubicBezTo>
                  <a:cubicBezTo>
                    <a:pt x="2278" y="471"/>
                    <a:pt x="2289" y="446"/>
                    <a:pt x="2273" y="445"/>
                  </a:cubicBezTo>
                  <a:cubicBezTo>
                    <a:pt x="2248" y="435"/>
                    <a:pt x="2248" y="435"/>
                    <a:pt x="2248" y="435"/>
                  </a:cubicBezTo>
                  <a:cubicBezTo>
                    <a:pt x="2229" y="443"/>
                    <a:pt x="2229" y="443"/>
                    <a:pt x="2229" y="443"/>
                  </a:cubicBezTo>
                  <a:cubicBezTo>
                    <a:pt x="2229" y="443"/>
                    <a:pt x="2202" y="445"/>
                    <a:pt x="2201" y="449"/>
                  </a:cubicBezTo>
                  <a:cubicBezTo>
                    <a:pt x="2200" y="453"/>
                    <a:pt x="2208" y="462"/>
                    <a:pt x="2202" y="463"/>
                  </a:cubicBezTo>
                  <a:cubicBezTo>
                    <a:pt x="2196" y="464"/>
                    <a:pt x="2160" y="457"/>
                    <a:pt x="2152" y="466"/>
                  </a:cubicBezTo>
                  <a:cubicBezTo>
                    <a:pt x="2144" y="475"/>
                    <a:pt x="2127" y="484"/>
                    <a:pt x="2136" y="488"/>
                  </a:cubicBezTo>
                  <a:cubicBezTo>
                    <a:pt x="2145" y="492"/>
                    <a:pt x="2156" y="494"/>
                    <a:pt x="2156" y="494"/>
                  </a:cubicBezTo>
                  <a:cubicBezTo>
                    <a:pt x="2156" y="494"/>
                    <a:pt x="2107" y="507"/>
                    <a:pt x="2109" y="520"/>
                  </a:cubicBezTo>
                  <a:cubicBezTo>
                    <a:pt x="2111" y="533"/>
                    <a:pt x="2138" y="543"/>
                    <a:pt x="2138" y="543"/>
                  </a:cubicBezTo>
                  <a:cubicBezTo>
                    <a:pt x="2154" y="536"/>
                    <a:pt x="2154" y="536"/>
                    <a:pt x="2154" y="536"/>
                  </a:cubicBezTo>
                  <a:cubicBezTo>
                    <a:pt x="2154" y="536"/>
                    <a:pt x="2153" y="557"/>
                    <a:pt x="2159" y="554"/>
                  </a:cubicBezTo>
                  <a:cubicBezTo>
                    <a:pt x="2165" y="551"/>
                    <a:pt x="2194" y="546"/>
                    <a:pt x="2183" y="554"/>
                  </a:cubicBezTo>
                  <a:cubicBezTo>
                    <a:pt x="2172" y="562"/>
                    <a:pt x="2163" y="561"/>
                    <a:pt x="2163" y="561"/>
                  </a:cubicBezTo>
                  <a:cubicBezTo>
                    <a:pt x="2150" y="556"/>
                    <a:pt x="2150" y="556"/>
                    <a:pt x="2150" y="556"/>
                  </a:cubicBezTo>
                  <a:cubicBezTo>
                    <a:pt x="2148" y="565"/>
                    <a:pt x="2148" y="565"/>
                    <a:pt x="2148" y="565"/>
                  </a:cubicBezTo>
                  <a:cubicBezTo>
                    <a:pt x="2148" y="565"/>
                    <a:pt x="2112" y="571"/>
                    <a:pt x="2124" y="575"/>
                  </a:cubicBezTo>
                  <a:cubicBezTo>
                    <a:pt x="2136" y="579"/>
                    <a:pt x="2163" y="559"/>
                    <a:pt x="2157" y="572"/>
                  </a:cubicBezTo>
                  <a:cubicBezTo>
                    <a:pt x="2151" y="585"/>
                    <a:pt x="2132" y="594"/>
                    <a:pt x="2119" y="598"/>
                  </a:cubicBezTo>
                  <a:cubicBezTo>
                    <a:pt x="2106" y="602"/>
                    <a:pt x="2086" y="617"/>
                    <a:pt x="2086" y="617"/>
                  </a:cubicBezTo>
                  <a:cubicBezTo>
                    <a:pt x="2086" y="617"/>
                    <a:pt x="2064" y="605"/>
                    <a:pt x="2060" y="612"/>
                  </a:cubicBezTo>
                  <a:cubicBezTo>
                    <a:pt x="2056" y="619"/>
                    <a:pt x="2035" y="625"/>
                    <a:pt x="2036" y="635"/>
                  </a:cubicBezTo>
                  <a:cubicBezTo>
                    <a:pt x="2037" y="645"/>
                    <a:pt x="2030" y="654"/>
                    <a:pt x="2030" y="654"/>
                  </a:cubicBezTo>
                  <a:cubicBezTo>
                    <a:pt x="2026" y="645"/>
                    <a:pt x="2026" y="645"/>
                    <a:pt x="2026" y="645"/>
                  </a:cubicBezTo>
                  <a:cubicBezTo>
                    <a:pt x="2026" y="645"/>
                    <a:pt x="2001" y="644"/>
                    <a:pt x="2003" y="638"/>
                  </a:cubicBezTo>
                  <a:cubicBezTo>
                    <a:pt x="2005" y="632"/>
                    <a:pt x="2047" y="604"/>
                    <a:pt x="2047" y="604"/>
                  </a:cubicBezTo>
                  <a:cubicBezTo>
                    <a:pt x="2022" y="604"/>
                    <a:pt x="2022" y="604"/>
                    <a:pt x="2022" y="604"/>
                  </a:cubicBezTo>
                  <a:cubicBezTo>
                    <a:pt x="2022" y="604"/>
                    <a:pt x="2015" y="590"/>
                    <a:pt x="2008" y="590"/>
                  </a:cubicBezTo>
                  <a:cubicBezTo>
                    <a:pt x="2001" y="590"/>
                    <a:pt x="1985" y="596"/>
                    <a:pt x="1985" y="596"/>
                  </a:cubicBezTo>
                  <a:cubicBezTo>
                    <a:pt x="1985" y="596"/>
                    <a:pt x="1964" y="589"/>
                    <a:pt x="1961" y="597"/>
                  </a:cubicBezTo>
                  <a:cubicBezTo>
                    <a:pt x="1958" y="605"/>
                    <a:pt x="1956" y="612"/>
                    <a:pt x="1960" y="613"/>
                  </a:cubicBezTo>
                  <a:cubicBezTo>
                    <a:pt x="1964" y="614"/>
                    <a:pt x="1993" y="627"/>
                    <a:pt x="1983" y="630"/>
                  </a:cubicBezTo>
                  <a:cubicBezTo>
                    <a:pt x="1973" y="633"/>
                    <a:pt x="1955" y="618"/>
                    <a:pt x="1955" y="618"/>
                  </a:cubicBezTo>
                  <a:cubicBezTo>
                    <a:pt x="1941" y="609"/>
                    <a:pt x="1941" y="609"/>
                    <a:pt x="1941" y="609"/>
                  </a:cubicBezTo>
                  <a:cubicBezTo>
                    <a:pt x="1940" y="629"/>
                    <a:pt x="1940" y="629"/>
                    <a:pt x="1940" y="629"/>
                  </a:cubicBezTo>
                  <a:cubicBezTo>
                    <a:pt x="1940" y="629"/>
                    <a:pt x="1925" y="638"/>
                    <a:pt x="1916" y="636"/>
                  </a:cubicBezTo>
                  <a:cubicBezTo>
                    <a:pt x="1907" y="634"/>
                    <a:pt x="1874" y="625"/>
                    <a:pt x="1863" y="625"/>
                  </a:cubicBezTo>
                  <a:cubicBezTo>
                    <a:pt x="1852" y="625"/>
                    <a:pt x="1830" y="629"/>
                    <a:pt x="1819" y="628"/>
                  </a:cubicBezTo>
                  <a:cubicBezTo>
                    <a:pt x="1808" y="627"/>
                    <a:pt x="1791" y="610"/>
                    <a:pt x="1791" y="610"/>
                  </a:cubicBezTo>
                  <a:cubicBezTo>
                    <a:pt x="1752" y="613"/>
                    <a:pt x="1752" y="613"/>
                    <a:pt x="1752" y="613"/>
                  </a:cubicBezTo>
                  <a:cubicBezTo>
                    <a:pt x="1752" y="613"/>
                    <a:pt x="1737" y="599"/>
                    <a:pt x="1729" y="597"/>
                  </a:cubicBezTo>
                  <a:cubicBezTo>
                    <a:pt x="1721" y="595"/>
                    <a:pt x="1704" y="595"/>
                    <a:pt x="1692" y="601"/>
                  </a:cubicBezTo>
                  <a:cubicBezTo>
                    <a:pt x="1680" y="607"/>
                    <a:pt x="1685" y="609"/>
                    <a:pt x="1672" y="609"/>
                  </a:cubicBezTo>
                  <a:cubicBezTo>
                    <a:pt x="1659" y="609"/>
                    <a:pt x="1631" y="602"/>
                    <a:pt x="1624" y="611"/>
                  </a:cubicBezTo>
                  <a:cubicBezTo>
                    <a:pt x="1617" y="620"/>
                    <a:pt x="1605" y="646"/>
                    <a:pt x="1605" y="646"/>
                  </a:cubicBezTo>
                  <a:cubicBezTo>
                    <a:pt x="1597" y="666"/>
                    <a:pt x="1597" y="666"/>
                    <a:pt x="1597" y="666"/>
                  </a:cubicBezTo>
                  <a:cubicBezTo>
                    <a:pt x="1576" y="668"/>
                    <a:pt x="1576" y="668"/>
                    <a:pt x="1576" y="668"/>
                  </a:cubicBezTo>
                  <a:cubicBezTo>
                    <a:pt x="1571" y="687"/>
                    <a:pt x="1571" y="687"/>
                    <a:pt x="1571" y="687"/>
                  </a:cubicBezTo>
                  <a:cubicBezTo>
                    <a:pt x="1556" y="654"/>
                    <a:pt x="1556" y="654"/>
                    <a:pt x="1556" y="654"/>
                  </a:cubicBezTo>
                  <a:cubicBezTo>
                    <a:pt x="1556" y="654"/>
                    <a:pt x="1598" y="665"/>
                    <a:pt x="1587" y="646"/>
                  </a:cubicBezTo>
                  <a:cubicBezTo>
                    <a:pt x="1576" y="627"/>
                    <a:pt x="1544" y="625"/>
                    <a:pt x="1544" y="625"/>
                  </a:cubicBezTo>
                  <a:cubicBezTo>
                    <a:pt x="1546" y="616"/>
                    <a:pt x="1546" y="616"/>
                    <a:pt x="1546" y="616"/>
                  </a:cubicBezTo>
                  <a:cubicBezTo>
                    <a:pt x="1546" y="616"/>
                    <a:pt x="1477" y="629"/>
                    <a:pt x="1440" y="629"/>
                  </a:cubicBezTo>
                  <a:cubicBezTo>
                    <a:pt x="1403" y="629"/>
                    <a:pt x="1337" y="625"/>
                    <a:pt x="1350" y="619"/>
                  </a:cubicBezTo>
                  <a:cubicBezTo>
                    <a:pt x="1363" y="613"/>
                    <a:pt x="1447" y="616"/>
                    <a:pt x="1427" y="594"/>
                  </a:cubicBezTo>
                  <a:cubicBezTo>
                    <a:pt x="1407" y="572"/>
                    <a:pt x="1388" y="570"/>
                    <a:pt x="1364" y="572"/>
                  </a:cubicBezTo>
                  <a:cubicBezTo>
                    <a:pt x="1340" y="574"/>
                    <a:pt x="1301" y="560"/>
                    <a:pt x="1295" y="557"/>
                  </a:cubicBezTo>
                  <a:cubicBezTo>
                    <a:pt x="1289" y="554"/>
                    <a:pt x="1271" y="554"/>
                    <a:pt x="1271" y="554"/>
                  </a:cubicBezTo>
                  <a:cubicBezTo>
                    <a:pt x="1271" y="554"/>
                    <a:pt x="1223" y="527"/>
                    <a:pt x="1205" y="528"/>
                  </a:cubicBezTo>
                  <a:cubicBezTo>
                    <a:pt x="1187" y="529"/>
                    <a:pt x="1155" y="554"/>
                    <a:pt x="1155" y="554"/>
                  </a:cubicBezTo>
                  <a:cubicBezTo>
                    <a:pt x="1119" y="554"/>
                    <a:pt x="1119" y="554"/>
                    <a:pt x="1119" y="554"/>
                  </a:cubicBezTo>
                  <a:cubicBezTo>
                    <a:pt x="1139" y="542"/>
                    <a:pt x="1139" y="542"/>
                    <a:pt x="1139" y="542"/>
                  </a:cubicBezTo>
                  <a:cubicBezTo>
                    <a:pt x="1139" y="534"/>
                    <a:pt x="1139" y="534"/>
                    <a:pt x="1139" y="534"/>
                  </a:cubicBezTo>
                  <a:cubicBezTo>
                    <a:pt x="1156" y="514"/>
                    <a:pt x="1156" y="514"/>
                    <a:pt x="1156" y="514"/>
                  </a:cubicBezTo>
                  <a:cubicBezTo>
                    <a:pt x="1156" y="514"/>
                    <a:pt x="1117" y="532"/>
                    <a:pt x="1110" y="539"/>
                  </a:cubicBezTo>
                  <a:cubicBezTo>
                    <a:pt x="1103" y="546"/>
                    <a:pt x="1087" y="568"/>
                    <a:pt x="1072" y="553"/>
                  </a:cubicBezTo>
                  <a:cubicBezTo>
                    <a:pt x="1057" y="538"/>
                    <a:pt x="1078" y="522"/>
                    <a:pt x="1075" y="511"/>
                  </a:cubicBezTo>
                  <a:cubicBezTo>
                    <a:pt x="1072" y="500"/>
                    <a:pt x="1049" y="489"/>
                    <a:pt x="1046" y="498"/>
                  </a:cubicBezTo>
                  <a:cubicBezTo>
                    <a:pt x="1043" y="507"/>
                    <a:pt x="1056" y="513"/>
                    <a:pt x="1056" y="513"/>
                  </a:cubicBezTo>
                  <a:cubicBezTo>
                    <a:pt x="1056" y="513"/>
                    <a:pt x="1036" y="511"/>
                    <a:pt x="1025" y="515"/>
                  </a:cubicBezTo>
                  <a:cubicBezTo>
                    <a:pt x="1014" y="519"/>
                    <a:pt x="998" y="530"/>
                    <a:pt x="993" y="534"/>
                  </a:cubicBezTo>
                  <a:cubicBezTo>
                    <a:pt x="988" y="538"/>
                    <a:pt x="970" y="533"/>
                    <a:pt x="970" y="533"/>
                  </a:cubicBezTo>
                  <a:cubicBezTo>
                    <a:pt x="970" y="533"/>
                    <a:pt x="923" y="543"/>
                    <a:pt x="919" y="544"/>
                  </a:cubicBezTo>
                  <a:cubicBezTo>
                    <a:pt x="915" y="545"/>
                    <a:pt x="890" y="560"/>
                    <a:pt x="890" y="560"/>
                  </a:cubicBezTo>
                  <a:cubicBezTo>
                    <a:pt x="876" y="547"/>
                    <a:pt x="876" y="547"/>
                    <a:pt x="876" y="547"/>
                  </a:cubicBezTo>
                  <a:cubicBezTo>
                    <a:pt x="876" y="547"/>
                    <a:pt x="843" y="564"/>
                    <a:pt x="833" y="565"/>
                  </a:cubicBezTo>
                  <a:cubicBezTo>
                    <a:pt x="823" y="566"/>
                    <a:pt x="805" y="578"/>
                    <a:pt x="805" y="578"/>
                  </a:cubicBezTo>
                  <a:cubicBezTo>
                    <a:pt x="783" y="580"/>
                    <a:pt x="783" y="580"/>
                    <a:pt x="783" y="580"/>
                  </a:cubicBezTo>
                  <a:cubicBezTo>
                    <a:pt x="783" y="580"/>
                    <a:pt x="800" y="562"/>
                    <a:pt x="815" y="559"/>
                  </a:cubicBezTo>
                  <a:cubicBezTo>
                    <a:pt x="830" y="556"/>
                    <a:pt x="864" y="543"/>
                    <a:pt x="864" y="543"/>
                  </a:cubicBezTo>
                  <a:cubicBezTo>
                    <a:pt x="864" y="543"/>
                    <a:pt x="895" y="546"/>
                    <a:pt x="906" y="541"/>
                  </a:cubicBezTo>
                  <a:cubicBezTo>
                    <a:pt x="917" y="536"/>
                    <a:pt x="978" y="522"/>
                    <a:pt x="978" y="522"/>
                  </a:cubicBezTo>
                  <a:cubicBezTo>
                    <a:pt x="978" y="522"/>
                    <a:pt x="990" y="519"/>
                    <a:pt x="983" y="514"/>
                  </a:cubicBezTo>
                  <a:cubicBezTo>
                    <a:pt x="976" y="509"/>
                    <a:pt x="955" y="516"/>
                    <a:pt x="955" y="516"/>
                  </a:cubicBezTo>
                  <a:cubicBezTo>
                    <a:pt x="955" y="516"/>
                    <a:pt x="937" y="515"/>
                    <a:pt x="930" y="517"/>
                  </a:cubicBezTo>
                  <a:cubicBezTo>
                    <a:pt x="923" y="519"/>
                    <a:pt x="916" y="527"/>
                    <a:pt x="911" y="528"/>
                  </a:cubicBezTo>
                  <a:cubicBezTo>
                    <a:pt x="906" y="529"/>
                    <a:pt x="887" y="529"/>
                    <a:pt x="887" y="529"/>
                  </a:cubicBezTo>
                  <a:cubicBezTo>
                    <a:pt x="872" y="532"/>
                    <a:pt x="872" y="532"/>
                    <a:pt x="872" y="532"/>
                  </a:cubicBezTo>
                  <a:cubicBezTo>
                    <a:pt x="872" y="532"/>
                    <a:pt x="855" y="532"/>
                    <a:pt x="843" y="535"/>
                  </a:cubicBezTo>
                  <a:cubicBezTo>
                    <a:pt x="831" y="538"/>
                    <a:pt x="820" y="550"/>
                    <a:pt x="820" y="550"/>
                  </a:cubicBezTo>
                  <a:cubicBezTo>
                    <a:pt x="806" y="552"/>
                    <a:pt x="806" y="552"/>
                    <a:pt x="806" y="552"/>
                  </a:cubicBezTo>
                  <a:cubicBezTo>
                    <a:pt x="771" y="565"/>
                    <a:pt x="771" y="565"/>
                    <a:pt x="771" y="565"/>
                  </a:cubicBezTo>
                  <a:cubicBezTo>
                    <a:pt x="771" y="565"/>
                    <a:pt x="756" y="568"/>
                    <a:pt x="753" y="571"/>
                  </a:cubicBezTo>
                  <a:cubicBezTo>
                    <a:pt x="750" y="574"/>
                    <a:pt x="748" y="590"/>
                    <a:pt x="741" y="586"/>
                  </a:cubicBezTo>
                  <a:cubicBezTo>
                    <a:pt x="734" y="582"/>
                    <a:pt x="733" y="567"/>
                    <a:pt x="744" y="565"/>
                  </a:cubicBezTo>
                  <a:cubicBezTo>
                    <a:pt x="755" y="563"/>
                    <a:pt x="784" y="553"/>
                    <a:pt x="793" y="547"/>
                  </a:cubicBezTo>
                  <a:cubicBezTo>
                    <a:pt x="802" y="541"/>
                    <a:pt x="760" y="535"/>
                    <a:pt x="753" y="544"/>
                  </a:cubicBezTo>
                  <a:cubicBezTo>
                    <a:pt x="746" y="553"/>
                    <a:pt x="719" y="558"/>
                    <a:pt x="712" y="558"/>
                  </a:cubicBezTo>
                  <a:cubicBezTo>
                    <a:pt x="705" y="558"/>
                    <a:pt x="705" y="585"/>
                    <a:pt x="705" y="585"/>
                  </a:cubicBezTo>
                  <a:cubicBezTo>
                    <a:pt x="689" y="576"/>
                    <a:pt x="689" y="576"/>
                    <a:pt x="689" y="576"/>
                  </a:cubicBezTo>
                  <a:cubicBezTo>
                    <a:pt x="647" y="570"/>
                    <a:pt x="647" y="570"/>
                    <a:pt x="647" y="570"/>
                  </a:cubicBezTo>
                  <a:cubicBezTo>
                    <a:pt x="647" y="570"/>
                    <a:pt x="621" y="558"/>
                    <a:pt x="623" y="553"/>
                  </a:cubicBezTo>
                  <a:cubicBezTo>
                    <a:pt x="625" y="548"/>
                    <a:pt x="629" y="539"/>
                    <a:pt x="629" y="539"/>
                  </a:cubicBezTo>
                  <a:cubicBezTo>
                    <a:pt x="555" y="540"/>
                    <a:pt x="555" y="540"/>
                    <a:pt x="555" y="540"/>
                  </a:cubicBezTo>
                  <a:cubicBezTo>
                    <a:pt x="567" y="540"/>
                    <a:pt x="567" y="540"/>
                    <a:pt x="567" y="540"/>
                  </a:cubicBezTo>
                  <a:cubicBezTo>
                    <a:pt x="52" y="964"/>
                    <a:pt x="52" y="964"/>
                    <a:pt x="52" y="964"/>
                  </a:cubicBezTo>
                  <a:cubicBezTo>
                    <a:pt x="52" y="964"/>
                    <a:pt x="26" y="978"/>
                    <a:pt x="32" y="984"/>
                  </a:cubicBezTo>
                  <a:cubicBezTo>
                    <a:pt x="38" y="990"/>
                    <a:pt x="67" y="984"/>
                    <a:pt x="67" y="984"/>
                  </a:cubicBezTo>
                  <a:cubicBezTo>
                    <a:pt x="70" y="984"/>
                    <a:pt x="79" y="979"/>
                    <a:pt x="79" y="979"/>
                  </a:cubicBezTo>
                  <a:cubicBezTo>
                    <a:pt x="103" y="979"/>
                    <a:pt x="103" y="979"/>
                    <a:pt x="103" y="979"/>
                  </a:cubicBezTo>
                  <a:cubicBezTo>
                    <a:pt x="88" y="994"/>
                    <a:pt x="88" y="994"/>
                    <a:pt x="88" y="994"/>
                  </a:cubicBezTo>
                  <a:cubicBezTo>
                    <a:pt x="88" y="994"/>
                    <a:pt x="88" y="1003"/>
                    <a:pt x="88" y="1013"/>
                  </a:cubicBezTo>
                  <a:cubicBezTo>
                    <a:pt x="88" y="1024"/>
                    <a:pt x="107" y="1032"/>
                    <a:pt x="107" y="1032"/>
                  </a:cubicBezTo>
                  <a:cubicBezTo>
                    <a:pt x="107" y="1032"/>
                    <a:pt x="88" y="1051"/>
                    <a:pt x="93" y="1051"/>
                  </a:cubicBezTo>
                  <a:cubicBezTo>
                    <a:pt x="99" y="1051"/>
                    <a:pt x="115" y="1038"/>
                    <a:pt x="115" y="1038"/>
                  </a:cubicBezTo>
                  <a:cubicBezTo>
                    <a:pt x="115" y="1038"/>
                    <a:pt x="136" y="1031"/>
                    <a:pt x="143" y="1031"/>
                  </a:cubicBezTo>
                  <a:cubicBezTo>
                    <a:pt x="151" y="1031"/>
                    <a:pt x="157" y="1021"/>
                    <a:pt x="157" y="1021"/>
                  </a:cubicBezTo>
                  <a:cubicBezTo>
                    <a:pt x="169" y="1021"/>
                    <a:pt x="169" y="1021"/>
                    <a:pt x="169" y="1021"/>
                  </a:cubicBezTo>
                  <a:cubicBezTo>
                    <a:pt x="171" y="1013"/>
                    <a:pt x="171" y="1013"/>
                    <a:pt x="171" y="1013"/>
                  </a:cubicBezTo>
                  <a:cubicBezTo>
                    <a:pt x="171" y="1013"/>
                    <a:pt x="199" y="1003"/>
                    <a:pt x="217" y="1008"/>
                  </a:cubicBezTo>
                  <a:cubicBezTo>
                    <a:pt x="236" y="1014"/>
                    <a:pt x="209" y="1024"/>
                    <a:pt x="209" y="1024"/>
                  </a:cubicBezTo>
                  <a:cubicBezTo>
                    <a:pt x="209" y="1041"/>
                    <a:pt x="209" y="1041"/>
                    <a:pt x="209" y="1041"/>
                  </a:cubicBezTo>
                  <a:cubicBezTo>
                    <a:pt x="203" y="1052"/>
                    <a:pt x="203" y="1052"/>
                    <a:pt x="203" y="1052"/>
                  </a:cubicBezTo>
                  <a:cubicBezTo>
                    <a:pt x="203" y="1052"/>
                    <a:pt x="210" y="1054"/>
                    <a:pt x="216" y="1072"/>
                  </a:cubicBezTo>
                  <a:cubicBezTo>
                    <a:pt x="223" y="1089"/>
                    <a:pt x="206" y="1108"/>
                    <a:pt x="206" y="1108"/>
                  </a:cubicBezTo>
                  <a:cubicBezTo>
                    <a:pt x="206" y="1132"/>
                    <a:pt x="206" y="1132"/>
                    <a:pt x="206" y="1132"/>
                  </a:cubicBezTo>
                  <a:cubicBezTo>
                    <a:pt x="206" y="1132"/>
                    <a:pt x="200" y="1149"/>
                    <a:pt x="195" y="1162"/>
                  </a:cubicBezTo>
                  <a:cubicBezTo>
                    <a:pt x="190" y="1175"/>
                    <a:pt x="218" y="1176"/>
                    <a:pt x="218" y="1180"/>
                  </a:cubicBezTo>
                  <a:cubicBezTo>
                    <a:pt x="218" y="1185"/>
                    <a:pt x="225" y="1187"/>
                    <a:pt x="225" y="1187"/>
                  </a:cubicBezTo>
                  <a:cubicBezTo>
                    <a:pt x="225" y="1187"/>
                    <a:pt x="235" y="1186"/>
                    <a:pt x="235" y="1194"/>
                  </a:cubicBezTo>
                  <a:cubicBezTo>
                    <a:pt x="235" y="1202"/>
                    <a:pt x="208" y="1213"/>
                    <a:pt x="208" y="1213"/>
                  </a:cubicBezTo>
                  <a:cubicBezTo>
                    <a:pt x="208" y="1213"/>
                    <a:pt x="208" y="1229"/>
                    <a:pt x="198" y="1239"/>
                  </a:cubicBezTo>
                  <a:cubicBezTo>
                    <a:pt x="194" y="1243"/>
                    <a:pt x="173" y="1254"/>
                    <a:pt x="152" y="1264"/>
                  </a:cubicBezTo>
                  <a:cubicBezTo>
                    <a:pt x="150" y="1269"/>
                    <a:pt x="149" y="1274"/>
                    <a:pt x="148" y="1278"/>
                  </a:cubicBezTo>
                  <a:cubicBezTo>
                    <a:pt x="147" y="1285"/>
                    <a:pt x="142" y="1299"/>
                    <a:pt x="142" y="1299"/>
                  </a:cubicBezTo>
                  <a:cubicBezTo>
                    <a:pt x="133" y="1305"/>
                    <a:pt x="133" y="1305"/>
                    <a:pt x="133" y="1305"/>
                  </a:cubicBezTo>
                  <a:cubicBezTo>
                    <a:pt x="133" y="1305"/>
                    <a:pt x="142" y="1309"/>
                    <a:pt x="143" y="1316"/>
                  </a:cubicBezTo>
                  <a:cubicBezTo>
                    <a:pt x="144" y="1323"/>
                    <a:pt x="151" y="1326"/>
                    <a:pt x="151" y="1326"/>
                  </a:cubicBezTo>
                  <a:cubicBezTo>
                    <a:pt x="151" y="1326"/>
                    <a:pt x="201" y="1287"/>
                    <a:pt x="201" y="1296"/>
                  </a:cubicBezTo>
                  <a:cubicBezTo>
                    <a:pt x="201" y="1305"/>
                    <a:pt x="185" y="1306"/>
                    <a:pt x="183" y="1311"/>
                  </a:cubicBezTo>
                  <a:cubicBezTo>
                    <a:pt x="181" y="1316"/>
                    <a:pt x="185" y="1326"/>
                    <a:pt x="185" y="1326"/>
                  </a:cubicBezTo>
                  <a:cubicBezTo>
                    <a:pt x="194" y="1333"/>
                    <a:pt x="194" y="1333"/>
                    <a:pt x="194" y="1333"/>
                  </a:cubicBezTo>
                  <a:cubicBezTo>
                    <a:pt x="165" y="1332"/>
                    <a:pt x="165" y="1332"/>
                    <a:pt x="165" y="1332"/>
                  </a:cubicBezTo>
                  <a:cubicBezTo>
                    <a:pt x="165" y="1332"/>
                    <a:pt x="143" y="1359"/>
                    <a:pt x="153" y="1360"/>
                  </a:cubicBezTo>
                  <a:cubicBezTo>
                    <a:pt x="163" y="1361"/>
                    <a:pt x="169" y="1367"/>
                    <a:pt x="169" y="1367"/>
                  </a:cubicBezTo>
                  <a:cubicBezTo>
                    <a:pt x="169" y="1367"/>
                    <a:pt x="157" y="1388"/>
                    <a:pt x="164" y="1385"/>
                  </a:cubicBezTo>
                  <a:cubicBezTo>
                    <a:pt x="171" y="1382"/>
                    <a:pt x="212" y="1354"/>
                    <a:pt x="212" y="1354"/>
                  </a:cubicBezTo>
                  <a:cubicBezTo>
                    <a:pt x="211" y="1363"/>
                    <a:pt x="211" y="1363"/>
                    <a:pt x="211" y="1363"/>
                  </a:cubicBezTo>
                  <a:cubicBezTo>
                    <a:pt x="192" y="1374"/>
                    <a:pt x="192" y="1374"/>
                    <a:pt x="192" y="1374"/>
                  </a:cubicBezTo>
                  <a:cubicBezTo>
                    <a:pt x="207" y="1380"/>
                    <a:pt x="207" y="1380"/>
                    <a:pt x="207" y="1380"/>
                  </a:cubicBezTo>
                  <a:cubicBezTo>
                    <a:pt x="207" y="1380"/>
                    <a:pt x="202" y="1400"/>
                    <a:pt x="194" y="1398"/>
                  </a:cubicBezTo>
                  <a:cubicBezTo>
                    <a:pt x="186" y="1396"/>
                    <a:pt x="184" y="1387"/>
                    <a:pt x="184" y="1387"/>
                  </a:cubicBezTo>
                  <a:cubicBezTo>
                    <a:pt x="184" y="1387"/>
                    <a:pt x="151" y="1397"/>
                    <a:pt x="145" y="1403"/>
                  </a:cubicBezTo>
                  <a:cubicBezTo>
                    <a:pt x="139" y="1409"/>
                    <a:pt x="133" y="1417"/>
                    <a:pt x="133" y="1417"/>
                  </a:cubicBezTo>
                  <a:cubicBezTo>
                    <a:pt x="133" y="1417"/>
                    <a:pt x="151" y="1412"/>
                    <a:pt x="156" y="1412"/>
                  </a:cubicBezTo>
                  <a:cubicBezTo>
                    <a:pt x="161" y="1412"/>
                    <a:pt x="182" y="1412"/>
                    <a:pt x="182" y="1412"/>
                  </a:cubicBezTo>
                  <a:cubicBezTo>
                    <a:pt x="182" y="1412"/>
                    <a:pt x="146" y="1421"/>
                    <a:pt x="140" y="1424"/>
                  </a:cubicBezTo>
                  <a:cubicBezTo>
                    <a:pt x="134" y="1427"/>
                    <a:pt x="138" y="1435"/>
                    <a:pt x="138" y="1435"/>
                  </a:cubicBezTo>
                  <a:cubicBezTo>
                    <a:pt x="138" y="1435"/>
                    <a:pt x="105" y="1423"/>
                    <a:pt x="114" y="1437"/>
                  </a:cubicBezTo>
                  <a:cubicBezTo>
                    <a:pt x="123" y="1451"/>
                    <a:pt x="132" y="1455"/>
                    <a:pt x="132" y="1455"/>
                  </a:cubicBezTo>
                  <a:cubicBezTo>
                    <a:pt x="164" y="1444"/>
                    <a:pt x="164" y="1444"/>
                    <a:pt x="164" y="1444"/>
                  </a:cubicBezTo>
                  <a:cubicBezTo>
                    <a:pt x="173" y="1459"/>
                    <a:pt x="173" y="1459"/>
                    <a:pt x="173" y="1459"/>
                  </a:cubicBezTo>
                  <a:cubicBezTo>
                    <a:pt x="198" y="1445"/>
                    <a:pt x="198" y="1445"/>
                    <a:pt x="198" y="1445"/>
                  </a:cubicBezTo>
                  <a:cubicBezTo>
                    <a:pt x="198" y="1445"/>
                    <a:pt x="165" y="1479"/>
                    <a:pt x="176" y="1478"/>
                  </a:cubicBezTo>
                  <a:cubicBezTo>
                    <a:pt x="187" y="1477"/>
                    <a:pt x="217" y="1454"/>
                    <a:pt x="217" y="1454"/>
                  </a:cubicBezTo>
                  <a:cubicBezTo>
                    <a:pt x="217" y="1454"/>
                    <a:pt x="190" y="1484"/>
                    <a:pt x="194" y="1484"/>
                  </a:cubicBezTo>
                  <a:cubicBezTo>
                    <a:pt x="198" y="1484"/>
                    <a:pt x="216" y="1479"/>
                    <a:pt x="216" y="1479"/>
                  </a:cubicBezTo>
                  <a:cubicBezTo>
                    <a:pt x="216" y="1479"/>
                    <a:pt x="178" y="1508"/>
                    <a:pt x="190" y="1509"/>
                  </a:cubicBezTo>
                  <a:cubicBezTo>
                    <a:pt x="202" y="1510"/>
                    <a:pt x="229" y="1490"/>
                    <a:pt x="229" y="1490"/>
                  </a:cubicBezTo>
                  <a:cubicBezTo>
                    <a:pt x="229" y="1490"/>
                    <a:pt x="203" y="1518"/>
                    <a:pt x="210" y="1520"/>
                  </a:cubicBezTo>
                  <a:cubicBezTo>
                    <a:pt x="217" y="1522"/>
                    <a:pt x="233" y="1526"/>
                    <a:pt x="233" y="1529"/>
                  </a:cubicBezTo>
                  <a:cubicBezTo>
                    <a:pt x="233" y="1531"/>
                    <a:pt x="231" y="1548"/>
                    <a:pt x="228" y="1561"/>
                  </a:cubicBezTo>
                  <a:cubicBezTo>
                    <a:pt x="228" y="1561"/>
                    <a:pt x="228" y="1561"/>
                    <a:pt x="228" y="1561"/>
                  </a:cubicBezTo>
                  <a:cubicBezTo>
                    <a:pt x="1370" y="1561"/>
                    <a:pt x="1370" y="1561"/>
                    <a:pt x="1370" y="1561"/>
                  </a:cubicBezTo>
                  <a:cubicBezTo>
                    <a:pt x="1370" y="1561"/>
                    <a:pt x="1384" y="1526"/>
                    <a:pt x="1394" y="1537"/>
                  </a:cubicBezTo>
                  <a:cubicBezTo>
                    <a:pt x="1404" y="1547"/>
                    <a:pt x="1379" y="1557"/>
                    <a:pt x="1388" y="1566"/>
                  </a:cubicBezTo>
                  <a:cubicBezTo>
                    <a:pt x="1396" y="1574"/>
                    <a:pt x="1415" y="1575"/>
                    <a:pt x="1415" y="1575"/>
                  </a:cubicBezTo>
                  <a:cubicBezTo>
                    <a:pt x="1415" y="1575"/>
                    <a:pt x="1422" y="1585"/>
                    <a:pt x="1430" y="1585"/>
                  </a:cubicBezTo>
                  <a:cubicBezTo>
                    <a:pt x="1438" y="1585"/>
                    <a:pt x="1436" y="1573"/>
                    <a:pt x="1449" y="1573"/>
                  </a:cubicBezTo>
                  <a:cubicBezTo>
                    <a:pt x="1462" y="1573"/>
                    <a:pt x="1465" y="1593"/>
                    <a:pt x="1471" y="1593"/>
                  </a:cubicBezTo>
                  <a:cubicBezTo>
                    <a:pt x="1477" y="1593"/>
                    <a:pt x="1484" y="1596"/>
                    <a:pt x="1487" y="1593"/>
                  </a:cubicBezTo>
                  <a:cubicBezTo>
                    <a:pt x="1490" y="1590"/>
                    <a:pt x="1503" y="1614"/>
                    <a:pt x="1509" y="1608"/>
                  </a:cubicBezTo>
                  <a:cubicBezTo>
                    <a:pt x="1515" y="1602"/>
                    <a:pt x="1531" y="1591"/>
                    <a:pt x="1531" y="1591"/>
                  </a:cubicBezTo>
                  <a:cubicBezTo>
                    <a:pt x="1531" y="1601"/>
                    <a:pt x="1531" y="1601"/>
                    <a:pt x="1531" y="1601"/>
                  </a:cubicBezTo>
                  <a:cubicBezTo>
                    <a:pt x="1561" y="1600"/>
                    <a:pt x="1561" y="1600"/>
                    <a:pt x="1561" y="1600"/>
                  </a:cubicBezTo>
                  <a:cubicBezTo>
                    <a:pt x="1561" y="1600"/>
                    <a:pt x="1558" y="1606"/>
                    <a:pt x="1586" y="1606"/>
                  </a:cubicBezTo>
                  <a:cubicBezTo>
                    <a:pt x="1598" y="1598"/>
                    <a:pt x="1605" y="1585"/>
                    <a:pt x="1606" y="1582"/>
                  </a:cubicBezTo>
                  <a:cubicBezTo>
                    <a:pt x="1607" y="1578"/>
                    <a:pt x="1626" y="1586"/>
                    <a:pt x="1626" y="1586"/>
                  </a:cubicBezTo>
                  <a:cubicBezTo>
                    <a:pt x="1634" y="1580"/>
                    <a:pt x="1634" y="1580"/>
                    <a:pt x="1634" y="1580"/>
                  </a:cubicBezTo>
                  <a:cubicBezTo>
                    <a:pt x="1634" y="1580"/>
                    <a:pt x="1641" y="1568"/>
                    <a:pt x="1642" y="1565"/>
                  </a:cubicBezTo>
                  <a:cubicBezTo>
                    <a:pt x="1643" y="1562"/>
                    <a:pt x="1651" y="1575"/>
                    <a:pt x="1651" y="1575"/>
                  </a:cubicBezTo>
                  <a:cubicBezTo>
                    <a:pt x="1668" y="1572"/>
                    <a:pt x="1668" y="1572"/>
                    <a:pt x="1668" y="1572"/>
                  </a:cubicBezTo>
                  <a:cubicBezTo>
                    <a:pt x="1668" y="1572"/>
                    <a:pt x="1659" y="1562"/>
                    <a:pt x="1668" y="1555"/>
                  </a:cubicBezTo>
                  <a:cubicBezTo>
                    <a:pt x="1677" y="1548"/>
                    <a:pt x="1686" y="1563"/>
                    <a:pt x="1686" y="1563"/>
                  </a:cubicBezTo>
                  <a:cubicBezTo>
                    <a:pt x="1704" y="1563"/>
                    <a:pt x="1704" y="1563"/>
                    <a:pt x="1704" y="1563"/>
                  </a:cubicBezTo>
                  <a:cubicBezTo>
                    <a:pt x="1708" y="1567"/>
                    <a:pt x="1708" y="1567"/>
                    <a:pt x="1708" y="1567"/>
                  </a:cubicBezTo>
                  <a:cubicBezTo>
                    <a:pt x="1708" y="1567"/>
                    <a:pt x="1728" y="1568"/>
                    <a:pt x="1733" y="1573"/>
                  </a:cubicBezTo>
                  <a:cubicBezTo>
                    <a:pt x="1738" y="1578"/>
                    <a:pt x="1727" y="1604"/>
                    <a:pt x="1727" y="1604"/>
                  </a:cubicBezTo>
                  <a:cubicBezTo>
                    <a:pt x="1733" y="1611"/>
                    <a:pt x="1733" y="1611"/>
                    <a:pt x="1733" y="1611"/>
                  </a:cubicBezTo>
                  <a:cubicBezTo>
                    <a:pt x="1727" y="1626"/>
                    <a:pt x="1727" y="1626"/>
                    <a:pt x="1727" y="1626"/>
                  </a:cubicBezTo>
                  <a:cubicBezTo>
                    <a:pt x="1727" y="1626"/>
                    <a:pt x="1766" y="1603"/>
                    <a:pt x="1777" y="1610"/>
                  </a:cubicBezTo>
                  <a:cubicBezTo>
                    <a:pt x="1788" y="1617"/>
                    <a:pt x="1760" y="1627"/>
                    <a:pt x="1759" y="1631"/>
                  </a:cubicBezTo>
                  <a:cubicBezTo>
                    <a:pt x="1758" y="1635"/>
                    <a:pt x="1773" y="1638"/>
                    <a:pt x="1773" y="1643"/>
                  </a:cubicBezTo>
                  <a:cubicBezTo>
                    <a:pt x="1773" y="1648"/>
                    <a:pt x="1757" y="1654"/>
                    <a:pt x="1757" y="1659"/>
                  </a:cubicBezTo>
                  <a:cubicBezTo>
                    <a:pt x="1757" y="1664"/>
                    <a:pt x="1770" y="1664"/>
                    <a:pt x="1767" y="1671"/>
                  </a:cubicBezTo>
                  <a:cubicBezTo>
                    <a:pt x="1764" y="1678"/>
                    <a:pt x="1758" y="1679"/>
                    <a:pt x="1758" y="1679"/>
                  </a:cubicBezTo>
                  <a:cubicBezTo>
                    <a:pt x="1756" y="1685"/>
                    <a:pt x="1756" y="1685"/>
                    <a:pt x="1756" y="1685"/>
                  </a:cubicBezTo>
                  <a:cubicBezTo>
                    <a:pt x="1769" y="1685"/>
                    <a:pt x="1769" y="1685"/>
                    <a:pt x="1769" y="1685"/>
                  </a:cubicBezTo>
                  <a:cubicBezTo>
                    <a:pt x="1765" y="1700"/>
                    <a:pt x="1765" y="1700"/>
                    <a:pt x="1765" y="1700"/>
                  </a:cubicBezTo>
                  <a:cubicBezTo>
                    <a:pt x="1771" y="1700"/>
                    <a:pt x="1778" y="1701"/>
                    <a:pt x="1781" y="1701"/>
                  </a:cubicBezTo>
                  <a:cubicBezTo>
                    <a:pt x="1786" y="1700"/>
                    <a:pt x="1794" y="1703"/>
                    <a:pt x="1806" y="1704"/>
                  </a:cubicBezTo>
                  <a:cubicBezTo>
                    <a:pt x="1818" y="1705"/>
                    <a:pt x="1825" y="1703"/>
                    <a:pt x="1825" y="1703"/>
                  </a:cubicBezTo>
                  <a:cubicBezTo>
                    <a:pt x="1837" y="1703"/>
                    <a:pt x="1852" y="1715"/>
                    <a:pt x="1863" y="1715"/>
                  </a:cubicBezTo>
                  <a:cubicBezTo>
                    <a:pt x="1874" y="1715"/>
                    <a:pt x="1884" y="1715"/>
                    <a:pt x="1884" y="1715"/>
                  </a:cubicBezTo>
                  <a:cubicBezTo>
                    <a:pt x="1906" y="1715"/>
                    <a:pt x="1904" y="1729"/>
                    <a:pt x="1904" y="1738"/>
                  </a:cubicBezTo>
                  <a:cubicBezTo>
                    <a:pt x="1904" y="1747"/>
                    <a:pt x="1914" y="1736"/>
                    <a:pt x="1914" y="1746"/>
                  </a:cubicBezTo>
                  <a:cubicBezTo>
                    <a:pt x="1914" y="1756"/>
                    <a:pt x="1910" y="1759"/>
                    <a:pt x="1905" y="1764"/>
                  </a:cubicBezTo>
                  <a:cubicBezTo>
                    <a:pt x="1900" y="1769"/>
                    <a:pt x="1918" y="1777"/>
                    <a:pt x="1918" y="1777"/>
                  </a:cubicBezTo>
                  <a:cubicBezTo>
                    <a:pt x="1903" y="1776"/>
                    <a:pt x="1903" y="1776"/>
                    <a:pt x="1903" y="1776"/>
                  </a:cubicBezTo>
                  <a:cubicBezTo>
                    <a:pt x="1903" y="1776"/>
                    <a:pt x="1903" y="1785"/>
                    <a:pt x="1896" y="1793"/>
                  </a:cubicBezTo>
                  <a:cubicBezTo>
                    <a:pt x="1888" y="1800"/>
                    <a:pt x="1887" y="1793"/>
                    <a:pt x="1868" y="1783"/>
                  </a:cubicBezTo>
                  <a:cubicBezTo>
                    <a:pt x="1849" y="1773"/>
                    <a:pt x="1855" y="1754"/>
                    <a:pt x="1855" y="1754"/>
                  </a:cubicBezTo>
                  <a:cubicBezTo>
                    <a:pt x="1844" y="1749"/>
                    <a:pt x="1844" y="1749"/>
                    <a:pt x="1844" y="1749"/>
                  </a:cubicBezTo>
                  <a:cubicBezTo>
                    <a:pt x="1846" y="1761"/>
                    <a:pt x="1846" y="1761"/>
                    <a:pt x="1846" y="1761"/>
                  </a:cubicBezTo>
                  <a:cubicBezTo>
                    <a:pt x="1846" y="1761"/>
                    <a:pt x="1854" y="1774"/>
                    <a:pt x="1846" y="1788"/>
                  </a:cubicBezTo>
                  <a:cubicBezTo>
                    <a:pt x="1838" y="1802"/>
                    <a:pt x="1820" y="1806"/>
                    <a:pt x="1812" y="1819"/>
                  </a:cubicBezTo>
                  <a:cubicBezTo>
                    <a:pt x="1804" y="1832"/>
                    <a:pt x="1801" y="1844"/>
                    <a:pt x="1793" y="1853"/>
                  </a:cubicBezTo>
                  <a:cubicBezTo>
                    <a:pt x="1785" y="1861"/>
                    <a:pt x="1769" y="1868"/>
                    <a:pt x="1762" y="1864"/>
                  </a:cubicBezTo>
                  <a:cubicBezTo>
                    <a:pt x="1758" y="1869"/>
                    <a:pt x="1755" y="1873"/>
                    <a:pt x="1755" y="1873"/>
                  </a:cubicBezTo>
                  <a:cubicBezTo>
                    <a:pt x="1755" y="1873"/>
                    <a:pt x="1757" y="1894"/>
                    <a:pt x="1749" y="1894"/>
                  </a:cubicBezTo>
                  <a:cubicBezTo>
                    <a:pt x="1741" y="1894"/>
                    <a:pt x="1696" y="1916"/>
                    <a:pt x="1706" y="1926"/>
                  </a:cubicBezTo>
                  <a:cubicBezTo>
                    <a:pt x="1707" y="1926"/>
                    <a:pt x="1707" y="1927"/>
                    <a:pt x="1708" y="1928"/>
                  </a:cubicBezTo>
                  <a:cubicBezTo>
                    <a:pt x="1716" y="1924"/>
                    <a:pt x="1723" y="1921"/>
                    <a:pt x="1724" y="1921"/>
                  </a:cubicBezTo>
                  <a:cubicBezTo>
                    <a:pt x="1727" y="1921"/>
                    <a:pt x="1731" y="1926"/>
                    <a:pt x="1731" y="1926"/>
                  </a:cubicBezTo>
                  <a:cubicBezTo>
                    <a:pt x="1731" y="1926"/>
                    <a:pt x="1746" y="1912"/>
                    <a:pt x="1754" y="1910"/>
                  </a:cubicBezTo>
                  <a:cubicBezTo>
                    <a:pt x="1762" y="1908"/>
                    <a:pt x="1770" y="1911"/>
                    <a:pt x="1770" y="1911"/>
                  </a:cubicBezTo>
                  <a:cubicBezTo>
                    <a:pt x="1770" y="1911"/>
                    <a:pt x="1775" y="1890"/>
                    <a:pt x="1800" y="1889"/>
                  </a:cubicBezTo>
                  <a:cubicBezTo>
                    <a:pt x="1825" y="1888"/>
                    <a:pt x="1842" y="1895"/>
                    <a:pt x="1842" y="1895"/>
                  </a:cubicBezTo>
                  <a:cubicBezTo>
                    <a:pt x="1858" y="1881"/>
                    <a:pt x="1858" y="1881"/>
                    <a:pt x="1858" y="1881"/>
                  </a:cubicBezTo>
                  <a:cubicBezTo>
                    <a:pt x="1900" y="1883"/>
                    <a:pt x="1900" y="1883"/>
                    <a:pt x="1900" y="1883"/>
                  </a:cubicBezTo>
                  <a:cubicBezTo>
                    <a:pt x="1903" y="1880"/>
                    <a:pt x="1905" y="1878"/>
                    <a:pt x="1906" y="1876"/>
                  </a:cubicBezTo>
                  <a:cubicBezTo>
                    <a:pt x="1908" y="1870"/>
                    <a:pt x="1908" y="1866"/>
                    <a:pt x="1907" y="1862"/>
                  </a:cubicBezTo>
                  <a:cubicBezTo>
                    <a:pt x="1889" y="1866"/>
                    <a:pt x="1883" y="1865"/>
                    <a:pt x="1882" y="1858"/>
                  </a:cubicBezTo>
                  <a:cubicBezTo>
                    <a:pt x="1881" y="1848"/>
                    <a:pt x="1915" y="1826"/>
                    <a:pt x="1928" y="1826"/>
                  </a:cubicBezTo>
                  <a:cubicBezTo>
                    <a:pt x="1941" y="1826"/>
                    <a:pt x="1960" y="1821"/>
                    <a:pt x="1964" y="1821"/>
                  </a:cubicBezTo>
                  <a:cubicBezTo>
                    <a:pt x="1968" y="1821"/>
                    <a:pt x="1985" y="1815"/>
                    <a:pt x="1985" y="1815"/>
                  </a:cubicBezTo>
                  <a:cubicBezTo>
                    <a:pt x="1985" y="1815"/>
                    <a:pt x="2012" y="1825"/>
                    <a:pt x="2016" y="1825"/>
                  </a:cubicBezTo>
                  <a:cubicBezTo>
                    <a:pt x="2020" y="1825"/>
                    <a:pt x="2020" y="1809"/>
                    <a:pt x="2020" y="1809"/>
                  </a:cubicBezTo>
                  <a:cubicBezTo>
                    <a:pt x="2020" y="1809"/>
                    <a:pt x="2027" y="1800"/>
                    <a:pt x="2037" y="1803"/>
                  </a:cubicBezTo>
                  <a:cubicBezTo>
                    <a:pt x="2040" y="1804"/>
                    <a:pt x="2042" y="1805"/>
                    <a:pt x="2043" y="1806"/>
                  </a:cubicBezTo>
                  <a:cubicBezTo>
                    <a:pt x="2045" y="1805"/>
                    <a:pt x="2047" y="1804"/>
                    <a:pt x="2048" y="1804"/>
                  </a:cubicBezTo>
                  <a:cubicBezTo>
                    <a:pt x="2054" y="1804"/>
                    <a:pt x="2056" y="1802"/>
                    <a:pt x="2064" y="1802"/>
                  </a:cubicBezTo>
                  <a:cubicBezTo>
                    <a:pt x="2072" y="1802"/>
                    <a:pt x="2106" y="1764"/>
                    <a:pt x="2123" y="1764"/>
                  </a:cubicBezTo>
                  <a:cubicBezTo>
                    <a:pt x="2140" y="1764"/>
                    <a:pt x="2271" y="1764"/>
                    <a:pt x="2271" y="1764"/>
                  </a:cubicBezTo>
                  <a:cubicBezTo>
                    <a:pt x="2271" y="1764"/>
                    <a:pt x="2271" y="1749"/>
                    <a:pt x="2283" y="1749"/>
                  </a:cubicBezTo>
                  <a:cubicBezTo>
                    <a:pt x="2295" y="1749"/>
                    <a:pt x="2303" y="1748"/>
                    <a:pt x="2303" y="1748"/>
                  </a:cubicBezTo>
                  <a:cubicBezTo>
                    <a:pt x="2303" y="1748"/>
                    <a:pt x="2314" y="1727"/>
                    <a:pt x="2323" y="1727"/>
                  </a:cubicBezTo>
                  <a:cubicBezTo>
                    <a:pt x="2333" y="1727"/>
                    <a:pt x="2340" y="1734"/>
                    <a:pt x="2340" y="1727"/>
                  </a:cubicBezTo>
                  <a:cubicBezTo>
                    <a:pt x="2340" y="1720"/>
                    <a:pt x="2343" y="1698"/>
                    <a:pt x="2349" y="1698"/>
                  </a:cubicBezTo>
                  <a:cubicBezTo>
                    <a:pt x="2355" y="1698"/>
                    <a:pt x="2363" y="1690"/>
                    <a:pt x="2363" y="1690"/>
                  </a:cubicBezTo>
                  <a:cubicBezTo>
                    <a:pt x="2363" y="1676"/>
                    <a:pt x="2363" y="1676"/>
                    <a:pt x="2363" y="1676"/>
                  </a:cubicBezTo>
                  <a:cubicBezTo>
                    <a:pt x="2390" y="1657"/>
                    <a:pt x="2390" y="1657"/>
                    <a:pt x="2390" y="1657"/>
                  </a:cubicBezTo>
                  <a:cubicBezTo>
                    <a:pt x="2390" y="1657"/>
                    <a:pt x="2401" y="1636"/>
                    <a:pt x="2414" y="1636"/>
                  </a:cubicBezTo>
                  <a:cubicBezTo>
                    <a:pt x="2427" y="1636"/>
                    <a:pt x="2418" y="1645"/>
                    <a:pt x="2430" y="1645"/>
                  </a:cubicBezTo>
                  <a:cubicBezTo>
                    <a:pt x="2442" y="1645"/>
                    <a:pt x="2469" y="1634"/>
                    <a:pt x="2469" y="1651"/>
                  </a:cubicBezTo>
                  <a:cubicBezTo>
                    <a:pt x="2469" y="1668"/>
                    <a:pt x="2439" y="1725"/>
                    <a:pt x="2442" y="1728"/>
                  </a:cubicBezTo>
                  <a:cubicBezTo>
                    <a:pt x="2445" y="1731"/>
                    <a:pt x="2453" y="1735"/>
                    <a:pt x="2453" y="1735"/>
                  </a:cubicBezTo>
                  <a:cubicBezTo>
                    <a:pt x="2453" y="1735"/>
                    <a:pt x="2439" y="1748"/>
                    <a:pt x="2444" y="1753"/>
                  </a:cubicBezTo>
                  <a:cubicBezTo>
                    <a:pt x="2449" y="1758"/>
                    <a:pt x="2457" y="1755"/>
                    <a:pt x="2457" y="1755"/>
                  </a:cubicBezTo>
                  <a:cubicBezTo>
                    <a:pt x="2458" y="1759"/>
                    <a:pt x="2458" y="1759"/>
                    <a:pt x="2458" y="1759"/>
                  </a:cubicBezTo>
                  <a:cubicBezTo>
                    <a:pt x="2462" y="1761"/>
                    <a:pt x="2472" y="1765"/>
                    <a:pt x="2484" y="1760"/>
                  </a:cubicBezTo>
                  <a:cubicBezTo>
                    <a:pt x="2499" y="1754"/>
                    <a:pt x="2511" y="1738"/>
                    <a:pt x="2511" y="1738"/>
                  </a:cubicBezTo>
                  <a:cubicBezTo>
                    <a:pt x="2517" y="1752"/>
                    <a:pt x="2517" y="1752"/>
                    <a:pt x="2517" y="1752"/>
                  </a:cubicBezTo>
                  <a:cubicBezTo>
                    <a:pt x="2517" y="1752"/>
                    <a:pt x="2549" y="1738"/>
                    <a:pt x="2554" y="1734"/>
                  </a:cubicBezTo>
                  <a:cubicBezTo>
                    <a:pt x="2559" y="1730"/>
                    <a:pt x="2580" y="1724"/>
                    <a:pt x="2580" y="1724"/>
                  </a:cubicBezTo>
                  <a:cubicBezTo>
                    <a:pt x="2590" y="1725"/>
                    <a:pt x="2590" y="1725"/>
                    <a:pt x="2590" y="1725"/>
                  </a:cubicBezTo>
                  <a:cubicBezTo>
                    <a:pt x="2561" y="1748"/>
                    <a:pt x="2561" y="1748"/>
                    <a:pt x="2561" y="1748"/>
                  </a:cubicBezTo>
                  <a:cubicBezTo>
                    <a:pt x="2622" y="1742"/>
                    <a:pt x="2622" y="1742"/>
                    <a:pt x="2622" y="1742"/>
                  </a:cubicBezTo>
                  <a:cubicBezTo>
                    <a:pt x="2622" y="1742"/>
                    <a:pt x="2593" y="1745"/>
                    <a:pt x="2592" y="1751"/>
                  </a:cubicBezTo>
                  <a:cubicBezTo>
                    <a:pt x="2591" y="1757"/>
                    <a:pt x="2587" y="1764"/>
                    <a:pt x="2587" y="1764"/>
                  </a:cubicBezTo>
                  <a:cubicBezTo>
                    <a:pt x="2587" y="1764"/>
                    <a:pt x="2568" y="1753"/>
                    <a:pt x="2561" y="1756"/>
                  </a:cubicBezTo>
                  <a:cubicBezTo>
                    <a:pt x="2554" y="1759"/>
                    <a:pt x="2486" y="1793"/>
                    <a:pt x="2483" y="1801"/>
                  </a:cubicBezTo>
                  <a:cubicBezTo>
                    <a:pt x="2480" y="1809"/>
                    <a:pt x="2474" y="1833"/>
                    <a:pt x="2479" y="1834"/>
                  </a:cubicBezTo>
                  <a:cubicBezTo>
                    <a:pt x="2484" y="1835"/>
                    <a:pt x="2491" y="1829"/>
                    <a:pt x="2491" y="1829"/>
                  </a:cubicBezTo>
                  <a:cubicBezTo>
                    <a:pt x="2491" y="1829"/>
                    <a:pt x="2489" y="1845"/>
                    <a:pt x="2498" y="1843"/>
                  </a:cubicBezTo>
                  <a:cubicBezTo>
                    <a:pt x="2507" y="1841"/>
                    <a:pt x="2513" y="1828"/>
                    <a:pt x="2513" y="1828"/>
                  </a:cubicBezTo>
                  <a:cubicBezTo>
                    <a:pt x="2513" y="1828"/>
                    <a:pt x="2539" y="1825"/>
                    <a:pt x="2553" y="1813"/>
                  </a:cubicBezTo>
                  <a:cubicBezTo>
                    <a:pt x="2567" y="1801"/>
                    <a:pt x="2582" y="1780"/>
                    <a:pt x="2582" y="1780"/>
                  </a:cubicBezTo>
                  <a:cubicBezTo>
                    <a:pt x="2582" y="1780"/>
                    <a:pt x="2582" y="1796"/>
                    <a:pt x="2596" y="1793"/>
                  </a:cubicBezTo>
                  <a:cubicBezTo>
                    <a:pt x="2610" y="1790"/>
                    <a:pt x="2644" y="1775"/>
                    <a:pt x="2655" y="1772"/>
                  </a:cubicBezTo>
                  <a:cubicBezTo>
                    <a:pt x="2666" y="1769"/>
                    <a:pt x="2718" y="1756"/>
                    <a:pt x="2718" y="1756"/>
                  </a:cubicBezTo>
                  <a:cubicBezTo>
                    <a:pt x="2709" y="1746"/>
                    <a:pt x="2709" y="1746"/>
                    <a:pt x="2709" y="1746"/>
                  </a:cubicBezTo>
                  <a:cubicBezTo>
                    <a:pt x="2713" y="1733"/>
                    <a:pt x="2713" y="1733"/>
                    <a:pt x="2713" y="1733"/>
                  </a:cubicBezTo>
                  <a:cubicBezTo>
                    <a:pt x="2692" y="1737"/>
                    <a:pt x="2692" y="1737"/>
                    <a:pt x="2692" y="1737"/>
                  </a:cubicBezTo>
                  <a:cubicBezTo>
                    <a:pt x="2691" y="1721"/>
                    <a:pt x="2691" y="1721"/>
                    <a:pt x="2691" y="1721"/>
                  </a:cubicBezTo>
                  <a:cubicBezTo>
                    <a:pt x="2691" y="1721"/>
                    <a:pt x="2667" y="1735"/>
                    <a:pt x="2661" y="1734"/>
                  </a:cubicBezTo>
                  <a:cubicBezTo>
                    <a:pt x="2655" y="1733"/>
                    <a:pt x="2657" y="1724"/>
                    <a:pt x="2657" y="1724"/>
                  </a:cubicBezTo>
                  <a:cubicBezTo>
                    <a:pt x="2657" y="1724"/>
                    <a:pt x="2625" y="1727"/>
                    <a:pt x="2619" y="1722"/>
                  </a:cubicBezTo>
                  <a:cubicBezTo>
                    <a:pt x="2613" y="1717"/>
                    <a:pt x="2605" y="1707"/>
                    <a:pt x="2614" y="1707"/>
                  </a:cubicBezTo>
                  <a:cubicBezTo>
                    <a:pt x="2623" y="1707"/>
                    <a:pt x="2610" y="1694"/>
                    <a:pt x="2599" y="1697"/>
                  </a:cubicBezTo>
                  <a:cubicBezTo>
                    <a:pt x="2588" y="1700"/>
                    <a:pt x="2584" y="1681"/>
                    <a:pt x="2584" y="1676"/>
                  </a:cubicBezTo>
                  <a:cubicBezTo>
                    <a:pt x="2584" y="1671"/>
                    <a:pt x="2596" y="1658"/>
                    <a:pt x="2596" y="1658"/>
                  </a:cubicBezTo>
                  <a:cubicBezTo>
                    <a:pt x="2580" y="1657"/>
                    <a:pt x="2580" y="1657"/>
                    <a:pt x="2580" y="1657"/>
                  </a:cubicBezTo>
                  <a:cubicBezTo>
                    <a:pt x="2580" y="1657"/>
                    <a:pt x="2599" y="1642"/>
                    <a:pt x="2606" y="1634"/>
                  </a:cubicBezTo>
                  <a:cubicBezTo>
                    <a:pt x="2613" y="1626"/>
                    <a:pt x="2632" y="1607"/>
                    <a:pt x="2632" y="1607"/>
                  </a:cubicBezTo>
                  <a:cubicBezTo>
                    <a:pt x="2622" y="1604"/>
                    <a:pt x="2622" y="1604"/>
                    <a:pt x="2622" y="1604"/>
                  </a:cubicBezTo>
                  <a:cubicBezTo>
                    <a:pt x="2608" y="1622"/>
                    <a:pt x="2608" y="1622"/>
                    <a:pt x="2608" y="1622"/>
                  </a:cubicBezTo>
                  <a:cubicBezTo>
                    <a:pt x="2593" y="1614"/>
                    <a:pt x="2593" y="1614"/>
                    <a:pt x="2593" y="1614"/>
                  </a:cubicBezTo>
                  <a:cubicBezTo>
                    <a:pt x="2574" y="1628"/>
                    <a:pt x="2574" y="1628"/>
                    <a:pt x="2574" y="1628"/>
                  </a:cubicBezTo>
                  <a:cubicBezTo>
                    <a:pt x="2571" y="1615"/>
                    <a:pt x="2571" y="1615"/>
                    <a:pt x="2571" y="1615"/>
                  </a:cubicBezTo>
                  <a:cubicBezTo>
                    <a:pt x="2552" y="1608"/>
                    <a:pt x="2552" y="1608"/>
                    <a:pt x="2552" y="1608"/>
                  </a:cubicBezTo>
                  <a:cubicBezTo>
                    <a:pt x="2537" y="1610"/>
                    <a:pt x="2537" y="1610"/>
                    <a:pt x="2537" y="1610"/>
                  </a:cubicBezTo>
                  <a:cubicBezTo>
                    <a:pt x="2574" y="1597"/>
                    <a:pt x="2574" y="1597"/>
                    <a:pt x="2574" y="1597"/>
                  </a:cubicBezTo>
                  <a:cubicBezTo>
                    <a:pt x="2574" y="1597"/>
                    <a:pt x="2581" y="1607"/>
                    <a:pt x="2591" y="1606"/>
                  </a:cubicBezTo>
                  <a:cubicBezTo>
                    <a:pt x="2601" y="1605"/>
                    <a:pt x="2624" y="1587"/>
                    <a:pt x="2624" y="1587"/>
                  </a:cubicBezTo>
                  <a:cubicBezTo>
                    <a:pt x="2624" y="1587"/>
                    <a:pt x="2650" y="1592"/>
                    <a:pt x="2651" y="1585"/>
                  </a:cubicBezTo>
                  <a:cubicBezTo>
                    <a:pt x="2652" y="1578"/>
                    <a:pt x="2644" y="1567"/>
                    <a:pt x="2644" y="1567"/>
                  </a:cubicBezTo>
                  <a:cubicBezTo>
                    <a:pt x="2660" y="1566"/>
                    <a:pt x="2660" y="1566"/>
                    <a:pt x="2660" y="1566"/>
                  </a:cubicBezTo>
                  <a:cubicBezTo>
                    <a:pt x="2660" y="1566"/>
                    <a:pt x="2651" y="1543"/>
                    <a:pt x="2609" y="1543"/>
                  </a:cubicBezTo>
                  <a:cubicBezTo>
                    <a:pt x="2567" y="1543"/>
                    <a:pt x="2517" y="1564"/>
                    <a:pt x="2494" y="1569"/>
                  </a:cubicBezTo>
                  <a:cubicBezTo>
                    <a:pt x="2471" y="1574"/>
                    <a:pt x="2434" y="1597"/>
                    <a:pt x="2427" y="1603"/>
                  </a:cubicBezTo>
                  <a:cubicBezTo>
                    <a:pt x="2420" y="1609"/>
                    <a:pt x="2378" y="1642"/>
                    <a:pt x="2368" y="1650"/>
                  </a:cubicBezTo>
                  <a:cubicBezTo>
                    <a:pt x="2358" y="1658"/>
                    <a:pt x="2322" y="1663"/>
                    <a:pt x="2322" y="1663"/>
                  </a:cubicBezTo>
                  <a:cubicBezTo>
                    <a:pt x="2322" y="1663"/>
                    <a:pt x="2372" y="1635"/>
                    <a:pt x="2381" y="1626"/>
                  </a:cubicBezTo>
                  <a:cubicBezTo>
                    <a:pt x="2390" y="1617"/>
                    <a:pt x="2403" y="1603"/>
                    <a:pt x="2403" y="1603"/>
                  </a:cubicBezTo>
                  <a:cubicBezTo>
                    <a:pt x="2388" y="1594"/>
                    <a:pt x="2388" y="1594"/>
                    <a:pt x="2388" y="1594"/>
                  </a:cubicBezTo>
                  <a:cubicBezTo>
                    <a:pt x="2388" y="1594"/>
                    <a:pt x="2409" y="1602"/>
                    <a:pt x="2414" y="1597"/>
                  </a:cubicBezTo>
                  <a:cubicBezTo>
                    <a:pt x="2419" y="1592"/>
                    <a:pt x="2469" y="1559"/>
                    <a:pt x="2481" y="1550"/>
                  </a:cubicBezTo>
                  <a:cubicBezTo>
                    <a:pt x="2493" y="1541"/>
                    <a:pt x="2531" y="1535"/>
                    <a:pt x="2535" y="1537"/>
                  </a:cubicBezTo>
                  <a:cubicBezTo>
                    <a:pt x="2539" y="1539"/>
                    <a:pt x="2561" y="1501"/>
                    <a:pt x="2591" y="1496"/>
                  </a:cubicBezTo>
                  <a:cubicBezTo>
                    <a:pt x="2621" y="1491"/>
                    <a:pt x="2697" y="1487"/>
                    <a:pt x="2713" y="1487"/>
                  </a:cubicBezTo>
                  <a:cubicBezTo>
                    <a:pt x="2729" y="1487"/>
                    <a:pt x="2788" y="1504"/>
                    <a:pt x="2798" y="1502"/>
                  </a:cubicBezTo>
                  <a:cubicBezTo>
                    <a:pt x="2808" y="1500"/>
                    <a:pt x="2829" y="1489"/>
                    <a:pt x="2839" y="1488"/>
                  </a:cubicBezTo>
                  <a:cubicBezTo>
                    <a:pt x="2849" y="1487"/>
                    <a:pt x="2880" y="1482"/>
                    <a:pt x="2892" y="1473"/>
                  </a:cubicBezTo>
                  <a:cubicBezTo>
                    <a:pt x="2904" y="1464"/>
                    <a:pt x="2930" y="1439"/>
                    <a:pt x="2940" y="1437"/>
                  </a:cubicBezTo>
                  <a:cubicBezTo>
                    <a:pt x="2950" y="1435"/>
                    <a:pt x="2967" y="1436"/>
                    <a:pt x="2967" y="1436"/>
                  </a:cubicBezTo>
                  <a:cubicBezTo>
                    <a:pt x="2967" y="1436"/>
                    <a:pt x="2980" y="1424"/>
                    <a:pt x="2990" y="1424"/>
                  </a:cubicBezTo>
                  <a:cubicBezTo>
                    <a:pt x="3000" y="1424"/>
                    <a:pt x="3001" y="1429"/>
                    <a:pt x="3018" y="1421"/>
                  </a:cubicBezTo>
                  <a:cubicBezTo>
                    <a:pt x="3018" y="1421"/>
                    <a:pt x="3083" y="1404"/>
                    <a:pt x="3077" y="1394"/>
                  </a:cubicBezTo>
                  <a:cubicBezTo>
                    <a:pt x="3071" y="1384"/>
                    <a:pt x="3052" y="1371"/>
                    <a:pt x="3052" y="1371"/>
                  </a:cubicBezTo>
                  <a:cubicBezTo>
                    <a:pt x="3052" y="1371"/>
                    <a:pt x="3076" y="1373"/>
                    <a:pt x="3076" y="1364"/>
                  </a:cubicBezTo>
                  <a:cubicBezTo>
                    <a:pt x="3076" y="1355"/>
                    <a:pt x="3072" y="1343"/>
                    <a:pt x="3072" y="1343"/>
                  </a:cubicBezTo>
                  <a:cubicBezTo>
                    <a:pt x="3072" y="1343"/>
                    <a:pt x="3100" y="1347"/>
                    <a:pt x="3094" y="1331"/>
                  </a:cubicBezTo>
                  <a:cubicBezTo>
                    <a:pt x="3088" y="1315"/>
                    <a:pt x="3065" y="1304"/>
                    <a:pt x="3058" y="1312"/>
                  </a:cubicBezTo>
                  <a:close/>
                  <a:moveTo>
                    <a:pt x="969" y="735"/>
                  </a:moveTo>
                  <a:cubicBezTo>
                    <a:pt x="976" y="730"/>
                    <a:pt x="1004" y="720"/>
                    <a:pt x="1004" y="720"/>
                  </a:cubicBezTo>
                  <a:cubicBezTo>
                    <a:pt x="1004" y="720"/>
                    <a:pt x="999" y="712"/>
                    <a:pt x="1005" y="709"/>
                  </a:cubicBezTo>
                  <a:cubicBezTo>
                    <a:pt x="1011" y="706"/>
                    <a:pt x="1029" y="715"/>
                    <a:pt x="1051" y="709"/>
                  </a:cubicBezTo>
                  <a:cubicBezTo>
                    <a:pt x="1073" y="703"/>
                    <a:pt x="1053" y="691"/>
                    <a:pt x="1034" y="691"/>
                  </a:cubicBezTo>
                  <a:cubicBezTo>
                    <a:pt x="1015" y="691"/>
                    <a:pt x="1010" y="698"/>
                    <a:pt x="999" y="703"/>
                  </a:cubicBezTo>
                  <a:cubicBezTo>
                    <a:pt x="988" y="708"/>
                    <a:pt x="989" y="698"/>
                    <a:pt x="989" y="698"/>
                  </a:cubicBezTo>
                  <a:cubicBezTo>
                    <a:pt x="977" y="703"/>
                    <a:pt x="977" y="703"/>
                    <a:pt x="977" y="703"/>
                  </a:cubicBezTo>
                  <a:cubicBezTo>
                    <a:pt x="954" y="700"/>
                    <a:pt x="954" y="700"/>
                    <a:pt x="954" y="700"/>
                  </a:cubicBezTo>
                  <a:cubicBezTo>
                    <a:pt x="954" y="700"/>
                    <a:pt x="933" y="710"/>
                    <a:pt x="924" y="707"/>
                  </a:cubicBezTo>
                  <a:cubicBezTo>
                    <a:pt x="915" y="704"/>
                    <a:pt x="950" y="694"/>
                    <a:pt x="960" y="689"/>
                  </a:cubicBezTo>
                  <a:cubicBezTo>
                    <a:pt x="970" y="684"/>
                    <a:pt x="979" y="690"/>
                    <a:pt x="992" y="690"/>
                  </a:cubicBezTo>
                  <a:cubicBezTo>
                    <a:pt x="1005" y="690"/>
                    <a:pt x="1001" y="681"/>
                    <a:pt x="1001" y="681"/>
                  </a:cubicBezTo>
                  <a:cubicBezTo>
                    <a:pt x="1071" y="676"/>
                    <a:pt x="1071" y="676"/>
                    <a:pt x="1071" y="676"/>
                  </a:cubicBezTo>
                  <a:cubicBezTo>
                    <a:pt x="1071" y="676"/>
                    <a:pt x="1106" y="666"/>
                    <a:pt x="1119" y="664"/>
                  </a:cubicBezTo>
                  <a:cubicBezTo>
                    <a:pt x="1132" y="662"/>
                    <a:pt x="1140" y="669"/>
                    <a:pt x="1140" y="669"/>
                  </a:cubicBezTo>
                  <a:cubicBezTo>
                    <a:pt x="1140" y="669"/>
                    <a:pt x="1143" y="663"/>
                    <a:pt x="1150" y="660"/>
                  </a:cubicBezTo>
                  <a:cubicBezTo>
                    <a:pt x="1157" y="657"/>
                    <a:pt x="1179" y="667"/>
                    <a:pt x="1179" y="667"/>
                  </a:cubicBezTo>
                  <a:cubicBezTo>
                    <a:pt x="1179" y="667"/>
                    <a:pt x="1157" y="673"/>
                    <a:pt x="1149" y="677"/>
                  </a:cubicBezTo>
                  <a:cubicBezTo>
                    <a:pt x="1141" y="681"/>
                    <a:pt x="1107" y="683"/>
                    <a:pt x="1107" y="683"/>
                  </a:cubicBezTo>
                  <a:cubicBezTo>
                    <a:pt x="1105" y="691"/>
                    <a:pt x="1105" y="691"/>
                    <a:pt x="1105" y="691"/>
                  </a:cubicBezTo>
                  <a:cubicBezTo>
                    <a:pt x="1123" y="691"/>
                    <a:pt x="1123" y="691"/>
                    <a:pt x="1123" y="691"/>
                  </a:cubicBezTo>
                  <a:cubicBezTo>
                    <a:pt x="1123" y="691"/>
                    <a:pt x="1134" y="694"/>
                    <a:pt x="1138" y="694"/>
                  </a:cubicBezTo>
                  <a:cubicBezTo>
                    <a:pt x="1142" y="694"/>
                    <a:pt x="1168" y="691"/>
                    <a:pt x="1182" y="690"/>
                  </a:cubicBezTo>
                  <a:cubicBezTo>
                    <a:pt x="1196" y="689"/>
                    <a:pt x="1176" y="680"/>
                    <a:pt x="1176" y="680"/>
                  </a:cubicBezTo>
                  <a:cubicBezTo>
                    <a:pt x="1213" y="679"/>
                    <a:pt x="1213" y="679"/>
                    <a:pt x="1213" y="679"/>
                  </a:cubicBezTo>
                  <a:cubicBezTo>
                    <a:pt x="1213" y="679"/>
                    <a:pt x="1208" y="692"/>
                    <a:pt x="1189" y="698"/>
                  </a:cubicBezTo>
                  <a:cubicBezTo>
                    <a:pt x="1170" y="704"/>
                    <a:pt x="1158" y="711"/>
                    <a:pt x="1158" y="711"/>
                  </a:cubicBezTo>
                  <a:cubicBezTo>
                    <a:pt x="1158" y="711"/>
                    <a:pt x="1157" y="723"/>
                    <a:pt x="1149" y="725"/>
                  </a:cubicBezTo>
                  <a:cubicBezTo>
                    <a:pt x="1141" y="727"/>
                    <a:pt x="1119" y="716"/>
                    <a:pt x="1119" y="716"/>
                  </a:cubicBezTo>
                  <a:cubicBezTo>
                    <a:pt x="1114" y="723"/>
                    <a:pt x="1114" y="723"/>
                    <a:pt x="1114" y="723"/>
                  </a:cubicBezTo>
                  <a:cubicBezTo>
                    <a:pt x="1104" y="714"/>
                    <a:pt x="1104" y="714"/>
                    <a:pt x="1104" y="714"/>
                  </a:cubicBezTo>
                  <a:cubicBezTo>
                    <a:pt x="1094" y="724"/>
                    <a:pt x="1094" y="724"/>
                    <a:pt x="1094" y="724"/>
                  </a:cubicBezTo>
                  <a:cubicBezTo>
                    <a:pt x="1094" y="724"/>
                    <a:pt x="1086" y="718"/>
                    <a:pt x="1080" y="725"/>
                  </a:cubicBezTo>
                  <a:cubicBezTo>
                    <a:pt x="1074" y="732"/>
                    <a:pt x="1086" y="738"/>
                    <a:pt x="1086" y="738"/>
                  </a:cubicBezTo>
                  <a:cubicBezTo>
                    <a:pt x="1065" y="741"/>
                    <a:pt x="1065" y="741"/>
                    <a:pt x="1065" y="741"/>
                  </a:cubicBezTo>
                  <a:cubicBezTo>
                    <a:pt x="1065" y="741"/>
                    <a:pt x="1050" y="751"/>
                    <a:pt x="1047" y="751"/>
                  </a:cubicBezTo>
                  <a:cubicBezTo>
                    <a:pt x="1044" y="751"/>
                    <a:pt x="1001" y="764"/>
                    <a:pt x="990" y="760"/>
                  </a:cubicBezTo>
                  <a:cubicBezTo>
                    <a:pt x="979" y="756"/>
                    <a:pt x="1018" y="749"/>
                    <a:pt x="1033" y="746"/>
                  </a:cubicBezTo>
                  <a:cubicBezTo>
                    <a:pt x="1048" y="743"/>
                    <a:pt x="1070" y="726"/>
                    <a:pt x="1057" y="724"/>
                  </a:cubicBezTo>
                  <a:cubicBezTo>
                    <a:pt x="1044" y="722"/>
                    <a:pt x="992" y="751"/>
                    <a:pt x="979" y="753"/>
                  </a:cubicBezTo>
                  <a:cubicBezTo>
                    <a:pt x="966" y="755"/>
                    <a:pt x="940" y="751"/>
                    <a:pt x="931" y="746"/>
                  </a:cubicBezTo>
                  <a:cubicBezTo>
                    <a:pt x="922" y="741"/>
                    <a:pt x="962" y="740"/>
                    <a:pt x="969" y="735"/>
                  </a:cubicBezTo>
                  <a:close/>
                  <a:moveTo>
                    <a:pt x="1324" y="872"/>
                  </a:moveTo>
                  <a:cubicBezTo>
                    <a:pt x="1324" y="869"/>
                    <a:pt x="1312" y="855"/>
                    <a:pt x="1308" y="862"/>
                  </a:cubicBezTo>
                  <a:cubicBezTo>
                    <a:pt x="1304" y="869"/>
                    <a:pt x="1305" y="876"/>
                    <a:pt x="1305" y="876"/>
                  </a:cubicBezTo>
                  <a:cubicBezTo>
                    <a:pt x="1305" y="876"/>
                    <a:pt x="1291" y="868"/>
                    <a:pt x="1285" y="870"/>
                  </a:cubicBezTo>
                  <a:cubicBezTo>
                    <a:pt x="1279" y="872"/>
                    <a:pt x="1283" y="879"/>
                    <a:pt x="1283" y="879"/>
                  </a:cubicBezTo>
                  <a:cubicBezTo>
                    <a:pt x="1266" y="881"/>
                    <a:pt x="1266" y="881"/>
                    <a:pt x="1266" y="881"/>
                  </a:cubicBezTo>
                  <a:cubicBezTo>
                    <a:pt x="1266" y="881"/>
                    <a:pt x="1254" y="877"/>
                    <a:pt x="1239" y="887"/>
                  </a:cubicBezTo>
                  <a:cubicBezTo>
                    <a:pt x="1224" y="897"/>
                    <a:pt x="1195" y="916"/>
                    <a:pt x="1181" y="919"/>
                  </a:cubicBezTo>
                  <a:cubicBezTo>
                    <a:pt x="1167" y="922"/>
                    <a:pt x="1147" y="928"/>
                    <a:pt x="1147" y="928"/>
                  </a:cubicBezTo>
                  <a:cubicBezTo>
                    <a:pt x="1147" y="928"/>
                    <a:pt x="1116" y="920"/>
                    <a:pt x="1108" y="928"/>
                  </a:cubicBezTo>
                  <a:cubicBezTo>
                    <a:pt x="1100" y="936"/>
                    <a:pt x="1094" y="947"/>
                    <a:pt x="1094" y="947"/>
                  </a:cubicBezTo>
                  <a:cubicBezTo>
                    <a:pt x="1065" y="947"/>
                    <a:pt x="1065" y="947"/>
                    <a:pt x="1065" y="947"/>
                  </a:cubicBezTo>
                  <a:cubicBezTo>
                    <a:pt x="1059" y="953"/>
                    <a:pt x="1059" y="953"/>
                    <a:pt x="1059" y="953"/>
                  </a:cubicBezTo>
                  <a:cubicBezTo>
                    <a:pt x="1059" y="953"/>
                    <a:pt x="1045" y="950"/>
                    <a:pt x="1038" y="952"/>
                  </a:cubicBezTo>
                  <a:cubicBezTo>
                    <a:pt x="1031" y="954"/>
                    <a:pt x="1012" y="957"/>
                    <a:pt x="1005" y="956"/>
                  </a:cubicBezTo>
                  <a:cubicBezTo>
                    <a:pt x="998" y="955"/>
                    <a:pt x="987" y="947"/>
                    <a:pt x="984" y="948"/>
                  </a:cubicBezTo>
                  <a:cubicBezTo>
                    <a:pt x="981" y="949"/>
                    <a:pt x="963" y="946"/>
                    <a:pt x="963" y="942"/>
                  </a:cubicBezTo>
                  <a:cubicBezTo>
                    <a:pt x="963" y="938"/>
                    <a:pt x="985" y="939"/>
                    <a:pt x="985" y="939"/>
                  </a:cubicBezTo>
                  <a:cubicBezTo>
                    <a:pt x="985" y="939"/>
                    <a:pt x="994" y="929"/>
                    <a:pt x="997" y="929"/>
                  </a:cubicBezTo>
                  <a:cubicBezTo>
                    <a:pt x="1000" y="929"/>
                    <a:pt x="1008" y="937"/>
                    <a:pt x="1018" y="937"/>
                  </a:cubicBezTo>
                  <a:cubicBezTo>
                    <a:pt x="1028" y="937"/>
                    <a:pt x="1028" y="929"/>
                    <a:pt x="1028" y="929"/>
                  </a:cubicBezTo>
                  <a:cubicBezTo>
                    <a:pt x="1039" y="929"/>
                    <a:pt x="1039" y="929"/>
                    <a:pt x="1039" y="929"/>
                  </a:cubicBezTo>
                  <a:cubicBezTo>
                    <a:pt x="1039" y="929"/>
                    <a:pt x="1049" y="911"/>
                    <a:pt x="1059" y="910"/>
                  </a:cubicBezTo>
                  <a:cubicBezTo>
                    <a:pt x="1069" y="909"/>
                    <a:pt x="1072" y="918"/>
                    <a:pt x="1090" y="911"/>
                  </a:cubicBezTo>
                  <a:cubicBezTo>
                    <a:pt x="1108" y="904"/>
                    <a:pt x="1093" y="882"/>
                    <a:pt x="1093" y="882"/>
                  </a:cubicBezTo>
                  <a:cubicBezTo>
                    <a:pt x="1093" y="882"/>
                    <a:pt x="1071" y="868"/>
                    <a:pt x="1085" y="862"/>
                  </a:cubicBezTo>
                  <a:cubicBezTo>
                    <a:pt x="1091" y="859"/>
                    <a:pt x="1099" y="872"/>
                    <a:pt x="1099" y="872"/>
                  </a:cubicBezTo>
                  <a:cubicBezTo>
                    <a:pt x="1107" y="871"/>
                    <a:pt x="1107" y="871"/>
                    <a:pt x="1107" y="871"/>
                  </a:cubicBezTo>
                  <a:cubicBezTo>
                    <a:pt x="1119" y="882"/>
                    <a:pt x="1119" y="882"/>
                    <a:pt x="1119" y="882"/>
                  </a:cubicBezTo>
                  <a:cubicBezTo>
                    <a:pt x="1119" y="882"/>
                    <a:pt x="1133" y="881"/>
                    <a:pt x="1137" y="884"/>
                  </a:cubicBezTo>
                  <a:cubicBezTo>
                    <a:pt x="1141" y="887"/>
                    <a:pt x="1130" y="902"/>
                    <a:pt x="1153" y="901"/>
                  </a:cubicBezTo>
                  <a:cubicBezTo>
                    <a:pt x="1176" y="900"/>
                    <a:pt x="1176" y="895"/>
                    <a:pt x="1176" y="895"/>
                  </a:cubicBezTo>
                  <a:cubicBezTo>
                    <a:pt x="1187" y="896"/>
                    <a:pt x="1187" y="896"/>
                    <a:pt x="1187" y="896"/>
                  </a:cubicBezTo>
                  <a:cubicBezTo>
                    <a:pt x="1187" y="896"/>
                    <a:pt x="1227" y="880"/>
                    <a:pt x="1241" y="871"/>
                  </a:cubicBezTo>
                  <a:cubicBezTo>
                    <a:pt x="1255" y="862"/>
                    <a:pt x="1277" y="855"/>
                    <a:pt x="1295" y="854"/>
                  </a:cubicBezTo>
                  <a:cubicBezTo>
                    <a:pt x="1313" y="853"/>
                    <a:pt x="1351" y="857"/>
                    <a:pt x="1348" y="861"/>
                  </a:cubicBezTo>
                  <a:cubicBezTo>
                    <a:pt x="1345" y="865"/>
                    <a:pt x="1324" y="875"/>
                    <a:pt x="1324" y="872"/>
                  </a:cubicBezTo>
                  <a:close/>
                  <a:moveTo>
                    <a:pt x="1405" y="1355"/>
                  </a:moveTo>
                  <a:cubicBezTo>
                    <a:pt x="1405" y="1355"/>
                    <a:pt x="1402" y="1384"/>
                    <a:pt x="1403" y="1393"/>
                  </a:cubicBezTo>
                  <a:cubicBezTo>
                    <a:pt x="1404" y="1402"/>
                    <a:pt x="1399" y="1411"/>
                    <a:pt x="1396" y="1416"/>
                  </a:cubicBezTo>
                  <a:cubicBezTo>
                    <a:pt x="1393" y="1421"/>
                    <a:pt x="1400" y="1422"/>
                    <a:pt x="1403" y="1433"/>
                  </a:cubicBezTo>
                  <a:cubicBezTo>
                    <a:pt x="1406" y="1444"/>
                    <a:pt x="1382" y="1471"/>
                    <a:pt x="1382" y="1471"/>
                  </a:cubicBezTo>
                  <a:cubicBezTo>
                    <a:pt x="1368" y="1466"/>
                    <a:pt x="1368" y="1466"/>
                    <a:pt x="1368" y="1466"/>
                  </a:cubicBezTo>
                  <a:cubicBezTo>
                    <a:pt x="1368" y="1466"/>
                    <a:pt x="1365" y="1485"/>
                    <a:pt x="1348" y="1482"/>
                  </a:cubicBezTo>
                  <a:cubicBezTo>
                    <a:pt x="1331" y="1479"/>
                    <a:pt x="1387" y="1431"/>
                    <a:pt x="1387" y="1419"/>
                  </a:cubicBezTo>
                  <a:cubicBezTo>
                    <a:pt x="1387" y="1407"/>
                    <a:pt x="1366" y="1427"/>
                    <a:pt x="1366" y="1427"/>
                  </a:cubicBezTo>
                  <a:cubicBezTo>
                    <a:pt x="1379" y="1406"/>
                    <a:pt x="1379" y="1406"/>
                    <a:pt x="1379" y="1406"/>
                  </a:cubicBezTo>
                  <a:cubicBezTo>
                    <a:pt x="1379" y="1406"/>
                    <a:pt x="1383" y="1393"/>
                    <a:pt x="1372" y="1390"/>
                  </a:cubicBezTo>
                  <a:cubicBezTo>
                    <a:pt x="1361" y="1387"/>
                    <a:pt x="1367" y="1407"/>
                    <a:pt x="1354" y="1407"/>
                  </a:cubicBezTo>
                  <a:cubicBezTo>
                    <a:pt x="1341" y="1407"/>
                    <a:pt x="1351" y="1376"/>
                    <a:pt x="1351" y="1376"/>
                  </a:cubicBezTo>
                  <a:cubicBezTo>
                    <a:pt x="1351" y="1376"/>
                    <a:pt x="1345" y="1370"/>
                    <a:pt x="1343" y="1361"/>
                  </a:cubicBezTo>
                  <a:cubicBezTo>
                    <a:pt x="1341" y="1352"/>
                    <a:pt x="1365" y="1352"/>
                    <a:pt x="1367" y="1346"/>
                  </a:cubicBezTo>
                  <a:cubicBezTo>
                    <a:pt x="1369" y="1340"/>
                    <a:pt x="1347" y="1349"/>
                    <a:pt x="1343" y="1340"/>
                  </a:cubicBezTo>
                  <a:cubicBezTo>
                    <a:pt x="1342" y="1338"/>
                    <a:pt x="1372" y="1307"/>
                    <a:pt x="1382" y="1303"/>
                  </a:cubicBezTo>
                  <a:cubicBezTo>
                    <a:pt x="1392" y="1299"/>
                    <a:pt x="1391" y="1306"/>
                    <a:pt x="1395" y="1307"/>
                  </a:cubicBezTo>
                  <a:cubicBezTo>
                    <a:pt x="1399" y="1308"/>
                    <a:pt x="1410" y="1305"/>
                    <a:pt x="1418" y="1322"/>
                  </a:cubicBezTo>
                  <a:cubicBezTo>
                    <a:pt x="1426" y="1339"/>
                    <a:pt x="1405" y="1355"/>
                    <a:pt x="1405" y="1355"/>
                  </a:cubicBezTo>
                  <a:close/>
                  <a:moveTo>
                    <a:pt x="156" y="1459"/>
                  </a:moveTo>
                  <a:cubicBezTo>
                    <a:pt x="146" y="1456"/>
                    <a:pt x="147" y="1473"/>
                    <a:pt x="147" y="1473"/>
                  </a:cubicBezTo>
                  <a:cubicBezTo>
                    <a:pt x="155" y="1473"/>
                    <a:pt x="166" y="1462"/>
                    <a:pt x="156" y="1459"/>
                  </a:cubicBezTo>
                  <a:close/>
                  <a:moveTo>
                    <a:pt x="2216" y="1197"/>
                  </a:moveTo>
                  <a:cubicBezTo>
                    <a:pt x="2248" y="1196"/>
                    <a:pt x="2259" y="1170"/>
                    <a:pt x="2228" y="1170"/>
                  </a:cubicBezTo>
                  <a:cubicBezTo>
                    <a:pt x="2196" y="1171"/>
                    <a:pt x="2216" y="1197"/>
                    <a:pt x="2216" y="1197"/>
                  </a:cubicBezTo>
                  <a:close/>
                  <a:moveTo>
                    <a:pt x="2456" y="825"/>
                  </a:moveTo>
                  <a:cubicBezTo>
                    <a:pt x="2456" y="825"/>
                    <a:pt x="2433" y="822"/>
                    <a:pt x="2423" y="814"/>
                  </a:cubicBezTo>
                  <a:cubicBezTo>
                    <a:pt x="2413" y="806"/>
                    <a:pt x="2418" y="785"/>
                    <a:pt x="2418" y="785"/>
                  </a:cubicBezTo>
                  <a:cubicBezTo>
                    <a:pt x="2397" y="769"/>
                    <a:pt x="2397" y="769"/>
                    <a:pt x="2397" y="769"/>
                  </a:cubicBezTo>
                  <a:cubicBezTo>
                    <a:pt x="2370" y="772"/>
                    <a:pt x="2370" y="772"/>
                    <a:pt x="2370" y="772"/>
                  </a:cubicBezTo>
                  <a:cubicBezTo>
                    <a:pt x="2366" y="763"/>
                    <a:pt x="2366" y="763"/>
                    <a:pt x="2366" y="763"/>
                  </a:cubicBezTo>
                  <a:cubicBezTo>
                    <a:pt x="2353" y="741"/>
                    <a:pt x="2353" y="741"/>
                    <a:pt x="2353" y="741"/>
                  </a:cubicBezTo>
                  <a:cubicBezTo>
                    <a:pt x="2330" y="745"/>
                    <a:pt x="2330" y="745"/>
                    <a:pt x="2330" y="745"/>
                  </a:cubicBezTo>
                  <a:cubicBezTo>
                    <a:pt x="2317" y="738"/>
                    <a:pt x="2317" y="738"/>
                    <a:pt x="2317" y="738"/>
                  </a:cubicBezTo>
                  <a:cubicBezTo>
                    <a:pt x="2329" y="727"/>
                    <a:pt x="2329" y="727"/>
                    <a:pt x="2329" y="727"/>
                  </a:cubicBezTo>
                  <a:cubicBezTo>
                    <a:pt x="2327" y="710"/>
                    <a:pt x="2327" y="710"/>
                    <a:pt x="2327" y="710"/>
                  </a:cubicBezTo>
                  <a:cubicBezTo>
                    <a:pt x="2293" y="728"/>
                    <a:pt x="2293" y="728"/>
                    <a:pt x="2293" y="728"/>
                  </a:cubicBezTo>
                  <a:cubicBezTo>
                    <a:pt x="2276" y="736"/>
                    <a:pt x="2276" y="736"/>
                    <a:pt x="2276" y="736"/>
                  </a:cubicBezTo>
                  <a:cubicBezTo>
                    <a:pt x="2257" y="764"/>
                    <a:pt x="2257" y="764"/>
                    <a:pt x="2257" y="764"/>
                  </a:cubicBezTo>
                  <a:cubicBezTo>
                    <a:pt x="2257" y="764"/>
                    <a:pt x="2226" y="771"/>
                    <a:pt x="2224" y="777"/>
                  </a:cubicBezTo>
                  <a:cubicBezTo>
                    <a:pt x="2222" y="783"/>
                    <a:pt x="2234" y="790"/>
                    <a:pt x="2224" y="793"/>
                  </a:cubicBezTo>
                  <a:cubicBezTo>
                    <a:pt x="2215" y="797"/>
                    <a:pt x="2186" y="807"/>
                    <a:pt x="2186" y="807"/>
                  </a:cubicBezTo>
                  <a:cubicBezTo>
                    <a:pt x="2203" y="815"/>
                    <a:pt x="2203" y="815"/>
                    <a:pt x="2203" y="815"/>
                  </a:cubicBezTo>
                  <a:cubicBezTo>
                    <a:pt x="2203" y="815"/>
                    <a:pt x="2230" y="811"/>
                    <a:pt x="2231" y="814"/>
                  </a:cubicBezTo>
                  <a:cubicBezTo>
                    <a:pt x="2231" y="817"/>
                    <a:pt x="2225" y="822"/>
                    <a:pt x="2225" y="833"/>
                  </a:cubicBezTo>
                  <a:cubicBezTo>
                    <a:pt x="2225" y="844"/>
                    <a:pt x="2268" y="845"/>
                    <a:pt x="2287" y="835"/>
                  </a:cubicBezTo>
                  <a:cubicBezTo>
                    <a:pt x="2306" y="826"/>
                    <a:pt x="2296" y="808"/>
                    <a:pt x="2324" y="809"/>
                  </a:cubicBezTo>
                  <a:cubicBezTo>
                    <a:pt x="2351" y="809"/>
                    <a:pt x="2355" y="818"/>
                    <a:pt x="2355" y="818"/>
                  </a:cubicBezTo>
                  <a:cubicBezTo>
                    <a:pt x="2386" y="823"/>
                    <a:pt x="2386" y="823"/>
                    <a:pt x="2386" y="823"/>
                  </a:cubicBezTo>
                  <a:cubicBezTo>
                    <a:pt x="2390" y="834"/>
                    <a:pt x="2390" y="834"/>
                    <a:pt x="2390" y="834"/>
                  </a:cubicBezTo>
                  <a:cubicBezTo>
                    <a:pt x="2452" y="838"/>
                    <a:pt x="2452" y="838"/>
                    <a:pt x="2452" y="838"/>
                  </a:cubicBezTo>
                  <a:lnTo>
                    <a:pt x="2456" y="825"/>
                  </a:lnTo>
                  <a:close/>
                  <a:moveTo>
                    <a:pt x="2393" y="886"/>
                  </a:moveTo>
                  <a:cubicBezTo>
                    <a:pt x="2352" y="899"/>
                    <a:pt x="2393" y="913"/>
                    <a:pt x="2393" y="913"/>
                  </a:cubicBezTo>
                  <a:cubicBezTo>
                    <a:pt x="2415" y="897"/>
                    <a:pt x="2434" y="872"/>
                    <a:pt x="2393" y="886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61" name="Freeform 341">
              <a:extLst>
                <a:ext uri="{FF2B5EF4-FFF2-40B4-BE49-F238E27FC236}">
                  <a16:creationId xmlns:a16="http://schemas.microsoft.com/office/drawing/2014/main" id="{9A4B4EDC-0C41-D9AD-D761-EC762AAB2E35}"/>
                </a:ext>
              </a:extLst>
            </p:cNvPr>
            <p:cNvSpPr>
              <a:spLocks/>
            </p:cNvSpPr>
            <p:nvPr/>
          </p:nvSpPr>
          <p:spPr bwMode="gray">
            <a:xfrm>
              <a:off x="-15577" y="-9989"/>
              <a:ext cx="1488" cy="2346"/>
            </a:xfrm>
            <a:custGeom>
              <a:avLst/>
              <a:gdLst>
                <a:gd name="T0" fmla="*/ 604 w 630"/>
                <a:gd name="T1" fmla="*/ 869 h 993"/>
                <a:gd name="T2" fmla="*/ 575 w 630"/>
                <a:gd name="T3" fmla="*/ 854 h 993"/>
                <a:gd name="T4" fmla="*/ 581 w 630"/>
                <a:gd name="T5" fmla="*/ 821 h 993"/>
                <a:gd name="T6" fmla="*/ 607 w 630"/>
                <a:gd name="T7" fmla="*/ 835 h 993"/>
                <a:gd name="T8" fmla="*/ 603 w 630"/>
                <a:gd name="T9" fmla="*/ 799 h 993"/>
                <a:gd name="T10" fmla="*/ 605 w 630"/>
                <a:gd name="T11" fmla="*/ 744 h 993"/>
                <a:gd name="T12" fmla="*/ 609 w 630"/>
                <a:gd name="T13" fmla="*/ 694 h 993"/>
                <a:gd name="T14" fmla="*/ 597 w 630"/>
                <a:gd name="T15" fmla="*/ 632 h 993"/>
                <a:gd name="T16" fmla="*/ 556 w 630"/>
                <a:gd name="T17" fmla="*/ 590 h 993"/>
                <a:gd name="T18" fmla="*/ 533 w 630"/>
                <a:gd name="T19" fmla="*/ 591 h 993"/>
                <a:gd name="T20" fmla="*/ 523 w 630"/>
                <a:gd name="T21" fmla="*/ 562 h 993"/>
                <a:gd name="T22" fmla="*/ 525 w 630"/>
                <a:gd name="T23" fmla="*/ 507 h 993"/>
                <a:gd name="T24" fmla="*/ 449 w 630"/>
                <a:gd name="T25" fmla="*/ 541 h 993"/>
                <a:gd name="T26" fmla="*/ 399 w 630"/>
                <a:gd name="T27" fmla="*/ 509 h 993"/>
                <a:gd name="T28" fmla="*/ 391 w 630"/>
                <a:gd name="T29" fmla="*/ 465 h 993"/>
                <a:gd name="T30" fmla="*/ 371 w 630"/>
                <a:gd name="T31" fmla="*/ 420 h 993"/>
                <a:gd name="T32" fmla="*/ 371 w 630"/>
                <a:gd name="T33" fmla="*/ 396 h 993"/>
                <a:gd name="T34" fmla="*/ 368 w 630"/>
                <a:gd name="T35" fmla="*/ 370 h 993"/>
                <a:gd name="T36" fmla="*/ 389 w 630"/>
                <a:gd name="T37" fmla="*/ 331 h 993"/>
                <a:gd name="T38" fmla="*/ 403 w 630"/>
                <a:gd name="T39" fmla="*/ 277 h 993"/>
                <a:gd name="T40" fmla="*/ 422 w 630"/>
                <a:gd name="T41" fmla="*/ 265 h 993"/>
                <a:gd name="T42" fmla="*/ 471 w 630"/>
                <a:gd name="T43" fmla="*/ 244 h 993"/>
                <a:gd name="T44" fmla="*/ 492 w 630"/>
                <a:gd name="T45" fmla="*/ 240 h 993"/>
                <a:gd name="T46" fmla="*/ 527 w 630"/>
                <a:gd name="T47" fmla="*/ 236 h 993"/>
                <a:gd name="T48" fmla="*/ 543 w 630"/>
                <a:gd name="T49" fmla="*/ 227 h 993"/>
                <a:gd name="T50" fmla="*/ 526 w 630"/>
                <a:gd name="T51" fmla="*/ 207 h 993"/>
                <a:gd name="T52" fmla="*/ 520 w 630"/>
                <a:gd name="T53" fmla="*/ 171 h 993"/>
                <a:gd name="T54" fmla="*/ 505 w 630"/>
                <a:gd name="T55" fmla="*/ 135 h 993"/>
                <a:gd name="T56" fmla="*/ 472 w 630"/>
                <a:gd name="T57" fmla="*/ 130 h 993"/>
                <a:gd name="T58" fmla="*/ 434 w 630"/>
                <a:gd name="T59" fmla="*/ 138 h 993"/>
                <a:gd name="T60" fmla="*/ 388 w 630"/>
                <a:gd name="T61" fmla="*/ 106 h 993"/>
                <a:gd name="T62" fmla="*/ 364 w 630"/>
                <a:gd name="T63" fmla="*/ 73 h 993"/>
                <a:gd name="T64" fmla="*/ 343 w 630"/>
                <a:gd name="T65" fmla="*/ 57 h 993"/>
                <a:gd name="T66" fmla="*/ 327 w 630"/>
                <a:gd name="T67" fmla="*/ 33 h 993"/>
                <a:gd name="T68" fmla="*/ 264 w 630"/>
                <a:gd name="T69" fmla="*/ 0 h 993"/>
                <a:gd name="T70" fmla="*/ 278 w 630"/>
                <a:gd name="T71" fmla="*/ 1 h 993"/>
                <a:gd name="T72" fmla="*/ 284 w 630"/>
                <a:gd name="T73" fmla="*/ 31 h 993"/>
                <a:gd name="T74" fmla="*/ 277 w 630"/>
                <a:gd name="T75" fmla="*/ 58 h 993"/>
                <a:gd name="T76" fmla="*/ 218 w 630"/>
                <a:gd name="T77" fmla="*/ 143 h 993"/>
                <a:gd name="T78" fmla="*/ 147 w 630"/>
                <a:gd name="T79" fmla="*/ 186 h 993"/>
                <a:gd name="T80" fmla="*/ 142 w 630"/>
                <a:gd name="T81" fmla="*/ 201 h 993"/>
                <a:gd name="T82" fmla="*/ 128 w 630"/>
                <a:gd name="T83" fmla="*/ 252 h 993"/>
                <a:gd name="T84" fmla="*/ 103 w 630"/>
                <a:gd name="T85" fmla="*/ 270 h 993"/>
                <a:gd name="T86" fmla="*/ 69 w 630"/>
                <a:gd name="T87" fmla="*/ 243 h 993"/>
                <a:gd name="T88" fmla="*/ 40 w 630"/>
                <a:gd name="T89" fmla="*/ 246 h 993"/>
                <a:gd name="T90" fmla="*/ 37 w 630"/>
                <a:gd name="T91" fmla="*/ 224 h 993"/>
                <a:gd name="T92" fmla="*/ 43 w 630"/>
                <a:gd name="T93" fmla="*/ 188 h 993"/>
                <a:gd name="T94" fmla="*/ 0 w 630"/>
                <a:gd name="T95" fmla="*/ 254 h 993"/>
                <a:gd name="T96" fmla="*/ 9 w 630"/>
                <a:gd name="T97" fmla="*/ 282 h 993"/>
                <a:gd name="T98" fmla="*/ 8 w 630"/>
                <a:gd name="T99" fmla="*/ 331 h 993"/>
                <a:gd name="T100" fmla="*/ 85 w 630"/>
                <a:gd name="T101" fmla="*/ 394 h 993"/>
                <a:gd name="T102" fmla="*/ 126 w 630"/>
                <a:gd name="T103" fmla="*/ 462 h 993"/>
                <a:gd name="T104" fmla="*/ 169 w 630"/>
                <a:gd name="T105" fmla="*/ 547 h 993"/>
                <a:gd name="T106" fmla="*/ 214 w 630"/>
                <a:gd name="T107" fmla="*/ 622 h 993"/>
                <a:gd name="T108" fmla="*/ 267 w 630"/>
                <a:gd name="T109" fmla="*/ 715 h 993"/>
                <a:gd name="T110" fmla="*/ 304 w 630"/>
                <a:gd name="T111" fmla="*/ 803 h 993"/>
                <a:gd name="T112" fmla="*/ 400 w 630"/>
                <a:gd name="T113" fmla="*/ 869 h 993"/>
                <a:gd name="T114" fmla="*/ 516 w 630"/>
                <a:gd name="T115" fmla="*/ 939 h 993"/>
                <a:gd name="T116" fmla="*/ 540 w 630"/>
                <a:gd name="T117" fmla="*/ 968 h 993"/>
                <a:gd name="T118" fmla="*/ 574 w 630"/>
                <a:gd name="T119" fmla="*/ 993 h 993"/>
                <a:gd name="T120" fmla="*/ 596 w 630"/>
                <a:gd name="T121" fmla="*/ 954 h 993"/>
                <a:gd name="T122" fmla="*/ 601 w 630"/>
                <a:gd name="T123" fmla="*/ 929 h 993"/>
                <a:gd name="T124" fmla="*/ 630 w 630"/>
                <a:gd name="T125" fmla="*/ 889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30" h="993">
                  <a:moveTo>
                    <a:pt x="622" y="880"/>
                  </a:moveTo>
                  <a:cubicBezTo>
                    <a:pt x="622" y="880"/>
                    <a:pt x="612" y="873"/>
                    <a:pt x="604" y="869"/>
                  </a:cubicBezTo>
                  <a:cubicBezTo>
                    <a:pt x="596" y="865"/>
                    <a:pt x="593" y="857"/>
                    <a:pt x="593" y="857"/>
                  </a:cubicBezTo>
                  <a:cubicBezTo>
                    <a:pt x="593" y="857"/>
                    <a:pt x="579" y="859"/>
                    <a:pt x="575" y="854"/>
                  </a:cubicBezTo>
                  <a:cubicBezTo>
                    <a:pt x="580" y="840"/>
                    <a:pt x="580" y="840"/>
                    <a:pt x="580" y="840"/>
                  </a:cubicBezTo>
                  <a:cubicBezTo>
                    <a:pt x="580" y="840"/>
                    <a:pt x="576" y="825"/>
                    <a:pt x="581" y="821"/>
                  </a:cubicBezTo>
                  <a:cubicBezTo>
                    <a:pt x="584" y="818"/>
                    <a:pt x="598" y="830"/>
                    <a:pt x="607" y="838"/>
                  </a:cubicBezTo>
                  <a:cubicBezTo>
                    <a:pt x="607" y="836"/>
                    <a:pt x="607" y="835"/>
                    <a:pt x="607" y="835"/>
                  </a:cubicBezTo>
                  <a:cubicBezTo>
                    <a:pt x="612" y="824"/>
                    <a:pt x="612" y="824"/>
                    <a:pt x="612" y="824"/>
                  </a:cubicBezTo>
                  <a:cubicBezTo>
                    <a:pt x="612" y="824"/>
                    <a:pt x="604" y="813"/>
                    <a:pt x="603" y="799"/>
                  </a:cubicBezTo>
                  <a:cubicBezTo>
                    <a:pt x="601" y="784"/>
                    <a:pt x="616" y="776"/>
                    <a:pt x="620" y="766"/>
                  </a:cubicBezTo>
                  <a:cubicBezTo>
                    <a:pt x="624" y="757"/>
                    <a:pt x="605" y="744"/>
                    <a:pt x="605" y="744"/>
                  </a:cubicBezTo>
                  <a:cubicBezTo>
                    <a:pt x="618" y="724"/>
                    <a:pt x="618" y="724"/>
                    <a:pt x="618" y="724"/>
                  </a:cubicBezTo>
                  <a:cubicBezTo>
                    <a:pt x="609" y="694"/>
                    <a:pt x="609" y="694"/>
                    <a:pt x="609" y="694"/>
                  </a:cubicBezTo>
                  <a:cubicBezTo>
                    <a:pt x="609" y="694"/>
                    <a:pt x="619" y="683"/>
                    <a:pt x="620" y="677"/>
                  </a:cubicBezTo>
                  <a:cubicBezTo>
                    <a:pt x="622" y="670"/>
                    <a:pt x="612" y="645"/>
                    <a:pt x="597" y="632"/>
                  </a:cubicBezTo>
                  <a:cubicBezTo>
                    <a:pt x="586" y="621"/>
                    <a:pt x="579" y="600"/>
                    <a:pt x="577" y="591"/>
                  </a:cubicBezTo>
                  <a:cubicBezTo>
                    <a:pt x="568" y="590"/>
                    <a:pt x="560" y="590"/>
                    <a:pt x="556" y="590"/>
                  </a:cubicBezTo>
                  <a:cubicBezTo>
                    <a:pt x="545" y="590"/>
                    <a:pt x="549" y="599"/>
                    <a:pt x="541" y="599"/>
                  </a:cubicBezTo>
                  <a:cubicBezTo>
                    <a:pt x="533" y="599"/>
                    <a:pt x="533" y="591"/>
                    <a:pt x="533" y="591"/>
                  </a:cubicBezTo>
                  <a:cubicBezTo>
                    <a:pt x="526" y="592"/>
                    <a:pt x="526" y="592"/>
                    <a:pt x="526" y="592"/>
                  </a:cubicBezTo>
                  <a:cubicBezTo>
                    <a:pt x="526" y="592"/>
                    <a:pt x="525" y="572"/>
                    <a:pt x="523" y="562"/>
                  </a:cubicBezTo>
                  <a:cubicBezTo>
                    <a:pt x="521" y="552"/>
                    <a:pt x="526" y="538"/>
                    <a:pt x="528" y="534"/>
                  </a:cubicBezTo>
                  <a:cubicBezTo>
                    <a:pt x="530" y="530"/>
                    <a:pt x="525" y="507"/>
                    <a:pt x="525" y="507"/>
                  </a:cubicBezTo>
                  <a:cubicBezTo>
                    <a:pt x="491" y="537"/>
                    <a:pt x="491" y="537"/>
                    <a:pt x="491" y="537"/>
                  </a:cubicBezTo>
                  <a:cubicBezTo>
                    <a:pt x="449" y="541"/>
                    <a:pt x="449" y="541"/>
                    <a:pt x="449" y="541"/>
                  </a:cubicBezTo>
                  <a:cubicBezTo>
                    <a:pt x="449" y="541"/>
                    <a:pt x="441" y="522"/>
                    <a:pt x="438" y="515"/>
                  </a:cubicBezTo>
                  <a:cubicBezTo>
                    <a:pt x="435" y="508"/>
                    <a:pt x="399" y="509"/>
                    <a:pt x="399" y="509"/>
                  </a:cubicBezTo>
                  <a:cubicBezTo>
                    <a:pt x="399" y="509"/>
                    <a:pt x="414" y="496"/>
                    <a:pt x="416" y="491"/>
                  </a:cubicBezTo>
                  <a:cubicBezTo>
                    <a:pt x="418" y="486"/>
                    <a:pt x="396" y="471"/>
                    <a:pt x="391" y="465"/>
                  </a:cubicBezTo>
                  <a:cubicBezTo>
                    <a:pt x="386" y="459"/>
                    <a:pt x="373" y="438"/>
                    <a:pt x="373" y="438"/>
                  </a:cubicBezTo>
                  <a:cubicBezTo>
                    <a:pt x="371" y="420"/>
                    <a:pt x="371" y="420"/>
                    <a:pt x="371" y="420"/>
                  </a:cubicBezTo>
                  <a:cubicBezTo>
                    <a:pt x="371" y="420"/>
                    <a:pt x="356" y="414"/>
                    <a:pt x="356" y="409"/>
                  </a:cubicBezTo>
                  <a:cubicBezTo>
                    <a:pt x="356" y="404"/>
                    <a:pt x="371" y="396"/>
                    <a:pt x="371" y="396"/>
                  </a:cubicBezTo>
                  <a:cubicBezTo>
                    <a:pt x="365" y="392"/>
                    <a:pt x="365" y="392"/>
                    <a:pt x="365" y="392"/>
                  </a:cubicBezTo>
                  <a:cubicBezTo>
                    <a:pt x="365" y="392"/>
                    <a:pt x="360" y="378"/>
                    <a:pt x="368" y="370"/>
                  </a:cubicBezTo>
                  <a:cubicBezTo>
                    <a:pt x="376" y="362"/>
                    <a:pt x="389" y="345"/>
                    <a:pt x="395" y="354"/>
                  </a:cubicBezTo>
                  <a:cubicBezTo>
                    <a:pt x="401" y="363"/>
                    <a:pt x="391" y="338"/>
                    <a:pt x="389" y="331"/>
                  </a:cubicBezTo>
                  <a:cubicBezTo>
                    <a:pt x="387" y="324"/>
                    <a:pt x="402" y="315"/>
                    <a:pt x="402" y="315"/>
                  </a:cubicBezTo>
                  <a:cubicBezTo>
                    <a:pt x="403" y="277"/>
                    <a:pt x="403" y="277"/>
                    <a:pt x="403" y="277"/>
                  </a:cubicBezTo>
                  <a:cubicBezTo>
                    <a:pt x="419" y="277"/>
                    <a:pt x="419" y="277"/>
                    <a:pt x="419" y="277"/>
                  </a:cubicBezTo>
                  <a:cubicBezTo>
                    <a:pt x="419" y="277"/>
                    <a:pt x="420" y="269"/>
                    <a:pt x="422" y="265"/>
                  </a:cubicBezTo>
                  <a:cubicBezTo>
                    <a:pt x="424" y="261"/>
                    <a:pt x="450" y="244"/>
                    <a:pt x="450" y="244"/>
                  </a:cubicBezTo>
                  <a:cubicBezTo>
                    <a:pt x="471" y="244"/>
                    <a:pt x="471" y="244"/>
                    <a:pt x="471" y="244"/>
                  </a:cubicBezTo>
                  <a:cubicBezTo>
                    <a:pt x="473" y="237"/>
                    <a:pt x="473" y="237"/>
                    <a:pt x="473" y="237"/>
                  </a:cubicBezTo>
                  <a:cubicBezTo>
                    <a:pt x="492" y="240"/>
                    <a:pt x="492" y="240"/>
                    <a:pt x="492" y="240"/>
                  </a:cubicBezTo>
                  <a:cubicBezTo>
                    <a:pt x="492" y="240"/>
                    <a:pt x="503" y="225"/>
                    <a:pt x="513" y="224"/>
                  </a:cubicBezTo>
                  <a:cubicBezTo>
                    <a:pt x="523" y="223"/>
                    <a:pt x="527" y="236"/>
                    <a:pt x="527" y="236"/>
                  </a:cubicBezTo>
                  <a:cubicBezTo>
                    <a:pt x="527" y="236"/>
                    <a:pt x="534" y="239"/>
                    <a:pt x="539" y="236"/>
                  </a:cubicBezTo>
                  <a:cubicBezTo>
                    <a:pt x="541" y="235"/>
                    <a:pt x="542" y="231"/>
                    <a:pt x="543" y="227"/>
                  </a:cubicBezTo>
                  <a:cubicBezTo>
                    <a:pt x="532" y="223"/>
                    <a:pt x="532" y="223"/>
                    <a:pt x="532" y="223"/>
                  </a:cubicBezTo>
                  <a:cubicBezTo>
                    <a:pt x="526" y="207"/>
                    <a:pt x="526" y="207"/>
                    <a:pt x="526" y="207"/>
                  </a:cubicBezTo>
                  <a:cubicBezTo>
                    <a:pt x="526" y="207"/>
                    <a:pt x="512" y="212"/>
                    <a:pt x="509" y="206"/>
                  </a:cubicBezTo>
                  <a:cubicBezTo>
                    <a:pt x="506" y="201"/>
                    <a:pt x="515" y="171"/>
                    <a:pt x="520" y="171"/>
                  </a:cubicBezTo>
                  <a:cubicBezTo>
                    <a:pt x="525" y="171"/>
                    <a:pt x="533" y="163"/>
                    <a:pt x="533" y="148"/>
                  </a:cubicBezTo>
                  <a:cubicBezTo>
                    <a:pt x="533" y="134"/>
                    <a:pt x="505" y="135"/>
                    <a:pt x="505" y="135"/>
                  </a:cubicBezTo>
                  <a:cubicBezTo>
                    <a:pt x="505" y="135"/>
                    <a:pt x="497" y="123"/>
                    <a:pt x="493" y="122"/>
                  </a:cubicBezTo>
                  <a:cubicBezTo>
                    <a:pt x="489" y="121"/>
                    <a:pt x="481" y="130"/>
                    <a:pt x="472" y="130"/>
                  </a:cubicBezTo>
                  <a:cubicBezTo>
                    <a:pt x="464" y="130"/>
                    <a:pt x="463" y="123"/>
                    <a:pt x="449" y="120"/>
                  </a:cubicBezTo>
                  <a:cubicBezTo>
                    <a:pt x="435" y="117"/>
                    <a:pt x="434" y="138"/>
                    <a:pt x="434" y="138"/>
                  </a:cubicBezTo>
                  <a:cubicBezTo>
                    <a:pt x="434" y="138"/>
                    <a:pt x="412" y="138"/>
                    <a:pt x="393" y="133"/>
                  </a:cubicBezTo>
                  <a:cubicBezTo>
                    <a:pt x="374" y="128"/>
                    <a:pt x="389" y="113"/>
                    <a:pt x="388" y="106"/>
                  </a:cubicBezTo>
                  <a:cubicBezTo>
                    <a:pt x="387" y="98"/>
                    <a:pt x="369" y="97"/>
                    <a:pt x="369" y="97"/>
                  </a:cubicBezTo>
                  <a:cubicBezTo>
                    <a:pt x="369" y="97"/>
                    <a:pt x="367" y="79"/>
                    <a:pt x="364" y="73"/>
                  </a:cubicBezTo>
                  <a:cubicBezTo>
                    <a:pt x="362" y="67"/>
                    <a:pt x="354" y="70"/>
                    <a:pt x="354" y="70"/>
                  </a:cubicBezTo>
                  <a:cubicBezTo>
                    <a:pt x="343" y="57"/>
                    <a:pt x="343" y="57"/>
                    <a:pt x="343" y="57"/>
                  </a:cubicBezTo>
                  <a:cubicBezTo>
                    <a:pt x="335" y="57"/>
                    <a:pt x="335" y="57"/>
                    <a:pt x="335" y="57"/>
                  </a:cubicBezTo>
                  <a:cubicBezTo>
                    <a:pt x="327" y="33"/>
                    <a:pt x="327" y="33"/>
                    <a:pt x="327" y="33"/>
                  </a:cubicBezTo>
                  <a:cubicBezTo>
                    <a:pt x="327" y="33"/>
                    <a:pt x="297" y="9"/>
                    <a:pt x="290" y="5"/>
                  </a:cubicBezTo>
                  <a:cubicBezTo>
                    <a:pt x="284" y="1"/>
                    <a:pt x="274" y="1"/>
                    <a:pt x="26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69" y="0"/>
                    <a:pt x="273" y="1"/>
                    <a:pt x="278" y="1"/>
                  </a:cubicBezTo>
                  <a:cubicBezTo>
                    <a:pt x="279" y="19"/>
                    <a:pt x="268" y="19"/>
                    <a:pt x="268" y="19"/>
                  </a:cubicBezTo>
                  <a:cubicBezTo>
                    <a:pt x="284" y="31"/>
                    <a:pt x="284" y="31"/>
                    <a:pt x="284" y="31"/>
                  </a:cubicBezTo>
                  <a:cubicBezTo>
                    <a:pt x="287" y="53"/>
                    <a:pt x="287" y="53"/>
                    <a:pt x="287" y="53"/>
                  </a:cubicBezTo>
                  <a:cubicBezTo>
                    <a:pt x="277" y="58"/>
                    <a:pt x="277" y="58"/>
                    <a:pt x="277" y="58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69" y="87"/>
                    <a:pt x="241" y="128"/>
                    <a:pt x="218" y="143"/>
                  </a:cubicBezTo>
                  <a:cubicBezTo>
                    <a:pt x="195" y="157"/>
                    <a:pt x="174" y="157"/>
                    <a:pt x="161" y="168"/>
                  </a:cubicBezTo>
                  <a:cubicBezTo>
                    <a:pt x="147" y="179"/>
                    <a:pt x="147" y="186"/>
                    <a:pt x="147" y="186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42" y="201"/>
                    <a:pt x="142" y="201"/>
                    <a:pt x="142" y="201"/>
                  </a:cubicBezTo>
                  <a:cubicBezTo>
                    <a:pt x="142" y="201"/>
                    <a:pt x="134" y="206"/>
                    <a:pt x="132" y="216"/>
                  </a:cubicBezTo>
                  <a:cubicBezTo>
                    <a:pt x="131" y="225"/>
                    <a:pt x="128" y="252"/>
                    <a:pt x="128" y="252"/>
                  </a:cubicBezTo>
                  <a:cubicBezTo>
                    <a:pt x="128" y="252"/>
                    <a:pt x="119" y="254"/>
                    <a:pt x="115" y="256"/>
                  </a:cubicBezTo>
                  <a:cubicBezTo>
                    <a:pt x="111" y="259"/>
                    <a:pt x="116" y="270"/>
                    <a:pt x="103" y="270"/>
                  </a:cubicBezTo>
                  <a:cubicBezTo>
                    <a:pt x="89" y="270"/>
                    <a:pt x="93" y="246"/>
                    <a:pt x="88" y="241"/>
                  </a:cubicBezTo>
                  <a:cubicBezTo>
                    <a:pt x="82" y="237"/>
                    <a:pt x="69" y="243"/>
                    <a:pt x="69" y="243"/>
                  </a:cubicBezTo>
                  <a:cubicBezTo>
                    <a:pt x="60" y="232"/>
                    <a:pt x="60" y="232"/>
                    <a:pt x="60" y="232"/>
                  </a:cubicBezTo>
                  <a:cubicBezTo>
                    <a:pt x="60" y="232"/>
                    <a:pt x="50" y="250"/>
                    <a:pt x="40" y="246"/>
                  </a:cubicBezTo>
                  <a:cubicBezTo>
                    <a:pt x="31" y="241"/>
                    <a:pt x="47" y="232"/>
                    <a:pt x="47" y="232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37" y="224"/>
                    <a:pt x="50" y="212"/>
                    <a:pt x="58" y="203"/>
                  </a:cubicBezTo>
                  <a:cubicBezTo>
                    <a:pt x="67" y="194"/>
                    <a:pt x="43" y="188"/>
                    <a:pt x="43" y="188"/>
                  </a:cubicBezTo>
                  <a:cubicBezTo>
                    <a:pt x="43" y="188"/>
                    <a:pt x="17" y="216"/>
                    <a:pt x="9" y="223"/>
                  </a:cubicBezTo>
                  <a:cubicBezTo>
                    <a:pt x="1" y="230"/>
                    <a:pt x="0" y="241"/>
                    <a:pt x="0" y="254"/>
                  </a:cubicBezTo>
                  <a:cubicBezTo>
                    <a:pt x="0" y="267"/>
                    <a:pt x="12" y="264"/>
                    <a:pt x="12" y="264"/>
                  </a:cubicBezTo>
                  <a:cubicBezTo>
                    <a:pt x="9" y="282"/>
                    <a:pt x="9" y="282"/>
                    <a:pt x="9" y="282"/>
                  </a:cubicBezTo>
                  <a:cubicBezTo>
                    <a:pt x="9" y="282"/>
                    <a:pt x="26" y="292"/>
                    <a:pt x="27" y="304"/>
                  </a:cubicBezTo>
                  <a:cubicBezTo>
                    <a:pt x="28" y="316"/>
                    <a:pt x="8" y="317"/>
                    <a:pt x="8" y="331"/>
                  </a:cubicBezTo>
                  <a:cubicBezTo>
                    <a:pt x="8" y="345"/>
                    <a:pt x="42" y="347"/>
                    <a:pt x="51" y="352"/>
                  </a:cubicBezTo>
                  <a:cubicBezTo>
                    <a:pt x="59" y="357"/>
                    <a:pt x="82" y="389"/>
                    <a:pt x="85" y="394"/>
                  </a:cubicBezTo>
                  <a:cubicBezTo>
                    <a:pt x="87" y="398"/>
                    <a:pt x="99" y="418"/>
                    <a:pt x="99" y="424"/>
                  </a:cubicBezTo>
                  <a:cubicBezTo>
                    <a:pt x="99" y="430"/>
                    <a:pt x="123" y="456"/>
                    <a:pt x="126" y="462"/>
                  </a:cubicBezTo>
                  <a:cubicBezTo>
                    <a:pt x="130" y="468"/>
                    <a:pt x="164" y="522"/>
                    <a:pt x="164" y="522"/>
                  </a:cubicBezTo>
                  <a:cubicBezTo>
                    <a:pt x="169" y="547"/>
                    <a:pt x="169" y="547"/>
                    <a:pt x="169" y="547"/>
                  </a:cubicBezTo>
                  <a:cubicBezTo>
                    <a:pt x="169" y="547"/>
                    <a:pt x="197" y="602"/>
                    <a:pt x="197" y="609"/>
                  </a:cubicBezTo>
                  <a:cubicBezTo>
                    <a:pt x="197" y="616"/>
                    <a:pt x="205" y="616"/>
                    <a:pt x="214" y="622"/>
                  </a:cubicBezTo>
                  <a:cubicBezTo>
                    <a:pt x="222" y="628"/>
                    <a:pt x="218" y="635"/>
                    <a:pt x="220" y="647"/>
                  </a:cubicBezTo>
                  <a:cubicBezTo>
                    <a:pt x="221" y="658"/>
                    <a:pt x="255" y="699"/>
                    <a:pt x="267" y="715"/>
                  </a:cubicBezTo>
                  <a:cubicBezTo>
                    <a:pt x="279" y="732"/>
                    <a:pt x="270" y="754"/>
                    <a:pt x="270" y="762"/>
                  </a:cubicBezTo>
                  <a:cubicBezTo>
                    <a:pt x="270" y="771"/>
                    <a:pt x="293" y="796"/>
                    <a:pt x="304" y="803"/>
                  </a:cubicBezTo>
                  <a:cubicBezTo>
                    <a:pt x="314" y="810"/>
                    <a:pt x="324" y="826"/>
                    <a:pt x="332" y="835"/>
                  </a:cubicBezTo>
                  <a:cubicBezTo>
                    <a:pt x="340" y="843"/>
                    <a:pt x="386" y="861"/>
                    <a:pt x="400" y="869"/>
                  </a:cubicBezTo>
                  <a:cubicBezTo>
                    <a:pt x="415" y="877"/>
                    <a:pt x="442" y="883"/>
                    <a:pt x="463" y="901"/>
                  </a:cubicBezTo>
                  <a:cubicBezTo>
                    <a:pt x="484" y="919"/>
                    <a:pt x="516" y="939"/>
                    <a:pt x="516" y="939"/>
                  </a:cubicBezTo>
                  <a:cubicBezTo>
                    <a:pt x="522" y="954"/>
                    <a:pt x="522" y="954"/>
                    <a:pt x="522" y="954"/>
                  </a:cubicBezTo>
                  <a:cubicBezTo>
                    <a:pt x="522" y="954"/>
                    <a:pt x="533" y="962"/>
                    <a:pt x="540" y="968"/>
                  </a:cubicBezTo>
                  <a:cubicBezTo>
                    <a:pt x="547" y="974"/>
                    <a:pt x="574" y="992"/>
                    <a:pt x="574" y="992"/>
                  </a:cubicBezTo>
                  <a:cubicBezTo>
                    <a:pt x="574" y="993"/>
                    <a:pt x="574" y="993"/>
                    <a:pt x="574" y="993"/>
                  </a:cubicBezTo>
                  <a:cubicBezTo>
                    <a:pt x="580" y="989"/>
                    <a:pt x="589" y="983"/>
                    <a:pt x="596" y="977"/>
                  </a:cubicBezTo>
                  <a:cubicBezTo>
                    <a:pt x="608" y="968"/>
                    <a:pt x="596" y="954"/>
                    <a:pt x="596" y="954"/>
                  </a:cubicBezTo>
                  <a:cubicBezTo>
                    <a:pt x="608" y="946"/>
                    <a:pt x="608" y="946"/>
                    <a:pt x="608" y="946"/>
                  </a:cubicBezTo>
                  <a:cubicBezTo>
                    <a:pt x="601" y="929"/>
                    <a:pt x="601" y="929"/>
                    <a:pt x="601" y="929"/>
                  </a:cubicBezTo>
                  <a:cubicBezTo>
                    <a:pt x="601" y="929"/>
                    <a:pt x="611" y="919"/>
                    <a:pt x="620" y="912"/>
                  </a:cubicBezTo>
                  <a:cubicBezTo>
                    <a:pt x="626" y="908"/>
                    <a:pt x="629" y="897"/>
                    <a:pt x="630" y="889"/>
                  </a:cubicBezTo>
                  <a:lnTo>
                    <a:pt x="622" y="880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62" name="Freeform 342">
              <a:extLst>
                <a:ext uri="{FF2B5EF4-FFF2-40B4-BE49-F238E27FC236}">
                  <a16:creationId xmlns:a16="http://schemas.microsoft.com/office/drawing/2014/main" id="{FB181302-DD7D-584E-9C88-EB975779B84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4235" y="-8761"/>
              <a:ext cx="1427" cy="1682"/>
            </a:xfrm>
            <a:custGeom>
              <a:avLst/>
              <a:gdLst>
                <a:gd name="T0" fmla="*/ 1 w 604"/>
                <a:gd name="T1" fmla="*/ 70 h 712"/>
                <a:gd name="T2" fmla="*/ 599 w 604"/>
                <a:gd name="T3" fmla="*/ 500 h 712"/>
                <a:gd name="T4" fmla="*/ 584 w 604"/>
                <a:gd name="T5" fmla="*/ 421 h 712"/>
                <a:gd name="T6" fmla="*/ 561 w 604"/>
                <a:gd name="T7" fmla="*/ 361 h 712"/>
                <a:gd name="T8" fmla="*/ 468 w 604"/>
                <a:gd name="T9" fmla="*/ 314 h 712"/>
                <a:gd name="T10" fmla="*/ 463 w 604"/>
                <a:gd name="T11" fmla="*/ 290 h 712"/>
                <a:gd name="T12" fmla="*/ 450 w 604"/>
                <a:gd name="T13" fmla="*/ 250 h 712"/>
                <a:gd name="T14" fmla="*/ 418 w 604"/>
                <a:gd name="T15" fmla="*/ 209 h 712"/>
                <a:gd name="T16" fmla="*/ 367 w 604"/>
                <a:gd name="T17" fmla="*/ 190 h 712"/>
                <a:gd name="T18" fmla="*/ 320 w 604"/>
                <a:gd name="T19" fmla="*/ 163 h 712"/>
                <a:gd name="T20" fmla="*/ 290 w 604"/>
                <a:gd name="T21" fmla="*/ 152 h 712"/>
                <a:gd name="T22" fmla="*/ 258 w 604"/>
                <a:gd name="T23" fmla="*/ 153 h 712"/>
                <a:gd name="T24" fmla="*/ 230 w 604"/>
                <a:gd name="T25" fmla="*/ 130 h 712"/>
                <a:gd name="T26" fmla="*/ 210 w 604"/>
                <a:gd name="T27" fmla="*/ 97 h 712"/>
                <a:gd name="T28" fmla="*/ 200 w 604"/>
                <a:gd name="T29" fmla="*/ 52 h 712"/>
                <a:gd name="T30" fmla="*/ 211 w 604"/>
                <a:gd name="T31" fmla="*/ 4 h 712"/>
                <a:gd name="T32" fmla="*/ 183 w 604"/>
                <a:gd name="T33" fmla="*/ 6 h 712"/>
                <a:gd name="T34" fmla="*/ 151 w 604"/>
                <a:gd name="T35" fmla="*/ 13 h 712"/>
                <a:gd name="T36" fmla="*/ 104 w 604"/>
                <a:gd name="T37" fmla="*/ 38 h 712"/>
                <a:gd name="T38" fmla="*/ 76 w 604"/>
                <a:gd name="T39" fmla="*/ 57 h 712"/>
                <a:gd name="T40" fmla="*/ 50 w 604"/>
                <a:gd name="T41" fmla="*/ 81 h 712"/>
                <a:gd name="T42" fmla="*/ 9 w 604"/>
                <a:gd name="T43" fmla="*/ 71 h 712"/>
                <a:gd name="T44" fmla="*/ 52 w 604"/>
                <a:gd name="T45" fmla="*/ 157 h 712"/>
                <a:gd name="T46" fmla="*/ 50 w 604"/>
                <a:gd name="T47" fmla="*/ 204 h 712"/>
                <a:gd name="T48" fmla="*/ 52 w 604"/>
                <a:gd name="T49" fmla="*/ 246 h 712"/>
                <a:gd name="T50" fmla="*/ 44 w 604"/>
                <a:gd name="T51" fmla="*/ 304 h 712"/>
                <a:gd name="T52" fmla="*/ 39 w 604"/>
                <a:gd name="T53" fmla="*/ 318 h 712"/>
                <a:gd name="T54" fmla="*/ 62 w 604"/>
                <a:gd name="T55" fmla="*/ 339 h 712"/>
                <a:gd name="T56" fmla="*/ 76 w 604"/>
                <a:gd name="T57" fmla="*/ 359 h 712"/>
                <a:gd name="T58" fmla="*/ 62 w 604"/>
                <a:gd name="T59" fmla="*/ 369 h 712"/>
                <a:gd name="T60" fmla="*/ 33 w 604"/>
                <a:gd name="T61" fmla="*/ 409 h 712"/>
                <a:gd name="T62" fmla="*/ 39 w 604"/>
                <a:gd name="T63" fmla="*/ 427 h 712"/>
                <a:gd name="T64" fmla="*/ 64 w 604"/>
                <a:gd name="T65" fmla="*/ 449 h 712"/>
                <a:gd name="T66" fmla="*/ 105 w 604"/>
                <a:gd name="T67" fmla="*/ 525 h 712"/>
                <a:gd name="T68" fmla="*/ 104 w 604"/>
                <a:gd name="T69" fmla="*/ 554 h 712"/>
                <a:gd name="T70" fmla="*/ 102 w 604"/>
                <a:gd name="T71" fmla="*/ 588 h 712"/>
                <a:gd name="T72" fmla="*/ 134 w 604"/>
                <a:gd name="T73" fmla="*/ 627 h 712"/>
                <a:gd name="T74" fmla="*/ 147 w 604"/>
                <a:gd name="T75" fmla="*/ 684 h 712"/>
                <a:gd name="T76" fmla="*/ 188 w 604"/>
                <a:gd name="T77" fmla="*/ 708 h 712"/>
                <a:gd name="T78" fmla="*/ 199 w 604"/>
                <a:gd name="T79" fmla="*/ 691 h 712"/>
                <a:gd name="T80" fmla="*/ 214 w 604"/>
                <a:gd name="T81" fmla="*/ 674 h 712"/>
                <a:gd name="T82" fmla="*/ 241 w 604"/>
                <a:gd name="T83" fmla="*/ 670 h 712"/>
                <a:gd name="T84" fmla="*/ 318 w 604"/>
                <a:gd name="T85" fmla="*/ 707 h 712"/>
                <a:gd name="T86" fmla="*/ 374 w 604"/>
                <a:gd name="T87" fmla="*/ 664 h 712"/>
                <a:gd name="T88" fmla="*/ 403 w 604"/>
                <a:gd name="T89" fmla="*/ 607 h 712"/>
                <a:gd name="T90" fmla="*/ 413 w 604"/>
                <a:gd name="T91" fmla="*/ 558 h 712"/>
                <a:gd name="T92" fmla="*/ 486 w 604"/>
                <a:gd name="T93" fmla="*/ 527 h 712"/>
                <a:gd name="T94" fmla="*/ 574 w 604"/>
                <a:gd name="T95" fmla="*/ 546 h 712"/>
                <a:gd name="T96" fmla="*/ 602 w 604"/>
                <a:gd name="T97" fmla="*/ 555 h 712"/>
                <a:gd name="T98" fmla="*/ 603 w 604"/>
                <a:gd name="T99" fmla="*/ 508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4" h="712">
                  <a:moveTo>
                    <a:pt x="0" y="70"/>
                  </a:moveTo>
                  <a:cubicBezTo>
                    <a:pt x="1" y="70"/>
                    <a:pt x="1" y="70"/>
                    <a:pt x="1" y="70"/>
                  </a:cubicBezTo>
                  <a:cubicBezTo>
                    <a:pt x="1" y="70"/>
                    <a:pt x="1" y="70"/>
                    <a:pt x="0" y="70"/>
                  </a:cubicBezTo>
                  <a:close/>
                  <a:moveTo>
                    <a:pt x="599" y="500"/>
                  </a:moveTo>
                  <a:cubicBezTo>
                    <a:pt x="599" y="500"/>
                    <a:pt x="604" y="474"/>
                    <a:pt x="604" y="460"/>
                  </a:cubicBezTo>
                  <a:cubicBezTo>
                    <a:pt x="604" y="446"/>
                    <a:pt x="595" y="428"/>
                    <a:pt x="584" y="421"/>
                  </a:cubicBezTo>
                  <a:cubicBezTo>
                    <a:pt x="573" y="414"/>
                    <a:pt x="564" y="413"/>
                    <a:pt x="557" y="404"/>
                  </a:cubicBezTo>
                  <a:cubicBezTo>
                    <a:pt x="550" y="395"/>
                    <a:pt x="561" y="361"/>
                    <a:pt x="561" y="361"/>
                  </a:cubicBezTo>
                  <a:cubicBezTo>
                    <a:pt x="561" y="361"/>
                    <a:pt x="484" y="363"/>
                    <a:pt x="471" y="354"/>
                  </a:cubicBezTo>
                  <a:cubicBezTo>
                    <a:pt x="458" y="345"/>
                    <a:pt x="468" y="314"/>
                    <a:pt x="468" y="314"/>
                  </a:cubicBezTo>
                  <a:cubicBezTo>
                    <a:pt x="468" y="314"/>
                    <a:pt x="452" y="300"/>
                    <a:pt x="450" y="294"/>
                  </a:cubicBezTo>
                  <a:cubicBezTo>
                    <a:pt x="448" y="288"/>
                    <a:pt x="463" y="290"/>
                    <a:pt x="463" y="290"/>
                  </a:cubicBezTo>
                  <a:cubicBezTo>
                    <a:pt x="461" y="269"/>
                    <a:pt x="461" y="269"/>
                    <a:pt x="461" y="269"/>
                  </a:cubicBezTo>
                  <a:cubicBezTo>
                    <a:pt x="461" y="269"/>
                    <a:pt x="454" y="257"/>
                    <a:pt x="450" y="250"/>
                  </a:cubicBezTo>
                  <a:cubicBezTo>
                    <a:pt x="446" y="243"/>
                    <a:pt x="451" y="240"/>
                    <a:pt x="450" y="230"/>
                  </a:cubicBezTo>
                  <a:cubicBezTo>
                    <a:pt x="449" y="220"/>
                    <a:pt x="429" y="211"/>
                    <a:pt x="418" y="209"/>
                  </a:cubicBezTo>
                  <a:cubicBezTo>
                    <a:pt x="407" y="207"/>
                    <a:pt x="396" y="212"/>
                    <a:pt x="386" y="211"/>
                  </a:cubicBezTo>
                  <a:cubicBezTo>
                    <a:pt x="376" y="210"/>
                    <a:pt x="367" y="190"/>
                    <a:pt x="367" y="190"/>
                  </a:cubicBezTo>
                  <a:cubicBezTo>
                    <a:pt x="367" y="190"/>
                    <a:pt x="351" y="189"/>
                    <a:pt x="340" y="184"/>
                  </a:cubicBezTo>
                  <a:cubicBezTo>
                    <a:pt x="329" y="179"/>
                    <a:pt x="321" y="167"/>
                    <a:pt x="320" y="163"/>
                  </a:cubicBezTo>
                  <a:cubicBezTo>
                    <a:pt x="319" y="159"/>
                    <a:pt x="312" y="166"/>
                    <a:pt x="304" y="166"/>
                  </a:cubicBezTo>
                  <a:cubicBezTo>
                    <a:pt x="296" y="166"/>
                    <a:pt x="290" y="152"/>
                    <a:pt x="290" y="152"/>
                  </a:cubicBezTo>
                  <a:cubicBezTo>
                    <a:pt x="290" y="152"/>
                    <a:pt x="280" y="159"/>
                    <a:pt x="276" y="158"/>
                  </a:cubicBezTo>
                  <a:cubicBezTo>
                    <a:pt x="272" y="157"/>
                    <a:pt x="268" y="157"/>
                    <a:pt x="258" y="153"/>
                  </a:cubicBezTo>
                  <a:cubicBezTo>
                    <a:pt x="248" y="149"/>
                    <a:pt x="252" y="138"/>
                    <a:pt x="249" y="133"/>
                  </a:cubicBezTo>
                  <a:cubicBezTo>
                    <a:pt x="246" y="128"/>
                    <a:pt x="230" y="130"/>
                    <a:pt x="230" y="130"/>
                  </a:cubicBezTo>
                  <a:cubicBezTo>
                    <a:pt x="224" y="110"/>
                    <a:pt x="224" y="110"/>
                    <a:pt x="224" y="110"/>
                  </a:cubicBezTo>
                  <a:cubicBezTo>
                    <a:pt x="224" y="110"/>
                    <a:pt x="217" y="106"/>
                    <a:pt x="210" y="97"/>
                  </a:cubicBezTo>
                  <a:cubicBezTo>
                    <a:pt x="203" y="88"/>
                    <a:pt x="210" y="82"/>
                    <a:pt x="210" y="73"/>
                  </a:cubicBezTo>
                  <a:cubicBezTo>
                    <a:pt x="210" y="64"/>
                    <a:pt x="201" y="56"/>
                    <a:pt x="200" y="52"/>
                  </a:cubicBezTo>
                  <a:cubicBezTo>
                    <a:pt x="199" y="48"/>
                    <a:pt x="207" y="35"/>
                    <a:pt x="207" y="35"/>
                  </a:cubicBezTo>
                  <a:cubicBezTo>
                    <a:pt x="207" y="35"/>
                    <a:pt x="215" y="8"/>
                    <a:pt x="211" y="4"/>
                  </a:cubicBezTo>
                  <a:cubicBezTo>
                    <a:pt x="207" y="0"/>
                    <a:pt x="194" y="8"/>
                    <a:pt x="193" y="12"/>
                  </a:cubicBezTo>
                  <a:cubicBezTo>
                    <a:pt x="192" y="16"/>
                    <a:pt x="183" y="6"/>
                    <a:pt x="183" y="6"/>
                  </a:cubicBezTo>
                  <a:cubicBezTo>
                    <a:pt x="174" y="14"/>
                    <a:pt x="174" y="14"/>
                    <a:pt x="174" y="14"/>
                  </a:cubicBezTo>
                  <a:cubicBezTo>
                    <a:pt x="174" y="14"/>
                    <a:pt x="164" y="13"/>
                    <a:pt x="151" y="13"/>
                  </a:cubicBezTo>
                  <a:cubicBezTo>
                    <a:pt x="138" y="13"/>
                    <a:pt x="128" y="39"/>
                    <a:pt x="128" y="39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63" y="78"/>
                    <a:pt x="50" y="81"/>
                  </a:cubicBezTo>
                  <a:cubicBezTo>
                    <a:pt x="37" y="84"/>
                    <a:pt x="34" y="73"/>
                    <a:pt x="34" y="73"/>
                  </a:cubicBezTo>
                  <a:cubicBezTo>
                    <a:pt x="34" y="73"/>
                    <a:pt x="21" y="72"/>
                    <a:pt x="9" y="71"/>
                  </a:cubicBezTo>
                  <a:cubicBezTo>
                    <a:pt x="11" y="80"/>
                    <a:pt x="18" y="101"/>
                    <a:pt x="29" y="112"/>
                  </a:cubicBezTo>
                  <a:cubicBezTo>
                    <a:pt x="44" y="125"/>
                    <a:pt x="54" y="150"/>
                    <a:pt x="52" y="157"/>
                  </a:cubicBezTo>
                  <a:cubicBezTo>
                    <a:pt x="51" y="163"/>
                    <a:pt x="41" y="174"/>
                    <a:pt x="41" y="174"/>
                  </a:cubicBezTo>
                  <a:cubicBezTo>
                    <a:pt x="50" y="204"/>
                    <a:pt x="50" y="204"/>
                    <a:pt x="50" y="204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37" y="224"/>
                    <a:pt x="56" y="237"/>
                    <a:pt x="52" y="246"/>
                  </a:cubicBezTo>
                  <a:cubicBezTo>
                    <a:pt x="48" y="256"/>
                    <a:pt x="33" y="264"/>
                    <a:pt x="35" y="279"/>
                  </a:cubicBezTo>
                  <a:cubicBezTo>
                    <a:pt x="36" y="293"/>
                    <a:pt x="44" y="304"/>
                    <a:pt x="44" y="304"/>
                  </a:cubicBezTo>
                  <a:cubicBezTo>
                    <a:pt x="39" y="315"/>
                    <a:pt x="39" y="315"/>
                    <a:pt x="39" y="315"/>
                  </a:cubicBezTo>
                  <a:cubicBezTo>
                    <a:pt x="39" y="315"/>
                    <a:pt x="39" y="316"/>
                    <a:pt x="39" y="318"/>
                  </a:cubicBezTo>
                  <a:cubicBezTo>
                    <a:pt x="44" y="322"/>
                    <a:pt x="47" y="326"/>
                    <a:pt x="47" y="326"/>
                  </a:cubicBezTo>
                  <a:cubicBezTo>
                    <a:pt x="62" y="339"/>
                    <a:pt x="62" y="339"/>
                    <a:pt x="62" y="339"/>
                  </a:cubicBezTo>
                  <a:cubicBezTo>
                    <a:pt x="63" y="351"/>
                    <a:pt x="63" y="351"/>
                    <a:pt x="63" y="351"/>
                  </a:cubicBezTo>
                  <a:cubicBezTo>
                    <a:pt x="76" y="359"/>
                    <a:pt x="76" y="359"/>
                    <a:pt x="76" y="359"/>
                  </a:cubicBezTo>
                  <a:cubicBezTo>
                    <a:pt x="68" y="376"/>
                    <a:pt x="68" y="376"/>
                    <a:pt x="68" y="376"/>
                  </a:cubicBezTo>
                  <a:cubicBezTo>
                    <a:pt x="62" y="369"/>
                    <a:pt x="62" y="369"/>
                    <a:pt x="62" y="369"/>
                  </a:cubicBezTo>
                  <a:cubicBezTo>
                    <a:pt x="61" y="377"/>
                    <a:pt x="58" y="388"/>
                    <a:pt x="52" y="392"/>
                  </a:cubicBezTo>
                  <a:cubicBezTo>
                    <a:pt x="43" y="399"/>
                    <a:pt x="33" y="409"/>
                    <a:pt x="33" y="409"/>
                  </a:cubicBezTo>
                  <a:cubicBezTo>
                    <a:pt x="40" y="426"/>
                    <a:pt x="40" y="426"/>
                    <a:pt x="40" y="426"/>
                  </a:cubicBezTo>
                  <a:cubicBezTo>
                    <a:pt x="39" y="427"/>
                    <a:pt x="39" y="427"/>
                    <a:pt x="39" y="427"/>
                  </a:cubicBezTo>
                  <a:cubicBezTo>
                    <a:pt x="50" y="449"/>
                    <a:pt x="50" y="449"/>
                    <a:pt x="50" y="449"/>
                  </a:cubicBezTo>
                  <a:cubicBezTo>
                    <a:pt x="64" y="449"/>
                    <a:pt x="64" y="449"/>
                    <a:pt x="64" y="449"/>
                  </a:cubicBezTo>
                  <a:cubicBezTo>
                    <a:pt x="73" y="501"/>
                    <a:pt x="73" y="501"/>
                    <a:pt x="73" y="501"/>
                  </a:cubicBezTo>
                  <a:cubicBezTo>
                    <a:pt x="73" y="501"/>
                    <a:pt x="109" y="513"/>
                    <a:pt x="105" y="525"/>
                  </a:cubicBezTo>
                  <a:cubicBezTo>
                    <a:pt x="101" y="537"/>
                    <a:pt x="93" y="543"/>
                    <a:pt x="93" y="543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4" y="554"/>
                    <a:pt x="89" y="566"/>
                    <a:pt x="93" y="575"/>
                  </a:cubicBezTo>
                  <a:cubicBezTo>
                    <a:pt x="97" y="585"/>
                    <a:pt x="102" y="588"/>
                    <a:pt x="102" y="588"/>
                  </a:cubicBezTo>
                  <a:cubicBezTo>
                    <a:pt x="102" y="605"/>
                    <a:pt x="102" y="605"/>
                    <a:pt x="102" y="605"/>
                  </a:cubicBezTo>
                  <a:cubicBezTo>
                    <a:pt x="102" y="605"/>
                    <a:pt x="131" y="616"/>
                    <a:pt x="134" y="627"/>
                  </a:cubicBezTo>
                  <a:cubicBezTo>
                    <a:pt x="136" y="638"/>
                    <a:pt x="134" y="668"/>
                    <a:pt x="134" y="668"/>
                  </a:cubicBezTo>
                  <a:cubicBezTo>
                    <a:pt x="147" y="684"/>
                    <a:pt x="147" y="684"/>
                    <a:pt x="147" y="684"/>
                  </a:cubicBezTo>
                  <a:cubicBezTo>
                    <a:pt x="147" y="684"/>
                    <a:pt x="146" y="710"/>
                    <a:pt x="158" y="711"/>
                  </a:cubicBezTo>
                  <a:cubicBezTo>
                    <a:pt x="170" y="712"/>
                    <a:pt x="188" y="708"/>
                    <a:pt x="188" y="708"/>
                  </a:cubicBezTo>
                  <a:cubicBezTo>
                    <a:pt x="188" y="689"/>
                    <a:pt x="188" y="689"/>
                    <a:pt x="188" y="689"/>
                  </a:cubicBezTo>
                  <a:cubicBezTo>
                    <a:pt x="199" y="691"/>
                    <a:pt x="199" y="691"/>
                    <a:pt x="199" y="691"/>
                  </a:cubicBezTo>
                  <a:cubicBezTo>
                    <a:pt x="199" y="677"/>
                    <a:pt x="199" y="677"/>
                    <a:pt x="199" y="677"/>
                  </a:cubicBezTo>
                  <a:cubicBezTo>
                    <a:pt x="214" y="674"/>
                    <a:pt x="214" y="674"/>
                    <a:pt x="214" y="674"/>
                  </a:cubicBezTo>
                  <a:cubicBezTo>
                    <a:pt x="222" y="657"/>
                    <a:pt x="222" y="657"/>
                    <a:pt x="222" y="657"/>
                  </a:cubicBezTo>
                  <a:cubicBezTo>
                    <a:pt x="222" y="657"/>
                    <a:pt x="227" y="666"/>
                    <a:pt x="241" y="670"/>
                  </a:cubicBezTo>
                  <a:cubicBezTo>
                    <a:pt x="254" y="674"/>
                    <a:pt x="296" y="673"/>
                    <a:pt x="296" y="673"/>
                  </a:cubicBezTo>
                  <a:cubicBezTo>
                    <a:pt x="318" y="707"/>
                    <a:pt x="318" y="707"/>
                    <a:pt x="318" y="707"/>
                  </a:cubicBezTo>
                  <a:cubicBezTo>
                    <a:pt x="323" y="670"/>
                    <a:pt x="323" y="670"/>
                    <a:pt x="323" y="670"/>
                  </a:cubicBezTo>
                  <a:cubicBezTo>
                    <a:pt x="374" y="664"/>
                    <a:pt x="374" y="664"/>
                    <a:pt x="374" y="664"/>
                  </a:cubicBezTo>
                  <a:cubicBezTo>
                    <a:pt x="397" y="681"/>
                    <a:pt x="397" y="681"/>
                    <a:pt x="397" y="681"/>
                  </a:cubicBezTo>
                  <a:cubicBezTo>
                    <a:pt x="397" y="681"/>
                    <a:pt x="405" y="613"/>
                    <a:pt x="403" y="607"/>
                  </a:cubicBezTo>
                  <a:cubicBezTo>
                    <a:pt x="402" y="600"/>
                    <a:pt x="387" y="578"/>
                    <a:pt x="394" y="574"/>
                  </a:cubicBezTo>
                  <a:cubicBezTo>
                    <a:pt x="401" y="570"/>
                    <a:pt x="413" y="558"/>
                    <a:pt x="413" y="558"/>
                  </a:cubicBezTo>
                  <a:cubicBezTo>
                    <a:pt x="417" y="539"/>
                    <a:pt x="417" y="539"/>
                    <a:pt x="417" y="539"/>
                  </a:cubicBezTo>
                  <a:cubicBezTo>
                    <a:pt x="486" y="527"/>
                    <a:pt x="486" y="527"/>
                    <a:pt x="486" y="527"/>
                  </a:cubicBezTo>
                  <a:cubicBezTo>
                    <a:pt x="539" y="518"/>
                    <a:pt x="539" y="518"/>
                    <a:pt x="539" y="518"/>
                  </a:cubicBezTo>
                  <a:cubicBezTo>
                    <a:pt x="574" y="546"/>
                    <a:pt x="574" y="546"/>
                    <a:pt x="574" y="546"/>
                  </a:cubicBezTo>
                  <a:cubicBezTo>
                    <a:pt x="587" y="569"/>
                    <a:pt x="587" y="569"/>
                    <a:pt x="587" y="569"/>
                  </a:cubicBezTo>
                  <a:cubicBezTo>
                    <a:pt x="587" y="563"/>
                    <a:pt x="602" y="555"/>
                    <a:pt x="602" y="555"/>
                  </a:cubicBezTo>
                  <a:cubicBezTo>
                    <a:pt x="602" y="555"/>
                    <a:pt x="590" y="545"/>
                    <a:pt x="588" y="540"/>
                  </a:cubicBezTo>
                  <a:cubicBezTo>
                    <a:pt x="586" y="535"/>
                    <a:pt x="603" y="508"/>
                    <a:pt x="603" y="508"/>
                  </a:cubicBezTo>
                  <a:lnTo>
                    <a:pt x="599" y="500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63" name="Freeform 343">
              <a:extLst>
                <a:ext uri="{FF2B5EF4-FFF2-40B4-BE49-F238E27FC236}">
                  <a16:creationId xmlns:a16="http://schemas.microsoft.com/office/drawing/2014/main" id="{50426F7E-6C51-C03B-3D89-EAFC011B0240}"/>
                </a:ext>
              </a:extLst>
            </p:cNvPr>
            <p:cNvSpPr>
              <a:spLocks/>
            </p:cNvSpPr>
            <p:nvPr/>
          </p:nvSpPr>
          <p:spPr bwMode="gray">
            <a:xfrm>
              <a:off x="-716" y="-15753"/>
              <a:ext cx="1885" cy="1056"/>
            </a:xfrm>
            <a:custGeom>
              <a:avLst/>
              <a:gdLst>
                <a:gd name="T0" fmla="*/ 764 w 798"/>
                <a:gd name="T1" fmla="*/ 243 h 447"/>
                <a:gd name="T2" fmla="*/ 745 w 798"/>
                <a:gd name="T3" fmla="*/ 230 h 447"/>
                <a:gd name="T4" fmla="*/ 721 w 798"/>
                <a:gd name="T5" fmla="*/ 212 h 447"/>
                <a:gd name="T6" fmla="*/ 712 w 798"/>
                <a:gd name="T7" fmla="*/ 222 h 447"/>
                <a:gd name="T8" fmla="*/ 689 w 798"/>
                <a:gd name="T9" fmla="*/ 229 h 447"/>
                <a:gd name="T10" fmla="*/ 660 w 798"/>
                <a:gd name="T11" fmla="*/ 212 h 447"/>
                <a:gd name="T12" fmla="*/ 690 w 798"/>
                <a:gd name="T13" fmla="*/ 175 h 447"/>
                <a:gd name="T14" fmla="*/ 653 w 798"/>
                <a:gd name="T15" fmla="*/ 185 h 447"/>
                <a:gd name="T16" fmla="*/ 623 w 798"/>
                <a:gd name="T17" fmla="*/ 208 h 447"/>
                <a:gd name="T18" fmla="*/ 596 w 798"/>
                <a:gd name="T19" fmla="*/ 236 h 447"/>
                <a:gd name="T20" fmla="*/ 573 w 798"/>
                <a:gd name="T21" fmla="*/ 259 h 447"/>
                <a:gd name="T22" fmla="*/ 509 w 798"/>
                <a:gd name="T23" fmla="*/ 228 h 447"/>
                <a:gd name="T24" fmla="*/ 469 w 798"/>
                <a:gd name="T25" fmla="*/ 188 h 447"/>
                <a:gd name="T26" fmla="*/ 441 w 798"/>
                <a:gd name="T27" fmla="*/ 136 h 447"/>
                <a:gd name="T28" fmla="*/ 379 w 798"/>
                <a:gd name="T29" fmla="*/ 105 h 447"/>
                <a:gd name="T30" fmla="*/ 272 w 798"/>
                <a:gd name="T31" fmla="*/ 108 h 447"/>
                <a:gd name="T32" fmla="*/ 177 w 798"/>
                <a:gd name="T33" fmla="*/ 38 h 447"/>
                <a:gd name="T34" fmla="*/ 174 w 798"/>
                <a:gd name="T35" fmla="*/ 75 h 447"/>
                <a:gd name="T36" fmla="*/ 149 w 798"/>
                <a:gd name="T37" fmla="*/ 55 h 447"/>
                <a:gd name="T38" fmla="*/ 145 w 798"/>
                <a:gd name="T39" fmla="*/ 23 h 447"/>
                <a:gd name="T40" fmla="*/ 106 w 798"/>
                <a:gd name="T41" fmla="*/ 20 h 447"/>
                <a:gd name="T42" fmla="*/ 116 w 798"/>
                <a:gd name="T43" fmla="*/ 45 h 447"/>
                <a:gd name="T44" fmla="*/ 92 w 798"/>
                <a:gd name="T45" fmla="*/ 37 h 447"/>
                <a:gd name="T46" fmla="*/ 103 w 798"/>
                <a:gd name="T47" fmla="*/ 3 h 447"/>
                <a:gd name="T48" fmla="*/ 0 w 798"/>
                <a:gd name="T49" fmla="*/ 31 h 447"/>
                <a:gd name="T50" fmla="*/ 37 w 798"/>
                <a:gd name="T51" fmla="*/ 217 h 447"/>
                <a:gd name="T52" fmla="*/ 92 w 798"/>
                <a:gd name="T53" fmla="*/ 224 h 447"/>
                <a:gd name="T54" fmla="*/ 112 w 798"/>
                <a:gd name="T55" fmla="*/ 175 h 447"/>
                <a:gd name="T56" fmla="*/ 139 w 798"/>
                <a:gd name="T57" fmla="*/ 169 h 447"/>
                <a:gd name="T58" fmla="*/ 139 w 798"/>
                <a:gd name="T59" fmla="*/ 152 h 447"/>
                <a:gd name="T60" fmla="*/ 155 w 798"/>
                <a:gd name="T61" fmla="*/ 161 h 447"/>
                <a:gd name="T62" fmla="*/ 169 w 798"/>
                <a:gd name="T63" fmla="*/ 168 h 447"/>
                <a:gd name="T64" fmla="*/ 201 w 798"/>
                <a:gd name="T65" fmla="*/ 173 h 447"/>
                <a:gd name="T66" fmla="*/ 219 w 798"/>
                <a:gd name="T67" fmla="*/ 197 h 447"/>
                <a:gd name="T68" fmla="*/ 243 w 798"/>
                <a:gd name="T69" fmla="*/ 227 h 447"/>
                <a:gd name="T70" fmla="*/ 279 w 798"/>
                <a:gd name="T71" fmla="*/ 225 h 447"/>
                <a:gd name="T72" fmla="*/ 312 w 798"/>
                <a:gd name="T73" fmla="*/ 256 h 447"/>
                <a:gd name="T74" fmla="*/ 336 w 798"/>
                <a:gd name="T75" fmla="*/ 293 h 447"/>
                <a:gd name="T76" fmla="*/ 381 w 798"/>
                <a:gd name="T77" fmla="*/ 319 h 447"/>
                <a:gd name="T78" fmla="*/ 417 w 798"/>
                <a:gd name="T79" fmla="*/ 348 h 447"/>
                <a:gd name="T80" fmla="*/ 444 w 798"/>
                <a:gd name="T81" fmla="*/ 357 h 447"/>
                <a:gd name="T82" fmla="*/ 476 w 798"/>
                <a:gd name="T83" fmla="*/ 376 h 447"/>
                <a:gd name="T84" fmla="*/ 516 w 798"/>
                <a:gd name="T85" fmla="*/ 387 h 447"/>
                <a:gd name="T86" fmla="*/ 548 w 798"/>
                <a:gd name="T87" fmla="*/ 425 h 447"/>
                <a:gd name="T88" fmla="*/ 563 w 798"/>
                <a:gd name="T89" fmla="*/ 437 h 447"/>
                <a:gd name="T90" fmla="*/ 580 w 798"/>
                <a:gd name="T91" fmla="*/ 445 h 447"/>
                <a:gd name="T92" fmla="*/ 596 w 798"/>
                <a:gd name="T93" fmla="*/ 440 h 447"/>
                <a:gd name="T94" fmla="*/ 603 w 798"/>
                <a:gd name="T95" fmla="*/ 445 h 447"/>
                <a:gd name="T96" fmla="*/ 622 w 798"/>
                <a:gd name="T97" fmla="*/ 397 h 447"/>
                <a:gd name="T98" fmla="*/ 603 w 798"/>
                <a:gd name="T99" fmla="*/ 353 h 447"/>
                <a:gd name="T100" fmla="*/ 575 w 798"/>
                <a:gd name="T101" fmla="*/ 339 h 447"/>
                <a:gd name="T102" fmla="*/ 567 w 798"/>
                <a:gd name="T103" fmla="*/ 321 h 447"/>
                <a:gd name="T104" fmla="*/ 610 w 798"/>
                <a:gd name="T105" fmla="*/ 305 h 447"/>
                <a:gd name="T106" fmla="*/ 607 w 798"/>
                <a:gd name="T107" fmla="*/ 282 h 447"/>
                <a:gd name="T108" fmla="*/ 626 w 798"/>
                <a:gd name="T109" fmla="*/ 264 h 447"/>
                <a:gd name="T110" fmla="*/ 652 w 798"/>
                <a:gd name="T111" fmla="*/ 260 h 447"/>
                <a:gd name="T112" fmla="*/ 694 w 798"/>
                <a:gd name="T113" fmla="*/ 251 h 447"/>
                <a:gd name="T114" fmla="*/ 701 w 798"/>
                <a:gd name="T115" fmla="*/ 283 h 447"/>
                <a:gd name="T116" fmla="*/ 741 w 798"/>
                <a:gd name="T117" fmla="*/ 286 h 447"/>
                <a:gd name="T118" fmla="*/ 766 w 798"/>
                <a:gd name="T119" fmla="*/ 271 h 447"/>
                <a:gd name="T120" fmla="*/ 788 w 798"/>
                <a:gd name="T121" fmla="*/ 254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98" h="447">
                  <a:moveTo>
                    <a:pt x="769" y="248"/>
                  </a:moveTo>
                  <a:cubicBezTo>
                    <a:pt x="764" y="243"/>
                    <a:pt x="764" y="243"/>
                    <a:pt x="764" y="243"/>
                  </a:cubicBezTo>
                  <a:cubicBezTo>
                    <a:pt x="751" y="241"/>
                    <a:pt x="751" y="241"/>
                    <a:pt x="751" y="241"/>
                  </a:cubicBezTo>
                  <a:cubicBezTo>
                    <a:pt x="745" y="230"/>
                    <a:pt x="745" y="230"/>
                    <a:pt x="745" y="230"/>
                  </a:cubicBezTo>
                  <a:cubicBezTo>
                    <a:pt x="732" y="230"/>
                    <a:pt x="732" y="230"/>
                    <a:pt x="732" y="230"/>
                  </a:cubicBezTo>
                  <a:cubicBezTo>
                    <a:pt x="721" y="212"/>
                    <a:pt x="721" y="212"/>
                    <a:pt x="721" y="212"/>
                  </a:cubicBezTo>
                  <a:cubicBezTo>
                    <a:pt x="721" y="222"/>
                    <a:pt x="721" y="222"/>
                    <a:pt x="721" y="222"/>
                  </a:cubicBezTo>
                  <a:cubicBezTo>
                    <a:pt x="712" y="222"/>
                    <a:pt x="712" y="222"/>
                    <a:pt x="712" y="222"/>
                  </a:cubicBezTo>
                  <a:cubicBezTo>
                    <a:pt x="713" y="231"/>
                    <a:pt x="713" y="231"/>
                    <a:pt x="713" y="231"/>
                  </a:cubicBezTo>
                  <a:cubicBezTo>
                    <a:pt x="713" y="231"/>
                    <a:pt x="694" y="233"/>
                    <a:pt x="689" y="229"/>
                  </a:cubicBezTo>
                  <a:cubicBezTo>
                    <a:pt x="684" y="225"/>
                    <a:pt x="683" y="220"/>
                    <a:pt x="683" y="220"/>
                  </a:cubicBezTo>
                  <a:cubicBezTo>
                    <a:pt x="660" y="212"/>
                    <a:pt x="660" y="212"/>
                    <a:pt x="660" y="212"/>
                  </a:cubicBezTo>
                  <a:cubicBezTo>
                    <a:pt x="660" y="212"/>
                    <a:pt x="696" y="183"/>
                    <a:pt x="694" y="178"/>
                  </a:cubicBezTo>
                  <a:cubicBezTo>
                    <a:pt x="693" y="177"/>
                    <a:pt x="692" y="176"/>
                    <a:pt x="690" y="175"/>
                  </a:cubicBezTo>
                  <a:cubicBezTo>
                    <a:pt x="671" y="184"/>
                    <a:pt x="671" y="184"/>
                    <a:pt x="671" y="184"/>
                  </a:cubicBezTo>
                  <a:cubicBezTo>
                    <a:pt x="653" y="185"/>
                    <a:pt x="653" y="185"/>
                    <a:pt x="653" y="185"/>
                  </a:cubicBezTo>
                  <a:cubicBezTo>
                    <a:pt x="645" y="203"/>
                    <a:pt x="645" y="203"/>
                    <a:pt x="645" y="203"/>
                  </a:cubicBezTo>
                  <a:cubicBezTo>
                    <a:pt x="645" y="203"/>
                    <a:pt x="633" y="205"/>
                    <a:pt x="623" y="208"/>
                  </a:cubicBezTo>
                  <a:cubicBezTo>
                    <a:pt x="612" y="211"/>
                    <a:pt x="613" y="229"/>
                    <a:pt x="613" y="229"/>
                  </a:cubicBezTo>
                  <a:cubicBezTo>
                    <a:pt x="613" y="229"/>
                    <a:pt x="605" y="229"/>
                    <a:pt x="596" y="236"/>
                  </a:cubicBezTo>
                  <a:cubicBezTo>
                    <a:pt x="587" y="243"/>
                    <a:pt x="595" y="267"/>
                    <a:pt x="595" y="267"/>
                  </a:cubicBezTo>
                  <a:cubicBezTo>
                    <a:pt x="595" y="267"/>
                    <a:pt x="584" y="261"/>
                    <a:pt x="573" y="259"/>
                  </a:cubicBezTo>
                  <a:cubicBezTo>
                    <a:pt x="563" y="256"/>
                    <a:pt x="580" y="243"/>
                    <a:pt x="573" y="233"/>
                  </a:cubicBezTo>
                  <a:cubicBezTo>
                    <a:pt x="567" y="224"/>
                    <a:pt x="520" y="233"/>
                    <a:pt x="509" y="228"/>
                  </a:cubicBezTo>
                  <a:cubicBezTo>
                    <a:pt x="499" y="223"/>
                    <a:pt x="497" y="199"/>
                    <a:pt x="488" y="188"/>
                  </a:cubicBezTo>
                  <a:cubicBezTo>
                    <a:pt x="479" y="177"/>
                    <a:pt x="479" y="191"/>
                    <a:pt x="469" y="188"/>
                  </a:cubicBezTo>
                  <a:cubicBezTo>
                    <a:pt x="460" y="185"/>
                    <a:pt x="467" y="137"/>
                    <a:pt x="461" y="136"/>
                  </a:cubicBezTo>
                  <a:cubicBezTo>
                    <a:pt x="456" y="135"/>
                    <a:pt x="441" y="136"/>
                    <a:pt x="441" y="136"/>
                  </a:cubicBezTo>
                  <a:cubicBezTo>
                    <a:pt x="441" y="136"/>
                    <a:pt x="411" y="93"/>
                    <a:pt x="404" y="93"/>
                  </a:cubicBezTo>
                  <a:cubicBezTo>
                    <a:pt x="397" y="93"/>
                    <a:pt x="379" y="105"/>
                    <a:pt x="379" y="105"/>
                  </a:cubicBezTo>
                  <a:cubicBezTo>
                    <a:pt x="379" y="105"/>
                    <a:pt x="341" y="101"/>
                    <a:pt x="325" y="101"/>
                  </a:cubicBezTo>
                  <a:cubicBezTo>
                    <a:pt x="309" y="101"/>
                    <a:pt x="272" y="108"/>
                    <a:pt x="272" y="108"/>
                  </a:cubicBezTo>
                  <a:cubicBezTo>
                    <a:pt x="223" y="60"/>
                    <a:pt x="223" y="60"/>
                    <a:pt x="223" y="60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81" y="47"/>
                    <a:pt x="186" y="56"/>
                    <a:pt x="183" y="61"/>
                  </a:cubicBezTo>
                  <a:cubicBezTo>
                    <a:pt x="178" y="70"/>
                    <a:pt x="174" y="75"/>
                    <a:pt x="174" y="75"/>
                  </a:cubicBezTo>
                  <a:cubicBezTo>
                    <a:pt x="174" y="75"/>
                    <a:pt x="162" y="76"/>
                    <a:pt x="154" y="70"/>
                  </a:cubicBezTo>
                  <a:cubicBezTo>
                    <a:pt x="146" y="64"/>
                    <a:pt x="149" y="55"/>
                    <a:pt x="149" y="55"/>
                  </a:cubicBezTo>
                  <a:cubicBezTo>
                    <a:pt x="142" y="36"/>
                    <a:pt x="142" y="36"/>
                    <a:pt x="142" y="36"/>
                  </a:cubicBezTo>
                  <a:cubicBezTo>
                    <a:pt x="145" y="23"/>
                    <a:pt x="145" y="23"/>
                    <a:pt x="145" y="23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06" y="20"/>
                    <a:pt x="106" y="20"/>
                    <a:pt x="106" y="20"/>
                  </a:cubicBezTo>
                  <a:cubicBezTo>
                    <a:pt x="106" y="20"/>
                    <a:pt x="119" y="28"/>
                    <a:pt x="119" y="37"/>
                  </a:cubicBezTo>
                  <a:cubicBezTo>
                    <a:pt x="119" y="46"/>
                    <a:pt x="116" y="45"/>
                    <a:pt x="116" y="45"/>
                  </a:cubicBezTo>
                  <a:cubicBezTo>
                    <a:pt x="116" y="45"/>
                    <a:pt x="117" y="55"/>
                    <a:pt x="106" y="57"/>
                  </a:cubicBezTo>
                  <a:cubicBezTo>
                    <a:pt x="95" y="59"/>
                    <a:pt x="98" y="39"/>
                    <a:pt x="92" y="37"/>
                  </a:cubicBezTo>
                  <a:cubicBezTo>
                    <a:pt x="86" y="35"/>
                    <a:pt x="99" y="21"/>
                    <a:pt x="99" y="21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35" y="218"/>
                    <a:pt x="35" y="218"/>
                    <a:pt x="35" y="218"/>
                  </a:cubicBezTo>
                  <a:cubicBezTo>
                    <a:pt x="36" y="218"/>
                    <a:pt x="36" y="217"/>
                    <a:pt x="37" y="217"/>
                  </a:cubicBezTo>
                  <a:cubicBezTo>
                    <a:pt x="44" y="217"/>
                    <a:pt x="48" y="224"/>
                    <a:pt x="48" y="224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92" y="224"/>
                    <a:pt x="77" y="208"/>
                    <a:pt x="79" y="195"/>
                  </a:cubicBezTo>
                  <a:cubicBezTo>
                    <a:pt x="80" y="181"/>
                    <a:pt x="112" y="175"/>
                    <a:pt x="112" y="175"/>
                  </a:cubicBezTo>
                  <a:cubicBezTo>
                    <a:pt x="112" y="175"/>
                    <a:pt x="112" y="164"/>
                    <a:pt x="116" y="163"/>
                  </a:cubicBezTo>
                  <a:cubicBezTo>
                    <a:pt x="120" y="161"/>
                    <a:pt x="139" y="169"/>
                    <a:pt x="139" y="169"/>
                  </a:cubicBezTo>
                  <a:cubicBezTo>
                    <a:pt x="119" y="151"/>
                    <a:pt x="119" y="151"/>
                    <a:pt x="119" y="151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43" y="145"/>
                    <a:pt x="143" y="145"/>
                    <a:pt x="143" y="145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79" y="172"/>
                    <a:pt x="179" y="172"/>
                    <a:pt x="179" y="172"/>
                  </a:cubicBezTo>
                  <a:cubicBezTo>
                    <a:pt x="179" y="172"/>
                    <a:pt x="192" y="169"/>
                    <a:pt x="201" y="173"/>
                  </a:cubicBezTo>
                  <a:cubicBezTo>
                    <a:pt x="211" y="177"/>
                    <a:pt x="209" y="192"/>
                    <a:pt x="209" y="192"/>
                  </a:cubicBezTo>
                  <a:cubicBezTo>
                    <a:pt x="219" y="197"/>
                    <a:pt x="219" y="197"/>
                    <a:pt x="219" y="197"/>
                  </a:cubicBezTo>
                  <a:cubicBezTo>
                    <a:pt x="219" y="197"/>
                    <a:pt x="207" y="209"/>
                    <a:pt x="212" y="219"/>
                  </a:cubicBezTo>
                  <a:cubicBezTo>
                    <a:pt x="217" y="228"/>
                    <a:pt x="243" y="227"/>
                    <a:pt x="243" y="227"/>
                  </a:cubicBezTo>
                  <a:cubicBezTo>
                    <a:pt x="279" y="231"/>
                    <a:pt x="279" y="231"/>
                    <a:pt x="279" y="231"/>
                  </a:cubicBezTo>
                  <a:cubicBezTo>
                    <a:pt x="279" y="225"/>
                    <a:pt x="279" y="225"/>
                    <a:pt x="279" y="225"/>
                  </a:cubicBezTo>
                  <a:cubicBezTo>
                    <a:pt x="303" y="237"/>
                    <a:pt x="303" y="237"/>
                    <a:pt x="303" y="237"/>
                  </a:cubicBezTo>
                  <a:cubicBezTo>
                    <a:pt x="312" y="256"/>
                    <a:pt x="312" y="256"/>
                    <a:pt x="312" y="256"/>
                  </a:cubicBezTo>
                  <a:cubicBezTo>
                    <a:pt x="325" y="271"/>
                    <a:pt x="325" y="271"/>
                    <a:pt x="325" y="271"/>
                  </a:cubicBezTo>
                  <a:cubicBezTo>
                    <a:pt x="325" y="271"/>
                    <a:pt x="333" y="283"/>
                    <a:pt x="336" y="293"/>
                  </a:cubicBezTo>
                  <a:cubicBezTo>
                    <a:pt x="339" y="304"/>
                    <a:pt x="351" y="309"/>
                    <a:pt x="357" y="312"/>
                  </a:cubicBezTo>
                  <a:cubicBezTo>
                    <a:pt x="364" y="315"/>
                    <a:pt x="377" y="317"/>
                    <a:pt x="381" y="319"/>
                  </a:cubicBezTo>
                  <a:cubicBezTo>
                    <a:pt x="385" y="320"/>
                    <a:pt x="397" y="336"/>
                    <a:pt x="397" y="336"/>
                  </a:cubicBezTo>
                  <a:cubicBezTo>
                    <a:pt x="417" y="348"/>
                    <a:pt x="417" y="348"/>
                    <a:pt x="417" y="348"/>
                  </a:cubicBezTo>
                  <a:cubicBezTo>
                    <a:pt x="435" y="349"/>
                    <a:pt x="435" y="349"/>
                    <a:pt x="435" y="349"/>
                  </a:cubicBezTo>
                  <a:cubicBezTo>
                    <a:pt x="444" y="357"/>
                    <a:pt x="444" y="357"/>
                    <a:pt x="444" y="357"/>
                  </a:cubicBezTo>
                  <a:cubicBezTo>
                    <a:pt x="455" y="360"/>
                    <a:pt x="455" y="360"/>
                    <a:pt x="455" y="360"/>
                  </a:cubicBezTo>
                  <a:cubicBezTo>
                    <a:pt x="455" y="360"/>
                    <a:pt x="469" y="371"/>
                    <a:pt x="476" y="376"/>
                  </a:cubicBezTo>
                  <a:cubicBezTo>
                    <a:pt x="483" y="381"/>
                    <a:pt x="501" y="389"/>
                    <a:pt x="501" y="389"/>
                  </a:cubicBezTo>
                  <a:cubicBezTo>
                    <a:pt x="516" y="387"/>
                    <a:pt x="516" y="387"/>
                    <a:pt x="516" y="387"/>
                  </a:cubicBezTo>
                  <a:cubicBezTo>
                    <a:pt x="549" y="405"/>
                    <a:pt x="549" y="405"/>
                    <a:pt x="549" y="405"/>
                  </a:cubicBezTo>
                  <a:cubicBezTo>
                    <a:pt x="549" y="405"/>
                    <a:pt x="537" y="417"/>
                    <a:pt x="548" y="425"/>
                  </a:cubicBezTo>
                  <a:cubicBezTo>
                    <a:pt x="554" y="430"/>
                    <a:pt x="555" y="434"/>
                    <a:pt x="555" y="437"/>
                  </a:cubicBezTo>
                  <a:cubicBezTo>
                    <a:pt x="563" y="437"/>
                    <a:pt x="563" y="437"/>
                    <a:pt x="563" y="437"/>
                  </a:cubicBezTo>
                  <a:cubicBezTo>
                    <a:pt x="571" y="431"/>
                    <a:pt x="571" y="431"/>
                    <a:pt x="571" y="431"/>
                  </a:cubicBezTo>
                  <a:cubicBezTo>
                    <a:pt x="580" y="445"/>
                    <a:pt x="580" y="445"/>
                    <a:pt x="580" y="445"/>
                  </a:cubicBezTo>
                  <a:cubicBezTo>
                    <a:pt x="591" y="440"/>
                    <a:pt x="591" y="440"/>
                    <a:pt x="591" y="440"/>
                  </a:cubicBezTo>
                  <a:cubicBezTo>
                    <a:pt x="596" y="440"/>
                    <a:pt x="596" y="440"/>
                    <a:pt x="596" y="440"/>
                  </a:cubicBezTo>
                  <a:cubicBezTo>
                    <a:pt x="596" y="440"/>
                    <a:pt x="600" y="443"/>
                    <a:pt x="605" y="447"/>
                  </a:cubicBezTo>
                  <a:cubicBezTo>
                    <a:pt x="604" y="446"/>
                    <a:pt x="603" y="446"/>
                    <a:pt x="603" y="445"/>
                  </a:cubicBezTo>
                  <a:cubicBezTo>
                    <a:pt x="602" y="439"/>
                    <a:pt x="601" y="430"/>
                    <a:pt x="605" y="426"/>
                  </a:cubicBezTo>
                  <a:cubicBezTo>
                    <a:pt x="612" y="418"/>
                    <a:pt x="622" y="408"/>
                    <a:pt x="622" y="397"/>
                  </a:cubicBezTo>
                  <a:cubicBezTo>
                    <a:pt x="622" y="386"/>
                    <a:pt x="609" y="387"/>
                    <a:pt x="603" y="377"/>
                  </a:cubicBezTo>
                  <a:cubicBezTo>
                    <a:pt x="597" y="367"/>
                    <a:pt x="608" y="358"/>
                    <a:pt x="603" y="353"/>
                  </a:cubicBezTo>
                  <a:cubicBezTo>
                    <a:pt x="598" y="348"/>
                    <a:pt x="582" y="347"/>
                    <a:pt x="582" y="347"/>
                  </a:cubicBezTo>
                  <a:cubicBezTo>
                    <a:pt x="575" y="339"/>
                    <a:pt x="575" y="339"/>
                    <a:pt x="575" y="339"/>
                  </a:cubicBezTo>
                  <a:cubicBezTo>
                    <a:pt x="561" y="336"/>
                    <a:pt x="561" y="336"/>
                    <a:pt x="561" y="336"/>
                  </a:cubicBezTo>
                  <a:cubicBezTo>
                    <a:pt x="561" y="336"/>
                    <a:pt x="561" y="326"/>
                    <a:pt x="567" y="321"/>
                  </a:cubicBezTo>
                  <a:cubicBezTo>
                    <a:pt x="573" y="316"/>
                    <a:pt x="592" y="328"/>
                    <a:pt x="607" y="319"/>
                  </a:cubicBezTo>
                  <a:cubicBezTo>
                    <a:pt x="622" y="310"/>
                    <a:pt x="610" y="305"/>
                    <a:pt x="610" y="305"/>
                  </a:cubicBezTo>
                  <a:cubicBezTo>
                    <a:pt x="620" y="296"/>
                    <a:pt x="620" y="296"/>
                    <a:pt x="620" y="296"/>
                  </a:cubicBezTo>
                  <a:cubicBezTo>
                    <a:pt x="607" y="282"/>
                    <a:pt x="607" y="282"/>
                    <a:pt x="607" y="282"/>
                  </a:cubicBezTo>
                  <a:cubicBezTo>
                    <a:pt x="607" y="282"/>
                    <a:pt x="626" y="287"/>
                    <a:pt x="632" y="281"/>
                  </a:cubicBezTo>
                  <a:cubicBezTo>
                    <a:pt x="638" y="275"/>
                    <a:pt x="625" y="268"/>
                    <a:pt x="626" y="264"/>
                  </a:cubicBezTo>
                  <a:cubicBezTo>
                    <a:pt x="627" y="260"/>
                    <a:pt x="629" y="251"/>
                    <a:pt x="635" y="251"/>
                  </a:cubicBezTo>
                  <a:cubicBezTo>
                    <a:pt x="641" y="251"/>
                    <a:pt x="644" y="265"/>
                    <a:pt x="652" y="260"/>
                  </a:cubicBezTo>
                  <a:cubicBezTo>
                    <a:pt x="660" y="255"/>
                    <a:pt x="671" y="243"/>
                    <a:pt x="675" y="241"/>
                  </a:cubicBezTo>
                  <a:cubicBezTo>
                    <a:pt x="679" y="239"/>
                    <a:pt x="694" y="251"/>
                    <a:pt x="694" y="251"/>
                  </a:cubicBezTo>
                  <a:cubicBezTo>
                    <a:pt x="678" y="272"/>
                    <a:pt x="678" y="272"/>
                    <a:pt x="678" y="272"/>
                  </a:cubicBezTo>
                  <a:cubicBezTo>
                    <a:pt x="678" y="272"/>
                    <a:pt x="698" y="278"/>
                    <a:pt x="701" y="283"/>
                  </a:cubicBezTo>
                  <a:cubicBezTo>
                    <a:pt x="708" y="280"/>
                    <a:pt x="717" y="277"/>
                    <a:pt x="721" y="276"/>
                  </a:cubicBezTo>
                  <a:cubicBezTo>
                    <a:pt x="728" y="274"/>
                    <a:pt x="732" y="290"/>
                    <a:pt x="741" y="286"/>
                  </a:cubicBezTo>
                  <a:cubicBezTo>
                    <a:pt x="750" y="282"/>
                    <a:pt x="752" y="273"/>
                    <a:pt x="752" y="273"/>
                  </a:cubicBezTo>
                  <a:cubicBezTo>
                    <a:pt x="766" y="271"/>
                    <a:pt x="766" y="271"/>
                    <a:pt x="766" y="271"/>
                  </a:cubicBezTo>
                  <a:cubicBezTo>
                    <a:pt x="766" y="265"/>
                    <a:pt x="766" y="265"/>
                    <a:pt x="766" y="265"/>
                  </a:cubicBezTo>
                  <a:cubicBezTo>
                    <a:pt x="766" y="265"/>
                    <a:pt x="778" y="266"/>
                    <a:pt x="788" y="254"/>
                  </a:cubicBezTo>
                  <a:cubicBezTo>
                    <a:pt x="798" y="242"/>
                    <a:pt x="769" y="248"/>
                    <a:pt x="769" y="248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64" name="Freeform 344">
              <a:extLst>
                <a:ext uri="{FF2B5EF4-FFF2-40B4-BE49-F238E27FC236}">
                  <a16:creationId xmlns:a16="http://schemas.microsoft.com/office/drawing/2014/main" id="{6F2567D4-8754-459B-ED89-211D8ABEC75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739" y="-16960"/>
              <a:ext cx="3952" cy="1838"/>
            </a:xfrm>
            <a:custGeom>
              <a:avLst/>
              <a:gdLst>
                <a:gd name="T0" fmla="*/ 545 w 1673"/>
                <a:gd name="T1" fmla="*/ 518 h 778"/>
                <a:gd name="T2" fmla="*/ 1655 w 1673"/>
                <a:gd name="T3" fmla="*/ 327 h 778"/>
                <a:gd name="T4" fmla="*/ 1625 w 1673"/>
                <a:gd name="T5" fmla="*/ 304 h 778"/>
                <a:gd name="T6" fmla="*/ 1481 w 1673"/>
                <a:gd name="T7" fmla="*/ 226 h 778"/>
                <a:gd name="T8" fmla="*/ 1372 w 1673"/>
                <a:gd name="T9" fmla="*/ 207 h 778"/>
                <a:gd name="T10" fmla="*/ 1126 w 1673"/>
                <a:gd name="T11" fmla="*/ 70 h 778"/>
                <a:gd name="T12" fmla="*/ 1085 w 1673"/>
                <a:gd name="T13" fmla="*/ 76 h 778"/>
                <a:gd name="T14" fmla="*/ 1016 w 1673"/>
                <a:gd name="T15" fmla="*/ 98 h 778"/>
                <a:gd name="T16" fmla="*/ 972 w 1673"/>
                <a:gd name="T17" fmla="*/ 71 h 778"/>
                <a:gd name="T18" fmla="*/ 909 w 1673"/>
                <a:gd name="T19" fmla="*/ 36 h 778"/>
                <a:gd name="T20" fmla="*/ 812 w 1673"/>
                <a:gd name="T21" fmla="*/ 2 h 778"/>
                <a:gd name="T22" fmla="*/ 674 w 1673"/>
                <a:gd name="T23" fmla="*/ 52 h 778"/>
                <a:gd name="T24" fmla="*/ 521 w 1673"/>
                <a:gd name="T25" fmla="*/ 95 h 778"/>
                <a:gd name="T26" fmla="*/ 534 w 1673"/>
                <a:gd name="T27" fmla="*/ 123 h 778"/>
                <a:gd name="T28" fmla="*/ 528 w 1673"/>
                <a:gd name="T29" fmla="*/ 190 h 778"/>
                <a:gd name="T30" fmla="*/ 486 w 1673"/>
                <a:gd name="T31" fmla="*/ 244 h 778"/>
                <a:gd name="T32" fmla="*/ 356 w 1673"/>
                <a:gd name="T33" fmla="*/ 247 h 778"/>
                <a:gd name="T34" fmla="*/ 282 w 1673"/>
                <a:gd name="T35" fmla="*/ 216 h 778"/>
                <a:gd name="T36" fmla="*/ 197 w 1673"/>
                <a:gd name="T37" fmla="*/ 187 h 778"/>
                <a:gd name="T38" fmla="*/ 86 w 1673"/>
                <a:gd name="T39" fmla="*/ 224 h 778"/>
                <a:gd name="T40" fmla="*/ 17 w 1673"/>
                <a:gd name="T41" fmla="*/ 251 h 778"/>
                <a:gd name="T42" fmla="*/ 8 w 1673"/>
                <a:gd name="T43" fmla="*/ 322 h 778"/>
                <a:gd name="T44" fmla="*/ 73 w 1673"/>
                <a:gd name="T45" fmla="*/ 394 h 778"/>
                <a:gd name="T46" fmla="*/ 136 w 1673"/>
                <a:gd name="T47" fmla="*/ 460 h 778"/>
                <a:gd name="T48" fmla="*/ 289 w 1673"/>
                <a:gd name="T49" fmla="*/ 455 h 778"/>
                <a:gd name="T50" fmla="*/ 352 w 1673"/>
                <a:gd name="T51" fmla="*/ 524 h 778"/>
                <a:gd name="T52" fmla="*/ 338 w 1673"/>
                <a:gd name="T53" fmla="*/ 531 h 778"/>
                <a:gd name="T54" fmla="*/ 218 w 1673"/>
                <a:gd name="T55" fmla="*/ 544 h 778"/>
                <a:gd name="T56" fmla="*/ 228 w 1673"/>
                <a:gd name="T57" fmla="*/ 598 h 778"/>
                <a:gd name="T58" fmla="*/ 274 w 1673"/>
                <a:gd name="T59" fmla="*/ 654 h 778"/>
                <a:gd name="T60" fmla="*/ 328 w 1673"/>
                <a:gd name="T61" fmla="*/ 709 h 778"/>
                <a:gd name="T62" fmla="*/ 408 w 1673"/>
                <a:gd name="T63" fmla="*/ 690 h 778"/>
                <a:gd name="T64" fmla="*/ 468 w 1673"/>
                <a:gd name="T65" fmla="*/ 729 h 778"/>
                <a:gd name="T66" fmla="*/ 536 w 1673"/>
                <a:gd name="T67" fmla="*/ 513 h 778"/>
                <a:gd name="T68" fmla="*/ 582 w 1673"/>
                <a:gd name="T69" fmla="*/ 492 h 778"/>
                <a:gd name="T70" fmla="*/ 604 w 1673"/>
                <a:gd name="T71" fmla="*/ 479 h 778"/>
                <a:gd name="T72" fmla="*/ 584 w 1673"/>
                <a:gd name="T73" fmla="*/ 460 h 778"/>
                <a:gd name="T74" fmla="*/ 636 w 1673"/>
                <a:gd name="T75" fmla="*/ 455 h 778"/>
                <a:gd name="T76" fmla="*/ 590 w 1673"/>
                <a:gd name="T77" fmla="*/ 493 h 778"/>
                <a:gd name="T78" fmla="*/ 610 w 1673"/>
                <a:gd name="T79" fmla="*/ 549 h 778"/>
                <a:gd name="T80" fmla="*/ 812 w 1673"/>
                <a:gd name="T81" fmla="*/ 616 h 778"/>
                <a:gd name="T82" fmla="*/ 902 w 1673"/>
                <a:gd name="T83" fmla="*/ 699 h 778"/>
                <a:gd name="T84" fmla="*/ 1006 w 1673"/>
                <a:gd name="T85" fmla="*/ 770 h 778"/>
                <a:gd name="T86" fmla="*/ 1056 w 1673"/>
                <a:gd name="T87" fmla="*/ 719 h 778"/>
                <a:gd name="T88" fmla="*/ 1123 w 1673"/>
                <a:gd name="T89" fmla="*/ 686 h 778"/>
                <a:gd name="T90" fmla="*/ 1208 w 1673"/>
                <a:gd name="T91" fmla="*/ 672 h 778"/>
                <a:gd name="T92" fmla="*/ 1264 w 1673"/>
                <a:gd name="T93" fmla="*/ 647 h 778"/>
                <a:gd name="T94" fmla="*/ 1402 w 1673"/>
                <a:gd name="T95" fmla="*/ 651 h 778"/>
                <a:gd name="T96" fmla="*/ 1471 w 1673"/>
                <a:gd name="T97" fmla="*/ 676 h 778"/>
                <a:gd name="T98" fmla="*/ 1503 w 1673"/>
                <a:gd name="T99" fmla="*/ 659 h 778"/>
                <a:gd name="T100" fmla="*/ 1484 w 1673"/>
                <a:gd name="T101" fmla="*/ 587 h 778"/>
                <a:gd name="T102" fmla="*/ 1516 w 1673"/>
                <a:gd name="T103" fmla="*/ 518 h 778"/>
                <a:gd name="T104" fmla="*/ 1541 w 1673"/>
                <a:gd name="T105" fmla="*/ 513 h 778"/>
                <a:gd name="T106" fmla="*/ 1614 w 1673"/>
                <a:gd name="T107" fmla="*/ 434 h 778"/>
                <a:gd name="T108" fmla="*/ 1641 w 1673"/>
                <a:gd name="T109" fmla="*/ 397 h 778"/>
                <a:gd name="T110" fmla="*/ 1385 w 1673"/>
                <a:gd name="T111" fmla="*/ 465 h 778"/>
                <a:gd name="T112" fmla="*/ 1320 w 1673"/>
                <a:gd name="T113" fmla="*/ 467 h 778"/>
                <a:gd name="T114" fmla="*/ 1246 w 1673"/>
                <a:gd name="T115" fmla="*/ 460 h 778"/>
                <a:gd name="T116" fmla="*/ 1195 w 1673"/>
                <a:gd name="T117" fmla="*/ 489 h 778"/>
                <a:gd name="T118" fmla="*/ 1200 w 1673"/>
                <a:gd name="T119" fmla="*/ 542 h 778"/>
                <a:gd name="T120" fmla="*/ 1193 w 1673"/>
                <a:gd name="T121" fmla="*/ 448 h 778"/>
                <a:gd name="T122" fmla="*/ 1306 w 1673"/>
                <a:gd name="T123" fmla="*/ 458 h 778"/>
                <a:gd name="T124" fmla="*/ 1385 w 1673"/>
                <a:gd name="T125" fmla="*/ 465 h 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73" h="778">
                  <a:moveTo>
                    <a:pt x="565" y="505"/>
                  </a:moveTo>
                  <a:cubicBezTo>
                    <a:pt x="558" y="500"/>
                    <a:pt x="557" y="497"/>
                    <a:pt x="557" y="497"/>
                  </a:cubicBezTo>
                  <a:cubicBezTo>
                    <a:pt x="548" y="511"/>
                    <a:pt x="548" y="511"/>
                    <a:pt x="548" y="511"/>
                  </a:cubicBezTo>
                  <a:cubicBezTo>
                    <a:pt x="545" y="518"/>
                    <a:pt x="545" y="518"/>
                    <a:pt x="545" y="518"/>
                  </a:cubicBezTo>
                  <a:cubicBezTo>
                    <a:pt x="578" y="534"/>
                    <a:pt x="578" y="534"/>
                    <a:pt x="578" y="534"/>
                  </a:cubicBezTo>
                  <a:cubicBezTo>
                    <a:pt x="580" y="525"/>
                    <a:pt x="580" y="525"/>
                    <a:pt x="580" y="525"/>
                  </a:cubicBezTo>
                  <a:cubicBezTo>
                    <a:pt x="580" y="525"/>
                    <a:pt x="572" y="510"/>
                    <a:pt x="565" y="505"/>
                  </a:cubicBezTo>
                  <a:close/>
                  <a:moveTo>
                    <a:pt x="1655" y="327"/>
                  </a:moveTo>
                  <a:cubicBezTo>
                    <a:pt x="1656" y="321"/>
                    <a:pt x="1666" y="322"/>
                    <a:pt x="1673" y="324"/>
                  </a:cubicBezTo>
                  <a:cubicBezTo>
                    <a:pt x="1649" y="298"/>
                    <a:pt x="1649" y="298"/>
                    <a:pt x="1649" y="298"/>
                  </a:cubicBezTo>
                  <a:cubicBezTo>
                    <a:pt x="1636" y="282"/>
                    <a:pt x="1636" y="282"/>
                    <a:pt x="1636" y="282"/>
                  </a:cubicBezTo>
                  <a:cubicBezTo>
                    <a:pt x="1625" y="304"/>
                    <a:pt x="1625" y="304"/>
                    <a:pt x="1625" y="304"/>
                  </a:cubicBezTo>
                  <a:cubicBezTo>
                    <a:pt x="1578" y="300"/>
                    <a:pt x="1578" y="300"/>
                    <a:pt x="1578" y="300"/>
                  </a:cubicBezTo>
                  <a:cubicBezTo>
                    <a:pt x="1578" y="300"/>
                    <a:pt x="1562" y="272"/>
                    <a:pt x="1561" y="268"/>
                  </a:cubicBezTo>
                  <a:cubicBezTo>
                    <a:pt x="1560" y="264"/>
                    <a:pt x="1525" y="259"/>
                    <a:pt x="1525" y="259"/>
                  </a:cubicBezTo>
                  <a:cubicBezTo>
                    <a:pt x="1525" y="259"/>
                    <a:pt x="1504" y="230"/>
                    <a:pt x="1481" y="226"/>
                  </a:cubicBezTo>
                  <a:cubicBezTo>
                    <a:pt x="1458" y="222"/>
                    <a:pt x="1442" y="243"/>
                    <a:pt x="1430" y="244"/>
                  </a:cubicBezTo>
                  <a:cubicBezTo>
                    <a:pt x="1418" y="246"/>
                    <a:pt x="1404" y="230"/>
                    <a:pt x="1404" y="230"/>
                  </a:cubicBezTo>
                  <a:cubicBezTo>
                    <a:pt x="1404" y="230"/>
                    <a:pt x="1386" y="228"/>
                    <a:pt x="1382" y="227"/>
                  </a:cubicBezTo>
                  <a:cubicBezTo>
                    <a:pt x="1378" y="226"/>
                    <a:pt x="1382" y="210"/>
                    <a:pt x="1372" y="207"/>
                  </a:cubicBezTo>
                  <a:cubicBezTo>
                    <a:pt x="1361" y="204"/>
                    <a:pt x="1365" y="234"/>
                    <a:pt x="1348" y="236"/>
                  </a:cubicBezTo>
                  <a:cubicBezTo>
                    <a:pt x="1330" y="239"/>
                    <a:pt x="1306" y="200"/>
                    <a:pt x="1292" y="187"/>
                  </a:cubicBezTo>
                  <a:cubicBezTo>
                    <a:pt x="1277" y="174"/>
                    <a:pt x="1205" y="107"/>
                    <a:pt x="1200" y="104"/>
                  </a:cubicBezTo>
                  <a:cubicBezTo>
                    <a:pt x="1194" y="102"/>
                    <a:pt x="1126" y="70"/>
                    <a:pt x="1126" y="70"/>
                  </a:cubicBezTo>
                  <a:cubicBezTo>
                    <a:pt x="1126" y="70"/>
                    <a:pt x="1146" y="58"/>
                    <a:pt x="1138" y="47"/>
                  </a:cubicBezTo>
                  <a:cubicBezTo>
                    <a:pt x="1130" y="36"/>
                    <a:pt x="1118" y="58"/>
                    <a:pt x="1118" y="58"/>
                  </a:cubicBezTo>
                  <a:cubicBezTo>
                    <a:pt x="1094" y="66"/>
                    <a:pt x="1094" y="66"/>
                    <a:pt x="1094" y="66"/>
                  </a:cubicBezTo>
                  <a:cubicBezTo>
                    <a:pt x="1085" y="76"/>
                    <a:pt x="1085" y="76"/>
                    <a:pt x="1085" y="76"/>
                  </a:cubicBezTo>
                  <a:cubicBezTo>
                    <a:pt x="1085" y="76"/>
                    <a:pt x="1077" y="78"/>
                    <a:pt x="1070" y="82"/>
                  </a:cubicBezTo>
                  <a:cubicBezTo>
                    <a:pt x="1064" y="86"/>
                    <a:pt x="1072" y="94"/>
                    <a:pt x="1064" y="100"/>
                  </a:cubicBezTo>
                  <a:cubicBezTo>
                    <a:pt x="1056" y="107"/>
                    <a:pt x="1041" y="91"/>
                    <a:pt x="1034" y="88"/>
                  </a:cubicBezTo>
                  <a:cubicBezTo>
                    <a:pt x="1028" y="86"/>
                    <a:pt x="1026" y="99"/>
                    <a:pt x="1016" y="98"/>
                  </a:cubicBezTo>
                  <a:cubicBezTo>
                    <a:pt x="1005" y="96"/>
                    <a:pt x="1026" y="80"/>
                    <a:pt x="1017" y="71"/>
                  </a:cubicBezTo>
                  <a:cubicBezTo>
                    <a:pt x="1008" y="62"/>
                    <a:pt x="1002" y="74"/>
                    <a:pt x="1002" y="74"/>
                  </a:cubicBezTo>
                  <a:cubicBezTo>
                    <a:pt x="985" y="63"/>
                    <a:pt x="985" y="63"/>
                    <a:pt x="985" y="63"/>
                  </a:cubicBezTo>
                  <a:cubicBezTo>
                    <a:pt x="972" y="71"/>
                    <a:pt x="972" y="71"/>
                    <a:pt x="972" y="71"/>
                  </a:cubicBezTo>
                  <a:cubicBezTo>
                    <a:pt x="953" y="50"/>
                    <a:pt x="953" y="50"/>
                    <a:pt x="953" y="50"/>
                  </a:cubicBezTo>
                  <a:cubicBezTo>
                    <a:pt x="946" y="60"/>
                    <a:pt x="946" y="60"/>
                    <a:pt x="946" y="60"/>
                  </a:cubicBezTo>
                  <a:cubicBezTo>
                    <a:pt x="946" y="60"/>
                    <a:pt x="918" y="64"/>
                    <a:pt x="913" y="64"/>
                  </a:cubicBezTo>
                  <a:cubicBezTo>
                    <a:pt x="908" y="64"/>
                    <a:pt x="909" y="43"/>
                    <a:pt x="909" y="36"/>
                  </a:cubicBezTo>
                  <a:cubicBezTo>
                    <a:pt x="909" y="30"/>
                    <a:pt x="897" y="30"/>
                    <a:pt x="897" y="30"/>
                  </a:cubicBezTo>
                  <a:cubicBezTo>
                    <a:pt x="897" y="30"/>
                    <a:pt x="892" y="12"/>
                    <a:pt x="884" y="7"/>
                  </a:cubicBezTo>
                  <a:cubicBezTo>
                    <a:pt x="876" y="2"/>
                    <a:pt x="869" y="11"/>
                    <a:pt x="864" y="11"/>
                  </a:cubicBezTo>
                  <a:cubicBezTo>
                    <a:pt x="858" y="11"/>
                    <a:pt x="845" y="0"/>
                    <a:pt x="812" y="2"/>
                  </a:cubicBezTo>
                  <a:cubicBezTo>
                    <a:pt x="778" y="3"/>
                    <a:pt x="781" y="23"/>
                    <a:pt x="781" y="23"/>
                  </a:cubicBezTo>
                  <a:cubicBezTo>
                    <a:pt x="781" y="23"/>
                    <a:pt x="761" y="30"/>
                    <a:pt x="740" y="35"/>
                  </a:cubicBezTo>
                  <a:cubicBezTo>
                    <a:pt x="718" y="40"/>
                    <a:pt x="690" y="36"/>
                    <a:pt x="682" y="36"/>
                  </a:cubicBezTo>
                  <a:cubicBezTo>
                    <a:pt x="674" y="36"/>
                    <a:pt x="674" y="52"/>
                    <a:pt x="674" y="52"/>
                  </a:cubicBezTo>
                  <a:cubicBezTo>
                    <a:pt x="632" y="52"/>
                    <a:pt x="632" y="52"/>
                    <a:pt x="632" y="52"/>
                  </a:cubicBezTo>
                  <a:cubicBezTo>
                    <a:pt x="628" y="64"/>
                    <a:pt x="628" y="64"/>
                    <a:pt x="628" y="64"/>
                  </a:cubicBezTo>
                  <a:cubicBezTo>
                    <a:pt x="628" y="64"/>
                    <a:pt x="596" y="63"/>
                    <a:pt x="550" y="70"/>
                  </a:cubicBezTo>
                  <a:cubicBezTo>
                    <a:pt x="505" y="76"/>
                    <a:pt x="521" y="95"/>
                    <a:pt x="521" y="95"/>
                  </a:cubicBezTo>
                  <a:cubicBezTo>
                    <a:pt x="540" y="96"/>
                    <a:pt x="540" y="96"/>
                    <a:pt x="540" y="96"/>
                  </a:cubicBezTo>
                  <a:cubicBezTo>
                    <a:pt x="529" y="108"/>
                    <a:pt x="529" y="108"/>
                    <a:pt x="529" y="108"/>
                  </a:cubicBezTo>
                  <a:cubicBezTo>
                    <a:pt x="529" y="108"/>
                    <a:pt x="572" y="116"/>
                    <a:pt x="572" y="123"/>
                  </a:cubicBezTo>
                  <a:cubicBezTo>
                    <a:pt x="572" y="130"/>
                    <a:pt x="534" y="123"/>
                    <a:pt x="534" y="123"/>
                  </a:cubicBezTo>
                  <a:cubicBezTo>
                    <a:pt x="528" y="134"/>
                    <a:pt x="528" y="134"/>
                    <a:pt x="528" y="134"/>
                  </a:cubicBezTo>
                  <a:cubicBezTo>
                    <a:pt x="528" y="134"/>
                    <a:pt x="541" y="151"/>
                    <a:pt x="540" y="158"/>
                  </a:cubicBezTo>
                  <a:cubicBezTo>
                    <a:pt x="538" y="164"/>
                    <a:pt x="505" y="170"/>
                    <a:pt x="505" y="170"/>
                  </a:cubicBezTo>
                  <a:cubicBezTo>
                    <a:pt x="528" y="190"/>
                    <a:pt x="528" y="190"/>
                    <a:pt x="528" y="190"/>
                  </a:cubicBezTo>
                  <a:cubicBezTo>
                    <a:pt x="528" y="190"/>
                    <a:pt x="578" y="187"/>
                    <a:pt x="582" y="226"/>
                  </a:cubicBezTo>
                  <a:cubicBezTo>
                    <a:pt x="586" y="264"/>
                    <a:pt x="526" y="234"/>
                    <a:pt x="526" y="234"/>
                  </a:cubicBezTo>
                  <a:cubicBezTo>
                    <a:pt x="520" y="250"/>
                    <a:pt x="520" y="250"/>
                    <a:pt x="520" y="250"/>
                  </a:cubicBezTo>
                  <a:cubicBezTo>
                    <a:pt x="520" y="250"/>
                    <a:pt x="497" y="246"/>
                    <a:pt x="486" y="244"/>
                  </a:cubicBezTo>
                  <a:cubicBezTo>
                    <a:pt x="476" y="243"/>
                    <a:pt x="464" y="222"/>
                    <a:pt x="456" y="220"/>
                  </a:cubicBezTo>
                  <a:cubicBezTo>
                    <a:pt x="448" y="219"/>
                    <a:pt x="437" y="228"/>
                    <a:pt x="421" y="232"/>
                  </a:cubicBezTo>
                  <a:cubicBezTo>
                    <a:pt x="405" y="236"/>
                    <a:pt x="394" y="220"/>
                    <a:pt x="385" y="222"/>
                  </a:cubicBezTo>
                  <a:cubicBezTo>
                    <a:pt x="376" y="223"/>
                    <a:pt x="358" y="243"/>
                    <a:pt x="356" y="247"/>
                  </a:cubicBezTo>
                  <a:cubicBezTo>
                    <a:pt x="353" y="251"/>
                    <a:pt x="312" y="220"/>
                    <a:pt x="301" y="223"/>
                  </a:cubicBezTo>
                  <a:cubicBezTo>
                    <a:pt x="290" y="226"/>
                    <a:pt x="313" y="243"/>
                    <a:pt x="305" y="250"/>
                  </a:cubicBezTo>
                  <a:cubicBezTo>
                    <a:pt x="297" y="256"/>
                    <a:pt x="289" y="236"/>
                    <a:pt x="289" y="236"/>
                  </a:cubicBezTo>
                  <a:cubicBezTo>
                    <a:pt x="282" y="216"/>
                    <a:pt x="282" y="216"/>
                    <a:pt x="282" y="216"/>
                  </a:cubicBezTo>
                  <a:cubicBezTo>
                    <a:pt x="258" y="218"/>
                    <a:pt x="258" y="218"/>
                    <a:pt x="258" y="218"/>
                  </a:cubicBezTo>
                  <a:cubicBezTo>
                    <a:pt x="258" y="218"/>
                    <a:pt x="256" y="206"/>
                    <a:pt x="252" y="202"/>
                  </a:cubicBezTo>
                  <a:cubicBezTo>
                    <a:pt x="248" y="198"/>
                    <a:pt x="224" y="203"/>
                    <a:pt x="214" y="202"/>
                  </a:cubicBezTo>
                  <a:cubicBezTo>
                    <a:pt x="205" y="200"/>
                    <a:pt x="204" y="187"/>
                    <a:pt x="197" y="187"/>
                  </a:cubicBezTo>
                  <a:cubicBezTo>
                    <a:pt x="190" y="187"/>
                    <a:pt x="177" y="200"/>
                    <a:pt x="161" y="200"/>
                  </a:cubicBezTo>
                  <a:cubicBezTo>
                    <a:pt x="145" y="200"/>
                    <a:pt x="153" y="187"/>
                    <a:pt x="130" y="188"/>
                  </a:cubicBezTo>
                  <a:cubicBezTo>
                    <a:pt x="108" y="190"/>
                    <a:pt x="130" y="198"/>
                    <a:pt x="122" y="208"/>
                  </a:cubicBezTo>
                  <a:cubicBezTo>
                    <a:pt x="114" y="219"/>
                    <a:pt x="86" y="224"/>
                    <a:pt x="86" y="224"/>
                  </a:cubicBezTo>
                  <a:cubicBezTo>
                    <a:pt x="86" y="239"/>
                    <a:pt x="86" y="239"/>
                    <a:pt x="86" y="239"/>
                  </a:cubicBezTo>
                  <a:cubicBezTo>
                    <a:pt x="68" y="248"/>
                    <a:pt x="68" y="248"/>
                    <a:pt x="68" y="248"/>
                  </a:cubicBezTo>
                  <a:cubicBezTo>
                    <a:pt x="68" y="248"/>
                    <a:pt x="86" y="263"/>
                    <a:pt x="72" y="278"/>
                  </a:cubicBezTo>
                  <a:cubicBezTo>
                    <a:pt x="57" y="292"/>
                    <a:pt x="29" y="250"/>
                    <a:pt x="17" y="251"/>
                  </a:cubicBezTo>
                  <a:cubicBezTo>
                    <a:pt x="5" y="252"/>
                    <a:pt x="13" y="271"/>
                    <a:pt x="13" y="279"/>
                  </a:cubicBezTo>
                  <a:cubicBezTo>
                    <a:pt x="13" y="287"/>
                    <a:pt x="0" y="284"/>
                    <a:pt x="0" y="284"/>
                  </a:cubicBezTo>
                  <a:cubicBezTo>
                    <a:pt x="2" y="308"/>
                    <a:pt x="2" y="308"/>
                    <a:pt x="2" y="308"/>
                  </a:cubicBezTo>
                  <a:cubicBezTo>
                    <a:pt x="2" y="308"/>
                    <a:pt x="8" y="314"/>
                    <a:pt x="8" y="322"/>
                  </a:cubicBezTo>
                  <a:cubicBezTo>
                    <a:pt x="8" y="330"/>
                    <a:pt x="0" y="342"/>
                    <a:pt x="0" y="358"/>
                  </a:cubicBezTo>
                  <a:cubicBezTo>
                    <a:pt x="0" y="374"/>
                    <a:pt x="10" y="364"/>
                    <a:pt x="22" y="370"/>
                  </a:cubicBezTo>
                  <a:cubicBezTo>
                    <a:pt x="34" y="375"/>
                    <a:pt x="20" y="390"/>
                    <a:pt x="32" y="395"/>
                  </a:cubicBezTo>
                  <a:cubicBezTo>
                    <a:pt x="44" y="400"/>
                    <a:pt x="68" y="391"/>
                    <a:pt x="73" y="394"/>
                  </a:cubicBezTo>
                  <a:cubicBezTo>
                    <a:pt x="78" y="396"/>
                    <a:pt x="117" y="436"/>
                    <a:pt x="117" y="444"/>
                  </a:cubicBezTo>
                  <a:cubicBezTo>
                    <a:pt x="117" y="452"/>
                    <a:pt x="94" y="443"/>
                    <a:pt x="94" y="451"/>
                  </a:cubicBezTo>
                  <a:cubicBezTo>
                    <a:pt x="94" y="459"/>
                    <a:pt x="129" y="470"/>
                    <a:pt x="129" y="470"/>
                  </a:cubicBezTo>
                  <a:cubicBezTo>
                    <a:pt x="136" y="460"/>
                    <a:pt x="136" y="460"/>
                    <a:pt x="136" y="460"/>
                  </a:cubicBezTo>
                  <a:cubicBezTo>
                    <a:pt x="136" y="460"/>
                    <a:pt x="145" y="462"/>
                    <a:pt x="152" y="455"/>
                  </a:cubicBezTo>
                  <a:cubicBezTo>
                    <a:pt x="158" y="448"/>
                    <a:pt x="208" y="427"/>
                    <a:pt x="214" y="430"/>
                  </a:cubicBezTo>
                  <a:cubicBezTo>
                    <a:pt x="221" y="432"/>
                    <a:pt x="242" y="448"/>
                    <a:pt x="252" y="448"/>
                  </a:cubicBezTo>
                  <a:cubicBezTo>
                    <a:pt x="261" y="448"/>
                    <a:pt x="269" y="430"/>
                    <a:pt x="289" y="455"/>
                  </a:cubicBezTo>
                  <a:cubicBezTo>
                    <a:pt x="309" y="480"/>
                    <a:pt x="293" y="488"/>
                    <a:pt x="290" y="496"/>
                  </a:cubicBezTo>
                  <a:cubicBezTo>
                    <a:pt x="288" y="504"/>
                    <a:pt x="309" y="520"/>
                    <a:pt x="316" y="523"/>
                  </a:cubicBezTo>
                  <a:cubicBezTo>
                    <a:pt x="322" y="526"/>
                    <a:pt x="333" y="511"/>
                    <a:pt x="341" y="507"/>
                  </a:cubicBezTo>
                  <a:cubicBezTo>
                    <a:pt x="349" y="503"/>
                    <a:pt x="352" y="516"/>
                    <a:pt x="352" y="524"/>
                  </a:cubicBezTo>
                  <a:cubicBezTo>
                    <a:pt x="352" y="532"/>
                    <a:pt x="364" y="542"/>
                    <a:pt x="364" y="542"/>
                  </a:cubicBezTo>
                  <a:cubicBezTo>
                    <a:pt x="337" y="543"/>
                    <a:pt x="337" y="543"/>
                    <a:pt x="337" y="543"/>
                  </a:cubicBezTo>
                  <a:cubicBezTo>
                    <a:pt x="337" y="543"/>
                    <a:pt x="338" y="563"/>
                    <a:pt x="325" y="554"/>
                  </a:cubicBezTo>
                  <a:cubicBezTo>
                    <a:pt x="312" y="544"/>
                    <a:pt x="338" y="531"/>
                    <a:pt x="338" y="531"/>
                  </a:cubicBezTo>
                  <a:cubicBezTo>
                    <a:pt x="338" y="531"/>
                    <a:pt x="290" y="528"/>
                    <a:pt x="282" y="526"/>
                  </a:cubicBezTo>
                  <a:cubicBezTo>
                    <a:pt x="274" y="523"/>
                    <a:pt x="232" y="515"/>
                    <a:pt x="232" y="515"/>
                  </a:cubicBezTo>
                  <a:cubicBezTo>
                    <a:pt x="240" y="538"/>
                    <a:pt x="240" y="538"/>
                    <a:pt x="240" y="538"/>
                  </a:cubicBezTo>
                  <a:cubicBezTo>
                    <a:pt x="240" y="538"/>
                    <a:pt x="224" y="531"/>
                    <a:pt x="218" y="544"/>
                  </a:cubicBezTo>
                  <a:cubicBezTo>
                    <a:pt x="213" y="558"/>
                    <a:pt x="249" y="559"/>
                    <a:pt x="248" y="567"/>
                  </a:cubicBezTo>
                  <a:cubicBezTo>
                    <a:pt x="246" y="575"/>
                    <a:pt x="198" y="550"/>
                    <a:pt x="193" y="562"/>
                  </a:cubicBezTo>
                  <a:cubicBezTo>
                    <a:pt x="188" y="574"/>
                    <a:pt x="221" y="582"/>
                    <a:pt x="221" y="582"/>
                  </a:cubicBezTo>
                  <a:cubicBezTo>
                    <a:pt x="221" y="582"/>
                    <a:pt x="221" y="590"/>
                    <a:pt x="228" y="598"/>
                  </a:cubicBezTo>
                  <a:cubicBezTo>
                    <a:pt x="234" y="606"/>
                    <a:pt x="248" y="622"/>
                    <a:pt x="248" y="622"/>
                  </a:cubicBezTo>
                  <a:cubicBezTo>
                    <a:pt x="246" y="636"/>
                    <a:pt x="246" y="636"/>
                    <a:pt x="246" y="636"/>
                  </a:cubicBezTo>
                  <a:cubicBezTo>
                    <a:pt x="269" y="639"/>
                    <a:pt x="269" y="639"/>
                    <a:pt x="269" y="639"/>
                  </a:cubicBezTo>
                  <a:cubicBezTo>
                    <a:pt x="274" y="654"/>
                    <a:pt x="274" y="654"/>
                    <a:pt x="274" y="654"/>
                  </a:cubicBezTo>
                  <a:cubicBezTo>
                    <a:pt x="274" y="654"/>
                    <a:pt x="309" y="654"/>
                    <a:pt x="320" y="664"/>
                  </a:cubicBezTo>
                  <a:cubicBezTo>
                    <a:pt x="330" y="675"/>
                    <a:pt x="308" y="686"/>
                    <a:pt x="306" y="696"/>
                  </a:cubicBezTo>
                  <a:cubicBezTo>
                    <a:pt x="305" y="707"/>
                    <a:pt x="316" y="708"/>
                    <a:pt x="316" y="708"/>
                  </a:cubicBezTo>
                  <a:cubicBezTo>
                    <a:pt x="317" y="704"/>
                    <a:pt x="323" y="707"/>
                    <a:pt x="328" y="709"/>
                  </a:cubicBezTo>
                  <a:cubicBezTo>
                    <a:pt x="330" y="703"/>
                    <a:pt x="336" y="683"/>
                    <a:pt x="344" y="682"/>
                  </a:cubicBezTo>
                  <a:cubicBezTo>
                    <a:pt x="349" y="681"/>
                    <a:pt x="357" y="682"/>
                    <a:pt x="363" y="683"/>
                  </a:cubicBezTo>
                  <a:cubicBezTo>
                    <a:pt x="364" y="681"/>
                    <a:pt x="364" y="679"/>
                    <a:pt x="365" y="678"/>
                  </a:cubicBezTo>
                  <a:cubicBezTo>
                    <a:pt x="368" y="674"/>
                    <a:pt x="400" y="686"/>
                    <a:pt x="408" y="690"/>
                  </a:cubicBezTo>
                  <a:cubicBezTo>
                    <a:pt x="416" y="694"/>
                    <a:pt x="426" y="707"/>
                    <a:pt x="426" y="707"/>
                  </a:cubicBezTo>
                  <a:cubicBezTo>
                    <a:pt x="426" y="707"/>
                    <a:pt x="444" y="732"/>
                    <a:pt x="454" y="738"/>
                  </a:cubicBezTo>
                  <a:cubicBezTo>
                    <a:pt x="463" y="742"/>
                    <a:pt x="464" y="732"/>
                    <a:pt x="468" y="729"/>
                  </a:cubicBezTo>
                  <a:cubicBezTo>
                    <a:pt x="468" y="729"/>
                    <a:pt x="468" y="729"/>
                    <a:pt x="468" y="729"/>
                  </a:cubicBezTo>
                  <a:cubicBezTo>
                    <a:pt x="433" y="542"/>
                    <a:pt x="433" y="542"/>
                    <a:pt x="433" y="542"/>
                  </a:cubicBezTo>
                  <a:cubicBezTo>
                    <a:pt x="529" y="511"/>
                    <a:pt x="529" y="511"/>
                    <a:pt x="529" y="511"/>
                  </a:cubicBezTo>
                  <a:cubicBezTo>
                    <a:pt x="536" y="514"/>
                    <a:pt x="536" y="514"/>
                    <a:pt x="536" y="514"/>
                  </a:cubicBezTo>
                  <a:cubicBezTo>
                    <a:pt x="536" y="513"/>
                    <a:pt x="536" y="513"/>
                    <a:pt x="536" y="513"/>
                  </a:cubicBezTo>
                  <a:cubicBezTo>
                    <a:pt x="536" y="513"/>
                    <a:pt x="540" y="501"/>
                    <a:pt x="541" y="491"/>
                  </a:cubicBezTo>
                  <a:cubicBezTo>
                    <a:pt x="542" y="481"/>
                    <a:pt x="561" y="486"/>
                    <a:pt x="561" y="486"/>
                  </a:cubicBezTo>
                  <a:cubicBezTo>
                    <a:pt x="566" y="501"/>
                    <a:pt x="566" y="501"/>
                    <a:pt x="566" y="501"/>
                  </a:cubicBezTo>
                  <a:cubicBezTo>
                    <a:pt x="566" y="501"/>
                    <a:pt x="580" y="495"/>
                    <a:pt x="582" y="492"/>
                  </a:cubicBezTo>
                  <a:cubicBezTo>
                    <a:pt x="584" y="489"/>
                    <a:pt x="568" y="471"/>
                    <a:pt x="568" y="471"/>
                  </a:cubicBezTo>
                  <a:cubicBezTo>
                    <a:pt x="578" y="471"/>
                    <a:pt x="578" y="471"/>
                    <a:pt x="578" y="471"/>
                  </a:cubicBezTo>
                  <a:cubicBezTo>
                    <a:pt x="587" y="480"/>
                    <a:pt x="587" y="480"/>
                    <a:pt x="587" y="480"/>
                  </a:cubicBezTo>
                  <a:cubicBezTo>
                    <a:pt x="604" y="479"/>
                    <a:pt x="604" y="479"/>
                    <a:pt x="604" y="479"/>
                  </a:cubicBezTo>
                  <a:cubicBezTo>
                    <a:pt x="604" y="479"/>
                    <a:pt x="618" y="483"/>
                    <a:pt x="621" y="479"/>
                  </a:cubicBezTo>
                  <a:cubicBezTo>
                    <a:pt x="624" y="475"/>
                    <a:pt x="619" y="471"/>
                    <a:pt x="615" y="471"/>
                  </a:cubicBezTo>
                  <a:cubicBezTo>
                    <a:pt x="611" y="471"/>
                    <a:pt x="603" y="466"/>
                    <a:pt x="603" y="466"/>
                  </a:cubicBezTo>
                  <a:cubicBezTo>
                    <a:pt x="603" y="466"/>
                    <a:pt x="587" y="470"/>
                    <a:pt x="584" y="460"/>
                  </a:cubicBezTo>
                  <a:cubicBezTo>
                    <a:pt x="581" y="450"/>
                    <a:pt x="604" y="452"/>
                    <a:pt x="604" y="452"/>
                  </a:cubicBezTo>
                  <a:cubicBezTo>
                    <a:pt x="613" y="444"/>
                    <a:pt x="613" y="444"/>
                    <a:pt x="613" y="444"/>
                  </a:cubicBezTo>
                  <a:cubicBezTo>
                    <a:pt x="613" y="444"/>
                    <a:pt x="625" y="461"/>
                    <a:pt x="628" y="461"/>
                  </a:cubicBezTo>
                  <a:cubicBezTo>
                    <a:pt x="631" y="461"/>
                    <a:pt x="636" y="455"/>
                    <a:pt x="636" y="455"/>
                  </a:cubicBezTo>
                  <a:cubicBezTo>
                    <a:pt x="636" y="455"/>
                    <a:pt x="645" y="465"/>
                    <a:pt x="642" y="471"/>
                  </a:cubicBezTo>
                  <a:cubicBezTo>
                    <a:pt x="639" y="477"/>
                    <a:pt x="625" y="481"/>
                    <a:pt x="625" y="481"/>
                  </a:cubicBezTo>
                  <a:cubicBezTo>
                    <a:pt x="625" y="481"/>
                    <a:pt x="617" y="488"/>
                    <a:pt x="613" y="492"/>
                  </a:cubicBezTo>
                  <a:cubicBezTo>
                    <a:pt x="609" y="496"/>
                    <a:pt x="593" y="491"/>
                    <a:pt x="590" y="493"/>
                  </a:cubicBezTo>
                  <a:cubicBezTo>
                    <a:pt x="587" y="495"/>
                    <a:pt x="587" y="506"/>
                    <a:pt x="587" y="506"/>
                  </a:cubicBezTo>
                  <a:cubicBezTo>
                    <a:pt x="587" y="506"/>
                    <a:pt x="602" y="512"/>
                    <a:pt x="606" y="513"/>
                  </a:cubicBezTo>
                  <a:cubicBezTo>
                    <a:pt x="610" y="514"/>
                    <a:pt x="613" y="523"/>
                    <a:pt x="607" y="532"/>
                  </a:cubicBezTo>
                  <a:cubicBezTo>
                    <a:pt x="604" y="536"/>
                    <a:pt x="607" y="542"/>
                    <a:pt x="610" y="549"/>
                  </a:cubicBezTo>
                  <a:cubicBezTo>
                    <a:pt x="656" y="571"/>
                    <a:pt x="656" y="571"/>
                    <a:pt x="656" y="571"/>
                  </a:cubicBezTo>
                  <a:cubicBezTo>
                    <a:pt x="705" y="619"/>
                    <a:pt x="705" y="619"/>
                    <a:pt x="705" y="619"/>
                  </a:cubicBezTo>
                  <a:cubicBezTo>
                    <a:pt x="705" y="619"/>
                    <a:pt x="742" y="612"/>
                    <a:pt x="758" y="612"/>
                  </a:cubicBezTo>
                  <a:cubicBezTo>
                    <a:pt x="774" y="612"/>
                    <a:pt x="812" y="616"/>
                    <a:pt x="812" y="616"/>
                  </a:cubicBezTo>
                  <a:cubicBezTo>
                    <a:pt x="812" y="616"/>
                    <a:pt x="830" y="604"/>
                    <a:pt x="837" y="604"/>
                  </a:cubicBezTo>
                  <a:cubicBezTo>
                    <a:pt x="844" y="604"/>
                    <a:pt x="874" y="647"/>
                    <a:pt x="874" y="647"/>
                  </a:cubicBezTo>
                  <a:cubicBezTo>
                    <a:pt x="874" y="647"/>
                    <a:pt x="889" y="646"/>
                    <a:pt x="894" y="647"/>
                  </a:cubicBezTo>
                  <a:cubicBezTo>
                    <a:pt x="900" y="648"/>
                    <a:pt x="893" y="696"/>
                    <a:pt x="902" y="699"/>
                  </a:cubicBezTo>
                  <a:cubicBezTo>
                    <a:pt x="912" y="702"/>
                    <a:pt x="912" y="688"/>
                    <a:pt x="921" y="699"/>
                  </a:cubicBezTo>
                  <a:cubicBezTo>
                    <a:pt x="930" y="710"/>
                    <a:pt x="932" y="734"/>
                    <a:pt x="942" y="739"/>
                  </a:cubicBezTo>
                  <a:cubicBezTo>
                    <a:pt x="953" y="744"/>
                    <a:pt x="1000" y="735"/>
                    <a:pt x="1006" y="744"/>
                  </a:cubicBezTo>
                  <a:cubicBezTo>
                    <a:pt x="1013" y="754"/>
                    <a:pt x="996" y="767"/>
                    <a:pt x="1006" y="770"/>
                  </a:cubicBezTo>
                  <a:cubicBezTo>
                    <a:pt x="1017" y="772"/>
                    <a:pt x="1028" y="778"/>
                    <a:pt x="1028" y="778"/>
                  </a:cubicBezTo>
                  <a:cubicBezTo>
                    <a:pt x="1028" y="778"/>
                    <a:pt x="1020" y="754"/>
                    <a:pt x="1029" y="747"/>
                  </a:cubicBezTo>
                  <a:cubicBezTo>
                    <a:pt x="1038" y="740"/>
                    <a:pt x="1046" y="740"/>
                    <a:pt x="1046" y="740"/>
                  </a:cubicBezTo>
                  <a:cubicBezTo>
                    <a:pt x="1046" y="740"/>
                    <a:pt x="1045" y="722"/>
                    <a:pt x="1056" y="719"/>
                  </a:cubicBezTo>
                  <a:cubicBezTo>
                    <a:pt x="1066" y="716"/>
                    <a:pt x="1078" y="714"/>
                    <a:pt x="1078" y="714"/>
                  </a:cubicBezTo>
                  <a:cubicBezTo>
                    <a:pt x="1086" y="696"/>
                    <a:pt x="1086" y="696"/>
                    <a:pt x="1086" y="696"/>
                  </a:cubicBezTo>
                  <a:cubicBezTo>
                    <a:pt x="1104" y="695"/>
                    <a:pt x="1104" y="695"/>
                    <a:pt x="1104" y="695"/>
                  </a:cubicBezTo>
                  <a:cubicBezTo>
                    <a:pt x="1123" y="686"/>
                    <a:pt x="1123" y="686"/>
                    <a:pt x="1123" y="686"/>
                  </a:cubicBezTo>
                  <a:cubicBezTo>
                    <a:pt x="1117" y="683"/>
                    <a:pt x="1107" y="683"/>
                    <a:pt x="1107" y="683"/>
                  </a:cubicBezTo>
                  <a:cubicBezTo>
                    <a:pt x="1107" y="683"/>
                    <a:pt x="1108" y="654"/>
                    <a:pt x="1131" y="653"/>
                  </a:cubicBezTo>
                  <a:cubicBezTo>
                    <a:pt x="1154" y="652"/>
                    <a:pt x="1185" y="672"/>
                    <a:pt x="1185" y="672"/>
                  </a:cubicBezTo>
                  <a:cubicBezTo>
                    <a:pt x="1208" y="672"/>
                    <a:pt x="1208" y="672"/>
                    <a:pt x="1208" y="672"/>
                  </a:cubicBezTo>
                  <a:cubicBezTo>
                    <a:pt x="1219" y="678"/>
                    <a:pt x="1219" y="678"/>
                    <a:pt x="1219" y="678"/>
                  </a:cubicBezTo>
                  <a:cubicBezTo>
                    <a:pt x="1219" y="678"/>
                    <a:pt x="1211" y="643"/>
                    <a:pt x="1214" y="640"/>
                  </a:cubicBezTo>
                  <a:cubicBezTo>
                    <a:pt x="1217" y="637"/>
                    <a:pt x="1230" y="635"/>
                    <a:pt x="1240" y="635"/>
                  </a:cubicBezTo>
                  <a:cubicBezTo>
                    <a:pt x="1250" y="635"/>
                    <a:pt x="1260" y="647"/>
                    <a:pt x="1264" y="647"/>
                  </a:cubicBezTo>
                  <a:cubicBezTo>
                    <a:pt x="1268" y="647"/>
                    <a:pt x="1296" y="653"/>
                    <a:pt x="1296" y="653"/>
                  </a:cubicBezTo>
                  <a:cubicBezTo>
                    <a:pt x="1308" y="649"/>
                    <a:pt x="1308" y="649"/>
                    <a:pt x="1308" y="649"/>
                  </a:cubicBezTo>
                  <a:cubicBezTo>
                    <a:pt x="1308" y="649"/>
                    <a:pt x="1356" y="649"/>
                    <a:pt x="1364" y="648"/>
                  </a:cubicBezTo>
                  <a:cubicBezTo>
                    <a:pt x="1372" y="647"/>
                    <a:pt x="1402" y="651"/>
                    <a:pt x="1402" y="651"/>
                  </a:cubicBezTo>
                  <a:cubicBezTo>
                    <a:pt x="1434" y="650"/>
                    <a:pt x="1434" y="650"/>
                    <a:pt x="1434" y="650"/>
                  </a:cubicBezTo>
                  <a:cubicBezTo>
                    <a:pt x="1442" y="658"/>
                    <a:pt x="1442" y="658"/>
                    <a:pt x="1442" y="658"/>
                  </a:cubicBezTo>
                  <a:cubicBezTo>
                    <a:pt x="1454" y="658"/>
                    <a:pt x="1454" y="658"/>
                    <a:pt x="1454" y="658"/>
                  </a:cubicBezTo>
                  <a:cubicBezTo>
                    <a:pt x="1471" y="676"/>
                    <a:pt x="1471" y="676"/>
                    <a:pt x="1471" y="676"/>
                  </a:cubicBezTo>
                  <a:cubicBezTo>
                    <a:pt x="1499" y="676"/>
                    <a:pt x="1499" y="676"/>
                    <a:pt x="1499" y="676"/>
                  </a:cubicBezTo>
                  <a:cubicBezTo>
                    <a:pt x="1513" y="681"/>
                    <a:pt x="1513" y="681"/>
                    <a:pt x="1513" y="681"/>
                  </a:cubicBezTo>
                  <a:cubicBezTo>
                    <a:pt x="1512" y="680"/>
                    <a:pt x="1512" y="680"/>
                    <a:pt x="1512" y="680"/>
                  </a:cubicBezTo>
                  <a:cubicBezTo>
                    <a:pt x="1507" y="675"/>
                    <a:pt x="1503" y="664"/>
                    <a:pt x="1503" y="659"/>
                  </a:cubicBezTo>
                  <a:cubicBezTo>
                    <a:pt x="1503" y="654"/>
                    <a:pt x="1517" y="656"/>
                    <a:pt x="1517" y="656"/>
                  </a:cubicBezTo>
                  <a:cubicBezTo>
                    <a:pt x="1517" y="656"/>
                    <a:pt x="1506" y="644"/>
                    <a:pt x="1506" y="641"/>
                  </a:cubicBezTo>
                  <a:cubicBezTo>
                    <a:pt x="1506" y="638"/>
                    <a:pt x="1522" y="641"/>
                    <a:pt x="1522" y="634"/>
                  </a:cubicBezTo>
                  <a:cubicBezTo>
                    <a:pt x="1522" y="627"/>
                    <a:pt x="1492" y="596"/>
                    <a:pt x="1484" y="587"/>
                  </a:cubicBezTo>
                  <a:cubicBezTo>
                    <a:pt x="1476" y="578"/>
                    <a:pt x="1476" y="552"/>
                    <a:pt x="1476" y="552"/>
                  </a:cubicBezTo>
                  <a:cubicBezTo>
                    <a:pt x="1476" y="552"/>
                    <a:pt x="1458" y="555"/>
                    <a:pt x="1451" y="546"/>
                  </a:cubicBezTo>
                  <a:cubicBezTo>
                    <a:pt x="1444" y="537"/>
                    <a:pt x="1475" y="530"/>
                    <a:pt x="1481" y="529"/>
                  </a:cubicBezTo>
                  <a:cubicBezTo>
                    <a:pt x="1487" y="528"/>
                    <a:pt x="1511" y="518"/>
                    <a:pt x="1516" y="518"/>
                  </a:cubicBezTo>
                  <a:cubicBezTo>
                    <a:pt x="1521" y="518"/>
                    <a:pt x="1530" y="532"/>
                    <a:pt x="1530" y="532"/>
                  </a:cubicBezTo>
                  <a:cubicBezTo>
                    <a:pt x="1543" y="525"/>
                    <a:pt x="1543" y="525"/>
                    <a:pt x="1543" y="525"/>
                  </a:cubicBezTo>
                  <a:cubicBezTo>
                    <a:pt x="1543" y="525"/>
                    <a:pt x="1550" y="539"/>
                    <a:pt x="1559" y="528"/>
                  </a:cubicBezTo>
                  <a:cubicBezTo>
                    <a:pt x="1568" y="517"/>
                    <a:pt x="1545" y="515"/>
                    <a:pt x="1541" y="513"/>
                  </a:cubicBezTo>
                  <a:cubicBezTo>
                    <a:pt x="1537" y="511"/>
                    <a:pt x="1541" y="459"/>
                    <a:pt x="1541" y="447"/>
                  </a:cubicBezTo>
                  <a:cubicBezTo>
                    <a:pt x="1541" y="435"/>
                    <a:pt x="1540" y="420"/>
                    <a:pt x="1546" y="420"/>
                  </a:cubicBezTo>
                  <a:cubicBezTo>
                    <a:pt x="1552" y="420"/>
                    <a:pt x="1577" y="432"/>
                    <a:pt x="1585" y="434"/>
                  </a:cubicBezTo>
                  <a:cubicBezTo>
                    <a:pt x="1593" y="436"/>
                    <a:pt x="1614" y="434"/>
                    <a:pt x="1614" y="434"/>
                  </a:cubicBezTo>
                  <a:cubicBezTo>
                    <a:pt x="1623" y="442"/>
                    <a:pt x="1623" y="442"/>
                    <a:pt x="1623" y="442"/>
                  </a:cubicBezTo>
                  <a:cubicBezTo>
                    <a:pt x="1634" y="430"/>
                    <a:pt x="1634" y="430"/>
                    <a:pt x="1634" y="430"/>
                  </a:cubicBezTo>
                  <a:cubicBezTo>
                    <a:pt x="1634" y="430"/>
                    <a:pt x="1642" y="431"/>
                    <a:pt x="1649" y="426"/>
                  </a:cubicBezTo>
                  <a:cubicBezTo>
                    <a:pt x="1656" y="421"/>
                    <a:pt x="1650" y="410"/>
                    <a:pt x="1641" y="397"/>
                  </a:cubicBezTo>
                  <a:cubicBezTo>
                    <a:pt x="1632" y="384"/>
                    <a:pt x="1622" y="375"/>
                    <a:pt x="1627" y="361"/>
                  </a:cubicBezTo>
                  <a:cubicBezTo>
                    <a:pt x="1632" y="347"/>
                    <a:pt x="1661" y="357"/>
                    <a:pt x="1667" y="348"/>
                  </a:cubicBezTo>
                  <a:cubicBezTo>
                    <a:pt x="1673" y="339"/>
                    <a:pt x="1654" y="336"/>
                    <a:pt x="1655" y="327"/>
                  </a:cubicBezTo>
                  <a:close/>
                  <a:moveTo>
                    <a:pt x="1385" y="465"/>
                  </a:moveTo>
                  <a:cubicBezTo>
                    <a:pt x="1380" y="470"/>
                    <a:pt x="1363" y="466"/>
                    <a:pt x="1363" y="466"/>
                  </a:cubicBezTo>
                  <a:cubicBezTo>
                    <a:pt x="1363" y="466"/>
                    <a:pt x="1361" y="472"/>
                    <a:pt x="1356" y="473"/>
                  </a:cubicBezTo>
                  <a:cubicBezTo>
                    <a:pt x="1351" y="474"/>
                    <a:pt x="1340" y="464"/>
                    <a:pt x="1340" y="464"/>
                  </a:cubicBezTo>
                  <a:cubicBezTo>
                    <a:pt x="1320" y="467"/>
                    <a:pt x="1320" y="467"/>
                    <a:pt x="1320" y="467"/>
                  </a:cubicBezTo>
                  <a:cubicBezTo>
                    <a:pt x="1299" y="463"/>
                    <a:pt x="1299" y="463"/>
                    <a:pt x="1299" y="463"/>
                  </a:cubicBezTo>
                  <a:cubicBezTo>
                    <a:pt x="1287" y="464"/>
                    <a:pt x="1287" y="464"/>
                    <a:pt x="1287" y="464"/>
                  </a:cubicBezTo>
                  <a:cubicBezTo>
                    <a:pt x="1270" y="459"/>
                    <a:pt x="1270" y="459"/>
                    <a:pt x="1270" y="459"/>
                  </a:cubicBezTo>
                  <a:cubicBezTo>
                    <a:pt x="1270" y="459"/>
                    <a:pt x="1259" y="460"/>
                    <a:pt x="1246" y="460"/>
                  </a:cubicBezTo>
                  <a:cubicBezTo>
                    <a:pt x="1233" y="460"/>
                    <a:pt x="1236" y="454"/>
                    <a:pt x="1236" y="454"/>
                  </a:cubicBezTo>
                  <a:cubicBezTo>
                    <a:pt x="1236" y="454"/>
                    <a:pt x="1228" y="462"/>
                    <a:pt x="1222" y="464"/>
                  </a:cubicBezTo>
                  <a:cubicBezTo>
                    <a:pt x="1216" y="466"/>
                    <a:pt x="1215" y="476"/>
                    <a:pt x="1209" y="484"/>
                  </a:cubicBezTo>
                  <a:cubicBezTo>
                    <a:pt x="1203" y="492"/>
                    <a:pt x="1195" y="489"/>
                    <a:pt x="1195" y="489"/>
                  </a:cubicBezTo>
                  <a:cubicBezTo>
                    <a:pt x="1199" y="507"/>
                    <a:pt x="1199" y="507"/>
                    <a:pt x="1199" y="507"/>
                  </a:cubicBezTo>
                  <a:cubicBezTo>
                    <a:pt x="1191" y="514"/>
                    <a:pt x="1191" y="514"/>
                    <a:pt x="1191" y="514"/>
                  </a:cubicBezTo>
                  <a:cubicBezTo>
                    <a:pt x="1201" y="525"/>
                    <a:pt x="1201" y="525"/>
                    <a:pt x="1201" y="525"/>
                  </a:cubicBezTo>
                  <a:cubicBezTo>
                    <a:pt x="1200" y="542"/>
                    <a:pt x="1200" y="542"/>
                    <a:pt x="1200" y="542"/>
                  </a:cubicBezTo>
                  <a:cubicBezTo>
                    <a:pt x="1196" y="541"/>
                    <a:pt x="1167" y="507"/>
                    <a:pt x="1167" y="507"/>
                  </a:cubicBezTo>
                  <a:cubicBezTo>
                    <a:pt x="1167" y="507"/>
                    <a:pt x="1163" y="492"/>
                    <a:pt x="1163" y="481"/>
                  </a:cubicBezTo>
                  <a:cubicBezTo>
                    <a:pt x="1163" y="470"/>
                    <a:pt x="1181" y="467"/>
                    <a:pt x="1185" y="466"/>
                  </a:cubicBezTo>
                  <a:cubicBezTo>
                    <a:pt x="1189" y="465"/>
                    <a:pt x="1187" y="454"/>
                    <a:pt x="1193" y="448"/>
                  </a:cubicBezTo>
                  <a:cubicBezTo>
                    <a:pt x="1199" y="442"/>
                    <a:pt x="1224" y="448"/>
                    <a:pt x="1228" y="448"/>
                  </a:cubicBezTo>
                  <a:cubicBezTo>
                    <a:pt x="1232" y="448"/>
                    <a:pt x="1240" y="442"/>
                    <a:pt x="1253" y="443"/>
                  </a:cubicBezTo>
                  <a:cubicBezTo>
                    <a:pt x="1266" y="444"/>
                    <a:pt x="1274" y="451"/>
                    <a:pt x="1281" y="452"/>
                  </a:cubicBezTo>
                  <a:cubicBezTo>
                    <a:pt x="1288" y="453"/>
                    <a:pt x="1293" y="456"/>
                    <a:pt x="1306" y="458"/>
                  </a:cubicBezTo>
                  <a:cubicBezTo>
                    <a:pt x="1319" y="460"/>
                    <a:pt x="1315" y="449"/>
                    <a:pt x="1328" y="449"/>
                  </a:cubicBezTo>
                  <a:cubicBezTo>
                    <a:pt x="1341" y="449"/>
                    <a:pt x="1360" y="454"/>
                    <a:pt x="1360" y="454"/>
                  </a:cubicBezTo>
                  <a:cubicBezTo>
                    <a:pt x="1360" y="454"/>
                    <a:pt x="1370" y="445"/>
                    <a:pt x="1384" y="443"/>
                  </a:cubicBezTo>
                  <a:cubicBezTo>
                    <a:pt x="1398" y="441"/>
                    <a:pt x="1390" y="460"/>
                    <a:pt x="1385" y="46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65" name="Freeform 345">
              <a:extLst>
                <a:ext uri="{FF2B5EF4-FFF2-40B4-BE49-F238E27FC236}">
                  <a16:creationId xmlns:a16="http://schemas.microsoft.com/office/drawing/2014/main" id="{8E611F6A-6FB5-F8BC-2631-98AA8DB9294D}"/>
                </a:ext>
              </a:extLst>
            </p:cNvPr>
            <p:cNvSpPr>
              <a:spLocks/>
            </p:cNvSpPr>
            <p:nvPr/>
          </p:nvSpPr>
          <p:spPr bwMode="gray">
            <a:xfrm>
              <a:off x="-3116" y="-8652"/>
              <a:ext cx="1200" cy="2105"/>
            </a:xfrm>
            <a:custGeom>
              <a:avLst/>
              <a:gdLst>
                <a:gd name="T0" fmla="*/ 507 w 508"/>
                <a:gd name="T1" fmla="*/ 210 h 891"/>
                <a:gd name="T2" fmla="*/ 499 w 508"/>
                <a:gd name="T3" fmla="*/ 170 h 891"/>
                <a:gd name="T4" fmla="*/ 502 w 508"/>
                <a:gd name="T5" fmla="*/ 155 h 891"/>
                <a:gd name="T6" fmla="*/ 503 w 508"/>
                <a:gd name="T7" fmla="*/ 104 h 891"/>
                <a:gd name="T8" fmla="*/ 505 w 508"/>
                <a:gd name="T9" fmla="*/ 13 h 891"/>
                <a:gd name="T10" fmla="*/ 497 w 508"/>
                <a:gd name="T11" fmla="*/ 0 h 891"/>
                <a:gd name="T12" fmla="*/ 425 w 508"/>
                <a:gd name="T13" fmla="*/ 38 h 891"/>
                <a:gd name="T14" fmla="*/ 393 w 508"/>
                <a:gd name="T15" fmla="*/ 45 h 891"/>
                <a:gd name="T16" fmla="*/ 354 w 508"/>
                <a:gd name="T17" fmla="*/ 66 h 891"/>
                <a:gd name="T18" fmla="*/ 325 w 508"/>
                <a:gd name="T19" fmla="*/ 61 h 891"/>
                <a:gd name="T20" fmla="*/ 279 w 508"/>
                <a:gd name="T21" fmla="*/ 51 h 891"/>
                <a:gd name="T22" fmla="*/ 237 w 508"/>
                <a:gd name="T23" fmla="*/ 62 h 891"/>
                <a:gd name="T24" fmla="*/ 224 w 508"/>
                <a:gd name="T25" fmla="*/ 89 h 891"/>
                <a:gd name="T26" fmla="*/ 228 w 508"/>
                <a:gd name="T27" fmla="*/ 144 h 891"/>
                <a:gd name="T28" fmla="*/ 235 w 508"/>
                <a:gd name="T29" fmla="*/ 166 h 891"/>
                <a:gd name="T30" fmla="*/ 281 w 508"/>
                <a:gd name="T31" fmla="*/ 231 h 891"/>
                <a:gd name="T32" fmla="*/ 268 w 508"/>
                <a:gd name="T33" fmla="*/ 300 h 891"/>
                <a:gd name="T34" fmla="*/ 246 w 508"/>
                <a:gd name="T35" fmla="*/ 333 h 891"/>
                <a:gd name="T36" fmla="*/ 234 w 508"/>
                <a:gd name="T37" fmla="*/ 340 h 891"/>
                <a:gd name="T38" fmla="*/ 202 w 508"/>
                <a:gd name="T39" fmla="*/ 297 h 891"/>
                <a:gd name="T40" fmla="*/ 208 w 508"/>
                <a:gd name="T41" fmla="*/ 279 h 891"/>
                <a:gd name="T42" fmla="*/ 210 w 508"/>
                <a:gd name="T43" fmla="*/ 263 h 891"/>
                <a:gd name="T44" fmla="*/ 208 w 508"/>
                <a:gd name="T45" fmla="*/ 234 h 891"/>
                <a:gd name="T46" fmla="*/ 189 w 508"/>
                <a:gd name="T47" fmla="*/ 218 h 891"/>
                <a:gd name="T48" fmla="*/ 148 w 508"/>
                <a:gd name="T49" fmla="*/ 189 h 891"/>
                <a:gd name="T50" fmla="*/ 43 w 508"/>
                <a:gd name="T51" fmla="*/ 227 h 891"/>
                <a:gd name="T52" fmla="*/ 5 w 508"/>
                <a:gd name="T53" fmla="*/ 243 h 891"/>
                <a:gd name="T54" fmla="*/ 17 w 508"/>
                <a:gd name="T55" fmla="*/ 297 h 891"/>
                <a:gd name="T56" fmla="*/ 64 w 508"/>
                <a:gd name="T57" fmla="*/ 309 h 891"/>
                <a:gd name="T58" fmla="*/ 89 w 508"/>
                <a:gd name="T59" fmla="*/ 322 h 891"/>
                <a:gd name="T60" fmla="*/ 120 w 508"/>
                <a:gd name="T61" fmla="*/ 331 h 891"/>
                <a:gd name="T62" fmla="*/ 129 w 508"/>
                <a:gd name="T63" fmla="*/ 357 h 891"/>
                <a:gd name="T64" fmla="*/ 131 w 508"/>
                <a:gd name="T65" fmla="*/ 375 h 891"/>
                <a:gd name="T66" fmla="*/ 129 w 508"/>
                <a:gd name="T67" fmla="*/ 395 h 891"/>
                <a:gd name="T68" fmla="*/ 131 w 508"/>
                <a:gd name="T69" fmla="*/ 434 h 891"/>
                <a:gd name="T70" fmla="*/ 117 w 508"/>
                <a:gd name="T71" fmla="*/ 450 h 891"/>
                <a:gd name="T72" fmla="*/ 117 w 508"/>
                <a:gd name="T73" fmla="*/ 482 h 891"/>
                <a:gd name="T74" fmla="*/ 125 w 508"/>
                <a:gd name="T75" fmla="*/ 518 h 891"/>
                <a:gd name="T76" fmla="*/ 105 w 508"/>
                <a:gd name="T77" fmla="*/ 542 h 891"/>
                <a:gd name="T78" fmla="*/ 96 w 508"/>
                <a:gd name="T79" fmla="*/ 570 h 891"/>
                <a:gd name="T80" fmla="*/ 95 w 508"/>
                <a:gd name="T81" fmla="*/ 586 h 891"/>
                <a:gd name="T82" fmla="*/ 57 w 508"/>
                <a:gd name="T83" fmla="*/ 702 h 891"/>
                <a:gd name="T84" fmla="*/ 78 w 508"/>
                <a:gd name="T85" fmla="*/ 809 h 891"/>
                <a:gd name="T86" fmla="*/ 76 w 508"/>
                <a:gd name="T87" fmla="*/ 830 h 891"/>
                <a:gd name="T88" fmla="*/ 83 w 508"/>
                <a:gd name="T89" fmla="*/ 861 h 891"/>
                <a:gd name="T90" fmla="*/ 98 w 508"/>
                <a:gd name="T91" fmla="*/ 877 h 891"/>
                <a:gd name="T92" fmla="*/ 115 w 508"/>
                <a:gd name="T93" fmla="*/ 871 h 891"/>
                <a:gd name="T94" fmla="*/ 109 w 508"/>
                <a:gd name="T95" fmla="*/ 819 h 891"/>
                <a:gd name="T96" fmla="*/ 242 w 508"/>
                <a:gd name="T97" fmla="*/ 735 h 891"/>
                <a:gd name="T98" fmla="*/ 230 w 508"/>
                <a:gd name="T99" fmla="*/ 713 h 891"/>
                <a:gd name="T100" fmla="*/ 241 w 508"/>
                <a:gd name="T101" fmla="*/ 650 h 891"/>
                <a:gd name="T102" fmla="*/ 246 w 508"/>
                <a:gd name="T103" fmla="*/ 626 h 891"/>
                <a:gd name="T104" fmla="*/ 238 w 508"/>
                <a:gd name="T105" fmla="*/ 612 h 891"/>
                <a:gd name="T106" fmla="*/ 225 w 508"/>
                <a:gd name="T107" fmla="*/ 555 h 891"/>
                <a:gd name="T108" fmla="*/ 222 w 508"/>
                <a:gd name="T109" fmla="*/ 503 h 891"/>
                <a:gd name="T110" fmla="*/ 267 w 508"/>
                <a:gd name="T111" fmla="*/ 455 h 891"/>
                <a:gd name="T112" fmla="*/ 312 w 508"/>
                <a:gd name="T113" fmla="*/ 419 h 891"/>
                <a:gd name="T114" fmla="*/ 417 w 508"/>
                <a:gd name="T115" fmla="*/ 348 h 891"/>
                <a:gd name="T116" fmla="*/ 458 w 508"/>
                <a:gd name="T117" fmla="*/ 314 h 891"/>
                <a:gd name="T118" fmla="*/ 498 w 508"/>
                <a:gd name="T119" fmla="*/ 263 h 891"/>
                <a:gd name="T120" fmla="*/ 508 w 508"/>
                <a:gd name="T121" fmla="*/ 229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8" h="891">
                  <a:moveTo>
                    <a:pt x="508" y="229"/>
                  </a:moveTo>
                  <a:cubicBezTo>
                    <a:pt x="508" y="221"/>
                    <a:pt x="507" y="210"/>
                    <a:pt x="507" y="210"/>
                  </a:cubicBezTo>
                  <a:cubicBezTo>
                    <a:pt x="499" y="211"/>
                    <a:pt x="499" y="211"/>
                    <a:pt x="499" y="211"/>
                  </a:cubicBezTo>
                  <a:cubicBezTo>
                    <a:pt x="499" y="170"/>
                    <a:pt x="499" y="170"/>
                    <a:pt x="499" y="170"/>
                  </a:cubicBezTo>
                  <a:cubicBezTo>
                    <a:pt x="491" y="162"/>
                    <a:pt x="491" y="162"/>
                    <a:pt x="491" y="162"/>
                  </a:cubicBezTo>
                  <a:cubicBezTo>
                    <a:pt x="502" y="155"/>
                    <a:pt x="502" y="155"/>
                    <a:pt x="502" y="155"/>
                  </a:cubicBezTo>
                  <a:cubicBezTo>
                    <a:pt x="495" y="124"/>
                    <a:pt x="495" y="124"/>
                    <a:pt x="495" y="124"/>
                  </a:cubicBezTo>
                  <a:cubicBezTo>
                    <a:pt x="503" y="104"/>
                    <a:pt x="503" y="104"/>
                    <a:pt x="503" y="104"/>
                  </a:cubicBezTo>
                  <a:cubicBezTo>
                    <a:pt x="493" y="78"/>
                    <a:pt x="493" y="78"/>
                    <a:pt x="493" y="78"/>
                  </a:cubicBezTo>
                  <a:cubicBezTo>
                    <a:pt x="493" y="78"/>
                    <a:pt x="505" y="21"/>
                    <a:pt x="505" y="13"/>
                  </a:cubicBezTo>
                  <a:cubicBezTo>
                    <a:pt x="505" y="5"/>
                    <a:pt x="497" y="0"/>
                    <a:pt x="497" y="0"/>
                  </a:cubicBezTo>
                  <a:cubicBezTo>
                    <a:pt x="497" y="0"/>
                    <a:pt x="497" y="0"/>
                    <a:pt x="497" y="0"/>
                  </a:cubicBezTo>
                  <a:cubicBezTo>
                    <a:pt x="444" y="37"/>
                    <a:pt x="444" y="37"/>
                    <a:pt x="444" y="37"/>
                  </a:cubicBezTo>
                  <a:cubicBezTo>
                    <a:pt x="425" y="38"/>
                    <a:pt x="425" y="38"/>
                    <a:pt x="425" y="38"/>
                  </a:cubicBezTo>
                  <a:cubicBezTo>
                    <a:pt x="425" y="38"/>
                    <a:pt x="404" y="51"/>
                    <a:pt x="400" y="52"/>
                  </a:cubicBezTo>
                  <a:cubicBezTo>
                    <a:pt x="396" y="53"/>
                    <a:pt x="393" y="45"/>
                    <a:pt x="393" y="45"/>
                  </a:cubicBezTo>
                  <a:cubicBezTo>
                    <a:pt x="377" y="45"/>
                    <a:pt x="377" y="45"/>
                    <a:pt x="377" y="45"/>
                  </a:cubicBezTo>
                  <a:cubicBezTo>
                    <a:pt x="377" y="45"/>
                    <a:pt x="361" y="63"/>
                    <a:pt x="354" y="66"/>
                  </a:cubicBezTo>
                  <a:cubicBezTo>
                    <a:pt x="347" y="69"/>
                    <a:pt x="343" y="67"/>
                    <a:pt x="343" y="67"/>
                  </a:cubicBezTo>
                  <a:cubicBezTo>
                    <a:pt x="343" y="67"/>
                    <a:pt x="329" y="59"/>
                    <a:pt x="325" y="61"/>
                  </a:cubicBezTo>
                  <a:cubicBezTo>
                    <a:pt x="321" y="63"/>
                    <a:pt x="316" y="72"/>
                    <a:pt x="311" y="72"/>
                  </a:cubicBezTo>
                  <a:cubicBezTo>
                    <a:pt x="306" y="72"/>
                    <a:pt x="287" y="51"/>
                    <a:pt x="279" y="51"/>
                  </a:cubicBezTo>
                  <a:cubicBezTo>
                    <a:pt x="271" y="51"/>
                    <a:pt x="267" y="61"/>
                    <a:pt x="267" y="61"/>
                  </a:cubicBezTo>
                  <a:cubicBezTo>
                    <a:pt x="267" y="61"/>
                    <a:pt x="250" y="62"/>
                    <a:pt x="237" y="62"/>
                  </a:cubicBezTo>
                  <a:cubicBezTo>
                    <a:pt x="236" y="66"/>
                    <a:pt x="236" y="70"/>
                    <a:pt x="236" y="72"/>
                  </a:cubicBezTo>
                  <a:cubicBezTo>
                    <a:pt x="236" y="75"/>
                    <a:pt x="233" y="81"/>
                    <a:pt x="224" y="89"/>
                  </a:cubicBezTo>
                  <a:cubicBezTo>
                    <a:pt x="215" y="97"/>
                    <a:pt x="225" y="104"/>
                    <a:pt x="229" y="109"/>
                  </a:cubicBezTo>
                  <a:cubicBezTo>
                    <a:pt x="233" y="114"/>
                    <a:pt x="233" y="132"/>
                    <a:pt x="228" y="144"/>
                  </a:cubicBezTo>
                  <a:cubicBezTo>
                    <a:pt x="225" y="151"/>
                    <a:pt x="225" y="159"/>
                    <a:pt x="226" y="164"/>
                  </a:cubicBezTo>
                  <a:cubicBezTo>
                    <a:pt x="229" y="165"/>
                    <a:pt x="233" y="165"/>
                    <a:pt x="235" y="166"/>
                  </a:cubicBezTo>
                  <a:cubicBezTo>
                    <a:pt x="239" y="169"/>
                    <a:pt x="257" y="196"/>
                    <a:pt x="261" y="204"/>
                  </a:cubicBezTo>
                  <a:cubicBezTo>
                    <a:pt x="265" y="212"/>
                    <a:pt x="275" y="222"/>
                    <a:pt x="281" y="231"/>
                  </a:cubicBezTo>
                  <a:cubicBezTo>
                    <a:pt x="287" y="240"/>
                    <a:pt x="270" y="258"/>
                    <a:pt x="270" y="258"/>
                  </a:cubicBezTo>
                  <a:cubicBezTo>
                    <a:pt x="270" y="258"/>
                    <a:pt x="274" y="293"/>
                    <a:pt x="268" y="300"/>
                  </a:cubicBezTo>
                  <a:cubicBezTo>
                    <a:pt x="262" y="307"/>
                    <a:pt x="244" y="299"/>
                    <a:pt x="238" y="317"/>
                  </a:cubicBezTo>
                  <a:cubicBezTo>
                    <a:pt x="232" y="335"/>
                    <a:pt x="242" y="323"/>
                    <a:pt x="246" y="333"/>
                  </a:cubicBezTo>
                  <a:cubicBezTo>
                    <a:pt x="250" y="343"/>
                    <a:pt x="243" y="360"/>
                    <a:pt x="232" y="358"/>
                  </a:cubicBezTo>
                  <a:cubicBezTo>
                    <a:pt x="221" y="356"/>
                    <a:pt x="235" y="346"/>
                    <a:pt x="234" y="340"/>
                  </a:cubicBezTo>
                  <a:cubicBezTo>
                    <a:pt x="233" y="334"/>
                    <a:pt x="202" y="314"/>
                    <a:pt x="202" y="314"/>
                  </a:cubicBezTo>
                  <a:cubicBezTo>
                    <a:pt x="202" y="297"/>
                    <a:pt x="202" y="297"/>
                    <a:pt x="202" y="297"/>
                  </a:cubicBezTo>
                  <a:cubicBezTo>
                    <a:pt x="202" y="297"/>
                    <a:pt x="197" y="297"/>
                    <a:pt x="195" y="294"/>
                  </a:cubicBezTo>
                  <a:cubicBezTo>
                    <a:pt x="193" y="291"/>
                    <a:pt x="208" y="279"/>
                    <a:pt x="208" y="279"/>
                  </a:cubicBezTo>
                  <a:cubicBezTo>
                    <a:pt x="200" y="266"/>
                    <a:pt x="200" y="266"/>
                    <a:pt x="200" y="266"/>
                  </a:cubicBezTo>
                  <a:cubicBezTo>
                    <a:pt x="210" y="263"/>
                    <a:pt x="210" y="263"/>
                    <a:pt x="210" y="263"/>
                  </a:cubicBezTo>
                  <a:cubicBezTo>
                    <a:pt x="213" y="242"/>
                    <a:pt x="213" y="242"/>
                    <a:pt x="213" y="242"/>
                  </a:cubicBezTo>
                  <a:cubicBezTo>
                    <a:pt x="213" y="242"/>
                    <a:pt x="207" y="243"/>
                    <a:pt x="208" y="234"/>
                  </a:cubicBezTo>
                  <a:cubicBezTo>
                    <a:pt x="209" y="225"/>
                    <a:pt x="205" y="214"/>
                    <a:pt x="205" y="214"/>
                  </a:cubicBezTo>
                  <a:cubicBezTo>
                    <a:pt x="199" y="211"/>
                    <a:pt x="189" y="218"/>
                    <a:pt x="189" y="218"/>
                  </a:cubicBezTo>
                  <a:cubicBezTo>
                    <a:pt x="169" y="221"/>
                    <a:pt x="169" y="221"/>
                    <a:pt x="169" y="221"/>
                  </a:cubicBezTo>
                  <a:cubicBezTo>
                    <a:pt x="148" y="189"/>
                    <a:pt x="148" y="189"/>
                    <a:pt x="148" y="189"/>
                  </a:cubicBezTo>
                  <a:cubicBezTo>
                    <a:pt x="148" y="189"/>
                    <a:pt x="104" y="209"/>
                    <a:pt x="95" y="214"/>
                  </a:cubicBezTo>
                  <a:cubicBezTo>
                    <a:pt x="85" y="219"/>
                    <a:pt x="43" y="227"/>
                    <a:pt x="43" y="227"/>
                  </a:cubicBezTo>
                  <a:cubicBezTo>
                    <a:pt x="31" y="238"/>
                    <a:pt x="31" y="238"/>
                    <a:pt x="31" y="238"/>
                  </a:cubicBezTo>
                  <a:cubicBezTo>
                    <a:pt x="31" y="238"/>
                    <a:pt x="11" y="239"/>
                    <a:pt x="5" y="243"/>
                  </a:cubicBezTo>
                  <a:cubicBezTo>
                    <a:pt x="0" y="247"/>
                    <a:pt x="15" y="261"/>
                    <a:pt x="15" y="261"/>
                  </a:cubicBezTo>
                  <a:cubicBezTo>
                    <a:pt x="17" y="297"/>
                    <a:pt x="17" y="297"/>
                    <a:pt x="17" y="297"/>
                  </a:cubicBezTo>
                  <a:cubicBezTo>
                    <a:pt x="56" y="297"/>
                    <a:pt x="56" y="297"/>
                    <a:pt x="56" y="297"/>
                  </a:cubicBezTo>
                  <a:cubicBezTo>
                    <a:pt x="64" y="309"/>
                    <a:pt x="64" y="309"/>
                    <a:pt x="64" y="309"/>
                  </a:cubicBezTo>
                  <a:cubicBezTo>
                    <a:pt x="79" y="306"/>
                    <a:pt x="79" y="306"/>
                    <a:pt x="79" y="306"/>
                  </a:cubicBezTo>
                  <a:cubicBezTo>
                    <a:pt x="89" y="322"/>
                    <a:pt x="89" y="322"/>
                    <a:pt x="89" y="322"/>
                  </a:cubicBezTo>
                  <a:cubicBezTo>
                    <a:pt x="89" y="322"/>
                    <a:pt x="99" y="319"/>
                    <a:pt x="107" y="319"/>
                  </a:cubicBezTo>
                  <a:cubicBezTo>
                    <a:pt x="115" y="319"/>
                    <a:pt x="120" y="331"/>
                    <a:pt x="120" y="331"/>
                  </a:cubicBezTo>
                  <a:cubicBezTo>
                    <a:pt x="120" y="331"/>
                    <a:pt x="135" y="331"/>
                    <a:pt x="139" y="339"/>
                  </a:cubicBezTo>
                  <a:cubicBezTo>
                    <a:pt x="143" y="347"/>
                    <a:pt x="129" y="357"/>
                    <a:pt x="129" y="357"/>
                  </a:cubicBezTo>
                  <a:cubicBezTo>
                    <a:pt x="137" y="366"/>
                    <a:pt x="137" y="366"/>
                    <a:pt x="137" y="366"/>
                  </a:cubicBezTo>
                  <a:cubicBezTo>
                    <a:pt x="131" y="375"/>
                    <a:pt x="131" y="375"/>
                    <a:pt x="131" y="375"/>
                  </a:cubicBezTo>
                  <a:cubicBezTo>
                    <a:pt x="137" y="383"/>
                    <a:pt x="137" y="383"/>
                    <a:pt x="137" y="383"/>
                  </a:cubicBezTo>
                  <a:cubicBezTo>
                    <a:pt x="137" y="383"/>
                    <a:pt x="132" y="390"/>
                    <a:pt x="129" y="395"/>
                  </a:cubicBezTo>
                  <a:cubicBezTo>
                    <a:pt x="127" y="401"/>
                    <a:pt x="135" y="407"/>
                    <a:pt x="137" y="421"/>
                  </a:cubicBezTo>
                  <a:cubicBezTo>
                    <a:pt x="140" y="434"/>
                    <a:pt x="131" y="434"/>
                    <a:pt x="131" y="434"/>
                  </a:cubicBezTo>
                  <a:cubicBezTo>
                    <a:pt x="131" y="443"/>
                    <a:pt x="131" y="443"/>
                    <a:pt x="131" y="443"/>
                  </a:cubicBezTo>
                  <a:cubicBezTo>
                    <a:pt x="117" y="450"/>
                    <a:pt x="117" y="450"/>
                    <a:pt x="117" y="450"/>
                  </a:cubicBezTo>
                  <a:cubicBezTo>
                    <a:pt x="131" y="466"/>
                    <a:pt x="131" y="466"/>
                    <a:pt x="131" y="466"/>
                  </a:cubicBezTo>
                  <a:cubicBezTo>
                    <a:pt x="131" y="466"/>
                    <a:pt x="119" y="477"/>
                    <a:pt x="117" y="482"/>
                  </a:cubicBezTo>
                  <a:cubicBezTo>
                    <a:pt x="116" y="487"/>
                    <a:pt x="133" y="498"/>
                    <a:pt x="135" y="505"/>
                  </a:cubicBezTo>
                  <a:cubicBezTo>
                    <a:pt x="136" y="511"/>
                    <a:pt x="125" y="518"/>
                    <a:pt x="125" y="518"/>
                  </a:cubicBezTo>
                  <a:cubicBezTo>
                    <a:pt x="125" y="518"/>
                    <a:pt x="123" y="525"/>
                    <a:pt x="121" y="533"/>
                  </a:cubicBezTo>
                  <a:cubicBezTo>
                    <a:pt x="120" y="541"/>
                    <a:pt x="105" y="542"/>
                    <a:pt x="105" y="542"/>
                  </a:cubicBezTo>
                  <a:cubicBezTo>
                    <a:pt x="104" y="565"/>
                    <a:pt x="104" y="565"/>
                    <a:pt x="104" y="565"/>
                  </a:cubicBezTo>
                  <a:cubicBezTo>
                    <a:pt x="96" y="570"/>
                    <a:pt x="96" y="570"/>
                    <a:pt x="96" y="570"/>
                  </a:cubicBezTo>
                  <a:cubicBezTo>
                    <a:pt x="105" y="583"/>
                    <a:pt x="105" y="583"/>
                    <a:pt x="105" y="583"/>
                  </a:cubicBezTo>
                  <a:cubicBezTo>
                    <a:pt x="95" y="586"/>
                    <a:pt x="95" y="586"/>
                    <a:pt x="95" y="586"/>
                  </a:cubicBezTo>
                  <a:cubicBezTo>
                    <a:pt x="48" y="642"/>
                    <a:pt x="48" y="642"/>
                    <a:pt x="48" y="642"/>
                  </a:cubicBezTo>
                  <a:cubicBezTo>
                    <a:pt x="48" y="642"/>
                    <a:pt x="55" y="693"/>
                    <a:pt x="57" y="702"/>
                  </a:cubicBezTo>
                  <a:cubicBezTo>
                    <a:pt x="59" y="711"/>
                    <a:pt x="80" y="743"/>
                    <a:pt x="79" y="752"/>
                  </a:cubicBezTo>
                  <a:cubicBezTo>
                    <a:pt x="78" y="761"/>
                    <a:pt x="78" y="809"/>
                    <a:pt x="78" y="809"/>
                  </a:cubicBezTo>
                  <a:cubicBezTo>
                    <a:pt x="60" y="833"/>
                    <a:pt x="60" y="833"/>
                    <a:pt x="60" y="833"/>
                  </a:cubicBezTo>
                  <a:cubicBezTo>
                    <a:pt x="76" y="830"/>
                    <a:pt x="76" y="830"/>
                    <a:pt x="76" y="830"/>
                  </a:cubicBezTo>
                  <a:cubicBezTo>
                    <a:pt x="76" y="830"/>
                    <a:pt x="71" y="847"/>
                    <a:pt x="73" y="854"/>
                  </a:cubicBezTo>
                  <a:cubicBezTo>
                    <a:pt x="76" y="861"/>
                    <a:pt x="83" y="861"/>
                    <a:pt x="83" y="861"/>
                  </a:cubicBezTo>
                  <a:cubicBezTo>
                    <a:pt x="87" y="877"/>
                    <a:pt x="87" y="877"/>
                    <a:pt x="87" y="877"/>
                  </a:cubicBezTo>
                  <a:cubicBezTo>
                    <a:pt x="91" y="876"/>
                    <a:pt x="95" y="875"/>
                    <a:pt x="98" y="877"/>
                  </a:cubicBezTo>
                  <a:cubicBezTo>
                    <a:pt x="102" y="879"/>
                    <a:pt x="107" y="885"/>
                    <a:pt x="111" y="891"/>
                  </a:cubicBezTo>
                  <a:cubicBezTo>
                    <a:pt x="113" y="883"/>
                    <a:pt x="115" y="876"/>
                    <a:pt x="115" y="871"/>
                  </a:cubicBezTo>
                  <a:cubicBezTo>
                    <a:pt x="116" y="856"/>
                    <a:pt x="107" y="845"/>
                    <a:pt x="107" y="845"/>
                  </a:cubicBezTo>
                  <a:cubicBezTo>
                    <a:pt x="107" y="845"/>
                    <a:pt x="88" y="839"/>
                    <a:pt x="109" y="819"/>
                  </a:cubicBezTo>
                  <a:cubicBezTo>
                    <a:pt x="130" y="799"/>
                    <a:pt x="165" y="785"/>
                    <a:pt x="186" y="773"/>
                  </a:cubicBezTo>
                  <a:cubicBezTo>
                    <a:pt x="207" y="761"/>
                    <a:pt x="242" y="744"/>
                    <a:pt x="242" y="735"/>
                  </a:cubicBezTo>
                  <a:cubicBezTo>
                    <a:pt x="242" y="726"/>
                    <a:pt x="242" y="718"/>
                    <a:pt x="242" y="718"/>
                  </a:cubicBezTo>
                  <a:cubicBezTo>
                    <a:pt x="242" y="718"/>
                    <a:pt x="231" y="727"/>
                    <a:pt x="230" y="713"/>
                  </a:cubicBezTo>
                  <a:cubicBezTo>
                    <a:pt x="229" y="699"/>
                    <a:pt x="249" y="684"/>
                    <a:pt x="247" y="674"/>
                  </a:cubicBezTo>
                  <a:cubicBezTo>
                    <a:pt x="245" y="664"/>
                    <a:pt x="241" y="650"/>
                    <a:pt x="241" y="650"/>
                  </a:cubicBezTo>
                  <a:cubicBezTo>
                    <a:pt x="248" y="631"/>
                    <a:pt x="248" y="631"/>
                    <a:pt x="248" y="631"/>
                  </a:cubicBezTo>
                  <a:cubicBezTo>
                    <a:pt x="246" y="626"/>
                    <a:pt x="246" y="626"/>
                    <a:pt x="246" y="626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8" y="612"/>
                    <a:pt x="238" y="612"/>
                    <a:pt x="238" y="612"/>
                  </a:cubicBezTo>
                  <a:cubicBezTo>
                    <a:pt x="238" y="612"/>
                    <a:pt x="223" y="597"/>
                    <a:pt x="222" y="587"/>
                  </a:cubicBezTo>
                  <a:cubicBezTo>
                    <a:pt x="221" y="577"/>
                    <a:pt x="230" y="567"/>
                    <a:pt x="225" y="555"/>
                  </a:cubicBezTo>
                  <a:cubicBezTo>
                    <a:pt x="220" y="543"/>
                    <a:pt x="208" y="554"/>
                    <a:pt x="208" y="541"/>
                  </a:cubicBezTo>
                  <a:cubicBezTo>
                    <a:pt x="208" y="528"/>
                    <a:pt x="219" y="507"/>
                    <a:pt x="222" y="503"/>
                  </a:cubicBezTo>
                  <a:cubicBezTo>
                    <a:pt x="225" y="499"/>
                    <a:pt x="249" y="493"/>
                    <a:pt x="252" y="484"/>
                  </a:cubicBezTo>
                  <a:cubicBezTo>
                    <a:pt x="255" y="475"/>
                    <a:pt x="260" y="460"/>
                    <a:pt x="267" y="455"/>
                  </a:cubicBezTo>
                  <a:cubicBezTo>
                    <a:pt x="274" y="450"/>
                    <a:pt x="279" y="455"/>
                    <a:pt x="287" y="449"/>
                  </a:cubicBezTo>
                  <a:cubicBezTo>
                    <a:pt x="295" y="443"/>
                    <a:pt x="310" y="435"/>
                    <a:pt x="312" y="419"/>
                  </a:cubicBezTo>
                  <a:cubicBezTo>
                    <a:pt x="314" y="403"/>
                    <a:pt x="331" y="385"/>
                    <a:pt x="348" y="377"/>
                  </a:cubicBezTo>
                  <a:cubicBezTo>
                    <a:pt x="365" y="369"/>
                    <a:pt x="409" y="355"/>
                    <a:pt x="417" y="348"/>
                  </a:cubicBezTo>
                  <a:cubicBezTo>
                    <a:pt x="425" y="341"/>
                    <a:pt x="458" y="324"/>
                    <a:pt x="458" y="324"/>
                  </a:cubicBezTo>
                  <a:cubicBezTo>
                    <a:pt x="458" y="314"/>
                    <a:pt x="458" y="314"/>
                    <a:pt x="458" y="314"/>
                  </a:cubicBezTo>
                  <a:cubicBezTo>
                    <a:pt x="458" y="314"/>
                    <a:pt x="476" y="295"/>
                    <a:pt x="476" y="290"/>
                  </a:cubicBezTo>
                  <a:cubicBezTo>
                    <a:pt x="476" y="285"/>
                    <a:pt x="498" y="263"/>
                    <a:pt x="498" y="263"/>
                  </a:cubicBezTo>
                  <a:cubicBezTo>
                    <a:pt x="496" y="254"/>
                    <a:pt x="496" y="254"/>
                    <a:pt x="496" y="254"/>
                  </a:cubicBezTo>
                  <a:cubicBezTo>
                    <a:pt x="496" y="254"/>
                    <a:pt x="508" y="237"/>
                    <a:pt x="508" y="229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66" name="Freeform 346">
              <a:extLst>
                <a:ext uri="{FF2B5EF4-FFF2-40B4-BE49-F238E27FC236}">
                  <a16:creationId xmlns:a16="http://schemas.microsoft.com/office/drawing/2014/main" id="{B8C18544-9F09-054B-E39C-7C8E5729F625}"/>
                </a:ext>
              </a:extLst>
            </p:cNvPr>
            <p:cNvSpPr>
              <a:spLocks/>
            </p:cNvSpPr>
            <p:nvPr/>
          </p:nvSpPr>
          <p:spPr bwMode="gray">
            <a:xfrm>
              <a:off x="-2821" y="-8784"/>
              <a:ext cx="383" cy="982"/>
            </a:xfrm>
            <a:custGeom>
              <a:avLst/>
              <a:gdLst>
                <a:gd name="T0" fmla="*/ 156 w 162"/>
                <a:gd name="T1" fmla="*/ 287 h 416"/>
                <a:gd name="T2" fmla="*/ 136 w 162"/>
                <a:gd name="T3" fmla="*/ 260 h 416"/>
                <a:gd name="T4" fmla="*/ 110 w 162"/>
                <a:gd name="T5" fmla="*/ 222 h 416"/>
                <a:gd name="T6" fmla="*/ 101 w 162"/>
                <a:gd name="T7" fmla="*/ 220 h 416"/>
                <a:gd name="T8" fmla="*/ 105 w 162"/>
                <a:gd name="T9" fmla="*/ 229 h 416"/>
                <a:gd name="T10" fmla="*/ 114 w 162"/>
                <a:gd name="T11" fmla="*/ 237 h 416"/>
                <a:gd name="T12" fmla="*/ 113 w 162"/>
                <a:gd name="T13" fmla="*/ 264 h 416"/>
                <a:gd name="T14" fmla="*/ 105 w 162"/>
                <a:gd name="T15" fmla="*/ 253 h 416"/>
                <a:gd name="T16" fmla="*/ 90 w 162"/>
                <a:gd name="T17" fmla="*/ 257 h 416"/>
                <a:gd name="T18" fmla="*/ 86 w 162"/>
                <a:gd name="T19" fmla="*/ 234 h 416"/>
                <a:gd name="T20" fmla="*/ 81 w 162"/>
                <a:gd name="T21" fmla="*/ 220 h 416"/>
                <a:gd name="T22" fmla="*/ 81 w 162"/>
                <a:gd name="T23" fmla="*/ 195 h 416"/>
                <a:gd name="T24" fmla="*/ 64 w 162"/>
                <a:gd name="T25" fmla="*/ 171 h 416"/>
                <a:gd name="T26" fmla="*/ 59 w 162"/>
                <a:gd name="T27" fmla="*/ 154 h 416"/>
                <a:gd name="T28" fmla="*/ 77 w 162"/>
                <a:gd name="T29" fmla="*/ 126 h 416"/>
                <a:gd name="T30" fmla="*/ 84 w 162"/>
                <a:gd name="T31" fmla="*/ 108 h 416"/>
                <a:gd name="T32" fmla="*/ 81 w 162"/>
                <a:gd name="T33" fmla="*/ 90 h 416"/>
                <a:gd name="T34" fmla="*/ 78 w 162"/>
                <a:gd name="T35" fmla="*/ 51 h 416"/>
                <a:gd name="T36" fmla="*/ 64 w 162"/>
                <a:gd name="T37" fmla="*/ 37 h 416"/>
                <a:gd name="T38" fmla="*/ 60 w 162"/>
                <a:gd name="T39" fmla="*/ 10 h 416"/>
                <a:gd name="T40" fmla="*/ 41 w 162"/>
                <a:gd name="T41" fmla="*/ 10 h 416"/>
                <a:gd name="T42" fmla="*/ 35 w 162"/>
                <a:gd name="T43" fmla="*/ 0 h 416"/>
                <a:gd name="T44" fmla="*/ 20 w 162"/>
                <a:gd name="T45" fmla="*/ 1 h 416"/>
                <a:gd name="T46" fmla="*/ 20 w 162"/>
                <a:gd name="T47" fmla="*/ 9 h 416"/>
                <a:gd name="T48" fmla="*/ 35 w 162"/>
                <a:gd name="T49" fmla="*/ 16 h 416"/>
                <a:gd name="T50" fmla="*/ 37 w 162"/>
                <a:gd name="T51" fmla="*/ 42 h 416"/>
                <a:gd name="T52" fmla="*/ 46 w 162"/>
                <a:gd name="T53" fmla="*/ 41 h 416"/>
                <a:gd name="T54" fmla="*/ 46 w 162"/>
                <a:gd name="T55" fmla="*/ 54 h 416"/>
                <a:gd name="T56" fmla="*/ 52 w 162"/>
                <a:gd name="T57" fmla="*/ 64 h 416"/>
                <a:gd name="T58" fmla="*/ 30 w 162"/>
                <a:gd name="T59" fmla="*/ 75 h 416"/>
                <a:gd name="T60" fmla="*/ 30 w 162"/>
                <a:gd name="T61" fmla="*/ 86 h 416"/>
                <a:gd name="T62" fmla="*/ 37 w 162"/>
                <a:gd name="T63" fmla="*/ 92 h 416"/>
                <a:gd name="T64" fmla="*/ 33 w 162"/>
                <a:gd name="T65" fmla="*/ 105 h 416"/>
                <a:gd name="T66" fmla="*/ 34 w 162"/>
                <a:gd name="T67" fmla="*/ 153 h 416"/>
                <a:gd name="T68" fmla="*/ 42 w 162"/>
                <a:gd name="T69" fmla="*/ 157 h 416"/>
                <a:gd name="T70" fmla="*/ 14 w 162"/>
                <a:gd name="T71" fmla="*/ 175 h 416"/>
                <a:gd name="T72" fmla="*/ 16 w 162"/>
                <a:gd name="T73" fmla="*/ 200 h 416"/>
                <a:gd name="T74" fmla="*/ 1 w 162"/>
                <a:gd name="T75" fmla="*/ 226 h 416"/>
                <a:gd name="T76" fmla="*/ 23 w 162"/>
                <a:gd name="T77" fmla="*/ 245 h 416"/>
                <a:gd name="T78" fmla="*/ 44 w 162"/>
                <a:gd name="T79" fmla="*/ 277 h 416"/>
                <a:gd name="T80" fmla="*/ 64 w 162"/>
                <a:gd name="T81" fmla="*/ 274 h 416"/>
                <a:gd name="T82" fmla="*/ 80 w 162"/>
                <a:gd name="T83" fmla="*/ 270 h 416"/>
                <a:gd name="T84" fmla="*/ 83 w 162"/>
                <a:gd name="T85" fmla="*/ 290 h 416"/>
                <a:gd name="T86" fmla="*/ 88 w 162"/>
                <a:gd name="T87" fmla="*/ 298 h 416"/>
                <a:gd name="T88" fmla="*/ 85 w 162"/>
                <a:gd name="T89" fmla="*/ 319 h 416"/>
                <a:gd name="T90" fmla="*/ 75 w 162"/>
                <a:gd name="T91" fmla="*/ 322 h 416"/>
                <a:gd name="T92" fmla="*/ 83 w 162"/>
                <a:gd name="T93" fmla="*/ 335 h 416"/>
                <a:gd name="T94" fmla="*/ 70 w 162"/>
                <a:gd name="T95" fmla="*/ 350 h 416"/>
                <a:gd name="T96" fmla="*/ 77 w 162"/>
                <a:gd name="T97" fmla="*/ 353 h 416"/>
                <a:gd name="T98" fmla="*/ 77 w 162"/>
                <a:gd name="T99" fmla="*/ 370 h 416"/>
                <a:gd name="T100" fmla="*/ 109 w 162"/>
                <a:gd name="T101" fmla="*/ 396 h 416"/>
                <a:gd name="T102" fmla="*/ 107 w 162"/>
                <a:gd name="T103" fmla="*/ 414 h 416"/>
                <a:gd name="T104" fmla="*/ 121 w 162"/>
                <a:gd name="T105" fmla="*/ 389 h 416"/>
                <a:gd name="T106" fmla="*/ 113 w 162"/>
                <a:gd name="T107" fmla="*/ 373 h 416"/>
                <a:gd name="T108" fmla="*/ 143 w 162"/>
                <a:gd name="T109" fmla="*/ 356 h 416"/>
                <a:gd name="T110" fmla="*/ 145 w 162"/>
                <a:gd name="T111" fmla="*/ 314 h 416"/>
                <a:gd name="T112" fmla="*/ 156 w 162"/>
                <a:gd name="T113" fmla="*/ 287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2" h="416">
                  <a:moveTo>
                    <a:pt x="156" y="287"/>
                  </a:moveTo>
                  <a:cubicBezTo>
                    <a:pt x="150" y="278"/>
                    <a:pt x="140" y="268"/>
                    <a:pt x="136" y="260"/>
                  </a:cubicBezTo>
                  <a:cubicBezTo>
                    <a:pt x="132" y="252"/>
                    <a:pt x="114" y="225"/>
                    <a:pt x="110" y="222"/>
                  </a:cubicBezTo>
                  <a:cubicBezTo>
                    <a:pt x="108" y="221"/>
                    <a:pt x="104" y="221"/>
                    <a:pt x="101" y="220"/>
                  </a:cubicBezTo>
                  <a:cubicBezTo>
                    <a:pt x="101" y="225"/>
                    <a:pt x="103" y="228"/>
                    <a:pt x="105" y="229"/>
                  </a:cubicBezTo>
                  <a:cubicBezTo>
                    <a:pt x="110" y="231"/>
                    <a:pt x="114" y="237"/>
                    <a:pt x="114" y="237"/>
                  </a:cubicBezTo>
                  <a:cubicBezTo>
                    <a:pt x="114" y="237"/>
                    <a:pt x="119" y="262"/>
                    <a:pt x="113" y="264"/>
                  </a:cubicBezTo>
                  <a:cubicBezTo>
                    <a:pt x="107" y="266"/>
                    <a:pt x="105" y="253"/>
                    <a:pt x="105" y="253"/>
                  </a:cubicBezTo>
                  <a:cubicBezTo>
                    <a:pt x="105" y="253"/>
                    <a:pt x="93" y="259"/>
                    <a:pt x="90" y="257"/>
                  </a:cubicBezTo>
                  <a:cubicBezTo>
                    <a:pt x="87" y="255"/>
                    <a:pt x="87" y="241"/>
                    <a:pt x="86" y="234"/>
                  </a:cubicBezTo>
                  <a:cubicBezTo>
                    <a:pt x="85" y="227"/>
                    <a:pt x="83" y="224"/>
                    <a:pt x="81" y="220"/>
                  </a:cubicBezTo>
                  <a:cubicBezTo>
                    <a:pt x="79" y="216"/>
                    <a:pt x="81" y="203"/>
                    <a:pt x="81" y="195"/>
                  </a:cubicBezTo>
                  <a:cubicBezTo>
                    <a:pt x="81" y="187"/>
                    <a:pt x="76" y="181"/>
                    <a:pt x="64" y="171"/>
                  </a:cubicBezTo>
                  <a:cubicBezTo>
                    <a:pt x="52" y="161"/>
                    <a:pt x="61" y="163"/>
                    <a:pt x="59" y="154"/>
                  </a:cubicBezTo>
                  <a:cubicBezTo>
                    <a:pt x="57" y="145"/>
                    <a:pt x="67" y="137"/>
                    <a:pt x="77" y="126"/>
                  </a:cubicBezTo>
                  <a:cubicBezTo>
                    <a:pt x="87" y="115"/>
                    <a:pt x="83" y="113"/>
                    <a:pt x="84" y="108"/>
                  </a:cubicBezTo>
                  <a:cubicBezTo>
                    <a:pt x="85" y="103"/>
                    <a:pt x="81" y="98"/>
                    <a:pt x="81" y="90"/>
                  </a:cubicBezTo>
                  <a:cubicBezTo>
                    <a:pt x="81" y="82"/>
                    <a:pt x="79" y="67"/>
                    <a:pt x="78" y="51"/>
                  </a:cubicBezTo>
                  <a:cubicBezTo>
                    <a:pt x="77" y="35"/>
                    <a:pt x="75" y="44"/>
                    <a:pt x="64" y="37"/>
                  </a:cubicBezTo>
                  <a:cubicBezTo>
                    <a:pt x="53" y="30"/>
                    <a:pt x="61" y="21"/>
                    <a:pt x="60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34" y="9"/>
                    <a:pt x="35" y="16"/>
                  </a:cubicBezTo>
                  <a:cubicBezTo>
                    <a:pt x="36" y="23"/>
                    <a:pt x="34" y="42"/>
                    <a:pt x="37" y="42"/>
                  </a:cubicBezTo>
                  <a:cubicBezTo>
                    <a:pt x="40" y="42"/>
                    <a:pt x="46" y="41"/>
                    <a:pt x="46" y="41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54"/>
                    <a:pt x="58" y="57"/>
                    <a:pt x="52" y="64"/>
                  </a:cubicBezTo>
                  <a:cubicBezTo>
                    <a:pt x="46" y="71"/>
                    <a:pt x="30" y="75"/>
                    <a:pt x="30" y="75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3" y="105"/>
                    <a:pt x="33" y="105"/>
                    <a:pt x="33" y="105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34" y="153"/>
                    <a:pt x="45" y="150"/>
                    <a:pt x="42" y="157"/>
                  </a:cubicBezTo>
                  <a:cubicBezTo>
                    <a:pt x="39" y="164"/>
                    <a:pt x="14" y="175"/>
                    <a:pt x="14" y="175"/>
                  </a:cubicBezTo>
                  <a:cubicBezTo>
                    <a:pt x="16" y="200"/>
                    <a:pt x="16" y="200"/>
                    <a:pt x="16" y="200"/>
                  </a:cubicBezTo>
                  <a:cubicBezTo>
                    <a:pt x="16" y="200"/>
                    <a:pt x="0" y="223"/>
                    <a:pt x="1" y="226"/>
                  </a:cubicBezTo>
                  <a:cubicBezTo>
                    <a:pt x="2" y="229"/>
                    <a:pt x="23" y="245"/>
                    <a:pt x="23" y="245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64" y="274"/>
                    <a:pt x="64" y="274"/>
                    <a:pt x="64" y="274"/>
                  </a:cubicBezTo>
                  <a:cubicBezTo>
                    <a:pt x="64" y="274"/>
                    <a:pt x="74" y="267"/>
                    <a:pt x="80" y="270"/>
                  </a:cubicBezTo>
                  <a:cubicBezTo>
                    <a:pt x="80" y="270"/>
                    <a:pt x="84" y="281"/>
                    <a:pt x="83" y="290"/>
                  </a:cubicBezTo>
                  <a:cubicBezTo>
                    <a:pt x="82" y="299"/>
                    <a:pt x="88" y="298"/>
                    <a:pt x="88" y="298"/>
                  </a:cubicBezTo>
                  <a:cubicBezTo>
                    <a:pt x="85" y="319"/>
                    <a:pt x="85" y="319"/>
                    <a:pt x="85" y="319"/>
                  </a:cubicBezTo>
                  <a:cubicBezTo>
                    <a:pt x="75" y="322"/>
                    <a:pt x="75" y="322"/>
                    <a:pt x="75" y="322"/>
                  </a:cubicBezTo>
                  <a:cubicBezTo>
                    <a:pt x="83" y="335"/>
                    <a:pt x="83" y="335"/>
                    <a:pt x="83" y="335"/>
                  </a:cubicBezTo>
                  <a:cubicBezTo>
                    <a:pt x="83" y="335"/>
                    <a:pt x="68" y="347"/>
                    <a:pt x="70" y="350"/>
                  </a:cubicBezTo>
                  <a:cubicBezTo>
                    <a:pt x="72" y="353"/>
                    <a:pt x="77" y="353"/>
                    <a:pt x="77" y="353"/>
                  </a:cubicBezTo>
                  <a:cubicBezTo>
                    <a:pt x="77" y="370"/>
                    <a:pt x="77" y="370"/>
                    <a:pt x="77" y="370"/>
                  </a:cubicBezTo>
                  <a:cubicBezTo>
                    <a:pt x="77" y="370"/>
                    <a:pt x="108" y="390"/>
                    <a:pt x="109" y="396"/>
                  </a:cubicBezTo>
                  <a:cubicBezTo>
                    <a:pt x="110" y="402"/>
                    <a:pt x="96" y="412"/>
                    <a:pt x="107" y="414"/>
                  </a:cubicBezTo>
                  <a:cubicBezTo>
                    <a:pt x="118" y="416"/>
                    <a:pt x="125" y="399"/>
                    <a:pt x="121" y="389"/>
                  </a:cubicBezTo>
                  <a:cubicBezTo>
                    <a:pt x="117" y="379"/>
                    <a:pt x="107" y="391"/>
                    <a:pt x="113" y="373"/>
                  </a:cubicBezTo>
                  <a:cubicBezTo>
                    <a:pt x="119" y="355"/>
                    <a:pt x="137" y="363"/>
                    <a:pt x="143" y="356"/>
                  </a:cubicBezTo>
                  <a:cubicBezTo>
                    <a:pt x="149" y="349"/>
                    <a:pt x="145" y="314"/>
                    <a:pt x="145" y="314"/>
                  </a:cubicBezTo>
                  <a:cubicBezTo>
                    <a:pt x="145" y="314"/>
                    <a:pt x="162" y="296"/>
                    <a:pt x="156" y="28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67" name="Freeform 347">
              <a:extLst>
                <a:ext uri="{FF2B5EF4-FFF2-40B4-BE49-F238E27FC236}">
                  <a16:creationId xmlns:a16="http://schemas.microsoft.com/office/drawing/2014/main" id="{17792514-B90F-AB45-943B-2BCCC724D9CD}"/>
                </a:ext>
              </a:extLst>
            </p:cNvPr>
            <p:cNvSpPr>
              <a:spLocks/>
            </p:cNvSpPr>
            <p:nvPr/>
          </p:nvSpPr>
          <p:spPr bwMode="gray">
            <a:xfrm>
              <a:off x="-4014" y="-8945"/>
              <a:ext cx="1330" cy="1266"/>
            </a:xfrm>
            <a:custGeom>
              <a:avLst/>
              <a:gdLst>
                <a:gd name="T0" fmla="*/ 551 w 563"/>
                <a:gd name="T1" fmla="*/ 109 h 536"/>
                <a:gd name="T2" fmla="*/ 540 w 563"/>
                <a:gd name="T3" fmla="*/ 84 h 536"/>
                <a:gd name="T4" fmla="*/ 525 w 563"/>
                <a:gd name="T5" fmla="*/ 69 h 536"/>
                <a:gd name="T6" fmla="*/ 502 w 563"/>
                <a:gd name="T7" fmla="*/ 60 h 536"/>
                <a:gd name="T8" fmla="*/ 485 w 563"/>
                <a:gd name="T9" fmla="*/ 51 h 536"/>
                <a:gd name="T10" fmla="*/ 461 w 563"/>
                <a:gd name="T11" fmla="*/ 38 h 536"/>
                <a:gd name="T12" fmla="*/ 436 w 563"/>
                <a:gd name="T13" fmla="*/ 26 h 536"/>
                <a:gd name="T14" fmla="*/ 419 w 563"/>
                <a:gd name="T15" fmla="*/ 25 h 536"/>
                <a:gd name="T16" fmla="*/ 402 w 563"/>
                <a:gd name="T17" fmla="*/ 0 h 536"/>
                <a:gd name="T18" fmla="*/ 333 w 563"/>
                <a:gd name="T19" fmla="*/ 15 h 536"/>
                <a:gd name="T20" fmla="*/ 306 w 563"/>
                <a:gd name="T21" fmla="*/ 57 h 536"/>
                <a:gd name="T22" fmla="*/ 320 w 563"/>
                <a:gd name="T23" fmla="*/ 87 h 536"/>
                <a:gd name="T24" fmla="*/ 304 w 563"/>
                <a:gd name="T25" fmla="*/ 189 h 536"/>
                <a:gd name="T26" fmla="*/ 351 w 563"/>
                <a:gd name="T27" fmla="*/ 230 h 536"/>
                <a:gd name="T28" fmla="*/ 364 w 563"/>
                <a:gd name="T29" fmla="*/ 214 h 536"/>
                <a:gd name="T30" fmla="*/ 367 w 563"/>
                <a:gd name="T31" fmla="*/ 282 h 536"/>
                <a:gd name="T32" fmla="*/ 344 w 563"/>
                <a:gd name="T33" fmla="*/ 281 h 536"/>
                <a:gd name="T34" fmla="*/ 324 w 563"/>
                <a:gd name="T35" fmla="*/ 251 h 536"/>
                <a:gd name="T36" fmla="*/ 305 w 563"/>
                <a:gd name="T37" fmla="*/ 228 h 536"/>
                <a:gd name="T38" fmla="*/ 282 w 563"/>
                <a:gd name="T39" fmla="*/ 216 h 536"/>
                <a:gd name="T40" fmla="*/ 267 w 563"/>
                <a:gd name="T41" fmla="*/ 203 h 536"/>
                <a:gd name="T42" fmla="*/ 246 w 563"/>
                <a:gd name="T43" fmla="*/ 179 h 536"/>
                <a:gd name="T44" fmla="*/ 165 w 563"/>
                <a:gd name="T45" fmla="*/ 188 h 536"/>
                <a:gd name="T46" fmla="*/ 128 w 563"/>
                <a:gd name="T47" fmla="*/ 168 h 536"/>
                <a:gd name="T48" fmla="*/ 117 w 563"/>
                <a:gd name="T49" fmla="*/ 151 h 536"/>
                <a:gd name="T50" fmla="*/ 101 w 563"/>
                <a:gd name="T51" fmla="*/ 144 h 536"/>
                <a:gd name="T52" fmla="*/ 107 w 563"/>
                <a:gd name="T53" fmla="*/ 178 h 536"/>
                <a:gd name="T54" fmla="*/ 98 w 563"/>
                <a:gd name="T55" fmla="*/ 218 h 536"/>
                <a:gd name="T56" fmla="*/ 93 w 563"/>
                <a:gd name="T57" fmla="*/ 232 h 536"/>
                <a:gd name="T58" fmla="*/ 84 w 563"/>
                <a:gd name="T59" fmla="*/ 262 h 536"/>
                <a:gd name="T60" fmla="*/ 0 w 563"/>
                <a:gd name="T61" fmla="*/ 427 h 536"/>
                <a:gd name="T62" fmla="*/ 6 w 563"/>
                <a:gd name="T63" fmla="*/ 449 h 536"/>
                <a:gd name="T64" fmla="*/ 79 w 563"/>
                <a:gd name="T65" fmla="*/ 511 h 536"/>
                <a:gd name="T66" fmla="*/ 108 w 563"/>
                <a:gd name="T67" fmla="*/ 498 h 536"/>
                <a:gd name="T68" fmla="*/ 138 w 563"/>
                <a:gd name="T69" fmla="*/ 504 h 536"/>
                <a:gd name="T70" fmla="*/ 177 w 563"/>
                <a:gd name="T71" fmla="*/ 517 h 536"/>
                <a:gd name="T72" fmla="*/ 202 w 563"/>
                <a:gd name="T73" fmla="*/ 521 h 536"/>
                <a:gd name="T74" fmla="*/ 267 w 563"/>
                <a:gd name="T75" fmla="*/ 491 h 536"/>
                <a:gd name="T76" fmla="*/ 323 w 563"/>
                <a:gd name="T77" fmla="*/ 449 h 536"/>
                <a:gd name="T78" fmla="*/ 356 w 563"/>
                <a:gd name="T79" fmla="*/ 405 h 536"/>
                <a:gd name="T80" fmla="*/ 395 w 563"/>
                <a:gd name="T81" fmla="*/ 385 h 536"/>
                <a:gd name="T82" fmla="*/ 411 w 563"/>
                <a:gd name="T83" fmla="*/ 362 h 536"/>
                <a:gd name="T84" fmla="*/ 475 w 563"/>
                <a:gd name="T85" fmla="*/ 338 h 536"/>
                <a:gd name="T86" fmla="*/ 506 w 563"/>
                <a:gd name="T87" fmla="*/ 294 h 536"/>
                <a:gd name="T88" fmla="*/ 519 w 563"/>
                <a:gd name="T89" fmla="*/ 243 h 536"/>
                <a:gd name="T90" fmla="*/ 539 w 563"/>
                <a:gd name="T91" fmla="*/ 221 h 536"/>
                <a:gd name="T92" fmla="*/ 542 w 563"/>
                <a:gd name="T93" fmla="*/ 160 h 536"/>
                <a:gd name="T94" fmla="*/ 535 w 563"/>
                <a:gd name="T95" fmla="*/ 143 h 536"/>
                <a:gd name="T96" fmla="*/ 551 w 563"/>
                <a:gd name="T97" fmla="*/ 122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63" h="536">
                  <a:moveTo>
                    <a:pt x="551" y="122"/>
                  </a:moveTo>
                  <a:cubicBezTo>
                    <a:pt x="551" y="109"/>
                    <a:pt x="551" y="109"/>
                    <a:pt x="551" y="109"/>
                  </a:cubicBezTo>
                  <a:cubicBezTo>
                    <a:pt x="551" y="109"/>
                    <a:pt x="545" y="110"/>
                    <a:pt x="542" y="110"/>
                  </a:cubicBezTo>
                  <a:cubicBezTo>
                    <a:pt x="539" y="110"/>
                    <a:pt x="541" y="91"/>
                    <a:pt x="540" y="84"/>
                  </a:cubicBezTo>
                  <a:cubicBezTo>
                    <a:pt x="539" y="77"/>
                    <a:pt x="525" y="77"/>
                    <a:pt x="525" y="77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4" y="59"/>
                    <a:pt x="514" y="59"/>
                    <a:pt x="514" y="59"/>
                  </a:cubicBezTo>
                  <a:cubicBezTo>
                    <a:pt x="502" y="60"/>
                    <a:pt x="502" y="60"/>
                    <a:pt x="502" y="60"/>
                  </a:cubicBezTo>
                  <a:cubicBezTo>
                    <a:pt x="500" y="49"/>
                    <a:pt x="500" y="49"/>
                    <a:pt x="500" y="49"/>
                  </a:cubicBezTo>
                  <a:cubicBezTo>
                    <a:pt x="500" y="49"/>
                    <a:pt x="490" y="55"/>
                    <a:pt x="485" y="51"/>
                  </a:cubicBezTo>
                  <a:cubicBezTo>
                    <a:pt x="480" y="47"/>
                    <a:pt x="473" y="38"/>
                    <a:pt x="473" y="38"/>
                  </a:cubicBezTo>
                  <a:cubicBezTo>
                    <a:pt x="473" y="38"/>
                    <a:pt x="464" y="41"/>
                    <a:pt x="461" y="38"/>
                  </a:cubicBezTo>
                  <a:cubicBezTo>
                    <a:pt x="458" y="35"/>
                    <a:pt x="456" y="23"/>
                    <a:pt x="456" y="23"/>
                  </a:cubicBezTo>
                  <a:cubicBezTo>
                    <a:pt x="456" y="23"/>
                    <a:pt x="444" y="27"/>
                    <a:pt x="436" y="26"/>
                  </a:cubicBezTo>
                  <a:cubicBezTo>
                    <a:pt x="434" y="31"/>
                    <a:pt x="431" y="36"/>
                    <a:pt x="428" y="38"/>
                  </a:cubicBezTo>
                  <a:cubicBezTo>
                    <a:pt x="420" y="42"/>
                    <a:pt x="419" y="25"/>
                    <a:pt x="419" y="25"/>
                  </a:cubicBezTo>
                  <a:cubicBezTo>
                    <a:pt x="419" y="25"/>
                    <a:pt x="411" y="20"/>
                    <a:pt x="400" y="16"/>
                  </a:cubicBezTo>
                  <a:cubicBezTo>
                    <a:pt x="393" y="13"/>
                    <a:pt x="398" y="6"/>
                    <a:pt x="402" y="0"/>
                  </a:cubicBezTo>
                  <a:cubicBezTo>
                    <a:pt x="394" y="4"/>
                    <a:pt x="387" y="6"/>
                    <a:pt x="383" y="7"/>
                  </a:cubicBezTo>
                  <a:cubicBezTo>
                    <a:pt x="370" y="10"/>
                    <a:pt x="333" y="15"/>
                    <a:pt x="333" y="15"/>
                  </a:cubicBezTo>
                  <a:cubicBezTo>
                    <a:pt x="333" y="15"/>
                    <a:pt x="333" y="28"/>
                    <a:pt x="333" y="35"/>
                  </a:cubicBezTo>
                  <a:cubicBezTo>
                    <a:pt x="333" y="42"/>
                    <a:pt x="306" y="57"/>
                    <a:pt x="306" y="57"/>
                  </a:cubicBezTo>
                  <a:cubicBezTo>
                    <a:pt x="306" y="57"/>
                    <a:pt x="312" y="64"/>
                    <a:pt x="315" y="66"/>
                  </a:cubicBezTo>
                  <a:cubicBezTo>
                    <a:pt x="318" y="68"/>
                    <a:pt x="320" y="87"/>
                    <a:pt x="320" y="87"/>
                  </a:cubicBezTo>
                  <a:cubicBezTo>
                    <a:pt x="320" y="87"/>
                    <a:pt x="324" y="121"/>
                    <a:pt x="324" y="135"/>
                  </a:cubicBezTo>
                  <a:cubicBezTo>
                    <a:pt x="324" y="149"/>
                    <a:pt x="302" y="171"/>
                    <a:pt x="304" y="189"/>
                  </a:cubicBezTo>
                  <a:cubicBezTo>
                    <a:pt x="306" y="207"/>
                    <a:pt x="317" y="202"/>
                    <a:pt x="323" y="209"/>
                  </a:cubicBezTo>
                  <a:cubicBezTo>
                    <a:pt x="329" y="216"/>
                    <a:pt x="341" y="230"/>
                    <a:pt x="351" y="230"/>
                  </a:cubicBezTo>
                  <a:cubicBezTo>
                    <a:pt x="361" y="230"/>
                    <a:pt x="358" y="217"/>
                    <a:pt x="358" y="217"/>
                  </a:cubicBezTo>
                  <a:cubicBezTo>
                    <a:pt x="364" y="214"/>
                    <a:pt x="364" y="214"/>
                    <a:pt x="364" y="214"/>
                  </a:cubicBezTo>
                  <a:cubicBezTo>
                    <a:pt x="372" y="214"/>
                    <a:pt x="372" y="214"/>
                    <a:pt x="372" y="214"/>
                  </a:cubicBezTo>
                  <a:cubicBezTo>
                    <a:pt x="372" y="214"/>
                    <a:pt x="373" y="279"/>
                    <a:pt x="367" y="282"/>
                  </a:cubicBezTo>
                  <a:cubicBezTo>
                    <a:pt x="361" y="285"/>
                    <a:pt x="359" y="271"/>
                    <a:pt x="359" y="271"/>
                  </a:cubicBezTo>
                  <a:cubicBezTo>
                    <a:pt x="344" y="281"/>
                    <a:pt x="344" y="281"/>
                    <a:pt x="344" y="281"/>
                  </a:cubicBezTo>
                  <a:cubicBezTo>
                    <a:pt x="332" y="281"/>
                    <a:pt x="332" y="281"/>
                    <a:pt x="332" y="281"/>
                  </a:cubicBezTo>
                  <a:cubicBezTo>
                    <a:pt x="332" y="281"/>
                    <a:pt x="329" y="258"/>
                    <a:pt x="324" y="251"/>
                  </a:cubicBezTo>
                  <a:cubicBezTo>
                    <a:pt x="319" y="244"/>
                    <a:pt x="313" y="247"/>
                    <a:pt x="313" y="247"/>
                  </a:cubicBezTo>
                  <a:cubicBezTo>
                    <a:pt x="313" y="247"/>
                    <a:pt x="311" y="236"/>
                    <a:pt x="305" y="228"/>
                  </a:cubicBezTo>
                  <a:cubicBezTo>
                    <a:pt x="299" y="220"/>
                    <a:pt x="294" y="228"/>
                    <a:pt x="290" y="228"/>
                  </a:cubicBezTo>
                  <a:cubicBezTo>
                    <a:pt x="286" y="228"/>
                    <a:pt x="287" y="220"/>
                    <a:pt x="282" y="216"/>
                  </a:cubicBezTo>
                  <a:cubicBezTo>
                    <a:pt x="277" y="212"/>
                    <a:pt x="275" y="218"/>
                    <a:pt x="267" y="217"/>
                  </a:cubicBezTo>
                  <a:cubicBezTo>
                    <a:pt x="259" y="216"/>
                    <a:pt x="267" y="207"/>
                    <a:pt x="267" y="203"/>
                  </a:cubicBezTo>
                  <a:cubicBezTo>
                    <a:pt x="267" y="199"/>
                    <a:pt x="257" y="199"/>
                    <a:pt x="253" y="194"/>
                  </a:cubicBezTo>
                  <a:cubicBezTo>
                    <a:pt x="249" y="189"/>
                    <a:pt x="258" y="184"/>
                    <a:pt x="246" y="179"/>
                  </a:cubicBezTo>
                  <a:cubicBezTo>
                    <a:pt x="234" y="174"/>
                    <a:pt x="237" y="200"/>
                    <a:pt x="232" y="204"/>
                  </a:cubicBezTo>
                  <a:cubicBezTo>
                    <a:pt x="227" y="208"/>
                    <a:pt x="175" y="195"/>
                    <a:pt x="165" y="188"/>
                  </a:cubicBezTo>
                  <a:cubicBezTo>
                    <a:pt x="155" y="181"/>
                    <a:pt x="159" y="162"/>
                    <a:pt x="159" y="162"/>
                  </a:cubicBezTo>
                  <a:cubicBezTo>
                    <a:pt x="128" y="168"/>
                    <a:pt x="128" y="168"/>
                    <a:pt x="128" y="168"/>
                  </a:cubicBezTo>
                  <a:cubicBezTo>
                    <a:pt x="128" y="168"/>
                    <a:pt x="142" y="178"/>
                    <a:pt x="125" y="177"/>
                  </a:cubicBezTo>
                  <a:cubicBezTo>
                    <a:pt x="108" y="176"/>
                    <a:pt x="117" y="151"/>
                    <a:pt x="117" y="151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1" y="144"/>
                    <a:pt x="101" y="144"/>
                    <a:pt x="101" y="144"/>
                  </a:cubicBezTo>
                  <a:cubicBezTo>
                    <a:pt x="96" y="154"/>
                    <a:pt x="96" y="154"/>
                    <a:pt x="96" y="154"/>
                  </a:cubicBezTo>
                  <a:cubicBezTo>
                    <a:pt x="96" y="154"/>
                    <a:pt x="110" y="175"/>
                    <a:pt x="107" y="178"/>
                  </a:cubicBezTo>
                  <a:cubicBezTo>
                    <a:pt x="104" y="181"/>
                    <a:pt x="96" y="183"/>
                    <a:pt x="96" y="183"/>
                  </a:cubicBezTo>
                  <a:cubicBezTo>
                    <a:pt x="98" y="218"/>
                    <a:pt x="98" y="218"/>
                    <a:pt x="98" y="218"/>
                  </a:cubicBezTo>
                  <a:cubicBezTo>
                    <a:pt x="106" y="229"/>
                    <a:pt x="106" y="229"/>
                    <a:pt x="106" y="229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2"/>
                    <a:pt x="99" y="248"/>
                    <a:pt x="97" y="255"/>
                  </a:cubicBezTo>
                  <a:cubicBezTo>
                    <a:pt x="95" y="262"/>
                    <a:pt x="84" y="262"/>
                    <a:pt x="84" y="262"/>
                  </a:cubicBezTo>
                  <a:cubicBezTo>
                    <a:pt x="1" y="260"/>
                    <a:pt x="1" y="260"/>
                    <a:pt x="1" y="260"/>
                  </a:cubicBezTo>
                  <a:cubicBezTo>
                    <a:pt x="0" y="427"/>
                    <a:pt x="0" y="427"/>
                    <a:pt x="0" y="427"/>
                  </a:cubicBezTo>
                  <a:cubicBezTo>
                    <a:pt x="6" y="437"/>
                    <a:pt x="6" y="437"/>
                    <a:pt x="6" y="437"/>
                  </a:cubicBezTo>
                  <a:cubicBezTo>
                    <a:pt x="6" y="449"/>
                    <a:pt x="6" y="449"/>
                    <a:pt x="6" y="449"/>
                  </a:cubicBezTo>
                  <a:cubicBezTo>
                    <a:pt x="64" y="507"/>
                    <a:pt x="64" y="507"/>
                    <a:pt x="64" y="507"/>
                  </a:cubicBezTo>
                  <a:cubicBezTo>
                    <a:pt x="79" y="511"/>
                    <a:pt x="79" y="511"/>
                    <a:pt x="79" y="511"/>
                  </a:cubicBezTo>
                  <a:cubicBezTo>
                    <a:pt x="92" y="503"/>
                    <a:pt x="92" y="503"/>
                    <a:pt x="92" y="503"/>
                  </a:cubicBezTo>
                  <a:cubicBezTo>
                    <a:pt x="92" y="503"/>
                    <a:pt x="99" y="498"/>
                    <a:pt x="108" y="498"/>
                  </a:cubicBezTo>
                  <a:cubicBezTo>
                    <a:pt x="117" y="498"/>
                    <a:pt x="118" y="506"/>
                    <a:pt x="118" y="506"/>
                  </a:cubicBezTo>
                  <a:cubicBezTo>
                    <a:pt x="138" y="504"/>
                    <a:pt x="138" y="504"/>
                    <a:pt x="138" y="504"/>
                  </a:cubicBezTo>
                  <a:cubicBezTo>
                    <a:pt x="151" y="517"/>
                    <a:pt x="151" y="517"/>
                    <a:pt x="151" y="517"/>
                  </a:cubicBezTo>
                  <a:cubicBezTo>
                    <a:pt x="151" y="517"/>
                    <a:pt x="175" y="513"/>
                    <a:pt x="177" y="517"/>
                  </a:cubicBezTo>
                  <a:cubicBezTo>
                    <a:pt x="179" y="521"/>
                    <a:pt x="185" y="527"/>
                    <a:pt x="189" y="527"/>
                  </a:cubicBezTo>
                  <a:cubicBezTo>
                    <a:pt x="193" y="527"/>
                    <a:pt x="195" y="515"/>
                    <a:pt x="202" y="521"/>
                  </a:cubicBezTo>
                  <a:cubicBezTo>
                    <a:pt x="209" y="527"/>
                    <a:pt x="210" y="536"/>
                    <a:pt x="228" y="527"/>
                  </a:cubicBezTo>
                  <a:cubicBezTo>
                    <a:pt x="246" y="518"/>
                    <a:pt x="267" y="491"/>
                    <a:pt x="267" y="491"/>
                  </a:cubicBezTo>
                  <a:cubicBezTo>
                    <a:pt x="267" y="491"/>
                    <a:pt x="269" y="475"/>
                    <a:pt x="276" y="468"/>
                  </a:cubicBezTo>
                  <a:cubicBezTo>
                    <a:pt x="283" y="461"/>
                    <a:pt x="322" y="450"/>
                    <a:pt x="323" y="449"/>
                  </a:cubicBezTo>
                  <a:cubicBezTo>
                    <a:pt x="324" y="448"/>
                    <a:pt x="321" y="425"/>
                    <a:pt x="321" y="425"/>
                  </a:cubicBezTo>
                  <a:cubicBezTo>
                    <a:pt x="321" y="425"/>
                    <a:pt x="339" y="411"/>
                    <a:pt x="356" y="405"/>
                  </a:cubicBezTo>
                  <a:cubicBezTo>
                    <a:pt x="369" y="400"/>
                    <a:pt x="387" y="400"/>
                    <a:pt x="396" y="401"/>
                  </a:cubicBezTo>
                  <a:cubicBezTo>
                    <a:pt x="395" y="385"/>
                    <a:pt x="395" y="385"/>
                    <a:pt x="395" y="385"/>
                  </a:cubicBezTo>
                  <a:cubicBezTo>
                    <a:pt x="395" y="385"/>
                    <a:pt x="380" y="371"/>
                    <a:pt x="385" y="367"/>
                  </a:cubicBezTo>
                  <a:cubicBezTo>
                    <a:pt x="391" y="363"/>
                    <a:pt x="411" y="362"/>
                    <a:pt x="411" y="362"/>
                  </a:cubicBezTo>
                  <a:cubicBezTo>
                    <a:pt x="423" y="351"/>
                    <a:pt x="423" y="351"/>
                    <a:pt x="423" y="351"/>
                  </a:cubicBezTo>
                  <a:cubicBezTo>
                    <a:pt x="423" y="351"/>
                    <a:pt x="465" y="343"/>
                    <a:pt x="475" y="338"/>
                  </a:cubicBezTo>
                  <a:cubicBezTo>
                    <a:pt x="484" y="333"/>
                    <a:pt x="528" y="313"/>
                    <a:pt x="528" y="313"/>
                  </a:cubicBezTo>
                  <a:cubicBezTo>
                    <a:pt x="528" y="313"/>
                    <a:pt x="507" y="297"/>
                    <a:pt x="506" y="294"/>
                  </a:cubicBezTo>
                  <a:cubicBezTo>
                    <a:pt x="505" y="291"/>
                    <a:pt x="521" y="268"/>
                    <a:pt x="521" y="268"/>
                  </a:cubicBezTo>
                  <a:cubicBezTo>
                    <a:pt x="519" y="243"/>
                    <a:pt x="519" y="243"/>
                    <a:pt x="519" y="243"/>
                  </a:cubicBezTo>
                  <a:cubicBezTo>
                    <a:pt x="519" y="243"/>
                    <a:pt x="544" y="232"/>
                    <a:pt x="547" y="225"/>
                  </a:cubicBezTo>
                  <a:cubicBezTo>
                    <a:pt x="550" y="218"/>
                    <a:pt x="539" y="221"/>
                    <a:pt x="539" y="221"/>
                  </a:cubicBezTo>
                  <a:cubicBezTo>
                    <a:pt x="538" y="173"/>
                    <a:pt x="538" y="173"/>
                    <a:pt x="538" y="173"/>
                  </a:cubicBezTo>
                  <a:cubicBezTo>
                    <a:pt x="542" y="160"/>
                    <a:pt x="542" y="160"/>
                    <a:pt x="542" y="160"/>
                  </a:cubicBezTo>
                  <a:cubicBezTo>
                    <a:pt x="535" y="154"/>
                    <a:pt x="535" y="154"/>
                    <a:pt x="535" y="154"/>
                  </a:cubicBezTo>
                  <a:cubicBezTo>
                    <a:pt x="535" y="143"/>
                    <a:pt x="535" y="143"/>
                    <a:pt x="535" y="143"/>
                  </a:cubicBezTo>
                  <a:cubicBezTo>
                    <a:pt x="535" y="143"/>
                    <a:pt x="551" y="139"/>
                    <a:pt x="557" y="132"/>
                  </a:cubicBezTo>
                  <a:cubicBezTo>
                    <a:pt x="563" y="125"/>
                    <a:pt x="551" y="122"/>
                    <a:pt x="551" y="122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68" name="Freeform 348">
              <a:extLst>
                <a:ext uri="{FF2B5EF4-FFF2-40B4-BE49-F238E27FC236}">
                  <a16:creationId xmlns:a16="http://schemas.microsoft.com/office/drawing/2014/main" id="{0136D6CC-27A7-07CE-8F42-009DF4872707}"/>
                </a:ext>
              </a:extLst>
            </p:cNvPr>
            <p:cNvSpPr>
              <a:spLocks/>
            </p:cNvSpPr>
            <p:nvPr/>
          </p:nvSpPr>
          <p:spPr bwMode="gray">
            <a:xfrm>
              <a:off x="-5089" y="-10672"/>
              <a:ext cx="2131" cy="2400"/>
            </a:xfrm>
            <a:custGeom>
              <a:avLst/>
              <a:gdLst>
                <a:gd name="T0" fmla="*/ 838 w 902"/>
                <a:gd name="T1" fmla="*/ 264 h 1016"/>
                <a:gd name="T2" fmla="*/ 853 w 902"/>
                <a:gd name="T3" fmla="*/ 230 h 1016"/>
                <a:gd name="T4" fmla="*/ 890 w 902"/>
                <a:gd name="T5" fmla="*/ 163 h 1016"/>
                <a:gd name="T6" fmla="*/ 873 w 902"/>
                <a:gd name="T7" fmla="*/ 127 h 1016"/>
                <a:gd name="T8" fmla="*/ 869 w 902"/>
                <a:gd name="T9" fmla="*/ 98 h 1016"/>
                <a:gd name="T10" fmla="*/ 820 w 902"/>
                <a:gd name="T11" fmla="*/ 39 h 1016"/>
                <a:gd name="T12" fmla="*/ 765 w 902"/>
                <a:gd name="T13" fmla="*/ 61 h 1016"/>
                <a:gd name="T14" fmla="*/ 713 w 902"/>
                <a:gd name="T15" fmla="*/ 13 h 1016"/>
                <a:gd name="T16" fmla="*/ 659 w 902"/>
                <a:gd name="T17" fmla="*/ 10 h 1016"/>
                <a:gd name="T18" fmla="*/ 611 w 902"/>
                <a:gd name="T19" fmla="*/ 23 h 1016"/>
                <a:gd name="T20" fmla="*/ 560 w 902"/>
                <a:gd name="T21" fmla="*/ 32 h 1016"/>
                <a:gd name="T22" fmla="*/ 509 w 902"/>
                <a:gd name="T23" fmla="*/ 30 h 1016"/>
                <a:gd name="T24" fmla="*/ 462 w 902"/>
                <a:gd name="T25" fmla="*/ 63 h 1016"/>
                <a:gd name="T26" fmla="*/ 394 w 902"/>
                <a:gd name="T27" fmla="*/ 53 h 1016"/>
                <a:gd name="T28" fmla="*/ 346 w 902"/>
                <a:gd name="T29" fmla="*/ 15 h 1016"/>
                <a:gd name="T30" fmla="*/ 302 w 902"/>
                <a:gd name="T31" fmla="*/ 72 h 1016"/>
                <a:gd name="T32" fmla="*/ 301 w 902"/>
                <a:gd name="T33" fmla="*/ 103 h 1016"/>
                <a:gd name="T34" fmla="*/ 276 w 902"/>
                <a:gd name="T35" fmla="*/ 217 h 1016"/>
                <a:gd name="T36" fmla="*/ 262 w 902"/>
                <a:gd name="T37" fmla="*/ 289 h 1016"/>
                <a:gd name="T38" fmla="*/ 213 w 902"/>
                <a:gd name="T39" fmla="*/ 359 h 1016"/>
                <a:gd name="T40" fmla="*/ 187 w 902"/>
                <a:gd name="T41" fmla="*/ 477 h 1016"/>
                <a:gd name="T42" fmla="*/ 129 w 902"/>
                <a:gd name="T43" fmla="*/ 540 h 1016"/>
                <a:gd name="T44" fmla="*/ 83 w 902"/>
                <a:gd name="T45" fmla="*/ 533 h 1016"/>
                <a:gd name="T46" fmla="*/ 43 w 902"/>
                <a:gd name="T47" fmla="*/ 537 h 1016"/>
                <a:gd name="T48" fmla="*/ 9 w 902"/>
                <a:gd name="T49" fmla="*/ 565 h 1016"/>
                <a:gd name="T50" fmla="*/ 12 w 902"/>
                <a:gd name="T51" fmla="*/ 617 h 1016"/>
                <a:gd name="T52" fmla="*/ 57 w 902"/>
                <a:gd name="T53" fmla="*/ 607 h 1016"/>
                <a:gd name="T54" fmla="*/ 98 w 902"/>
                <a:gd name="T55" fmla="*/ 611 h 1016"/>
                <a:gd name="T56" fmla="*/ 153 w 902"/>
                <a:gd name="T57" fmla="*/ 609 h 1016"/>
                <a:gd name="T58" fmla="*/ 200 w 902"/>
                <a:gd name="T59" fmla="*/ 608 h 1016"/>
                <a:gd name="T60" fmla="*/ 223 w 902"/>
                <a:gd name="T61" fmla="*/ 664 h 1016"/>
                <a:gd name="T62" fmla="*/ 240 w 902"/>
                <a:gd name="T63" fmla="*/ 709 h 1016"/>
                <a:gd name="T64" fmla="*/ 270 w 902"/>
                <a:gd name="T65" fmla="*/ 726 h 1016"/>
                <a:gd name="T66" fmla="*/ 296 w 902"/>
                <a:gd name="T67" fmla="*/ 724 h 1016"/>
                <a:gd name="T68" fmla="*/ 337 w 902"/>
                <a:gd name="T69" fmla="*/ 720 h 1016"/>
                <a:gd name="T70" fmla="*/ 343 w 902"/>
                <a:gd name="T71" fmla="*/ 672 h 1016"/>
                <a:gd name="T72" fmla="*/ 391 w 902"/>
                <a:gd name="T73" fmla="*/ 678 h 1016"/>
                <a:gd name="T74" fmla="*/ 452 w 902"/>
                <a:gd name="T75" fmla="*/ 703 h 1016"/>
                <a:gd name="T76" fmla="*/ 461 w 902"/>
                <a:gd name="T77" fmla="*/ 747 h 1016"/>
                <a:gd name="T78" fmla="*/ 451 w 902"/>
                <a:gd name="T79" fmla="*/ 799 h 1016"/>
                <a:gd name="T80" fmla="*/ 471 w 902"/>
                <a:gd name="T81" fmla="*/ 869 h 1016"/>
                <a:gd name="T82" fmla="*/ 485 w 902"/>
                <a:gd name="T83" fmla="*/ 886 h 1016"/>
                <a:gd name="T84" fmla="*/ 526 w 902"/>
                <a:gd name="T85" fmla="*/ 880 h 1016"/>
                <a:gd name="T86" fmla="*/ 556 w 902"/>
                <a:gd name="T87" fmla="*/ 875 h 1016"/>
                <a:gd name="T88" fmla="*/ 580 w 902"/>
                <a:gd name="T89" fmla="*/ 908 h 1016"/>
                <a:gd name="T90" fmla="*/ 620 w 902"/>
                <a:gd name="T91" fmla="*/ 919 h 1016"/>
                <a:gd name="T92" fmla="*/ 708 w 902"/>
                <a:gd name="T93" fmla="*/ 925 h 1016"/>
                <a:gd name="T94" fmla="*/ 737 w 902"/>
                <a:gd name="T95" fmla="*/ 947 h 1016"/>
                <a:gd name="T96" fmla="*/ 768 w 902"/>
                <a:gd name="T97" fmla="*/ 978 h 1016"/>
                <a:gd name="T98" fmla="*/ 799 w 902"/>
                <a:gd name="T99" fmla="*/ 1012 h 1016"/>
                <a:gd name="T100" fmla="*/ 827 w 902"/>
                <a:gd name="T101" fmla="*/ 945 h 1016"/>
                <a:gd name="T102" fmla="*/ 806 w 902"/>
                <a:gd name="T103" fmla="*/ 961 h 1016"/>
                <a:gd name="T104" fmla="*/ 779 w 902"/>
                <a:gd name="T105" fmla="*/ 866 h 1016"/>
                <a:gd name="T106" fmla="*/ 761 w 902"/>
                <a:gd name="T107" fmla="*/ 788 h 1016"/>
                <a:gd name="T108" fmla="*/ 838 w 902"/>
                <a:gd name="T109" fmla="*/ 738 h 1016"/>
                <a:gd name="T110" fmla="*/ 850 w 902"/>
                <a:gd name="T111" fmla="*/ 710 h 1016"/>
                <a:gd name="T112" fmla="*/ 828 w 902"/>
                <a:gd name="T113" fmla="*/ 658 h 1016"/>
                <a:gd name="T114" fmla="*/ 810 w 902"/>
                <a:gd name="T115" fmla="*/ 589 h 1016"/>
                <a:gd name="T116" fmla="*/ 802 w 902"/>
                <a:gd name="T117" fmla="*/ 502 h 1016"/>
                <a:gd name="T118" fmla="*/ 816 w 902"/>
                <a:gd name="T119" fmla="*/ 471 h 1016"/>
                <a:gd name="T120" fmla="*/ 795 w 902"/>
                <a:gd name="T121" fmla="*/ 434 h 1016"/>
                <a:gd name="T122" fmla="*/ 799 w 902"/>
                <a:gd name="T123" fmla="*/ 384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02" h="1016">
                  <a:moveTo>
                    <a:pt x="828" y="315"/>
                  </a:moveTo>
                  <a:cubicBezTo>
                    <a:pt x="828" y="295"/>
                    <a:pt x="828" y="295"/>
                    <a:pt x="828" y="295"/>
                  </a:cubicBezTo>
                  <a:cubicBezTo>
                    <a:pt x="838" y="264"/>
                    <a:pt x="838" y="264"/>
                    <a:pt x="838" y="264"/>
                  </a:cubicBezTo>
                  <a:cubicBezTo>
                    <a:pt x="840" y="247"/>
                    <a:pt x="840" y="247"/>
                    <a:pt x="840" y="247"/>
                  </a:cubicBezTo>
                  <a:cubicBezTo>
                    <a:pt x="853" y="239"/>
                    <a:pt x="853" y="239"/>
                    <a:pt x="853" y="239"/>
                  </a:cubicBezTo>
                  <a:cubicBezTo>
                    <a:pt x="853" y="230"/>
                    <a:pt x="853" y="230"/>
                    <a:pt x="853" y="230"/>
                  </a:cubicBezTo>
                  <a:cubicBezTo>
                    <a:pt x="869" y="222"/>
                    <a:pt x="869" y="222"/>
                    <a:pt x="869" y="222"/>
                  </a:cubicBezTo>
                  <a:cubicBezTo>
                    <a:pt x="869" y="222"/>
                    <a:pt x="902" y="182"/>
                    <a:pt x="902" y="174"/>
                  </a:cubicBezTo>
                  <a:cubicBezTo>
                    <a:pt x="902" y="166"/>
                    <a:pt x="890" y="163"/>
                    <a:pt x="890" y="163"/>
                  </a:cubicBezTo>
                  <a:cubicBezTo>
                    <a:pt x="890" y="163"/>
                    <a:pt x="879" y="164"/>
                    <a:pt x="876" y="158"/>
                  </a:cubicBezTo>
                  <a:cubicBezTo>
                    <a:pt x="873" y="153"/>
                    <a:pt x="882" y="142"/>
                    <a:pt x="883" y="137"/>
                  </a:cubicBezTo>
                  <a:cubicBezTo>
                    <a:pt x="884" y="131"/>
                    <a:pt x="873" y="127"/>
                    <a:pt x="873" y="127"/>
                  </a:cubicBezTo>
                  <a:cubicBezTo>
                    <a:pt x="886" y="113"/>
                    <a:pt x="886" y="113"/>
                    <a:pt x="886" y="113"/>
                  </a:cubicBezTo>
                  <a:cubicBezTo>
                    <a:pt x="880" y="100"/>
                    <a:pt x="880" y="100"/>
                    <a:pt x="880" y="100"/>
                  </a:cubicBezTo>
                  <a:cubicBezTo>
                    <a:pt x="869" y="98"/>
                    <a:pt x="869" y="98"/>
                    <a:pt x="869" y="98"/>
                  </a:cubicBezTo>
                  <a:cubicBezTo>
                    <a:pt x="866" y="84"/>
                    <a:pt x="866" y="84"/>
                    <a:pt x="866" y="84"/>
                  </a:cubicBezTo>
                  <a:cubicBezTo>
                    <a:pt x="866" y="84"/>
                    <a:pt x="847" y="80"/>
                    <a:pt x="839" y="68"/>
                  </a:cubicBezTo>
                  <a:cubicBezTo>
                    <a:pt x="831" y="56"/>
                    <a:pt x="827" y="39"/>
                    <a:pt x="820" y="39"/>
                  </a:cubicBezTo>
                  <a:cubicBezTo>
                    <a:pt x="813" y="39"/>
                    <a:pt x="814" y="57"/>
                    <a:pt x="803" y="57"/>
                  </a:cubicBezTo>
                  <a:cubicBezTo>
                    <a:pt x="792" y="57"/>
                    <a:pt x="791" y="45"/>
                    <a:pt x="782" y="45"/>
                  </a:cubicBezTo>
                  <a:cubicBezTo>
                    <a:pt x="773" y="45"/>
                    <a:pt x="765" y="61"/>
                    <a:pt x="765" y="61"/>
                  </a:cubicBezTo>
                  <a:cubicBezTo>
                    <a:pt x="734" y="46"/>
                    <a:pt x="734" y="46"/>
                    <a:pt x="734" y="46"/>
                  </a:cubicBezTo>
                  <a:cubicBezTo>
                    <a:pt x="734" y="32"/>
                    <a:pt x="734" y="32"/>
                    <a:pt x="734" y="32"/>
                  </a:cubicBezTo>
                  <a:cubicBezTo>
                    <a:pt x="713" y="13"/>
                    <a:pt x="713" y="13"/>
                    <a:pt x="713" y="13"/>
                  </a:cubicBezTo>
                  <a:cubicBezTo>
                    <a:pt x="709" y="5"/>
                    <a:pt x="709" y="5"/>
                    <a:pt x="709" y="5"/>
                  </a:cubicBezTo>
                  <a:cubicBezTo>
                    <a:pt x="709" y="5"/>
                    <a:pt x="705" y="16"/>
                    <a:pt x="685" y="21"/>
                  </a:cubicBezTo>
                  <a:cubicBezTo>
                    <a:pt x="665" y="26"/>
                    <a:pt x="659" y="10"/>
                    <a:pt x="659" y="10"/>
                  </a:cubicBezTo>
                  <a:cubicBezTo>
                    <a:pt x="638" y="13"/>
                    <a:pt x="638" y="13"/>
                    <a:pt x="638" y="13"/>
                  </a:cubicBezTo>
                  <a:cubicBezTo>
                    <a:pt x="638" y="13"/>
                    <a:pt x="630" y="0"/>
                    <a:pt x="623" y="1"/>
                  </a:cubicBezTo>
                  <a:cubicBezTo>
                    <a:pt x="616" y="2"/>
                    <a:pt x="611" y="23"/>
                    <a:pt x="611" y="23"/>
                  </a:cubicBezTo>
                  <a:cubicBezTo>
                    <a:pt x="611" y="23"/>
                    <a:pt x="593" y="28"/>
                    <a:pt x="589" y="28"/>
                  </a:cubicBezTo>
                  <a:cubicBezTo>
                    <a:pt x="585" y="28"/>
                    <a:pt x="576" y="18"/>
                    <a:pt x="576" y="18"/>
                  </a:cubicBezTo>
                  <a:cubicBezTo>
                    <a:pt x="560" y="32"/>
                    <a:pt x="560" y="32"/>
                    <a:pt x="560" y="32"/>
                  </a:cubicBezTo>
                  <a:cubicBezTo>
                    <a:pt x="548" y="32"/>
                    <a:pt x="548" y="32"/>
                    <a:pt x="548" y="32"/>
                  </a:cubicBezTo>
                  <a:cubicBezTo>
                    <a:pt x="548" y="32"/>
                    <a:pt x="535" y="41"/>
                    <a:pt x="529" y="46"/>
                  </a:cubicBezTo>
                  <a:cubicBezTo>
                    <a:pt x="523" y="51"/>
                    <a:pt x="509" y="30"/>
                    <a:pt x="509" y="30"/>
                  </a:cubicBezTo>
                  <a:cubicBezTo>
                    <a:pt x="509" y="30"/>
                    <a:pt x="502" y="43"/>
                    <a:pt x="495" y="46"/>
                  </a:cubicBezTo>
                  <a:cubicBezTo>
                    <a:pt x="488" y="49"/>
                    <a:pt x="493" y="63"/>
                    <a:pt x="484" y="70"/>
                  </a:cubicBezTo>
                  <a:cubicBezTo>
                    <a:pt x="475" y="77"/>
                    <a:pt x="462" y="63"/>
                    <a:pt x="462" y="63"/>
                  </a:cubicBezTo>
                  <a:cubicBezTo>
                    <a:pt x="462" y="63"/>
                    <a:pt x="444" y="63"/>
                    <a:pt x="434" y="64"/>
                  </a:cubicBezTo>
                  <a:cubicBezTo>
                    <a:pt x="424" y="65"/>
                    <a:pt x="418" y="53"/>
                    <a:pt x="418" y="53"/>
                  </a:cubicBezTo>
                  <a:cubicBezTo>
                    <a:pt x="418" y="53"/>
                    <a:pt x="409" y="53"/>
                    <a:pt x="394" y="53"/>
                  </a:cubicBezTo>
                  <a:cubicBezTo>
                    <a:pt x="379" y="53"/>
                    <a:pt x="391" y="38"/>
                    <a:pt x="388" y="34"/>
                  </a:cubicBezTo>
                  <a:cubicBezTo>
                    <a:pt x="385" y="30"/>
                    <a:pt x="372" y="32"/>
                    <a:pt x="372" y="32"/>
                  </a:cubicBezTo>
                  <a:cubicBezTo>
                    <a:pt x="372" y="32"/>
                    <a:pt x="375" y="17"/>
                    <a:pt x="346" y="15"/>
                  </a:cubicBezTo>
                  <a:cubicBezTo>
                    <a:pt x="317" y="13"/>
                    <a:pt x="327" y="32"/>
                    <a:pt x="317" y="46"/>
                  </a:cubicBezTo>
                  <a:cubicBezTo>
                    <a:pt x="307" y="60"/>
                    <a:pt x="308" y="49"/>
                    <a:pt x="300" y="59"/>
                  </a:cubicBezTo>
                  <a:cubicBezTo>
                    <a:pt x="292" y="69"/>
                    <a:pt x="302" y="72"/>
                    <a:pt x="302" y="72"/>
                  </a:cubicBezTo>
                  <a:cubicBezTo>
                    <a:pt x="302" y="82"/>
                    <a:pt x="302" y="82"/>
                    <a:pt x="302" y="82"/>
                  </a:cubicBezTo>
                  <a:cubicBezTo>
                    <a:pt x="292" y="96"/>
                    <a:pt x="292" y="96"/>
                    <a:pt x="292" y="96"/>
                  </a:cubicBezTo>
                  <a:cubicBezTo>
                    <a:pt x="301" y="103"/>
                    <a:pt x="301" y="103"/>
                    <a:pt x="301" y="103"/>
                  </a:cubicBezTo>
                  <a:cubicBezTo>
                    <a:pt x="301" y="103"/>
                    <a:pt x="301" y="114"/>
                    <a:pt x="301" y="122"/>
                  </a:cubicBezTo>
                  <a:cubicBezTo>
                    <a:pt x="301" y="130"/>
                    <a:pt x="286" y="159"/>
                    <a:pt x="277" y="169"/>
                  </a:cubicBezTo>
                  <a:cubicBezTo>
                    <a:pt x="268" y="179"/>
                    <a:pt x="275" y="206"/>
                    <a:pt x="276" y="217"/>
                  </a:cubicBezTo>
                  <a:cubicBezTo>
                    <a:pt x="277" y="228"/>
                    <a:pt x="267" y="236"/>
                    <a:pt x="265" y="244"/>
                  </a:cubicBezTo>
                  <a:cubicBezTo>
                    <a:pt x="263" y="252"/>
                    <a:pt x="272" y="259"/>
                    <a:pt x="272" y="270"/>
                  </a:cubicBezTo>
                  <a:cubicBezTo>
                    <a:pt x="272" y="281"/>
                    <a:pt x="262" y="289"/>
                    <a:pt x="262" y="289"/>
                  </a:cubicBezTo>
                  <a:cubicBezTo>
                    <a:pt x="259" y="321"/>
                    <a:pt x="259" y="321"/>
                    <a:pt x="259" y="321"/>
                  </a:cubicBezTo>
                  <a:cubicBezTo>
                    <a:pt x="259" y="321"/>
                    <a:pt x="253" y="336"/>
                    <a:pt x="243" y="343"/>
                  </a:cubicBezTo>
                  <a:cubicBezTo>
                    <a:pt x="233" y="350"/>
                    <a:pt x="220" y="356"/>
                    <a:pt x="213" y="359"/>
                  </a:cubicBezTo>
                  <a:cubicBezTo>
                    <a:pt x="206" y="362"/>
                    <a:pt x="206" y="385"/>
                    <a:pt x="205" y="394"/>
                  </a:cubicBezTo>
                  <a:cubicBezTo>
                    <a:pt x="204" y="403"/>
                    <a:pt x="186" y="410"/>
                    <a:pt x="186" y="410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70" y="507"/>
                    <a:pt x="170" y="507"/>
                    <a:pt x="170" y="507"/>
                  </a:cubicBezTo>
                  <a:cubicBezTo>
                    <a:pt x="170" y="507"/>
                    <a:pt x="160" y="510"/>
                    <a:pt x="154" y="510"/>
                  </a:cubicBezTo>
                  <a:cubicBezTo>
                    <a:pt x="148" y="510"/>
                    <a:pt x="136" y="531"/>
                    <a:pt x="129" y="540"/>
                  </a:cubicBezTo>
                  <a:cubicBezTo>
                    <a:pt x="122" y="549"/>
                    <a:pt x="119" y="554"/>
                    <a:pt x="104" y="554"/>
                  </a:cubicBezTo>
                  <a:cubicBezTo>
                    <a:pt x="89" y="554"/>
                    <a:pt x="107" y="531"/>
                    <a:pt x="100" y="524"/>
                  </a:cubicBezTo>
                  <a:cubicBezTo>
                    <a:pt x="93" y="517"/>
                    <a:pt x="83" y="533"/>
                    <a:pt x="83" y="533"/>
                  </a:cubicBezTo>
                  <a:cubicBezTo>
                    <a:pt x="70" y="532"/>
                    <a:pt x="70" y="532"/>
                    <a:pt x="70" y="532"/>
                  </a:cubicBezTo>
                  <a:cubicBezTo>
                    <a:pt x="70" y="532"/>
                    <a:pt x="71" y="548"/>
                    <a:pt x="59" y="553"/>
                  </a:cubicBezTo>
                  <a:cubicBezTo>
                    <a:pt x="47" y="558"/>
                    <a:pt x="43" y="537"/>
                    <a:pt x="43" y="537"/>
                  </a:cubicBezTo>
                  <a:cubicBezTo>
                    <a:pt x="36" y="540"/>
                    <a:pt x="36" y="540"/>
                    <a:pt x="36" y="540"/>
                  </a:cubicBezTo>
                  <a:cubicBezTo>
                    <a:pt x="33" y="548"/>
                    <a:pt x="33" y="548"/>
                    <a:pt x="33" y="548"/>
                  </a:cubicBezTo>
                  <a:cubicBezTo>
                    <a:pt x="9" y="565"/>
                    <a:pt x="9" y="565"/>
                    <a:pt x="9" y="565"/>
                  </a:cubicBezTo>
                  <a:cubicBezTo>
                    <a:pt x="9" y="565"/>
                    <a:pt x="21" y="591"/>
                    <a:pt x="13" y="595"/>
                  </a:cubicBezTo>
                  <a:cubicBezTo>
                    <a:pt x="10" y="597"/>
                    <a:pt x="5" y="599"/>
                    <a:pt x="0" y="602"/>
                  </a:cubicBezTo>
                  <a:cubicBezTo>
                    <a:pt x="4" y="605"/>
                    <a:pt x="11" y="612"/>
                    <a:pt x="12" y="617"/>
                  </a:cubicBezTo>
                  <a:cubicBezTo>
                    <a:pt x="35" y="607"/>
                    <a:pt x="35" y="607"/>
                    <a:pt x="35" y="607"/>
                  </a:cubicBezTo>
                  <a:cubicBezTo>
                    <a:pt x="52" y="609"/>
                    <a:pt x="52" y="609"/>
                    <a:pt x="52" y="609"/>
                  </a:cubicBezTo>
                  <a:cubicBezTo>
                    <a:pt x="57" y="607"/>
                    <a:pt x="57" y="607"/>
                    <a:pt x="57" y="607"/>
                  </a:cubicBezTo>
                  <a:cubicBezTo>
                    <a:pt x="65" y="609"/>
                    <a:pt x="65" y="609"/>
                    <a:pt x="65" y="609"/>
                  </a:cubicBezTo>
                  <a:cubicBezTo>
                    <a:pt x="80" y="605"/>
                    <a:pt x="80" y="605"/>
                    <a:pt x="80" y="605"/>
                  </a:cubicBezTo>
                  <a:cubicBezTo>
                    <a:pt x="80" y="605"/>
                    <a:pt x="91" y="612"/>
                    <a:pt x="98" y="611"/>
                  </a:cubicBezTo>
                  <a:cubicBezTo>
                    <a:pt x="105" y="610"/>
                    <a:pt x="123" y="607"/>
                    <a:pt x="123" y="607"/>
                  </a:cubicBezTo>
                  <a:cubicBezTo>
                    <a:pt x="123" y="607"/>
                    <a:pt x="136" y="609"/>
                    <a:pt x="141" y="609"/>
                  </a:cubicBezTo>
                  <a:cubicBezTo>
                    <a:pt x="146" y="609"/>
                    <a:pt x="153" y="609"/>
                    <a:pt x="153" y="609"/>
                  </a:cubicBezTo>
                  <a:cubicBezTo>
                    <a:pt x="163" y="606"/>
                    <a:pt x="163" y="606"/>
                    <a:pt x="163" y="606"/>
                  </a:cubicBezTo>
                  <a:cubicBezTo>
                    <a:pt x="177" y="607"/>
                    <a:pt x="177" y="607"/>
                    <a:pt x="177" y="607"/>
                  </a:cubicBezTo>
                  <a:cubicBezTo>
                    <a:pt x="177" y="607"/>
                    <a:pt x="195" y="599"/>
                    <a:pt x="200" y="608"/>
                  </a:cubicBezTo>
                  <a:cubicBezTo>
                    <a:pt x="205" y="617"/>
                    <a:pt x="211" y="621"/>
                    <a:pt x="211" y="621"/>
                  </a:cubicBezTo>
                  <a:cubicBezTo>
                    <a:pt x="212" y="651"/>
                    <a:pt x="212" y="651"/>
                    <a:pt x="212" y="651"/>
                  </a:cubicBezTo>
                  <a:cubicBezTo>
                    <a:pt x="212" y="651"/>
                    <a:pt x="222" y="658"/>
                    <a:pt x="223" y="664"/>
                  </a:cubicBezTo>
                  <a:cubicBezTo>
                    <a:pt x="224" y="670"/>
                    <a:pt x="222" y="686"/>
                    <a:pt x="222" y="686"/>
                  </a:cubicBezTo>
                  <a:cubicBezTo>
                    <a:pt x="222" y="686"/>
                    <a:pt x="228" y="689"/>
                    <a:pt x="233" y="695"/>
                  </a:cubicBezTo>
                  <a:cubicBezTo>
                    <a:pt x="238" y="701"/>
                    <a:pt x="240" y="709"/>
                    <a:pt x="240" y="709"/>
                  </a:cubicBezTo>
                  <a:cubicBezTo>
                    <a:pt x="246" y="717"/>
                    <a:pt x="246" y="717"/>
                    <a:pt x="246" y="717"/>
                  </a:cubicBezTo>
                  <a:cubicBezTo>
                    <a:pt x="249" y="727"/>
                    <a:pt x="249" y="727"/>
                    <a:pt x="249" y="727"/>
                  </a:cubicBezTo>
                  <a:cubicBezTo>
                    <a:pt x="270" y="726"/>
                    <a:pt x="270" y="726"/>
                    <a:pt x="270" y="726"/>
                  </a:cubicBezTo>
                  <a:cubicBezTo>
                    <a:pt x="277" y="731"/>
                    <a:pt x="277" y="731"/>
                    <a:pt x="277" y="731"/>
                  </a:cubicBezTo>
                  <a:cubicBezTo>
                    <a:pt x="281" y="724"/>
                    <a:pt x="281" y="724"/>
                    <a:pt x="281" y="724"/>
                  </a:cubicBezTo>
                  <a:cubicBezTo>
                    <a:pt x="296" y="724"/>
                    <a:pt x="296" y="724"/>
                    <a:pt x="296" y="724"/>
                  </a:cubicBezTo>
                  <a:cubicBezTo>
                    <a:pt x="303" y="718"/>
                    <a:pt x="303" y="718"/>
                    <a:pt x="303" y="718"/>
                  </a:cubicBezTo>
                  <a:cubicBezTo>
                    <a:pt x="307" y="723"/>
                    <a:pt x="307" y="723"/>
                    <a:pt x="307" y="723"/>
                  </a:cubicBezTo>
                  <a:cubicBezTo>
                    <a:pt x="337" y="720"/>
                    <a:pt x="337" y="720"/>
                    <a:pt x="337" y="720"/>
                  </a:cubicBezTo>
                  <a:cubicBezTo>
                    <a:pt x="337" y="720"/>
                    <a:pt x="336" y="706"/>
                    <a:pt x="339" y="702"/>
                  </a:cubicBezTo>
                  <a:cubicBezTo>
                    <a:pt x="342" y="698"/>
                    <a:pt x="349" y="698"/>
                    <a:pt x="349" y="693"/>
                  </a:cubicBezTo>
                  <a:cubicBezTo>
                    <a:pt x="349" y="688"/>
                    <a:pt x="338" y="676"/>
                    <a:pt x="343" y="672"/>
                  </a:cubicBezTo>
                  <a:cubicBezTo>
                    <a:pt x="348" y="668"/>
                    <a:pt x="377" y="671"/>
                    <a:pt x="377" y="671"/>
                  </a:cubicBezTo>
                  <a:cubicBezTo>
                    <a:pt x="377" y="671"/>
                    <a:pt x="377" y="663"/>
                    <a:pt x="386" y="666"/>
                  </a:cubicBezTo>
                  <a:cubicBezTo>
                    <a:pt x="395" y="669"/>
                    <a:pt x="391" y="678"/>
                    <a:pt x="391" y="678"/>
                  </a:cubicBezTo>
                  <a:cubicBezTo>
                    <a:pt x="392" y="686"/>
                    <a:pt x="392" y="686"/>
                    <a:pt x="392" y="686"/>
                  </a:cubicBezTo>
                  <a:cubicBezTo>
                    <a:pt x="452" y="685"/>
                    <a:pt x="452" y="685"/>
                    <a:pt x="452" y="685"/>
                  </a:cubicBezTo>
                  <a:cubicBezTo>
                    <a:pt x="452" y="703"/>
                    <a:pt x="452" y="703"/>
                    <a:pt x="452" y="703"/>
                  </a:cubicBezTo>
                  <a:cubicBezTo>
                    <a:pt x="445" y="713"/>
                    <a:pt x="445" y="713"/>
                    <a:pt x="445" y="713"/>
                  </a:cubicBezTo>
                  <a:cubicBezTo>
                    <a:pt x="448" y="727"/>
                    <a:pt x="448" y="727"/>
                    <a:pt x="448" y="727"/>
                  </a:cubicBezTo>
                  <a:cubicBezTo>
                    <a:pt x="448" y="727"/>
                    <a:pt x="461" y="740"/>
                    <a:pt x="461" y="747"/>
                  </a:cubicBezTo>
                  <a:cubicBezTo>
                    <a:pt x="461" y="754"/>
                    <a:pt x="453" y="763"/>
                    <a:pt x="453" y="763"/>
                  </a:cubicBezTo>
                  <a:cubicBezTo>
                    <a:pt x="456" y="779"/>
                    <a:pt x="456" y="779"/>
                    <a:pt x="456" y="779"/>
                  </a:cubicBezTo>
                  <a:cubicBezTo>
                    <a:pt x="456" y="779"/>
                    <a:pt x="451" y="791"/>
                    <a:pt x="451" y="799"/>
                  </a:cubicBezTo>
                  <a:cubicBezTo>
                    <a:pt x="451" y="807"/>
                    <a:pt x="457" y="815"/>
                    <a:pt x="464" y="822"/>
                  </a:cubicBezTo>
                  <a:cubicBezTo>
                    <a:pt x="471" y="829"/>
                    <a:pt x="475" y="847"/>
                    <a:pt x="475" y="847"/>
                  </a:cubicBezTo>
                  <a:cubicBezTo>
                    <a:pt x="475" y="847"/>
                    <a:pt x="474" y="862"/>
                    <a:pt x="471" y="869"/>
                  </a:cubicBezTo>
                  <a:cubicBezTo>
                    <a:pt x="468" y="876"/>
                    <a:pt x="465" y="888"/>
                    <a:pt x="468" y="892"/>
                  </a:cubicBezTo>
                  <a:cubicBezTo>
                    <a:pt x="471" y="896"/>
                    <a:pt x="479" y="898"/>
                    <a:pt x="479" y="898"/>
                  </a:cubicBezTo>
                  <a:cubicBezTo>
                    <a:pt x="485" y="886"/>
                    <a:pt x="485" y="886"/>
                    <a:pt x="485" y="886"/>
                  </a:cubicBezTo>
                  <a:cubicBezTo>
                    <a:pt x="503" y="890"/>
                    <a:pt x="503" y="890"/>
                    <a:pt x="503" y="890"/>
                  </a:cubicBezTo>
                  <a:cubicBezTo>
                    <a:pt x="519" y="885"/>
                    <a:pt x="519" y="885"/>
                    <a:pt x="519" y="885"/>
                  </a:cubicBezTo>
                  <a:cubicBezTo>
                    <a:pt x="519" y="885"/>
                    <a:pt x="519" y="880"/>
                    <a:pt x="526" y="880"/>
                  </a:cubicBezTo>
                  <a:cubicBezTo>
                    <a:pt x="533" y="880"/>
                    <a:pt x="537" y="887"/>
                    <a:pt x="537" y="887"/>
                  </a:cubicBezTo>
                  <a:cubicBezTo>
                    <a:pt x="551" y="885"/>
                    <a:pt x="551" y="885"/>
                    <a:pt x="551" y="885"/>
                  </a:cubicBezTo>
                  <a:cubicBezTo>
                    <a:pt x="556" y="875"/>
                    <a:pt x="556" y="875"/>
                    <a:pt x="556" y="875"/>
                  </a:cubicBezTo>
                  <a:cubicBezTo>
                    <a:pt x="561" y="884"/>
                    <a:pt x="561" y="884"/>
                    <a:pt x="561" y="884"/>
                  </a:cubicBezTo>
                  <a:cubicBezTo>
                    <a:pt x="572" y="882"/>
                    <a:pt x="572" y="882"/>
                    <a:pt x="572" y="882"/>
                  </a:cubicBezTo>
                  <a:cubicBezTo>
                    <a:pt x="572" y="882"/>
                    <a:pt x="563" y="907"/>
                    <a:pt x="580" y="908"/>
                  </a:cubicBezTo>
                  <a:cubicBezTo>
                    <a:pt x="597" y="909"/>
                    <a:pt x="583" y="899"/>
                    <a:pt x="583" y="899"/>
                  </a:cubicBezTo>
                  <a:cubicBezTo>
                    <a:pt x="614" y="893"/>
                    <a:pt x="614" y="893"/>
                    <a:pt x="614" y="893"/>
                  </a:cubicBezTo>
                  <a:cubicBezTo>
                    <a:pt x="614" y="893"/>
                    <a:pt x="610" y="912"/>
                    <a:pt x="620" y="919"/>
                  </a:cubicBezTo>
                  <a:cubicBezTo>
                    <a:pt x="630" y="926"/>
                    <a:pt x="682" y="939"/>
                    <a:pt x="687" y="935"/>
                  </a:cubicBezTo>
                  <a:cubicBezTo>
                    <a:pt x="692" y="931"/>
                    <a:pt x="689" y="905"/>
                    <a:pt x="701" y="910"/>
                  </a:cubicBezTo>
                  <a:cubicBezTo>
                    <a:pt x="713" y="915"/>
                    <a:pt x="704" y="920"/>
                    <a:pt x="708" y="925"/>
                  </a:cubicBezTo>
                  <a:cubicBezTo>
                    <a:pt x="712" y="930"/>
                    <a:pt x="722" y="930"/>
                    <a:pt x="722" y="934"/>
                  </a:cubicBezTo>
                  <a:cubicBezTo>
                    <a:pt x="722" y="938"/>
                    <a:pt x="714" y="947"/>
                    <a:pt x="722" y="948"/>
                  </a:cubicBezTo>
                  <a:cubicBezTo>
                    <a:pt x="730" y="949"/>
                    <a:pt x="732" y="943"/>
                    <a:pt x="737" y="947"/>
                  </a:cubicBezTo>
                  <a:cubicBezTo>
                    <a:pt x="742" y="951"/>
                    <a:pt x="741" y="959"/>
                    <a:pt x="745" y="959"/>
                  </a:cubicBezTo>
                  <a:cubicBezTo>
                    <a:pt x="749" y="959"/>
                    <a:pt x="754" y="951"/>
                    <a:pt x="760" y="959"/>
                  </a:cubicBezTo>
                  <a:cubicBezTo>
                    <a:pt x="766" y="967"/>
                    <a:pt x="768" y="978"/>
                    <a:pt x="768" y="978"/>
                  </a:cubicBezTo>
                  <a:cubicBezTo>
                    <a:pt x="768" y="978"/>
                    <a:pt x="774" y="975"/>
                    <a:pt x="779" y="982"/>
                  </a:cubicBezTo>
                  <a:cubicBezTo>
                    <a:pt x="784" y="989"/>
                    <a:pt x="787" y="1012"/>
                    <a:pt x="787" y="1012"/>
                  </a:cubicBezTo>
                  <a:cubicBezTo>
                    <a:pt x="799" y="1012"/>
                    <a:pt x="799" y="1012"/>
                    <a:pt x="799" y="1012"/>
                  </a:cubicBezTo>
                  <a:cubicBezTo>
                    <a:pt x="814" y="1002"/>
                    <a:pt x="814" y="1002"/>
                    <a:pt x="814" y="1002"/>
                  </a:cubicBezTo>
                  <a:cubicBezTo>
                    <a:pt x="814" y="1002"/>
                    <a:pt x="816" y="1016"/>
                    <a:pt x="822" y="1013"/>
                  </a:cubicBezTo>
                  <a:cubicBezTo>
                    <a:pt x="828" y="1010"/>
                    <a:pt x="827" y="945"/>
                    <a:pt x="827" y="945"/>
                  </a:cubicBezTo>
                  <a:cubicBezTo>
                    <a:pt x="819" y="945"/>
                    <a:pt x="819" y="945"/>
                    <a:pt x="819" y="945"/>
                  </a:cubicBezTo>
                  <a:cubicBezTo>
                    <a:pt x="813" y="948"/>
                    <a:pt x="813" y="948"/>
                    <a:pt x="813" y="948"/>
                  </a:cubicBezTo>
                  <a:cubicBezTo>
                    <a:pt x="813" y="948"/>
                    <a:pt x="816" y="961"/>
                    <a:pt x="806" y="961"/>
                  </a:cubicBezTo>
                  <a:cubicBezTo>
                    <a:pt x="796" y="961"/>
                    <a:pt x="784" y="947"/>
                    <a:pt x="778" y="940"/>
                  </a:cubicBezTo>
                  <a:cubicBezTo>
                    <a:pt x="772" y="933"/>
                    <a:pt x="761" y="938"/>
                    <a:pt x="759" y="920"/>
                  </a:cubicBezTo>
                  <a:cubicBezTo>
                    <a:pt x="757" y="902"/>
                    <a:pt x="779" y="880"/>
                    <a:pt x="779" y="866"/>
                  </a:cubicBezTo>
                  <a:cubicBezTo>
                    <a:pt x="779" y="852"/>
                    <a:pt x="775" y="818"/>
                    <a:pt x="775" y="818"/>
                  </a:cubicBezTo>
                  <a:cubicBezTo>
                    <a:pt x="775" y="818"/>
                    <a:pt x="773" y="799"/>
                    <a:pt x="770" y="797"/>
                  </a:cubicBezTo>
                  <a:cubicBezTo>
                    <a:pt x="767" y="795"/>
                    <a:pt x="761" y="788"/>
                    <a:pt x="761" y="788"/>
                  </a:cubicBezTo>
                  <a:cubicBezTo>
                    <a:pt x="761" y="788"/>
                    <a:pt x="788" y="773"/>
                    <a:pt x="788" y="766"/>
                  </a:cubicBezTo>
                  <a:cubicBezTo>
                    <a:pt x="788" y="759"/>
                    <a:pt x="788" y="746"/>
                    <a:pt x="788" y="746"/>
                  </a:cubicBezTo>
                  <a:cubicBezTo>
                    <a:pt x="788" y="746"/>
                    <a:pt x="825" y="741"/>
                    <a:pt x="838" y="738"/>
                  </a:cubicBezTo>
                  <a:cubicBezTo>
                    <a:pt x="842" y="737"/>
                    <a:pt x="849" y="735"/>
                    <a:pt x="857" y="731"/>
                  </a:cubicBezTo>
                  <a:cubicBezTo>
                    <a:pt x="860" y="728"/>
                    <a:pt x="862" y="726"/>
                    <a:pt x="862" y="726"/>
                  </a:cubicBezTo>
                  <a:cubicBezTo>
                    <a:pt x="862" y="726"/>
                    <a:pt x="855" y="714"/>
                    <a:pt x="850" y="710"/>
                  </a:cubicBezTo>
                  <a:cubicBezTo>
                    <a:pt x="846" y="706"/>
                    <a:pt x="849" y="688"/>
                    <a:pt x="849" y="681"/>
                  </a:cubicBezTo>
                  <a:cubicBezTo>
                    <a:pt x="849" y="674"/>
                    <a:pt x="837" y="678"/>
                    <a:pt x="834" y="677"/>
                  </a:cubicBezTo>
                  <a:cubicBezTo>
                    <a:pt x="831" y="676"/>
                    <a:pt x="828" y="666"/>
                    <a:pt x="828" y="658"/>
                  </a:cubicBezTo>
                  <a:cubicBezTo>
                    <a:pt x="828" y="650"/>
                    <a:pt x="819" y="649"/>
                    <a:pt x="812" y="642"/>
                  </a:cubicBezTo>
                  <a:cubicBezTo>
                    <a:pt x="805" y="635"/>
                    <a:pt x="803" y="618"/>
                    <a:pt x="804" y="612"/>
                  </a:cubicBezTo>
                  <a:cubicBezTo>
                    <a:pt x="805" y="606"/>
                    <a:pt x="810" y="596"/>
                    <a:pt x="810" y="589"/>
                  </a:cubicBezTo>
                  <a:cubicBezTo>
                    <a:pt x="810" y="582"/>
                    <a:pt x="800" y="582"/>
                    <a:pt x="796" y="572"/>
                  </a:cubicBezTo>
                  <a:cubicBezTo>
                    <a:pt x="792" y="562"/>
                    <a:pt x="796" y="550"/>
                    <a:pt x="797" y="538"/>
                  </a:cubicBezTo>
                  <a:cubicBezTo>
                    <a:pt x="798" y="526"/>
                    <a:pt x="799" y="515"/>
                    <a:pt x="802" y="502"/>
                  </a:cubicBezTo>
                  <a:cubicBezTo>
                    <a:pt x="804" y="494"/>
                    <a:pt x="810" y="495"/>
                    <a:pt x="814" y="498"/>
                  </a:cubicBezTo>
                  <a:cubicBezTo>
                    <a:pt x="814" y="496"/>
                    <a:pt x="814" y="494"/>
                    <a:pt x="814" y="494"/>
                  </a:cubicBezTo>
                  <a:cubicBezTo>
                    <a:pt x="814" y="494"/>
                    <a:pt x="816" y="480"/>
                    <a:pt x="816" y="471"/>
                  </a:cubicBezTo>
                  <a:cubicBezTo>
                    <a:pt x="816" y="462"/>
                    <a:pt x="801" y="454"/>
                    <a:pt x="801" y="454"/>
                  </a:cubicBezTo>
                  <a:cubicBezTo>
                    <a:pt x="795" y="434"/>
                    <a:pt x="795" y="434"/>
                    <a:pt x="795" y="434"/>
                  </a:cubicBezTo>
                  <a:cubicBezTo>
                    <a:pt x="795" y="434"/>
                    <a:pt x="795" y="434"/>
                    <a:pt x="795" y="434"/>
                  </a:cubicBezTo>
                  <a:cubicBezTo>
                    <a:pt x="791" y="433"/>
                    <a:pt x="787" y="432"/>
                    <a:pt x="786" y="428"/>
                  </a:cubicBezTo>
                  <a:cubicBezTo>
                    <a:pt x="782" y="420"/>
                    <a:pt x="804" y="410"/>
                    <a:pt x="806" y="406"/>
                  </a:cubicBezTo>
                  <a:cubicBezTo>
                    <a:pt x="807" y="403"/>
                    <a:pt x="797" y="392"/>
                    <a:pt x="799" y="384"/>
                  </a:cubicBezTo>
                  <a:cubicBezTo>
                    <a:pt x="800" y="376"/>
                    <a:pt x="824" y="365"/>
                    <a:pt x="824" y="365"/>
                  </a:cubicBezTo>
                  <a:lnTo>
                    <a:pt x="828" y="31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69" name="Freeform 349">
              <a:extLst>
                <a:ext uri="{FF2B5EF4-FFF2-40B4-BE49-F238E27FC236}">
                  <a16:creationId xmlns:a16="http://schemas.microsoft.com/office/drawing/2014/main" id="{9D1C0B43-599E-0898-F33A-B8BC27A51CE0}"/>
                </a:ext>
              </a:extLst>
            </p:cNvPr>
            <p:cNvSpPr>
              <a:spLocks/>
            </p:cNvSpPr>
            <p:nvPr/>
          </p:nvSpPr>
          <p:spPr bwMode="gray">
            <a:xfrm>
              <a:off x="-3211" y="-9675"/>
              <a:ext cx="206" cy="265"/>
            </a:xfrm>
            <a:custGeom>
              <a:avLst/>
              <a:gdLst>
                <a:gd name="T0" fmla="*/ 21 w 87"/>
                <a:gd name="T1" fmla="*/ 49 h 112"/>
                <a:gd name="T2" fmla="*/ 19 w 87"/>
                <a:gd name="T3" fmla="*/ 72 h 112"/>
                <a:gd name="T4" fmla="*/ 25 w 87"/>
                <a:gd name="T5" fmla="*/ 112 h 112"/>
                <a:gd name="T6" fmla="*/ 45 w 87"/>
                <a:gd name="T7" fmla="*/ 103 h 112"/>
                <a:gd name="T8" fmla="*/ 61 w 87"/>
                <a:gd name="T9" fmla="*/ 68 h 112"/>
                <a:gd name="T10" fmla="*/ 80 w 87"/>
                <a:gd name="T11" fmla="*/ 56 h 112"/>
                <a:gd name="T12" fmla="*/ 78 w 87"/>
                <a:gd name="T13" fmla="*/ 47 h 112"/>
                <a:gd name="T14" fmla="*/ 86 w 87"/>
                <a:gd name="T15" fmla="*/ 44 h 112"/>
                <a:gd name="T16" fmla="*/ 87 w 87"/>
                <a:gd name="T17" fmla="*/ 33 h 112"/>
                <a:gd name="T18" fmla="*/ 65 w 87"/>
                <a:gd name="T19" fmla="*/ 23 h 112"/>
                <a:gd name="T20" fmla="*/ 71 w 87"/>
                <a:gd name="T21" fmla="*/ 0 h 112"/>
                <a:gd name="T22" fmla="*/ 77 w 87"/>
                <a:gd name="T23" fmla="*/ 0 h 112"/>
                <a:gd name="T24" fmla="*/ 74 w 87"/>
                <a:gd name="T25" fmla="*/ 0 h 112"/>
                <a:gd name="T26" fmla="*/ 44 w 87"/>
                <a:gd name="T27" fmla="*/ 0 h 112"/>
                <a:gd name="T28" fmla="*/ 39 w 87"/>
                <a:gd name="T29" fmla="*/ 17 h 112"/>
                <a:gd name="T30" fmla="*/ 22 w 87"/>
                <a:gd name="T31" fmla="*/ 24 h 112"/>
                <a:gd name="T32" fmla="*/ 9 w 87"/>
                <a:gd name="T33" fmla="*/ 11 h 112"/>
                <a:gd name="T34" fmla="*/ 0 w 87"/>
                <a:gd name="T35" fmla="*/ 12 h 112"/>
                <a:gd name="T36" fmla="*/ 6 w 87"/>
                <a:gd name="T37" fmla="*/ 32 h 112"/>
                <a:gd name="T38" fmla="*/ 21 w 87"/>
                <a:gd name="T39" fmla="*/ 4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12">
                  <a:moveTo>
                    <a:pt x="21" y="49"/>
                  </a:moveTo>
                  <a:cubicBezTo>
                    <a:pt x="21" y="58"/>
                    <a:pt x="19" y="72"/>
                    <a:pt x="19" y="72"/>
                  </a:cubicBezTo>
                  <a:cubicBezTo>
                    <a:pt x="19" y="72"/>
                    <a:pt x="19" y="99"/>
                    <a:pt x="25" y="112"/>
                  </a:cubicBezTo>
                  <a:cubicBezTo>
                    <a:pt x="29" y="112"/>
                    <a:pt x="35" y="110"/>
                    <a:pt x="45" y="103"/>
                  </a:cubicBezTo>
                  <a:cubicBezTo>
                    <a:pt x="61" y="91"/>
                    <a:pt x="54" y="81"/>
                    <a:pt x="61" y="68"/>
                  </a:cubicBezTo>
                  <a:cubicBezTo>
                    <a:pt x="68" y="55"/>
                    <a:pt x="80" y="56"/>
                    <a:pt x="80" y="56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33"/>
                    <a:pt x="63" y="32"/>
                    <a:pt x="65" y="23"/>
                  </a:cubicBezTo>
                  <a:cubicBezTo>
                    <a:pt x="67" y="14"/>
                    <a:pt x="71" y="0"/>
                    <a:pt x="71" y="0"/>
                  </a:cubicBezTo>
                  <a:cubicBezTo>
                    <a:pt x="71" y="0"/>
                    <a:pt x="74" y="0"/>
                    <a:pt x="77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17"/>
                    <a:pt x="26" y="24"/>
                    <a:pt x="22" y="24"/>
                  </a:cubicBezTo>
                  <a:cubicBezTo>
                    <a:pt x="18" y="24"/>
                    <a:pt x="9" y="11"/>
                    <a:pt x="9" y="11"/>
                  </a:cubicBezTo>
                  <a:cubicBezTo>
                    <a:pt x="9" y="11"/>
                    <a:pt x="5" y="12"/>
                    <a:pt x="0" y="1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21" y="40"/>
                    <a:pt x="21" y="49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70" name="Freeform 350">
              <a:extLst>
                <a:ext uri="{FF2B5EF4-FFF2-40B4-BE49-F238E27FC236}">
                  <a16:creationId xmlns:a16="http://schemas.microsoft.com/office/drawing/2014/main" id="{ED0CAB9E-B6EC-99A5-F649-AB2D3181EA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3147" y="-9850"/>
              <a:ext cx="1205" cy="1368"/>
            </a:xfrm>
            <a:custGeom>
              <a:avLst/>
              <a:gdLst>
                <a:gd name="T0" fmla="*/ 477 w 510"/>
                <a:gd name="T1" fmla="*/ 478 h 579"/>
                <a:gd name="T2" fmla="*/ 458 w 510"/>
                <a:gd name="T3" fmla="*/ 405 h 579"/>
                <a:gd name="T4" fmla="*/ 456 w 510"/>
                <a:gd name="T5" fmla="*/ 360 h 579"/>
                <a:gd name="T6" fmla="*/ 436 w 510"/>
                <a:gd name="T7" fmla="*/ 290 h 579"/>
                <a:gd name="T8" fmla="*/ 455 w 510"/>
                <a:gd name="T9" fmla="*/ 198 h 579"/>
                <a:gd name="T10" fmla="*/ 391 w 510"/>
                <a:gd name="T11" fmla="*/ 118 h 579"/>
                <a:gd name="T12" fmla="*/ 216 w 510"/>
                <a:gd name="T13" fmla="*/ 1 h 579"/>
                <a:gd name="T14" fmla="*/ 206 w 510"/>
                <a:gd name="T15" fmla="*/ 1 h 579"/>
                <a:gd name="T16" fmla="*/ 194 w 510"/>
                <a:gd name="T17" fmla="*/ 31 h 579"/>
                <a:gd name="T18" fmla="*/ 206 w 510"/>
                <a:gd name="T19" fmla="*/ 59 h 579"/>
                <a:gd name="T20" fmla="*/ 162 w 510"/>
                <a:gd name="T21" fmla="*/ 71 h 579"/>
                <a:gd name="T22" fmla="*/ 161 w 510"/>
                <a:gd name="T23" fmla="*/ 99 h 579"/>
                <a:gd name="T24" fmla="*/ 150 w 510"/>
                <a:gd name="T25" fmla="*/ 73 h 579"/>
                <a:gd name="T26" fmla="*/ 123 w 510"/>
                <a:gd name="T27" fmla="*/ 66 h 579"/>
                <a:gd name="T28" fmla="*/ 104 w 510"/>
                <a:gd name="T29" fmla="*/ 80 h 579"/>
                <a:gd name="T30" fmla="*/ 112 w 510"/>
                <a:gd name="T31" fmla="*/ 2 h 579"/>
                <a:gd name="T32" fmla="*/ 51 w 510"/>
                <a:gd name="T33" fmla="*/ 0 h 579"/>
                <a:gd name="T34" fmla="*/ 60 w 510"/>
                <a:gd name="T35" fmla="*/ 31 h 579"/>
                <a:gd name="T36" fmla="*/ 64 w 510"/>
                <a:gd name="T37" fmla="*/ 64 h 579"/>
                <a:gd name="T38" fmla="*/ 38 w 510"/>
                <a:gd name="T39" fmla="*/ 97 h 579"/>
                <a:gd name="T40" fmla="*/ 59 w 510"/>
                <a:gd name="T41" fmla="*/ 118 h 579"/>
                <a:gd name="T42" fmla="*/ 53 w 510"/>
                <a:gd name="T43" fmla="*/ 130 h 579"/>
                <a:gd name="T44" fmla="*/ 18 w 510"/>
                <a:gd name="T45" fmla="*/ 177 h 579"/>
                <a:gd name="T46" fmla="*/ 0 w 510"/>
                <a:gd name="T47" fmla="*/ 194 h 579"/>
                <a:gd name="T48" fmla="*/ 8 w 510"/>
                <a:gd name="T49" fmla="*/ 226 h 579"/>
                <a:gd name="T50" fmla="*/ 9 w 510"/>
                <a:gd name="T51" fmla="*/ 279 h 579"/>
                <a:gd name="T52" fmla="*/ 51 w 510"/>
                <a:gd name="T53" fmla="*/ 322 h 579"/>
                <a:gd name="T54" fmla="*/ 56 w 510"/>
                <a:gd name="T55" fmla="*/ 370 h 579"/>
                <a:gd name="T56" fmla="*/ 69 w 510"/>
                <a:gd name="T57" fmla="*/ 409 h 579"/>
                <a:gd name="T58" fmla="*/ 94 w 510"/>
                <a:gd name="T59" fmla="*/ 421 h 579"/>
                <a:gd name="T60" fmla="*/ 118 w 510"/>
                <a:gd name="T61" fmla="*/ 434 h 579"/>
                <a:gd name="T62" fmla="*/ 135 w 510"/>
                <a:gd name="T63" fmla="*/ 443 h 579"/>
                <a:gd name="T64" fmla="*/ 158 w 510"/>
                <a:gd name="T65" fmla="*/ 452 h 579"/>
                <a:gd name="T66" fmla="*/ 179 w 510"/>
                <a:gd name="T67" fmla="*/ 461 h 579"/>
                <a:gd name="T68" fmla="*/ 212 w 510"/>
                <a:gd name="T69" fmla="*/ 453 h 579"/>
                <a:gd name="T70" fmla="*/ 232 w 510"/>
                <a:gd name="T71" fmla="*/ 514 h 579"/>
                <a:gd name="T72" fmla="*/ 231 w 510"/>
                <a:gd name="T73" fmla="*/ 539 h 579"/>
                <a:gd name="T74" fmla="*/ 249 w 510"/>
                <a:gd name="T75" fmla="*/ 569 h 579"/>
                <a:gd name="T76" fmla="*/ 292 w 510"/>
                <a:gd name="T77" fmla="*/ 558 h 579"/>
                <a:gd name="T78" fmla="*/ 338 w 510"/>
                <a:gd name="T79" fmla="*/ 568 h 579"/>
                <a:gd name="T80" fmla="*/ 367 w 510"/>
                <a:gd name="T81" fmla="*/ 573 h 579"/>
                <a:gd name="T82" fmla="*/ 406 w 510"/>
                <a:gd name="T83" fmla="*/ 552 h 579"/>
                <a:gd name="T84" fmla="*/ 438 w 510"/>
                <a:gd name="T85" fmla="*/ 545 h 579"/>
                <a:gd name="T86" fmla="*/ 510 w 510"/>
                <a:gd name="T87" fmla="*/ 507 h 579"/>
                <a:gd name="T88" fmla="*/ 481 w 510"/>
                <a:gd name="T89" fmla="*/ 237 h 579"/>
                <a:gd name="T90" fmla="*/ 481 w 510"/>
                <a:gd name="T91" fmla="*/ 237 h 579"/>
                <a:gd name="T92" fmla="*/ 478 w 510"/>
                <a:gd name="T93" fmla="*/ 294 h 579"/>
                <a:gd name="T94" fmla="*/ 458 w 510"/>
                <a:gd name="T95" fmla="*/ 251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10" h="579">
                  <a:moveTo>
                    <a:pt x="507" y="496"/>
                  </a:moveTo>
                  <a:cubicBezTo>
                    <a:pt x="507" y="496"/>
                    <a:pt x="479" y="489"/>
                    <a:pt x="477" y="478"/>
                  </a:cubicBezTo>
                  <a:cubicBezTo>
                    <a:pt x="475" y="467"/>
                    <a:pt x="473" y="436"/>
                    <a:pt x="473" y="436"/>
                  </a:cubicBezTo>
                  <a:cubicBezTo>
                    <a:pt x="458" y="405"/>
                    <a:pt x="458" y="405"/>
                    <a:pt x="458" y="405"/>
                  </a:cubicBezTo>
                  <a:cubicBezTo>
                    <a:pt x="467" y="374"/>
                    <a:pt x="467" y="374"/>
                    <a:pt x="467" y="374"/>
                  </a:cubicBezTo>
                  <a:cubicBezTo>
                    <a:pt x="456" y="360"/>
                    <a:pt x="456" y="360"/>
                    <a:pt x="456" y="360"/>
                  </a:cubicBezTo>
                  <a:cubicBezTo>
                    <a:pt x="456" y="360"/>
                    <a:pt x="476" y="325"/>
                    <a:pt x="471" y="317"/>
                  </a:cubicBezTo>
                  <a:cubicBezTo>
                    <a:pt x="466" y="309"/>
                    <a:pt x="439" y="302"/>
                    <a:pt x="436" y="290"/>
                  </a:cubicBezTo>
                  <a:cubicBezTo>
                    <a:pt x="433" y="278"/>
                    <a:pt x="450" y="239"/>
                    <a:pt x="451" y="232"/>
                  </a:cubicBezTo>
                  <a:cubicBezTo>
                    <a:pt x="452" y="226"/>
                    <a:pt x="454" y="203"/>
                    <a:pt x="455" y="198"/>
                  </a:cubicBezTo>
                  <a:cubicBezTo>
                    <a:pt x="380" y="128"/>
                    <a:pt x="380" y="128"/>
                    <a:pt x="380" y="128"/>
                  </a:cubicBezTo>
                  <a:cubicBezTo>
                    <a:pt x="380" y="128"/>
                    <a:pt x="388" y="122"/>
                    <a:pt x="391" y="118"/>
                  </a:cubicBezTo>
                  <a:cubicBezTo>
                    <a:pt x="394" y="114"/>
                    <a:pt x="382" y="105"/>
                    <a:pt x="382" y="105"/>
                  </a:cubicBezTo>
                  <a:cubicBezTo>
                    <a:pt x="216" y="1"/>
                    <a:pt x="216" y="1"/>
                    <a:pt x="216" y="1"/>
                  </a:cubicBezTo>
                  <a:cubicBezTo>
                    <a:pt x="206" y="1"/>
                    <a:pt x="206" y="1"/>
                    <a:pt x="206" y="1"/>
                  </a:cubicBezTo>
                  <a:cubicBezTo>
                    <a:pt x="206" y="1"/>
                    <a:pt x="206" y="1"/>
                    <a:pt x="206" y="1"/>
                  </a:cubicBezTo>
                  <a:cubicBezTo>
                    <a:pt x="206" y="10"/>
                    <a:pt x="209" y="24"/>
                    <a:pt x="209" y="24"/>
                  </a:cubicBezTo>
                  <a:cubicBezTo>
                    <a:pt x="194" y="31"/>
                    <a:pt x="194" y="31"/>
                    <a:pt x="194" y="31"/>
                  </a:cubicBezTo>
                  <a:cubicBezTo>
                    <a:pt x="194" y="31"/>
                    <a:pt x="181" y="40"/>
                    <a:pt x="176" y="55"/>
                  </a:cubicBezTo>
                  <a:cubicBezTo>
                    <a:pt x="171" y="70"/>
                    <a:pt x="206" y="59"/>
                    <a:pt x="206" y="59"/>
                  </a:cubicBezTo>
                  <a:cubicBezTo>
                    <a:pt x="206" y="59"/>
                    <a:pt x="187" y="75"/>
                    <a:pt x="181" y="78"/>
                  </a:cubicBezTo>
                  <a:cubicBezTo>
                    <a:pt x="175" y="81"/>
                    <a:pt x="171" y="72"/>
                    <a:pt x="162" y="71"/>
                  </a:cubicBezTo>
                  <a:cubicBezTo>
                    <a:pt x="153" y="70"/>
                    <a:pt x="154" y="89"/>
                    <a:pt x="154" y="89"/>
                  </a:cubicBezTo>
                  <a:cubicBezTo>
                    <a:pt x="161" y="99"/>
                    <a:pt x="161" y="99"/>
                    <a:pt x="161" y="99"/>
                  </a:cubicBezTo>
                  <a:cubicBezTo>
                    <a:pt x="161" y="99"/>
                    <a:pt x="158" y="100"/>
                    <a:pt x="148" y="99"/>
                  </a:cubicBezTo>
                  <a:cubicBezTo>
                    <a:pt x="138" y="98"/>
                    <a:pt x="150" y="73"/>
                    <a:pt x="150" y="73"/>
                  </a:cubicBezTo>
                  <a:cubicBezTo>
                    <a:pt x="138" y="78"/>
                    <a:pt x="138" y="78"/>
                    <a:pt x="138" y="78"/>
                  </a:cubicBezTo>
                  <a:cubicBezTo>
                    <a:pt x="138" y="78"/>
                    <a:pt x="130" y="66"/>
                    <a:pt x="123" y="66"/>
                  </a:cubicBezTo>
                  <a:cubicBezTo>
                    <a:pt x="113" y="66"/>
                    <a:pt x="114" y="92"/>
                    <a:pt x="109" y="92"/>
                  </a:cubicBezTo>
                  <a:cubicBezTo>
                    <a:pt x="104" y="92"/>
                    <a:pt x="104" y="80"/>
                    <a:pt x="104" y="80"/>
                  </a:cubicBezTo>
                  <a:cubicBezTo>
                    <a:pt x="104" y="80"/>
                    <a:pt x="99" y="54"/>
                    <a:pt x="101" y="40"/>
                  </a:cubicBezTo>
                  <a:cubicBezTo>
                    <a:pt x="103" y="26"/>
                    <a:pt x="111" y="8"/>
                    <a:pt x="112" y="2"/>
                  </a:cubicBezTo>
                  <a:cubicBezTo>
                    <a:pt x="112" y="1"/>
                    <a:pt x="112" y="1"/>
                    <a:pt x="11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3"/>
                    <a:pt x="56" y="23"/>
                    <a:pt x="60" y="31"/>
                  </a:cubicBezTo>
                  <a:cubicBezTo>
                    <a:pt x="64" y="39"/>
                    <a:pt x="58" y="44"/>
                    <a:pt x="58" y="44"/>
                  </a:cubicBezTo>
                  <a:cubicBezTo>
                    <a:pt x="58" y="44"/>
                    <a:pt x="64" y="52"/>
                    <a:pt x="64" y="64"/>
                  </a:cubicBezTo>
                  <a:cubicBezTo>
                    <a:pt x="64" y="76"/>
                    <a:pt x="44" y="74"/>
                    <a:pt x="44" y="74"/>
                  </a:cubicBezTo>
                  <a:cubicBezTo>
                    <a:pt x="44" y="74"/>
                    <a:pt x="40" y="88"/>
                    <a:pt x="38" y="97"/>
                  </a:cubicBezTo>
                  <a:cubicBezTo>
                    <a:pt x="36" y="106"/>
                    <a:pt x="60" y="107"/>
                    <a:pt x="60" y="107"/>
                  </a:cubicBezTo>
                  <a:cubicBezTo>
                    <a:pt x="59" y="118"/>
                    <a:pt x="59" y="118"/>
                    <a:pt x="59" y="118"/>
                  </a:cubicBezTo>
                  <a:cubicBezTo>
                    <a:pt x="51" y="121"/>
                    <a:pt x="51" y="121"/>
                    <a:pt x="51" y="121"/>
                  </a:cubicBezTo>
                  <a:cubicBezTo>
                    <a:pt x="53" y="130"/>
                    <a:pt x="53" y="130"/>
                    <a:pt x="53" y="130"/>
                  </a:cubicBezTo>
                  <a:cubicBezTo>
                    <a:pt x="53" y="130"/>
                    <a:pt x="41" y="129"/>
                    <a:pt x="34" y="142"/>
                  </a:cubicBezTo>
                  <a:cubicBezTo>
                    <a:pt x="27" y="155"/>
                    <a:pt x="34" y="165"/>
                    <a:pt x="18" y="177"/>
                  </a:cubicBezTo>
                  <a:cubicBezTo>
                    <a:pt x="11" y="182"/>
                    <a:pt x="6" y="184"/>
                    <a:pt x="2" y="185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6" y="205"/>
                    <a:pt x="9" y="209"/>
                  </a:cubicBezTo>
                  <a:cubicBezTo>
                    <a:pt x="12" y="213"/>
                    <a:pt x="8" y="226"/>
                    <a:pt x="8" y="226"/>
                  </a:cubicBezTo>
                  <a:cubicBezTo>
                    <a:pt x="8" y="226"/>
                    <a:pt x="19" y="256"/>
                    <a:pt x="15" y="261"/>
                  </a:cubicBezTo>
                  <a:cubicBezTo>
                    <a:pt x="11" y="266"/>
                    <a:pt x="8" y="269"/>
                    <a:pt x="9" y="279"/>
                  </a:cubicBezTo>
                  <a:cubicBezTo>
                    <a:pt x="10" y="289"/>
                    <a:pt x="18" y="294"/>
                    <a:pt x="24" y="296"/>
                  </a:cubicBezTo>
                  <a:cubicBezTo>
                    <a:pt x="30" y="298"/>
                    <a:pt x="47" y="316"/>
                    <a:pt x="51" y="322"/>
                  </a:cubicBezTo>
                  <a:cubicBezTo>
                    <a:pt x="55" y="328"/>
                    <a:pt x="51" y="337"/>
                    <a:pt x="49" y="345"/>
                  </a:cubicBezTo>
                  <a:cubicBezTo>
                    <a:pt x="47" y="353"/>
                    <a:pt x="56" y="370"/>
                    <a:pt x="56" y="370"/>
                  </a:cubicBezTo>
                  <a:cubicBezTo>
                    <a:pt x="74" y="394"/>
                    <a:pt x="74" y="394"/>
                    <a:pt x="74" y="394"/>
                  </a:cubicBezTo>
                  <a:cubicBezTo>
                    <a:pt x="74" y="394"/>
                    <a:pt x="72" y="401"/>
                    <a:pt x="69" y="409"/>
                  </a:cubicBezTo>
                  <a:cubicBezTo>
                    <a:pt x="77" y="410"/>
                    <a:pt x="89" y="406"/>
                    <a:pt x="89" y="406"/>
                  </a:cubicBezTo>
                  <a:cubicBezTo>
                    <a:pt x="89" y="406"/>
                    <a:pt x="91" y="418"/>
                    <a:pt x="94" y="421"/>
                  </a:cubicBezTo>
                  <a:cubicBezTo>
                    <a:pt x="97" y="424"/>
                    <a:pt x="106" y="421"/>
                    <a:pt x="106" y="421"/>
                  </a:cubicBezTo>
                  <a:cubicBezTo>
                    <a:pt x="106" y="421"/>
                    <a:pt x="113" y="430"/>
                    <a:pt x="118" y="434"/>
                  </a:cubicBezTo>
                  <a:cubicBezTo>
                    <a:pt x="123" y="438"/>
                    <a:pt x="133" y="432"/>
                    <a:pt x="133" y="432"/>
                  </a:cubicBezTo>
                  <a:cubicBezTo>
                    <a:pt x="135" y="443"/>
                    <a:pt x="135" y="443"/>
                    <a:pt x="135" y="443"/>
                  </a:cubicBezTo>
                  <a:cubicBezTo>
                    <a:pt x="147" y="442"/>
                    <a:pt x="147" y="442"/>
                    <a:pt x="147" y="442"/>
                  </a:cubicBezTo>
                  <a:cubicBezTo>
                    <a:pt x="158" y="452"/>
                    <a:pt x="158" y="452"/>
                    <a:pt x="158" y="452"/>
                  </a:cubicBezTo>
                  <a:cubicBezTo>
                    <a:pt x="173" y="451"/>
                    <a:pt x="173" y="451"/>
                    <a:pt x="173" y="451"/>
                  </a:cubicBezTo>
                  <a:cubicBezTo>
                    <a:pt x="179" y="461"/>
                    <a:pt x="179" y="461"/>
                    <a:pt x="179" y="461"/>
                  </a:cubicBezTo>
                  <a:cubicBezTo>
                    <a:pt x="198" y="461"/>
                    <a:pt x="198" y="461"/>
                    <a:pt x="198" y="461"/>
                  </a:cubicBezTo>
                  <a:cubicBezTo>
                    <a:pt x="198" y="461"/>
                    <a:pt x="202" y="448"/>
                    <a:pt x="212" y="453"/>
                  </a:cubicBezTo>
                  <a:cubicBezTo>
                    <a:pt x="222" y="458"/>
                    <a:pt x="230" y="479"/>
                    <a:pt x="230" y="479"/>
                  </a:cubicBezTo>
                  <a:cubicBezTo>
                    <a:pt x="232" y="514"/>
                    <a:pt x="232" y="514"/>
                    <a:pt x="232" y="514"/>
                  </a:cubicBezTo>
                  <a:cubicBezTo>
                    <a:pt x="232" y="514"/>
                    <a:pt x="237" y="515"/>
                    <a:pt x="237" y="522"/>
                  </a:cubicBezTo>
                  <a:cubicBezTo>
                    <a:pt x="237" y="529"/>
                    <a:pt x="234" y="531"/>
                    <a:pt x="231" y="539"/>
                  </a:cubicBezTo>
                  <a:cubicBezTo>
                    <a:pt x="228" y="547"/>
                    <a:pt x="250" y="557"/>
                    <a:pt x="250" y="557"/>
                  </a:cubicBezTo>
                  <a:cubicBezTo>
                    <a:pt x="249" y="569"/>
                    <a:pt x="249" y="569"/>
                    <a:pt x="249" y="569"/>
                  </a:cubicBezTo>
                  <a:cubicBezTo>
                    <a:pt x="262" y="569"/>
                    <a:pt x="280" y="568"/>
                    <a:pt x="280" y="568"/>
                  </a:cubicBezTo>
                  <a:cubicBezTo>
                    <a:pt x="280" y="568"/>
                    <a:pt x="284" y="558"/>
                    <a:pt x="292" y="558"/>
                  </a:cubicBezTo>
                  <a:cubicBezTo>
                    <a:pt x="300" y="558"/>
                    <a:pt x="319" y="579"/>
                    <a:pt x="324" y="579"/>
                  </a:cubicBezTo>
                  <a:cubicBezTo>
                    <a:pt x="329" y="579"/>
                    <a:pt x="334" y="570"/>
                    <a:pt x="338" y="568"/>
                  </a:cubicBezTo>
                  <a:cubicBezTo>
                    <a:pt x="342" y="566"/>
                    <a:pt x="356" y="574"/>
                    <a:pt x="356" y="574"/>
                  </a:cubicBezTo>
                  <a:cubicBezTo>
                    <a:pt x="356" y="574"/>
                    <a:pt x="360" y="576"/>
                    <a:pt x="367" y="573"/>
                  </a:cubicBezTo>
                  <a:cubicBezTo>
                    <a:pt x="374" y="570"/>
                    <a:pt x="390" y="552"/>
                    <a:pt x="390" y="552"/>
                  </a:cubicBezTo>
                  <a:cubicBezTo>
                    <a:pt x="406" y="552"/>
                    <a:pt x="406" y="552"/>
                    <a:pt x="406" y="552"/>
                  </a:cubicBezTo>
                  <a:cubicBezTo>
                    <a:pt x="406" y="552"/>
                    <a:pt x="409" y="560"/>
                    <a:pt x="413" y="559"/>
                  </a:cubicBezTo>
                  <a:cubicBezTo>
                    <a:pt x="417" y="558"/>
                    <a:pt x="438" y="545"/>
                    <a:pt x="438" y="545"/>
                  </a:cubicBezTo>
                  <a:cubicBezTo>
                    <a:pt x="457" y="544"/>
                    <a:pt x="457" y="544"/>
                    <a:pt x="457" y="544"/>
                  </a:cubicBezTo>
                  <a:cubicBezTo>
                    <a:pt x="510" y="507"/>
                    <a:pt x="510" y="507"/>
                    <a:pt x="510" y="507"/>
                  </a:cubicBezTo>
                  <a:lnTo>
                    <a:pt x="507" y="496"/>
                  </a:lnTo>
                  <a:close/>
                  <a:moveTo>
                    <a:pt x="481" y="237"/>
                  </a:moveTo>
                  <a:cubicBezTo>
                    <a:pt x="497" y="235"/>
                    <a:pt x="483" y="196"/>
                    <a:pt x="476" y="204"/>
                  </a:cubicBezTo>
                  <a:cubicBezTo>
                    <a:pt x="468" y="212"/>
                    <a:pt x="468" y="239"/>
                    <a:pt x="481" y="237"/>
                  </a:cubicBezTo>
                  <a:close/>
                  <a:moveTo>
                    <a:pt x="452" y="278"/>
                  </a:moveTo>
                  <a:cubicBezTo>
                    <a:pt x="452" y="278"/>
                    <a:pt x="468" y="296"/>
                    <a:pt x="478" y="294"/>
                  </a:cubicBezTo>
                  <a:cubicBezTo>
                    <a:pt x="487" y="292"/>
                    <a:pt x="470" y="272"/>
                    <a:pt x="470" y="272"/>
                  </a:cubicBezTo>
                  <a:cubicBezTo>
                    <a:pt x="470" y="272"/>
                    <a:pt x="474" y="251"/>
                    <a:pt x="458" y="251"/>
                  </a:cubicBezTo>
                  <a:cubicBezTo>
                    <a:pt x="442" y="251"/>
                    <a:pt x="452" y="278"/>
                    <a:pt x="452" y="278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71" name="Freeform 351">
              <a:extLst>
                <a:ext uri="{FF2B5EF4-FFF2-40B4-BE49-F238E27FC236}">
                  <a16:creationId xmlns:a16="http://schemas.microsoft.com/office/drawing/2014/main" id="{0597CB61-9044-6204-1FF4-FDCEC768811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3142" y="-10516"/>
              <a:ext cx="628" cy="742"/>
            </a:xfrm>
            <a:custGeom>
              <a:avLst/>
              <a:gdLst>
                <a:gd name="T0" fmla="*/ 204 w 266"/>
                <a:gd name="T1" fmla="*/ 283 h 314"/>
                <a:gd name="T2" fmla="*/ 214 w 266"/>
                <a:gd name="T3" fmla="*/ 283 h 314"/>
                <a:gd name="T4" fmla="*/ 215 w 266"/>
                <a:gd name="T5" fmla="*/ 282 h 314"/>
                <a:gd name="T6" fmla="*/ 204 w 266"/>
                <a:gd name="T7" fmla="*/ 283 h 314"/>
                <a:gd name="T8" fmla="*/ 262 w 266"/>
                <a:gd name="T9" fmla="*/ 127 h 314"/>
                <a:gd name="T10" fmla="*/ 246 w 266"/>
                <a:gd name="T11" fmla="*/ 97 h 314"/>
                <a:gd name="T12" fmla="*/ 255 w 266"/>
                <a:gd name="T13" fmla="*/ 87 h 314"/>
                <a:gd name="T14" fmla="*/ 234 w 266"/>
                <a:gd name="T15" fmla="*/ 62 h 314"/>
                <a:gd name="T16" fmla="*/ 235 w 266"/>
                <a:gd name="T17" fmla="*/ 57 h 314"/>
                <a:gd name="T18" fmla="*/ 226 w 266"/>
                <a:gd name="T19" fmla="*/ 42 h 314"/>
                <a:gd name="T20" fmla="*/ 228 w 266"/>
                <a:gd name="T21" fmla="*/ 27 h 314"/>
                <a:gd name="T22" fmla="*/ 215 w 266"/>
                <a:gd name="T23" fmla="*/ 22 h 314"/>
                <a:gd name="T24" fmla="*/ 208 w 266"/>
                <a:gd name="T25" fmla="*/ 0 h 314"/>
                <a:gd name="T26" fmla="*/ 200 w 266"/>
                <a:gd name="T27" fmla="*/ 0 h 314"/>
                <a:gd name="T28" fmla="*/ 178 w 266"/>
                <a:gd name="T29" fmla="*/ 25 h 314"/>
                <a:gd name="T30" fmla="*/ 161 w 266"/>
                <a:gd name="T31" fmla="*/ 17 h 314"/>
                <a:gd name="T32" fmla="*/ 149 w 266"/>
                <a:gd name="T33" fmla="*/ 25 h 314"/>
                <a:gd name="T34" fmla="*/ 133 w 266"/>
                <a:gd name="T35" fmla="*/ 24 h 314"/>
                <a:gd name="T36" fmla="*/ 120 w 266"/>
                <a:gd name="T37" fmla="*/ 39 h 314"/>
                <a:gd name="T38" fmla="*/ 106 w 266"/>
                <a:gd name="T39" fmla="*/ 21 h 314"/>
                <a:gd name="T40" fmla="*/ 99 w 266"/>
                <a:gd name="T41" fmla="*/ 22 h 314"/>
                <a:gd name="T42" fmla="*/ 92 w 266"/>
                <a:gd name="T43" fmla="*/ 29 h 314"/>
                <a:gd name="T44" fmla="*/ 72 w 266"/>
                <a:gd name="T45" fmla="*/ 21 h 314"/>
                <a:gd name="T46" fmla="*/ 56 w 266"/>
                <a:gd name="T47" fmla="*/ 34 h 314"/>
                <a:gd name="T48" fmla="*/ 62 w 266"/>
                <a:gd name="T49" fmla="*/ 47 h 314"/>
                <a:gd name="T50" fmla="*/ 49 w 266"/>
                <a:gd name="T51" fmla="*/ 61 h 314"/>
                <a:gd name="T52" fmla="*/ 59 w 266"/>
                <a:gd name="T53" fmla="*/ 71 h 314"/>
                <a:gd name="T54" fmla="*/ 52 w 266"/>
                <a:gd name="T55" fmla="*/ 92 h 314"/>
                <a:gd name="T56" fmla="*/ 66 w 266"/>
                <a:gd name="T57" fmla="*/ 97 h 314"/>
                <a:gd name="T58" fmla="*/ 78 w 266"/>
                <a:gd name="T59" fmla="*/ 108 h 314"/>
                <a:gd name="T60" fmla="*/ 45 w 266"/>
                <a:gd name="T61" fmla="*/ 156 h 314"/>
                <a:gd name="T62" fmla="*/ 29 w 266"/>
                <a:gd name="T63" fmla="*/ 164 h 314"/>
                <a:gd name="T64" fmla="*/ 29 w 266"/>
                <a:gd name="T65" fmla="*/ 173 h 314"/>
                <a:gd name="T66" fmla="*/ 16 w 266"/>
                <a:gd name="T67" fmla="*/ 181 h 314"/>
                <a:gd name="T68" fmla="*/ 14 w 266"/>
                <a:gd name="T69" fmla="*/ 198 h 314"/>
                <a:gd name="T70" fmla="*/ 4 w 266"/>
                <a:gd name="T71" fmla="*/ 229 h 314"/>
                <a:gd name="T72" fmla="*/ 4 w 266"/>
                <a:gd name="T73" fmla="*/ 249 h 314"/>
                <a:gd name="T74" fmla="*/ 0 w 266"/>
                <a:gd name="T75" fmla="*/ 299 h 314"/>
                <a:gd name="T76" fmla="*/ 10 w 266"/>
                <a:gd name="T77" fmla="*/ 299 h 314"/>
                <a:gd name="T78" fmla="*/ 22 w 266"/>
                <a:gd name="T79" fmla="*/ 307 h 314"/>
                <a:gd name="T80" fmla="*/ 33 w 266"/>
                <a:gd name="T81" fmla="*/ 283 h 314"/>
                <a:gd name="T82" fmla="*/ 49 w 266"/>
                <a:gd name="T83" fmla="*/ 282 h 314"/>
                <a:gd name="T84" fmla="*/ 110 w 266"/>
                <a:gd name="T85" fmla="*/ 282 h 314"/>
                <a:gd name="T86" fmla="*/ 102 w 266"/>
                <a:gd name="T87" fmla="*/ 265 h 314"/>
                <a:gd name="T88" fmla="*/ 111 w 266"/>
                <a:gd name="T89" fmla="*/ 246 h 314"/>
                <a:gd name="T90" fmla="*/ 118 w 266"/>
                <a:gd name="T91" fmla="*/ 223 h 314"/>
                <a:gd name="T92" fmla="*/ 160 w 266"/>
                <a:gd name="T93" fmla="*/ 216 h 314"/>
                <a:gd name="T94" fmla="*/ 176 w 266"/>
                <a:gd name="T95" fmla="*/ 202 h 314"/>
                <a:gd name="T96" fmla="*/ 182 w 266"/>
                <a:gd name="T97" fmla="*/ 219 h 314"/>
                <a:gd name="T98" fmla="*/ 200 w 266"/>
                <a:gd name="T99" fmla="*/ 215 h 314"/>
                <a:gd name="T100" fmla="*/ 207 w 266"/>
                <a:gd name="T101" fmla="*/ 217 h 314"/>
                <a:gd name="T102" fmla="*/ 207 w 266"/>
                <a:gd name="T103" fmla="*/ 219 h 314"/>
                <a:gd name="T104" fmla="*/ 218 w 266"/>
                <a:gd name="T105" fmla="*/ 201 h 314"/>
                <a:gd name="T106" fmla="*/ 219 w 266"/>
                <a:gd name="T107" fmla="*/ 190 h 314"/>
                <a:gd name="T108" fmla="*/ 231 w 266"/>
                <a:gd name="T109" fmla="*/ 179 h 314"/>
                <a:gd name="T110" fmla="*/ 234 w 266"/>
                <a:gd name="T111" fmla="*/ 164 h 314"/>
                <a:gd name="T112" fmla="*/ 247 w 266"/>
                <a:gd name="T113" fmla="*/ 160 h 314"/>
                <a:gd name="T114" fmla="*/ 251 w 266"/>
                <a:gd name="T115" fmla="*/ 145 h 314"/>
                <a:gd name="T116" fmla="*/ 262 w 266"/>
                <a:gd name="T117" fmla="*/ 127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6" h="314">
                  <a:moveTo>
                    <a:pt x="204" y="283"/>
                  </a:moveTo>
                  <a:cubicBezTo>
                    <a:pt x="214" y="283"/>
                    <a:pt x="214" y="283"/>
                    <a:pt x="214" y="283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09" y="282"/>
                    <a:pt x="204" y="282"/>
                    <a:pt x="204" y="283"/>
                  </a:cubicBezTo>
                  <a:close/>
                  <a:moveTo>
                    <a:pt x="262" y="127"/>
                  </a:moveTo>
                  <a:cubicBezTo>
                    <a:pt x="258" y="121"/>
                    <a:pt x="245" y="102"/>
                    <a:pt x="246" y="97"/>
                  </a:cubicBezTo>
                  <a:cubicBezTo>
                    <a:pt x="247" y="92"/>
                    <a:pt x="255" y="87"/>
                    <a:pt x="255" y="87"/>
                  </a:cubicBezTo>
                  <a:cubicBezTo>
                    <a:pt x="234" y="62"/>
                    <a:pt x="234" y="62"/>
                    <a:pt x="234" y="62"/>
                  </a:cubicBezTo>
                  <a:cubicBezTo>
                    <a:pt x="235" y="57"/>
                    <a:pt x="235" y="57"/>
                    <a:pt x="235" y="57"/>
                  </a:cubicBezTo>
                  <a:cubicBezTo>
                    <a:pt x="235" y="57"/>
                    <a:pt x="224" y="48"/>
                    <a:pt x="226" y="42"/>
                  </a:cubicBezTo>
                  <a:cubicBezTo>
                    <a:pt x="228" y="36"/>
                    <a:pt x="228" y="27"/>
                    <a:pt x="228" y="27"/>
                  </a:cubicBezTo>
                  <a:cubicBezTo>
                    <a:pt x="228" y="27"/>
                    <a:pt x="215" y="35"/>
                    <a:pt x="215" y="22"/>
                  </a:cubicBezTo>
                  <a:cubicBezTo>
                    <a:pt x="215" y="9"/>
                    <a:pt x="208" y="0"/>
                    <a:pt x="208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00" y="0"/>
                    <a:pt x="191" y="27"/>
                    <a:pt x="178" y="25"/>
                  </a:cubicBezTo>
                  <a:cubicBezTo>
                    <a:pt x="165" y="23"/>
                    <a:pt x="166" y="17"/>
                    <a:pt x="161" y="17"/>
                  </a:cubicBezTo>
                  <a:cubicBezTo>
                    <a:pt x="156" y="17"/>
                    <a:pt x="149" y="25"/>
                    <a:pt x="149" y="25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99" y="22"/>
                    <a:pt x="98" y="30"/>
                    <a:pt x="92" y="29"/>
                  </a:cubicBezTo>
                  <a:cubicBezTo>
                    <a:pt x="86" y="28"/>
                    <a:pt x="77" y="21"/>
                    <a:pt x="72" y="21"/>
                  </a:cubicBezTo>
                  <a:cubicBezTo>
                    <a:pt x="67" y="21"/>
                    <a:pt x="56" y="34"/>
                    <a:pt x="56" y="34"/>
                  </a:cubicBezTo>
                  <a:cubicBezTo>
                    <a:pt x="62" y="47"/>
                    <a:pt x="62" y="47"/>
                    <a:pt x="62" y="47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60" y="65"/>
                    <a:pt x="59" y="71"/>
                  </a:cubicBezTo>
                  <a:cubicBezTo>
                    <a:pt x="58" y="76"/>
                    <a:pt x="49" y="87"/>
                    <a:pt x="52" y="92"/>
                  </a:cubicBezTo>
                  <a:cubicBezTo>
                    <a:pt x="55" y="98"/>
                    <a:pt x="66" y="97"/>
                    <a:pt x="66" y="97"/>
                  </a:cubicBezTo>
                  <a:cubicBezTo>
                    <a:pt x="66" y="97"/>
                    <a:pt x="78" y="100"/>
                    <a:pt x="78" y="108"/>
                  </a:cubicBezTo>
                  <a:cubicBezTo>
                    <a:pt x="78" y="116"/>
                    <a:pt x="45" y="156"/>
                    <a:pt x="45" y="156"/>
                  </a:cubicBezTo>
                  <a:cubicBezTo>
                    <a:pt x="29" y="164"/>
                    <a:pt x="29" y="164"/>
                    <a:pt x="29" y="164"/>
                  </a:cubicBezTo>
                  <a:cubicBezTo>
                    <a:pt x="29" y="173"/>
                    <a:pt x="29" y="173"/>
                    <a:pt x="29" y="173"/>
                  </a:cubicBezTo>
                  <a:cubicBezTo>
                    <a:pt x="16" y="181"/>
                    <a:pt x="16" y="181"/>
                    <a:pt x="16" y="181"/>
                  </a:cubicBezTo>
                  <a:cubicBezTo>
                    <a:pt x="14" y="198"/>
                    <a:pt x="14" y="198"/>
                    <a:pt x="14" y="198"/>
                  </a:cubicBezTo>
                  <a:cubicBezTo>
                    <a:pt x="4" y="229"/>
                    <a:pt x="4" y="229"/>
                    <a:pt x="4" y="229"/>
                  </a:cubicBezTo>
                  <a:cubicBezTo>
                    <a:pt x="4" y="249"/>
                    <a:pt x="4" y="249"/>
                    <a:pt x="4" y="249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299"/>
                    <a:pt x="16" y="314"/>
                    <a:pt x="22" y="307"/>
                  </a:cubicBezTo>
                  <a:cubicBezTo>
                    <a:pt x="29" y="299"/>
                    <a:pt x="33" y="283"/>
                    <a:pt x="33" y="283"/>
                  </a:cubicBezTo>
                  <a:cubicBezTo>
                    <a:pt x="49" y="282"/>
                    <a:pt x="49" y="282"/>
                    <a:pt x="49" y="282"/>
                  </a:cubicBezTo>
                  <a:cubicBezTo>
                    <a:pt x="110" y="282"/>
                    <a:pt x="110" y="282"/>
                    <a:pt x="110" y="282"/>
                  </a:cubicBezTo>
                  <a:cubicBezTo>
                    <a:pt x="110" y="277"/>
                    <a:pt x="104" y="271"/>
                    <a:pt x="102" y="265"/>
                  </a:cubicBezTo>
                  <a:cubicBezTo>
                    <a:pt x="100" y="258"/>
                    <a:pt x="107" y="250"/>
                    <a:pt x="111" y="246"/>
                  </a:cubicBezTo>
                  <a:cubicBezTo>
                    <a:pt x="115" y="242"/>
                    <a:pt x="109" y="230"/>
                    <a:pt x="118" y="223"/>
                  </a:cubicBezTo>
                  <a:cubicBezTo>
                    <a:pt x="127" y="216"/>
                    <a:pt x="157" y="218"/>
                    <a:pt x="160" y="216"/>
                  </a:cubicBezTo>
                  <a:cubicBezTo>
                    <a:pt x="163" y="214"/>
                    <a:pt x="170" y="202"/>
                    <a:pt x="176" y="202"/>
                  </a:cubicBezTo>
                  <a:cubicBezTo>
                    <a:pt x="182" y="202"/>
                    <a:pt x="182" y="219"/>
                    <a:pt x="182" y="219"/>
                  </a:cubicBezTo>
                  <a:cubicBezTo>
                    <a:pt x="182" y="219"/>
                    <a:pt x="189" y="212"/>
                    <a:pt x="200" y="215"/>
                  </a:cubicBezTo>
                  <a:cubicBezTo>
                    <a:pt x="202" y="215"/>
                    <a:pt x="204" y="216"/>
                    <a:pt x="207" y="217"/>
                  </a:cubicBezTo>
                  <a:cubicBezTo>
                    <a:pt x="207" y="218"/>
                    <a:pt x="207" y="218"/>
                    <a:pt x="207" y="219"/>
                  </a:cubicBezTo>
                  <a:cubicBezTo>
                    <a:pt x="207" y="208"/>
                    <a:pt x="218" y="201"/>
                    <a:pt x="218" y="201"/>
                  </a:cubicBezTo>
                  <a:cubicBezTo>
                    <a:pt x="219" y="190"/>
                    <a:pt x="219" y="190"/>
                    <a:pt x="219" y="190"/>
                  </a:cubicBezTo>
                  <a:cubicBezTo>
                    <a:pt x="231" y="179"/>
                    <a:pt x="231" y="179"/>
                    <a:pt x="231" y="179"/>
                  </a:cubicBezTo>
                  <a:cubicBezTo>
                    <a:pt x="231" y="179"/>
                    <a:pt x="227" y="170"/>
                    <a:pt x="234" y="164"/>
                  </a:cubicBezTo>
                  <a:cubicBezTo>
                    <a:pt x="241" y="158"/>
                    <a:pt x="247" y="160"/>
                    <a:pt x="247" y="160"/>
                  </a:cubicBezTo>
                  <a:cubicBezTo>
                    <a:pt x="251" y="145"/>
                    <a:pt x="251" y="145"/>
                    <a:pt x="251" y="145"/>
                  </a:cubicBezTo>
                  <a:cubicBezTo>
                    <a:pt x="251" y="145"/>
                    <a:pt x="266" y="133"/>
                    <a:pt x="262" y="12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72" name="Freeform 352">
              <a:extLst>
                <a:ext uri="{FF2B5EF4-FFF2-40B4-BE49-F238E27FC236}">
                  <a16:creationId xmlns:a16="http://schemas.microsoft.com/office/drawing/2014/main" id="{E984BD06-3650-42AD-D57E-28B89211A072}"/>
                </a:ext>
              </a:extLst>
            </p:cNvPr>
            <p:cNvSpPr>
              <a:spLocks/>
            </p:cNvSpPr>
            <p:nvPr/>
          </p:nvSpPr>
          <p:spPr bwMode="gray">
            <a:xfrm>
              <a:off x="-2658" y="-10584"/>
              <a:ext cx="893" cy="1202"/>
            </a:xfrm>
            <a:custGeom>
              <a:avLst/>
              <a:gdLst>
                <a:gd name="T0" fmla="*/ 337 w 378"/>
                <a:gd name="T1" fmla="*/ 100 h 509"/>
                <a:gd name="T2" fmla="*/ 358 w 378"/>
                <a:gd name="T3" fmla="*/ 79 h 509"/>
                <a:gd name="T4" fmla="*/ 378 w 378"/>
                <a:gd name="T5" fmla="*/ 43 h 509"/>
                <a:gd name="T6" fmla="*/ 362 w 378"/>
                <a:gd name="T7" fmla="*/ 37 h 509"/>
                <a:gd name="T8" fmla="*/ 358 w 378"/>
                <a:gd name="T9" fmla="*/ 41 h 509"/>
                <a:gd name="T10" fmla="*/ 340 w 378"/>
                <a:gd name="T11" fmla="*/ 40 h 509"/>
                <a:gd name="T12" fmla="*/ 324 w 378"/>
                <a:gd name="T13" fmla="*/ 23 h 509"/>
                <a:gd name="T14" fmla="*/ 312 w 378"/>
                <a:gd name="T15" fmla="*/ 32 h 509"/>
                <a:gd name="T16" fmla="*/ 283 w 378"/>
                <a:gd name="T17" fmla="*/ 46 h 509"/>
                <a:gd name="T18" fmla="*/ 278 w 378"/>
                <a:gd name="T19" fmla="*/ 56 h 509"/>
                <a:gd name="T20" fmla="*/ 265 w 378"/>
                <a:gd name="T21" fmla="*/ 70 h 509"/>
                <a:gd name="T22" fmla="*/ 234 w 378"/>
                <a:gd name="T23" fmla="*/ 61 h 509"/>
                <a:gd name="T24" fmla="*/ 194 w 378"/>
                <a:gd name="T25" fmla="*/ 57 h 509"/>
                <a:gd name="T26" fmla="*/ 143 w 378"/>
                <a:gd name="T27" fmla="*/ 17 h 509"/>
                <a:gd name="T28" fmla="*/ 96 w 378"/>
                <a:gd name="T29" fmla="*/ 15 h 509"/>
                <a:gd name="T30" fmla="*/ 90 w 378"/>
                <a:gd name="T31" fmla="*/ 0 h 509"/>
                <a:gd name="T32" fmla="*/ 77 w 378"/>
                <a:gd name="T33" fmla="*/ 8 h 509"/>
                <a:gd name="T34" fmla="*/ 17 w 378"/>
                <a:gd name="T35" fmla="*/ 9 h 509"/>
                <a:gd name="T36" fmla="*/ 3 w 378"/>
                <a:gd name="T37" fmla="*/ 29 h 509"/>
                <a:gd name="T38" fmla="*/ 10 w 378"/>
                <a:gd name="T39" fmla="*/ 51 h 509"/>
                <a:gd name="T40" fmla="*/ 23 w 378"/>
                <a:gd name="T41" fmla="*/ 56 h 509"/>
                <a:gd name="T42" fmla="*/ 21 w 378"/>
                <a:gd name="T43" fmla="*/ 71 h 509"/>
                <a:gd name="T44" fmla="*/ 30 w 378"/>
                <a:gd name="T45" fmla="*/ 86 h 509"/>
                <a:gd name="T46" fmla="*/ 29 w 378"/>
                <a:gd name="T47" fmla="*/ 91 h 509"/>
                <a:gd name="T48" fmla="*/ 50 w 378"/>
                <a:gd name="T49" fmla="*/ 116 h 509"/>
                <a:gd name="T50" fmla="*/ 41 w 378"/>
                <a:gd name="T51" fmla="*/ 126 h 509"/>
                <a:gd name="T52" fmla="*/ 57 w 378"/>
                <a:gd name="T53" fmla="*/ 156 h 509"/>
                <a:gd name="T54" fmla="*/ 46 w 378"/>
                <a:gd name="T55" fmla="*/ 174 h 509"/>
                <a:gd name="T56" fmla="*/ 42 w 378"/>
                <a:gd name="T57" fmla="*/ 189 h 509"/>
                <a:gd name="T58" fmla="*/ 29 w 378"/>
                <a:gd name="T59" fmla="*/ 193 h 509"/>
                <a:gd name="T60" fmla="*/ 26 w 378"/>
                <a:gd name="T61" fmla="*/ 208 h 509"/>
                <a:gd name="T62" fmla="*/ 14 w 378"/>
                <a:gd name="T63" fmla="*/ 219 h 509"/>
                <a:gd name="T64" fmla="*/ 13 w 378"/>
                <a:gd name="T65" fmla="*/ 230 h 509"/>
                <a:gd name="T66" fmla="*/ 2 w 378"/>
                <a:gd name="T67" fmla="*/ 248 h 509"/>
                <a:gd name="T68" fmla="*/ 18 w 378"/>
                <a:gd name="T69" fmla="*/ 270 h 509"/>
                <a:gd name="T70" fmla="*/ 25 w 378"/>
                <a:gd name="T71" fmla="*/ 262 h 509"/>
                <a:gd name="T72" fmla="*/ 39 w 378"/>
                <a:gd name="T73" fmla="*/ 261 h 509"/>
                <a:gd name="T74" fmla="*/ 42 w 378"/>
                <a:gd name="T75" fmla="*/ 273 h 509"/>
                <a:gd name="T76" fmla="*/ 33 w 378"/>
                <a:gd name="T77" fmla="*/ 275 h 509"/>
                <a:gd name="T78" fmla="*/ 23 w 378"/>
                <a:gd name="T79" fmla="*/ 283 h 509"/>
                <a:gd name="T80" fmla="*/ 9 w 378"/>
                <a:gd name="T81" fmla="*/ 283 h 509"/>
                <a:gd name="T82" fmla="*/ 13 w 378"/>
                <a:gd name="T83" fmla="*/ 302 h 509"/>
                <a:gd name="T84" fmla="*/ 9 w 378"/>
                <a:gd name="T85" fmla="*/ 312 h 509"/>
                <a:gd name="T86" fmla="*/ 175 w 378"/>
                <a:gd name="T87" fmla="*/ 416 h 509"/>
                <a:gd name="T88" fmla="*/ 184 w 378"/>
                <a:gd name="T89" fmla="*/ 429 h 509"/>
                <a:gd name="T90" fmla="*/ 173 w 378"/>
                <a:gd name="T91" fmla="*/ 439 h 509"/>
                <a:gd name="T92" fmla="*/ 248 w 378"/>
                <a:gd name="T93" fmla="*/ 509 h 509"/>
                <a:gd name="T94" fmla="*/ 248 w 378"/>
                <a:gd name="T95" fmla="*/ 508 h 509"/>
                <a:gd name="T96" fmla="*/ 261 w 378"/>
                <a:gd name="T97" fmla="*/ 505 h 509"/>
                <a:gd name="T98" fmla="*/ 281 w 378"/>
                <a:gd name="T99" fmla="*/ 463 h 509"/>
                <a:gd name="T100" fmla="*/ 279 w 378"/>
                <a:gd name="T101" fmla="*/ 441 h 509"/>
                <a:gd name="T102" fmla="*/ 299 w 378"/>
                <a:gd name="T103" fmla="*/ 424 h 509"/>
                <a:gd name="T104" fmla="*/ 301 w 378"/>
                <a:gd name="T105" fmla="*/ 398 h 509"/>
                <a:gd name="T106" fmla="*/ 324 w 378"/>
                <a:gd name="T107" fmla="*/ 388 h 509"/>
                <a:gd name="T108" fmla="*/ 328 w 378"/>
                <a:gd name="T109" fmla="*/ 361 h 509"/>
                <a:gd name="T110" fmla="*/ 360 w 378"/>
                <a:gd name="T111" fmla="*/ 351 h 509"/>
                <a:gd name="T112" fmla="*/ 364 w 378"/>
                <a:gd name="T113" fmla="*/ 343 h 509"/>
                <a:gd name="T114" fmla="*/ 336 w 378"/>
                <a:gd name="T115" fmla="*/ 303 h 509"/>
                <a:gd name="T116" fmla="*/ 337 w 378"/>
                <a:gd name="T117" fmla="*/ 10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78" h="509">
                  <a:moveTo>
                    <a:pt x="337" y="100"/>
                  </a:moveTo>
                  <a:cubicBezTo>
                    <a:pt x="337" y="100"/>
                    <a:pt x="351" y="87"/>
                    <a:pt x="358" y="79"/>
                  </a:cubicBezTo>
                  <a:cubicBezTo>
                    <a:pt x="365" y="71"/>
                    <a:pt x="378" y="43"/>
                    <a:pt x="378" y="43"/>
                  </a:cubicBezTo>
                  <a:cubicBezTo>
                    <a:pt x="362" y="37"/>
                    <a:pt x="362" y="37"/>
                    <a:pt x="362" y="37"/>
                  </a:cubicBezTo>
                  <a:cubicBezTo>
                    <a:pt x="358" y="41"/>
                    <a:pt x="358" y="41"/>
                    <a:pt x="358" y="41"/>
                  </a:cubicBezTo>
                  <a:cubicBezTo>
                    <a:pt x="340" y="40"/>
                    <a:pt x="340" y="40"/>
                    <a:pt x="340" y="40"/>
                  </a:cubicBezTo>
                  <a:cubicBezTo>
                    <a:pt x="324" y="23"/>
                    <a:pt x="324" y="23"/>
                    <a:pt x="324" y="23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32"/>
                    <a:pt x="290" y="40"/>
                    <a:pt x="283" y="46"/>
                  </a:cubicBezTo>
                  <a:cubicBezTo>
                    <a:pt x="276" y="52"/>
                    <a:pt x="278" y="56"/>
                    <a:pt x="278" y="56"/>
                  </a:cubicBezTo>
                  <a:cubicBezTo>
                    <a:pt x="265" y="70"/>
                    <a:pt x="265" y="70"/>
                    <a:pt x="265" y="70"/>
                  </a:cubicBezTo>
                  <a:cubicBezTo>
                    <a:pt x="265" y="70"/>
                    <a:pt x="247" y="63"/>
                    <a:pt x="234" y="61"/>
                  </a:cubicBezTo>
                  <a:cubicBezTo>
                    <a:pt x="221" y="59"/>
                    <a:pt x="194" y="57"/>
                    <a:pt x="194" y="57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10" y="38"/>
                    <a:pt x="10" y="51"/>
                  </a:cubicBezTo>
                  <a:cubicBezTo>
                    <a:pt x="10" y="64"/>
                    <a:pt x="23" y="56"/>
                    <a:pt x="23" y="56"/>
                  </a:cubicBezTo>
                  <a:cubicBezTo>
                    <a:pt x="23" y="56"/>
                    <a:pt x="23" y="65"/>
                    <a:pt x="21" y="71"/>
                  </a:cubicBezTo>
                  <a:cubicBezTo>
                    <a:pt x="19" y="77"/>
                    <a:pt x="30" y="86"/>
                    <a:pt x="30" y="86"/>
                  </a:cubicBezTo>
                  <a:cubicBezTo>
                    <a:pt x="29" y="91"/>
                    <a:pt x="29" y="91"/>
                    <a:pt x="29" y="91"/>
                  </a:cubicBezTo>
                  <a:cubicBezTo>
                    <a:pt x="50" y="116"/>
                    <a:pt x="50" y="116"/>
                    <a:pt x="50" y="116"/>
                  </a:cubicBezTo>
                  <a:cubicBezTo>
                    <a:pt x="50" y="116"/>
                    <a:pt x="42" y="121"/>
                    <a:pt x="41" y="126"/>
                  </a:cubicBezTo>
                  <a:cubicBezTo>
                    <a:pt x="40" y="131"/>
                    <a:pt x="53" y="150"/>
                    <a:pt x="57" y="156"/>
                  </a:cubicBezTo>
                  <a:cubicBezTo>
                    <a:pt x="61" y="162"/>
                    <a:pt x="46" y="174"/>
                    <a:pt x="46" y="174"/>
                  </a:cubicBezTo>
                  <a:cubicBezTo>
                    <a:pt x="42" y="189"/>
                    <a:pt x="42" y="189"/>
                    <a:pt x="42" y="189"/>
                  </a:cubicBezTo>
                  <a:cubicBezTo>
                    <a:pt x="42" y="189"/>
                    <a:pt x="36" y="187"/>
                    <a:pt x="29" y="193"/>
                  </a:cubicBezTo>
                  <a:cubicBezTo>
                    <a:pt x="22" y="199"/>
                    <a:pt x="26" y="208"/>
                    <a:pt x="26" y="208"/>
                  </a:cubicBezTo>
                  <a:cubicBezTo>
                    <a:pt x="14" y="219"/>
                    <a:pt x="14" y="219"/>
                    <a:pt x="14" y="219"/>
                  </a:cubicBezTo>
                  <a:cubicBezTo>
                    <a:pt x="13" y="230"/>
                    <a:pt x="13" y="230"/>
                    <a:pt x="13" y="230"/>
                  </a:cubicBezTo>
                  <a:cubicBezTo>
                    <a:pt x="13" y="230"/>
                    <a:pt x="2" y="237"/>
                    <a:pt x="2" y="248"/>
                  </a:cubicBezTo>
                  <a:cubicBezTo>
                    <a:pt x="2" y="259"/>
                    <a:pt x="11" y="269"/>
                    <a:pt x="18" y="270"/>
                  </a:cubicBezTo>
                  <a:cubicBezTo>
                    <a:pt x="25" y="271"/>
                    <a:pt x="25" y="262"/>
                    <a:pt x="25" y="262"/>
                  </a:cubicBezTo>
                  <a:cubicBezTo>
                    <a:pt x="39" y="261"/>
                    <a:pt x="39" y="261"/>
                    <a:pt x="39" y="261"/>
                  </a:cubicBezTo>
                  <a:cubicBezTo>
                    <a:pt x="42" y="273"/>
                    <a:pt x="42" y="273"/>
                    <a:pt x="42" y="273"/>
                  </a:cubicBezTo>
                  <a:cubicBezTo>
                    <a:pt x="33" y="275"/>
                    <a:pt x="33" y="275"/>
                    <a:pt x="33" y="275"/>
                  </a:cubicBezTo>
                  <a:cubicBezTo>
                    <a:pt x="23" y="283"/>
                    <a:pt x="23" y="283"/>
                    <a:pt x="23" y="283"/>
                  </a:cubicBezTo>
                  <a:cubicBezTo>
                    <a:pt x="23" y="283"/>
                    <a:pt x="18" y="273"/>
                    <a:pt x="9" y="283"/>
                  </a:cubicBezTo>
                  <a:cubicBezTo>
                    <a:pt x="0" y="293"/>
                    <a:pt x="13" y="302"/>
                    <a:pt x="13" y="302"/>
                  </a:cubicBezTo>
                  <a:cubicBezTo>
                    <a:pt x="9" y="312"/>
                    <a:pt x="9" y="312"/>
                    <a:pt x="9" y="312"/>
                  </a:cubicBezTo>
                  <a:cubicBezTo>
                    <a:pt x="175" y="416"/>
                    <a:pt x="175" y="416"/>
                    <a:pt x="175" y="416"/>
                  </a:cubicBezTo>
                  <a:cubicBezTo>
                    <a:pt x="175" y="416"/>
                    <a:pt x="187" y="425"/>
                    <a:pt x="184" y="429"/>
                  </a:cubicBezTo>
                  <a:cubicBezTo>
                    <a:pt x="181" y="433"/>
                    <a:pt x="173" y="439"/>
                    <a:pt x="173" y="439"/>
                  </a:cubicBezTo>
                  <a:cubicBezTo>
                    <a:pt x="248" y="509"/>
                    <a:pt x="248" y="509"/>
                    <a:pt x="248" y="509"/>
                  </a:cubicBezTo>
                  <a:cubicBezTo>
                    <a:pt x="248" y="508"/>
                    <a:pt x="248" y="508"/>
                    <a:pt x="248" y="508"/>
                  </a:cubicBezTo>
                  <a:cubicBezTo>
                    <a:pt x="261" y="505"/>
                    <a:pt x="261" y="505"/>
                    <a:pt x="261" y="505"/>
                  </a:cubicBezTo>
                  <a:cubicBezTo>
                    <a:pt x="281" y="463"/>
                    <a:pt x="281" y="463"/>
                    <a:pt x="281" y="463"/>
                  </a:cubicBezTo>
                  <a:cubicBezTo>
                    <a:pt x="281" y="463"/>
                    <a:pt x="279" y="448"/>
                    <a:pt x="279" y="441"/>
                  </a:cubicBezTo>
                  <a:cubicBezTo>
                    <a:pt x="279" y="434"/>
                    <a:pt x="300" y="434"/>
                    <a:pt x="299" y="424"/>
                  </a:cubicBezTo>
                  <a:cubicBezTo>
                    <a:pt x="298" y="414"/>
                    <a:pt x="293" y="401"/>
                    <a:pt x="301" y="398"/>
                  </a:cubicBezTo>
                  <a:cubicBezTo>
                    <a:pt x="309" y="395"/>
                    <a:pt x="324" y="388"/>
                    <a:pt x="324" y="388"/>
                  </a:cubicBezTo>
                  <a:cubicBezTo>
                    <a:pt x="328" y="361"/>
                    <a:pt x="328" y="361"/>
                    <a:pt x="328" y="361"/>
                  </a:cubicBezTo>
                  <a:cubicBezTo>
                    <a:pt x="328" y="361"/>
                    <a:pt x="352" y="366"/>
                    <a:pt x="360" y="351"/>
                  </a:cubicBezTo>
                  <a:cubicBezTo>
                    <a:pt x="361" y="349"/>
                    <a:pt x="362" y="346"/>
                    <a:pt x="364" y="343"/>
                  </a:cubicBezTo>
                  <a:cubicBezTo>
                    <a:pt x="336" y="303"/>
                    <a:pt x="336" y="303"/>
                    <a:pt x="336" y="303"/>
                  </a:cubicBezTo>
                  <a:lnTo>
                    <a:pt x="337" y="100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73" name="Freeform 353">
              <a:extLst>
                <a:ext uri="{FF2B5EF4-FFF2-40B4-BE49-F238E27FC236}">
                  <a16:creationId xmlns:a16="http://schemas.microsoft.com/office/drawing/2014/main" id="{39CEFBDB-FCF8-C204-07D8-CCCB4A10E1D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6210" y="-11870"/>
              <a:ext cx="520" cy="527"/>
            </a:xfrm>
            <a:custGeom>
              <a:avLst/>
              <a:gdLst>
                <a:gd name="T0" fmla="*/ 128 w 220"/>
                <a:gd name="T1" fmla="*/ 204 h 223"/>
                <a:gd name="T2" fmla="*/ 128 w 220"/>
                <a:gd name="T3" fmla="*/ 204 h 223"/>
                <a:gd name="T4" fmla="*/ 128 w 220"/>
                <a:gd name="T5" fmla="*/ 204 h 223"/>
                <a:gd name="T6" fmla="*/ 128 w 220"/>
                <a:gd name="T7" fmla="*/ 204 h 223"/>
                <a:gd name="T8" fmla="*/ 218 w 220"/>
                <a:gd name="T9" fmla="*/ 15 h 223"/>
                <a:gd name="T10" fmla="*/ 211 w 220"/>
                <a:gd name="T11" fmla="*/ 1 h 223"/>
                <a:gd name="T12" fmla="*/ 192 w 220"/>
                <a:gd name="T13" fmla="*/ 2 h 223"/>
                <a:gd name="T14" fmla="*/ 181 w 220"/>
                <a:gd name="T15" fmla="*/ 2 h 223"/>
                <a:gd name="T16" fmla="*/ 168 w 220"/>
                <a:gd name="T17" fmla="*/ 12 h 223"/>
                <a:gd name="T18" fmla="*/ 143 w 220"/>
                <a:gd name="T19" fmla="*/ 1 h 223"/>
                <a:gd name="T20" fmla="*/ 133 w 220"/>
                <a:gd name="T21" fmla="*/ 20 h 223"/>
                <a:gd name="T22" fmla="*/ 120 w 220"/>
                <a:gd name="T23" fmla="*/ 21 h 223"/>
                <a:gd name="T24" fmla="*/ 119 w 220"/>
                <a:gd name="T25" fmla="*/ 31 h 223"/>
                <a:gd name="T26" fmla="*/ 92 w 220"/>
                <a:gd name="T27" fmla="*/ 54 h 223"/>
                <a:gd name="T28" fmla="*/ 78 w 220"/>
                <a:gd name="T29" fmla="*/ 45 h 223"/>
                <a:gd name="T30" fmla="*/ 65 w 220"/>
                <a:gd name="T31" fmla="*/ 59 h 223"/>
                <a:gd name="T32" fmla="*/ 45 w 220"/>
                <a:gd name="T33" fmla="*/ 58 h 223"/>
                <a:gd name="T34" fmla="*/ 44 w 220"/>
                <a:gd name="T35" fmla="*/ 85 h 223"/>
                <a:gd name="T36" fmla="*/ 35 w 220"/>
                <a:gd name="T37" fmla="*/ 87 h 223"/>
                <a:gd name="T38" fmla="*/ 33 w 220"/>
                <a:gd name="T39" fmla="*/ 98 h 223"/>
                <a:gd name="T40" fmla="*/ 19 w 220"/>
                <a:gd name="T41" fmla="*/ 102 h 223"/>
                <a:gd name="T42" fmla="*/ 0 w 220"/>
                <a:gd name="T43" fmla="*/ 102 h 223"/>
                <a:gd name="T44" fmla="*/ 32 w 220"/>
                <a:gd name="T45" fmla="*/ 136 h 223"/>
                <a:gd name="T46" fmla="*/ 50 w 220"/>
                <a:gd name="T47" fmla="*/ 175 h 223"/>
                <a:gd name="T48" fmla="*/ 80 w 220"/>
                <a:gd name="T49" fmla="*/ 199 h 223"/>
                <a:gd name="T50" fmla="*/ 92 w 220"/>
                <a:gd name="T51" fmla="*/ 198 h 223"/>
                <a:gd name="T52" fmla="*/ 92 w 220"/>
                <a:gd name="T53" fmla="*/ 197 h 223"/>
                <a:gd name="T54" fmla="*/ 81 w 220"/>
                <a:gd name="T55" fmla="*/ 187 h 223"/>
                <a:gd name="T56" fmla="*/ 95 w 220"/>
                <a:gd name="T57" fmla="*/ 181 h 223"/>
                <a:gd name="T58" fmla="*/ 90 w 220"/>
                <a:gd name="T59" fmla="*/ 175 h 223"/>
                <a:gd name="T60" fmla="*/ 79 w 220"/>
                <a:gd name="T61" fmla="*/ 177 h 223"/>
                <a:gd name="T62" fmla="*/ 79 w 220"/>
                <a:gd name="T63" fmla="*/ 149 h 223"/>
                <a:gd name="T64" fmla="*/ 123 w 220"/>
                <a:gd name="T65" fmla="*/ 185 h 223"/>
                <a:gd name="T66" fmla="*/ 128 w 220"/>
                <a:gd name="T67" fmla="*/ 204 h 223"/>
                <a:gd name="T68" fmla="*/ 132 w 220"/>
                <a:gd name="T69" fmla="*/ 204 h 223"/>
                <a:gd name="T70" fmla="*/ 150 w 220"/>
                <a:gd name="T71" fmla="*/ 211 h 223"/>
                <a:gd name="T72" fmla="*/ 162 w 220"/>
                <a:gd name="T73" fmla="*/ 223 h 223"/>
                <a:gd name="T74" fmla="*/ 183 w 220"/>
                <a:gd name="T75" fmla="*/ 220 h 223"/>
                <a:gd name="T76" fmla="*/ 170 w 220"/>
                <a:gd name="T77" fmla="*/ 192 h 223"/>
                <a:gd name="T78" fmla="*/ 182 w 220"/>
                <a:gd name="T79" fmla="*/ 172 h 223"/>
                <a:gd name="T80" fmla="*/ 177 w 220"/>
                <a:gd name="T81" fmla="*/ 151 h 223"/>
                <a:gd name="T82" fmla="*/ 181 w 220"/>
                <a:gd name="T83" fmla="*/ 119 h 223"/>
                <a:gd name="T84" fmla="*/ 191 w 220"/>
                <a:gd name="T85" fmla="*/ 131 h 223"/>
                <a:gd name="T86" fmla="*/ 194 w 220"/>
                <a:gd name="T87" fmla="*/ 74 h 223"/>
                <a:gd name="T88" fmla="*/ 209 w 220"/>
                <a:gd name="T89" fmla="*/ 44 h 223"/>
                <a:gd name="T90" fmla="*/ 218 w 220"/>
                <a:gd name="T91" fmla="*/ 15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0" h="223">
                  <a:moveTo>
                    <a:pt x="128" y="204"/>
                  </a:moveTo>
                  <a:cubicBezTo>
                    <a:pt x="128" y="204"/>
                    <a:pt x="128" y="204"/>
                    <a:pt x="128" y="204"/>
                  </a:cubicBezTo>
                  <a:cubicBezTo>
                    <a:pt x="128" y="204"/>
                    <a:pt x="128" y="204"/>
                    <a:pt x="128" y="204"/>
                  </a:cubicBezTo>
                  <a:cubicBezTo>
                    <a:pt x="128" y="204"/>
                    <a:pt x="128" y="204"/>
                    <a:pt x="128" y="204"/>
                  </a:cubicBezTo>
                  <a:close/>
                  <a:moveTo>
                    <a:pt x="218" y="15"/>
                  </a:moveTo>
                  <a:cubicBezTo>
                    <a:pt x="216" y="10"/>
                    <a:pt x="210" y="5"/>
                    <a:pt x="211" y="1"/>
                  </a:cubicBezTo>
                  <a:cubicBezTo>
                    <a:pt x="192" y="2"/>
                    <a:pt x="192" y="2"/>
                    <a:pt x="192" y="2"/>
                  </a:cubicBezTo>
                  <a:cubicBezTo>
                    <a:pt x="192" y="2"/>
                    <a:pt x="185" y="2"/>
                    <a:pt x="181" y="2"/>
                  </a:cubicBezTo>
                  <a:cubicBezTo>
                    <a:pt x="177" y="2"/>
                    <a:pt x="178" y="11"/>
                    <a:pt x="168" y="12"/>
                  </a:cubicBezTo>
                  <a:cubicBezTo>
                    <a:pt x="158" y="13"/>
                    <a:pt x="152" y="2"/>
                    <a:pt x="143" y="1"/>
                  </a:cubicBezTo>
                  <a:cubicBezTo>
                    <a:pt x="134" y="0"/>
                    <a:pt x="133" y="20"/>
                    <a:pt x="133" y="20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31"/>
                    <a:pt x="119" y="31"/>
                    <a:pt x="119" y="31"/>
                  </a:cubicBezTo>
                  <a:cubicBezTo>
                    <a:pt x="119" y="31"/>
                    <a:pt x="107" y="54"/>
                    <a:pt x="92" y="54"/>
                  </a:cubicBezTo>
                  <a:cubicBezTo>
                    <a:pt x="77" y="54"/>
                    <a:pt x="86" y="46"/>
                    <a:pt x="78" y="45"/>
                  </a:cubicBezTo>
                  <a:cubicBezTo>
                    <a:pt x="70" y="44"/>
                    <a:pt x="65" y="59"/>
                    <a:pt x="65" y="59"/>
                  </a:cubicBezTo>
                  <a:cubicBezTo>
                    <a:pt x="65" y="59"/>
                    <a:pt x="60" y="58"/>
                    <a:pt x="45" y="58"/>
                  </a:cubicBezTo>
                  <a:cubicBezTo>
                    <a:pt x="30" y="58"/>
                    <a:pt x="44" y="85"/>
                    <a:pt x="44" y="85"/>
                  </a:cubicBezTo>
                  <a:cubicBezTo>
                    <a:pt x="35" y="87"/>
                    <a:pt x="35" y="87"/>
                    <a:pt x="35" y="87"/>
                  </a:cubicBezTo>
                  <a:cubicBezTo>
                    <a:pt x="35" y="87"/>
                    <a:pt x="39" y="96"/>
                    <a:pt x="33" y="98"/>
                  </a:cubicBezTo>
                  <a:cubicBezTo>
                    <a:pt x="27" y="100"/>
                    <a:pt x="19" y="102"/>
                    <a:pt x="19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32" y="136"/>
                    <a:pt x="32" y="136"/>
                    <a:pt x="32" y="136"/>
                  </a:cubicBezTo>
                  <a:cubicBezTo>
                    <a:pt x="32" y="136"/>
                    <a:pt x="40" y="167"/>
                    <a:pt x="50" y="175"/>
                  </a:cubicBezTo>
                  <a:cubicBezTo>
                    <a:pt x="59" y="182"/>
                    <a:pt x="77" y="196"/>
                    <a:pt x="80" y="199"/>
                  </a:cubicBezTo>
                  <a:cubicBezTo>
                    <a:pt x="83" y="198"/>
                    <a:pt x="89" y="197"/>
                    <a:pt x="92" y="198"/>
                  </a:cubicBezTo>
                  <a:cubicBezTo>
                    <a:pt x="92" y="197"/>
                    <a:pt x="92" y="197"/>
                    <a:pt x="92" y="197"/>
                  </a:cubicBezTo>
                  <a:cubicBezTo>
                    <a:pt x="89" y="195"/>
                    <a:pt x="78" y="191"/>
                    <a:pt x="81" y="187"/>
                  </a:cubicBezTo>
                  <a:cubicBezTo>
                    <a:pt x="84" y="183"/>
                    <a:pt x="99" y="188"/>
                    <a:pt x="95" y="181"/>
                  </a:cubicBezTo>
                  <a:cubicBezTo>
                    <a:pt x="91" y="175"/>
                    <a:pt x="90" y="175"/>
                    <a:pt x="90" y="175"/>
                  </a:cubicBezTo>
                  <a:cubicBezTo>
                    <a:pt x="90" y="175"/>
                    <a:pt x="79" y="179"/>
                    <a:pt x="79" y="177"/>
                  </a:cubicBezTo>
                  <a:cubicBezTo>
                    <a:pt x="78" y="175"/>
                    <a:pt x="72" y="147"/>
                    <a:pt x="79" y="149"/>
                  </a:cubicBezTo>
                  <a:cubicBezTo>
                    <a:pt x="86" y="151"/>
                    <a:pt x="119" y="177"/>
                    <a:pt x="123" y="185"/>
                  </a:cubicBezTo>
                  <a:cubicBezTo>
                    <a:pt x="126" y="189"/>
                    <a:pt x="127" y="197"/>
                    <a:pt x="128" y="204"/>
                  </a:cubicBezTo>
                  <a:cubicBezTo>
                    <a:pt x="129" y="204"/>
                    <a:pt x="131" y="204"/>
                    <a:pt x="132" y="204"/>
                  </a:cubicBezTo>
                  <a:cubicBezTo>
                    <a:pt x="145" y="205"/>
                    <a:pt x="150" y="211"/>
                    <a:pt x="150" y="211"/>
                  </a:cubicBezTo>
                  <a:cubicBezTo>
                    <a:pt x="150" y="211"/>
                    <a:pt x="150" y="223"/>
                    <a:pt x="162" y="223"/>
                  </a:cubicBezTo>
                  <a:cubicBezTo>
                    <a:pt x="168" y="223"/>
                    <a:pt x="176" y="222"/>
                    <a:pt x="183" y="220"/>
                  </a:cubicBezTo>
                  <a:cubicBezTo>
                    <a:pt x="180" y="218"/>
                    <a:pt x="170" y="205"/>
                    <a:pt x="170" y="192"/>
                  </a:cubicBezTo>
                  <a:cubicBezTo>
                    <a:pt x="170" y="177"/>
                    <a:pt x="182" y="181"/>
                    <a:pt x="182" y="172"/>
                  </a:cubicBezTo>
                  <a:cubicBezTo>
                    <a:pt x="182" y="163"/>
                    <a:pt x="177" y="151"/>
                    <a:pt x="177" y="151"/>
                  </a:cubicBezTo>
                  <a:cubicBezTo>
                    <a:pt x="181" y="119"/>
                    <a:pt x="181" y="119"/>
                    <a:pt x="181" y="119"/>
                  </a:cubicBezTo>
                  <a:cubicBezTo>
                    <a:pt x="191" y="131"/>
                    <a:pt x="191" y="131"/>
                    <a:pt x="191" y="131"/>
                  </a:cubicBezTo>
                  <a:cubicBezTo>
                    <a:pt x="194" y="74"/>
                    <a:pt x="194" y="74"/>
                    <a:pt x="194" y="74"/>
                  </a:cubicBezTo>
                  <a:cubicBezTo>
                    <a:pt x="194" y="74"/>
                    <a:pt x="200" y="53"/>
                    <a:pt x="209" y="44"/>
                  </a:cubicBezTo>
                  <a:cubicBezTo>
                    <a:pt x="218" y="35"/>
                    <a:pt x="220" y="20"/>
                    <a:pt x="218" y="15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74" name="Freeform 354">
              <a:extLst>
                <a:ext uri="{FF2B5EF4-FFF2-40B4-BE49-F238E27FC236}">
                  <a16:creationId xmlns:a16="http://schemas.microsoft.com/office/drawing/2014/main" id="{152BC9F5-91C2-6BDC-B862-DCE789E6A80B}"/>
                </a:ext>
              </a:extLst>
            </p:cNvPr>
            <p:cNvSpPr>
              <a:spLocks/>
            </p:cNvSpPr>
            <p:nvPr/>
          </p:nvSpPr>
          <p:spPr bwMode="gray">
            <a:xfrm>
              <a:off x="-16066" y="-11404"/>
              <a:ext cx="383" cy="359"/>
            </a:xfrm>
            <a:custGeom>
              <a:avLst/>
              <a:gdLst>
                <a:gd name="T0" fmla="*/ 146 w 162"/>
                <a:gd name="T1" fmla="*/ 133 h 152"/>
                <a:gd name="T2" fmla="*/ 159 w 162"/>
                <a:gd name="T3" fmla="*/ 122 h 152"/>
                <a:gd name="T4" fmla="*/ 145 w 162"/>
                <a:gd name="T5" fmla="*/ 115 h 152"/>
                <a:gd name="T6" fmla="*/ 145 w 162"/>
                <a:gd name="T7" fmla="*/ 93 h 152"/>
                <a:gd name="T8" fmla="*/ 162 w 162"/>
                <a:gd name="T9" fmla="*/ 87 h 152"/>
                <a:gd name="T10" fmla="*/ 140 w 162"/>
                <a:gd name="T11" fmla="*/ 66 h 152"/>
                <a:gd name="T12" fmla="*/ 124 w 162"/>
                <a:gd name="T13" fmla="*/ 39 h 152"/>
                <a:gd name="T14" fmla="*/ 122 w 162"/>
                <a:gd name="T15" fmla="*/ 24 h 152"/>
                <a:gd name="T16" fmla="*/ 122 w 162"/>
                <a:gd name="T17" fmla="*/ 23 h 152"/>
                <a:gd name="T18" fmla="*/ 122 w 162"/>
                <a:gd name="T19" fmla="*/ 23 h 152"/>
                <a:gd name="T20" fmla="*/ 101 w 162"/>
                <a:gd name="T21" fmla="*/ 26 h 152"/>
                <a:gd name="T22" fmla="*/ 89 w 162"/>
                <a:gd name="T23" fmla="*/ 14 h 152"/>
                <a:gd name="T24" fmla="*/ 71 w 162"/>
                <a:gd name="T25" fmla="*/ 7 h 152"/>
                <a:gd name="T26" fmla="*/ 59 w 162"/>
                <a:gd name="T27" fmla="*/ 12 h 152"/>
                <a:gd name="T28" fmla="*/ 33 w 162"/>
                <a:gd name="T29" fmla="*/ 1 h 152"/>
                <a:gd name="T30" fmla="*/ 19 w 162"/>
                <a:gd name="T31" fmla="*/ 2 h 152"/>
                <a:gd name="T32" fmla="*/ 19 w 162"/>
                <a:gd name="T33" fmla="*/ 2 h 152"/>
                <a:gd name="T34" fmla="*/ 10 w 162"/>
                <a:gd name="T35" fmla="*/ 19 h 152"/>
                <a:gd name="T36" fmla="*/ 20 w 162"/>
                <a:gd name="T37" fmla="*/ 32 h 152"/>
                <a:gd name="T38" fmla="*/ 9 w 162"/>
                <a:gd name="T39" fmla="*/ 60 h 152"/>
                <a:gd name="T40" fmla="*/ 33 w 162"/>
                <a:gd name="T41" fmla="*/ 72 h 152"/>
                <a:gd name="T42" fmla="*/ 53 w 162"/>
                <a:gd name="T43" fmla="*/ 85 h 152"/>
                <a:gd name="T44" fmla="*/ 51 w 162"/>
                <a:gd name="T45" fmla="*/ 67 h 152"/>
                <a:gd name="T46" fmla="*/ 33 w 162"/>
                <a:gd name="T47" fmla="*/ 49 h 152"/>
                <a:gd name="T48" fmla="*/ 67 w 162"/>
                <a:gd name="T49" fmla="*/ 70 h 152"/>
                <a:gd name="T50" fmla="*/ 68 w 162"/>
                <a:gd name="T51" fmla="*/ 89 h 152"/>
                <a:gd name="T52" fmla="*/ 95 w 162"/>
                <a:gd name="T53" fmla="*/ 94 h 152"/>
                <a:gd name="T54" fmla="*/ 108 w 162"/>
                <a:gd name="T55" fmla="*/ 121 h 152"/>
                <a:gd name="T56" fmla="*/ 108 w 162"/>
                <a:gd name="T57" fmla="*/ 138 h 152"/>
                <a:gd name="T58" fmla="*/ 131 w 162"/>
                <a:gd name="T59" fmla="*/ 150 h 152"/>
                <a:gd name="T60" fmla="*/ 122 w 162"/>
                <a:gd name="T61" fmla="*/ 133 h 152"/>
                <a:gd name="T62" fmla="*/ 141 w 162"/>
                <a:gd name="T63" fmla="*/ 152 h 152"/>
                <a:gd name="T64" fmla="*/ 145 w 162"/>
                <a:gd name="T65" fmla="*/ 147 h 152"/>
                <a:gd name="T66" fmla="*/ 146 w 162"/>
                <a:gd name="T67" fmla="*/ 13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2" h="152">
                  <a:moveTo>
                    <a:pt x="146" y="133"/>
                  </a:moveTo>
                  <a:cubicBezTo>
                    <a:pt x="146" y="133"/>
                    <a:pt x="159" y="127"/>
                    <a:pt x="159" y="122"/>
                  </a:cubicBezTo>
                  <a:cubicBezTo>
                    <a:pt x="159" y="117"/>
                    <a:pt x="145" y="115"/>
                    <a:pt x="145" y="115"/>
                  </a:cubicBezTo>
                  <a:cubicBezTo>
                    <a:pt x="145" y="115"/>
                    <a:pt x="135" y="96"/>
                    <a:pt x="145" y="93"/>
                  </a:cubicBezTo>
                  <a:cubicBezTo>
                    <a:pt x="151" y="91"/>
                    <a:pt x="158" y="88"/>
                    <a:pt x="162" y="87"/>
                  </a:cubicBezTo>
                  <a:cubicBezTo>
                    <a:pt x="154" y="82"/>
                    <a:pt x="143" y="75"/>
                    <a:pt x="140" y="66"/>
                  </a:cubicBezTo>
                  <a:cubicBezTo>
                    <a:pt x="136" y="53"/>
                    <a:pt x="124" y="39"/>
                    <a:pt x="124" y="39"/>
                  </a:cubicBezTo>
                  <a:cubicBezTo>
                    <a:pt x="122" y="24"/>
                    <a:pt x="122" y="24"/>
                    <a:pt x="122" y="24"/>
                  </a:cubicBezTo>
                  <a:cubicBezTo>
                    <a:pt x="122" y="24"/>
                    <a:pt x="122" y="24"/>
                    <a:pt x="122" y="23"/>
                  </a:cubicBezTo>
                  <a:cubicBezTo>
                    <a:pt x="122" y="23"/>
                    <a:pt x="122" y="23"/>
                    <a:pt x="122" y="23"/>
                  </a:cubicBezTo>
                  <a:cubicBezTo>
                    <a:pt x="115" y="25"/>
                    <a:pt x="107" y="26"/>
                    <a:pt x="101" y="26"/>
                  </a:cubicBezTo>
                  <a:cubicBezTo>
                    <a:pt x="89" y="26"/>
                    <a:pt x="89" y="14"/>
                    <a:pt x="89" y="14"/>
                  </a:cubicBezTo>
                  <a:cubicBezTo>
                    <a:pt x="89" y="14"/>
                    <a:pt x="84" y="8"/>
                    <a:pt x="71" y="7"/>
                  </a:cubicBezTo>
                  <a:cubicBezTo>
                    <a:pt x="58" y="6"/>
                    <a:pt x="59" y="12"/>
                    <a:pt x="59" y="12"/>
                  </a:cubicBezTo>
                  <a:cubicBezTo>
                    <a:pt x="59" y="12"/>
                    <a:pt x="39" y="3"/>
                    <a:pt x="33" y="1"/>
                  </a:cubicBezTo>
                  <a:cubicBezTo>
                    <a:pt x="29" y="0"/>
                    <a:pt x="23" y="1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26" y="28"/>
                    <a:pt x="20" y="32"/>
                  </a:cubicBezTo>
                  <a:cubicBezTo>
                    <a:pt x="14" y="36"/>
                    <a:pt x="0" y="46"/>
                    <a:pt x="9" y="60"/>
                  </a:cubicBezTo>
                  <a:cubicBezTo>
                    <a:pt x="18" y="74"/>
                    <a:pt x="33" y="72"/>
                    <a:pt x="33" y="72"/>
                  </a:cubicBezTo>
                  <a:cubicBezTo>
                    <a:pt x="33" y="72"/>
                    <a:pt x="50" y="92"/>
                    <a:pt x="53" y="85"/>
                  </a:cubicBezTo>
                  <a:cubicBezTo>
                    <a:pt x="56" y="78"/>
                    <a:pt x="51" y="67"/>
                    <a:pt x="51" y="67"/>
                  </a:cubicBezTo>
                  <a:cubicBezTo>
                    <a:pt x="51" y="67"/>
                    <a:pt x="24" y="49"/>
                    <a:pt x="33" y="49"/>
                  </a:cubicBezTo>
                  <a:cubicBezTo>
                    <a:pt x="42" y="49"/>
                    <a:pt x="67" y="70"/>
                    <a:pt x="67" y="70"/>
                  </a:cubicBezTo>
                  <a:cubicBezTo>
                    <a:pt x="67" y="70"/>
                    <a:pt x="64" y="89"/>
                    <a:pt x="68" y="89"/>
                  </a:cubicBezTo>
                  <a:cubicBezTo>
                    <a:pt x="72" y="89"/>
                    <a:pt x="95" y="94"/>
                    <a:pt x="95" y="94"/>
                  </a:cubicBezTo>
                  <a:cubicBezTo>
                    <a:pt x="108" y="121"/>
                    <a:pt x="108" y="121"/>
                    <a:pt x="108" y="121"/>
                  </a:cubicBezTo>
                  <a:cubicBezTo>
                    <a:pt x="108" y="121"/>
                    <a:pt x="99" y="129"/>
                    <a:pt x="108" y="138"/>
                  </a:cubicBezTo>
                  <a:cubicBezTo>
                    <a:pt x="117" y="147"/>
                    <a:pt x="131" y="150"/>
                    <a:pt x="131" y="150"/>
                  </a:cubicBezTo>
                  <a:cubicBezTo>
                    <a:pt x="122" y="133"/>
                    <a:pt x="122" y="133"/>
                    <a:pt x="122" y="133"/>
                  </a:cubicBezTo>
                  <a:cubicBezTo>
                    <a:pt x="141" y="152"/>
                    <a:pt x="141" y="152"/>
                    <a:pt x="141" y="152"/>
                  </a:cubicBezTo>
                  <a:cubicBezTo>
                    <a:pt x="145" y="147"/>
                    <a:pt x="145" y="147"/>
                    <a:pt x="145" y="147"/>
                  </a:cubicBezTo>
                  <a:lnTo>
                    <a:pt x="146" y="13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75" name="Freeform 355">
              <a:extLst>
                <a:ext uri="{FF2B5EF4-FFF2-40B4-BE49-F238E27FC236}">
                  <a16:creationId xmlns:a16="http://schemas.microsoft.com/office/drawing/2014/main" id="{4471BDDF-CA3A-0B56-4D54-0637431AB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-4496" y="-15510"/>
              <a:ext cx="189" cy="213"/>
            </a:xfrm>
            <a:custGeom>
              <a:avLst/>
              <a:gdLst>
                <a:gd name="T0" fmla="*/ 79 w 80"/>
                <a:gd name="T1" fmla="*/ 27 h 90"/>
                <a:gd name="T2" fmla="*/ 73 w 80"/>
                <a:gd name="T3" fmla="*/ 31 h 90"/>
                <a:gd name="T4" fmla="*/ 65 w 80"/>
                <a:gd name="T5" fmla="*/ 17 h 90"/>
                <a:gd name="T6" fmla="*/ 56 w 80"/>
                <a:gd name="T7" fmla="*/ 10 h 90"/>
                <a:gd name="T8" fmla="*/ 46 w 80"/>
                <a:gd name="T9" fmla="*/ 0 h 90"/>
                <a:gd name="T10" fmla="*/ 29 w 80"/>
                <a:gd name="T11" fmla="*/ 0 h 90"/>
                <a:gd name="T12" fmla="*/ 29 w 80"/>
                <a:gd name="T13" fmla="*/ 15 h 90"/>
                <a:gd name="T14" fmla="*/ 18 w 80"/>
                <a:gd name="T15" fmla="*/ 14 h 90"/>
                <a:gd name="T16" fmla="*/ 9 w 80"/>
                <a:gd name="T17" fmla="*/ 29 h 90"/>
                <a:gd name="T18" fmla="*/ 4 w 80"/>
                <a:gd name="T19" fmla="*/ 29 h 90"/>
                <a:gd name="T20" fmla="*/ 3 w 80"/>
                <a:gd name="T21" fmla="*/ 39 h 90"/>
                <a:gd name="T22" fmla="*/ 17 w 80"/>
                <a:gd name="T23" fmla="*/ 48 h 90"/>
                <a:gd name="T24" fmla="*/ 4 w 80"/>
                <a:gd name="T25" fmla="*/ 64 h 90"/>
                <a:gd name="T26" fmla="*/ 6 w 80"/>
                <a:gd name="T27" fmla="*/ 65 h 90"/>
                <a:gd name="T28" fmla="*/ 24 w 80"/>
                <a:gd name="T29" fmla="*/ 62 h 90"/>
                <a:gd name="T30" fmla="*/ 24 w 80"/>
                <a:gd name="T31" fmla="*/ 74 h 90"/>
                <a:gd name="T32" fmla="*/ 41 w 80"/>
                <a:gd name="T33" fmla="*/ 90 h 90"/>
                <a:gd name="T34" fmla="*/ 48 w 80"/>
                <a:gd name="T35" fmla="*/ 81 h 90"/>
                <a:gd name="T36" fmla="*/ 46 w 80"/>
                <a:gd name="T37" fmla="*/ 71 h 90"/>
                <a:gd name="T38" fmla="*/ 40 w 80"/>
                <a:gd name="T39" fmla="*/ 74 h 90"/>
                <a:gd name="T40" fmla="*/ 31 w 80"/>
                <a:gd name="T41" fmla="*/ 68 h 90"/>
                <a:gd name="T42" fmla="*/ 46 w 80"/>
                <a:gd name="T43" fmla="*/ 68 h 90"/>
                <a:gd name="T44" fmla="*/ 52 w 80"/>
                <a:gd name="T45" fmla="*/ 63 h 90"/>
                <a:gd name="T46" fmla="*/ 54 w 80"/>
                <a:gd name="T47" fmla="*/ 49 h 90"/>
                <a:gd name="T48" fmla="*/ 72 w 80"/>
                <a:gd name="T49" fmla="*/ 59 h 90"/>
                <a:gd name="T50" fmla="*/ 78 w 80"/>
                <a:gd name="T51" fmla="*/ 53 h 90"/>
                <a:gd name="T52" fmla="*/ 80 w 80"/>
                <a:gd name="T53" fmla="*/ 56 h 90"/>
                <a:gd name="T54" fmla="*/ 79 w 80"/>
                <a:gd name="T55" fmla="*/ 2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90">
                  <a:moveTo>
                    <a:pt x="79" y="27"/>
                  </a:moveTo>
                  <a:cubicBezTo>
                    <a:pt x="73" y="31"/>
                    <a:pt x="73" y="31"/>
                    <a:pt x="73" y="31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9" y="2"/>
                    <a:pt x="29" y="0"/>
                    <a:pt x="29" y="0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5"/>
                    <a:pt x="21" y="10"/>
                    <a:pt x="18" y="14"/>
                  </a:cubicBezTo>
                  <a:cubicBezTo>
                    <a:pt x="15" y="18"/>
                    <a:pt x="9" y="29"/>
                    <a:pt x="9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0" y="36"/>
                    <a:pt x="3" y="39"/>
                  </a:cubicBezTo>
                  <a:cubicBezTo>
                    <a:pt x="6" y="42"/>
                    <a:pt x="17" y="48"/>
                    <a:pt x="17" y="48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5" y="65"/>
                    <a:pt x="6" y="65"/>
                    <a:pt x="6" y="65"/>
                  </a:cubicBezTo>
                  <a:cubicBezTo>
                    <a:pt x="13" y="67"/>
                    <a:pt x="24" y="62"/>
                    <a:pt x="24" y="62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80" y="56"/>
                    <a:pt x="80" y="56"/>
                    <a:pt x="80" y="56"/>
                  </a:cubicBezTo>
                  <a:lnTo>
                    <a:pt x="79" y="27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76" name="Freeform 356">
              <a:extLst>
                <a:ext uri="{FF2B5EF4-FFF2-40B4-BE49-F238E27FC236}">
                  <a16:creationId xmlns:a16="http://schemas.microsoft.com/office/drawing/2014/main" id="{0B0BCEB3-A932-DA43-5DB9-42513B9FAD8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4460" y="-15848"/>
              <a:ext cx="437" cy="551"/>
            </a:xfrm>
            <a:custGeom>
              <a:avLst/>
              <a:gdLst>
                <a:gd name="T0" fmla="*/ 167 w 185"/>
                <a:gd name="T1" fmla="*/ 152 h 233"/>
                <a:gd name="T2" fmla="*/ 160 w 185"/>
                <a:gd name="T3" fmla="*/ 140 h 233"/>
                <a:gd name="T4" fmla="*/ 166 w 185"/>
                <a:gd name="T5" fmla="*/ 120 h 233"/>
                <a:gd name="T6" fmla="*/ 161 w 185"/>
                <a:gd name="T7" fmla="*/ 102 h 233"/>
                <a:gd name="T8" fmla="*/ 171 w 185"/>
                <a:gd name="T9" fmla="*/ 88 h 233"/>
                <a:gd name="T10" fmla="*/ 139 w 185"/>
                <a:gd name="T11" fmla="*/ 91 h 233"/>
                <a:gd name="T12" fmla="*/ 117 w 185"/>
                <a:gd name="T13" fmla="*/ 82 h 233"/>
                <a:gd name="T14" fmla="*/ 115 w 185"/>
                <a:gd name="T15" fmla="*/ 56 h 233"/>
                <a:gd name="T16" fmla="*/ 91 w 185"/>
                <a:gd name="T17" fmla="*/ 48 h 233"/>
                <a:gd name="T18" fmla="*/ 77 w 185"/>
                <a:gd name="T19" fmla="*/ 27 h 233"/>
                <a:gd name="T20" fmla="*/ 48 w 185"/>
                <a:gd name="T21" fmla="*/ 6 h 233"/>
                <a:gd name="T22" fmla="*/ 18 w 185"/>
                <a:gd name="T23" fmla="*/ 17 h 233"/>
                <a:gd name="T24" fmla="*/ 0 w 185"/>
                <a:gd name="T25" fmla="*/ 21 h 233"/>
                <a:gd name="T26" fmla="*/ 6 w 185"/>
                <a:gd name="T27" fmla="*/ 40 h 233"/>
                <a:gd name="T28" fmla="*/ 8 w 185"/>
                <a:gd name="T29" fmla="*/ 53 h 233"/>
                <a:gd name="T30" fmla="*/ 12 w 185"/>
                <a:gd name="T31" fmla="*/ 65 h 233"/>
                <a:gd name="T32" fmla="*/ 5 w 185"/>
                <a:gd name="T33" fmla="*/ 72 h 233"/>
                <a:gd name="T34" fmla="*/ 27 w 185"/>
                <a:gd name="T35" fmla="*/ 76 h 233"/>
                <a:gd name="T36" fmla="*/ 15 w 185"/>
                <a:gd name="T37" fmla="*/ 106 h 233"/>
                <a:gd name="T38" fmla="*/ 37 w 185"/>
                <a:gd name="T39" fmla="*/ 118 h 233"/>
                <a:gd name="T40" fmla="*/ 35 w 185"/>
                <a:gd name="T41" fmla="*/ 140 h 233"/>
                <a:gd name="T42" fmla="*/ 41 w 185"/>
                <a:gd name="T43" fmla="*/ 153 h 233"/>
                <a:gd name="T44" fmla="*/ 58 w 185"/>
                <a:gd name="T45" fmla="*/ 174 h 233"/>
                <a:gd name="T46" fmla="*/ 65 w 185"/>
                <a:gd name="T47" fmla="*/ 199 h 233"/>
                <a:gd name="T48" fmla="*/ 71 w 185"/>
                <a:gd name="T49" fmla="*/ 211 h 233"/>
                <a:gd name="T50" fmla="*/ 84 w 185"/>
                <a:gd name="T51" fmla="*/ 221 h 233"/>
                <a:gd name="T52" fmla="*/ 95 w 185"/>
                <a:gd name="T53" fmla="*/ 229 h 233"/>
                <a:gd name="T54" fmla="*/ 112 w 185"/>
                <a:gd name="T55" fmla="*/ 221 h 233"/>
                <a:gd name="T56" fmla="*/ 128 w 185"/>
                <a:gd name="T57" fmla="*/ 213 h 233"/>
                <a:gd name="T58" fmla="*/ 158 w 185"/>
                <a:gd name="T59" fmla="*/ 207 h 233"/>
                <a:gd name="T60" fmla="*/ 165 w 185"/>
                <a:gd name="T61" fmla="*/ 192 h 233"/>
                <a:gd name="T62" fmla="*/ 177 w 185"/>
                <a:gd name="T63" fmla="*/ 180 h 233"/>
                <a:gd name="T64" fmla="*/ 180 w 185"/>
                <a:gd name="T65" fmla="*/ 159 h 233"/>
                <a:gd name="T66" fmla="*/ 27 w 185"/>
                <a:gd name="T67" fmla="*/ 144 h 233"/>
                <a:gd name="T68" fmla="*/ 24 w 185"/>
                <a:gd name="T69" fmla="*/ 144 h 233"/>
                <a:gd name="T70" fmla="*/ 24 w 185"/>
                <a:gd name="T71" fmla="*/ 144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5" h="233">
                  <a:moveTo>
                    <a:pt x="180" y="159"/>
                  </a:moveTo>
                  <a:cubicBezTo>
                    <a:pt x="167" y="152"/>
                    <a:pt x="167" y="152"/>
                    <a:pt x="167" y="152"/>
                  </a:cubicBezTo>
                  <a:cubicBezTo>
                    <a:pt x="169" y="145"/>
                    <a:pt x="169" y="145"/>
                    <a:pt x="169" y="145"/>
                  </a:cubicBezTo>
                  <a:cubicBezTo>
                    <a:pt x="160" y="140"/>
                    <a:pt x="160" y="140"/>
                    <a:pt x="160" y="140"/>
                  </a:cubicBezTo>
                  <a:cubicBezTo>
                    <a:pt x="157" y="128"/>
                    <a:pt x="157" y="128"/>
                    <a:pt x="157" y="128"/>
                  </a:cubicBezTo>
                  <a:cubicBezTo>
                    <a:pt x="166" y="120"/>
                    <a:pt x="166" y="120"/>
                    <a:pt x="166" y="120"/>
                  </a:cubicBezTo>
                  <a:cubicBezTo>
                    <a:pt x="168" y="106"/>
                    <a:pt x="168" y="106"/>
                    <a:pt x="168" y="106"/>
                  </a:cubicBezTo>
                  <a:cubicBezTo>
                    <a:pt x="161" y="102"/>
                    <a:pt x="161" y="102"/>
                    <a:pt x="161" y="102"/>
                  </a:cubicBezTo>
                  <a:cubicBezTo>
                    <a:pt x="168" y="94"/>
                    <a:pt x="168" y="94"/>
                    <a:pt x="168" y="94"/>
                  </a:cubicBezTo>
                  <a:cubicBezTo>
                    <a:pt x="171" y="88"/>
                    <a:pt x="171" y="88"/>
                    <a:pt x="171" y="88"/>
                  </a:cubicBezTo>
                  <a:cubicBezTo>
                    <a:pt x="155" y="84"/>
                    <a:pt x="155" y="84"/>
                    <a:pt x="155" y="84"/>
                  </a:cubicBezTo>
                  <a:cubicBezTo>
                    <a:pt x="139" y="91"/>
                    <a:pt x="139" y="91"/>
                    <a:pt x="139" y="91"/>
                  </a:cubicBezTo>
                  <a:cubicBezTo>
                    <a:pt x="133" y="84"/>
                    <a:pt x="133" y="84"/>
                    <a:pt x="133" y="84"/>
                  </a:cubicBezTo>
                  <a:cubicBezTo>
                    <a:pt x="117" y="82"/>
                    <a:pt x="117" y="82"/>
                    <a:pt x="117" y="82"/>
                  </a:cubicBezTo>
                  <a:cubicBezTo>
                    <a:pt x="112" y="71"/>
                    <a:pt x="112" y="71"/>
                    <a:pt x="112" y="71"/>
                  </a:cubicBezTo>
                  <a:cubicBezTo>
                    <a:pt x="112" y="71"/>
                    <a:pt x="117" y="62"/>
                    <a:pt x="115" y="56"/>
                  </a:cubicBezTo>
                  <a:cubicBezTo>
                    <a:pt x="113" y="50"/>
                    <a:pt x="101" y="49"/>
                    <a:pt x="99" y="54"/>
                  </a:cubicBezTo>
                  <a:cubicBezTo>
                    <a:pt x="97" y="59"/>
                    <a:pt x="91" y="48"/>
                    <a:pt x="91" y="48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33" y="0"/>
                    <a:pt x="30" y="6"/>
                  </a:cubicBezTo>
                  <a:cubicBezTo>
                    <a:pt x="27" y="12"/>
                    <a:pt x="18" y="17"/>
                    <a:pt x="18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24" y="56"/>
                    <a:pt x="25" y="59"/>
                  </a:cubicBezTo>
                  <a:cubicBezTo>
                    <a:pt x="26" y="62"/>
                    <a:pt x="12" y="65"/>
                    <a:pt x="12" y="65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7"/>
                    <a:pt x="27" y="71"/>
                    <a:pt x="27" y="76"/>
                  </a:cubicBezTo>
                  <a:cubicBezTo>
                    <a:pt x="27" y="81"/>
                    <a:pt x="15" y="95"/>
                    <a:pt x="15" y="95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9" y="103"/>
                    <a:pt x="26" y="105"/>
                  </a:cubicBezTo>
                  <a:cubicBezTo>
                    <a:pt x="33" y="107"/>
                    <a:pt x="37" y="118"/>
                    <a:pt x="37" y="118"/>
                  </a:cubicBezTo>
                  <a:cubicBezTo>
                    <a:pt x="23" y="120"/>
                    <a:pt x="23" y="120"/>
                    <a:pt x="23" y="120"/>
                  </a:cubicBezTo>
                  <a:cubicBezTo>
                    <a:pt x="23" y="120"/>
                    <a:pt x="37" y="133"/>
                    <a:pt x="35" y="140"/>
                  </a:cubicBezTo>
                  <a:cubicBezTo>
                    <a:pt x="34" y="142"/>
                    <a:pt x="33" y="143"/>
                    <a:pt x="31" y="143"/>
                  </a:cubicBezTo>
                  <a:cubicBezTo>
                    <a:pt x="41" y="153"/>
                    <a:pt x="41" y="153"/>
                    <a:pt x="41" y="153"/>
                  </a:cubicBezTo>
                  <a:cubicBezTo>
                    <a:pt x="50" y="160"/>
                    <a:pt x="50" y="160"/>
                    <a:pt x="50" y="160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64" y="170"/>
                    <a:pt x="64" y="170"/>
                    <a:pt x="64" y="170"/>
                  </a:cubicBezTo>
                  <a:cubicBezTo>
                    <a:pt x="65" y="199"/>
                    <a:pt x="65" y="199"/>
                    <a:pt x="65" y="199"/>
                  </a:cubicBezTo>
                  <a:cubicBezTo>
                    <a:pt x="63" y="196"/>
                    <a:pt x="63" y="196"/>
                    <a:pt x="63" y="196"/>
                  </a:cubicBezTo>
                  <a:cubicBezTo>
                    <a:pt x="71" y="211"/>
                    <a:pt x="71" y="211"/>
                    <a:pt x="71" y="211"/>
                  </a:cubicBezTo>
                  <a:cubicBezTo>
                    <a:pt x="80" y="211"/>
                    <a:pt x="80" y="211"/>
                    <a:pt x="80" y="21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4" y="233"/>
                    <a:pt x="84" y="233"/>
                    <a:pt x="84" y="233"/>
                  </a:cubicBezTo>
                  <a:cubicBezTo>
                    <a:pt x="95" y="229"/>
                    <a:pt x="95" y="229"/>
                    <a:pt x="95" y="229"/>
                  </a:cubicBezTo>
                  <a:cubicBezTo>
                    <a:pt x="100" y="221"/>
                    <a:pt x="100" y="221"/>
                    <a:pt x="100" y="221"/>
                  </a:cubicBezTo>
                  <a:cubicBezTo>
                    <a:pt x="100" y="221"/>
                    <a:pt x="105" y="221"/>
                    <a:pt x="112" y="221"/>
                  </a:cubicBezTo>
                  <a:cubicBezTo>
                    <a:pt x="119" y="221"/>
                    <a:pt x="115" y="213"/>
                    <a:pt x="115" y="213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32" y="209"/>
                    <a:pt x="132" y="209"/>
                    <a:pt x="132" y="209"/>
                  </a:cubicBezTo>
                  <a:cubicBezTo>
                    <a:pt x="158" y="207"/>
                    <a:pt x="158" y="207"/>
                    <a:pt x="158" y="207"/>
                  </a:cubicBezTo>
                  <a:cubicBezTo>
                    <a:pt x="158" y="207"/>
                    <a:pt x="166" y="206"/>
                    <a:pt x="167" y="203"/>
                  </a:cubicBezTo>
                  <a:cubicBezTo>
                    <a:pt x="168" y="200"/>
                    <a:pt x="165" y="192"/>
                    <a:pt x="165" y="192"/>
                  </a:cubicBezTo>
                  <a:cubicBezTo>
                    <a:pt x="165" y="192"/>
                    <a:pt x="162" y="185"/>
                    <a:pt x="164" y="181"/>
                  </a:cubicBezTo>
                  <a:cubicBezTo>
                    <a:pt x="166" y="177"/>
                    <a:pt x="177" y="180"/>
                    <a:pt x="177" y="180"/>
                  </a:cubicBezTo>
                  <a:cubicBezTo>
                    <a:pt x="177" y="180"/>
                    <a:pt x="181" y="173"/>
                    <a:pt x="183" y="169"/>
                  </a:cubicBezTo>
                  <a:cubicBezTo>
                    <a:pt x="185" y="165"/>
                    <a:pt x="180" y="159"/>
                    <a:pt x="180" y="159"/>
                  </a:cubicBezTo>
                  <a:close/>
                  <a:moveTo>
                    <a:pt x="24" y="144"/>
                  </a:moveTo>
                  <a:cubicBezTo>
                    <a:pt x="25" y="144"/>
                    <a:pt x="26" y="144"/>
                    <a:pt x="27" y="144"/>
                  </a:cubicBezTo>
                  <a:cubicBezTo>
                    <a:pt x="26" y="144"/>
                    <a:pt x="25" y="144"/>
                    <a:pt x="24" y="144"/>
                  </a:cubicBezTo>
                  <a:close/>
                  <a:moveTo>
                    <a:pt x="24" y="144"/>
                  </a:moveTo>
                  <a:cubicBezTo>
                    <a:pt x="22" y="144"/>
                    <a:pt x="19" y="144"/>
                    <a:pt x="18" y="143"/>
                  </a:cubicBezTo>
                  <a:cubicBezTo>
                    <a:pt x="19" y="144"/>
                    <a:pt x="22" y="144"/>
                    <a:pt x="24" y="144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77" name="Freeform 357">
              <a:extLst>
                <a:ext uri="{FF2B5EF4-FFF2-40B4-BE49-F238E27FC236}">
                  <a16:creationId xmlns:a16="http://schemas.microsoft.com/office/drawing/2014/main" id="{C791B086-7CEE-7F5E-4F1C-5B1269DB14C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22397" y="-18756"/>
              <a:ext cx="4840" cy="2093"/>
            </a:xfrm>
            <a:custGeom>
              <a:avLst/>
              <a:gdLst>
                <a:gd name="T0" fmla="*/ 1650 w 2049"/>
                <a:gd name="T1" fmla="*/ 628 h 886"/>
                <a:gd name="T2" fmla="*/ 1600 w 2049"/>
                <a:gd name="T3" fmla="*/ 619 h 886"/>
                <a:gd name="T4" fmla="*/ 1594 w 2049"/>
                <a:gd name="T5" fmla="*/ 717 h 886"/>
                <a:gd name="T6" fmla="*/ 1594 w 2049"/>
                <a:gd name="T7" fmla="*/ 777 h 886"/>
                <a:gd name="T8" fmla="*/ 1677 w 2049"/>
                <a:gd name="T9" fmla="*/ 696 h 886"/>
                <a:gd name="T10" fmla="*/ 1691 w 2049"/>
                <a:gd name="T11" fmla="*/ 558 h 886"/>
                <a:gd name="T12" fmla="*/ 1597 w 2049"/>
                <a:gd name="T13" fmla="*/ 572 h 886"/>
                <a:gd name="T14" fmla="*/ 1561 w 2049"/>
                <a:gd name="T15" fmla="*/ 513 h 886"/>
                <a:gd name="T16" fmla="*/ 2008 w 2049"/>
                <a:gd name="T17" fmla="*/ 53 h 886"/>
                <a:gd name="T18" fmla="*/ 1735 w 2049"/>
                <a:gd name="T19" fmla="*/ 24 h 886"/>
                <a:gd name="T20" fmla="*/ 1622 w 2049"/>
                <a:gd name="T21" fmla="*/ 0 h 886"/>
                <a:gd name="T22" fmla="*/ 1141 w 2049"/>
                <a:gd name="T23" fmla="*/ 107 h 886"/>
                <a:gd name="T24" fmla="*/ 1138 w 2049"/>
                <a:gd name="T25" fmla="*/ 211 h 886"/>
                <a:gd name="T26" fmla="*/ 1051 w 2049"/>
                <a:gd name="T27" fmla="*/ 238 h 886"/>
                <a:gd name="T28" fmla="*/ 837 w 2049"/>
                <a:gd name="T29" fmla="*/ 261 h 886"/>
                <a:gd name="T30" fmla="*/ 939 w 2049"/>
                <a:gd name="T31" fmla="*/ 316 h 886"/>
                <a:gd name="T32" fmla="*/ 1037 w 2049"/>
                <a:gd name="T33" fmla="*/ 311 h 886"/>
                <a:gd name="T34" fmla="*/ 898 w 2049"/>
                <a:gd name="T35" fmla="*/ 357 h 886"/>
                <a:gd name="T36" fmla="*/ 745 w 2049"/>
                <a:gd name="T37" fmla="*/ 404 h 886"/>
                <a:gd name="T38" fmla="*/ 643 w 2049"/>
                <a:gd name="T39" fmla="*/ 462 h 886"/>
                <a:gd name="T40" fmla="*/ 689 w 2049"/>
                <a:gd name="T41" fmla="*/ 491 h 886"/>
                <a:gd name="T42" fmla="*/ 619 w 2049"/>
                <a:gd name="T43" fmla="*/ 510 h 886"/>
                <a:gd name="T44" fmla="*/ 678 w 2049"/>
                <a:gd name="T45" fmla="*/ 554 h 886"/>
                <a:gd name="T46" fmla="*/ 694 w 2049"/>
                <a:gd name="T47" fmla="*/ 576 h 886"/>
                <a:gd name="T48" fmla="*/ 785 w 2049"/>
                <a:gd name="T49" fmla="*/ 580 h 886"/>
                <a:gd name="T50" fmla="*/ 815 w 2049"/>
                <a:gd name="T51" fmla="*/ 598 h 886"/>
                <a:gd name="T52" fmla="*/ 697 w 2049"/>
                <a:gd name="T53" fmla="*/ 654 h 886"/>
                <a:gd name="T54" fmla="*/ 491 w 2049"/>
                <a:gd name="T55" fmla="*/ 747 h 886"/>
                <a:gd name="T56" fmla="*/ 385 w 2049"/>
                <a:gd name="T57" fmla="*/ 763 h 886"/>
                <a:gd name="T58" fmla="*/ 373 w 2049"/>
                <a:gd name="T59" fmla="*/ 783 h 886"/>
                <a:gd name="T60" fmla="*/ 514 w 2049"/>
                <a:gd name="T61" fmla="*/ 746 h 886"/>
                <a:gd name="T62" fmla="*/ 653 w 2049"/>
                <a:gd name="T63" fmla="*/ 697 h 886"/>
                <a:gd name="T64" fmla="*/ 841 w 2049"/>
                <a:gd name="T65" fmla="*/ 628 h 886"/>
                <a:gd name="T66" fmla="*/ 1015 w 2049"/>
                <a:gd name="T67" fmla="*/ 545 h 886"/>
                <a:gd name="T68" fmla="*/ 1234 w 2049"/>
                <a:gd name="T69" fmla="*/ 485 h 886"/>
                <a:gd name="T70" fmla="*/ 1075 w 2049"/>
                <a:gd name="T71" fmla="*/ 536 h 886"/>
                <a:gd name="T72" fmla="*/ 1211 w 2049"/>
                <a:gd name="T73" fmla="*/ 530 h 886"/>
                <a:gd name="T74" fmla="*/ 1336 w 2049"/>
                <a:gd name="T75" fmla="*/ 492 h 886"/>
                <a:gd name="T76" fmla="*/ 1472 w 2049"/>
                <a:gd name="T77" fmla="*/ 532 h 886"/>
                <a:gd name="T78" fmla="*/ 1541 w 2049"/>
                <a:gd name="T79" fmla="*/ 573 h 886"/>
                <a:gd name="T80" fmla="*/ 1630 w 2049"/>
                <a:gd name="T81" fmla="*/ 585 h 886"/>
                <a:gd name="T82" fmla="*/ 1679 w 2049"/>
                <a:gd name="T83" fmla="*/ 607 h 886"/>
                <a:gd name="T84" fmla="*/ 1636 w 2049"/>
                <a:gd name="T85" fmla="*/ 670 h 886"/>
                <a:gd name="T86" fmla="*/ 1660 w 2049"/>
                <a:gd name="T87" fmla="*/ 733 h 886"/>
                <a:gd name="T88" fmla="*/ 1623 w 2049"/>
                <a:gd name="T89" fmla="*/ 785 h 886"/>
                <a:gd name="T90" fmla="*/ 1707 w 2049"/>
                <a:gd name="T91" fmla="*/ 721 h 886"/>
                <a:gd name="T92" fmla="*/ 1598 w 2049"/>
                <a:gd name="T93" fmla="*/ 704 h 886"/>
                <a:gd name="T94" fmla="*/ 1546 w 2049"/>
                <a:gd name="T95" fmla="*/ 720 h 886"/>
                <a:gd name="T96" fmla="*/ 510 w 2049"/>
                <a:gd name="T97" fmla="*/ 517 h 886"/>
                <a:gd name="T98" fmla="*/ 76 w 2049"/>
                <a:gd name="T99" fmla="*/ 849 h 886"/>
                <a:gd name="T100" fmla="*/ 859 w 2049"/>
                <a:gd name="T101" fmla="*/ 663 h 886"/>
                <a:gd name="T102" fmla="*/ 881 w 2049"/>
                <a:gd name="T103" fmla="*/ 664 h 886"/>
                <a:gd name="T104" fmla="*/ 908 w 2049"/>
                <a:gd name="T105" fmla="*/ 635 h 886"/>
                <a:gd name="T106" fmla="*/ 1646 w 2049"/>
                <a:gd name="T107" fmla="*/ 762 h 886"/>
                <a:gd name="T108" fmla="*/ 923 w 2049"/>
                <a:gd name="T109" fmla="*/ 630 h 886"/>
                <a:gd name="T110" fmla="*/ 290 w 2049"/>
                <a:gd name="T111" fmla="*/ 788 h 886"/>
                <a:gd name="T112" fmla="*/ 221 w 2049"/>
                <a:gd name="T113" fmla="*/ 814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49" h="886">
                  <a:moveTo>
                    <a:pt x="1636" y="622"/>
                  </a:moveTo>
                  <a:cubicBezTo>
                    <a:pt x="1628" y="629"/>
                    <a:pt x="1614" y="645"/>
                    <a:pt x="1614" y="645"/>
                  </a:cubicBezTo>
                  <a:cubicBezTo>
                    <a:pt x="1602" y="669"/>
                    <a:pt x="1602" y="669"/>
                    <a:pt x="1602" y="669"/>
                  </a:cubicBezTo>
                  <a:cubicBezTo>
                    <a:pt x="1602" y="669"/>
                    <a:pt x="1623" y="665"/>
                    <a:pt x="1633" y="656"/>
                  </a:cubicBezTo>
                  <a:cubicBezTo>
                    <a:pt x="1643" y="647"/>
                    <a:pt x="1640" y="638"/>
                    <a:pt x="1640" y="638"/>
                  </a:cubicBezTo>
                  <a:cubicBezTo>
                    <a:pt x="1650" y="628"/>
                    <a:pt x="1650" y="628"/>
                    <a:pt x="1650" y="628"/>
                  </a:cubicBezTo>
                  <a:cubicBezTo>
                    <a:pt x="1650" y="628"/>
                    <a:pt x="1644" y="615"/>
                    <a:pt x="1636" y="622"/>
                  </a:cubicBezTo>
                  <a:close/>
                  <a:moveTo>
                    <a:pt x="1600" y="619"/>
                  </a:moveTo>
                  <a:cubicBezTo>
                    <a:pt x="1600" y="619"/>
                    <a:pt x="1575" y="626"/>
                    <a:pt x="1576" y="633"/>
                  </a:cubicBezTo>
                  <a:cubicBezTo>
                    <a:pt x="1577" y="640"/>
                    <a:pt x="1586" y="650"/>
                    <a:pt x="1586" y="650"/>
                  </a:cubicBezTo>
                  <a:cubicBezTo>
                    <a:pt x="1597" y="654"/>
                    <a:pt x="1614" y="646"/>
                    <a:pt x="1614" y="636"/>
                  </a:cubicBezTo>
                  <a:cubicBezTo>
                    <a:pt x="1614" y="626"/>
                    <a:pt x="1600" y="619"/>
                    <a:pt x="1600" y="619"/>
                  </a:cubicBezTo>
                  <a:close/>
                  <a:moveTo>
                    <a:pt x="1544" y="792"/>
                  </a:moveTo>
                  <a:cubicBezTo>
                    <a:pt x="1553" y="793"/>
                    <a:pt x="1553" y="793"/>
                    <a:pt x="1553" y="793"/>
                  </a:cubicBezTo>
                  <a:cubicBezTo>
                    <a:pt x="1559" y="768"/>
                    <a:pt x="1559" y="768"/>
                    <a:pt x="1559" y="768"/>
                  </a:cubicBezTo>
                  <a:cubicBezTo>
                    <a:pt x="1548" y="773"/>
                    <a:pt x="1548" y="773"/>
                    <a:pt x="1548" y="773"/>
                  </a:cubicBezTo>
                  <a:lnTo>
                    <a:pt x="1544" y="792"/>
                  </a:lnTo>
                  <a:close/>
                  <a:moveTo>
                    <a:pt x="1594" y="717"/>
                  </a:moveTo>
                  <a:cubicBezTo>
                    <a:pt x="1581" y="726"/>
                    <a:pt x="1581" y="726"/>
                    <a:pt x="1581" y="726"/>
                  </a:cubicBezTo>
                  <a:cubicBezTo>
                    <a:pt x="1581" y="726"/>
                    <a:pt x="1587" y="732"/>
                    <a:pt x="1591" y="733"/>
                  </a:cubicBezTo>
                  <a:cubicBezTo>
                    <a:pt x="1595" y="734"/>
                    <a:pt x="1577" y="743"/>
                    <a:pt x="1573" y="745"/>
                  </a:cubicBezTo>
                  <a:cubicBezTo>
                    <a:pt x="1569" y="747"/>
                    <a:pt x="1563" y="758"/>
                    <a:pt x="1568" y="767"/>
                  </a:cubicBezTo>
                  <a:cubicBezTo>
                    <a:pt x="1573" y="776"/>
                    <a:pt x="1572" y="794"/>
                    <a:pt x="1572" y="794"/>
                  </a:cubicBezTo>
                  <a:cubicBezTo>
                    <a:pt x="1572" y="794"/>
                    <a:pt x="1586" y="786"/>
                    <a:pt x="1594" y="777"/>
                  </a:cubicBezTo>
                  <a:cubicBezTo>
                    <a:pt x="1602" y="768"/>
                    <a:pt x="1590" y="756"/>
                    <a:pt x="1590" y="756"/>
                  </a:cubicBezTo>
                  <a:cubicBezTo>
                    <a:pt x="1590" y="756"/>
                    <a:pt x="1600" y="755"/>
                    <a:pt x="1609" y="745"/>
                  </a:cubicBezTo>
                  <a:cubicBezTo>
                    <a:pt x="1618" y="735"/>
                    <a:pt x="1594" y="717"/>
                    <a:pt x="1594" y="717"/>
                  </a:cubicBezTo>
                  <a:close/>
                  <a:moveTo>
                    <a:pt x="1707" y="721"/>
                  </a:moveTo>
                  <a:cubicBezTo>
                    <a:pt x="1707" y="721"/>
                    <a:pt x="1700" y="719"/>
                    <a:pt x="1700" y="714"/>
                  </a:cubicBezTo>
                  <a:cubicBezTo>
                    <a:pt x="1700" y="710"/>
                    <a:pt x="1672" y="709"/>
                    <a:pt x="1677" y="696"/>
                  </a:cubicBezTo>
                  <a:cubicBezTo>
                    <a:pt x="1682" y="683"/>
                    <a:pt x="1688" y="666"/>
                    <a:pt x="1688" y="666"/>
                  </a:cubicBezTo>
                  <a:cubicBezTo>
                    <a:pt x="1688" y="642"/>
                    <a:pt x="1688" y="642"/>
                    <a:pt x="1688" y="642"/>
                  </a:cubicBezTo>
                  <a:cubicBezTo>
                    <a:pt x="1688" y="642"/>
                    <a:pt x="1705" y="623"/>
                    <a:pt x="1698" y="606"/>
                  </a:cubicBezTo>
                  <a:cubicBezTo>
                    <a:pt x="1692" y="588"/>
                    <a:pt x="1685" y="586"/>
                    <a:pt x="1685" y="586"/>
                  </a:cubicBezTo>
                  <a:cubicBezTo>
                    <a:pt x="1691" y="575"/>
                    <a:pt x="1691" y="575"/>
                    <a:pt x="1691" y="575"/>
                  </a:cubicBezTo>
                  <a:cubicBezTo>
                    <a:pt x="1691" y="558"/>
                    <a:pt x="1691" y="558"/>
                    <a:pt x="1691" y="558"/>
                  </a:cubicBezTo>
                  <a:cubicBezTo>
                    <a:pt x="1691" y="558"/>
                    <a:pt x="1718" y="548"/>
                    <a:pt x="1699" y="542"/>
                  </a:cubicBezTo>
                  <a:cubicBezTo>
                    <a:pt x="1681" y="537"/>
                    <a:pt x="1653" y="547"/>
                    <a:pt x="1653" y="547"/>
                  </a:cubicBezTo>
                  <a:cubicBezTo>
                    <a:pt x="1651" y="555"/>
                    <a:pt x="1651" y="555"/>
                    <a:pt x="1651" y="555"/>
                  </a:cubicBezTo>
                  <a:cubicBezTo>
                    <a:pt x="1639" y="555"/>
                    <a:pt x="1639" y="555"/>
                    <a:pt x="1639" y="555"/>
                  </a:cubicBezTo>
                  <a:cubicBezTo>
                    <a:pt x="1639" y="555"/>
                    <a:pt x="1633" y="565"/>
                    <a:pt x="1625" y="565"/>
                  </a:cubicBezTo>
                  <a:cubicBezTo>
                    <a:pt x="1618" y="565"/>
                    <a:pt x="1597" y="572"/>
                    <a:pt x="1597" y="572"/>
                  </a:cubicBezTo>
                  <a:cubicBezTo>
                    <a:pt x="1597" y="572"/>
                    <a:pt x="1581" y="585"/>
                    <a:pt x="1575" y="585"/>
                  </a:cubicBezTo>
                  <a:cubicBezTo>
                    <a:pt x="1570" y="585"/>
                    <a:pt x="1589" y="566"/>
                    <a:pt x="1589" y="566"/>
                  </a:cubicBezTo>
                  <a:cubicBezTo>
                    <a:pt x="1589" y="566"/>
                    <a:pt x="1570" y="558"/>
                    <a:pt x="1570" y="547"/>
                  </a:cubicBezTo>
                  <a:cubicBezTo>
                    <a:pt x="1570" y="537"/>
                    <a:pt x="1570" y="528"/>
                    <a:pt x="1570" y="528"/>
                  </a:cubicBezTo>
                  <a:cubicBezTo>
                    <a:pt x="1585" y="513"/>
                    <a:pt x="1585" y="513"/>
                    <a:pt x="1585" y="513"/>
                  </a:cubicBezTo>
                  <a:cubicBezTo>
                    <a:pt x="1561" y="513"/>
                    <a:pt x="1561" y="513"/>
                    <a:pt x="1561" y="513"/>
                  </a:cubicBezTo>
                  <a:cubicBezTo>
                    <a:pt x="1561" y="513"/>
                    <a:pt x="1552" y="518"/>
                    <a:pt x="1549" y="518"/>
                  </a:cubicBezTo>
                  <a:cubicBezTo>
                    <a:pt x="1549" y="518"/>
                    <a:pt x="1520" y="524"/>
                    <a:pt x="1514" y="518"/>
                  </a:cubicBezTo>
                  <a:cubicBezTo>
                    <a:pt x="1508" y="512"/>
                    <a:pt x="1534" y="498"/>
                    <a:pt x="1534" y="498"/>
                  </a:cubicBezTo>
                  <a:cubicBezTo>
                    <a:pt x="2049" y="74"/>
                    <a:pt x="2049" y="74"/>
                    <a:pt x="2049" y="74"/>
                  </a:cubicBezTo>
                  <a:cubicBezTo>
                    <a:pt x="2037" y="74"/>
                    <a:pt x="2037" y="74"/>
                    <a:pt x="2037" y="74"/>
                  </a:cubicBezTo>
                  <a:cubicBezTo>
                    <a:pt x="2037" y="74"/>
                    <a:pt x="2034" y="51"/>
                    <a:pt x="2008" y="53"/>
                  </a:cubicBezTo>
                  <a:cubicBezTo>
                    <a:pt x="1982" y="55"/>
                    <a:pt x="1951" y="64"/>
                    <a:pt x="1947" y="64"/>
                  </a:cubicBezTo>
                  <a:cubicBezTo>
                    <a:pt x="1943" y="64"/>
                    <a:pt x="1916" y="50"/>
                    <a:pt x="1912" y="48"/>
                  </a:cubicBezTo>
                  <a:cubicBezTo>
                    <a:pt x="1908" y="46"/>
                    <a:pt x="1858" y="47"/>
                    <a:pt x="1858" y="47"/>
                  </a:cubicBezTo>
                  <a:cubicBezTo>
                    <a:pt x="1858" y="47"/>
                    <a:pt x="1842" y="39"/>
                    <a:pt x="1824" y="37"/>
                  </a:cubicBezTo>
                  <a:cubicBezTo>
                    <a:pt x="1806" y="35"/>
                    <a:pt x="1735" y="38"/>
                    <a:pt x="1732" y="38"/>
                  </a:cubicBezTo>
                  <a:cubicBezTo>
                    <a:pt x="1729" y="38"/>
                    <a:pt x="1735" y="24"/>
                    <a:pt x="1735" y="24"/>
                  </a:cubicBezTo>
                  <a:cubicBezTo>
                    <a:pt x="1735" y="24"/>
                    <a:pt x="1699" y="19"/>
                    <a:pt x="1694" y="18"/>
                  </a:cubicBezTo>
                  <a:cubicBezTo>
                    <a:pt x="1689" y="17"/>
                    <a:pt x="1656" y="24"/>
                    <a:pt x="1656" y="24"/>
                  </a:cubicBezTo>
                  <a:cubicBezTo>
                    <a:pt x="1676" y="2"/>
                    <a:pt x="1676" y="2"/>
                    <a:pt x="1676" y="2"/>
                  </a:cubicBezTo>
                  <a:cubicBezTo>
                    <a:pt x="1621" y="24"/>
                    <a:pt x="1621" y="24"/>
                    <a:pt x="1621" y="24"/>
                  </a:cubicBezTo>
                  <a:cubicBezTo>
                    <a:pt x="1642" y="2"/>
                    <a:pt x="1642" y="2"/>
                    <a:pt x="1642" y="2"/>
                  </a:cubicBezTo>
                  <a:cubicBezTo>
                    <a:pt x="1622" y="0"/>
                    <a:pt x="1622" y="0"/>
                    <a:pt x="1622" y="0"/>
                  </a:cubicBezTo>
                  <a:cubicBezTo>
                    <a:pt x="1622" y="0"/>
                    <a:pt x="1591" y="22"/>
                    <a:pt x="1561" y="22"/>
                  </a:cubicBezTo>
                  <a:cubicBezTo>
                    <a:pt x="1531" y="22"/>
                    <a:pt x="1485" y="16"/>
                    <a:pt x="1477" y="24"/>
                  </a:cubicBezTo>
                  <a:cubicBezTo>
                    <a:pt x="1469" y="32"/>
                    <a:pt x="1439" y="39"/>
                    <a:pt x="1439" y="39"/>
                  </a:cubicBezTo>
                  <a:cubicBezTo>
                    <a:pt x="1439" y="39"/>
                    <a:pt x="1390" y="39"/>
                    <a:pt x="1364" y="42"/>
                  </a:cubicBezTo>
                  <a:cubicBezTo>
                    <a:pt x="1338" y="45"/>
                    <a:pt x="1277" y="91"/>
                    <a:pt x="1235" y="97"/>
                  </a:cubicBezTo>
                  <a:cubicBezTo>
                    <a:pt x="1193" y="103"/>
                    <a:pt x="1141" y="107"/>
                    <a:pt x="1141" y="107"/>
                  </a:cubicBezTo>
                  <a:cubicBezTo>
                    <a:pt x="1141" y="107"/>
                    <a:pt x="1078" y="128"/>
                    <a:pt x="1081" y="133"/>
                  </a:cubicBezTo>
                  <a:cubicBezTo>
                    <a:pt x="1084" y="138"/>
                    <a:pt x="1105" y="149"/>
                    <a:pt x="1105" y="149"/>
                  </a:cubicBezTo>
                  <a:cubicBezTo>
                    <a:pt x="1105" y="149"/>
                    <a:pt x="1118" y="172"/>
                    <a:pt x="1112" y="175"/>
                  </a:cubicBezTo>
                  <a:cubicBezTo>
                    <a:pt x="1106" y="178"/>
                    <a:pt x="1097" y="187"/>
                    <a:pt x="1097" y="187"/>
                  </a:cubicBezTo>
                  <a:cubicBezTo>
                    <a:pt x="1157" y="188"/>
                    <a:pt x="1157" y="188"/>
                    <a:pt x="1157" y="188"/>
                  </a:cubicBezTo>
                  <a:cubicBezTo>
                    <a:pt x="1138" y="211"/>
                    <a:pt x="1138" y="211"/>
                    <a:pt x="1138" y="211"/>
                  </a:cubicBezTo>
                  <a:cubicBezTo>
                    <a:pt x="1182" y="213"/>
                    <a:pt x="1182" y="213"/>
                    <a:pt x="1182" y="213"/>
                  </a:cubicBezTo>
                  <a:cubicBezTo>
                    <a:pt x="1175" y="225"/>
                    <a:pt x="1175" y="225"/>
                    <a:pt x="1175" y="225"/>
                  </a:cubicBezTo>
                  <a:cubicBezTo>
                    <a:pt x="1139" y="224"/>
                    <a:pt x="1139" y="224"/>
                    <a:pt x="1139" y="224"/>
                  </a:cubicBezTo>
                  <a:cubicBezTo>
                    <a:pt x="1132" y="232"/>
                    <a:pt x="1132" y="232"/>
                    <a:pt x="1132" y="232"/>
                  </a:cubicBezTo>
                  <a:cubicBezTo>
                    <a:pt x="1110" y="232"/>
                    <a:pt x="1110" y="232"/>
                    <a:pt x="1110" y="232"/>
                  </a:cubicBezTo>
                  <a:cubicBezTo>
                    <a:pt x="1110" y="232"/>
                    <a:pt x="1076" y="238"/>
                    <a:pt x="1051" y="238"/>
                  </a:cubicBezTo>
                  <a:cubicBezTo>
                    <a:pt x="1026" y="238"/>
                    <a:pt x="1031" y="228"/>
                    <a:pt x="1045" y="223"/>
                  </a:cubicBezTo>
                  <a:cubicBezTo>
                    <a:pt x="1059" y="218"/>
                    <a:pt x="1017" y="215"/>
                    <a:pt x="1017" y="215"/>
                  </a:cubicBezTo>
                  <a:cubicBezTo>
                    <a:pt x="1017" y="215"/>
                    <a:pt x="969" y="213"/>
                    <a:pt x="967" y="221"/>
                  </a:cubicBezTo>
                  <a:cubicBezTo>
                    <a:pt x="965" y="229"/>
                    <a:pt x="969" y="234"/>
                    <a:pt x="969" y="234"/>
                  </a:cubicBezTo>
                  <a:cubicBezTo>
                    <a:pt x="969" y="234"/>
                    <a:pt x="934" y="236"/>
                    <a:pt x="911" y="239"/>
                  </a:cubicBezTo>
                  <a:cubicBezTo>
                    <a:pt x="888" y="242"/>
                    <a:pt x="820" y="255"/>
                    <a:pt x="837" y="261"/>
                  </a:cubicBezTo>
                  <a:cubicBezTo>
                    <a:pt x="854" y="267"/>
                    <a:pt x="877" y="270"/>
                    <a:pt x="877" y="270"/>
                  </a:cubicBezTo>
                  <a:cubicBezTo>
                    <a:pt x="848" y="280"/>
                    <a:pt x="848" y="280"/>
                    <a:pt x="848" y="280"/>
                  </a:cubicBezTo>
                  <a:cubicBezTo>
                    <a:pt x="840" y="307"/>
                    <a:pt x="840" y="307"/>
                    <a:pt x="840" y="307"/>
                  </a:cubicBezTo>
                  <a:cubicBezTo>
                    <a:pt x="840" y="307"/>
                    <a:pt x="864" y="311"/>
                    <a:pt x="880" y="311"/>
                  </a:cubicBezTo>
                  <a:cubicBezTo>
                    <a:pt x="896" y="311"/>
                    <a:pt x="910" y="308"/>
                    <a:pt x="910" y="308"/>
                  </a:cubicBezTo>
                  <a:cubicBezTo>
                    <a:pt x="939" y="316"/>
                    <a:pt x="939" y="316"/>
                    <a:pt x="939" y="316"/>
                  </a:cubicBezTo>
                  <a:cubicBezTo>
                    <a:pt x="948" y="304"/>
                    <a:pt x="948" y="304"/>
                    <a:pt x="948" y="304"/>
                  </a:cubicBezTo>
                  <a:cubicBezTo>
                    <a:pt x="957" y="315"/>
                    <a:pt x="957" y="315"/>
                    <a:pt x="957" y="315"/>
                  </a:cubicBezTo>
                  <a:cubicBezTo>
                    <a:pt x="957" y="315"/>
                    <a:pt x="989" y="297"/>
                    <a:pt x="994" y="297"/>
                  </a:cubicBezTo>
                  <a:cubicBezTo>
                    <a:pt x="999" y="297"/>
                    <a:pt x="1007" y="303"/>
                    <a:pt x="1017" y="299"/>
                  </a:cubicBezTo>
                  <a:cubicBezTo>
                    <a:pt x="1027" y="295"/>
                    <a:pt x="1045" y="281"/>
                    <a:pt x="1046" y="290"/>
                  </a:cubicBezTo>
                  <a:cubicBezTo>
                    <a:pt x="1047" y="299"/>
                    <a:pt x="1037" y="311"/>
                    <a:pt x="1037" y="311"/>
                  </a:cubicBezTo>
                  <a:cubicBezTo>
                    <a:pt x="999" y="312"/>
                    <a:pt x="999" y="312"/>
                    <a:pt x="999" y="312"/>
                  </a:cubicBezTo>
                  <a:cubicBezTo>
                    <a:pt x="1004" y="333"/>
                    <a:pt x="1004" y="333"/>
                    <a:pt x="1004" y="333"/>
                  </a:cubicBezTo>
                  <a:cubicBezTo>
                    <a:pt x="1004" y="333"/>
                    <a:pt x="976" y="360"/>
                    <a:pt x="958" y="361"/>
                  </a:cubicBezTo>
                  <a:cubicBezTo>
                    <a:pt x="940" y="362"/>
                    <a:pt x="920" y="362"/>
                    <a:pt x="920" y="362"/>
                  </a:cubicBezTo>
                  <a:cubicBezTo>
                    <a:pt x="910" y="350"/>
                    <a:pt x="910" y="350"/>
                    <a:pt x="910" y="350"/>
                  </a:cubicBezTo>
                  <a:cubicBezTo>
                    <a:pt x="898" y="357"/>
                    <a:pt x="898" y="357"/>
                    <a:pt x="898" y="357"/>
                  </a:cubicBezTo>
                  <a:cubicBezTo>
                    <a:pt x="898" y="365"/>
                    <a:pt x="898" y="365"/>
                    <a:pt x="898" y="365"/>
                  </a:cubicBezTo>
                  <a:cubicBezTo>
                    <a:pt x="898" y="365"/>
                    <a:pt x="857" y="389"/>
                    <a:pt x="844" y="381"/>
                  </a:cubicBezTo>
                  <a:cubicBezTo>
                    <a:pt x="831" y="373"/>
                    <a:pt x="824" y="371"/>
                    <a:pt x="824" y="371"/>
                  </a:cubicBezTo>
                  <a:cubicBezTo>
                    <a:pt x="762" y="406"/>
                    <a:pt x="762" y="406"/>
                    <a:pt x="762" y="406"/>
                  </a:cubicBezTo>
                  <a:cubicBezTo>
                    <a:pt x="748" y="418"/>
                    <a:pt x="748" y="418"/>
                    <a:pt x="748" y="418"/>
                  </a:cubicBezTo>
                  <a:cubicBezTo>
                    <a:pt x="745" y="404"/>
                    <a:pt x="745" y="404"/>
                    <a:pt x="745" y="404"/>
                  </a:cubicBezTo>
                  <a:cubicBezTo>
                    <a:pt x="745" y="404"/>
                    <a:pt x="720" y="415"/>
                    <a:pt x="706" y="420"/>
                  </a:cubicBezTo>
                  <a:cubicBezTo>
                    <a:pt x="692" y="425"/>
                    <a:pt x="682" y="440"/>
                    <a:pt x="682" y="440"/>
                  </a:cubicBezTo>
                  <a:cubicBezTo>
                    <a:pt x="662" y="434"/>
                    <a:pt x="662" y="434"/>
                    <a:pt x="662" y="434"/>
                  </a:cubicBezTo>
                  <a:cubicBezTo>
                    <a:pt x="662" y="447"/>
                    <a:pt x="662" y="447"/>
                    <a:pt x="662" y="447"/>
                  </a:cubicBezTo>
                  <a:cubicBezTo>
                    <a:pt x="662" y="447"/>
                    <a:pt x="649" y="441"/>
                    <a:pt x="646" y="447"/>
                  </a:cubicBezTo>
                  <a:cubicBezTo>
                    <a:pt x="643" y="453"/>
                    <a:pt x="643" y="462"/>
                    <a:pt x="643" y="462"/>
                  </a:cubicBezTo>
                  <a:cubicBezTo>
                    <a:pt x="636" y="471"/>
                    <a:pt x="636" y="471"/>
                    <a:pt x="636" y="471"/>
                  </a:cubicBezTo>
                  <a:cubicBezTo>
                    <a:pt x="676" y="457"/>
                    <a:pt x="676" y="457"/>
                    <a:pt x="676" y="457"/>
                  </a:cubicBezTo>
                  <a:cubicBezTo>
                    <a:pt x="661" y="469"/>
                    <a:pt x="661" y="469"/>
                    <a:pt x="661" y="469"/>
                  </a:cubicBezTo>
                  <a:cubicBezTo>
                    <a:pt x="661" y="475"/>
                    <a:pt x="661" y="475"/>
                    <a:pt x="661" y="475"/>
                  </a:cubicBezTo>
                  <a:cubicBezTo>
                    <a:pt x="648" y="483"/>
                    <a:pt x="648" y="483"/>
                    <a:pt x="648" y="483"/>
                  </a:cubicBezTo>
                  <a:cubicBezTo>
                    <a:pt x="648" y="483"/>
                    <a:pt x="698" y="482"/>
                    <a:pt x="689" y="491"/>
                  </a:cubicBezTo>
                  <a:cubicBezTo>
                    <a:pt x="680" y="500"/>
                    <a:pt x="658" y="498"/>
                    <a:pt x="658" y="498"/>
                  </a:cubicBezTo>
                  <a:cubicBezTo>
                    <a:pt x="641" y="502"/>
                    <a:pt x="641" y="502"/>
                    <a:pt x="641" y="502"/>
                  </a:cubicBezTo>
                  <a:cubicBezTo>
                    <a:pt x="649" y="494"/>
                    <a:pt x="649" y="494"/>
                    <a:pt x="649" y="494"/>
                  </a:cubicBezTo>
                  <a:cubicBezTo>
                    <a:pt x="640" y="489"/>
                    <a:pt x="640" y="489"/>
                    <a:pt x="640" y="489"/>
                  </a:cubicBezTo>
                  <a:cubicBezTo>
                    <a:pt x="640" y="489"/>
                    <a:pt x="611" y="500"/>
                    <a:pt x="612" y="503"/>
                  </a:cubicBezTo>
                  <a:cubicBezTo>
                    <a:pt x="613" y="506"/>
                    <a:pt x="619" y="510"/>
                    <a:pt x="619" y="510"/>
                  </a:cubicBezTo>
                  <a:cubicBezTo>
                    <a:pt x="619" y="510"/>
                    <a:pt x="608" y="537"/>
                    <a:pt x="612" y="538"/>
                  </a:cubicBezTo>
                  <a:cubicBezTo>
                    <a:pt x="616" y="539"/>
                    <a:pt x="659" y="536"/>
                    <a:pt x="659" y="536"/>
                  </a:cubicBezTo>
                  <a:cubicBezTo>
                    <a:pt x="691" y="518"/>
                    <a:pt x="691" y="518"/>
                    <a:pt x="691" y="518"/>
                  </a:cubicBezTo>
                  <a:cubicBezTo>
                    <a:pt x="738" y="499"/>
                    <a:pt x="738" y="499"/>
                    <a:pt x="738" y="499"/>
                  </a:cubicBezTo>
                  <a:cubicBezTo>
                    <a:pt x="738" y="499"/>
                    <a:pt x="694" y="520"/>
                    <a:pt x="689" y="528"/>
                  </a:cubicBezTo>
                  <a:cubicBezTo>
                    <a:pt x="684" y="536"/>
                    <a:pt x="685" y="552"/>
                    <a:pt x="678" y="554"/>
                  </a:cubicBezTo>
                  <a:cubicBezTo>
                    <a:pt x="671" y="556"/>
                    <a:pt x="659" y="549"/>
                    <a:pt x="653" y="558"/>
                  </a:cubicBezTo>
                  <a:cubicBezTo>
                    <a:pt x="647" y="567"/>
                    <a:pt x="643" y="577"/>
                    <a:pt x="638" y="582"/>
                  </a:cubicBezTo>
                  <a:cubicBezTo>
                    <a:pt x="633" y="587"/>
                    <a:pt x="618" y="596"/>
                    <a:pt x="618" y="596"/>
                  </a:cubicBezTo>
                  <a:cubicBezTo>
                    <a:pt x="654" y="592"/>
                    <a:pt x="654" y="592"/>
                    <a:pt x="654" y="592"/>
                  </a:cubicBezTo>
                  <a:cubicBezTo>
                    <a:pt x="647" y="604"/>
                    <a:pt x="647" y="604"/>
                    <a:pt x="647" y="604"/>
                  </a:cubicBezTo>
                  <a:cubicBezTo>
                    <a:pt x="647" y="604"/>
                    <a:pt x="677" y="573"/>
                    <a:pt x="694" y="576"/>
                  </a:cubicBezTo>
                  <a:cubicBezTo>
                    <a:pt x="711" y="579"/>
                    <a:pt x="702" y="584"/>
                    <a:pt x="702" y="584"/>
                  </a:cubicBezTo>
                  <a:cubicBezTo>
                    <a:pt x="718" y="582"/>
                    <a:pt x="718" y="582"/>
                    <a:pt x="718" y="582"/>
                  </a:cubicBezTo>
                  <a:cubicBezTo>
                    <a:pt x="718" y="582"/>
                    <a:pt x="705" y="607"/>
                    <a:pt x="719" y="607"/>
                  </a:cubicBezTo>
                  <a:cubicBezTo>
                    <a:pt x="733" y="607"/>
                    <a:pt x="750" y="585"/>
                    <a:pt x="750" y="585"/>
                  </a:cubicBezTo>
                  <a:cubicBezTo>
                    <a:pt x="778" y="572"/>
                    <a:pt x="778" y="572"/>
                    <a:pt x="778" y="572"/>
                  </a:cubicBezTo>
                  <a:cubicBezTo>
                    <a:pt x="785" y="580"/>
                    <a:pt x="785" y="580"/>
                    <a:pt x="785" y="580"/>
                  </a:cubicBezTo>
                  <a:cubicBezTo>
                    <a:pt x="765" y="582"/>
                    <a:pt x="765" y="582"/>
                    <a:pt x="765" y="582"/>
                  </a:cubicBezTo>
                  <a:cubicBezTo>
                    <a:pt x="765" y="582"/>
                    <a:pt x="751" y="596"/>
                    <a:pt x="762" y="596"/>
                  </a:cubicBezTo>
                  <a:cubicBezTo>
                    <a:pt x="773" y="596"/>
                    <a:pt x="819" y="583"/>
                    <a:pt x="819" y="583"/>
                  </a:cubicBezTo>
                  <a:cubicBezTo>
                    <a:pt x="847" y="571"/>
                    <a:pt x="847" y="571"/>
                    <a:pt x="847" y="571"/>
                  </a:cubicBezTo>
                  <a:cubicBezTo>
                    <a:pt x="815" y="588"/>
                    <a:pt x="815" y="588"/>
                    <a:pt x="815" y="588"/>
                  </a:cubicBezTo>
                  <a:cubicBezTo>
                    <a:pt x="815" y="598"/>
                    <a:pt x="815" y="598"/>
                    <a:pt x="815" y="598"/>
                  </a:cubicBezTo>
                  <a:cubicBezTo>
                    <a:pt x="815" y="598"/>
                    <a:pt x="797" y="599"/>
                    <a:pt x="786" y="603"/>
                  </a:cubicBezTo>
                  <a:cubicBezTo>
                    <a:pt x="775" y="607"/>
                    <a:pt x="767" y="620"/>
                    <a:pt x="767" y="620"/>
                  </a:cubicBezTo>
                  <a:cubicBezTo>
                    <a:pt x="747" y="622"/>
                    <a:pt x="747" y="622"/>
                    <a:pt x="747" y="622"/>
                  </a:cubicBezTo>
                  <a:cubicBezTo>
                    <a:pt x="723" y="642"/>
                    <a:pt x="723" y="642"/>
                    <a:pt x="723" y="642"/>
                  </a:cubicBezTo>
                  <a:cubicBezTo>
                    <a:pt x="724" y="651"/>
                    <a:pt x="724" y="651"/>
                    <a:pt x="724" y="651"/>
                  </a:cubicBezTo>
                  <a:cubicBezTo>
                    <a:pt x="697" y="654"/>
                    <a:pt x="697" y="654"/>
                    <a:pt x="697" y="654"/>
                  </a:cubicBezTo>
                  <a:cubicBezTo>
                    <a:pt x="697" y="654"/>
                    <a:pt x="652" y="663"/>
                    <a:pt x="647" y="670"/>
                  </a:cubicBezTo>
                  <a:cubicBezTo>
                    <a:pt x="642" y="677"/>
                    <a:pt x="645" y="691"/>
                    <a:pt x="636" y="691"/>
                  </a:cubicBezTo>
                  <a:cubicBezTo>
                    <a:pt x="627" y="691"/>
                    <a:pt x="600" y="691"/>
                    <a:pt x="584" y="693"/>
                  </a:cubicBezTo>
                  <a:cubicBezTo>
                    <a:pt x="568" y="695"/>
                    <a:pt x="515" y="734"/>
                    <a:pt x="515" y="734"/>
                  </a:cubicBezTo>
                  <a:cubicBezTo>
                    <a:pt x="500" y="737"/>
                    <a:pt x="500" y="737"/>
                    <a:pt x="500" y="737"/>
                  </a:cubicBezTo>
                  <a:cubicBezTo>
                    <a:pt x="491" y="747"/>
                    <a:pt x="491" y="747"/>
                    <a:pt x="491" y="747"/>
                  </a:cubicBezTo>
                  <a:cubicBezTo>
                    <a:pt x="490" y="736"/>
                    <a:pt x="490" y="736"/>
                    <a:pt x="490" y="736"/>
                  </a:cubicBezTo>
                  <a:cubicBezTo>
                    <a:pt x="490" y="736"/>
                    <a:pt x="458" y="732"/>
                    <a:pt x="447" y="738"/>
                  </a:cubicBezTo>
                  <a:cubicBezTo>
                    <a:pt x="436" y="744"/>
                    <a:pt x="412" y="754"/>
                    <a:pt x="412" y="754"/>
                  </a:cubicBezTo>
                  <a:cubicBezTo>
                    <a:pt x="403" y="752"/>
                    <a:pt x="403" y="752"/>
                    <a:pt x="403" y="752"/>
                  </a:cubicBezTo>
                  <a:cubicBezTo>
                    <a:pt x="404" y="760"/>
                    <a:pt x="404" y="760"/>
                    <a:pt x="404" y="760"/>
                  </a:cubicBezTo>
                  <a:cubicBezTo>
                    <a:pt x="385" y="763"/>
                    <a:pt x="385" y="763"/>
                    <a:pt x="385" y="763"/>
                  </a:cubicBezTo>
                  <a:cubicBezTo>
                    <a:pt x="378" y="769"/>
                    <a:pt x="378" y="769"/>
                    <a:pt x="378" y="769"/>
                  </a:cubicBezTo>
                  <a:cubicBezTo>
                    <a:pt x="362" y="767"/>
                    <a:pt x="362" y="767"/>
                    <a:pt x="362" y="767"/>
                  </a:cubicBezTo>
                  <a:cubicBezTo>
                    <a:pt x="345" y="782"/>
                    <a:pt x="345" y="782"/>
                    <a:pt x="345" y="782"/>
                  </a:cubicBezTo>
                  <a:cubicBezTo>
                    <a:pt x="350" y="788"/>
                    <a:pt x="350" y="788"/>
                    <a:pt x="350" y="788"/>
                  </a:cubicBezTo>
                  <a:cubicBezTo>
                    <a:pt x="360" y="776"/>
                    <a:pt x="360" y="776"/>
                    <a:pt x="360" y="776"/>
                  </a:cubicBezTo>
                  <a:cubicBezTo>
                    <a:pt x="373" y="783"/>
                    <a:pt x="373" y="783"/>
                    <a:pt x="373" y="783"/>
                  </a:cubicBezTo>
                  <a:cubicBezTo>
                    <a:pt x="387" y="771"/>
                    <a:pt x="387" y="771"/>
                    <a:pt x="387" y="771"/>
                  </a:cubicBezTo>
                  <a:cubicBezTo>
                    <a:pt x="388" y="779"/>
                    <a:pt x="388" y="779"/>
                    <a:pt x="388" y="779"/>
                  </a:cubicBezTo>
                  <a:cubicBezTo>
                    <a:pt x="388" y="779"/>
                    <a:pt x="409" y="778"/>
                    <a:pt x="417" y="771"/>
                  </a:cubicBezTo>
                  <a:cubicBezTo>
                    <a:pt x="425" y="764"/>
                    <a:pt x="441" y="750"/>
                    <a:pt x="450" y="748"/>
                  </a:cubicBezTo>
                  <a:cubicBezTo>
                    <a:pt x="459" y="746"/>
                    <a:pt x="451" y="762"/>
                    <a:pt x="464" y="762"/>
                  </a:cubicBezTo>
                  <a:cubicBezTo>
                    <a:pt x="477" y="762"/>
                    <a:pt x="514" y="746"/>
                    <a:pt x="514" y="746"/>
                  </a:cubicBezTo>
                  <a:cubicBezTo>
                    <a:pt x="536" y="752"/>
                    <a:pt x="536" y="752"/>
                    <a:pt x="536" y="752"/>
                  </a:cubicBezTo>
                  <a:cubicBezTo>
                    <a:pt x="548" y="740"/>
                    <a:pt x="548" y="740"/>
                    <a:pt x="548" y="740"/>
                  </a:cubicBezTo>
                  <a:cubicBezTo>
                    <a:pt x="548" y="740"/>
                    <a:pt x="585" y="738"/>
                    <a:pt x="596" y="729"/>
                  </a:cubicBezTo>
                  <a:cubicBezTo>
                    <a:pt x="607" y="720"/>
                    <a:pt x="619" y="706"/>
                    <a:pt x="628" y="705"/>
                  </a:cubicBezTo>
                  <a:cubicBezTo>
                    <a:pt x="637" y="704"/>
                    <a:pt x="649" y="704"/>
                    <a:pt x="649" y="704"/>
                  </a:cubicBezTo>
                  <a:cubicBezTo>
                    <a:pt x="653" y="697"/>
                    <a:pt x="653" y="697"/>
                    <a:pt x="653" y="697"/>
                  </a:cubicBezTo>
                  <a:cubicBezTo>
                    <a:pt x="677" y="697"/>
                    <a:pt x="677" y="697"/>
                    <a:pt x="677" y="697"/>
                  </a:cubicBezTo>
                  <a:cubicBezTo>
                    <a:pt x="684" y="691"/>
                    <a:pt x="684" y="691"/>
                    <a:pt x="684" y="691"/>
                  </a:cubicBezTo>
                  <a:cubicBezTo>
                    <a:pt x="684" y="691"/>
                    <a:pt x="717" y="684"/>
                    <a:pt x="732" y="677"/>
                  </a:cubicBezTo>
                  <a:cubicBezTo>
                    <a:pt x="747" y="670"/>
                    <a:pt x="762" y="656"/>
                    <a:pt x="762" y="656"/>
                  </a:cubicBezTo>
                  <a:cubicBezTo>
                    <a:pt x="803" y="650"/>
                    <a:pt x="803" y="650"/>
                    <a:pt x="803" y="650"/>
                  </a:cubicBezTo>
                  <a:cubicBezTo>
                    <a:pt x="841" y="628"/>
                    <a:pt x="841" y="628"/>
                    <a:pt x="841" y="628"/>
                  </a:cubicBezTo>
                  <a:cubicBezTo>
                    <a:pt x="841" y="628"/>
                    <a:pt x="885" y="627"/>
                    <a:pt x="892" y="620"/>
                  </a:cubicBezTo>
                  <a:cubicBezTo>
                    <a:pt x="899" y="613"/>
                    <a:pt x="912" y="601"/>
                    <a:pt x="912" y="601"/>
                  </a:cubicBezTo>
                  <a:cubicBezTo>
                    <a:pt x="912" y="601"/>
                    <a:pt x="954" y="594"/>
                    <a:pt x="958" y="586"/>
                  </a:cubicBezTo>
                  <a:cubicBezTo>
                    <a:pt x="962" y="578"/>
                    <a:pt x="947" y="578"/>
                    <a:pt x="947" y="578"/>
                  </a:cubicBezTo>
                  <a:cubicBezTo>
                    <a:pt x="947" y="578"/>
                    <a:pt x="970" y="562"/>
                    <a:pt x="979" y="557"/>
                  </a:cubicBezTo>
                  <a:cubicBezTo>
                    <a:pt x="988" y="552"/>
                    <a:pt x="1015" y="545"/>
                    <a:pt x="1015" y="545"/>
                  </a:cubicBezTo>
                  <a:cubicBezTo>
                    <a:pt x="1066" y="526"/>
                    <a:pt x="1066" y="526"/>
                    <a:pt x="1066" y="526"/>
                  </a:cubicBezTo>
                  <a:cubicBezTo>
                    <a:pt x="1060" y="513"/>
                    <a:pt x="1060" y="513"/>
                    <a:pt x="1060" y="513"/>
                  </a:cubicBezTo>
                  <a:cubicBezTo>
                    <a:pt x="1060" y="513"/>
                    <a:pt x="1083" y="519"/>
                    <a:pt x="1090" y="514"/>
                  </a:cubicBezTo>
                  <a:cubicBezTo>
                    <a:pt x="1097" y="509"/>
                    <a:pt x="1130" y="494"/>
                    <a:pt x="1130" y="494"/>
                  </a:cubicBezTo>
                  <a:cubicBezTo>
                    <a:pt x="1130" y="494"/>
                    <a:pt x="1188" y="470"/>
                    <a:pt x="1196" y="467"/>
                  </a:cubicBezTo>
                  <a:cubicBezTo>
                    <a:pt x="1204" y="464"/>
                    <a:pt x="1234" y="485"/>
                    <a:pt x="1234" y="485"/>
                  </a:cubicBezTo>
                  <a:cubicBezTo>
                    <a:pt x="1210" y="485"/>
                    <a:pt x="1210" y="485"/>
                    <a:pt x="1210" y="485"/>
                  </a:cubicBezTo>
                  <a:cubicBezTo>
                    <a:pt x="1197" y="477"/>
                    <a:pt x="1197" y="477"/>
                    <a:pt x="1197" y="477"/>
                  </a:cubicBezTo>
                  <a:cubicBezTo>
                    <a:pt x="1174" y="493"/>
                    <a:pt x="1174" y="493"/>
                    <a:pt x="1174" y="493"/>
                  </a:cubicBezTo>
                  <a:cubicBezTo>
                    <a:pt x="1151" y="493"/>
                    <a:pt x="1151" y="493"/>
                    <a:pt x="1151" y="493"/>
                  </a:cubicBezTo>
                  <a:cubicBezTo>
                    <a:pt x="1151" y="493"/>
                    <a:pt x="1128" y="515"/>
                    <a:pt x="1119" y="518"/>
                  </a:cubicBezTo>
                  <a:cubicBezTo>
                    <a:pt x="1110" y="521"/>
                    <a:pt x="1071" y="527"/>
                    <a:pt x="1075" y="536"/>
                  </a:cubicBezTo>
                  <a:cubicBezTo>
                    <a:pt x="1079" y="545"/>
                    <a:pt x="1099" y="544"/>
                    <a:pt x="1099" y="544"/>
                  </a:cubicBezTo>
                  <a:cubicBezTo>
                    <a:pt x="1099" y="544"/>
                    <a:pt x="1079" y="552"/>
                    <a:pt x="1075" y="552"/>
                  </a:cubicBezTo>
                  <a:cubicBezTo>
                    <a:pt x="1071" y="552"/>
                    <a:pt x="1042" y="551"/>
                    <a:pt x="1042" y="557"/>
                  </a:cubicBezTo>
                  <a:cubicBezTo>
                    <a:pt x="1042" y="563"/>
                    <a:pt x="1045" y="576"/>
                    <a:pt x="1065" y="568"/>
                  </a:cubicBezTo>
                  <a:cubicBezTo>
                    <a:pt x="1085" y="560"/>
                    <a:pt x="1129" y="536"/>
                    <a:pt x="1147" y="532"/>
                  </a:cubicBezTo>
                  <a:cubicBezTo>
                    <a:pt x="1165" y="528"/>
                    <a:pt x="1197" y="537"/>
                    <a:pt x="1211" y="530"/>
                  </a:cubicBezTo>
                  <a:cubicBezTo>
                    <a:pt x="1225" y="523"/>
                    <a:pt x="1247" y="502"/>
                    <a:pt x="1247" y="502"/>
                  </a:cubicBezTo>
                  <a:cubicBezTo>
                    <a:pt x="1245" y="492"/>
                    <a:pt x="1245" y="492"/>
                    <a:pt x="1245" y="492"/>
                  </a:cubicBezTo>
                  <a:cubicBezTo>
                    <a:pt x="1245" y="492"/>
                    <a:pt x="1299" y="471"/>
                    <a:pt x="1309" y="472"/>
                  </a:cubicBezTo>
                  <a:cubicBezTo>
                    <a:pt x="1319" y="473"/>
                    <a:pt x="1322" y="483"/>
                    <a:pt x="1322" y="483"/>
                  </a:cubicBezTo>
                  <a:cubicBezTo>
                    <a:pt x="1364" y="470"/>
                    <a:pt x="1364" y="470"/>
                    <a:pt x="1364" y="470"/>
                  </a:cubicBezTo>
                  <a:cubicBezTo>
                    <a:pt x="1336" y="492"/>
                    <a:pt x="1336" y="492"/>
                    <a:pt x="1336" y="492"/>
                  </a:cubicBezTo>
                  <a:cubicBezTo>
                    <a:pt x="1350" y="498"/>
                    <a:pt x="1350" y="498"/>
                    <a:pt x="1350" y="498"/>
                  </a:cubicBezTo>
                  <a:cubicBezTo>
                    <a:pt x="1350" y="498"/>
                    <a:pt x="1346" y="510"/>
                    <a:pt x="1350" y="510"/>
                  </a:cubicBezTo>
                  <a:cubicBezTo>
                    <a:pt x="1354" y="510"/>
                    <a:pt x="1395" y="485"/>
                    <a:pt x="1395" y="485"/>
                  </a:cubicBezTo>
                  <a:cubicBezTo>
                    <a:pt x="1395" y="485"/>
                    <a:pt x="1356" y="515"/>
                    <a:pt x="1367" y="520"/>
                  </a:cubicBezTo>
                  <a:cubicBezTo>
                    <a:pt x="1378" y="525"/>
                    <a:pt x="1406" y="526"/>
                    <a:pt x="1406" y="526"/>
                  </a:cubicBezTo>
                  <a:cubicBezTo>
                    <a:pt x="1472" y="532"/>
                    <a:pt x="1472" y="532"/>
                    <a:pt x="1472" y="532"/>
                  </a:cubicBezTo>
                  <a:cubicBezTo>
                    <a:pt x="1493" y="519"/>
                    <a:pt x="1493" y="519"/>
                    <a:pt x="1493" y="519"/>
                  </a:cubicBezTo>
                  <a:cubicBezTo>
                    <a:pt x="1493" y="519"/>
                    <a:pt x="1480" y="541"/>
                    <a:pt x="1491" y="542"/>
                  </a:cubicBezTo>
                  <a:cubicBezTo>
                    <a:pt x="1502" y="543"/>
                    <a:pt x="1534" y="541"/>
                    <a:pt x="1534" y="541"/>
                  </a:cubicBezTo>
                  <a:cubicBezTo>
                    <a:pt x="1556" y="535"/>
                    <a:pt x="1556" y="535"/>
                    <a:pt x="1556" y="535"/>
                  </a:cubicBezTo>
                  <a:cubicBezTo>
                    <a:pt x="1556" y="535"/>
                    <a:pt x="1517" y="549"/>
                    <a:pt x="1520" y="557"/>
                  </a:cubicBezTo>
                  <a:cubicBezTo>
                    <a:pt x="1523" y="565"/>
                    <a:pt x="1541" y="573"/>
                    <a:pt x="1541" y="573"/>
                  </a:cubicBezTo>
                  <a:cubicBezTo>
                    <a:pt x="1541" y="573"/>
                    <a:pt x="1539" y="609"/>
                    <a:pt x="1551" y="609"/>
                  </a:cubicBezTo>
                  <a:cubicBezTo>
                    <a:pt x="1563" y="609"/>
                    <a:pt x="1594" y="606"/>
                    <a:pt x="1594" y="606"/>
                  </a:cubicBezTo>
                  <a:cubicBezTo>
                    <a:pt x="1587" y="585"/>
                    <a:pt x="1587" y="585"/>
                    <a:pt x="1587" y="585"/>
                  </a:cubicBezTo>
                  <a:cubicBezTo>
                    <a:pt x="1601" y="580"/>
                    <a:pt x="1601" y="580"/>
                    <a:pt x="1601" y="580"/>
                  </a:cubicBezTo>
                  <a:cubicBezTo>
                    <a:pt x="1610" y="591"/>
                    <a:pt x="1610" y="591"/>
                    <a:pt x="1610" y="591"/>
                  </a:cubicBezTo>
                  <a:cubicBezTo>
                    <a:pt x="1630" y="585"/>
                    <a:pt x="1630" y="585"/>
                    <a:pt x="1630" y="585"/>
                  </a:cubicBezTo>
                  <a:cubicBezTo>
                    <a:pt x="1630" y="585"/>
                    <a:pt x="1610" y="608"/>
                    <a:pt x="1621" y="612"/>
                  </a:cubicBezTo>
                  <a:cubicBezTo>
                    <a:pt x="1632" y="616"/>
                    <a:pt x="1650" y="586"/>
                    <a:pt x="1650" y="586"/>
                  </a:cubicBezTo>
                  <a:cubicBezTo>
                    <a:pt x="1670" y="557"/>
                    <a:pt x="1670" y="557"/>
                    <a:pt x="1670" y="557"/>
                  </a:cubicBezTo>
                  <a:cubicBezTo>
                    <a:pt x="1652" y="599"/>
                    <a:pt x="1652" y="599"/>
                    <a:pt x="1652" y="599"/>
                  </a:cubicBezTo>
                  <a:cubicBezTo>
                    <a:pt x="1656" y="615"/>
                    <a:pt x="1656" y="615"/>
                    <a:pt x="1656" y="615"/>
                  </a:cubicBezTo>
                  <a:cubicBezTo>
                    <a:pt x="1679" y="607"/>
                    <a:pt x="1679" y="607"/>
                    <a:pt x="1679" y="607"/>
                  </a:cubicBezTo>
                  <a:cubicBezTo>
                    <a:pt x="1664" y="623"/>
                    <a:pt x="1664" y="623"/>
                    <a:pt x="1664" y="623"/>
                  </a:cubicBezTo>
                  <a:cubicBezTo>
                    <a:pt x="1681" y="638"/>
                    <a:pt x="1681" y="638"/>
                    <a:pt x="1681" y="638"/>
                  </a:cubicBezTo>
                  <a:cubicBezTo>
                    <a:pt x="1669" y="635"/>
                    <a:pt x="1669" y="635"/>
                    <a:pt x="1669" y="635"/>
                  </a:cubicBezTo>
                  <a:cubicBezTo>
                    <a:pt x="1667" y="647"/>
                    <a:pt x="1667" y="647"/>
                    <a:pt x="1667" y="647"/>
                  </a:cubicBezTo>
                  <a:cubicBezTo>
                    <a:pt x="1648" y="660"/>
                    <a:pt x="1648" y="660"/>
                    <a:pt x="1648" y="660"/>
                  </a:cubicBezTo>
                  <a:cubicBezTo>
                    <a:pt x="1636" y="670"/>
                    <a:pt x="1636" y="670"/>
                    <a:pt x="1636" y="670"/>
                  </a:cubicBezTo>
                  <a:cubicBezTo>
                    <a:pt x="1657" y="681"/>
                    <a:pt x="1657" y="681"/>
                    <a:pt x="1657" y="681"/>
                  </a:cubicBezTo>
                  <a:cubicBezTo>
                    <a:pt x="1654" y="702"/>
                    <a:pt x="1654" y="702"/>
                    <a:pt x="1654" y="702"/>
                  </a:cubicBezTo>
                  <a:cubicBezTo>
                    <a:pt x="1642" y="714"/>
                    <a:pt x="1642" y="714"/>
                    <a:pt x="1642" y="714"/>
                  </a:cubicBezTo>
                  <a:cubicBezTo>
                    <a:pt x="1654" y="719"/>
                    <a:pt x="1654" y="719"/>
                    <a:pt x="1654" y="719"/>
                  </a:cubicBezTo>
                  <a:cubicBezTo>
                    <a:pt x="1639" y="733"/>
                    <a:pt x="1639" y="733"/>
                    <a:pt x="1639" y="733"/>
                  </a:cubicBezTo>
                  <a:cubicBezTo>
                    <a:pt x="1660" y="733"/>
                    <a:pt x="1660" y="733"/>
                    <a:pt x="1660" y="733"/>
                  </a:cubicBezTo>
                  <a:cubicBezTo>
                    <a:pt x="1685" y="724"/>
                    <a:pt x="1685" y="724"/>
                    <a:pt x="1685" y="724"/>
                  </a:cubicBezTo>
                  <a:cubicBezTo>
                    <a:pt x="1663" y="750"/>
                    <a:pt x="1663" y="750"/>
                    <a:pt x="1663" y="750"/>
                  </a:cubicBezTo>
                  <a:cubicBezTo>
                    <a:pt x="1652" y="760"/>
                    <a:pt x="1652" y="760"/>
                    <a:pt x="1652" y="760"/>
                  </a:cubicBezTo>
                  <a:cubicBezTo>
                    <a:pt x="1667" y="765"/>
                    <a:pt x="1667" y="765"/>
                    <a:pt x="1667" y="765"/>
                  </a:cubicBezTo>
                  <a:cubicBezTo>
                    <a:pt x="1637" y="777"/>
                    <a:pt x="1637" y="777"/>
                    <a:pt x="1637" y="777"/>
                  </a:cubicBezTo>
                  <a:cubicBezTo>
                    <a:pt x="1623" y="785"/>
                    <a:pt x="1623" y="785"/>
                    <a:pt x="1623" y="785"/>
                  </a:cubicBezTo>
                  <a:cubicBezTo>
                    <a:pt x="1637" y="791"/>
                    <a:pt x="1637" y="791"/>
                    <a:pt x="1637" y="791"/>
                  </a:cubicBezTo>
                  <a:cubicBezTo>
                    <a:pt x="1637" y="791"/>
                    <a:pt x="1636" y="794"/>
                    <a:pt x="1634" y="798"/>
                  </a:cubicBezTo>
                  <a:cubicBezTo>
                    <a:pt x="1655" y="788"/>
                    <a:pt x="1676" y="777"/>
                    <a:pt x="1680" y="773"/>
                  </a:cubicBezTo>
                  <a:cubicBezTo>
                    <a:pt x="1690" y="763"/>
                    <a:pt x="1690" y="747"/>
                    <a:pt x="1690" y="747"/>
                  </a:cubicBezTo>
                  <a:cubicBezTo>
                    <a:pt x="1690" y="747"/>
                    <a:pt x="1717" y="736"/>
                    <a:pt x="1717" y="728"/>
                  </a:cubicBezTo>
                  <a:cubicBezTo>
                    <a:pt x="1717" y="720"/>
                    <a:pt x="1707" y="721"/>
                    <a:pt x="1707" y="721"/>
                  </a:cubicBezTo>
                  <a:close/>
                  <a:moveTo>
                    <a:pt x="1598" y="704"/>
                  </a:moveTo>
                  <a:cubicBezTo>
                    <a:pt x="1604" y="718"/>
                    <a:pt x="1624" y="696"/>
                    <a:pt x="1624" y="696"/>
                  </a:cubicBezTo>
                  <a:cubicBezTo>
                    <a:pt x="1639" y="692"/>
                    <a:pt x="1639" y="692"/>
                    <a:pt x="1639" y="692"/>
                  </a:cubicBezTo>
                  <a:cubicBezTo>
                    <a:pt x="1638" y="682"/>
                    <a:pt x="1638" y="682"/>
                    <a:pt x="1638" y="682"/>
                  </a:cubicBezTo>
                  <a:cubicBezTo>
                    <a:pt x="1620" y="679"/>
                    <a:pt x="1620" y="679"/>
                    <a:pt x="1620" y="679"/>
                  </a:cubicBezTo>
                  <a:cubicBezTo>
                    <a:pt x="1620" y="679"/>
                    <a:pt x="1595" y="697"/>
                    <a:pt x="1598" y="704"/>
                  </a:cubicBezTo>
                  <a:close/>
                  <a:moveTo>
                    <a:pt x="1583" y="656"/>
                  </a:moveTo>
                  <a:cubicBezTo>
                    <a:pt x="1576" y="653"/>
                    <a:pt x="1559" y="664"/>
                    <a:pt x="1558" y="670"/>
                  </a:cubicBezTo>
                  <a:cubicBezTo>
                    <a:pt x="1557" y="676"/>
                    <a:pt x="1550" y="689"/>
                    <a:pt x="1550" y="689"/>
                  </a:cubicBezTo>
                  <a:cubicBezTo>
                    <a:pt x="1549" y="698"/>
                    <a:pt x="1549" y="698"/>
                    <a:pt x="1549" y="698"/>
                  </a:cubicBezTo>
                  <a:cubicBezTo>
                    <a:pt x="1549" y="698"/>
                    <a:pt x="1541" y="702"/>
                    <a:pt x="1540" y="709"/>
                  </a:cubicBezTo>
                  <a:cubicBezTo>
                    <a:pt x="1539" y="716"/>
                    <a:pt x="1546" y="720"/>
                    <a:pt x="1546" y="720"/>
                  </a:cubicBezTo>
                  <a:cubicBezTo>
                    <a:pt x="1546" y="720"/>
                    <a:pt x="1559" y="700"/>
                    <a:pt x="1576" y="687"/>
                  </a:cubicBezTo>
                  <a:cubicBezTo>
                    <a:pt x="1593" y="674"/>
                    <a:pt x="1590" y="659"/>
                    <a:pt x="1583" y="656"/>
                  </a:cubicBezTo>
                  <a:close/>
                  <a:moveTo>
                    <a:pt x="525" y="542"/>
                  </a:moveTo>
                  <a:cubicBezTo>
                    <a:pt x="547" y="540"/>
                    <a:pt x="594" y="519"/>
                    <a:pt x="578" y="515"/>
                  </a:cubicBezTo>
                  <a:cubicBezTo>
                    <a:pt x="561" y="510"/>
                    <a:pt x="539" y="507"/>
                    <a:pt x="533" y="513"/>
                  </a:cubicBezTo>
                  <a:cubicBezTo>
                    <a:pt x="527" y="519"/>
                    <a:pt x="514" y="506"/>
                    <a:pt x="510" y="517"/>
                  </a:cubicBezTo>
                  <a:cubicBezTo>
                    <a:pt x="507" y="528"/>
                    <a:pt x="513" y="543"/>
                    <a:pt x="525" y="542"/>
                  </a:cubicBezTo>
                  <a:close/>
                  <a:moveTo>
                    <a:pt x="0" y="886"/>
                  </a:moveTo>
                  <a:cubicBezTo>
                    <a:pt x="41" y="880"/>
                    <a:pt x="41" y="880"/>
                    <a:pt x="41" y="880"/>
                  </a:cubicBezTo>
                  <a:cubicBezTo>
                    <a:pt x="49" y="869"/>
                    <a:pt x="49" y="869"/>
                    <a:pt x="49" y="869"/>
                  </a:cubicBezTo>
                  <a:cubicBezTo>
                    <a:pt x="90" y="863"/>
                    <a:pt x="90" y="863"/>
                    <a:pt x="90" y="863"/>
                  </a:cubicBezTo>
                  <a:cubicBezTo>
                    <a:pt x="76" y="849"/>
                    <a:pt x="76" y="849"/>
                    <a:pt x="76" y="849"/>
                  </a:cubicBezTo>
                  <a:lnTo>
                    <a:pt x="0" y="886"/>
                  </a:lnTo>
                  <a:close/>
                  <a:moveTo>
                    <a:pt x="908" y="635"/>
                  </a:moveTo>
                  <a:cubicBezTo>
                    <a:pt x="905" y="636"/>
                    <a:pt x="892" y="641"/>
                    <a:pt x="892" y="641"/>
                  </a:cubicBezTo>
                  <a:cubicBezTo>
                    <a:pt x="892" y="641"/>
                    <a:pt x="884" y="634"/>
                    <a:pt x="879" y="635"/>
                  </a:cubicBezTo>
                  <a:cubicBezTo>
                    <a:pt x="874" y="636"/>
                    <a:pt x="875" y="651"/>
                    <a:pt x="875" y="651"/>
                  </a:cubicBezTo>
                  <a:cubicBezTo>
                    <a:pt x="859" y="663"/>
                    <a:pt x="859" y="663"/>
                    <a:pt x="859" y="663"/>
                  </a:cubicBezTo>
                  <a:cubicBezTo>
                    <a:pt x="859" y="646"/>
                    <a:pt x="859" y="646"/>
                    <a:pt x="859" y="646"/>
                  </a:cubicBezTo>
                  <a:cubicBezTo>
                    <a:pt x="859" y="646"/>
                    <a:pt x="845" y="641"/>
                    <a:pt x="831" y="654"/>
                  </a:cubicBezTo>
                  <a:cubicBezTo>
                    <a:pt x="831" y="654"/>
                    <a:pt x="814" y="665"/>
                    <a:pt x="811" y="672"/>
                  </a:cubicBezTo>
                  <a:cubicBezTo>
                    <a:pt x="809" y="680"/>
                    <a:pt x="831" y="681"/>
                    <a:pt x="831" y="681"/>
                  </a:cubicBezTo>
                  <a:cubicBezTo>
                    <a:pt x="831" y="681"/>
                    <a:pt x="861" y="681"/>
                    <a:pt x="872" y="676"/>
                  </a:cubicBezTo>
                  <a:cubicBezTo>
                    <a:pt x="884" y="671"/>
                    <a:pt x="881" y="664"/>
                    <a:pt x="881" y="664"/>
                  </a:cubicBezTo>
                  <a:cubicBezTo>
                    <a:pt x="899" y="661"/>
                    <a:pt x="899" y="661"/>
                    <a:pt x="899" y="661"/>
                  </a:cubicBezTo>
                  <a:cubicBezTo>
                    <a:pt x="900" y="655"/>
                    <a:pt x="900" y="655"/>
                    <a:pt x="900" y="655"/>
                  </a:cubicBezTo>
                  <a:cubicBezTo>
                    <a:pt x="925" y="654"/>
                    <a:pt x="925" y="654"/>
                    <a:pt x="925" y="654"/>
                  </a:cubicBezTo>
                  <a:cubicBezTo>
                    <a:pt x="931" y="638"/>
                    <a:pt x="931" y="638"/>
                    <a:pt x="931" y="638"/>
                  </a:cubicBezTo>
                  <a:cubicBezTo>
                    <a:pt x="920" y="640"/>
                    <a:pt x="920" y="640"/>
                    <a:pt x="920" y="640"/>
                  </a:cubicBezTo>
                  <a:cubicBezTo>
                    <a:pt x="920" y="640"/>
                    <a:pt x="912" y="634"/>
                    <a:pt x="908" y="635"/>
                  </a:cubicBezTo>
                  <a:close/>
                  <a:moveTo>
                    <a:pt x="107" y="860"/>
                  </a:moveTo>
                  <a:cubicBezTo>
                    <a:pt x="135" y="859"/>
                    <a:pt x="135" y="859"/>
                    <a:pt x="135" y="859"/>
                  </a:cubicBezTo>
                  <a:cubicBezTo>
                    <a:pt x="161" y="840"/>
                    <a:pt x="161" y="840"/>
                    <a:pt x="161" y="840"/>
                  </a:cubicBezTo>
                  <a:cubicBezTo>
                    <a:pt x="152" y="829"/>
                    <a:pt x="152" y="829"/>
                    <a:pt x="152" y="829"/>
                  </a:cubicBezTo>
                  <a:lnTo>
                    <a:pt x="107" y="860"/>
                  </a:lnTo>
                  <a:close/>
                  <a:moveTo>
                    <a:pt x="1646" y="762"/>
                  </a:moveTo>
                  <a:cubicBezTo>
                    <a:pt x="1652" y="749"/>
                    <a:pt x="1637" y="734"/>
                    <a:pt x="1627" y="744"/>
                  </a:cubicBezTo>
                  <a:cubicBezTo>
                    <a:pt x="1617" y="754"/>
                    <a:pt x="1611" y="784"/>
                    <a:pt x="1611" y="784"/>
                  </a:cubicBezTo>
                  <a:cubicBezTo>
                    <a:pt x="1611" y="784"/>
                    <a:pt x="1624" y="773"/>
                    <a:pt x="1629" y="773"/>
                  </a:cubicBezTo>
                  <a:cubicBezTo>
                    <a:pt x="1634" y="773"/>
                    <a:pt x="1640" y="775"/>
                    <a:pt x="1646" y="762"/>
                  </a:cubicBezTo>
                  <a:close/>
                  <a:moveTo>
                    <a:pt x="953" y="609"/>
                  </a:moveTo>
                  <a:cubicBezTo>
                    <a:pt x="940" y="618"/>
                    <a:pt x="916" y="623"/>
                    <a:pt x="923" y="630"/>
                  </a:cubicBezTo>
                  <a:cubicBezTo>
                    <a:pt x="934" y="641"/>
                    <a:pt x="959" y="629"/>
                    <a:pt x="959" y="629"/>
                  </a:cubicBezTo>
                  <a:cubicBezTo>
                    <a:pt x="966" y="620"/>
                    <a:pt x="966" y="620"/>
                    <a:pt x="966" y="620"/>
                  </a:cubicBezTo>
                  <a:cubicBezTo>
                    <a:pt x="966" y="620"/>
                    <a:pt x="982" y="624"/>
                    <a:pt x="979" y="618"/>
                  </a:cubicBezTo>
                  <a:cubicBezTo>
                    <a:pt x="977" y="612"/>
                    <a:pt x="967" y="600"/>
                    <a:pt x="953" y="609"/>
                  </a:cubicBezTo>
                  <a:close/>
                  <a:moveTo>
                    <a:pt x="331" y="777"/>
                  </a:moveTo>
                  <a:cubicBezTo>
                    <a:pt x="319" y="777"/>
                    <a:pt x="290" y="788"/>
                    <a:pt x="290" y="788"/>
                  </a:cubicBezTo>
                  <a:cubicBezTo>
                    <a:pt x="290" y="788"/>
                    <a:pt x="253" y="802"/>
                    <a:pt x="254" y="809"/>
                  </a:cubicBezTo>
                  <a:cubicBezTo>
                    <a:pt x="256" y="818"/>
                    <a:pt x="270" y="812"/>
                    <a:pt x="289" y="806"/>
                  </a:cubicBezTo>
                  <a:cubicBezTo>
                    <a:pt x="308" y="799"/>
                    <a:pt x="328" y="809"/>
                    <a:pt x="335" y="803"/>
                  </a:cubicBezTo>
                  <a:cubicBezTo>
                    <a:pt x="342" y="797"/>
                    <a:pt x="344" y="777"/>
                    <a:pt x="331" y="777"/>
                  </a:cubicBezTo>
                  <a:close/>
                  <a:moveTo>
                    <a:pt x="219" y="828"/>
                  </a:moveTo>
                  <a:cubicBezTo>
                    <a:pt x="221" y="814"/>
                    <a:pt x="221" y="814"/>
                    <a:pt x="221" y="814"/>
                  </a:cubicBezTo>
                  <a:cubicBezTo>
                    <a:pt x="184" y="829"/>
                    <a:pt x="184" y="829"/>
                    <a:pt x="184" y="829"/>
                  </a:cubicBezTo>
                  <a:lnTo>
                    <a:pt x="219" y="828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78" name="Freeform 358">
              <a:extLst>
                <a:ext uri="{FF2B5EF4-FFF2-40B4-BE49-F238E27FC236}">
                  <a16:creationId xmlns:a16="http://schemas.microsoft.com/office/drawing/2014/main" id="{03354CDD-E0DE-FC8F-FF38-E2C342A9D0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9227" y="-16252"/>
              <a:ext cx="6163" cy="3081"/>
            </a:xfrm>
            <a:custGeom>
              <a:avLst/>
              <a:gdLst>
                <a:gd name="T0" fmla="*/ 2480 w 2609"/>
                <a:gd name="T1" fmla="*/ 201 h 1304"/>
                <a:gd name="T2" fmla="*/ 2188 w 2609"/>
                <a:gd name="T3" fmla="*/ 278 h 1304"/>
                <a:gd name="T4" fmla="*/ 2132 w 2609"/>
                <a:gd name="T5" fmla="*/ 324 h 1304"/>
                <a:gd name="T6" fmla="*/ 2049 w 2609"/>
                <a:gd name="T7" fmla="*/ 357 h 1304"/>
                <a:gd name="T8" fmla="*/ 1824 w 2609"/>
                <a:gd name="T9" fmla="*/ 413 h 1304"/>
                <a:gd name="T10" fmla="*/ 1906 w 2609"/>
                <a:gd name="T11" fmla="*/ 294 h 1304"/>
                <a:gd name="T12" fmla="*/ 1888 w 2609"/>
                <a:gd name="T13" fmla="*/ 211 h 1304"/>
                <a:gd name="T14" fmla="*/ 1909 w 2609"/>
                <a:gd name="T15" fmla="*/ 159 h 1304"/>
                <a:gd name="T16" fmla="*/ 1821 w 2609"/>
                <a:gd name="T17" fmla="*/ 151 h 1304"/>
                <a:gd name="T18" fmla="*/ 1700 w 2609"/>
                <a:gd name="T19" fmla="*/ 142 h 1304"/>
                <a:gd name="T20" fmla="*/ 1667 w 2609"/>
                <a:gd name="T21" fmla="*/ 101 h 1304"/>
                <a:gd name="T22" fmla="*/ 1627 w 2609"/>
                <a:gd name="T23" fmla="*/ 67 h 1304"/>
                <a:gd name="T24" fmla="*/ 1510 w 2609"/>
                <a:gd name="T25" fmla="*/ 35 h 1304"/>
                <a:gd name="T26" fmla="*/ 292 w 2609"/>
                <a:gd name="T27" fmla="*/ 130 h 1304"/>
                <a:gd name="T28" fmla="*/ 255 w 2609"/>
                <a:gd name="T29" fmla="*/ 78 h 1304"/>
                <a:gd name="T30" fmla="*/ 250 w 2609"/>
                <a:gd name="T31" fmla="*/ 177 h 1304"/>
                <a:gd name="T32" fmla="*/ 66 w 2609"/>
                <a:gd name="T33" fmla="*/ 387 h 1304"/>
                <a:gd name="T34" fmla="*/ 29 w 2609"/>
                <a:gd name="T35" fmla="*/ 605 h 1304"/>
                <a:gd name="T36" fmla="*/ 20 w 2609"/>
                <a:gd name="T37" fmla="*/ 688 h 1304"/>
                <a:gd name="T38" fmla="*/ 108 w 2609"/>
                <a:gd name="T39" fmla="*/ 822 h 1304"/>
                <a:gd name="T40" fmla="*/ 380 w 2609"/>
                <a:gd name="T41" fmla="*/ 973 h 1304"/>
                <a:gd name="T42" fmla="*/ 625 w 2609"/>
                <a:gd name="T43" fmla="*/ 975 h 1304"/>
                <a:gd name="T44" fmla="*/ 756 w 2609"/>
                <a:gd name="T45" fmla="*/ 1047 h 1304"/>
                <a:gd name="T46" fmla="*/ 851 w 2609"/>
                <a:gd name="T47" fmla="*/ 1169 h 1304"/>
                <a:gd name="T48" fmla="*/ 914 w 2609"/>
                <a:gd name="T49" fmla="*/ 1254 h 1304"/>
                <a:gd name="T50" fmla="*/ 950 w 2609"/>
                <a:gd name="T51" fmla="*/ 1180 h 1304"/>
                <a:gd name="T52" fmla="*/ 999 w 2609"/>
                <a:gd name="T53" fmla="*/ 1128 h 1304"/>
                <a:gd name="T54" fmla="*/ 1143 w 2609"/>
                <a:gd name="T55" fmla="*/ 1040 h 1304"/>
                <a:gd name="T56" fmla="*/ 1288 w 2609"/>
                <a:gd name="T57" fmla="*/ 1079 h 1304"/>
                <a:gd name="T58" fmla="*/ 1354 w 2609"/>
                <a:gd name="T59" fmla="*/ 1087 h 1304"/>
                <a:gd name="T60" fmla="*/ 1365 w 2609"/>
                <a:gd name="T61" fmla="*/ 1024 h 1304"/>
                <a:gd name="T62" fmla="*/ 1487 w 2609"/>
                <a:gd name="T63" fmla="*/ 1024 h 1304"/>
                <a:gd name="T64" fmla="*/ 1616 w 2609"/>
                <a:gd name="T65" fmla="*/ 1079 h 1304"/>
                <a:gd name="T66" fmla="*/ 1634 w 2609"/>
                <a:gd name="T67" fmla="*/ 1212 h 1304"/>
                <a:gd name="T68" fmla="*/ 1681 w 2609"/>
                <a:gd name="T69" fmla="*/ 1304 h 1304"/>
                <a:gd name="T70" fmla="*/ 1730 w 2609"/>
                <a:gd name="T71" fmla="*/ 1112 h 1304"/>
                <a:gd name="T72" fmla="*/ 1780 w 2609"/>
                <a:gd name="T73" fmla="*/ 919 h 1304"/>
                <a:gd name="T74" fmla="*/ 1864 w 2609"/>
                <a:gd name="T75" fmla="*/ 859 h 1304"/>
                <a:gd name="T76" fmla="*/ 2013 w 2609"/>
                <a:gd name="T77" fmla="*/ 773 h 1304"/>
                <a:gd name="T78" fmla="*/ 2015 w 2609"/>
                <a:gd name="T79" fmla="*/ 726 h 1304"/>
                <a:gd name="T80" fmla="*/ 2016 w 2609"/>
                <a:gd name="T81" fmla="*/ 647 h 1304"/>
                <a:gd name="T82" fmla="*/ 2025 w 2609"/>
                <a:gd name="T83" fmla="*/ 586 h 1304"/>
                <a:gd name="T84" fmla="*/ 2077 w 2609"/>
                <a:gd name="T85" fmla="*/ 596 h 1304"/>
                <a:gd name="T86" fmla="*/ 2136 w 2609"/>
                <a:gd name="T87" fmla="*/ 513 h 1304"/>
                <a:gd name="T88" fmla="*/ 2240 w 2609"/>
                <a:gd name="T89" fmla="*/ 475 h 1304"/>
                <a:gd name="T90" fmla="*/ 2355 w 2609"/>
                <a:gd name="T91" fmla="*/ 411 h 1304"/>
                <a:gd name="T92" fmla="*/ 2409 w 2609"/>
                <a:gd name="T93" fmla="*/ 388 h 1304"/>
                <a:gd name="T94" fmla="*/ 2423 w 2609"/>
                <a:gd name="T95" fmla="*/ 324 h 1304"/>
                <a:gd name="T96" fmla="*/ 2556 w 2609"/>
                <a:gd name="T97" fmla="*/ 260 h 1304"/>
                <a:gd name="T98" fmla="*/ 2582 w 2609"/>
                <a:gd name="T99" fmla="*/ 202 h 1304"/>
                <a:gd name="T100" fmla="*/ 1784 w 2609"/>
                <a:gd name="T101" fmla="*/ 255 h 1304"/>
                <a:gd name="T102" fmla="*/ 1734 w 2609"/>
                <a:gd name="T103" fmla="*/ 342 h 1304"/>
                <a:gd name="T104" fmla="*/ 1687 w 2609"/>
                <a:gd name="T105" fmla="*/ 307 h 1304"/>
                <a:gd name="T106" fmla="*/ 1772 w 2609"/>
                <a:gd name="T107" fmla="*/ 194 h 1304"/>
                <a:gd name="T108" fmla="*/ 1862 w 2609"/>
                <a:gd name="T109" fmla="*/ 199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09" h="1304">
                  <a:moveTo>
                    <a:pt x="2570" y="119"/>
                  </a:moveTo>
                  <a:cubicBezTo>
                    <a:pt x="2558" y="119"/>
                    <a:pt x="2567" y="110"/>
                    <a:pt x="2554" y="110"/>
                  </a:cubicBezTo>
                  <a:cubicBezTo>
                    <a:pt x="2541" y="110"/>
                    <a:pt x="2530" y="131"/>
                    <a:pt x="2530" y="131"/>
                  </a:cubicBezTo>
                  <a:cubicBezTo>
                    <a:pt x="2503" y="150"/>
                    <a:pt x="2503" y="150"/>
                    <a:pt x="2503" y="150"/>
                  </a:cubicBezTo>
                  <a:cubicBezTo>
                    <a:pt x="2503" y="164"/>
                    <a:pt x="2503" y="164"/>
                    <a:pt x="2503" y="164"/>
                  </a:cubicBezTo>
                  <a:cubicBezTo>
                    <a:pt x="2503" y="164"/>
                    <a:pt x="2495" y="172"/>
                    <a:pt x="2489" y="172"/>
                  </a:cubicBezTo>
                  <a:cubicBezTo>
                    <a:pt x="2483" y="172"/>
                    <a:pt x="2480" y="194"/>
                    <a:pt x="2480" y="201"/>
                  </a:cubicBezTo>
                  <a:cubicBezTo>
                    <a:pt x="2480" y="208"/>
                    <a:pt x="2473" y="201"/>
                    <a:pt x="2463" y="201"/>
                  </a:cubicBezTo>
                  <a:cubicBezTo>
                    <a:pt x="2454" y="201"/>
                    <a:pt x="2443" y="222"/>
                    <a:pt x="2443" y="222"/>
                  </a:cubicBezTo>
                  <a:cubicBezTo>
                    <a:pt x="2443" y="222"/>
                    <a:pt x="2435" y="223"/>
                    <a:pt x="2423" y="223"/>
                  </a:cubicBezTo>
                  <a:cubicBezTo>
                    <a:pt x="2411" y="223"/>
                    <a:pt x="2411" y="238"/>
                    <a:pt x="2411" y="238"/>
                  </a:cubicBezTo>
                  <a:cubicBezTo>
                    <a:pt x="2411" y="238"/>
                    <a:pt x="2280" y="238"/>
                    <a:pt x="2263" y="238"/>
                  </a:cubicBezTo>
                  <a:cubicBezTo>
                    <a:pt x="2246" y="238"/>
                    <a:pt x="2212" y="276"/>
                    <a:pt x="2204" y="276"/>
                  </a:cubicBezTo>
                  <a:cubicBezTo>
                    <a:pt x="2196" y="276"/>
                    <a:pt x="2194" y="278"/>
                    <a:pt x="2188" y="278"/>
                  </a:cubicBezTo>
                  <a:cubicBezTo>
                    <a:pt x="2187" y="278"/>
                    <a:pt x="2185" y="279"/>
                    <a:pt x="2183" y="280"/>
                  </a:cubicBezTo>
                  <a:cubicBezTo>
                    <a:pt x="2188" y="285"/>
                    <a:pt x="2189" y="291"/>
                    <a:pt x="2189" y="291"/>
                  </a:cubicBezTo>
                  <a:cubicBezTo>
                    <a:pt x="2189" y="291"/>
                    <a:pt x="2188" y="299"/>
                    <a:pt x="2181" y="305"/>
                  </a:cubicBezTo>
                  <a:cubicBezTo>
                    <a:pt x="2174" y="311"/>
                    <a:pt x="2174" y="321"/>
                    <a:pt x="2174" y="321"/>
                  </a:cubicBezTo>
                  <a:cubicBezTo>
                    <a:pt x="2162" y="320"/>
                    <a:pt x="2162" y="320"/>
                    <a:pt x="2162" y="320"/>
                  </a:cubicBezTo>
                  <a:cubicBezTo>
                    <a:pt x="2162" y="320"/>
                    <a:pt x="2162" y="324"/>
                    <a:pt x="2150" y="329"/>
                  </a:cubicBezTo>
                  <a:cubicBezTo>
                    <a:pt x="2138" y="334"/>
                    <a:pt x="2132" y="324"/>
                    <a:pt x="2132" y="324"/>
                  </a:cubicBezTo>
                  <a:cubicBezTo>
                    <a:pt x="2132" y="324"/>
                    <a:pt x="2127" y="332"/>
                    <a:pt x="2114" y="333"/>
                  </a:cubicBezTo>
                  <a:cubicBezTo>
                    <a:pt x="2101" y="334"/>
                    <a:pt x="2097" y="324"/>
                    <a:pt x="2088" y="323"/>
                  </a:cubicBezTo>
                  <a:cubicBezTo>
                    <a:pt x="2079" y="322"/>
                    <a:pt x="2072" y="330"/>
                    <a:pt x="2051" y="335"/>
                  </a:cubicBezTo>
                  <a:cubicBezTo>
                    <a:pt x="2050" y="335"/>
                    <a:pt x="2048" y="336"/>
                    <a:pt x="2047" y="336"/>
                  </a:cubicBezTo>
                  <a:cubicBezTo>
                    <a:pt x="2048" y="340"/>
                    <a:pt x="2048" y="344"/>
                    <a:pt x="2046" y="350"/>
                  </a:cubicBezTo>
                  <a:cubicBezTo>
                    <a:pt x="2045" y="352"/>
                    <a:pt x="2043" y="354"/>
                    <a:pt x="2040" y="357"/>
                  </a:cubicBezTo>
                  <a:cubicBezTo>
                    <a:pt x="2049" y="357"/>
                    <a:pt x="2049" y="357"/>
                    <a:pt x="2049" y="357"/>
                  </a:cubicBezTo>
                  <a:cubicBezTo>
                    <a:pt x="2049" y="357"/>
                    <a:pt x="1969" y="398"/>
                    <a:pt x="1961" y="401"/>
                  </a:cubicBezTo>
                  <a:cubicBezTo>
                    <a:pt x="1953" y="404"/>
                    <a:pt x="1945" y="407"/>
                    <a:pt x="1925" y="412"/>
                  </a:cubicBezTo>
                  <a:cubicBezTo>
                    <a:pt x="1905" y="417"/>
                    <a:pt x="1897" y="423"/>
                    <a:pt x="1890" y="426"/>
                  </a:cubicBezTo>
                  <a:cubicBezTo>
                    <a:pt x="1883" y="429"/>
                    <a:pt x="1871" y="427"/>
                    <a:pt x="1871" y="427"/>
                  </a:cubicBezTo>
                  <a:cubicBezTo>
                    <a:pt x="1871" y="427"/>
                    <a:pt x="1871" y="432"/>
                    <a:pt x="1859" y="433"/>
                  </a:cubicBezTo>
                  <a:cubicBezTo>
                    <a:pt x="1847" y="434"/>
                    <a:pt x="1846" y="423"/>
                    <a:pt x="1846" y="423"/>
                  </a:cubicBezTo>
                  <a:cubicBezTo>
                    <a:pt x="1846" y="423"/>
                    <a:pt x="1824" y="420"/>
                    <a:pt x="1824" y="413"/>
                  </a:cubicBezTo>
                  <a:cubicBezTo>
                    <a:pt x="1824" y="413"/>
                    <a:pt x="1837" y="407"/>
                    <a:pt x="1848" y="402"/>
                  </a:cubicBezTo>
                  <a:cubicBezTo>
                    <a:pt x="1847" y="401"/>
                    <a:pt x="1847" y="400"/>
                    <a:pt x="1846" y="400"/>
                  </a:cubicBezTo>
                  <a:cubicBezTo>
                    <a:pt x="1836" y="390"/>
                    <a:pt x="1881" y="368"/>
                    <a:pt x="1889" y="368"/>
                  </a:cubicBezTo>
                  <a:cubicBezTo>
                    <a:pt x="1897" y="368"/>
                    <a:pt x="1895" y="347"/>
                    <a:pt x="1895" y="347"/>
                  </a:cubicBezTo>
                  <a:cubicBezTo>
                    <a:pt x="1895" y="347"/>
                    <a:pt x="1898" y="343"/>
                    <a:pt x="1902" y="338"/>
                  </a:cubicBezTo>
                  <a:cubicBezTo>
                    <a:pt x="1902" y="337"/>
                    <a:pt x="1901" y="337"/>
                    <a:pt x="1901" y="337"/>
                  </a:cubicBezTo>
                  <a:cubicBezTo>
                    <a:pt x="1895" y="331"/>
                    <a:pt x="1908" y="302"/>
                    <a:pt x="1906" y="294"/>
                  </a:cubicBezTo>
                  <a:cubicBezTo>
                    <a:pt x="1904" y="286"/>
                    <a:pt x="1890" y="293"/>
                    <a:pt x="1884" y="298"/>
                  </a:cubicBezTo>
                  <a:cubicBezTo>
                    <a:pt x="1878" y="303"/>
                    <a:pt x="1850" y="321"/>
                    <a:pt x="1848" y="308"/>
                  </a:cubicBezTo>
                  <a:cubicBezTo>
                    <a:pt x="1847" y="302"/>
                    <a:pt x="1871" y="288"/>
                    <a:pt x="1874" y="283"/>
                  </a:cubicBezTo>
                  <a:cubicBezTo>
                    <a:pt x="1877" y="278"/>
                    <a:pt x="1888" y="275"/>
                    <a:pt x="1897" y="269"/>
                  </a:cubicBezTo>
                  <a:cubicBezTo>
                    <a:pt x="1906" y="263"/>
                    <a:pt x="1898" y="240"/>
                    <a:pt x="1898" y="240"/>
                  </a:cubicBezTo>
                  <a:cubicBezTo>
                    <a:pt x="1898" y="240"/>
                    <a:pt x="1901" y="245"/>
                    <a:pt x="1909" y="228"/>
                  </a:cubicBezTo>
                  <a:cubicBezTo>
                    <a:pt x="1917" y="211"/>
                    <a:pt x="1897" y="218"/>
                    <a:pt x="1888" y="211"/>
                  </a:cubicBezTo>
                  <a:cubicBezTo>
                    <a:pt x="1879" y="204"/>
                    <a:pt x="1879" y="198"/>
                    <a:pt x="1879" y="198"/>
                  </a:cubicBezTo>
                  <a:cubicBezTo>
                    <a:pt x="1879" y="198"/>
                    <a:pt x="1876" y="205"/>
                    <a:pt x="1871" y="200"/>
                  </a:cubicBezTo>
                  <a:cubicBezTo>
                    <a:pt x="1866" y="195"/>
                    <a:pt x="1872" y="185"/>
                    <a:pt x="1872" y="185"/>
                  </a:cubicBezTo>
                  <a:cubicBezTo>
                    <a:pt x="1896" y="189"/>
                    <a:pt x="1896" y="189"/>
                    <a:pt x="1896" y="189"/>
                  </a:cubicBezTo>
                  <a:cubicBezTo>
                    <a:pt x="1896" y="189"/>
                    <a:pt x="1900" y="186"/>
                    <a:pt x="1897" y="178"/>
                  </a:cubicBezTo>
                  <a:cubicBezTo>
                    <a:pt x="1896" y="174"/>
                    <a:pt x="1900" y="174"/>
                    <a:pt x="1905" y="174"/>
                  </a:cubicBezTo>
                  <a:cubicBezTo>
                    <a:pt x="1909" y="159"/>
                    <a:pt x="1909" y="159"/>
                    <a:pt x="1909" y="159"/>
                  </a:cubicBezTo>
                  <a:cubicBezTo>
                    <a:pt x="1896" y="159"/>
                    <a:pt x="1896" y="159"/>
                    <a:pt x="1896" y="159"/>
                  </a:cubicBezTo>
                  <a:cubicBezTo>
                    <a:pt x="1894" y="167"/>
                    <a:pt x="1894" y="167"/>
                    <a:pt x="1894" y="167"/>
                  </a:cubicBezTo>
                  <a:cubicBezTo>
                    <a:pt x="1878" y="161"/>
                    <a:pt x="1878" y="161"/>
                    <a:pt x="1878" y="161"/>
                  </a:cubicBezTo>
                  <a:cubicBezTo>
                    <a:pt x="1877" y="147"/>
                    <a:pt x="1877" y="147"/>
                    <a:pt x="1877" y="147"/>
                  </a:cubicBezTo>
                  <a:cubicBezTo>
                    <a:pt x="1868" y="149"/>
                    <a:pt x="1868" y="149"/>
                    <a:pt x="1868" y="149"/>
                  </a:cubicBezTo>
                  <a:cubicBezTo>
                    <a:pt x="1857" y="154"/>
                    <a:pt x="1857" y="154"/>
                    <a:pt x="1857" y="154"/>
                  </a:cubicBezTo>
                  <a:cubicBezTo>
                    <a:pt x="1821" y="151"/>
                    <a:pt x="1821" y="151"/>
                    <a:pt x="1821" y="151"/>
                  </a:cubicBezTo>
                  <a:cubicBezTo>
                    <a:pt x="1821" y="151"/>
                    <a:pt x="1808" y="162"/>
                    <a:pt x="1787" y="160"/>
                  </a:cubicBezTo>
                  <a:cubicBezTo>
                    <a:pt x="1766" y="158"/>
                    <a:pt x="1771" y="144"/>
                    <a:pt x="1767" y="139"/>
                  </a:cubicBezTo>
                  <a:cubicBezTo>
                    <a:pt x="1763" y="134"/>
                    <a:pt x="1743" y="145"/>
                    <a:pt x="1740" y="136"/>
                  </a:cubicBezTo>
                  <a:cubicBezTo>
                    <a:pt x="1777" y="115"/>
                    <a:pt x="1777" y="115"/>
                    <a:pt x="1777" y="115"/>
                  </a:cubicBezTo>
                  <a:cubicBezTo>
                    <a:pt x="1777" y="115"/>
                    <a:pt x="1772" y="110"/>
                    <a:pt x="1765" y="110"/>
                  </a:cubicBezTo>
                  <a:cubicBezTo>
                    <a:pt x="1758" y="110"/>
                    <a:pt x="1744" y="122"/>
                    <a:pt x="1740" y="123"/>
                  </a:cubicBezTo>
                  <a:cubicBezTo>
                    <a:pt x="1736" y="124"/>
                    <a:pt x="1714" y="137"/>
                    <a:pt x="1700" y="142"/>
                  </a:cubicBezTo>
                  <a:cubicBezTo>
                    <a:pt x="1686" y="147"/>
                    <a:pt x="1670" y="144"/>
                    <a:pt x="1670" y="144"/>
                  </a:cubicBezTo>
                  <a:cubicBezTo>
                    <a:pt x="1664" y="153"/>
                    <a:pt x="1664" y="153"/>
                    <a:pt x="1664" y="153"/>
                  </a:cubicBezTo>
                  <a:cubicBezTo>
                    <a:pt x="1664" y="153"/>
                    <a:pt x="1640" y="155"/>
                    <a:pt x="1631" y="154"/>
                  </a:cubicBezTo>
                  <a:cubicBezTo>
                    <a:pt x="1622" y="153"/>
                    <a:pt x="1646" y="136"/>
                    <a:pt x="1646" y="136"/>
                  </a:cubicBezTo>
                  <a:cubicBezTo>
                    <a:pt x="1646" y="136"/>
                    <a:pt x="1636" y="140"/>
                    <a:pt x="1617" y="141"/>
                  </a:cubicBezTo>
                  <a:cubicBezTo>
                    <a:pt x="1598" y="142"/>
                    <a:pt x="1596" y="154"/>
                    <a:pt x="1579" y="148"/>
                  </a:cubicBezTo>
                  <a:cubicBezTo>
                    <a:pt x="1562" y="142"/>
                    <a:pt x="1655" y="109"/>
                    <a:pt x="1667" y="101"/>
                  </a:cubicBezTo>
                  <a:cubicBezTo>
                    <a:pt x="1679" y="93"/>
                    <a:pt x="1694" y="90"/>
                    <a:pt x="1713" y="86"/>
                  </a:cubicBezTo>
                  <a:cubicBezTo>
                    <a:pt x="1718" y="85"/>
                    <a:pt x="1722" y="83"/>
                    <a:pt x="1726" y="80"/>
                  </a:cubicBezTo>
                  <a:cubicBezTo>
                    <a:pt x="1698" y="80"/>
                    <a:pt x="1701" y="74"/>
                    <a:pt x="1701" y="74"/>
                  </a:cubicBezTo>
                  <a:cubicBezTo>
                    <a:pt x="1671" y="75"/>
                    <a:pt x="1671" y="75"/>
                    <a:pt x="1671" y="75"/>
                  </a:cubicBezTo>
                  <a:cubicBezTo>
                    <a:pt x="1671" y="65"/>
                    <a:pt x="1671" y="65"/>
                    <a:pt x="1671" y="65"/>
                  </a:cubicBezTo>
                  <a:cubicBezTo>
                    <a:pt x="1671" y="65"/>
                    <a:pt x="1655" y="76"/>
                    <a:pt x="1649" y="82"/>
                  </a:cubicBezTo>
                  <a:cubicBezTo>
                    <a:pt x="1643" y="88"/>
                    <a:pt x="1630" y="64"/>
                    <a:pt x="1627" y="67"/>
                  </a:cubicBezTo>
                  <a:cubicBezTo>
                    <a:pt x="1624" y="70"/>
                    <a:pt x="1617" y="67"/>
                    <a:pt x="1611" y="67"/>
                  </a:cubicBezTo>
                  <a:cubicBezTo>
                    <a:pt x="1605" y="67"/>
                    <a:pt x="1602" y="47"/>
                    <a:pt x="1589" y="47"/>
                  </a:cubicBezTo>
                  <a:cubicBezTo>
                    <a:pt x="1576" y="47"/>
                    <a:pt x="1578" y="59"/>
                    <a:pt x="1570" y="59"/>
                  </a:cubicBezTo>
                  <a:cubicBezTo>
                    <a:pt x="1562" y="59"/>
                    <a:pt x="1555" y="49"/>
                    <a:pt x="1555" y="49"/>
                  </a:cubicBezTo>
                  <a:cubicBezTo>
                    <a:pt x="1555" y="49"/>
                    <a:pt x="1536" y="48"/>
                    <a:pt x="1528" y="40"/>
                  </a:cubicBezTo>
                  <a:cubicBezTo>
                    <a:pt x="1519" y="31"/>
                    <a:pt x="1544" y="21"/>
                    <a:pt x="1534" y="11"/>
                  </a:cubicBezTo>
                  <a:cubicBezTo>
                    <a:pt x="1524" y="0"/>
                    <a:pt x="1510" y="35"/>
                    <a:pt x="1510" y="35"/>
                  </a:cubicBezTo>
                  <a:cubicBezTo>
                    <a:pt x="368" y="35"/>
                    <a:pt x="368" y="35"/>
                    <a:pt x="368" y="35"/>
                  </a:cubicBezTo>
                  <a:cubicBezTo>
                    <a:pt x="367" y="42"/>
                    <a:pt x="365" y="48"/>
                    <a:pt x="364" y="50"/>
                  </a:cubicBezTo>
                  <a:cubicBezTo>
                    <a:pt x="360" y="56"/>
                    <a:pt x="359" y="80"/>
                    <a:pt x="359" y="80"/>
                  </a:cubicBezTo>
                  <a:cubicBezTo>
                    <a:pt x="337" y="92"/>
                    <a:pt x="337" y="92"/>
                    <a:pt x="337" y="92"/>
                  </a:cubicBezTo>
                  <a:cubicBezTo>
                    <a:pt x="335" y="104"/>
                    <a:pt x="335" y="104"/>
                    <a:pt x="335" y="104"/>
                  </a:cubicBezTo>
                  <a:cubicBezTo>
                    <a:pt x="324" y="119"/>
                    <a:pt x="324" y="119"/>
                    <a:pt x="324" y="119"/>
                  </a:cubicBezTo>
                  <a:cubicBezTo>
                    <a:pt x="292" y="130"/>
                    <a:pt x="292" y="130"/>
                    <a:pt x="292" y="130"/>
                  </a:cubicBezTo>
                  <a:cubicBezTo>
                    <a:pt x="315" y="117"/>
                    <a:pt x="315" y="117"/>
                    <a:pt x="315" y="117"/>
                  </a:cubicBezTo>
                  <a:cubicBezTo>
                    <a:pt x="300" y="115"/>
                    <a:pt x="300" y="115"/>
                    <a:pt x="300" y="115"/>
                  </a:cubicBezTo>
                  <a:cubicBezTo>
                    <a:pt x="300" y="115"/>
                    <a:pt x="314" y="95"/>
                    <a:pt x="318" y="92"/>
                  </a:cubicBezTo>
                  <a:cubicBezTo>
                    <a:pt x="322" y="89"/>
                    <a:pt x="342" y="75"/>
                    <a:pt x="332" y="75"/>
                  </a:cubicBezTo>
                  <a:cubicBezTo>
                    <a:pt x="322" y="75"/>
                    <a:pt x="313" y="77"/>
                    <a:pt x="303" y="76"/>
                  </a:cubicBezTo>
                  <a:cubicBezTo>
                    <a:pt x="293" y="75"/>
                    <a:pt x="284" y="57"/>
                    <a:pt x="275" y="61"/>
                  </a:cubicBezTo>
                  <a:cubicBezTo>
                    <a:pt x="266" y="65"/>
                    <a:pt x="257" y="57"/>
                    <a:pt x="255" y="78"/>
                  </a:cubicBezTo>
                  <a:cubicBezTo>
                    <a:pt x="253" y="99"/>
                    <a:pt x="255" y="111"/>
                    <a:pt x="252" y="113"/>
                  </a:cubicBezTo>
                  <a:cubicBezTo>
                    <a:pt x="249" y="115"/>
                    <a:pt x="239" y="130"/>
                    <a:pt x="239" y="130"/>
                  </a:cubicBezTo>
                  <a:cubicBezTo>
                    <a:pt x="257" y="134"/>
                    <a:pt x="257" y="134"/>
                    <a:pt x="257" y="134"/>
                  </a:cubicBezTo>
                  <a:cubicBezTo>
                    <a:pt x="238" y="137"/>
                    <a:pt x="238" y="137"/>
                    <a:pt x="238" y="137"/>
                  </a:cubicBezTo>
                  <a:cubicBezTo>
                    <a:pt x="241" y="148"/>
                    <a:pt x="241" y="148"/>
                    <a:pt x="241" y="148"/>
                  </a:cubicBezTo>
                  <a:cubicBezTo>
                    <a:pt x="230" y="165"/>
                    <a:pt x="230" y="165"/>
                    <a:pt x="230" y="165"/>
                  </a:cubicBezTo>
                  <a:cubicBezTo>
                    <a:pt x="230" y="165"/>
                    <a:pt x="251" y="173"/>
                    <a:pt x="250" y="177"/>
                  </a:cubicBezTo>
                  <a:cubicBezTo>
                    <a:pt x="249" y="181"/>
                    <a:pt x="218" y="175"/>
                    <a:pt x="218" y="175"/>
                  </a:cubicBezTo>
                  <a:cubicBezTo>
                    <a:pt x="218" y="175"/>
                    <a:pt x="179" y="235"/>
                    <a:pt x="169" y="247"/>
                  </a:cubicBezTo>
                  <a:cubicBezTo>
                    <a:pt x="159" y="259"/>
                    <a:pt x="112" y="315"/>
                    <a:pt x="112" y="315"/>
                  </a:cubicBezTo>
                  <a:cubicBezTo>
                    <a:pt x="114" y="330"/>
                    <a:pt x="114" y="330"/>
                    <a:pt x="114" y="330"/>
                  </a:cubicBezTo>
                  <a:cubicBezTo>
                    <a:pt x="114" y="330"/>
                    <a:pt x="101" y="332"/>
                    <a:pt x="90" y="344"/>
                  </a:cubicBezTo>
                  <a:cubicBezTo>
                    <a:pt x="79" y="356"/>
                    <a:pt x="79" y="374"/>
                    <a:pt x="79" y="374"/>
                  </a:cubicBezTo>
                  <a:cubicBezTo>
                    <a:pt x="66" y="387"/>
                    <a:pt x="66" y="387"/>
                    <a:pt x="66" y="387"/>
                  </a:cubicBezTo>
                  <a:cubicBezTo>
                    <a:pt x="63" y="421"/>
                    <a:pt x="63" y="421"/>
                    <a:pt x="63" y="421"/>
                  </a:cubicBezTo>
                  <a:cubicBezTo>
                    <a:pt x="63" y="421"/>
                    <a:pt x="39" y="453"/>
                    <a:pt x="33" y="459"/>
                  </a:cubicBezTo>
                  <a:cubicBezTo>
                    <a:pt x="27" y="465"/>
                    <a:pt x="6" y="477"/>
                    <a:pt x="8" y="488"/>
                  </a:cubicBezTo>
                  <a:cubicBezTo>
                    <a:pt x="10" y="499"/>
                    <a:pt x="26" y="506"/>
                    <a:pt x="23" y="516"/>
                  </a:cubicBezTo>
                  <a:cubicBezTo>
                    <a:pt x="20" y="526"/>
                    <a:pt x="0" y="550"/>
                    <a:pt x="0" y="562"/>
                  </a:cubicBezTo>
                  <a:cubicBezTo>
                    <a:pt x="0" y="574"/>
                    <a:pt x="13" y="615"/>
                    <a:pt x="13" y="615"/>
                  </a:cubicBezTo>
                  <a:cubicBezTo>
                    <a:pt x="29" y="605"/>
                    <a:pt x="29" y="605"/>
                    <a:pt x="29" y="605"/>
                  </a:cubicBezTo>
                  <a:cubicBezTo>
                    <a:pt x="74" y="609"/>
                    <a:pt x="74" y="609"/>
                    <a:pt x="74" y="609"/>
                  </a:cubicBezTo>
                  <a:cubicBezTo>
                    <a:pt x="74" y="609"/>
                    <a:pt x="36" y="609"/>
                    <a:pt x="33" y="615"/>
                  </a:cubicBezTo>
                  <a:cubicBezTo>
                    <a:pt x="30" y="621"/>
                    <a:pt x="31" y="635"/>
                    <a:pt x="31" y="635"/>
                  </a:cubicBezTo>
                  <a:cubicBezTo>
                    <a:pt x="31" y="635"/>
                    <a:pt x="20" y="620"/>
                    <a:pt x="16" y="626"/>
                  </a:cubicBezTo>
                  <a:cubicBezTo>
                    <a:pt x="12" y="632"/>
                    <a:pt x="2" y="651"/>
                    <a:pt x="7" y="659"/>
                  </a:cubicBezTo>
                  <a:cubicBezTo>
                    <a:pt x="12" y="667"/>
                    <a:pt x="25" y="667"/>
                    <a:pt x="25" y="667"/>
                  </a:cubicBezTo>
                  <a:cubicBezTo>
                    <a:pt x="25" y="667"/>
                    <a:pt x="23" y="688"/>
                    <a:pt x="20" y="688"/>
                  </a:cubicBezTo>
                  <a:cubicBezTo>
                    <a:pt x="17" y="688"/>
                    <a:pt x="7" y="700"/>
                    <a:pt x="7" y="709"/>
                  </a:cubicBezTo>
                  <a:cubicBezTo>
                    <a:pt x="7" y="718"/>
                    <a:pt x="20" y="733"/>
                    <a:pt x="20" y="733"/>
                  </a:cubicBezTo>
                  <a:cubicBezTo>
                    <a:pt x="20" y="733"/>
                    <a:pt x="40" y="763"/>
                    <a:pt x="39" y="770"/>
                  </a:cubicBezTo>
                  <a:cubicBezTo>
                    <a:pt x="38" y="777"/>
                    <a:pt x="16" y="799"/>
                    <a:pt x="28" y="803"/>
                  </a:cubicBezTo>
                  <a:cubicBezTo>
                    <a:pt x="40" y="807"/>
                    <a:pt x="65" y="807"/>
                    <a:pt x="65" y="807"/>
                  </a:cubicBezTo>
                  <a:cubicBezTo>
                    <a:pt x="65" y="807"/>
                    <a:pt x="67" y="828"/>
                    <a:pt x="79" y="828"/>
                  </a:cubicBezTo>
                  <a:cubicBezTo>
                    <a:pt x="91" y="828"/>
                    <a:pt x="108" y="822"/>
                    <a:pt x="108" y="822"/>
                  </a:cubicBezTo>
                  <a:cubicBezTo>
                    <a:pt x="111" y="841"/>
                    <a:pt x="111" y="841"/>
                    <a:pt x="111" y="841"/>
                  </a:cubicBezTo>
                  <a:cubicBezTo>
                    <a:pt x="111" y="841"/>
                    <a:pt x="143" y="852"/>
                    <a:pt x="143" y="867"/>
                  </a:cubicBezTo>
                  <a:cubicBezTo>
                    <a:pt x="143" y="875"/>
                    <a:pt x="140" y="889"/>
                    <a:pt x="138" y="901"/>
                  </a:cubicBezTo>
                  <a:cubicBezTo>
                    <a:pt x="141" y="903"/>
                    <a:pt x="141" y="903"/>
                    <a:pt x="141" y="903"/>
                  </a:cubicBezTo>
                  <a:cubicBezTo>
                    <a:pt x="240" y="899"/>
                    <a:pt x="240" y="899"/>
                    <a:pt x="240" y="899"/>
                  </a:cubicBezTo>
                  <a:cubicBezTo>
                    <a:pt x="230" y="909"/>
                    <a:pt x="240" y="909"/>
                    <a:pt x="240" y="909"/>
                  </a:cubicBezTo>
                  <a:cubicBezTo>
                    <a:pt x="380" y="973"/>
                    <a:pt x="380" y="973"/>
                    <a:pt x="380" y="973"/>
                  </a:cubicBezTo>
                  <a:cubicBezTo>
                    <a:pt x="512" y="971"/>
                    <a:pt x="512" y="971"/>
                    <a:pt x="512" y="971"/>
                  </a:cubicBezTo>
                  <a:cubicBezTo>
                    <a:pt x="512" y="971"/>
                    <a:pt x="512" y="971"/>
                    <a:pt x="516" y="968"/>
                  </a:cubicBezTo>
                  <a:cubicBezTo>
                    <a:pt x="519" y="964"/>
                    <a:pt x="517" y="960"/>
                    <a:pt x="517" y="954"/>
                  </a:cubicBezTo>
                  <a:cubicBezTo>
                    <a:pt x="517" y="948"/>
                    <a:pt x="524" y="944"/>
                    <a:pt x="524" y="944"/>
                  </a:cubicBezTo>
                  <a:cubicBezTo>
                    <a:pt x="597" y="944"/>
                    <a:pt x="597" y="944"/>
                    <a:pt x="597" y="944"/>
                  </a:cubicBezTo>
                  <a:cubicBezTo>
                    <a:pt x="612" y="959"/>
                    <a:pt x="607" y="967"/>
                    <a:pt x="607" y="967"/>
                  </a:cubicBezTo>
                  <a:cubicBezTo>
                    <a:pt x="625" y="975"/>
                    <a:pt x="625" y="975"/>
                    <a:pt x="625" y="975"/>
                  </a:cubicBezTo>
                  <a:cubicBezTo>
                    <a:pt x="631" y="996"/>
                    <a:pt x="631" y="996"/>
                    <a:pt x="631" y="996"/>
                  </a:cubicBezTo>
                  <a:cubicBezTo>
                    <a:pt x="631" y="996"/>
                    <a:pt x="642" y="997"/>
                    <a:pt x="653" y="1008"/>
                  </a:cubicBezTo>
                  <a:cubicBezTo>
                    <a:pt x="663" y="1018"/>
                    <a:pt x="653" y="1060"/>
                    <a:pt x="653" y="1060"/>
                  </a:cubicBezTo>
                  <a:cubicBezTo>
                    <a:pt x="653" y="1060"/>
                    <a:pt x="684" y="1094"/>
                    <a:pt x="703" y="1094"/>
                  </a:cubicBezTo>
                  <a:cubicBezTo>
                    <a:pt x="722" y="1094"/>
                    <a:pt x="735" y="1060"/>
                    <a:pt x="739" y="1056"/>
                  </a:cubicBezTo>
                  <a:cubicBezTo>
                    <a:pt x="743" y="1052"/>
                    <a:pt x="755" y="1053"/>
                    <a:pt x="755" y="1053"/>
                  </a:cubicBezTo>
                  <a:cubicBezTo>
                    <a:pt x="756" y="1047"/>
                    <a:pt x="756" y="1047"/>
                    <a:pt x="756" y="1047"/>
                  </a:cubicBezTo>
                  <a:cubicBezTo>
                    <a:pt x="766" y="1052"/>
                    <a:pt x="766" y="1052"/>
                    <a:pt x="766" y="1052"/>
                  </a:cubicBezTo>
                  <a:cubicBezTo>
                    <a:pt x="795" y="1053"/>
                    <a:pt x="795" y="1053"/>
                    <a:pt x="795" y="1053"/>
                  </a:cubicBezTo>
                  <a:cubicBezTo>
                    <a:pt x="795" y="1053"/>
                    <a:pt x="815" y="1084"/>
                    <a:pt x="823" y="1092"/>
                  </a:cubicBezTo>
                  <a:cubicBezTo>
                    <a:pt x="831" y="1100"/>
                    <a:pt x="823" y="1115"/>
                    <a:pt x="823" y="1124"/>
                  </a:cubicBezTo>
                  <a:cubicBezTo>
                    <a:pt x="823" y="1133"/>
                    <a:pt x="834" y="1140"/>
                    <a:pt x="834" y="1140"/>
                  </a:cubicBezTo>
                  <a:cubicBezTo>
                    <a:pt x="834" y="1140"/>
                    <a:pt x="835" y="1146"/>
                    <a:pt x="835" y="1153"/>
                  </a:cubicBezTo>
                  <a:cubicBezTo>
                    <a:pt x="835" y="1161"/>
                    <a:pt x="844" y="1162"/>
                    <a:pt x="851" y="1169"/>
                  </a:cubicBezTo>
                  <a:cubicBezTo>
                    <a:pt x="858" y="1176"/>
                    <a:pt x="848" y="1179"/>
                    <a:pt x="848" y="1179"/>
                  </a:cubicBezTo>
                  <a:cubicBezTo>
                    <a:pt x="848" y="1206"/>
                    <a:pt x="848" y="1206"/>
                    <a:pt x="848" y="1206"/>
                  </a:cubicBezTo>
                  <a:cubicBezTo>
                    <a:pt x="856" y="1212"/>
                    <a:pt x="856" y="1212"/>
                    <a:pt x="856" y="1212"/>
                  </a:cubicBezTo>
                  <a:cubicBezTo>
                    <a:pt x="856" y="1212"/>
                    <a:pt x="854" y="1220"/>
                    <a:pt x="854" y="1231"/>
                  </a:cubicBezTo>
                  <a:cubicBezTo>
                    <a:pt x="854" y="1242"/>
                    <a:pt x="884" y="1243"/>
                    <a:pt x="884" y="1243"/>
                  </a:cubicBezTo>
                  <a:cubicBezTo>
                    <a:pt x="890" y="1254"/>
                    <a:pt x="890" y="1254"/>
                    <a:pt x="890" y="1254"/>
                  </a:cubicBezTo>
                  <a:cubicBezTo>
                    <a:pt x="890" y="1254"/>
                    <a:pt x="909" y="1254"/>
                    <a:pt x="914" y="1254"/>
                  </a:cubicBezTo>
                  <a:cubicBezTo>
                    <a:pt x="919" y="1254"/>
                    <a:pt x="917" y="1264"/>
                    <a:pt x="928" y="1264"/>
                  </a:cubicBezTo>
                  <a:cubicBezTo>
                    <a:pt x="933" y="1264"/>
                    <a:pt x="937" y="1263"/>
                    <a:pt x="940" y="1262"/>
                  </a:cubicBezTo>
                  <a:cubicBezTo>
                    <a:pt x="930" y="1213"/>
                    <a:pt x="930" y="1213"/>
                    <a:pt x="930" y="1213"/>
                  </a:cubicBezTo>
                  <a:cubicBezTo>
                    <a:pt x="942" y="1202"/>
                    <a:pt x="942" y="1202"/>
                    <a:pt x="942" y="1202"/>
                  </a:cubicBezTo>
                  <a:cubicBezTo>
                    <a:pt x="929" y="1193"/>
                    <a:pt x="929" y="1193"/>
                    <a:pt x="929" y="1193"/>
                  </a:cubicBezTo>
                  <a:cubicBezTo>
                    <a:pt x="929" y="1180"/>
                    <a:pt x="929" y="1180"/>
                    <a:pt x="929" y="1180"/>
                  </a:cubicBezTo>
                  <a:cubicBezTo>
                    <a:pt x="929" y="1180"/>
                    <a:pt x="947" y="1192"/>
                    <a:pt x="950" y="1180"/>
                  </a:cubicBezTo>
                  <a:cubicBezTo>
                    <a:pt x="953" y="1168"/>
                    <a:pt x="950" y="1159"/>
                    <a:pt x="950" y="1159"/>
                  </a:cubicBezTo>
                  <a:cubicBezTo>
                    <a:pt x="966" y="1157"/>
                    <a:pt x="966" y="1157"/>
                    <a:pt x="966" y="1157"/>
                  </a:cubicBezTo>
                  <a:cubicBezTo>
                    <a:pt x="971" y="1139"/>
                    <a:pt x="971" y="1139"/>
                    <a:pt x="971" y="1139"/>
                  </a:cubicBezTo>
                  <a:cubicBezTo>
                    <a:pt x="981" y="1144"/>
                    <a:pt x="981" y="1144"/>
                    <a:pt x="981" y="1144"/>
                  </a:cubicBezTo>
                  <a:cubicBezTo>
                    <a:pt x="994" y="1137"/>
                    <a:pt x="994" y="1137"/>
                    <a:pt x="994" y="1137"/>
                  </a:cubicBezTo>
                  <a:cubicBezTo>
                    <a:pt x="989" y="1121"/>
                    <a:pt x="989" y="1121"/>
                    <a:pt x="989" y="1121"/>
                  </a:cubicBezTo>
                  <a:cubicBezTo>
                    <a:pt x="999" y="1128"/>
                    <a:pt x="999" y="1128"/>
                    <a:pt x="999" y="1128"/>
                  </a:cubicBezTo>
                  <a:cubicBezTo>
                    <a:pt x="999" y="1128"/>
                    <a:pt x="1003" y="1106"/>
                    <a:pt x="1009" y="1110"/>
                  </a:cubicBezTo>
                  <a:cubicBezTo>
                    <a:pt x="1015" y="1114"/>
                    <a:pt x="1016" y="1125"/>
                    <a:pt x="1022" y="1122"/>
                  </a:cubicBezTo>
                  <a:cubicBezTo>
                    <a:pt x="1028" y="1119"/>
                    <a:pt x="1056" y="1111"/>
                    <a:pt x="1064" y="1103"/>
                  </a:cubicBezTo>
                  <a:cubicBezTo>
                    <a:pt x="1072" y="1095"/>
                    <a:pt x="1086" y="1076"/>
                    <a:pt x="1086" y="1076"/>
                  </a:cubicBezTo>
                  <a:cubicBezTo>
                    <a:pt x="1086" y="1076"/>
                    <a:pt x="1078" y="1053"/>
                    <a:pt x="1088" y="1052"/>
                  </a:cubicBezTo>
                  <a:cubicBezTo>
                    <a:pt x="1098" y="1051"/>
                    <a:pt x="1109" y="1075"/>
                    <a:pt x="1121" y="1068"/>
                  </a:cubicBezTo>
                  <a:cubicBezTo>
                    <a:pt x="1133" y="1061"/>
                    <a:pt x="1137" y="1033"/>
                    <a:pt x="1143" y="1040"/>
                  </a:cubicBezTo>
                  <a:cubicBezTo>
                    <a:pt x="1149" y="1047"/>
                    <a:pt x="1152" y="1053"/>
                    <a:pt x="1157" y="1053"/>
                  </a:cubicBezTo>
                  <a:cubicBezTo>
                    <a:pt x="1162" y="1053"/>
                    <a:pt x="1173" y="1037"/>
                    <a:pt x="1173" y="1037"/>
                  </a:cubicBezTo>
                  <a:cubicBezTo>
                    <a:pt x="1173" y="1037"/>
                    <a:pt x="1192" y="1068"/>
                    <a:pt x="1206" y="1066"/>
                  </a:cubicBezTo>
                  <a:cubicBezTo>
                    <a:pt x="1220" y="1064"/>
                    <a:pt x="1222" y="1033"/>
                    <a:pt x="1238" y="1049"/>
                  </a:cubicBezTo>
                  <a:cubicBezTo>
                    <a:pt x="1254" y="1065"/>
                    <a:pt x="1246" y="1083"/>
                    <a:pt x="1256" y="1083"/>
                  </a:cubicBezTo>
                  <a:cubicBezTo>
                    <a:pt x="1266" y="1083"/>
                    <a:pt x="1282" y="1090"/>
                    <a:pt x="1282" y="1090"/>
                  </a:cubicBezTo>
                  <a:cubicBezTo>
                    <a:pt x="1282" y="1090"/>
                    <a:pt x="1281" y="1074"/>
                    <a:pt x="1288" y="1079"/>
                  </a:cubicBezTo>
                  <a:cubicBezTo>
                    <a:pt x="1295" y="1084"/>
                    <a:pt x="1303" y="1103"/>
                    <a:pt x="1308" y="1091"/>
                  </a:cubicBezTo>
                  <a:cubicBezTo>
                    <a:pt x="1313" y="1079"/>
                    <a:pt x="1306" y="1064"/>
                    <a:pt x="1306" y="1064"/>
                  </a:cubicBezTo>
                  <a:cubicBezTo>
                    <a:pt x="1320" y="1069"/>
                    <a:pt x="1320" y="1069"/>
                    <a:pt x="1320" y="1069"/>
                  </a:cubicBezTo>
                  <a:cubicBezTo>
                    <a:pt x="1325" y="1080"/>
                    <a:pt x="1325" y="1080"/>
                    <a:pt x="1325" y="1080"/>
                  </a:cubicBezTo>
                  <a:cubicBezTo>
                    <a:pt x="1335" y="1083"/>
                    <a:pt x="1335" y="1083"/>
                    <a:pt x="1335" y="1083"/>
                  </a:cubicBezTo>
                  <a:cubicBezTo>
                    <a:pt x="1335" y="1092"/>
                    <a:pt x="1335" y="1092"/>
                    <a:pt x="1335" y="1092"/>
                  </a:cubicBezTo>
                  <a:cubicBezTo>
                    <a:pt x="1335" y="1092"/>
                    <a:pt x="1359" y="1099"/>
                    <a:pt x="1354" y="1087"/>
                  </a:cubicBezTo>
                  <a:cubicBezTo>
                    <a:pt x="1349" y="1075"/>
                    <a:pt x="1335" y="1070"/>
                    <a:pt x="1335" y="1070"/>
                  </a:cubicBezTo>
                  <a:cubicBezTo>
                    <a:pt x="1329" y="1060"/>
                    <a:pt x="1329" y="1060"/>
                    <a:pt x="1329" y="1060"/>
                  </a:cubicBezTo>
                  <a:cubicBezTo>
                    <a:pt x="1329" y="1060"/>
                    <a:pt x="1349" y="1057"/>
                    <a:pt x="1347" y="1049"/>
                  </a:cubicBezTo>
                  <a:cubicBezTo>
                    <a:pt x="1345" y="1041"/>
                    <a:pt x="1343" y="1039"/>
                    <a:pt x="1334" y="1040"/>
                  </a:cubicBezTo>
                  <a:cubicBezTo>
                    <a:pt x="1325" y="1041"/>
                    <a:pt x="1298" y="1044"/>
                    <a:pt x="1307" y="1030"/>
                  </a:cubicBezTo>
                  <a:cubicBezTo>
                    <a:pt x="1316" y="1016"/>
                    <a:pt x="1325" y="1027"/>
                    <a:pt x="1336" y="1030"/>
                  </a:cubicBezTo>
                  <a:cubicBezTo>
                    <a:pt x="1347" y="1033"/>
                    <a:pt x="1355" y="1031"/>
                    <a:pt x="1365" y="1024"/>
                  </a:cubicBezTo>
                  <a:cubicBezTo>
                    <a:pt x="1375" y="1017"/>
                    <a:pt x="1386" y="1017"/>
                    <a:pt x="1386" y="1017"/>
                  </a:cubicBezTo>
                  <a:cubicBezTo>
                    <a:pt x="1387" y="1021"/>
                    <a:pt x="1387" y="1021"/>
                    <a:pt x="1387" y="1021"/>
                  </a:cubicBezTo>
                  <a:cubicBezTo>
                    <a:pt x="1387" y="1021"/>
                    <a:pt x="1417" y="1021"/>
                    <a:pt x="1417" y="1014"/>
                  </a:cubicBezTo>
                  <a:cubicBezTo>
                    <a:pt x="1417" y="1007"/>
                    <a:pt x="1423" y="992"/>
                    <a:pt x="1426" y="997"/>
                  </a:cubicBezTo>
                  <a:cubicBezTo>
                    <a:pt x="1429" y="1002"/>
                    <a:pt x="1429" y="1024"/>
                    <a:pt x="1429" y="1024"/>
                  </a:cubicBezTo>
                  <a:cubicBezTo>
                    <a:pt x="1429" y="1024"/>
                    <a:pt x="1462" y="1012"/>
                    <a:pt x="1471" y="1013"/>
                  </a:cubicBezTo>
                  <a:cubicBezTo>
                    <a:pt x="1480" y="1014"/>
                    <a:pt x="1487" y="1024"/>
                    <a:pt x="1487" y="1024"/>
                  </a:cubicBezTo>
                  <a:cubicBezTo>
                    <a:pt x="1487" y="1024"/>
                    <a:pt x="1484" y="1008"/>
                    <a:pt x="1494" y="1012"/>
                  </a:cubicBezTo>
                  <a:cubicBezTo>
                    <a:pt x="1504" y="1016"/>
                    <a:pt x="1504" y="1030"/>
                    <a:pt x="1504" y="1030"/>
                  </a:cubicBezTo>
                  <a:cubicBezTo>
                    <a:pt x="1524" y="1025"/>
                    <a:pt x="1524" y="1025"/>
                    <a:pt x="1524" y="1025"/>
                  </a:cubicBezTo>
                  <a:cubicBezTo>
                    <a:pt x="1520" y="1033"/>
                    <a:pt x="1520" y="1033"/>
                    <a:pt x="1520" y="1033"/>
                  </a:cubicBezTo>
                  <a:cubicBezTo>
                    <a:pt x="1520" y="1033"/>
                    <a:pt x="1521" y="1065"/>
                    <a:pt x="1539" y="1061"/>
                  </a:cubicBezTo>
                  <a:cubicBezTo>
                    <a:pt x="1557" y="1057"/>
                    <a:pt x="1570" y="1031"/>
                    <a:pt x="1588" y="1035"/>
                  </a:cubicBezTo>
                  <a:cubicBezTo>
                    <a:pt x="1606" y="1039"/>
                    <a:pt x="1607" y="1073"/>
                    <a:pt x="1616" y="1079"/>
                  </a:cubicBezTo>
                  <a:cubicBezTo>
                    <a:pt x="1625" y="1085"/>
                    <a:pt x="1643" y="1085"/>
                    <a:pt x="1643" y="1085"/>
                  </a:cubicBezTo>
                  <a:cubicBezTo>
                    <a:pt x="1640" y="1111"/>
                    <a:pt x="1640" y="1111"/>
                    <a:pt x="1640" y="1111"/>
                  </a:cubicBezTo>
                  <a:cubicBezTo>
                    <a:pt x="1640" y="1111"/>
                    <a:pt x="1621" y="1139"/>
                    <a:pt x="1623" y="1147"/>
                  </a:cubicBezTo>
                  <a:cubicBezTo>
                    <a:pt x="1625" y="1155"/>
                    <a:pt x="1635" y="1156"/>
                    <a:pt x="1635" y="1156"/>
                  </a:cubicBezTo>
                  <a:cubicBezTo>
                    <a:pt x="1640" y="1166"/>
                    <a:pt x="1640" y="1166"/>
                    <a:pt x="1640" y="1166"/>
                  </a:cubicBezTo>
                  <a:cubicBezTo>
                    <a:pt x="1621" y="1179"/>
                    <a:pt x="1621" y="1179"/>
                    <a:pt x="1621" y="1179"/>
                  </a:cubicBezTo>
                  <a:cubicBezTo>
                    <a:pt x="1634" y="1212"/>
                    <a:pt x="1634" y="1212"/>
                    <a:pt x="1634" y="1212"/>
                  </a:cubicBezTo>
                  <a:cubicBezTo>
                    <a:pt x="1634" y="1212"/>
                    <a:pt x="1649" y="1193"/>
                    <a:pt x="1650" y="1199"/>
                  </a:cubicBezTo>
                  <a:cubicBezTo>
                    <a:pt x="1651" y="1205"/>
                    <a:pt x="1639" y="1230"/>
                    <a:pt x="1639" y="1230"/>
                  </a:cubicBezTo>
                  <a:cubicBezTo>
                    <a:pt x="1649" y="1227"/>
                    <a:pt x="1649" y="1227"/>
                    <a:pt x="1649" y="1227"/>
                  </a:cubicBezTo>
                  <a:cubicBezTo>
                    <a:pt x="1652" y="1259"/>
                    <a:pt x="1652" y="1259"/>
                    <a:pt x="1652" y="1259"/>
                  </a:cubicBezTo>
                  <a:cubicBezTo>
                    <a:pt x="1652" y="1259"/>
                    <a:pt x="1669" y="1259"/>
                    <a:pt x="1669" y="1265"/>
                  </a:cubicBezTo>
                  <a:cubicBezTo>
                    <a:pt x="1669" y="1271"/>
                    <a:pt x="1666" y="1287"/>
                    <a:pt x="1666" y="1287"/>
                  </a:cubicBezTo>
                  <a:cubicBezTo>
                    <a:pt x="1681" y="1304"/>
                    <a:pt x="1681" y="1304"/>
                    <a:pt x="1681" y="1304"/>
                  </a:cubicBezTo>
                  <a:cubicBezTo>
                    <a:pt x="1681" y="1304"/>
                    <a:pt x="1705" y="1298"/>
                    <a:pt x="1707" y="1291"/>
                  </a:cubicBezTo>
                  <a:cubicBezTo>
                    <a:pt x="1709" y="1284"/>
                    <a:pt x="1711" y="1271"/>
                    <a:pt x="1711" y="1271"/>
                  </a:cubicBezTo>
                  <a:cubicBezTo>
                    <a:pt x="1723" y="1271"/>
                    <a:pt x="1723" y="1271"/>
                    <a:pt x="1723" y="1271"/>
                  </a:cubicBezTo>
                  <a:cubicBezTo>
                    <a:pt x="1723" y="1271"/>
                    <a:pt x="1722" y="1250"/>
                    <a:pt x="1729" y="1240"/>
                  </a:cubicBezTo>
                  <a:cubicBezTo>
                    <a:pt x="1736" y="1230"/>
                    <a:pt x="1740" y="1213"/>
                    <a:pt x="1737" y="1203"/>
                  </a:cubicBezTo>
                  <a:cubicBezTo>
                    <a:pt x="1734" y="1193"/>
                    <a:pt x="1724" y="1160"/>
                    <a:pt x="1724" y="1151"/>
                  </a:cubicBezTo>
                  <a:cubicBezTo>
                    <a:pt x="1724" y="1142"/>
                    <a:pt x="1730" y="1128"/>
                    <a:pt x="1730" y="1112"/>
                  </a:cubicBezTo>
                  <a:cubicBezTo>
                    <a:pt x="1730" y="1096"/>
                    <a:pt x="1710" y="1070"/>
                    <a:pt x="1714" y="1056"/>
                  </a:cubicBezTo>
                  <a:cubicBezTo>
                    <a:pt x="1718" y="1042"/>
                    <a:pt x="1710" y="1002"/>
                    <a:pt x="1722" y="987"/>
                  </a:cubicBezTo>
                  <a:cubicBezTo>
                    <a:pt x="1734" y="972"/>
                    <a:pt x="1742" y="948"/>
                    <a:pt x="1742" y="948"/>
                  </a:cubicBezTo>
                  <a:cubicBezTo>
                    <a:pt x="1752" y="942"/>
                    <a:pt x="1752" y="942"/>
                    <a:pt x="1752" y="942"/>
                  </a:cubicBezTo>
                  <a:cubicBezTo>
                    <a:pt x="1765" y="929"/>
                    <a:pt x="1765" y="929"/>
                    <a:pt x="1765" y="929"/>
                  </a:cubicBezTo>
                  <a:cubicBezTo>
                    <a:pt x="1771" y="913"/>
                    <a:pt x="1771" y="913"/>
                    <a:pt x="1771" y="913"/>
                  </a:cubicBezTo>
                  <a:cubicBezTo>
                    <a:pt x="1780" y="919"/>
                    <a:pt x="1780" y="919"/>
                    <a:pt x="1780" y="919"/>
                  </a:cubicBezTo>
                  <a:cubicBezTo>
                    <a:pt x="1783" y="905"/>
                    <a:pt x="1783" y="905"/>
                    <a:pt x="1783" y="905"/>
                  </a:cubicBezTo>
                  <a:cubicBezTo>
                    <a:pt x="1783" y="905"/>
                    <a:pt x="1813" y="909"/>
                    <a:pt x="1818" y="903"/>
                  </a:cubicBezTo>
                  <a:cubicBezTo>
                    <a:pt x="1823" y="897"/>
                    <a:pt x="1819" y="886"/>
                    <a:pt x="1819" y="886"/>
                  </a:cubicBezTo>
                  <a:cubicBezTo>
                    <a:pt x="1832" y="887"/>
                    <a:pt x="1832" y="887"/>
                    <a:pt x="1832" y="887"/>
                  </a:cubicBezTo>
                  <a:cubicBezTo>
                    <a:pt x="1836" y="881"/>
                    <a:pt x="1836" y="881"/>
                    <a:pt x="1836" y="881"/>
                  </a:cubicBezTo>
                  <a:cubicBezTo>
                    <a:pt x="1847" y="880"/>
                    <a:pt x="1847" y="880"/>
                    <a:pt x="1847" y="880"/>
                  </a:cubicBezTo>
                  <a:cubicBezTo>
                    <a:pt x="1864" y="859"/>
                    <a:pt x="1864" y="859"/>
                    <a:pt x="1864" y="859"/>
                  </a:cubicBezTo>
                  <a:cubicBezTo>
                    <a:pt x="1864" y="859"/>
                    <a:pt x="1868" y="839"/>
                    <a:pt x="1887" y="834"/>
                  </a:cubicBezTo>
                  <a:cubicBezTo>
                    <a:pt x="1906" y="829"/>
                    <a:pt x="1917" y="840"/>
                    <a:pt x="1926" y="831"/>
                  </a:cubicBezTo>
                  <a:cubicBezTo>
                    <a:pt x="1935" y="822"/>
                    <a:pt x="1941" y="805"/>
                    <a:pt x="1941" y="805"/>
                  </a:cubicBezTo>
                  <a:cubicBezTo>
                    <a:pt x="1951" y="807"/>
                    <a:pt x="1951" y="807"/>
                    <a:pt x="1951" y="807"/>
                  </a:cubicBezTo>
                  <a:cubicBezTo>
                    <a:pt x="1956" y="792"/>
                    <a:pt x="1956" y="792"/>
                    <a:pt x="1956" y="792"/>
                  </a:cubicBezTo>
                  <a:cubicBezTo>
                    <a:pt x="2010" y="789"/>
                    <a:pt x="2010" y="789"/>
                    <a:pt x="2010" y="789"/>
                  </a:cubicBezTo>
                  <a:cubicBezTo>
                    <a:pt x="2013" y="773"/>
                    <a:pt x="2013" y="773"/>
                    <a:pt x="2013" y="773"/>
                  </a:cubicBezTo>
                  <a:cubicBezTo>
                    <a:pt x="1988" y="775"/>
                    <a:pt x="1988" y="775"/>
                    <a:pt x="1988" y="775"/>
                  </a:cubicBezTo>
                  <a:cubicBezTo>
                    <a:pt x="1988" y="775"/>
                    <a:pt x="2002" y="770"/>
                    <a:pt x="2001" y="763"/>
                  </a:cubicBezTo>
                  <a:cubicBezTo>
                    <a:pt x="2000" y="756"/>
                    <a:pt x="1990" y="749"/>
                    <a:pt x="1990" y="749"/>
                  </a:cubicBezTo>
                  <a:cubicBezTo>
                    <a:pt x="2013" y="745"/>
                    <a:pt x="2013" y="745"/>
                    <a:pt x="2013" y="745"/>
                  </a:cubicBezTo>
                  <a:cubicBezTo>
                    <a:pt x="2029" y="751"/>
                    <a:pt x="2029" y="751"/>
                    <a:pt x="2029" y="751"/>
                  </a:cubicBezTo>
                  <a:cubicBezTo>
                    <a:pt x="2052" y="727"/>
                    <a:pt x="2052" y="727"/>
                    <a:pt x="2052" y="727"/>
                  </a:cubicBezTo>
                  <a:cubicBezTo>
                    <a:pt x="2015" y="726"/>
                    <a:pt x="2015" y="726"/>
                    <a:pt x="2015" y="726"/>
                  </a:cubicBezTo>
                  <a:cubicBezTo>
                    <a:pt x="2013" y="709"/>
                    <a:pt x="2013" y="709"/>
                    <a:pt x="2013" y="709"/>
                  </a:cubicBezTo>
                  <a:cubicBezTo>
                    <a:pt x="2022" y="718"/>
                    <a:pt x="2022" y="718"/>
                    <a:pt x="2022" y="718"/>
                  </a:cubicBezTo>
                  <a:cubicBezTo>
                    <a:pt x="2052" y="707"/>
                    <a:pt x="2052" y="707"/>
                    <a:pt x="2052" y="707"/>
                  </a:cubicBezTo>
                  <a:cubicBezTo>
                    <a:pt x="2055" y="668"/>
                    <a:pt x="2055" y="668"/>
                    <a:pt x="2055" y="668"/>
                  </a:cubicBezTo>
                  <a:cubicBezTo>
                    <a:pt x="2036" y="676"/>
                    <a:pt x="2036" y="676"/>
                    <a:pt x="2036" y="676"/>
                  </a:cubicBezTo>
                  <a:cubicBezTo>
                    <a:pt x="2032" y="658"/>
                    <a:pt x="2032" y="658"/>
                    <a:pt x="2032" y="658"/>
                  </a:cubicBezTo>
                  <a:cubicBezTo>
                    <a:pt x="2016" y="647"/>
                    <a:pt x="2016" y="647"/>
                    <a:pt x="2016" y="647"/>
                  </a:cubicBezTo>
                  <a:cubicBezTo>
                    <a:pt x="2045" y="662"/>
                    <a:pt x="2045" y="662"/>
                    <a:pt x="2045" y="662"/>
                  </a:cubicBezTo>
                  <a:cubicBezTo>
                    <a:pt x="2052" y="656"/>
                    <a:pt x="2052" y="656"/>
                    <a:pt x="2052" y="656"/>
                  </a:cubicBezTo>
                  <a:cubicBezTo>
                    <a:pt x="2039" y="646"/>
                    <a:pt x="2039" y="646"/>
                    <a:pt x="2039" y="646"/>
                  </a:cubicBezTo>
                  <a:cubicBezTo>
                    <a:pt x="2057" y="646"/>
                    <a:pt x="2057" y="646"/>
                    <a:pt x="2057" y="646"/>
                  </a:cubicBezTo>
                  <a:cubicBezTo>
                    <a:pt x="2057" y="646"/>
                    <a:pt x="2035" y="617"/>
                    <a:pt x="2035" y="610"/>
                  </a:cubicBezTo>
                  <a:cubicBezTo>
                    <a:pt x="2035" y="603"/>
                    <a:pt x="2040" y="600"/>
                    <a:pt x="2040" y="600"/>
                  </a:cubicBezTo>
                  <a:cubicBezTo>
                    <a:pt x="2040" y="600"/>
                    <a:pt x="2023" y="589"/>
                    <a:pt x="2025" y="586"/>
                  </a:cubicBezTo>
                  <a:cubicBezTo>
                    <a:pt x="2027" y="583"/>
                    <a:pt x="2046" y="571"/>
                    <a:pt x="2046" y="571"/>
                  </a:cubicBezTo>
                  <a:cubicBezTo>
                    <a:pt x="2041" y="589"/>
                    <a:pt x="2041" y="589"/>
                    <a:pt x="2041" y="589"/>
                  </a:cubicBezTo>
                  <a:cubicBezTo>
                    <a:pt x="2062" y="606"/>
                    <a:pt x="2062" y="606"/>
                    <a:pt x="2062" y="606"/>
                  </a:cubicBezTo>
                  <a:cubicBezTo>
                    <a:pt x="2062" y="606"/>
                    <a:pt x="2070" y="582"/>
                    <a:pt x="2070" y="569"/>
                  </a:cubicBezTo>
                  <a:cubicBezTo>
                    <a:pt x="2070" y="556"/>
                    <a:pt x="2108" y="525"/>
                    <a:pt x="2107" y="533"/>
                  </a:cubicBezTo>
                  <a:cubicBezTo>
                    <a:pt x="2106" y="541"/>
                    <a:pt x="2083" y="574"/>
                    <a:pt x="2083" y="574"/>
                  </a:cubicBezTo>
                  <a:cubicBezTo>
                    <a:pt x="2077" y="596"/>
                    <a:pt x="2077" y="596"/>
                    <a:pt x="2077" y="596"/>
                  </a:cubicBezTo>
                  <a:cubicBezTo>
                    <a:pt x="2090" y="597"/>
                    <a:pt x="2090" y="597"/>
                    <a:pt x="2090" y="597"/>
                  </a:cubicBezTo>
                  <a:cubicBezTo>
                    <a:pt x="2090" y="597"/>
                    <a:pt x="2087" y="619"/>
                    <a:pt x="2082" y="623"/>
                  </a:cubicBezTo>
                  <a:cubicBezTo>
                    <a:pt x="2077" y="627"/>
                    <a:pt x="2059" y="661"/>
                    <a:pt x="2066" y="661"/>
                  </a:cubicBezTo>
                  <a:cubicBezTo>
                    <a:pt x="2073" y="661"/>
                    <a:pt x="2083" y="637"/>
                    <a:pt x="2089" y="632"/>
                  </a:cubicBezTo>
                  <a:cubicBezTo>
                    <a:pt x="2095" y="627"/>
                    <a:pt x="2125" y="611"/>
                    <a:pt x="2127" y="598"/>
                  </a:cubicBezTo>
                  <a:cubicBezTo>
                    <a:pt x="2129" y="585"/>
                    <a:pt x="2125" y="564"/>
                    <a:pt x="2125" y="553"/>
                  </a:cubicBezTo>
                  <a:cubicBezTo>
                    <a:pt x="2125" y="542"/>
                    <a:pt x="2129" y="516"/>
                    <a:pt x="2136" y="513"/>
                  </a:cubicBezTo>
                  <a:cubicBezTo>
                    <a:pt x="2143" y="510"/>
                    <a:pt x="2138" y="515"/>
                    <a:pt x="2135" y="528"/>
                  </a:cubicBezTo>
                  <a:cubicBezTo>
                    <a:pt x="2132" y="541"/>
                    <a:pt x="2144" y="545"/>
                    <a:pt x="2144" y="545"/>
                  </a:cubicBezTo>
                  <a:cubicBezTo>
                    <a:pt x="2144" y="545"/>
                    <a:pt x="2138" y="570"/>
                    <a:pt x="2141" y="570"/>
                  </a:cubicBezTo>
                  <a:cubicBezTo>
                    <a:pt x="2144" y="570"/>
                    <a:pt x="2175" y="531"/>
                    <a:pt x="2185" y="521"/>
                  </a:cubicBezTo>
                  <a:cubicBezTo>
                    <a:pt x="2195" y="511"/>
                    <a:pt x="2217" y="495"/>
                    <a:pt x="2214" y="491"/>
                  </a:cubicBezTo>
                  <a:cubicBezTo>
                    <a:pt x="2211" y="487"/>
                    <a:pt x="2202" y="490"/>
                    <a:pt x="2202" y="480"/>
                  </a:cubicBezTo>
                  <a:cubicBezTo>
                    <a:pt x="2202" y="470"/>
                    <a:pt x="2220" y="475"/>
                    <a:pt x="2240" y="475"/>
                  </a:cubicBezTo>
                  <a:cubicBezTo>
                    <a:pt x="2260" y="475"/>
                    <a:pt x="2306" y="453"/>
                    <a:pt x="2306" y="453"/>
                  </a:cubicBezTo>
                  <a:cubicBezTo>
                    <a:pt x="2293" y="447"/>
                    <a:pt x="2293" y="447"/>
                    <a:pt x="2293" y="447"/>
                  </a:cubicBezTo>
                  <a:cubicBezTo>
                    <a:pt x="2293" y="447"/>
                    <a:pt x="2269" y="458"/>
                    <a:pt x="2257" y="459"/>
                  </a:cubicBezTo>
                  <a:cubicBezTo>
                    <a:pt x="2245" y="460"/>
                    <a:pt x="2225" y="468"/>
                    <a:pt x="2228" y="455"/>
                  </a:cubicBezTo>
                  <a:cubicBezTo>
                    <a:pt x="2231" y="442"/>
                    <a:pt x="2266" y="439"/>
                    <a:pt x="2266" y="439"/>
                  </a:cubicBezTo>
                  <a:cubicBezTo>
                    <a:pt x="2326" y="438"/>
                    <a:pt x="2326" y="438"/>
                    <a:pt x="2326" y="438"/>
                  </a:cubicBezTo>
                  <a:cubicBezTo>
                    <a:pt x="2355" y="411"/>
                    <a:pt x="2355" y="411"/>
                    <a:pt x="2355" y="411"/>
                  </a:cubicBezTo>
                  <a:cubicBezTo>
                    <a:pt x="2361" y="421"/>
                    <a:pt x="2361" y="421"/>
                    <a:pt x="2361" y="421"/>
                  </a:cubicBezTo>
                  <a:cubicBezTo>
                    <a:pt x="2379" y="412"/>
                    <a:pt x="2379" y="412"/>
                    <a:pt x="2379" y="412"/>
                  </a:cubicBezTo>
                  <a:cubicBezTo>
                    <a:pt x="2377" y="435"/>
                    <a:pt x="2377" y="435"/>
                    <a:pt x="2377" y="435"/>
                  </a:cubicBezTo>
                  <a:cubicBezTo>
                    <a:pt x="2397" y="422"/>
                    <a:pt x="2397" y="422"/>
                    <a:pt x="2397" y="422"/>
                  </a:cubicBezTo>
                  <a:cubicBezTo>
                    <a:pt x="2413" y="418"/>
                    <a:pt x="2413" y="418"/>
                    <a:pt x="2413" y="418"/>
                  </a:cubicBezTo>
                  <a:cubicBezTo>
                    <a:pt x="2418" y="396"/>
                    <a:pt x="2418" y="396"/>
                    <a:pt x="2418" y="396"/>
                  </a:cubicBezTo>
                  <a:cubicBezTo>
                    <a:pt x="2409" y="388"/>
                    <a:pt x="2409" y="388"/>
                    <a:pt x="2409" y="388"/>
                  </a:cubicBezTo>
                  <a:cubicBezTo>
                    <a:pt x="2407" y="407"/>
                    <a:pt x="2407" y="407"/>
                    <a:pt x="2407" y="407"/>
                  </a:cubicBezTo>
                  <a:cubicBezTo>
                    <a:pt x="2391" y="410"/>
                    <a:pt x="2391" y="410"/>
                    <a:pt x="2391" y="410"/>
                  </a:cubicBezTo>
                  <a:cubicBezTo>
                    <a:pt x="2391" y="391"/>
                    <a:pt x="2391" y="391"/>
                    <a:pt x="2391" y="391"/>
                  </a:cubicBezTo>
                  <a:cubicBezTo>
                    <a:pt x="2378" y="377"/>
                    <a:pt x="2378" y="377"/>
                    <a:pt x="2378" y="377"/>
                  </a:cubicBezTo>
                  <a:cubicBezTo>
                    <a:pt x="2394" y="369"/>
                    <a:pt x="2394" y="369"/>
                    <a:pt x="2394" y="369"/>
                  </a:cubicBezTo>
                  <a:cubicBezTo>
                    <a:pt x="2398" y="346"/>
                    <a:pt x="2398" y="346"/>
                    <a:pt x="2398" y="346"/>
                  </a:cubicBezTo>
                  <a:cubicBezTo>
                    <a:pt x="2398" y="346"/>
                    <a:pt x="2413" y="329"/>
                    <a:pt x="2423" y="324"/>
                  </a:cubicBezTo>
                  <a:cubicBezTo>
                    <a:pt x="2433" y="319"/>
                    <a:pt x="2438" y="301"/>
                    <a:pt x="2438" y="301"/>
                  </a:cubicBezTo>
                  <a:cubicBezTo>
                    <a:pt x="2457" y="306"/>
                    <a:pt x="2457" y="306"/>
                    <a:pt x="2457" y="306"/>
                  </a:cubicBezTo>
                  <a:cubicBezTo>
                    <a:pt x="2467" y="291"/>
                    <a:pt x="2467" y="291"/>
                    <a:pt x="2467" y="291"/>
                  </a:cubicBezTo>
                  <a:cubicBezTo>
                    <a:pt x="2467" y="291"/>
                    <a:pt x="2470" y="302"/>
                    <a:pt x="2479" y="296"/>
                  </a:cubicBezTo>
                  <a:cubicBezTo>
                    <a:pt x="2488" y="290"/>
                    <a:pt x="2515" y="266"/>
                    <a:pt x="2515" y="266"/>
                  </a:cubicBezTo>
                  <a:cubicBezTo>
                    <a:pt x="2516" y="284"/>
                    <a:pt x="2516" y="284"/>
                    <a:pt x="2516" y="284"/>
                  </a:cubicBezTo>
                  <a:cubicBezTo>
                    <a:pt x="2516" y="284"/>
                    <a:pt x="2547" y="265"/>
                    <a:pt x="2556" y="260"/>
                  </a:cubicBezTo>
                  <a:cubicBezTo>
                    <a:pt x="2565" y="255"/>
                    <a:pt x="2597" y="254"/>
                    <a:pt x="2597" y="254"/>
                  </a:cubicBezTo>
                  <a:cubicBezTo>
                    <a:pt x="2597" y="232"/>
                    <a:pt x="2597" y="232"/>
                    <a:pt x="2597" y="232"/>
                  </a:cubicBezTo>
                  <a:cubicBezTo>
                    <a:pt x="2597" y="232"/>
                    <a:pt x="2598" y="232"/>
                    <a:pt x="2598" y="233"/>
                  </a:cubicBezTo>
                  <a:cubicBezTo>
                    <a:pt x="2597" y="229"/>
                    <a:pt x="2597" y="229"/>
                    <a:pt x="2597" y="229"/>
                  </a:cubicBezTo>
                  <a:cubicBezTo>
                    <a:pt x="2597" y="229"/>
                    <a:pt x="2589" y="232"/>
                    <a:pt x="2584" y="227"/>
                  </a:cubicBezTo>
                  <a:cubicBezTo>
                    <a:pt x="2579" y="222"/>
                    <a:pt x="2593" y="209"/>
                    <a:pt x="2593" y="209"/>
                  </a:cubicBezTo>
                  <a:cubicBezTo>
                    <a:pt x="2593" y="209"/>
                    <a:pt x="2585" y="205"/>
                    <a:pt x="2582" y="202"/>
                  </a:cubicBezTo>
                  <a:cubicBezTo>
                    <a:pt x="2579" y="199"/>
                    <a:pt x="2609" y="142"/>
                    <a:pt x="2609" y="125"/>
                  </a:cubicBezTo>
                  <a:cubicBezTo>
                    <a:pt x="2609" y="108"/>
                    <a:pt x="2582" y="119"/>
                    <a:pt x="2570" y="119"/>
                  </a:cubicBezTo>
                  <a:close/>
                  <a:moveTo>
                    <a:pt x="1811" y="252"/>
                  </a:moveTo>
                  <a:cubicBezTo>
                    <a:pt x="1797" y="252"/>
                    <a:pt x="1817" y="235"/>
                    <a:pt x="1810" y="232"/>
                  </a:cubicBezTo>
                  <a:cubicBezTo>
                    <a:pt x="1803" y="229"/>
                    <a:pt x="1793" y="242"/>
                    <a:pt x="1793" y="242"/>
                  </a:cubicBezTo>
                  <a:cubicBezTo>
                    <a:pt x="1788" y="244"/>
                    <a:pt x="1788" y="244"/>
                    <a:pt x="1788" y="244"/>
                  </a:cubicBezTo>
                  <a:cubicBezTo>
                    <a:pt x="1784" y="255"/>
                    <a:pt x="1784" y="255"/>
                    <a:pt x="1784" y="255"/>
                  </a:cubicBezTo>
                  <a:cubicBezTo>
                    <a:pt x="1773" y="251"/>
                    <a:pt x="1773" y="251"/>
                    <a:pt x="1773" y="251"/>
                  </a:cubicBezTo>
                  <a:cubicBezTo>
                    <a:pt x="1773" y="251"/>
                    <a:pt x="1773" y="262"/>
                    <a:pt x="1770" y="269"/>
                  </a:cubicBezTo>
                  <a:cubicBezTo>
                    <a:pt x="1767" y="276"/>
                    <a:pt x="1757" y="279"/>
                    <a:pt x="1752" y="284"/>
                  </a:cubicBezTo>
                  <a:cubicBezTo>
                    <a:pt x="1747" y="289"/>
                    <a:pt x="1753" y="297"/>
                    <a:pt x="1753" y="297"/>
                  </a:cubicBezTo>
                  <a:cubicBezTo>
                    <a:pt x="1753" y="297"/>
                    <a:pt x="1749" y="297"/>
                    <a:pt x="1736" y="311"/>
                  </a:cubicBezTo>
                  <a:cubicBezTo>
                    <a:pt x="1723" y="325"/>
                    <a:pt x="1741" y="325"/>
                    <a:pt x="1741" y="333"/>
                  </a:cubicBezTo>
                  <a:cubicBezTo>
                    <a:pt x="1741" y="341"/>
                    <a:pt x="1734" y="342"/>
                    <a:pt x="1734" y="342"/>
                  </a:cubicBezTo>
                  <a:cubicBezTo>
                    <a:pt x="1734" y="342"/>
                    <a:pt x="1742" y="346"/>
                    <a:pt x="1719" y="378"/>
                  </a:cubicBezTo>
                  <a:cubicBezTo>
                    <a:pt x="1696" y="410"/>
                    <a:pt x="1651" y="420"/>
                    <a:pt x="1651" y="420"/>
                  </a:cubicBezTo>
                  <a:cubicBezTo>
                    <a:pt x="1654" y="400"/>
                    <a:pt x="1654" y="400"/>
                    <a:pt x="1654" y="400"/>
                  </a:cubicBezTo>
                  <a:cubicBezTo>
                    <a:pt x="1654" y="400"/>
                    <a:pt x="1650" y="393"/>
                    <a:pt x="1648" y="389"/>
                  </a:cubicBezTo>
                  <a:cubicBezTo>
                    <a:pt x="1646" y="385"/>
                    <a:pt x="1663" y="365"/>
                    <a:pt x="1665" y="358"/>
                  </a:cubicBezTo>
                  <a:cubicBezTo>
                    <a:pt x="1667" y="351"/>
                    <a:pt x="1661" y="350"/>
                    <a:pt x="1663" y="338"/>
                  </a:cubicBezTo>
                  <a:cubicBezTo>
                    <a:pt x="1665" y="326"/>
                    <a:pt x="1687" y="307"/>
                    <a:pt x="1687" y="307"/>
                  </a:cubicBezTo>
                  <a:cubicBezTo>
                    <a:pt x="1687" y="298"/>
                    <a:pt x="1687" y="298"/>
                    <a:pt x="1687" y="298"/>
                  </a:cubicBezTo>
                  <a:cubicBezTo>
                    <a:pt x="1687" y="298"/>
                    <a:pt x="1708" y="283"/>
                    <a:pt x="1711" y="277"/>
                  </a:cubicBezTo>
                  <a:cubicBezTo>
                    <a:pt x="1714" y="271"/>
                    <a:pt x="1746" y="240"/>
                    <a:pt x="1746" y="240"/>
                  </a:cubicBezTo>
                  <a:cubicBezTo>
                    <a:pt x="1725" y="246"/>
                    <a:pt x="1725" y="246"/>
                    <a:pt x="1725" y="246"/>
                  </a:cubicBezTo>
                  <a:cubicBezTo>
                    <a:pt x="1725" y="246"/>
                    <a:pt x="1702" y="265"/>
                    <a:pt x="1698" y="260"/>
                  </a:cubicBezTo>
                  <a:cubicBezTo>
                    <a:pt x="1694" y="255"/>
                    <a:pt x="1734" y="231"/>
                    <a:pt x="1739" y="223"/>
                  </a:cubicBezTo>
                  <a:cubicBezTo>
                    <a:pt x="1744" y="215"/>
                    <a:pt x="1772" y="194"/>
                    <a:pt x="1772" y="194"/>
                  </a:cubicBezTo>
                  <a:cubicBezTo>
                    <a:pt x="1777" y="200"/>
                    <a:pt x="1777" y="200"/>
                    <a:pt x="1777" y="200"/>
                  </a:cubicBezTo>
                  <a:cubicBezTo>
                    <a:pt x="1787" y="194"/>
                    <a:pt x="1787" y="194"/>
                    <a:pt x="1787" y="194"/>
                  </a:cubicBezTo>
                  <a:cubicBezTo>
                    <a:pt x="1787" y="194"/>
                    <a:pt x="1782" y="203"/>
                    <a:pt x="1792" y="202"/>
                  </a:cubicBezTo>
                  <a:cubicBezTo>
                    <a:pt x="1802" y="201"/>
                    <a:pt x="1799" y="187"/>
                    <a:pt x="1799" y="187"/>
                  </a:cubicBezTo>
                  <a:cubicBezTo>
                    <a:pt x="1815" y="192"/>
                    <a:pt x="1815" y="192"/>
                    <a:pt x="1815" y="192"/>
                  </a:cubicBezTo>
                  <a:cubicBezTo>
                    <a:pt x="1815" y="192"/>
                    <a:pt x="1837" y="181"/>
                    <a:pt x="1847" y="184"/>
                  </a:cubicBezTo>
                  <a:cubicBezTo>
                    <a:pt x="1857" y="187"/>
                    <a:pt x="1862" y="199"/>
                    <a:pt x="1862" y="199"/>
                  </a:cubicBezTo>
                  <a:cubicBezTo>
                    <a:pt x="1845" y="205"/>
                    <a:pt x="1845" y="205"/>
                    <a:pt x="1845" y="205"/>
                  </a:cubicBezTo>
                  <a:cubicBezTo>
                    <a:pt x="1847" y="222"/>
                    <a:pt x="1847" y="222"/>
                    <a:pt x="1847" y="222"/>
                  </a:cubicBezTo>
                  <a:cubicBezTo>
                    <a:pt x="1847" y="222"/>
                    <a:pt x="1835" y="220"/>
                    <a:pt x="1828" y="220"/>
                  </a:cubicBezTo>
                  <a:cubicBezTo>
                    <a:pt x="1821" y="220"/>
                    <a:pt x="1824" y="237"/>
                    <a:pt x="1824" y="237"/>
                  </a:cubicBezTo>
                  <a:cubicBezTo>
                    <a:pt x="1824" y="237"/>
                    <a:pt x="1825" y="252"/>
                    <a:pt x="1811" y="252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79" name="Freeform 359">
              <a:extLst>
                <a:ext uri="{FF2B5EF4-FFF2-40B4-BE49-F238E27FC236}">
                  <a16:creationId xmlns:a16="http://schemas.microsoft.com/office/drawing/2014/main" id="{1B10C4E1-355E-3043-3C3C-2A5BF131C1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9662" y="-15009"/>
              <a:ext cx="645" cy="345"/>
            </a:xfrm>
            <a:custGeom>
              <a:avLst/>
              <a:gdLst>
                <a:gd name="T0" fmla="*/ 11 w 273"/>
                <a:gd name="T1" fmla="*/ 2 h 146"/>
                <a:gd name="T2" fmla="*/ 6 w 273"/>
                <a:gd name="T3" fmla="*/ 13 h 146"/>
                <a:gd name="T4" fmla="*/ 11 w 273"/>
                <a:gd name="T5" fmla="*/ 2 h 146"/>
                <a:gd name="T6" fmla="*/ 115 w 273"/>
                <a:gd name="T7" fmla="*/ 57 h 146"/>
                <a:gd name="T8" fmla="*/ 142 w 273"/>
                <a:gd name="T9" fmla="*/ 62 h 146"/>
                <a:gd name="T10" fmla="*/ 129 w 273"/>
                <a:gd name="T11" fmla="*/ 52 h 146"/>
                <a:gd name="T12" fmla="*/ 119 w 273"/>
                <a:gd name="T13" fmla="*/ 52 h 146"/>
                <a:gd name="T14" fmla="*/ 115 w 273"/>
                <a:gd name="T15" fmla="*/ 57 h 146"/>
                <a:gd name="T16" fmla="*/ 190 w 273"/>
                <a:gd name="T17" fmla="*/ 47 h 146"/>
                <a:gd name="T18" fmla="*/ 180 w 273"/>
                <a:gd name="T19" fmla="*/ 38 h 146"/>
                <a:gd name="T20" fmla="*/ 169 w 273"/>
                <a:gd name="T21" fmla="*/ 43 h 146"/>
                <a:gd name="T22" fmla="*/ 190 w 273"/>
                <a:gd name="T23" fmla="*/ 47 h 146"/>
                <a:gd name="T24" fmla="*/ 249 w 273"/>
                <a:gd name="T25" fmla="*/ 100 h 146"/>
                <a:gd name="T26" fmla="*/ 266 w 273"/>
                <a:gd name="T27" fmla="*/ 93 h 146"/>
                <a:gd name="T28" fmla="*/ 249 w 273"/>
                <a:gd name="T29" fmla="*/ 90 h 146"/>
                <a:gd name="T30" fmla="*/ 232 w 273"/>
                <a:gd name="T31" fmla="*/ 87 h 146"/>
                <a:gd name="T32" fmla="*/ 249 w 273"/>
                <a:gd name="T33" fmla="*/ 100 h 146"/>
                <a:gd name="T34" fmla="*/ 260 w 273"/>
                <a:gd name="T35" fmla="*/ 145 h 146"/>
                <a:gd name="T36" fmla="*/ 260 w 273"/>
                <a:gd name="T37" fmla="*/ 131 h 146"/>
                <a:gd name="T38" fmla="*/ 260 w 273"/>
                <a:gd name="T39" fmla="*/ 1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3" h="146">
                  <a:moveTo>
                    <a:pt x="11" y="2"/>
                  </a:moveTo>
                  <a:cubicBezTo>
                    <a:pt x="15" y="4"/>
                    <a:pt x="12" y="16"/>
                    <a:pt x="6" y="13"/>
                  </a:cubicBezTo>
                  <a:cubicBezTo>
                    <a:pt x="0" y="11"/>
                    <a:pt x="6" y="0"/>
                    <a:pt x="11" y="2"/>
                  </a:cubicBezTo>
                  <a:close/>
                  <a:moveTo>
                    <a:pt x="115" y="57"/>
                  </a:moveTo>
                  <a:cubicBezTo>
                    <a:pt x="121" y="68"/>
                    <a:pt x="142" y="62"/>
                    <a:pt x="142" y="62"/>
                  </a:cubicBezTo>
                  <a:cubicBezTo>
                    <a:pt x="129" y="52"/>
                    <a:pt x="129" y="52"/>
                    <a:pt x="129" y="52"/>
                  </a:cubicBezTo>
                  <a:cubicBezTo>
                    <a:pt x="119" y="52"/>
                    <a:pt x="119" y="52"/>
                    <a:pt x="119" y="52"/>
                  </a:cubicBezTo>
                  <a:lnTo>
                    <a:pt x="115" y="57"/>
                  </a:lnTo>
                  <a:close/>
                  <a:moveTo>
                    <a:pt x="190" y="47"/>
                  </a:moveTo>
                  <a:cubicBezTo>
                    <a:pt x="190" y="47"/>
                    <a:pt x="185" y="39"/>
                    <a:pt x="180" y="38"/>
                  </a:cubicBezTo>
                  <a:cubicBezTo>
                    <a:pt x="175" y="36"/>
                    <a:pt x="169" y="43"/>
                    <a:pt x="169" y="43"/>
                  </a:cubicBezTo>
                  <a:cubicBezTo>
                    <a:pt x="181" y="57"/>
                    <a:pt x="190" y="47"/>
                    <a:pt x="190" y="47"/>
                  </a:cubicBezTo>
                  <a:close/>
                  <a:moveTo>
                    <a:pt x="249" y="100"/>
                  </a:moveTo>
                  <a:cubicBezTo>
                    <a:pt x="256" y="101"/>
                    <a:pt x="267" y="100"/>
                    <a:pt x="266" y="93"/>
                  </a:cubicBezTo>
                  <a:cubicBezTo>
                    <a:pt x="265" y="86"/>
                    <a:pt x="253" y="90"/>
                    <a:pt x="249" y="90"/>
                  </a:cubicBezTo>
                  <a:cubicBezTo>
                    <a:pt x="245" y="91"/>
                    <a:pt x="232" y="87"/>
                    <a:pt x="232" y="87"/>
                  </a:cubicBezTo>
                  <a:cubicBezTo>
                    <a:pt x="226" y="96"/>
                    <a:pt x="241" y="99"/>
                    <a:pt x="249" y="100"/>
                  </a:cubicBezTo>
                  <a:close/>
                  <a:moveTo>
                    <a:pt x="260" y="145"/>
                  </a:moveTo>
                  <a:cubicBezTo>
                    <a:pt x="273" y="146"/>
                    <a:pt x="260" y="131"/>
                    <a:pt x="260" y="131"/>
                  </a:cubicBezTo>
                  <a:cubicBezTo>
                    <a:pt x="259" y="129"/>
                    <a:pt x="248" y="144"/>
                    <a:pt x="260" y="14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80" name="Freeform 360">
              <a:extLst>
                <a:ext uri="{FF2B5EF4-FFF2-40B4-BE49-F238E27FC236}">
                  <a16:creationId xmlns:a16="http://schemas.microsoft.com/office/drawing/2014/main" id="{4BA6A0C0-F87E-0786-0D8A-B733D92AA3D6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" y="-10925"/>
              <a:ext cx="1089" cy="839"/>
            </a:xfrm>
            <a:custGeom>
              <a:avLst/>
              <a:gdLst>
                <a:gd name="T0" fmla="*/ 444 w 461"/>
                <a:gd name="T1" fmla="*/ 131 h 355"/>
                <a:gd name="T2" fmla="*/ 461 w 461"/>
                <a:gd name="T3" fmla="*/ 111 h 355"/>
                <a:gd name="T4" fmla="*/ 444 w 461"/>
                <a:gd name="T5" fmla="*/ 105 h 355"/>
                <a:gd name="T6" fmla="*/ 433 w 461"/>
                <a:gd name="T7" fmla="*/ 88 h 355"/>
                <a:gd name="T8" fmla="*/ 393 w 461"/>
                <a:gd name="T9" fmla="*/ 77 h 355"/>
                <a:gd name="T10" fmla="*/ 380 w 461"/>
                <a:gd name="T11" fmla="*/ 46 h 355"/>
                <a:gd name="T12" fmla="*/ 354 w 461"/>
                <a:gd name="T13" fmla="*/ 42 h 355"/>
                <a:gd name="T14" fmla="*/ 343 w 461"/>
                <a:gd name="T15" fmla="*/ 1 h 355"/>
                <a:gd name="T16" fmla="*/ 339 w 461"/>
                <a:gd name="T17" fmla="*/ 14 h 355"/>
                <a:gd name="T18" fmla="*/ 329 w 461"/>
                <a:gd name="T19" fmla="*/ 0 h 355"/>
                <a:gd name="T20" fmla="*/ 323 w 461"/>
                <a:gd name="T21" fmla="*/ 41 h 355"/>
                <a:gd name="T22" fmla="*/ 301 w 461"/>
                <a:gd name="T23" fmla="*/ 50 h 355"/>
                <a:gd name="T24" fmla="*/ 293 w 461"/>
                <a:gd name="T25" fmla="*/ 77 h 355"/>
                <a:gd name="T26" fmla="*/ 276 w 461"/>
                <a:gd name="T27" fmla="*/ 83 h 355"/>
                <a:gd name="T28" fmla="*/ 283 w 461"/>
                <a:gd name="T29" fmla="*/ 107 h 355"/>
                <a:gd name="T30" fmla="*/ 243 w 461"/>
                <a:gd name="T31" fmla="*/ 101 h 355"/>
                <a:gd name="T32" fmla="*/ 236 w 461"/>
                <a:gd name="T33" fmla="*/ 102 h 355"/>
                <a:gd name="T34" fmla="*/ 266 w 461"/>
                <a:gd name="T35" fmla="*/ 177 h 355"/>
                <a:gd name="T36" fmla="*/ 255 w 461"/>
                <a:gd name="T37" fmla="*/ 171 h 355"/>
                <a:gd name="T38" fmla="*/ 242 w 461"/>
                <a:gd name="T39" fmla="*/ 151 h 355"/>
                <a:gd name="T40" fmla="*/ 242 w 461"/>
                <a:gd name="T41" fmla="*/ 183 h 355"/>
                <a:gd name="T42" fmla="*/ 231 w 461"/>
                <a:gd name="T43" fmla="*/ 191 h 355"/>
                <a:gd name="T44" fmla="*/ 214 w 461"/>
                <a:gd name="T45" fmla="*/ 166 h 355"/>
                <a:gd name="T46" fmla="*/ 206 w 461"/>
                <a:gd name="T47" fmla="*/ 160 h 355"/>
                <a:gd name="T48" fmla="*/ 200 w 461"/>
                <a:gd name="T49" fmla="*/ 166 h 355"/>
                <a:gd name="T50" fmla="*/ 176 w 461"/>
                <a:gd name="T51" fmla="*/ 213 h 355"/>
                <a:gd name="T52" fmla="*/ 110 w 461"/>
                <a:gd name="T53" fmla="*/ 235 h 355"/>
                <a:gd name="T54" fmla="*/ 69 w 461"/>
                <a:gd name="T55" fmla="*/ 262 h 355"/>
                <a:gd name="T56" fmla="*/ 60 w 461"/>
                <a:gd name="T57" fmla="*/ 285 h 355"/>
                <a:gd name="T58" fmla="*/ 65 w 461"/>
                <a:gd name="T59" fmla="*/ 317 h 355"/>
                <a:gd name="T60" fmla="*/ 23 w 461"/>
                <a:gd name="T61" fmla="*/ 305 h 355"/>
                <a:gd name="T62" fmla="*/ 0 w 461"/>
                <a:gd name="T63" fmla="*/ 322 h 355"/>
                <a:gd name="T64" fmla="*/ 0 w 461"/>
                <a:gd name="T65" fmla="*/ 322 h 355"/>
                <a:gd name="T66" fmla="*/ 9 w 461"/>
                <a:gd name="T67" fmla="*/ 338 h 355"/>
                <a:gd name="T68" fmla="*/ 43 w 461"/>
                <a:gd name="T69" fmla="*/ 352 h 355"/>
                <a:gd name="T70" fmla="*/ 61 w 461"/>
                <a:gd name="T71" fmla="*/ 342 h 355"/>
                <a:gd name="T72" fmla="*/ 98 w 461"/>
                <a:gd name="T73" fmla="*/ 345 h 355"/>
                <a:gd name="T74" fmla="*/ 121 w 461"/>
                <a:gd name="T75" fmla="*/ 318 h 355"/>
                <a:gd name="T76" fmla="*/ 150 w 461"/>
                <a:gd name="T77" fmla="*/ 318 h 355"/>
                <a:gd name="T78" fmla="*/ 182 w 461"/>
                <a:gd name="T79" fmla="*/ 335 h 355"/>
                <a:gd name="T80" fmla="*/ 203 w 461"/>
                <a:gd name="T81" fmla="*/ 322 h 355"/>
                <a:gd name="T82" fmla="*/ 219 w 461"/>
                <a:gd name="T83" fmla="*/ 322 h 355"/>
                <a:gd name="T84" fmla="*/ 236 w 461"/>
                <a:gd name="T85" fmla="*/ 299 h 355"/>
                <a:gd name="T86" fmla="*/ 235 w 461"/>
                <a:gd name="T87" fmla="*/ 287 h 355"/>
                <a:gd name="T88" fmla="*/ 257 w 461"/>
                <a:gd name="T89" fmla="*/ 268 h 355"/>
                <a:gd name="T90" fmla="*/ 252 w 461"/>
                <a:gd name="T91" fmla="*/ 243 h 355"/>
                <a:gd name="T92" fmla="*/ 265 w 461"/>
                <a:gd name="T93" fmla="*/ 235 h 355"/>
                <a:gd name="T94" fmla="*/ 275 w 461"/>
                <a:gd name="T95" fmla="*/ 204 h 355"/>
                <a:gd name="T96" fmla="*/ 284 w 461"/>
                <a:gd name="T97" fmla="*/ 165 h 355"/>
                <a:gd name="T98" fmla="*/ 344 w 461"/>
                <a:gd name="T99" fmla="*/ 166 h 355"/>
                <a:gd name="T100" fmla="*/ 375 w 461"/>
                <a:gd name="T101" fmla="*/ 190 h 355"/>
                <a:gd name="T102" fmla="*/ 374 w 461"/>
                <a:gd name="T103" fmla="*/ 189 h 355"/>
                <a:gd name="T104" fmla="*/ 387 w 461"/>
                <a:gd name="T105" fmla="*/ 186 h 355"/>
                <a:gd name="T106" fmla="*/ 378 w 461"/>
                <a:gd name="T107" fmla="*/ 144 h 355"/>
                <a:gd name="T108" fmla="*/ 402 w 461"/>
                <a:gd name="T109" fmla="*/ 162 h 355"/>
                <a:gd name="T110" fmla="*/ 427 w 461"/>
                <a:gd name="T111" fmla="*/ 160 h 355"/>
                <a:gd name="T112" fmla="*/ 408 w 461"/>
                <a:gd name="T113" fmla="*/ 126 h 355"/>
                <a:gd name="T114" fmla="*/ 444 w 461"/>
                <a:gd name="T115" fmla="*/ 13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1" h="355">
                  <a:moveTo>
                    <a:pt x="444" y="131"/>
                  </a:moveTo>
                  <a:cubicBezTo>
                    <a:pt x="461" y="111"/>
                    <a:pt x="461" y="111"/>
                    <a:pt x="461" y="111"/>
                  </a:cubicBezTo>
                  <a:cubicBezTo>
                    <a:pt x="444" y="105"/>
                    <a:pt x="444" y="105"/>
                    <a:pt x="444" y="105"/>
                  </a:cubicBezTo>
                  <a:cubicBezTo>
                    <a:pt x="444" y="105"/>
                    <a:pt x="441" y="93"/>
                    <a:pt x="433" y="88"/>
                  </a:cubicBezTo>
                  <a:cubicBezTo>
                    <a:pt x="425" y="82"/>
                    <a:pt x="393" y="77"/>
                    <a:pt x="393" y="77"/>
                  </a:cubicBezTo>
                  <a:cubicBezTo>
                    <a:pt x="393" y="77"/>
                    <a:pt x="392" y="58"/>
                    <a:pt x="380" y="46"/>
                  </a:cubicBezTo>
                  <a:cubicBezTo>
                    <a:pt x="367" y="33"/>
                    <a:pt x="354" y="42"/>
                    <a:pt x="354" y="42"/>
                  </a:cubicBezTo>
                  <a:cubicBezTo>
                    <a:pt x="343" y="1"/>
                    <a:pt x="343" y="1"/>
                    <a:pt x="343" y="1"/>
                  </a:cubicBezTo>
                  <a:cubicBezTo>
                    <a:pt x="339" y="14"/>
                    <a:pt x="339" y="14"/>
                    <a:pt x="339" y="14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23" y="41"/>
                    <a:pt x="323" y="41"/>
                    <a:pt x="323" y="41"/>
                  </a:cubicBezTo>
                  <a:cubicBezTo>
                    <a:pt x="323" y="41"/>
                    <a:pt x="308" y="45"/>
                    <a:pt x="301" y="50"/>
                  </a:cubicBezTo>
                  <a:cubicBezTo>
                    <a:pt x="294" y="55"/>
                    <a:pt x="293" y="77"/>
                    <a:pt x="293" y="77"/>
                  </a:cubicBezTo>
                  <a:cubicBezTo>
                    <a:pt x="276" y="83"/>
                    <a:pt x="276" y="83"/>
                    <a:pt x="276" y="83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83" y="107"/>
                    <a:pt x="259" y="104"/>
                    <a:pt x="243" y="101"/>
                  </a:cubicBezTo>
                  <a:cubicBezTo>
                    <a:pt x="241" y="100"/>
                    <a:pt x="238" y="101"/>
                    <a:pt x="236" y="102"/>
                  </a:cubicBezTo>
                  <a:cubicBezTo>
                    <a:pt x="259" y="120"/>
                    <a:pt x="266" y="177"/>
                    <a:pt x="266" y="177"/>
                  </a:cubicBezTo>
                  <a:cubicBezTo>
                    <a:pt x="255" y="171"/>
                    <a:pt x="255" y="171"/>
                    <a:pt x="255" y="171"/>
                  </a:cubicBezTo>
                  <a:cubicBezTo>
                    <a:pt x="242" y="151"/>
                    <a:pt x="242" y="151"/>
                    <a:pt x="242" y="151"/>
                  </a:cubicBezTo>
                  <a:cubicBezTo>
                    <a:pt x="242" y="151"/>
                    <a:pt x="243" y="175"/>
                    <a:pt x="242" y="183"/>
                  </a:cubicBezTo>
                  <a:cubicBezTo>
                    <a:pt x="241" y="190"/>
                    <a:pt x="231" y="191"/>
                    <a:pt x="231" y="191"/>
                  </a:cubicBezTo>
                  <a:cubicBezTo>
                    <a:pt x="214" y="166"/>
                    <a:pt x="214" y="166"/>
                    <a:pt x="214" y="166"/>
                  </a:cubicBezTo>
                  <a:cubicBezTo>
                    <a:pt x="206" y="160"/>
                    <a:pt x="206" y="160"/>
                    <a:pt x="206" y="160"/>
                  </a:cubicBezTo>
                  <a:cubicBezTo>
                    <a:pt x="200" y="166"/>
                    <a:pt x="200" y="166"/>
                    <a:pt x="200" y="166"/>
                  </a:cubicBezTo>
                  <a:cubicBezTo>
                    <a:pt x="200" y="166"/>
                    <a:pt x="192" y="201"/>
                    <a:pt x="176" y="213"/>
                  </a:cubicBezTo>
                  <a:cubicBezTo>
                    <a:pt x="160" y="224"/>
                    <a:pt x="119" y="232"/>
                    <a:pt x="110" y="235"/>
                  </a:cubicBezTo>
                  <a:cubicBezTo>
                    <a:pt x="101" y="237"/>
                    <a:pt x="69" y="262"/>
                    <a:pt x="69" y="262"/>
                  </a:cubicBezTo>
                  <a:cubicBezTo>
                    <a:pt x="60" y="285"/>
                    <a:pt x="60" y="285"/>
                    <a:pt x="60" y="285"/>
                  </a:cubicBezTo>
                  <a:cubicBezTo>
                    <a:pt x="60" y="285"/>
                    <a:pt x="84" y="303"/>
                    <a:pt x="65" y="317"/>
                  </a:cubicBezTo>
                  <a:cubicBezTo>
                    <a:pt x="47" y="331"/>
                    <a:pt x="34" y="308"/>
                    <a:pt x="23" y="305"/>
                  </a:cubicBezTo>
                  <a:cubicBezTo>
                    <a:pt x="13" y="303"/>
                    <a:pt x="0" y="322"/>
                    <a:pt x="0" y="322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3" y="328"/>
                    <a:pt x="5" y="334"/>
                    <a:pt x="9" y="338"/>
                  </a:cubicBezTo>
                  <a:cubicBezTo>
                    <a:pt x="17" y="347"/>
                    <a:pt x="39" y="355"/>
                    <a:pt x="43" y="352"/>
                  </a:cubicBezTo>
                  <a:cubicBezTo>
                    <a:pt x="47" y="350"/>
                    <a:pt x="46" y="342"/>
                    <a:pt x="61" y="342"/>
                  </a:cubicBezTo>
                  <a:cubicBezTo>
                    <a:pt x="75" y="342"/>
                    <a:pt x="88" y="351"/>
                    <a:pt x="98" y="345"/>
                  </a:cubicBezTo>
                  <a:cubicBezTo>
                    <a:pt x="108" y="339"/>
                    <a:pt x="121" y="318"/>
                    <a:pt x="121" y="318"/>
                  </a:cubicBezTo>
                  <a:cubicBezTo>
                    <a:pt x="121" y="318"/>
                    <a:pt x="146" y="315"/>
                    <a:pt x="150" y="318"/>
                  </a:cubicBezTo>
                  <a:cubicBezTo>
                    <a:pt x="154" y="320"/>
                    <a:pt x="179" y="336"/>
                    <a:pt x="182" y="335"/>
                  </a:cubicBezTo>
                  <a:cubicBezTo>
                    <a:pt x="185" y="335"/>
                    <a:pt x="203" y="322"/>
                    <a:pt x="203" y="322"/>
                  </a:cubicBezTo>
                  <a:cubicBezTo>
                    <a:pt x="219" y="322"/>
                    <a:pt x="219" y="322"/>
                    <a:pt x="219" y="322"/>
                  </a:cubicBezTo>
                  <a:cubicBezTo>
                    <a:pt x="236" y="299"/>
                    <a:pt x="236" y="299"/>
                    <a:pt x="236" y="299"/>
                  </a:cubicBezTo>
                  <a:cubicBezTo>
                    <a:pt x="235" y="287"/>
                    <a:pt x="235" y="287"/>
                    <a:pt x="235" y="287"/>
                  </a:cubicBezTo>
                  <a:cubicBezTo>
                    <a:pt x="257" y="268"/>
                    <a:pt x="257" y="268"/>
                    <a:pt x="257" y="268"/>
                  </a:cubicBezTo>
                  <a:cubicBezTo>
                    <a:pt x="257" y="268"/>
                    <a:pt x="245" y="252"/>
                    <a:pt x="252" y="243"/>
                  </a:cubicBezTo>
                  <a:cubicBezTo>
                    <a:pt x="258" y="234"/>
                    <a:pt x="265" y="235"/>
                    <a:pt x="265" y="235"/>
                  </a:cubicBezTo>
                  <a:cubicBezTo>
                    <a:pt x="265" y="235"/>
                    <a:pt x="274" y="220"/>
                    <a:pt x="275" y="204"/>
                  </a:cubicBezTo>
                  <a:cubicBezTo>
                    <a:pt x="277" y="188"/>
                    <a:pt x="270" y="166"/>
                    <a:pt x="284" y="165"/>
                  </a:cubicBezTo>
                  <a:cubicBezTo>
                    <a:pt x="299" y="164"/>
                    <a:pt x="340" y="165"/>
                    <a:pt x="344" y="166"/>
                  </a:cubicBezTo>
                  <a:cubicBezTo>
                    <a:pt x="348" y="166"/>
                    <a:pt x="367" y="183"/>
                    <a:pt x="375" y="190"/>
                  </a:cubicBezTo>
                  <a:cubicBezTo>
                    <a:pt x="374" y="189"/>
                    <a:pt x="374" y="189"/>
                    <a:pt x="374" y="189"/>
                  </a:cubicBezTo>
                  <a:cubicBezTo>
                    <a:pt x="387" y="186"/>
                    <a:pt x="387" y="186"/>
                    <a:pt x="387" y="186"/>
                  </a:cubicBezTo>
                  <a:cubicBezTo>
                    <a:pt x="378" y="144"/>
                    <a:pt x="378" y="144"/>
                    <a:pt x="378" y="144"/>
                  </a:cubicBezTo>
                  <a:cubicBezTo>
                    <a:pt x="378" y="144"/>
                    <a:pt x="393" y="160"/>
                    <a:pt x="402" y="162"/>
                  </a:cubicBezTo>
                  <a:cubicBezTo>
                    <a:pt x="412" y="163"/>
                    <a:pt x="427" y="160"/>
                    <a:pt x="427" y="160"/>
                  </a:cubicBezTo>
                  <a:cubicBezTo>
                    <a:pt x="427" y="160"/>
                    <a:pt x="402" y="136"/>
                    <a:pt x="408" y="126"/>
                  </a:cubicBezTo>
                  <a:cubicBezTo>
                    <a:pt x="413" y="115"/>
                    <a:pt x="444" y="131"/>
                    <a:pt x="444" y="131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181" name="Freeform 361">
              <a:extLst>
                <a:ext uri="{FF2B5EF4-FFF2-40B4-BE49-F238E27FC236}">
                  <a16:creationId xmlns:a16="http://schemas.microsoft.com/office/drawing/2014/main" id="{2E5A3A3E-3ADD-DA8F-FFAB-1FBB7BBF81D5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" y="-10684"/>
              <a:ext cx="142" cy="211"/>
            </a:xfrm>
            <a:custGeom>
              <a:avLst/>
              <a:gdLst>
                <a:gd name="T0" fmla="*/ 25 w 60"/>
                <a:gd name="T1" fmla="*/ 89 h 89"/>
                <a:gd name="T2" fmla="*/ 36 w 60"/>
                <a:gd name="T3" fmla="*/ 81 h 89"/>
                <a:gd name="T4" fmla="*/ 36 w 60"/>
                <a:gd name="T5" fmla="*/ 49 h 89"/>
                <a:gd name="T6" fmla="*/ 49 w 60"/>
                <a:gd name="T7" fmla="*/ 69 h 89"/>
                <a:gd name="T8" fmla="*/ 60 w 60"/>
                <a:gd name="T9" fmla="*/ 75 h 89"/>
                <a:gd name="T10" fmla="*/ 30 w 60"/>
                <a:gd name="T11" fmla="*/ 0 h 89"/>
                <a:gd name="T12" fmla="*/ 21 w 60"/>
                <a:gd name="T13" fmla="*/ 34 h 89"/>
                <a:gd name="T14" fmla="*/ 0 w 60"/>
                <a:gd name="T15" fmla="*/ 58 h 89"/>
                <a:gd name="T16" fmla="*/ 8 w 60"/>
                <a:gd name="T17" fmla="*/ 64 h 89"/>
                <a:gd name="T18" fmla="*/ 25 w 60"/>
                <a:gd name="T1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89">
                  <a:moveTo>
                    <a:pt x="25" y="89"/>
                  </a:moveTo>
                  <a:cubicBezTo>
                    <a:pt x="25" y="89"/>
                    <a:pt x="35" y="88"/>
                    <a:pt x="36" y="81"/>
                  </a:cubicBezTo>
                  <a:cubicBezTo>
                    <a:pt x="37" y="73"/>
                    <a:pt x="36" y="49"/>
                    <a:pt x="36" y="4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75"/>
                    <a:pt x="53" y="18"/>
                    <a:pt x="30" y="0"/>
                  </a:cubicBezTo>
                  <a:cubicBezTo>
                    <a:pt x="22" y="8"/>
                    <a:pt x="21" y="34"/>
                    <a:pt x="21" y="34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8" y="64"/>
                    <a:pt x="8" y="64"/>
                    <a:pt x="8" y="64"/>
                  </a:cubicBezTo>
                  <a:lnTo>
                    <a:pt x="25" y="89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82" name="TextBox 181">
            <a:extLst>
              <a:ext uri="{FF2B5EF4-FFF2-40B4-BE49-F238E27FC236}">
                <a16:creationId xmlns:a16="http://schemas.microsoft.com/office/drawing/2014/main" id="{552D8678-063D-90AB-365F-6C3CFBD1D9DE}"/>
              </a:ext>
            </a:extLst>
          </p:cNvPr>
          <p:cNvSpPr txBox="1"/>
          <p:nvPr/>
        </p:nvSpPr>
        <p:spPr>
          <a:xfrm>
            <a:off x="6250269" y="982237"/>
            <a:ext cx="528615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effectLst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PRI</a:t>
            </a:r>
            <a:r>
              <a:rPr lang="ru-RU" sz="1600" b="1" dirty="0">
                <a:solidFill>
                  <a:schemeClr val="bg1"/>
                </a:solidFill>
                <a:effectLst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 представляет </a:t>
            </a:r>
            <a:r>
              <a:rPr lang="en-US" sz="1600" b="1" dirty="0">
                <a:solidFill>
                  <a:schemeClr val="bg1"/>
                </a:solidFill>
                <a:effectLst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5 378 </a:t>
            </a:r>
            <a:r>
              <a:rPr lang="ru-RU" sz="1600" b="1" dirty="0">
                <a:solidFill>
                  <a:schemeClr val="bg1"/>
                </a:solidFill>
                <a:effectLst/>
                <a:latin typeface="EYInterstate Light" panose="0200050600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крупных институциональных инвесторов по всему миру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DE53EA90-FA12-F3FE-9FD6-E2CA61A7DF3D}"/>
              </a:ext>
            </a:extLst>
          </p:cNvPr>
          <p:cNvGrpSpPr/>
          <p:nvPr/>
        </p:nvGrpSpPr>
        <p:grpSpPr>
          <a:xfrm>
            <a:off x="7077502" y="5411328"/>
            <a:ext cx="4016830" cy="523220"/>
            <a:chOff x="5656543" y="5482059"/>
            <a:chExt cx="4016830" cy="523220"/>
          </a:xfrm>
        </p:grpSpPr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A0F4EA57-40B2-D71C-3242-28B88B2AED24}"/>
                </a:ext>
              </a:extLst>
            </p:cNvPr>
            <p:cNvGrpSpPr/>
            <p:nvPr/>
          </p:nvGrpSpPr>
          <p:grpSpPr>
            <a:xfrm>
              <a:off x="5656543" y="5482059"/>
              <a:ext cx="2260504" cy="307777"/>
              <a:chOff x="6659044" y="4029017"/>
              <a:chExt cx="2260504" cy="307777"/>
            </a:xfrm>
          </p:grpSpPr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5C955852-3E03-EA2F-96DA-B73FABA9BB60}"/>
                  </a:ext>
                </a:extLst>
              </p:cNvPr>
              <p:cNvSpPr txBox="1"/>
              <p:nvPr/>
            </p:nvSpPr>
            <p:spPr>
              <a:xfrm>
                <a:off x="6864827" y="4029017"/>
                <a:ext cx="1848938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400" dirty="0">
                    <a:solidFill>
                      <a:schemeClr val="bg1"/>
                    </a:solidFill>
                    <a:effectLst/>
                    <a:latin typeface="EYInterstate Light" panose="020005060000000200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Член </a:t>
                </a:r>
                <a:r>
                  <a:rPr lang="en-US" sz="1400" dirty="0">
                    <a:solidFill>
                      <a:schemeClr val="bg1"/>
                    </a:solidFill>
                    <a:effectLst/>
                    <a:latin typeface="EYInterstate Light" panose="02000506000000020004" pitchFamily="2" charset="0"/>
                    <a:ea typeface="Calibri" panose="020F0502020204030204" pitchFamily="34" charset="0"/>
                    <a:cs typeface="Arial" panose="020B0604020202020204" pitchFamily="34" charset="0"/>
                  </a:rPr>
                  <a:t>PRI</a:t>
                </a:r>
              </a:p>
            </p:txBody>
          </p:sp>
          <p:sp>
            <p:nvSpPr>
              <p:cNvPr id="187" name="Rectangle 186">
                <a:extLst>
                  <a:ext uri="{FF2B5EF4-FFF2-40B4-BE49-F238E27FC236}">
                    <a16:creationId xmlns:a16="http://schemas.microsoft.com/office/drawing/2014/main" id="{E4CC7B72-771F-E539-AAD0-E333E698B848}"/>
                  </a:ext>
                </a:extLst>
              </p:cNvPr>
              <p:cNvSpPr/>
              <p:nvPr/>
            </p:nvSpPr>
            <p:spPr>
              <a:xfrm>
                <a:off x="8711516" y="4118273"/>
                <a:ext cx="208032" cy="125098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8" name="Rectangle 187">
                <a:extLst>
                  <a:ext uri="{FF2B5EF4-FFF2-40B4-BE49-F238E27FC236}">
                    <a16:creationId xmlns:a16="http://schemas.microsoft.com/office/drawing/2014/main" id="{1CE1093B-1635-EF29-ADFD-5605E386C996}"/>
                  </a:ext>
                </a:extLst>
              </p:cNvPr>
              <p:cNvSpPr/>
              <p:nvPr/>
            </p:nvSpPr>
            <p:spPr>
              <a:xfrm>
                <a:off x="6659044" y="4121842"/>
                <a:ext cx="208032" cy="125098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D74F3A5C-5133-7A97-8781-85655DACDDA6}"/>
                </a:ext>
              </a:extLst>
            </p:cNvPr>
            <p:cNvSpPr txBox="1"/>
            <p:nvPr/>
          </p:nvSpPr>
          <p:spPr>
            <a:xfrm>
              <a:off x="7898313" y="5482059"/>
              <a:ext cx="177506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400" dirty="0">
                  <a:solidFill>
                    <a:schemeClr val="bg1"/>
                  </a:solidFill>
                  <a:latin typeface="EYInterstate Light" panose="02000506000000020004" pitchFamily="2" charset="0"/>
                  <a:cs typeface="Arial" panose="020B0604020202020204" pitchFamily="34" charset="0"/>
                </a:rPr>
                <a:t>Не является членом </a:t>
              </a:r>
              <a:r>
                <a:rPr lang="en-US" sz="1400" dirty="0">
                  <a:solidFill>
                    <a:schemeClr val="bg1"/>
                  </a:solidFill>
                  <a:latin typeface="EYInterstate Light" panose="02000506000000020004" pitchFamily="2" charset="0"/>
                  <a:cs typeface="Arial" panose="020B0604020202020204" pitchFamily="34" charset="0"/>
                </a:rPr>
                <a:t>PRI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C0E5F4B6-47EE-DD1B-0F41-D58C12F8CF8E}"/>
              </a:ext>
            </a:extLst>
          </p:cNvPr>
          <p:cNvGrpSpPr/>
          <p:nvPr/>
        </p:nvGrpSpPr>
        <p:grpSpPr>
          <a:xfrm>
            <a:off x="770587" y="5144418"/>
            <a:ext cx="5428432" cy="1003857"/>
            <a:chOff x="7305306" y="3685230"/>
            <a:chExt cx="4289641" cy="2382519"/>
          </a:xfrm>
        </p:grpSpPr>
        <p:sp>
          <p:nvSpPr>
            <p:cNvPr id="190" name="Freeform 30">
              <a:extLst>
                <a:ext uri="{FF2B5EF4-FFF2-40B4-BE49-F238E27FC236}">
                  <a16:creationId xmlns:a16="http://schemas.microsoft.com/office/drawing/2014/main" id="{DD4B174A-4207-E9E3-E242-4567CA376730}"/>
                </a:ext>
              </a:extLst>
            </p:cNvPr>
            <p:cNvSpPr/>
            <p:nvPr/>
          </p:nvSpPr>
          <p:spPr>
            <a:xfrm rot="10800000">
              <a:off x="7305306" y="3685230"/>
              <a:ext cx="4289641" cy="2382519"/>
            </a:xfrm>
            <a:custGeom>
              <a:avLst/>
              <a:gdLst>
                <a:gd name="connsiteX0" fmla="*/ 4238387 w 4257675"/>
                <a:gd name="connsiteY0" fmla="*/ 0 h 3092804"/>
                <a:gd name="connsiteX1" fmla="*/ 4257675 w 4257675"/>
                <a:gd name="connsiteY1" fmla="*/ 0 h 3092804"/>
                <a:gd name="connsiteX2" fmla="*/ 4257675 w 4257675"/>
                <a:gd name="connsiteY2" fmla="*/ 3092804 h 3092804"/>
                <a:gd name="connsiteX3" fmla="*/ 0 w 4257675"/>
                <a:gd name="connsiteY3" fmla="*/ 3092804 h 3092804"/>
                <a:gd name="connsiteX4" fmla="*/ 0 w 4257675"/>
                <a:gd name="connsiteY4" fmla="*/ 747342 h 3092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7675" h="3092804">
                  <a:moveTo>
                    <a:pt x="4238387" y="0"/>
                  </a:moveTo>
                  <a:lnTo>
                    <a:pt x="4257675" y="0"/>
                  </a:lnTo>
                  <a:lnTo>
                    <a:pt x="4257675" y="3092804"/>
                  </a:lnTo>
                  <a:lnTo>
                    <a:pt x="0" y="3092804"/>
                  </a:lnTo>
                  <a:lnTo>
                    <a:pt x="0" y="747342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br>
                <a:rPr lang="en-IN" sz="2000" b="1" dirty="0">
                  <a:solidFill>
                    <a:srgbClr val="2E2E38"/>
                  </a:solidFill>
                  <a:latin typeface="EYInterstate Light" panose="02000506000000020004" pitchFamily="2" charset="0"/>
                </a:rPr>
              </a:br>
              <a:br>
                <a:rPr lang="en-IN" sz="2000" b="1" dirty="0">
                  <a:solidFill>
                    <a:srgbClr val="2E2E38"/>
                  </a:solidFill>
                  <a:latin typeface="EYInterstate Light" panose="02000506000000020004" pitchFamily="2" charset="0"/>
                </a:rPr>
              </a:br>
              <a:endParaRPr lang="de-DE" sz="2000" dirty="0">
                <a:solidFill>
                  <a:schemeClr val="tx1"/>
                </a:solidFill>
              </a:endParaRPr>
            </a:p>
          </p:txBody>
        </p:sp>
        <p:sp>
          <p:nvSpPr>
            <p:cNvPr id="191" name="Content Placeholder 2">
              <a:extLst>
                <a:ext uri="{FF2B5EF4-FFF2-40B4-BE49-F238E27FC236}">
                  <a16:creationId xmlns:a16="http://schemas.microsoft.com/office/drawing/2014/main" id="{35F64B3E-0DFE-2F0D-D5B8-AB2E0247AC33}"/>
                </a:ext>
              </a:extLst>
            </p:cNvPr>
            <p:cNvSpPr txBox="1">
              <a:spLocks/>
            </p:cNvSpPr>
            <p:nvPr/>
          </p:nvSpPr>
          <p:spPr>
            <a:xfrm>
              <a:off x="7428096" y="3882638"/>
              <a:ext cx="4103655" cy="1301026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356616" indent="-356616" algn="l" defTabSz="914400" rtl="0" eaLnBrk="1" latinLnBrk="0" hangingPunct="1">
                <a:spcBef>
                  <a:spcPct val="20000"/>
                </a:spcBef>
                <a:buClr>
                  <a:schemeClr val="tx2"/>
                </a:buClr>
                <a:buSzPct val="110000"/>
                <a:buFont typeface="EYInterstate Light" panose="02000506000000020004" pitchFamily="2" charset="0"/>
                <a:buChar char="•"/>
                <a:defRPr sz="2000" kern="1200">
                  <a:solidFill>
                    <a:schemeClr val="bg1"/>
                  </a:solidFill>
                  <a:latin typeface="EYInterstate Light" panose="02000506000000020004" pitchFamily="2" charset="0"/>
                  <a:ea typeface="+mn-ea"/>
                  <a:cs typeface="+mn-cs"/>
                </a:defRPr>
              </a:lvl1pPr>
              <a:lvl2pPr marL="713232" indent="-356616" algn="l" defTabSz="914400" rtl="0" eaLnBrk="1" latinLnBrk="0" hangingPunct="1">
                <a:spcBef>
                  <a:spcPct val="20000"/>
                </a:spcBef>
                <a:buClr>
                  <a:schemeClr val="tx2"/>
                </a:buClr>
                <a:buSzPct val="110000"/>
                <a:buFont typeface="EYInterstate Light" panose="02000506000000020004" pitchFamily="2" charset="0"/>
                <a:buChar char="•"/>
                <a:defRPr sz="1800" kern="1200">
                  <a:solidFill>
                    <a:schemeClr val="bg1"/>
                  </a:solidFill>
                  <a:latin typeface="EYInterstate Light" panose="02000506000000020004" pitchFamily="2" charset="0"/>
                  <a:ea typeface="+mn-ea"/>
                  <a:cs typeface="+mn-cs"/>
                </a:defRPr>
              </a:lvl2pPr>
              <a:lvl3pPr marL="1069848" indent="-356616" algn="l" defTabSz="914400" rtl="0" eaLnBrk="1" latinLnBrk="0" hangingPunct="1">
                <a:spcBef>
                  <a:spcPct val="20000"/>
                </a:spcBef>
                <a:buClr>
                  <a:schemeClr val="tx2"/>
                </a:buClr>
                <a:buSzPct val="110000"/>
                <a:buFont typeface="EYInterstate Light" panose="02000506000000020004" pitchFamily="2" charset="0"/>
                <a:buChar char="•"/>
                <a:defRPr sz="1600" kern="1200">
                  <a:solidFill>
                    <a:schemeClr val="bg1"/>
                  </a:solidFill>
                  <a:latin typeface="EYInterstate Light" panose="02000506000000020004" pitchFamily="2" charset="0"/>
                  <a:ea typeface="+mn-ea"/>
                  <a:cs typeface="+mn-cs"/>
                </a:defRPr>
              </a:lvl3pPr>
              <a:lvl4pPr marL="1426464" indent="-356616" algn="l" defTabSz="914400" rtl="0" eaLnBrk="1" latinLnBrk="0" hangingPunct="1">
                <a:spcBef>
                  <a:spcPct val="20000"/>
                </a:spcBef>
                <a:buClr>
                  <a:schemeClr val="tx2"/>
                </a:buClr>
                <a:buSzPct val="110000"/>
                <a:buFont typeface="EYInterstate Light" panose="02000506000000020004" pitchFamily="2" charset="0"/>
                <a:buChar char="•"/>
                <a:defRPr sz="1400" kern="1200">
                  <a:solidFill>
                    <a:schemeClr val="bg1"/>
                  </a:solidFill>
                  <a:latin typeface="EYInterstate Light" panose="02000506000000020004" pitchFamily="2" charset="0"/>
                  <a:ea typeface="+mn-ea"/>
                  <a:cs typeface="+mn-cs"/>
                </a:defRPr>
              </a:lvl4pPr>
              <a:lvl5pPr marL="1783080" indent="-356616" algn="l" defTabSz="914400" rtl="0" eaLnBrk="1" latinLnBrk="0" hangingPunct="1">
                <a:spcBef>
                  <a:spcPct val="20000"/>
                </a:spcBef>
                <a:buClr>
                  <a:schemeClr val="tx2"/>
                </a:buClr>
                <a:buSzPct val="110000"/>
                <a:buFont typeface="EYInterstate Light" panose="02000506000000020004" pitchFamily="2" charset="0"/>
                <a:buChar char="•"/>
                <a:defRPr sz="1200" kern="1200">
                  <a:solidFill>
                    <a:schemeClr val="bg1"/>
                  </a:solidFill>
                  <a:latin typeface="EYInterstate Light" panose="02000506000000020004" pitchFamily="2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0"/>
                </a:spcBef>
                <a:buNone/>
              </a:pPr>
              <a:r>
                <a:rPr lang="ru-RU" b="1" dirty="0">
                  <a:solidFill>
                    <a:schemeClr val="tx1"/>
                  </a:solidFill>
                </a:rPr>
                <a:t>Крупные инвесторы выступают в пользу обязательности применения МСФО S1/S2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72731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7A918A-B9FD-7A89-0B46-DDDE67F51D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8C8669EA-2AC6-64CE-81D6-299B46590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10023562" cy="2869882"/>
          </a:xfrm>
        </p:spPr>
        <p:txBody>
          <a:bodyPr/>
          <a:lstStyle/>
          <a:p>
            <a:pPr marL="0" indent="0">
              <a:buNone/>
            </a:pPr>
            <a:r>
              <a:rPr lang="ru-RU" sz="6000" dirty="0">
                <a:solidFill>
                  <a:schemeClr val="bg1"/>
                </a:solidFill>
              </a:rPr>
              <a:t>Структура и основные требования МСФО S1 и S2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1DE7EDF-140B-2285-C62F-E53B402F10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Раздел</a:t>
            </a:r>
            <a:r>
              <a:rPr lang="en-US" dirty="0"/>
              <a:t> </a:t>
            </a:r>
            <a:r>
              <a:rPr lang="ru-RU" dirty="0"/>
              <a:t>3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5D6BC7-7877-4AE6-DCE0-7B0A72D8C0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4FCF80E-0BD4-3AC7-480C-E2F0CDADA3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644AC8A-6DED-5C93-2046-19F3B5DAB7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1279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A63E53-CADC-8559-9203-E8BFC4B8E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6">
            <a:extLst>
              <a:ext uri="{FF2B5EF4-FFF2-40B4-BE49-F238E27FC236}">
                <a16:creationId xmlns:a16="http://schemas.microsoft.com/office/drawing/2014/main" id="{B1C279E5-3E91-7E36-7ADC-4FC8F426B1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461" y="378731"/>
            <a:ext cx="10972800" cy="590400"/>
          </a:xfrm>
        </p:spPr>
        <p:txBody>
          <a:bodyPr vert="horz"/>
          <a:lstStyle/>
          <a:p>
            <a:r>
              <a:rPr lang="ru-RU" b="1" dirty="0"/>
              <a:t>Концептуальные основы</a:t>
            </a:r>
            <a:r>
              <a:rPr lang="en-US" b="1" dirty="0"/>
              <a:t> </a:t>
            </a:r>
            <a:r>
              <a:rPr lang="ru-RU" b="1" dirty="0"/>
              <a:t>– МСФО</a:t>
            </a:r>
            <a:r>
              <a:rPr lang="en-US" b="1" dirty="0"/>
              <a:t> S1</a:t>
            </a:r>
          </a:p>
        </p:txBody>
      </p:sp>
      <p:pic>
        <p:nvPicPr>
          <p:cNvPr id="3" name="Graphic 2" descr="Scales of justice outline">
            <a:extLst>
              <a:ext uri="{FF2B5EF4-FFF2-40B4-BE49-F238E27FC236}">
                <a16:creationId xmlns:a16="http://schemas.microsoft.com/office/drawing/2014/main" id="{96059974-AE7D-4CB3-380C-991781E511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24534" y="1830073"/>
            <a:ext cx="822960" cy="822960"/>
          </a:xfrm>
          <a:prstGeom prst="rect">
            <a:avLst/>
          </a:prstGeom>
        </p:spPr>
      </p:pic>
      <p:pic>
        <p:nvPicPr>
          <p:cNvPr id="7" name="Graphic 6" descr="Calculator outline">
            <a:extLst>
              <a:ext uri="{FF2B5EF4-FFF2-40B4-BE49-F238E27FC236}">
                <a16:creationId xmlns:a16="http://schemas.microsoft.com/office/drawing/2014/main" id="{680CCC52-CEC7-322D-E79C-899BD360ED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331192" y="1830073"/>
            <a:ext cx="822960" cy="822960"/>
          </a:xfrm>
          <a:prstGeom prst="rect">
            <a:avLst/>
          </a:prstGeom>
        </p:spPr>
      </p:pic>
      <p:pic>
        <p:nvPicPr>
          <p:cNvPr id="16" name="Graphic 15" descr="Bank outline">
            <a:extLst>
              <a:ext uri="{FF2B5EF4-FFF2-40B4-BE49-F238E27FC236}">
                <a16:creationId xmlns:a16="http://schemas.microsoft.com/office/drawing/2014/main" id="{8B8078DA-FEF2-C745-5C78-6CD26CE2C9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037850" y="1830073"/>
            <a:ext cx="822960" cy="822960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10B7C85-BB09-F2AE-6B84-A0802E37E6EA}"/>
              </a:ext>
            </a:extLst>
          </p:cNvPr>
          <p:cNvCxnSpPr>
            <a:cxnSpLocks/>
          </p:cNvCxnSpPr>
          <p:nvPr/>
        </p:nvCxnSpPr>
        <p:spPr>
          <a:xfrm>
            <a:off x="6096001" y="2048389"/>
            <a:ext cx="0" cy="3840480"/>
          </a:xfrm>
          <a:prstGeom prst="line">
            <a:avLst/>
          </a:prstGeom>
          <a:ln w="6350">
            <a:solidFill>
              <a:srgbClr val="C4C4CD"/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69DD12E-257B-383B-1B1D-8A8EA304FE07}"/>
              </a:ext>
            </a:extLst>
          </p:cNvPr>
          <p:cNvCxnSpPr>
            <a:cxnSpLocks/>
          </p:cNvCxnSpPr>
          <p:nvPr/>
        </p:nvCxnSpPr>
        <p:spPr>
          <a:xfrm>
            <a:off x="8802659" y="2048389"/>
            <a:ext cx="0" cy="3840480"/>
          </a:xfrm>
          <a:prstGeom prst="line">
            <a:avLst/>
          </a:prstGeom>
          <a:ln w="6350">
            <a:solidFill>
              <a:srgbClr val="C4C4CD"/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9043A74-B1B0-1882-ACA3-81511394B423}"/>
              </a:ext>
            </a:extLst>
          </p:cNvPr>
          <p:cNvCxnSpPr>
            <a:cxnSpLocks/>
          </p:cNvCxnSpPr>
          <p:nvPr/>
        </p:nvCxnSpPr>
        <p:spPr>
          <a:xfrm>
            <a:off x="3389343" y="2048389"/>
            <a:ext cx="0" cy="3840480"/>
          </a:xfrm>
          <a:prstGeom prst="line">
            <a:avLst/>
          </a:prstGeom>
          <a:ln w="6350">
            <a:solidFill>
              <a:srgbClr val="C4C4CD"/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phic 19" descr="Puzzle outline">
            <a:extLst>
              <a:ext uri="{FF2B5EF4-FFF2-40B4-BE49-F238E27FC236}">
                <a16:creationId xmlns:a16="http://schemas.microsoft.com/office/drawing/2014/main" id="{D9F0681B-97AD-E6F2-3D30-55A806D4B0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9766936" y="1830073"/>
            <a:ext cx="822960" cy="82296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30FD7D82-6F2D-E09D-2459-38C95FB4BF45}"/>
              </a:ext>
            </a:extLst>
          </p:cNvPr>
          <p:cNvSpPr/>
          <p:nvPr/>
        </p:nvSpPr>
        <p:spPr>
          <a:xfrm>
            <a:off x="893014" y="3534289"/>
            <a:ext cx="2286000" cy="20116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defTabSz="913943" rtl="0" eaLnBrk="1" fontAlgn="auto" latinLnBrk="0" hangingPunct="1">
              <a:spcBef>
                <a:spcPts val="60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Предоставляемая информация должна точно отражать фактические действия, связанные с устойчивым развитием, обеспечивая ее полноту, нейтральность и отсутствие существенных ошибок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5483ED2-6823-91DE-834B-2682C37CE984}"/>
              </a:ext>
            </a:extLst>
          </p:cNvPr>
          <p:cNvSpPr/>
          <p:nvPr/>
        </p:nvSpPr>
        <p:spPr>
          <a:xfrm>
            <a:off x="3599672" y="3534289"/>
            <a:ext cx="2286000" cy="20116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defTabSz="913943" rtl="0" eaLnBrk="1" fontAlgn="auto" latinLnBrk="0" hangingPunct="1">
              <a:spcBef>
                <a:spcPts val="60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Должна раскрываться только та информация, связанная с устойчивым развитием, которая может повлиять на решения пользователей финансовой отчетности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E9145F7-1618-7254-F618-C3B634838283}"/>
              </a:ext>
            </a:extLst>
          </p:cNvPr>
          <p:cNvSpPr/>
          <p:nvPr/>
        </p:nvSpPr>
        <p:spPr>
          <a:xfrm>
            <a:off x="6306330" y="3534289"/>
            <a:ext cx="2286000" cy="20116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defTabSz="913943" rtl="0" eaLnBrk="1" fontAlgn="auto" latinLnBrk="0" hangingPunct="1">
              <a:spcBef>
                <a:spcPts val="60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Раскрытие должно охватывать конкретную отчитывающуюся компанию, обеспечивая учет всех значимых рисков и возможностей, связанных с устойчивым развитием, которые могут повлиять на финансовую отчетность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641AC3-982B-7EE9-B661-4AD335FCAE96}"/>
              </a:ext>
            </a:extLst>
          </p:cNvPr>
          <p:cNvSpPr txBox="1"/>
          <p:nvPr/>
        </p:nvSpPr>
        <p:spPr>
          <a:xfrm>
            <a:off x="893014" y="2784119"/>
            <a:ext cx="2286000" cy="455509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ru-RU" sz="1600" b="1" i="0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Объективное представление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E425BEE-D9CA-80D7-CEF3-163745E10A1B}"/>
              </a:ext>
            </a:extLst>
          </p:cNvPr>
          <p:cNvSpPr txBox="1"/>
          <p:nvPr/>
        </p:nvSpPr>
        <p:spPr>
          <a:xfrm>
            <a:off x="3599672" y="2784119"/>
            <a:ext cx="2286000" cy="455509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ru-RU" sz="1600" b="1" i="0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Существенная информация</a:t>
            </a:r>
            <a:r>
              <a:rPr kumimoji="0" lang="ru-RU" sz="1600" b="1" i="0" strike="noStrike" kern="1200" cap="none" spc="0" normalizeH="0" baseline="3000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F9832EB-3EF5-049E-1CE4-133D30CA1299}"/>
              </a:ext>
            </a:extLst>
          </p:cNvPr>
          <p:cNvSpPr txBox="1"/>
          <p:nvPr/>
        </p:nvSpPr>
        <p:spPr>
          <a:xfrm>
            <a:off x="6306330" y="2789975"/>
            <a:ext cx="2286000" cy="455509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ru-RU" sz="1600" b="1" i="0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Отчитывающаяся компания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BF3EA26-47F4-6819-34B6-14B9EFCD66CD}"/>
              </a:ext>
            </a:extLst>
          </p:cNvPr>
          <p:cNvSpPr/>
          <p:nvPr/>
        </p:nvSpPr>
        <p:spPr>
          <a:xfrm>
            <a:off x="9012986" y="3534289"/>
            <a:ext cx="2286000" cy="20116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defTabSz="913943" rtl="0" eaLnBrk="1" fontAlgn="auto" latinLnBrk="0" hangingPunct="1">
              <a:spcBef>
                <a:spcPts val="60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Раскрытия, связанные с устойчивым развитием, должны быть интегрированы с другими финансовыми данными, чтобы предоставить целостное и всестороннее представление о компании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3BA0EC1-987F-ABA2-BC2B-97800FB8AE75}"/>
              </a:ext>
            </a:extLst>
          </p:cNvPr>
          <p:cNvSpPr txBox="1"/>
          <p:nvPr/>
        </p:nvSpPr>
        <p:spPr>
          <a:xfrm>
            <a:off x="9012986" y="2784118"/>
            <a:ext cx="2286000" cy="455509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ru-RU" sz="1600" b="1" i="0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Связанная информация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902AAAE-EEAC-CEA2-9BFA-0C67ED4E0057}"/>
              </a:ext>
            </a:extLst>
          </p:cNvPr>
          <p:cNvSpPr/>
          <p:nvPr/>
        </p:nvSpPr>
        <p:spPr>
          <a:xfrm>
            <a:off x="609600" y="6022323"/>
            <a:ext cx="6601883" cy="2307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56393">
              <a:defRPr/>
            </a:pPr>
            <a:r>
              <a:rPr lang="ru-RU" sz="900" i="1" dirty="0">
                <a:solidFill>
                  <a:prstClr val="white"/>
                </a:solidFill>
                <a:latin typeface="EYInterstate Light"/>
                <a:cs typeface="Arial"/>
              </a:rPr>
              <a:t>1 Аналогично определению существенности в стандартах по финансовой отчетности </a:t>
            </a:r>
            <a:r>
              <a:rPr lang="en-US" sz="900" i="1" dirty="0">
                <a:solidFill>
                  <a:prstClr val="white"/>
                </a:solidFill>
                <a:latin typeface="EYInterstate Light"/>
                <a:cs typeface="Arial"/>
              </a:rPr>
              <a:t>IFRS</a:t>
            </a:r>
            <a:r>
              <a:rPr lang="ru-RU" sz="900" i="1" dirty="0">
                <a:solidFill>
                  <a:prstClr val="white"/>
                </a:solidFill>
                <a:latin typeface="EYInterstate Light"/>
                <a:cs typeface="Arial"/>
              </a:rPr>
              <a:t> (IAS)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D466D20-4B4E-2C31-750A-2B2DEB44D6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4E5DB40-F863-9137-D760-3CD6BA31C9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05191CC-DA45-FCC8-3E6B-DD7B1CB87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6638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7A05C8-5D49-ADCE-9AD7-497CB9A259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6">
            <a:extLst>
              <a:ext uri="{FF2B5EF4-FFF2-40B4-BE49-F238E27FC236}">
                <a16:creationId xmlns:a16="http://schemas.microsoft.com/office/drawing/2014/main" id="{4970F163-8225-7FB6-0B03-E4C49C3D6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461" y="378731"/>
            <a:ext cx="10972800" cy="590400"/>
          </a:xfrm>
        </p:spPr>
        <p:txBody>
          <a:bodyPr vert="horz"/>
          <a:lstStyle/>
          <a:p>
            <a:r>
              <a:rPr lang="ru-RU" b="1" dirty="0"/>
              <a:t>Объективное представление</a:t>
            </a:r>
            <a:endParaRPr lang="en-US" b="1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1EED09D-C28C-A617-D885-33708B0CDA19}"/>
              </a:ext>
            </a:extLst>
          </p:cNvPr>
          <p:cNvSpPr txBox="1"/>
          <p:nvPr/>
        </p:nvSpPr>
        <p:spPr>
          <a:xfrm>
            <a:off x="609600" y="1290483"/>
            <a:ext cx="10972800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Pct val="70000"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МСФО S1 требует, чтобы раскрытие финансовой информации, связанной с устойчивым развитием, </a:t>
            </a: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объективно отражало все риски и возможности</a:t>
            </a: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которые могут обоснованно повлиять на перспективы компании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98C826A-95BC-508C-5F27-AE24801CDE70}"/>
              </a:ext>
            </a:extLst>
          </p:cNvPr>
          <p:cNvGrpSpPr/>
          <p:nvPr/>
        </p:nvGrpSpPr>
        <p:grpSpPr>
          <a:xfrm>
            <a:off x="6553200" y="2471229"/>
            <a:ext cx="4572000" cy="3619695"/>
            <a:chOff x="6553200" y="2604579"/>
            <a:chExt cx="4572000" cy="3619695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767CD9E-555F-8B1E-5C1F-ACBC636C6349}"/>
                </a:ext>
              </a:extLst>
            </p:cNvPr>
            <p:cNvSpPr txBox="1"/>
            <p:nvPr/>
          </p:nvSpPr>
          <p:spPr>
            <a:xfrm>
              <a:off x="6553200" y="2731010"/>
              <a:ext cx="4572000" cy="3493264"/>
            </a:xfrm>
            <a:prstGeom prst="rect">
              <a:avLst/>
            </a:prstGeom>
            <a:noFill/>
            <a:ln>
              <a:solidFill>
                <a:srgbClr val="747480"/>
              </a:solidFill>
            </a:ln>
          </p:spPr>
          <p:txBody>
            <a:bodyPr wrap="square" lIns="91440" tIns="274320" rIns="91440" bIns="45720" rtlCol="0">
              <a:spAutoFit/>
            </a:bodyPr>
            <a:lstStyle/>
            <a:p>
              <a:pPr marL="285750" marR="0" lvl="0" indent="-285750" defTabSz="6096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100000"/>
                <a:buFont typeface="EYInterstate Light" panose="02000506030000020004" pitchFamily="50" charset="0"/>
                <a:buChar char="•"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</a:rPr>
                <a:t>Сопоставимость, проверяемость, своевременность и понятность </a:t>
              </a: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- р</a:t>
              </a: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аскрытия должны быть сопоставимы между компаниями и периодами, проверяемы независимыми сторонами, своевременны для принятия решений и понятны</a:t>
              </a:r>
            </a:p>
            <a:p>
              <a:pPr marR="0" lvl="0" defTabSz="6096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100000"/>
                <a:tabLst/>
                <a:defRPr/>
              </a:pP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  <a:p>
              <a:pPr marL="285750" marR="0" lvl="0" indent="-285750" defTabSz="6096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100000"/>
                <a:buFont typeface="EYInterstate Light" panose="02000506030000020004" pitchFamily="50" charset="0"/>
                <a:buChar char="•"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</a:rPr>
                <a:t>Дополнительная информация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</a:rPr>
                <a:t>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- </a:t>
              </a: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ес</a:t>
              </a: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ли требования по раскрытию неполностью объясняют влияние рисков и возможностей, компании обязаны раскрыть дополнительные данные для понимания воздействия на денежные потоки, доступа к финансированию и стоимости капитала в разных временных горизонтах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6EBC09E8-EB75-3ACE-4AA0-D90C584867C2}"/>
                </a:ext>
              </a:extLst>
            </p:cNvPr>
            <p:cNvGrpSpPr/>
            <p:nvPr/>
          </p:nvGrpSpPr>
          <p:grpSpPr>
            <a:xfrm>
              <a:off x="7239000" y="2604579"/>
              <a:ext cx="3200400" cy="274320"/>
              <a:chOff x="7239000" y="2604579"/>
              <a:chExt cx="3200400" cy="274320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0AFC7B02-522E-F162-EFAD-33EA6320BE8E}"/>
                  </a:ext>
                </a:extLst>
              </p:cNvPr>
              <p:cNvSpPr txBox="1"/>
              <p:nvPr/>
            </p:nvSpPr>
            <p:spPr>
              <a:xfrm>
                <a:off x="7239000" y="2634017"/>
                <a:ext cx="3200400" cy="215444"/>
              </a:xfrm>
              <a:prstGeom prst="rect">
                <a:avLst/>
              </a:prstGeom>
              <a:solidFill>
                <a:srgbClr val="2E2E38"/>
              </a:solidFill>
            </p:spPr>
            <p:txBody>
              <a:bodyPr wrap="square" lIns="182880" tIns="0" rIns="0" bIns="0" rtlCol="0" anchor="ctr">
                <a:spAutoFit/>
              </a:bodyPr>
              <a:lstStyle/>
              <a:p>
                <a:pPr marL="0" marR="0" lvl="0" indent="0" algn="ctr" defTabSz="60963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00"/>
                  </a:spcAft>
                  <a:buClr>
                    <a:srgbClr val="000000"/>
                  </a:buClr>
                  <a:buSzPct val="70000"/>
                  <a:buFontTx/>
                  <a:buNone/>
                  <a:tabLst/>
                  <a:defRPr/>
                </a:pPr>
                <a:r>
                  <a:rPr kumimoji="0" lang="ru-RU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4C4CD"/>
                    </a:solidFill>
                    <a:effectLst/>
                    <a:uLnTx/>
                    <a:uFillTx/>
                  </a:rPr>
                  <a:t>Дополнительные принципы</a:t>
                </a: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4C4CD"/>
                    </a:solidFill>
                    <a:effectLst/>
                    <a:uLnTx/>
                    <a:uFillTx/>
                  </a:rPr>
                  <a:t>:</a:t>
                </a:r>
                <a:endPara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C4C4CD"/>
                  </a:solidFill>
                  <a:effectLst/>
                  <a:uLnTx/>
                  <a:uFillTx/>
                </a:endParaRPr>
              </a:p>
            </p:txBody>
          </p:sp>
          <p:pic>
            <p:nvPicPr>
              <p:cNvPr id="37" name="Graphic 36" descr="Badge Follow outline">
                <a:extLst>
                  <a:ext uri="{FF2B5EF4-FFF2-40B4-BE49-F238E27FC236}">
                    <a16:creationId xmlns:a16="http://schemas.microsoft.com/office/drawing/2014/main" id="{CD99FCC1-FCC6-793C-A12F-67039277F8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/>
            </p:blipFill>
            <p:spPr>
              <a:xfrm>
                <a:off x="7353300" y="2604579"/>
                <a:ext cx="274320" cy="274320"/>
              </a:xfrm>
              <a:prstGeom prst="rect">
                <a:avLst/>
              </a:prstGeom>
            </p:spPr>
          </p:pic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CBB8931-2054-04BD-AA98-7163C6E6F310}"/>
              </a:ext>
            </a:extLst>
          </p:cNvPr>
          <p:cNvGrpSpPr/>
          <p:nvPr/>
        </p:nvGrpSpPr>
        <p:grpSpPr>
          <a:xfrm>
            <a:off x="1066800" y="2471228"/>
            <a:ext cx="4572000" cy="3055141"/>
            <a:chOff x="1066800" y="2604579"/>
            <a:chExt cx="4572000" cy="2461678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2E5FB50-CECD-1AC1-B603-7736DBAAE556}"/>
                </a:ext>
              </a:extLst>
            </p:cNvPr>
            <p:cNvSpPr txBox="1"/>
            <p:nvPr/>
          </p:nvSpPr>
          <p:spPr>
            <a:xfrm>
              <a:off x="1066800" y="2731010"/>
              <a:ext cx="4572000" cy="2335247"/>
            </a:xfrm>
            <a:prstGeom prst="rect">
              <a:avLst/>
            </a:prstGeom>
            <a:noFill/>
            <a:ln>
              <a:solidFill>
                <a:srgbClr val="747480"/>
              </a:solidFill>
            </a:ln>
          </p:spPr>
          <p:txBody>
            <a:bodyPr wrap="square" lIns="91440" tIns="274320" rIns="91440" bIns="45720" rtlCol="0">
              <a:spAutoFit/>
            </a:bodyPr>
            <a:lstStyle/>
            <a:p>
              <a:pPr marL="285750" marR="0" lvl="0" indent="-285750" defTabSz="6096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FFE600"/>
                </a:buClr>
                <a:buSzPct val="100000"/>
                <a:buFont typeface="EYInterstate Light" panose="02000506030000020004" pitchFamily="50" charset="0"/>
                <a:buChar char="•"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</a:rPr>
                <a:t>Объективное представление </a:t>
              </a: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- </a:t>
              </a: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полный комплект финансовых раскрытий, связанных с устойчивым развитием, в том числе рисков и возможностей, которые могут оказать значительное влияние на перспективы компании</a:t>
              </a:r>
            </a:p>
            <a:p>
              <a:pPr marR="0" lvl="0" defTabSz="6096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FFE600"/>
                </a:buClr>
                <a:buSzPct val="100000"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  <a:p>
              <a:pPr marL="285750" marR="0" lvl="0" indent="-285750" defTabSz="6096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100000"/>
                <a:buFont typeface="EYInterstate Light" panose="02000506030000020004" pitchFamily="50" charset="0"/>
                <a:buChar char="•"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</a:rPr>
                <a:t>Достоверное представление </a:t>
              </a: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- </a:t>
              </a: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полное, нейтральное и точное изображение рисков и возможностей, связанных с устойчивым развитием, в соответствии с принципами, изложенными в МСФО S1</a:t>
              </a:r>
              <a:endParaRPr kumimoji="0" lang="ru-RU" sz="14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316C44B2-80C1-CDBB-229D-E71545159702}"/>
                </a:ext>
              </a:extLst>
            </p:cNvPr>
            <p:cNvGrpSpPr/>
            <p:nvPr/>
          </p:nvGrpSpPr>
          <p:grpSpPr>
            <a:xfrm>
              <a:off x="2072640" y="2604579"/>
              <a:ext cx="2560320" cy="274320"/>
              <a:chOff x="2209800" y="2604579"/>
              <a:chExt cx="2560320" cy="274320"/>
            </a:xfrm>
          </p:grpSpPr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B137B836-52A0-2B07-4B92-C26116CC6D1F}"/>
                  </a:ext>
                </a:extLst>
              </p:cNvPr>
              <p:cNvSpPr txBox="1"/>
              <p:nvPr/>
            </p:nvSpPr>
            <p:spPr>
              <a:xfrm>
                <a:off x="2209800" y="2634017"/>
                <a:ext cx="2560320" cy="215444"/>
              </a:xfrm>
              <a:prstGeom prst="rect">
                <a:avLst/>
              </a:prstGeom>
              <a:solidFill>
                <a:srgbClr val="2E2E38"/>
              </a:solidFill>
            </p:spPr>
            <p:txBody>
              <a:bodyPr wrap="square" lIns="182880" tIns="0" rIns="0" bIns="0" rtlCol="0" anchor="ctr">
                <a:spAutoFit/>
              </a:bodyPr>
              <a:lstStyle/>
              <a:p>
                <a:pPr marL="0" marR="0" lvl="0" indent="0" algn="ctr" defTabSz="60963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00"/>
                  </a:spcAft>
                  <a:buClr>
                    <a:srgbClr val="000000"/>
                  </a:buClr>
                  <a:buSzPct val="70000"/>
                  <a:buFontTx/>
                  <a:buNone/>
                  <a:tabLst/>
                  <a:defRPr/>
                </a:pPr>
                <a:r>
                  <a:rPr kumimoji="0" lang="ru-RU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</a:rPr>
                  <a:t>Основные принципы</a:t>
                </a: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</a:rPr>
                  <a:t>:</a:t>
                </a:r>
                <a:endPara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</a:endParaRPr>
              </a:p>
            </p:txBody>
          </p:sp>
          <p:pic>
            <p:nvPicPr>
              <p:cNvPr id="42" name="Graphic 41" descr="Scales of justice outline">
                <a:extLst>
                  <a:ext uri="{FF2B5EF4-FFF2-40B4-BE49-F238E27FC236}">
                    <a16:creationId xmlns:a16="http://schemas.microsoft.com/office/drawing/2014/main" id="{9A6C843D-B324-1D86-D773-1BFFB4FC1C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2324100" y="2604579"/>
                <a:ext cx="274320" cy="274320"/>
              </a:xfrm>
              <a:prstGeom prst="rect">
                <a:avLst/>
              </a:prstGeom>
            </p:spPr>
          </p:pic>
        </p:grpSp>
      </p:grp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DD20FA6-00B5-4670-A66D-7639DCB4D5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CC3EE87-FD1E-30F0-53F5-6EF72255D4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76A5409-6B88-DDCC-BE5E-F53DA40B3E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1577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11223-7C4E-67FF-998C-5AF17DA230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6">
            <a:extLst>
              <a:ext uri="{FF2B5EF4-FFF2-40B4-BE49-F238E27FC236}">
                <a16:creationId xmlns:a16="http://schemas.microsoft.com/office/drawing/2014/main" id="{EF8DFB8A-90DE-36B6-449E-D34D5C014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461" y="378731"/>
            <a:ext cx="10972800" cy="590400"/>
          </a:xfrm>
        </p:spPr>
        <p:txBody>
          <a:bodyPr vert="horz"/>
          <a:lstStyle/>
          <a:p>
            <a:r>
              <a:rPr lang="ru" b="1"/>
              <a:t>Существенная информация</a:t>
            </a:r>
            <a:endParaRPr lang="en-US" b="1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FA727C7-E9C7-5543-855E-41B60C4F519C}"/>
              </a:ext>
            </a:extLst>
          </p:cNvPr>
          <p:cNvSpPr/>
          <p:nvPr/>
        </p:nvSpPr>
        <p:spPr>
          <a:xfrm>
            <a:off x="1656107" y="2720256"/>
            <a:ext cx="3356316" cy="276998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3943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Информация считается существенной, если ее отсутствие, искажение или сокрытие могут повлиять на решения основных пользователей финансовой отчетности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3943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defTabSz="913943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Основано на определении существенности (материальности) в стандартах финансовой отчетности МСФО 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E2A6793-FB8C-9510-A8A1-8502CC12C561}"/>
              </a:ext>
            </a:extLst>
          </p:cNvPr>
          <p:cNvGrpSpPr/>
          <p:nvPr/>
        </p:nvGrpSpPr>
        <p:grpSpPr>
          <a:xfrm>
            <a:off x="6063091" y="1952254"/>
            <a:ext cx="5486400" cy="4090849"/>
            <a:chOff x="5942771" y="1855998"/>
            <a:chExt cx="5486400" cy="4090849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F6AA44A9-2995-5E76-396A-00729C18EE3F}"/>
                </a:ext>
              </a:extLst>
            </p:cNvPr>
            <p:cNvSpPr/>
            <p:nvPr/>
          </p:nvSpPr>
          <p:spPr>
            <a:xfrm>
              <a:off x="5942771" y="1855998"/>
              <a:ext cx="5486400" cy="731520"/>
            </a:xfrm>
            <a:prstGeom prst="rect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tIns="365760" rIns="45720" bIns="91440" anchor="ctr">
              <a:no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000"/>
                <a:buFontTx/>
                <a:buNone/>
                <a:tabLst>
                  <a:tab pos="456971" algn="l"/>
                </a:tabLst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Times New Roman" panose="02020603050405020304" pitchFamily="18" charset="0"/>
                  <a:cs typeface="Calibri" panose="020F0502020204030204" pitchFamily="34" charset="0"/>
                </a:rPr>
                <a:t>Существенность определяется с учетом специфики компании и учитывает как количественные, так и качественные факторы</a:t>
              </a:r>
              <a:r>
                <a:rPr kumimoji="0" lang="en-US" sz="1200" b="0" i="0" u="none" strike="noStrike" kern="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Times New Roman" panose="02020603050405020304" pitchFamily="18" charset="0"/>
                  <a:cs typeface="Calibri" panose="020F0502020204030204" pitchFamily="34" charset="0"/>
                </a:rPr>
                <a:t>1</a:t>
              </a:r>
              <a:endParaRPr kumimoji="0" lang="en-IN" sz="12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imes New Roman" panose="02020603050405020304" pitchFamily="18" charset="0"/>
                <a:cs typeface="Calibri" panose="020F0502020204030204" pitchFamily="34" charset="0"/>
              </a:endParaRPr>
            </a:p>
          </p:txBody>
        </p:sp>
        <p:sp>
          <p:nvSpPr>
            <p:cNvPr id="60" name="object 56">
              <a:extLst>
                <a:ext uri="{FF2B5EF4-FFF2-40B4-BE49-F238E27FC236}">
                  <a16:creationId xmlns:a16="http://schemas.microsoft.com/office/drawing/2014/main" id="{C7916485-3A46-4B76-166F-3D3147E01FEB}"/>
                </a:ext>
              </a:extLst>
            </p:cNvPr>
            <p:cNvSpPr/>
            <p:nvPr/>
          </p:nvSpPr>
          <p:spPr>
            <a:xfrm>
              <a:off x="5942771" y="1855998"/>
              <a:ext cx="2743200" cy="228600"/>
            </a:xfrm>
            <a:custGeom>
              <a:avLst/>
              <a:gdLst/>
              <a:ahLst/>
              <a:cxnLst/>
              <a:rect l="l" t="t" r="r" b="b"/>
              <a:pathLst>
                <a:path w="862330" h="254000">
                  <a:moveTo>
                    <a:pt x="0" y="254000"/>
                  </a:moveTo>
                  <a:lnTo>
                    <a:pt x="861847" y="254000"/>
                  </a:lnTo>
                  <a:lnTo>
                    <a:pt x="861847" y="0"/>
                  </a:lnTo>
                  <a:lnTo>
                    <a:pt x="0" y="0"/>
                  </a:lnTo>
                  <a:lnTo>
                    <a:pt x="0" y="254000"/>
                  </a:lnTo>
                  <a:close/>
                </a:path>
              </a:pathLst>
            </a:custGeom>
            <a:solidFill>
              <a:srgbClr val="FFE600"/>
            </a:solidFill>
            <a:ln>
              <a:noFill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12700" marR="0" lvl="0" indent="0" algn="ctr" defTabSz="914400" eaLnBrk="1" fontAlgn="auto" latinLnBrk="0" hangingPunct="1">
                <a:lnSpc>
                  <a:spcPct val="11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</a:rPr>
                <a:t>Идентификация существенности 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AB2EB908-29B1-BA5E-AD86-A3531E0E0321}"/>
                </a:ext>
              </a:extLst>
            </p:cNvPr>
            <p:cNvSpPr/>
            <p:nvPr/>
          </p:nvSpPr>
          <p:spPr>
            <a:xfrm>
              <a:off x="5942771" y="2762414"/>
              <a:ext cx="5486400" cy="1005840"/>
            </a:xfrm>
            <a:prstGeom prst="rect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tIns="365760" rIns="45720" bIns="91440" anchor="ctr">
              <a:no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000"/>
                <a:buFontTx/>
                <a:buNone/>
                <a:tabLst>
                  <a:tab pos="456971" algn="l"/>
                </a:tabLst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Times New Roman" panose="02020603050405020304" pitchFamily="18" charset="0"/>
                  <a:cs typeface="Calibri" panose="020F0502020204030204" pitchFamily="34" charset="0"/>
                </a:rPr>
                <a:t>Данные не должны быть скрыты из-за объединения с несущественной информацией. Информация о рисках и возможностях должна раскрываться раздельно если это необходимо для обеспечения ясности и полноты</a:t>
              </a:r>
              <a:endPara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imes New Roman" panose="02020603050405020304" pitchFamily="18" charset="0"/>
                <a:cs typeface="Calibri" panose="020F0502020204030204" pitchFamily="34" charset="0"/>
              </a:endParaRPr>
            </a:p>
          </p:txBody>
        </p:sp>
        <p:sp>
          <p:nvSpPr>
            <p:cNvPr id="62" name="object 56">
              <a:extLst>
                <a:ext uri="{FF2B5EF4-FFF2-40B4-BE49-F238E27FC236}">
                  <a16:creationId xmlns:a16="http://schemas.microsoft.com/office/drawing/2014/main" id="{CF58642A-9A48-FAF0-73F9-BC354483A27B}"/>
                </a:ext>
              </a:extLst>
            </p:cNvPr>
            <p:cNvSpPr/>
            <p:nvPr/>
          </p:nvSpPr>
          <p:spPr>
            <a:xfrm>
              <a:off x="5942771" y="2762414"/>
              <a:ext cx="2743200" cy="228600"/>
            </a:xfrm>
            <a:custGeom>
              <a:avLst/>
              <a:gdLst/>
              <a:ahLst/>
              <a:cxnLst/>
              <a:rect l="l" t="t" r="r" b="b"/>
              <a:pathLst>
                <a:path w="862330" h="254000">
                  <a:moveTo>
                    <a:pt x="0" y="254000"/>
                  </a:moveTo>
                  <a:lnTo>
                    <a:pt x="861847" y="254000"/>
                  </a:lnTo>
                  <a:lnTo>
                    <a:pt x="861847" y="0"/>
                  </a:lnTo>
                  <a:lnTo>
                    <a:pt x="0" y="0"/>
                  </a:lnTo>
                  <a:lnTo>
                    <a:pt x="0" y="254000"/>
                  </a:lnTo>
                  <a:close/>
                </a:path>
              </a:pathLst>
            </a:custGeom>
            <a:solidFill>
              <a:srgbClr val="C4C4CD"/>
            </a:solidFill>
            <a:ln>
              <a:noFill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12700" marR="0" lvl="0" indent="0" algn="ctr" defTabSz="914400" eaLnBrk="1" fontAlgn="auto" latinLnBrk="0" hangingPunct="1">
                <a:lnSpc>
                  <a:spcPct val="11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</a:rPr>
                <a:t>Объединение и разделение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28BF003-2920-7DA6-6DEE-D150FFDDE08F}"/>
                </a:ext>
              </a:extLst>
            </p:cNvPr>
            <p:cNvSpPr/>
            <p:nvPr/>
          </p:nvSpPr>
          <p:spPr>
            <a:xfrm>
              <a:off x="5942771" y="3943150"/>
              <a:ext cx="5486400" cy="1005840"/>
            </a:xfrm>
            <a:prstGeom prst="rect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tIns="365760" rIns="45720" bIns="91440" anchor="ctr">
              <a:no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000"/>
                <a:buFontTx/>
                <a:buNone/>
                <a:tabLst>
                  <a:tab pos="456971" algn="l"/>
                </a:tabLst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Times New Roman" panose="02020603050405020304" pitchFamily="18" charset="0"/>
                  <a:cs typeface="Calibri" panose="020F0502020204030204" pitchFamily="34" charset="0"/>
                </a:rPr>
                <a:t>Информация, требуемая законом, может раскрываться даже если она не является существенной, при условии, что это не скрывает важные данные. В случае запрета законом раскрытия существенной информации требуется обоснование причины нераскрытия</a:t>
              </a:r>
              <a:endPara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imes New Roman" panose="02020603050405020304" pitchFamily="18" charset="0"/>
                <a:cs typeface="Calibri" panose="020F0502020204030204" pitchFamily="34" charset="0"/>
              </a:endParaRPr>
            </a:p>
          </p:txBody>
        </p:sp>
        <p:sp>
          <p:nvSpPr>
            <p:cNvPr id="64" name="object 56">
              <a:extLst>
                <a:ext uri="{FF2B5EF4-FFF2-40B4-BE49-F238E27FC236}">
                  <a16:creationId xmlns:a16="http://schemas.microsoft.com/office/drawing/2014/main" id="{6AB696C2-C81A-A1BE-3D2D-A6BEAF019336}"/>
                </a:ext>
              </a:extLst>
            </p:cNvPr>
            <p:cNvSpPr/>
            <p:nvPr/>
          </p:nvSpPr>
          <p:spPr>
            <a:xfrm>
              <a:off x="5942771" y="3943150"/>
              <a:ext cx="2743200" cy="228600"/>
            </a:xfrm>
            <a:custGeom>
              <a:avLst/>
              <a:gdLst/>
              <a:ahLst/>
              <a:cxnLst/>
              <a:rect l="l" t="t" r="r" b="b"/>
              <a:pathLst>
                <a:path w="862330" h="254000">
                  <a:moveTo>
                    <a:pt x="0" y="254000"/>
                  </a:moveTo>
                  <a:lnTo>
                    <a:pt x="861847" y="254000"/>
                  </a:lnTo>
                  <a:lnTo>
                    <a:pt x="861847" y="0"/>
                  </a:lnTo>
                  <a:lnTo>
                    <a:pt x="0" y="0"/>
                  </a:lnTo>
                  <a:lnTo>
                    <a:pt x="0" y="254000"/>
                  </a:lnTo>
                  <a:close/>
                </a:path>
              </a:pathLst>
            </a:custGeom>
            <a:solidFill>
              <a:srgbClr val="C4C4CD"/>
            </a:solidFill>
            <a:ln>
              <a:noFill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12700" marR="0" lvl="0" indent="0" algn="ctr" defTabSz="914400" eaLnBrk="1" fontAlgn="auto" latinLnBrk="0" hangingPunct="1">
                <a:lnSpc>
                  <a:spcPct val="11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</a:rPr>
                <a:t>Взаимодействие с регулированием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9A9810C3-E2D3-0D9D-C19A-0C5D44E13268}"/>
                </a:ext>
              </a:extLst>
            </p:cNvPr>
            <p:cNvSpPr/>
            <p:nvPr/>
          </p:nvSpPr>
          <p:spPr>
            <a:xfrm>
              <a:off x="5942771" y="5123887"/>
              <a:ext cx="5486400" cy="822960"/>
            </a:xfrm>
            <a:prstGeom prst="rect">
              <a:avLst/>
            </a:prstGeom>
            <a:ln w="9525" cap="flat" cmpd="sng" algn="ctr">
              <a:solidFill>
                <a:srgbClr val="74748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tIns="365760" rIns="45720" bIns="137160" anchor="ctr">
              <a:noAutofit/>
            </a:bodyPr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000"/>
                <a:buFontTx/>
                <a:buNone/>
                <a:tabLst>
                  <a:tab pos="456971" algn="l"/>
                </a:tabLst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Times New Roman" panose="02020603050405020304" pitchFamily="18" charset="0"/>
                  <a:cs typeface="Calibri" panose="020F0502020204030204" pitchFamily="34" charset="0"/>
                </a:rPr>
                <a:t>Коммерчески чувствительная информация может не раскрываться (при определенных условиях) если раскрытие может нанести ущерб экономическим интересам</a:t>
              </a:r>
              <a:endParaRPr kumimoji="0" lang="en-IN" sz="12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Times New Roman" panose="02020603050405020304" pitchFamily="18" charset="0"/>
                <a:cs typeface="Calibri" panose="020F0502020204030204" pitchFamily="34" charset="0"/>
              </a:endParaRPr>
            </a:p>
          </p:txBody>
        </p:sp>
        <p:sp>
          <p:nvSpPr>
            <p:cNvPr id="66" name="object 56">
              <a:extLst>
                <a:ext uri="{FF2B5EF4-FFF2-40B4-BE49-F238E27FC236}">
                  <a16:creationId xmlns:a16="http://schemas.microsoft.com/office/drawing/2014/main" id="{EB1519AB-3CA2-595D-78DB-C9ADF03F901E}"/>
                </a:ext>
              </a:extLst>
            </p:cNvPr>
            <p:cNvSpPr/>
            <p:nvPr/>
          </p:nvSpPr>
          <p:spPr>
            <a:xfrm>
              <a:off x="5942771" y="5123887"/>
              <a:ext cx="2743200" cy="228600"/>
            </a:xfrm>
            <a:custGeom>
              <a:avLst/>
              <a:gdLst/>
              <a:ahLst/>
              <a:cxnLst/>
              <a:rect l="l" t="t" r="r" b="b"/>
              <a:pathLst>
                <a:path w="862330" h="254000">
                  <a:moveTo>
                    <a:pt x="0" y="254000"/>
                  </a:moveTo>
                  <a:lnTo>
                    <a:pt x="861847" y="254000"/>
                  </a:lnTo>
                  <a:lnTo>
                    <a:pt x="861847" y="0"/>
                  </a:lnTo>
                  <a:lnTo>
                    <a:pt x="0" y="0"/>
                  </a:lnTo>
                  <a:lnTo>
                    <a:pt x="0" y="254000"/>
                  </a:lnTo>
                  <a:close/>
                </a:path>
              </a:pathLst>
            </a:custGeom>
            <a:solidFill>
              <a:srgbClr val="C4C4CD"/>
            </a:solidFill>
            <a:ln>
              <a:noFill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12700" marR="0" lvl="0" indent="0" defTabSz="914400" eaLnBrk="1" fontAlgn="auto" latinLnBrk="0" hangingPunct="1">
                <a:lnSpc>
                  <a:spcPct val="11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</a:rPr>
                <a:t>  Конфиденциальная информация</a:t>
              </a: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F2D0A763-A55F-B4C7-9F02-C79BAC03A5AB}"/>
              </a:ext>
            </a:extLst>
          </p:cNvPr>
          <p:cNvSpPr txBox="1"/>
          <p:nvPr/>
        </p:nvSpPr>
        <p:spPr>
          <a:xfrm>
            <a:off x="609600" y="1290483"/>
            <a:ext cx="10972800" cy="492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Pct val="70000"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МСФО S1 требует раскрытия существенной информации о рисках и возможностях, которые могут значительно повлиять на будущие перспективы компании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2FA9094-874C-76D6-7D1A-59DE79C6C479}"/>
              </a:ext>
            </a:extLst>
          </p:cNvPr>
          <p:cNvSpPr/>
          <p:nvPr/>
        </p:nvSpPr>
        <p:spPr>
          <a:xfrm>
            <a:off x="1093132" y="6155617"/>
            <a:ext cx="721162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56393"/>
            <a:r>
              <a:rPr lang="en-US" sz="900" dirty="0">
                <a:solidFill>
                  <a:srgbClr val="FFFFFF">
                    <a:lumMod val="95000"/>
                  </a:srgbClr>
                </a:solidFill>
                <a:cs typeface="Arial"/>
              </a:rPr>
              <a:t>1 </a:t>
            </a:r>
            <a:r>
              <a:rPr lang="ru-RU" sz="900" dirty="0">
                <a:solidFill>
                  <a:srgbClr val="FFFFFF">
                    <a:lumMod val="95000"/>
                  </a:srgbClr>
                </a:solidFill>
                <a:cs typeface="Arial"/>
              </a:rPr>
              <a:t>Для оценки используются требования МСФО, а также другие источники, если МСФО не содержит конкретных требований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2BCB7BD-4083-B820-606C-996E7EC20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D0F1218-C074-41A0-36B9-A3A189350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7E8E875-4D99-2486-1DC2-D2B58E3B0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6749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C3717C-2B2B-E3E7-8E22-E19276AAA3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6">
            <a:extLst>
              <a:ext uri="{FF2B5EF4-FFF2-40B4-BE49-F238E27FC236}">
                <a16:creationId xmlns:a16="http://schemas.microsoft.com/office/drawing/2014/main" id="{E1F9F7C9-915F-402B-DEA6-979287DEA5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461" y="378731"/>
            <a:ext cx="10972800" cy="590400"/>
          </a:xfrm>
        </p:spPr>
        <p:txBody>
          <a:bodyPr vert="horz"/>
          <a:lstStyle/>
          <a:p>
            <a:r>
              <a:rPr lang="ru-RU" b="1" dirty="0"/>
              <a:t>Отчитывающаяся компания</a:t>
            </a:r>
            <a:endParaRPr lang="en-US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644B93-08A5-04B2-BA3D-AF211DF9A7A0}"/>
              </a:ext>
            </a:extLst>
          </p:cNvPr>
          <p:cNvSpPr txBox="1"/>
          <p:nvPr/>
        </p:nvSpPr>
        <p:spPr>
          <a:xfrm>
            <a:off x="609600" y="1290483"/>
            <a:ext cx="1097280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Pct val="70000"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Компания, раскрывающая финансовую информацию, связанную с устойчивым развитием,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должна быть той же, которая предоставляет общую финансовую отчетность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чтобы обеспечить возможность связать эти данные между собой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BF3AB80-29A7-2B56-CAA7-D18E6A4DCC0F}"/>
              </a:ext>
            </a:extLst>
          </p:cNvPr>
          <p:cNvSpPr/>
          <p:nvPr/>
        </p:nvSpPr>
        <p:spPr>
          <a:xfrm>
            <a:off x="6628571" y="2197592"/>
            <a:ext cx="4480560" cy="4142247"/>
          </a:xfrm>
          <a:prstGeom prst="rect">
            <a:avLst/>
          </a:prstGeom>
          <a:gradFill flip="none" rotWithShape="1">
            <a:gsLst>
              <a:gs pos="0">
                <a:srgbClr val="2E2E38">
                  <a:alpha val="15000"/>
                </a:srgbClr>
              </a:gs>
              <a:gs pos="100000">
                <a:srgbClr val="2E2E38">
                  <a:lumMod val="60000"/>
                  <a:lumOff val="40000"/>
                  <a:alpha val="2800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0" tIns="182880" rIns="182880" bIns="91440" numCol="1" rtlCol="0" anchor="t" anchorCtr="0" compatLnSpc="1">
            <a:prstTxWarp prst="textNoShape">
              <a:avLst/>
            </a:prstTxWarp>
          </a:bodyPr>
          <a:lstStyle/>
          <a:p>
            <a:pPr marL="0" marR="0" lvl="1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E600"/>
              </a:buClr>
              <a:buSzPct val="70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Пример:</a:t>
            </a:r>
          </a:p>
          <a:p>
            <a:pPr marL="0" marR="0" lvl="1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FE600"/>
              </a:buClr>
              <a:buSzPct val="70000"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Консолидированная финансовая отчетность, подготовленная по стандартам МСФО, включает данные о материнской компании и ее дочерних предприятиях как об едином отчитывающемся субъекте. </a:t>
            </a:r>
          </a:p>
          <a:p>
            <a:pPr marL="0" marR="0" lvl="1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FE600"/>
              </a:buClr>
              <a:buSzPct val="70000"/>
              <a:buFontTx/>
              <a:buNone/>
              <a:tabLst/>
              <a:defRPr/>
            </a:pPr>
            <a:endParaRPr lang="ru-RU" sz="1400" kern="0" dirty="0">
              <a:solidFill>
                <a:srgbClr val="FFFFFF"/>
              </a:solidFill>
            </a:endParaRPr>
          </a:p>
          <a:p>
            <a:pPr marL="0" marR="0" lvl="1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FE600"/>
              </a:buClr>
              <a:buSzPct val="70000"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Иными словами, раскрытие информации, связанной с устойчивым развитием, должно обеспечивать основным пользователям общей финансовой отчетности понимание того, как риски и возможности, связанные с устойчивым развитием, влияют на денежные потоки, доступ к финансированию и стоимость капитала в краткосрочной, среднесрочной и долгосрочной перспективе для материнской компании и ее дочерних структур.</a:t>
            </a:r>
            <a:endParaRPr kumimoji="0" lang="en-IN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A601BEB-2DA3-023F-F8C4-BC888B788B72}"/>
              </a:ext>
            </a:extLst>
          </p:cNvPr>
          <p:cNvGrpSpPr/>
          <p:nvPr/>
        </p:nvGrpSpPr>
        <p:grpSpPr>
          <a:xfrm>
            <a:off x="1066800" y="2511017"/>
            <a:ext cx="4572000" cy="3127252"/>
            <a:chOff x="1066800" y="2471229"/>
            <a:chExt cx="4572000" cy="3127252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197F9C8-1F49-7918-A0BC-B4C70E983E41}"/>
                </a:ext>
              </a:extLst>
            </p:cNvPr>
            <p:cNvSpPr txBox="1"/>
            <p:nvPr/>
          </p:nvSpPr>
          <p:spPr>
            <a:xfrm>
              <a:off x="1066800" y="2597660"/>
              <a:ext cx="4572000" cy="3000821"/>
            </a:xfrm>
            <a:prstGeom prst="rect">
              <a:avLst/>
            </a:prstGeom>
            <a:noFill/>
            <a:ln>
              <a:solidFill>
                <a:srgbClr val="747480"/>
              </a:solidFill>
            </a:ln>
          </p:spPr>
          <p:txBody>
            <a:bodyPr wrap="square" lIns="91440" tIns="274320" rIns="91440" bIns="45720" rtlCol="0">
              <a:spAutoFit/>
            </a:bodyPr>
            <a:lstStyle/>
            <a:p>
              <a:pPr marL="0" marR="0" lvl="0" indent="0" defTabSz="6096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100000"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Организация должна раскрывать информацию о рисках и возможностях устойчивого развития, связанных с деятельностью, взаимодействиями, отношениями и использованием ресурсов </a:t>
              </a:r>
              <a:r>
                <a: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</a:rPr>
                <a:t>на всех этапах цепочки создания стоимости</a:t>
              </a:r>
              <a:r>
                <a: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, включая: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  <a:p>
              <a:pPr marL="406400" marR="0" lvl="0" indent="-285750" defTabSz="6096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100000"/>
                <a:buFont typeface="EYInterstate Light" panose="02000506030000020004" pitchFamily="50" charset="0"/>
                <a:buChar char="•"/>
                <a:tabLst/>
                <a:defRPr/>
              </a:pPr>
              <a:r>
                <a: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Каналы поставок и сбыта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</a:t>
              </a:r>
            </a:p>
            <a:p>
              <a:pPr marL="406400" marR="0" lvl="0" indent="-285750" defTabSz="6096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100000"/>
                <a:buFont typeface="EYInterstate Light" panose="02000506030000020004" pitchFamily="50" charset="0"/>
                <a:buChar char="•"/>
                <a:tabLst/>
                <a:defRPr/>
              </a:pPr>
              <a:r>
                <a: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Последствия потребления и выбытия продукции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</a:t>
              </a:r>
            </a:p>
            <a:p>
              <a:pPr marL="406400" marR="0" lvl="0" indent="-285750" defTabSz="6096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100000"/>
                <a:buFont typeface="EYInterstate Light" panose="02000506030000020004" pitchFamily="50" charset="0"/>
                <a:buChar char="•"/>
                <a:tabLst/>
                <a:defRPr/>
              </a:pPr>
              <a:r>
                <a: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Инвестиции, включая вложения в ассоциированные и совместные предприятия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</a:t>
              </a:r>
            </a:p>
            <a:p>
              <a:pPr marL="406400" marR="0" lvl="0" indent="-285750" defTabSz="6096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100000"/>
                <a:buFont typeface="EYInterstate Light" panose="02000506030000020004" pitchFamily="50" charset="0"/>
                <a:buChar char="•"/>
                <a:tabLst/>
                <a:defRPr/>
              </a:pPr>
              <a:r>
                <a: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Источники финансирования</a:t>
              </a: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</a:t>
              </a:r>
              <a:r>
                <a: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организации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D35869B-F7B1-D6A6-C43F-E8323B3588FE}"/>
                </a:ext>
              </a:extLst>
            </p:cNvPr>
            <p:cNvSpPr txBox="1"/>
            <p:nvPr/>
          </p:nvSpPr>
          <p:spPr>
            <a:xfrm>
              <a:off x="1889760" y="2500667"/>
              <a:ext cx="2926080" cy="215444"/>
            </a:xfrm>
            <a:prstGeom prst="rect">
              <a:avLst/>
            </a:prstGeom>
            <a:solidFill>
              <a:srgbClr val="2E2E38"/>
            </a:solidFill>
          </p:spPr>
          <p:txBody>
            <a:bodyPr wrap="square" lIns="182880" tIns="0" rIns="0" bIns="0" rtlCol="0" anchor="ctr">
              <a:spAutoFit/>
            </a:bodyPr>
            <a:lstStyle/>
            <a:p>
              <a:pPr marL="0" marR="0" lvl="0" indent="0" algn="ctr" defTabSz="60963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000000"/>
                </a:buClr>
                <a:buSzPct val="70000"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</a:rPr>
                <a:t>Масштаб охвата отчетности</a:t>
              </a:r>
            </a:p>
          </p:txBody>
        </p:sp>
        <p:pic>
          <p:nvPicPr>
            <p:cNvPr id="14" name="Graphic 13" descr="Scales of justice outline">
              <a:extLst>
                <a:ext uri="{FF2B5EF4-FFF2-40B4-BE49-F238E27FC236}">
                  <a16:creationId xmlns:a16="http://schemas.microsoft.com/office/drawing/2014/main" id="{58E777FF-61BA-3616-FF06-1322AA9377B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67865" y="2471229"/>
              <a:ext cx="274320" cy="274320"/>
            </a:xfrm>
            <a:prstGeom prst="rect">
              <a:avLst/>
            </a:prstGeom>
          </p:spPr>
        </p:pic>
      </p:grp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417BC4-D814-F75C-69F1-0B64202227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0909CBE-9B07-C62E-8B4D-3953629AF6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BB42DCF-88ED-6016-C430-3D22C28135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4756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38C37A-ABE5-DC07-CEE3-5D71C2C529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6">
            <a:extLst>
              <a:ext uri="{FF2B5EF4-FFF2-40B4-BE49-F238E27FC236}">
                <a16:creationId xmlns:a16="http://schemas.microsoft.com/office/drawing/2014/main" id="{EFF53AD6-81E6-FCCC-FD1D-C758C9FB9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461" y="378731"/>
            <a:ext cx="10972800" cy="590400"/>
          </a:xfrm>
        </p:spPr>
        <p:txBody>
          <a:bodyPr vert="horz"/>
          <a:lstStyle/>
          <a:p>
            <a:r>
              <a:rPr lang="ru-RU" b="1" dirty="0"/>
              <a:t>Связанная информация</a:t>
            </a:r>
            <a:endParaRPr lang="en-US" b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974D23B-2E7C-538A-BD62-5337FAF09D47}"/>
              </a:ext>
            </a:extLst>
          </p:cNvPr>
          <p:cNvSpPr txBox="1"/>
          <p:nvPr/>
        </p:nvSpPr>
        <p:spPr>
          <a:xfrm>
            <a:off x="609600" y="1290483"/>
            <a:ext cx="1097280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Pct val="70000"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МСФО S1 требует, чтобы компания предоставляла информацию, помогающую основным пользователям понять связь между рисками, связанными с устойчивым развитием, и возможностями, которые могут повлиять на перспективы компании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61C508C-9912-E91E-3E79-8D651E26DB2F}"/>
              </a:ext>
            </a:extLst>
          </p:cNvPr>
          <p:cNvCxnSpPr>
            <a:cxnSpLocks/>
          </p:cNvCxnSpPr>
          <p:nvPr/>
        </p:nvCxnSpPr>
        <p:spPr>
          <a:xfrm>
            <a:off x="960227" y="2711503"/>
            <a:ext cx="4572000" cy="0"/>
          </a:xfrm>
          <a:prstGeom prst="straightConnector1">
            <a:avLst/>
          </a:prstGeom>
          <a:noFill/>
          <a:ln w="12700" cap="flat" cmpd="sng" algn="ctr">
            <a:solidFill>
              <a:srgbClr val="FFE600"/>
            </a:solidFill>
            <a:prstDash val="solid"/>
            <a:headEnd type="none"/>
            <a:tailEnd type="oval" w="lg" len="lg"/>
          </a:ln>
          <a:effectLst/>
        </p:spPr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CB99C999-9400-FE67-FFC7-A7196FC4FA89}"/>
              </a:ext>
            </a:extLst>
          </p:cNvPr>
          <p:cNvCxnSpPr>
            <a:cxnSpLocks/>
          </p:cNvCxnSpPr>
          <p:nvPr/>
        </p:nvCxnSpPr>
        <p:spPr>
          <a:xfrm>
            <a:off x="960234" y="5906113"/>
            <a:ext cx="4571993" cy="0"/>
          </a:xfrm>
          <a:prstGeom prst="straightConnector1">
            <a:avLst/>
          </a:prstGeom>
          <a:noFill/>
          <a:ln w="12700" cap="flat" cmpd="sng" algn="ctr">
            <a:solidFill>
              <a:srgbClr val="FFE600"/>
            </a:solidFill>
            <a:prstDash val="solid"/>
            <a:headEnd type="none"/>
            <a:tailEnd type="none" w="lg" len="lg"/>
          </a:ln>
          <a:effectLst/>
        </p:spPr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34697BFE-9B5F-9454-80A2-65941D7D53C2}"/>
              </a:ext>
            </a:extLst>
          </p:cNvPr>
          <p:cNvCxnSpPr>
            <a:cxnSpLocks/>
          </p:cNvCxnSpPr>
          <p:nvPr/>
        </p:nvCxnSpPr>
        <p:spPr>
          <a:xfrm flipV="1">
            <a:off x="960227" y="2705713"/>
            <a:ext cx="0" cy="3200400"/>
          </a:xfrm>
          <a:prstGeom prst="straightConnector1">
            <a:avLst/>
          </a:prstGeom>
          <a:noFill/>
          <a:ln w="12700" cap="flat" cmpd="sng" algn="ctr">
            <a:solidFill>
              <a:srgbClr val="FFE600"/>
            </a:solidFill>
            <a:prstDash val="solid"/>
            <a:headEnd type="none"/>
            <a:tailEnd type="none" w="lg" len="lg"/>
          </a:ln>
          <a:effectLst/>
        </p:spPr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32F7563-DACE-AA21-9D96-52C49CAB2CEF}"/>
              </a:ext>
            </a:extLst>
          </p:cNvPr>
          <p:cNvSpPr txBox="1"/>
          <p:nvPr/>
        </p:nvSpPr>
        <p:spPr>
          <a:xfrm>
            <a:off x="1188827" y="2877231"/>
            <a:ext cx="4114800" cy="19287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Информация, способствующую лучшему пониманию рисков и возможностей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компании в области устойчивого развития</a:t>
            </a: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Информацию по ключевым элементам  (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управление, стратегия, риск-менеджмент, метрики и цели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)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Финансовую информацию, связанную с устойчивым развитием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2D5D7050-FAE2-B42A-4B5E-3018D1CBC6EA}"/>
              </a:ext>
            </a:extLst>
          </p:cNvPr>
          <p:cNvCxnSpPr>
            <a:cxnSpLocks/>
          </p:cNvCxnSpPr>
          <p:nvPr/>
        </p:nvCxnSpPr>
        <p:spPr>
          <a:xfrm flipH="1">
            <a:off x="6705629" y="2711503"/>
            <a:ext cx="4537923" cy="0"/>
          </a:xfrm>
          <a:prstGeom prst="straightConnector1">
            <a:avLst/>
          </a:prstGeom>
          <a:noFill/>
          <a:ln w="12700" cap="flat" cmpd="sng" algn="ctr">
            <a:solidFill>
              <a:srgbClr val="747480"/>
            </a:solidFill>
            <a:prstDash val="solid"/>
            <a:headEnd type="none"/>
            <a:tailEnd type="oval" w="lg" len="lg"/>
          </a:ln>
          <a:effectLst/>
        </p:spPr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617AC0D-7343-1340-9852-0E19F81C3BB3}"/>
              </a:ext>
            </a:extLst>
          </p:cNvPr>
          <p:cNvCxnSpPr>
            <a:cxnSpLocks/>
          </p:cNvCxnSpPr>
          <p:nvPr/>
        </p:nvCxnSpPr>
        <p:spPr>
          <a:xfrm>
            <a:off x="6671552" y="5906113"/>
            <a:ext cx="4572000" cy="0"/>
          </a:xfrm>
          <a:prstGeom prst="straightConnector1">
            <a:avLst/>
          </a:prstGeom>
          <a:noFill/>
          <a:ln w="12700" cap="flat" cmpd="sng" algn="ctr">
            <a:solidFill>
              <a:srgbClr val="747480"/>
            </a:solidFill>
            <a:prstDash val="solid"/>
            <a:headEnd type="none"/>
            <a:tailEnd type="none" w="lg" len="lg"/>
          </a:ln>
          <a:effectLst/>
        </p:spPr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537BB568-FD8B-4F5B-4A1E-0D286DB8C17B}"/>
              </a:ext>
            </a:extLst>
          </p:cNvPr>
          <p:cNvCxnSpPr>
            <a:cxnSpLocks/>
          </p:cNvCxnSpPr>
          <p:nvPr/>
        </p:nvCxnSpPr>
        <p:spPr>
          <a:xfrm flipV="1">
            <a:off x="11243552" y="2705713"/>
            <a:ext cx="0" cy="3200400"/>
          </a:xfrm>
          <a:prstGeom prst="straightConnector1">
            <a:avLst/>
          </a:prstGeom>
          <a:noFill/>
          <a:ln w="12700" cap="flat" cmpd="sng" algn="ctr">
            <a:solidFill>
              <a:srgbClr val="747480"/>
            </a:solidFill>
            <a:prstDash val="solid"/>
            <a:headEnd type="none"/>
            <a:tailEnd type="none" w="lg" len="lg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66C50335-261C-8027-6768-12B6BCE2EDAA}"/>
              </a:ext>
            </a:extLst>
          </p:cNvPr>
          <p:cNvSpPr txBox="1"/>
          <p:nvPr/>
        </p:nvSpPr>
        <p:spPr>
          <a:xfrm>
            <a:off x="6900152" y="2877231"/>
            <a:ext cx="4114800" cy="2903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Быть подготовлено для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той же отчитывающейся компании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и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отчетного период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что и соответствующая финансовая отчетность </a:t>
            </a: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Предоставляться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одновременно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с финансовой отчетностью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и в составе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финансовой отчетности общего назначения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</a:endParaRP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Включать данные и предположения, использованные в раскрытиях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согласованные с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соответствующими данными и предположениями, использованными при подготовке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основной финансовой отчетности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компании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9838D4A-4D7C-2A1D-09D1-C453DC6798CE}"/>
              </a:ext>
            </a:extLst>
          </p:cNvPr>
          <p:cNvGrpSpPr/>
          <p:nvPr/>
        </p:nvGrpSpPr>
        <p:grpSpPr>
          <a:xfrm>
            <a:off x="5630340" y="3711945"/>
            <a:ext cx="931321" cy="947298"/>
            <a:chOff x="4080540" y="3381052"/>
            <a:chExt cx="804900" cy="818708"/>
          </a:xfrm>
        </p:grpSpPr>
        <p:sp>
          <p:nvSpPr>
            <p:cNvPr id="35" name="Chevron 172">
              <a:extLst>
                <a:ext uri="{FF2B5EF4-FFF2-40B4-BE49-F238E27FC236}">
                  <a16:creationId xmlns:a16="http://schemas.microsoft.com/office/drawing/2014/main" id="{05CAEAD8-4469-4B99-E970-B0247DEF8253}"/>
                </a:ext>
              </a:extLst>
            </p:cNvPr>
            <p:cNvSpPr/>
            <p:nvPr/>
          </p:nvSpPr>
          <p:spPr>
            <a:xfrm>
              <a:off x="4080540" y="3381052"/>
              <a:ext cx="494548" cy="818708"/>
            </a:xfrm>
            <a:prstGeom prst="chevron">
              <a:avLst/>
            </a:prstGeom>
            <a:solidFill>
              <a:srgbClr val="FFE6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algn="ctr" defTabSz="779147">
                <a:defRPr/>
              </a:pPr>
              <a:endParaRPr lang="en-US" sz="1026" kern="0" dirty="0">
                <a:solidFill>
                  <a:srgbClr val="2E2E38"/>
                </a:solidFill>
                <a:latin typeface="Arial" panose="020B0604020202020204"/>
              </a:endParaRPr>
            </a:p>
          </p:txBody>
        </p:sp>
        <p:sp>
          <p:nvSpPr>
            <p:cNvPr id="36" name="Chevron 173">
              <a:extLst>
                <a:ext uri="{FF2B5EF4-FFF2-40B4-BE49-F238E27FC236}">
                  <a16:creationId xmlns:a16="http://schemas.microsoft.com/office/drawing/2014/main" id="{A1656E80-CEFA-250C-B757-68E69DEA7EC1}"/>
                </a:ext>
              </a:extLst>
            </p:cNvPr>
            <p:cNvSpPr/>
            <p:nvPr/>
          </p:nvSpPr>
          <p:spPr>
            <a:xfrm>
              <a:off x="4390892" y="3381052"/>
              <a:ext cx="494548" cy="818708"/>
            </a:xfrm>
            <a:prstGeom prst="chevron">
              <a:avLst/>
            </a:prstGeom>
            <a:solidFill>
              <a:srgbClr val="74748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algn="ctr" defTabSz="779147">
                <a:defRPr/>
              </a:pPr>
              <a:endParaRPr lang="en-US" sz="1026" kern="0" dirty="0">
                <a:solidFill>
                  <a:srgbClr val="2E2E38"/>
                </a:solidFill>
                <a:latin typeface="Arial" panose="020B0604020202020204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F14997C0-D885-A4CE-5297-38B7398BB036}"/>
              </a:ext>
            </a:extLst>
          </p:cNvPr>
          <p:cNvSpPr txBox="1"/>
          <p:nvPr/>
        </p:nvSpPr>
        <p:spPr>
          <a:xfrm>
            <a:off x="8183922" y="2343007"/>
            <a:ext cx="192024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Pct val="70000"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Раскрытие должно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: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</a:endParaRPr>
          </a:p>
        </p:txBody>
      </p:sp>
      <p:pic>
        <p:nvPicPr>
          <p:cNvPr id="38" name="Graphic 37" descr="Open book outline">
            <a:extLst>
              <a:ext uri="{FF2B5EF4-FFF2-40B4-BE49-F238E27FC236}">
                <a16:creationId xmlns:a16="http://schemas.microsoft.com/office/drawing/2014/main" id="{4DF74AD5-6900-4029-A9CA-AB68DF8964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10942" y="2328957"/>
            <a:ext cx="274320" cy="274320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79B70C56-741B-83DB-2FC3-23E3EC9BCD8E}"/>
              </a:ext>
            </a:extLst>
          </p:cNvPr>
          <p:cNvSpPr txBox="1"/>
          <p:nvPr/>
        </p:nvSpPr>
        <p:spPr>
          <a:xfrm>
            <a:off x="1923956" y="2343009"/>
            <a:ext cx="443926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Pct val="70000"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МСФО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 S1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требует раскрывать:</a:t>
            </a:r>
          </a:p>
        </p:txBody>
      </p:sp>
      <p:pic>
        <p:nvPicPr>
          <p:cNvPr id="40" name="Graphic 39" descr="Comment Important outline">
            <a:extLst>
              <a:ext uri="{FF2B5EF4-FFF2-40B4-BE49-F238E27FC236}">
                <a16:creationId xmlns:a16="http://schemas.microsoft.com/office/drawing/2014/main" id="{C08602BA-F8C7-480D-DFA8-92AB27F291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50977" y="2328957"/>
            <a:ext cx="274320" cy="274320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BE68A10-6C4C-EB77-AB27-386FBE7F37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6975D68-71BA-61CB-0740-39851C05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33C6B18-2245-EFAA-B816-0D3BBE10B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48739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4055F0-11AD-358B-64E5-F4DAE1D4F2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4">
            <a:extLst>
              <a:ext uri="{FF2B5EF4-FFF2-40B4-BE49-F238E27FC236}">
                <a16:creationId xmlns:a16="http://schemas.microsoft.com/office/drawing/2014/main" id="{A4CA236D-F2E6-2459-198A-A054FFE5BE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2000"/>
            <a:ext cx="10972800" cy="590400"/>
          </a:xfrm>
        </p:spPr>
        <p:txBody>
          <a:bodyPr vert="horz"/>
          <a:lstStyle/>
          <a:p>
            <a:r>
              <a:rPr lang="ru-RU" sz="3200" b="1" dirty="0"/>
              <a:t>Структура МСФО </a:t>
            </a:r>
            <a:r>
              <a:rPr lang="en-GB" sz="3200" b="1" dirty="0"/>
              <a:t>S1/S2</a:t>
            </a:r>
            <a:r>
              <a:rPr lang="ru-RU" sz="3200" b="1" dirty="0"/>
              <a:t> и ключевые аспекты для раскрытия</a:t>
            </a:r>
            <a:endParaRPr lang="en-US" sz="3200" b="1" dirty="0"/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C0BBC13D-1016-A232-B407-5361B4064725}"/>
              </a:ext>
            </a:extLst>
          </p:cNvPr>
          <p:cNvSpPr/>
          <p:nvPr/>
        </p:nvSpPr>
        <p:spPr>
          <a:xfrm>
            <a:off x="858316" y="1386364"/>
            <a:ext cx="4882084" cy="4892516"/>
          </a:xfrm>
          <a:prstGeom prst="rect">
            <a:avLst/>
          </a:prstGeom>
          <a:noFill/>
          <a:ln w="12700" cap="flat" cmpd="sng" algn="ctr">
            <a:solidFill>
              <a:srgbClr val="FFE6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39" name="Text Box 12">
            <a:extLst>
              <a:ext uri="{FF2B5EF4-FFF2-40B4-BE49-F238E27FC236}">
                <a16:creationId xmlns:a16="http://schemas.microsoft.com/office/drawing/2014/main" id="{57C74FEF-50EB-A5C2-2A8E-BE8B5E48D6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887" y="1173175"/>
            <a:ext cx="4673219" cy="430887"/>
          </a:xfrm>
          <a:prstGeom prst="rect">
            <a:avLst/>
          </a:prstGeom>
          <a:solidFill>
            <a:srgbClr val="FFE60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91440" tIns="0" rIns="0" bIns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0" dirty="0">
                <a:solidFill>
                  <a:srgbClr val="2E2E38"/>
                </a:solidFill>
              </a:rPr>
              <a:t>Блок «</a:t>
            </a:r>
            <a:r>
              <a:rPr kumimoji="0" lang="ru" sz="16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rPr>
              <a:t>Управление»</a:t>
            </a:r>
            <a:endParaRPr kumimoji="0" lang="en-IN" sz="1400" b="1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</a:endParaRPr>
          </a:p>
        </p:txBody>
      </p:sp>
      <p:sp>
        <p:nvSpPr>
          <p:cNvPr id="240" name="Text Box 12">
            <a:extLst>
              <a:ext uri="{FF2B5EF4-FFF2-40B4-BE49-F238E27FC236}">
                <a16:creationId xmlns:a16="http://schemas.microsoft.com/office/drawing/2014/main" id="{00A5F03D-20CC-C668-FE38-2C7757F070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1182" y="1624662"/>
            <a:ext cx="4673219" cy="40141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Pct val="70000"/>
              <a:buFontTx/>
              <a:buNone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Целью раскрытия информации по блоку «Управление», является предоставление пользователям финансовой отчетности возможности понять 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  <a:t>процессы, средства контроля и процедуры управления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, используемые для мониторинга и управления рисками и возможностями, связанными с устойчивым развитием и климатом. </a:t>
            </a: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Обязанности органа управления в отношении рисков и возможностей</a:t>
            </a: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Частота и методы предоставления органу управления информации о рисках и возможностях</a:t>
            </a: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Интеграция рисков и возможностей в бизнес-стратегию и принятие решений</a:t>
            </a: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Надзор за установлением целей, мониторинг прогресса и связь с вознаграждением</a:t>
            </a:r>
            <a:endParaRPr kumimoji="0" lang="ru-RU" sz="1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Pct val="70000"/>
              <a:buFontTx/>
              <a:buNone/>
              <a:tabLst/>
              <a:defRPr/>
            </a:pPr>
            <a:endParaRPr kumimoji="0" lang="ru-RU" sz="14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Pct val="70000"/>
              <a:buFontTx/>
              <a:buNone/>
              <a:tabLst/>
              <a:defRPr/>
            </a:pPr>
            <a:endParaRPr kumimoji="0" lang="ru" sz="14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824AF5B6-D0B3-5E95-5AAC-DE8ED3C95F43}"/>
              </a:ext>
            </a:extLst>
          </p:cNvPr>
          <p:cNvSpPr/>
          <p:nvPr/>
        </p:nvSpPr>
        <p:spPr>
          <a:xfrm>
            <a:off x="6289040" y="1386364"/>
            <a:ext cx="5279073" cy="4892516"/>
          </a:xfrm>
          <a:prstGeom prst="rect">
            <a:avLst/>
          </a:prstGeom>
          <a:noFill/>
          <a:ln w="12700" cap="flat" cmpd="sng" algn="ctr">
            <a:solidFill>
              <a:srgbClr val="FFE6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5" name="Text Box 12">
            <a:extLst>
              <a:ext uri="{FF2B5EF4-FFF2-40B4-BE49-F238E27FC236}">
                <a16:creationId xmlns:a16="http://schemas.microsoft.com/office/drawing/2014/main" id="{F0524F6B-2697-2113-48F8-4E6FEB38B5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6000" y="1170920"/>
            <a:ext cx="4673219" cy="430887"/>
          </a:xfrm>
          <a:prstGeom prst="rect">
            <a:avLst/>
          </a:prstGeom>
          <a:solidFill>
            <a:srgbClr val="FFE60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91440" tIns="0" rIns="0" bIns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rPr>
              <a:t>Блок «Стратегия»</a:t>
            </a:r>
          </a:p>
        </p:txBody>
      </p:sp>
      <p:sp>
        <p:nvSpPr>
          <p:cNvPr id="246" name="Text Box 12">
            <a:extLst>
              <a:ext uri="{FF2B5EF4-FFF2-40B4-BE49-F238E27FC236}">
                <a16:creationId xmlns:a16="http://schemas.microsoft.com/office/drawing/2014/main" id="{30296B0D-676F-CBED-ECBA-376FD288A6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6955" y="1628823"/>
            <a:ext cx="4953685" cy="444685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Pct val="70000"/>
              <a:buFontTx/>
              <a:buNone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Целью раскрытия информации по блоку «Стратегия», является предоставление пользователям финансовой отчетности возможности 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понять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  <a:t> стратегию организации по управлению существенными рисками и возможностями, 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связанными с 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устойчивым развитием и климатом.</a:t>
            </a: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Выявленные риски и возможности, включая их классификацию (например, физические или переходные) и ожидаемые временные горизонты</a:t>
            </a: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Влияние рисков и возможностей</a:t>
            </a:r>
            <a:r>
              <a:rPr lang="ru-RU" sz="1400" kern="0" dirty="0">
                <a:solidFill>
                  <a:srgbClr val="FFFFFF"/>
                </a:solidFill>
              </a:rPr>
              <a:t>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на бизнес-модель, цепочку создания стоимости и стратегическое планирование</a:t>
            </a: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Стратегические меры реагирования компании, планы по обеспечению ресурсами и прогресс в решении проблем, связанных с рисками и возможностями</a:t>
            </a: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Текущие и ожидаемые финансовые последствия рисков и возможностей, включая оценку устойчивости стратегии и сценарный анализ</a:t>
            </a:r>
            <a:endParaRPr kumimoji="0" lang="ru-RU" sz="1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Pct val="70000"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1D8071-5AA9-20F8-B9E1-62E382D3C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877D9C-745E-0205-8208-8CD92586A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DA1C889-07D3-809F-F2B7-37169C92EA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8519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51EC31-740C-ECA2-37FA-D34A75A49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4">
            <a:extLst>
              <a:ext uri="{FF2B5EF4-FFF2-40B4-BE49-F238E27FC236}">
                <a16:creationId xmlns:a16="http://schemas.microsoft.com/office/drawing/2014/main" id="{43A0C6D9-D519-A432-5C59-C9545361F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2000"/>
            <a:ext cx="10972800" cy="590400"/>
          </a:xfrm>
        </p:spPr>
        <p:txBody>
          <a:bodyPr vert="horz"/>
          <a:lstStyle/>
          <a:p>
            <a:r>
              <a:rPr lang="ru-RU" b="1" dirty="0"/>
              <a:t>Структура </a:t>
            </a:r>
            <a:r>
              <a:rPr lang="en-US" b="1" dirty="0"/>
              <a:t>IFRS</a:t>
            </a:r>
            <a:r>
              <a:rPr lang="ru-RU" b="1" dirty="0"/>
              <a:t> </a:t>
            </a:r>
            <a:r>
              <a:rPr lang="en-GB" b="1" dirty="0"/>
              <a:t>S1/S2</a:t>
            </a:r>
            <a:r>
              <a:rPr lang="ru-RU" b="1" dirty="0"/>
              <a:t> и ключевые аспекты для раскрытия (2)</a:t>
            </a:r>
            <a:endParaRPr lang="en-US" b="1" dirty="0"/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F263B73F-AA78-104C-8BFC-62C40E30554A}"/>
              </a:ext>
            </a:extLst>
          </p:cNvPr>
          <p:cNvSpPr/>
          <p:nvPr/>
        </p:nvSpPr>
        <p:spPr>
          <a:xfrm>
            <a:off x="858316" y="1386364"/>
            <a:ext cx="4882084" cy="4892516"/>
          </a:xfrm>
          <a:prstGeom prst="rect">
            <a:avLst/>
          </a:prstGeom>
          <a:noFill/>
          <a:ln w="12700" cap="flat" cmpd="sng" algn="ctr">
            <a:solidFill>
              <a:srgbClr val="FFE6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39" name="Text Box 12">
            <a:extLst>
              <a:ext uri="{FF2B5EF4-FFF2-40B4-BE49-F238E27FC236}">
                <a16:creationId xmlns:a16="http://schemas.microsoft.com/office/drawing/2014/main" id="{4D31EA11-B33E-6E7E-C479-5BFB48E59B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887" y="1173175"/>
            <a:ext cx="4673219" cy="430887"/>
          </a:xfrm>
          <a:prstGeom prst="rect">
            <a:avLst/>
          </a:prstGeom>
          <a:solidFill>
            <a:srgbClr val="FFE60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91440" tIns="0" rIns="0" bIns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rPr>
              <a:t>Блок «Риск-менеджмент»</a:t>
            </a:r>
          </a:p>
        </p:txBody>
      </p:sp>
      <p:sp>
        <p:nvSpPr>
          <p:cNvPr id="240" name="Text Box 12">
            <a:extLst>
              <a:ext uri="{FF2B5EF4-FFF2-40B4-BE49-F238E27FC236}">
                <a16:creationId xmlns:a16="http://schemas.microsoft.com/office/drawing/2014/main" id="{0A70E3EC-87BA-4D7F-183D-F164183A8C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1182" y="1624662"/>
            <a:ext cx="4673219" cy="456277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Pct val="70000"/>
              <a:buFontTx/>
              <a:buNone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Целью раскрытия информации в блоке «Риск-менеджмент» является предоставление пользователям финансовой отчетности возможности понять 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  <a:t>процессы компании, посредством которых риски и возможности, связанные с устойчивым развитием и климатом, выявляются, оцениваются и управляются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. </a:t>
            </a: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Входные данные, параметры и область применения, используемые для определения рисков, включая использование сценарных анализов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.</a:t>
            </a:r>
            <a:endParaRPr kumimoji="0" lang="ru-RU" sz="15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Как организация оценивает и расставляет приоритеты в отношении рисков на основе их характера, вероятности реализации и масштаба воздействия</a:t>
            </a: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Как отслеживаются риски и как изменились процессы по сравнению с предыдущим отчетным периодом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Pct val="70000"/>
              <a:buFontTx/>
              <a:buNone/>
              <a:tabLst/>
              <a:defRPr/>
            </a:pPr>
            <a:endParaRPr kumimoji="0" lang="ru-RU" sz="14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Pct val="70000"/>
              <a:buFontTx/>
              <a:buNone/>
              <a:tabLst/>
              <a:defRPr/>
            </a:pPr>
            <a:endParaRPr kumimoji="0" lang="ru" sz="14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6125BA04-F7F7-E3CE-22EC-72B32E5EAB4C}"/>
              </a:ext>
            </a:extLst>
          </p:cNvPr>
          <p:cNvSpPr/>
          <p:nvPr/>
        </p:nvSpPr>
        <p:spPr>
          <a:xfrm>
            <a:off x="6289040" y="1386364"/>
            <a:ext cx="5279073" cy="4892516"/>
          </a:xfrm>
          <a:prstGeom prst="rect">
            <a:avLst/>
          </a:prstGeom>
          <a:noFill/>
          <a:ln w="12700" cap="flat" cmpd="sng" algn="ctr">
            <a:solidFill>
              <a:srgbClr val="FFE6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5" name="Text Box 12">
            <a:extLst>
              <a:ext uri="{FF2B5EF4-FFF2-40B4-BE49-F238E27FC236}">
                <a16:creationId xmlns:a16="http://schemas.microsoft.com/office/drawing/2014/main" id="{A3283BA3-7DCE-CDB6-7086-AA4FA14165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6000" y="1170920"/>
            <a:ext cx="4673219" cy="430887"/>
          </a:xfrm>
          <a:prstGeom prst="rect">
            <a:avLst/>
          </a:prstGeom>
          <a:solidFill>
            <a:srgbClr val="FFE60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none" lIns="91440" tIns="0" rIns="0" bIns="0" anchor="ctr">
            <a:noAutofit/>
          </a:bodyPr>
          <a:lstStyle/>
          <a:p>
            <a:pPr marL="0" marR="0" lvl="1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FFE600"/>
              </a:buClr>
              <a:buSzPct val="70000"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rPr>
              <a:t>Блок «Метрики и цели»</a:t>
            </a:r>
          </a:p>
        </p:txBody>
      </p:sp>
      <p:sp>
        <p:nvSpPr>
          <p:cNvPr id="246" name="Text Box 12">
            <a:extLst>
              <a:ext uri="{FF2B5EF4-FFF2-40B4-BE49-F238E27FC236}">
                <a16:creationId xmlns:a16="http://schemas.microsoft.com/office/drawing/2014/main" id="{0B201130-1CBE-4717-9882-C8DA87228D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6955" y="1628823"/>
            <a:ext cx="4953685" cy="444685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prstClr val="white"/>
              </a:buClr>
              <a:buSzPct val="70000"/>
              <a:buFontTx/>
              <a:buNone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Целью раскрытия информации в блоке «Метрики и цели» является предоставление пользователям финансовой отчетности возможности понять, как организация 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</a:rPr>
              <a:t>измеряет, отслеживает и управляет своими значительными рисками и возможностями, связанными с устойчивым развитием и климатом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. 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lang="ru-RU" sz="1400" kern="0" dirty="0">
                <a:solidFill>
                  <a:srgbClr val="FFFFFF"/>
                </a:solidFill>
              </a:rPr>
              <a:t>Выбросы парниковых газов по видам охвата, методологии и дезагрегации</a:t>
            </a: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lang="ru-RU" sz="1400" kern="0" dirty="0">
                <a:solidFill>
                  <a:srgbClr val="FFFFFF"/>
                </a:solidFill>
              </a:rPr>
              <a:t>Показатели использования энергии, воды и соблюдения экологических норм</a:t>
            </a: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lang="ru-RU" sz="1400" kern="0" dirty="0">
                <a:solidFill>
                  <a:srgbClr val="FFFFFF"/>
                </a:solidFill>
              </a:rPr>
              <a:t>Раскрытие поставленных целей, включая область их применения, временные рамки и основные этапы процесса постановки целей</a:t>
            </a: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lang="ru-RU" sz="1400" kern="0" dirty="0">
                <a:solidFill>
                  <a:srgbClr val="FFFFFF"/>
                </a:solidFill>
              </a:rPr>
              <a:t>Управление и мониторинг достижения целей, включая процессы проверки и отслеживание эффективности</a:t>
            </a:r>
          </a:p>
          <a:p>
            <a:pPr marL="285750" marR="0" lvl="0" indent="-285750" defTabSz="6096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30000020004" pitchFamily="50" charset="0"/>
              <a:buChar char="•"/>
              <a:tabLst/>
              <a:defRPr/>
            </a:pPr>
            <a:r>
              <a:rPr lang="ru-RU" sz="1400" kern="0" dirty="0">
                <a:solidFill>
                  <a:srgbClr val="FFFFFF"/>
                </a:solidFill>
              </a:rPr>
              <a:t>Планируемое использование углеродных кредитов, включая тип, проверку и факторы достоверности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SzPct val="70000"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22E272-EA6D-AEF4-7C9A-DC33FC0159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2213F4-BD1A-EBDD-BE41-F51CC8409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7A5F5B3-8B9F-EDD1-7F73-918CDEFCC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8830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973CDA-A11F-F4C6-3572-B05DA0B51D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523" y="369888"/>
            <a:ext cx="11224347" cy="470898"/>
          </a:xfrm>
        </p:spPr>
        <p:txBody>
          <a:bodyPr/>
          <a:lstStyle/>
          <a:p>
            <a:r>
              <a:rPr lang="ru-RU" dirty="0"/>
              <a:t>Спикеры</a:t>
            </a:r>
            <a:endParaRPr lang="en-US" dirty="0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B3D7B829-9626-7CE7-3B53-46C9F00406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4845" y="6437115"/>
            <a:ext cx="1275686" cy="123111"/>
          </a:xfrm>
        </p:spPr>
        <p:txBody>
          <a:bodyPr/>
          <a:lstStyle/>
          <a:p>
            <a:pPr lvl="0"/>
            <a:r>
              <a:rPr lang="en-US" dirty="0"/>
              <a:t>02.07.2025г.</a:t>
            </a:r>
            <a:endParaRPr lang="en-US" noProof="0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D3A6C4AA-BF06-AC6E-55DF-33655A9843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0531" y="6437115"/>
            <a:ext cx="3825470" cy="123111"/>
          </a:xfrm>
        </p:spPr>
        <p:txBody>
          <a:bodyPr/>
          <a:lstStyle/>
          <a:p>
            <a:pPr lvl="0"/>
            <a:r>
              <a:rPr lang="ru-RU" noProof="0" dirty="0"/>
              <a:t>Обучающий семинар по вопросам новых стандартов МСФО S1/S2</a:t>
            </a:r>
            <a:endParaRPr lang="en-US" noProof="0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0E88D264-C213-B2C3-0AFD-A4ADD6FD2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5747" y="6437115"/>
            <a:ext cx="509098" cy="123111"/>
          </a:xfrm>
        </p:spPr>
        <p:txBody>
          <a:bodyPr/>
          <a:lstStyle/>
          <a:p>
            <a:pPr lvl="0"/>
            <a:fld id="{94FCA0F3-9F3A-694B-99BB-0E592A797735}" type="slidenum">
              <a:rPr lang="en-US" noProof="0" smtClean="0"/>
              <a:pPr lvl="0"/>
              <a:t>2</a:t>
            </a:fld>
            <a:endParaRPr lang="en-US" noProof="0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98B76013-4317-BBC2-2023-ECC830F61F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5136" y="4437064"/>
            <a:ext cx="2120904" cy="604836"/>
          </a:xfrm>
        </p:spPr>
        <p:txBody>
          <a:bodyPr/>
          <a:lstStyle/>
          <a:p>
            <a:r>
              <a:rPr lang="ru-RU" dirty="0"/>
              <a:t>Виктор Коваленко</a:t>
            </a:r>
            <a:endParaRPr lang="en-US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C82877E3-5DE9-4EF1-69E9-35A95E40AD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5136" y="5243516"/>
            <a:ext cx="2544932" cy="984885"/>
          </a:xfrm>
        </p:spPr>
        <p:txBody>
          <a:bodyPr/>
          <a:lstStyle/>
          <a:p>
            <a:r>
              <a:rPr lang="ru-RU" sz="1600" dirty="0"/>
              <a:t>Партнер, Отдел услуг в области изменения климата и устойчивого развития, </a:t>
            </a:r>
            <a:r>
              <a:rPr lang="en-US" sz="1600" dirty="0"/>
              <a:t>EY </a:t>
            </a:r>
            <a:r>
              <a:rPr lang="ru-RU" sz="1600" dirty="0"/>
              <a:t>Казахстан</a:t>
            </a:r>
            <a:endParaRPr lang="en-US" sz="1600" dirty="0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F61ED1EB-F2EB-F22C-F73A-A2CE351597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78959" y="4437064"/>
            <a:ext cx="1723394" cy="604836"/>
          </a:xfrm>
        </p:spPr>
        <p:txBody>
          <a:bodyPr/>
          <a:lstStyle/>
          <a:p>
            <a:r>
              <a:rPr lang="ru-RU" dirty="0"/>
              <a:t>Юрий Тимонин</a:t>
            </a:r>
            <a:endParaRPr lang="en-US" dirty="0"/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1AABCC5D-98C8-1D23-3136-42626DDB3E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78958" y="5243516"/>
            <a:ext cx="2544932" cy="984885"/>
          </a:xfrm>
        </p:spPr>
        <p:txBody>
          <a:bodyPr/>
          <a:lstStyle/>
          <a:p>
            <a:r>
              <a:rPr lang="ru-RU" sz="1600" dirty="0"/>
              <a:t>Директор,</a:t>
            </a:r>
            <a:r>
              <a:rPr lang="en-US" sz="1600" dirty="0"/>
              <a:t> </a:t>
            </a:r>
            <a:r>
              <a:rPr lang="ru-RU" sz="1600" dirty="0"/>
              <a:t>Отдел услуг в области изменения климата и устойчивого развития, </a:t>
            </a:r>
            <a:r>
              <a:rPr lang="en-US" sz="1600" dirty="0"/>
              <a:t>EY </a:t>
            </a:r>
            <a:r>
              <a:rPr lang="ru-RU" sz="1600" dirty="0"/>
              <a:t>Казахстан</a:t>
            </a:r>
            <a:endParaRPr lang="en-US" sz="1600" dirty="0"/>
          </a:p>
        </p:txBody>
      </p:sp>
      <p:pic>
        <p:nvPicPr>
          <p:cNvPr id="9" name="Picture Placeholder 8" descr="A person in a suit&#10;&#10;AI-generated content may be incorrect.">
            <a:extLst>
              <a:ext uri="{FF2B5EF4-FFF2-40B4-BE49-F238E27FC236}">
                <a16:creationId xmlns:a16="http://schemas.microsoft.com/office/drawing/2014/main" id="{8255E804-16D1-6635-FCC2-13D7568939F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82" b="6182"/>
          <a:stretch>
            <a:fillRect/>
          </a:stretch>
        </p:blipFill>
        <p:spPr>
          <a:xfrm>
            <a:off x="485136" y="1753483"/>
            <a:ext cx="1984248" cy="1984248"/>
          </a:xfrm>
        </p:spPr>
      </p:pic>
      <p:sp>
        <p:nvSpPr>
          <p:cNvPr id="3" name="Text Placeholder 56">
            <a:extLst>
              <a:ext uri="{FF2B5EF4-FFF2-40B4-BE49-F238E27FC236}">
                <a16:creationId xmlns:a16="http://schemas.microsoft.com/office/drawing/2014/main" id="{C74DE865-CEE1-AA14-71FF-500B36034873}"/>
              </a:ext>
            </a:extLst>
          </p:cNvPr>
          <p:cNvSpPr txBox="1">
            <a:spLocks/>
          </p:cNvSpPr>
          <p:nvPr/>
        </p:nvSpPr>
        <p:spPr>
          <a:xfrm>
            <a:off x="6365999" y="4437064"/>
            <a:ext cx="1461266" cy="6048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None/>
              <a:defRPr sz="2400" b="1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Font typeface="Wingdings" pitchFamily="2" charset="2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Илья Вульф</a:t>
            </a:r>
            <a:endParaRPr lang="en-US" dirty="0"/>
          </a:p>
        </p:txBody>
      </p:sp>
      <p:sp>
        <p:nvSpPr>
          <p:cNvPr id="4" name="Text Placeholder 57">
            <a:extLst>
              <a:ext uri="{FF2B5EF4-FFF2-40B4-BE49-F238E27FC236}">
                <a16:creationId xmlns:a16="http://schemas.microsoft.com/office/drawing/2014/main" id="{05A94C9C-59FD-094C-E633-E57B8C41B0A5}"/>
              </a:ext>
            </a:extLst>
          </p:cNvPr>
          <p:cNvSpPr txBox="1">
            <a:spLocks/>
          </p:cNvSpPr>
          <p:nvPr/>
        </p:nvSpPr>
        <p:spPr>
          <a:xfrm>
            <a:off x="6365998" y="5243516"/>
            <a:ext cx="2544932" cy="98488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None/>
              <a:defRPr sz="18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Font typeface="Wingdings" pitchFamily="2" charset="2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/>
              <a:t>Менеджер,</a:t>
            </a:r>
            <a:r>
              <a:rPr lang="en-US" sz="1600" dirty="0"/>
              <a:t> </a:t>
            </a:r>
            <a:r>
              <a:rPr lang="ru-RU" sz="1600" dirty="0"/>
              <a:t>Отдел услуг в области изменения климата и устойчивого развития, </a:t>
            </a:r>
            <a:r>
              <a:rPr lang="en-US" sz="1600" dirty="0"/>
              <a:t>EY </a:t>
            </a:r>
            <a:r>
              <a:rPr lang="ru-RU" sz="1600" dirty="0"/>
              <a:t>Казахстан</a:t>
            </a:r>
            <a:endParaRPr lang="en-US" sz="1600" dirty="0"/>
          </a:p>
        </p:txBody>
      </p:sp>
      <p:sp>
        <p:nvSpPr>
          <p:cNvPr id="5" name="Text Placeholder 56">
            <a:extLst>
              <a:ext uri="{FF2B5EF4-FFF2-40B4-BE49-F238E27FC236}">
                <a16:creationId xmlns:a16="http://schemas.microsoft.com/office/drawing/2014/main" id="{D051B39B-4E34-8A7D-CC63-52475B6F084B}"/>
              </a:ext>
            </a:extLst>
          </p:cNvPr>
          <p:cNvSpPr txBox="1">
            <a:spLocks/>
          </p:cNvSpPr>
          <p:nvPr/>
        </p:nvSpPr>
        <p:spPr>
          <a:xfrm>
            <a:off x="9161931" y="4437064"/>
            <a:ext cx="2544933" cy="6048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None/>
              <a:defRPr sz="2400" b="1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Font typeface="Wingdings" pitchFamily="2" charset="2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Анара Самамбаева</a:t>
            </a:r>
            <a:endParaRPr lang="en-US" dirty="0"/>
          </a:p>
        </p:txBody>
      </p:sp>
      <p:sp>
        <p:nvSpPr>
          <p:cNvPr id="6" name="Text Placeholder 57">
            <a:extLst>
              <a:ext uri="{FF2B5EF4-FFF2-40B4-BE49-F238E27FC236}">
                <a16:creationId xmlns:a16="http://schemas.microsoft.com/office/drawing/2014/main" id="{20A82463-7F9D-1896-5AB0-0D6225370B3E}"/>
              </a:ext>
            </a:extLst>
          </p:cNvPr>
          <p:cNvSpPr txBox="1">
            <a:spLocks/>
          </p:cNvSpPr>
          <p:nvPr/>
        </p:nvSpPr>
        <p:spPr>
          <a:xfrm>
            <a:off x="9161931" y="5243516"/>
            <a:ext cx="2544932" cy="12311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None/>
              <a:defRPr sz="18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08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0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512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64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2016000" indent="-252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Font typeface="Wingdings" pitchFamily="2" charset="2"/>
              <a:buNone/>
              <a:tabLst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/>
              <a:t>Старший эксперт,</a:t>
            </a:r>
            <a:r>
              <a:rPr lang="en-US" sz="1600" dirty="0"/>
              <a:t> </a:t>
            </a:r>
            <a:r>
              <a:rPr lang="ru-RU" sz="1600" dirty="0"/>
              <a:t>Отдел услуг в области изменения климата и устойчивого развития,   </a:t>
            </a:r>
            <a:r>
              <a:rPr lang="en-US" sz="1600" dirty="0"/>
              <a:t>EY </a:t>
            </a:r>
            <a:r>
              <a:rPr lang="ru-RU" sz="1600" dirty="0"/>
              <a:t>Казахстан</a:t>
            </a:r>
            <a:endParaRPr lang="en-US" sz="1600" dirty="0"/>
          </a:p>
        </p:txBody>
      </p:sp>
      <p:pic>
        <p:nvPicPr>
          <p:cNvPr id="7" name="Picture Placeholder 4" descr="A person in a suit&#10;&#10;AI-generated content may be incorrect.">
            <a:extLst>
              <a:ext uri="{FF2B5EF4-FFF2-40B4-BE49-F238E27FC236}">
                <a16:creationId xmlns:a16="http://schemas.microsoft.com/office/drawing/2014/main" id="{82D88FE4-56FF-41C5-DA59-A7C612FE99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042" b="7042"/>
          <a:stretch>
            <a:fillRect/>
          </a:stretch>
        </p:blipFill>
        <p:spPr>
          <a:xfrm>
            <a:off x="3492557" y="1750764"/>
            <a:ext cx="1986967" cy="1986967"/>
          </a:xfrm>
          <a:prstGeom prst="ellipse">
            <a:avLst/>
          </a:prstGeom>
        </p:spPr>
      </p:pic>
      <p:pic>
        <p:nvPicPr>
          <p:cNvPr id="10" name="Picture Placeholder 4">
            <a:extLst>
              <a:ext uri="{FF2B5EF4-FFF2-40B4-BE49-F238E27FC236}">
                <a16:creationId xmlns:a16="http://schemas.microsoft.com/office/drawing/2014/main" id="{BEC1D672-A6C1-AEFB-5A54-E8FB2B464095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1" b="1261"/>
          <a:stretch/>
        </p:blipFill>
        <p:spPr>
          <a:xfrm>
            <a:off x="6365998" y="1750764"/>
            <a:ext cx="1986967" cy="1986967"/>
          </a:xfrm>
          <a:prstGeom prst="ellipse">
            <a:avLst/>
          </a:prstGeom>
        </p:spPr>
      </p:pic>
      <p:pic>
        <p:nvPicPr>
          <p:cNvPr id="12" name="Picture Placeholder 4">
            <a:extLst>
              <a:ext uri="{FF2B5EF4-FFF2-40B4-BE49-F238E27FC236}">
                <a16:creationId xmlns:a16="http://schemas.microsoft.com/office/drawing/2014/main" id="{532002B1-AA24-130F-96C2-33BCC6A05BD1}"/>
              </a:ext>
            </a:extLst>
          </p:cNvPr>
          <p:cNvPicPr>
            <a:picLocks noChangeAspect="1"/>
          </p:cNvPicPr>
          <p:nvPr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53" b="3853"/>
          <a:stretch/>
        </p:blipFill>
        <p:spPr>
          <a:xfrm>
            <a:off x="9161931" y="1750764"/>
            <a:ext cx="1986967" cy="198696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5806396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BCBBF4-8B11-0257-0CC9-EAF0B74637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CA6B91E-958D-84F3-E8F6-858EEC132B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7997825" cy="2869882"/>
          </a:xfrm>
        </p:spPr>
        <p:txBody>
          <a:bodyPr/>
          <a:lstStyle/>
          <a:p>
            <a:pPr marL="0" indent="0">
              <a:buNone/>
            </a:pPr>
            <a:r>
              <a:rPr lang="ru-RU" sz="6000" dirty="0">
                <a:solidFill>
                  <a:schemeClr val="bg1"/>
                </a:solidFill>
              </a:rPr>
              <a:t>Связь МСФО </a:t>
            </a:r>
            <a:r>
              <a:rPr lang="en-US" sz="6000" dirty="0">
                <a:solidFill>
                  <a:schemeClr val="bg1"/>
                </a:solidFill>
              </a:rPr>
              <a:t>S1 </a:t>
            </a:r>
            <a:r>
              <a:rPr lang="ru-RU" sz="6000" dirty="0">
                <a:solidFill>
                  <a:schemeClr val="bg1"/>
                </a:solidFill>
              </a:rPr>
              <a:t>и S2 с финансовой отчетностью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4EC7AD-40DE-06F5-1780-D5E84DB242F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Раздел</a:t>
            </a:r>
            <a:r>
              <a:rPr lang="en-US" dirty="0"/>
              <a:t> </a:t>
            </a:r>
            <a:r>
              <a:rPr lang="ru-RU" dirty="0"/>
              <a:t>4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E33F4E-A792-60EB-1626-59458C89AD8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C5EB3656-E0D7-E490-A50B-5CB89ED705F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FE5DD6ED-FE58-1957-46DF-6F4A7C40392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8855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48692C-7425-8A99-B94B-0BCDBF58A0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>
            <a:extLst>
              <a:ext uri="{FF2B5EF4-FFF2-40B4-BE49-F238E27FC236}">
                <a16:creationId xmlns:a16="http://schemas.microsoft.com/office/drawing/2014/main" id="{5BA7EECA-6481-C75E-AB0B-1581C9254565}"/>
              </a:ext>
            </a:extLst>
          </p:cNvPr>
          <p:cNvSpPr txBox="1">
            <a:spLocks/>
          </p:cNvSpPr>
          <p:nvPr/>
        </p:nvSpPr>
        <p:spPr>
          <a:xfrm>
            <a:off x="479424" y="436209"/>
            <a:ext cx="11471276" cy="590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394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399" b="0" kern="1200">
                <a:solidFill>
                  <a:schemeClr val="tx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ru-RU" sz="3200" b="1" dirty="0">
                <a:solidFill>
                  <a:schemeClr val="tx2"/>
                </a:solidFill>
                <a:latin typeface="EYInterstate" panose="02000503020000020004" pitchFamily="2" charset="0"/>
              </a:rPr>
              <a:t>Существенные климатические риски и возможности должны найти отражение в финансовой отчетности</a:t>
            </a:r>
            <a:endParaRPr lang="en-US" sz="3200" b="1" dirty="0">
              <a:solidFill>
                <a:schemeClr val="tx2"/>
              </a:solidFill>
              <a:latin typeface="EYInterstate" panose="02000503020000020004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5959B6-F13D-A38D-4814-B48527E60955}"/>
              </a:ext>
            </a:extLst>
          </p:cNvPr>
          <p:cNvSpPr txBox="1"/>
          <p:nvPr/>
        </p:nvSpPr>
        <p:spPr>
          <a:xfrm>
            <a:off x="479424" y="1183889"/>
            <a:ext cx="1123315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071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FFE600"/>
              </a:buClr>
              <a:buSzPct val="80000"/>
              <a:buFontTx/>
              <a:buNone/>
              <a:tabLst/>
              <a:defRPr/>
            </a:pPr>
            <a:r>
              <a:rPr lang="ru-RU" sz="1600" b="1" i="1" kern="0" noProof="1">
                <a:solidFill>
                  <a:prstClr val="white"/>
                </a:solidFill>
              </a:rPr>
              <a:t>Примеры применения стандартов финансовой отчетности МСФО для отражения финансовых последствий изменения климата</a:t>
            </a:r>
            <a:endParaRPr kumimoji="0" lang="ru" sz="1600" b="1" i="1" u="none" strike="noStrike" kern="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BD97724-DBF9-DC45-8BBB-C84E7A4613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4165799"/>
              </p:ext>
            </p:extLst>
          </p:nvPr>
        </p:nvGraphicFramePr>
        <p:xfrm>
          <a:off x="479424" y="1768666"/>
          <a:ext cx="11233150" cy="45940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5976">
                  <a:extLst>
                    <a:ext uri="{9D8B030D-6E8A-4147-A177-3AD203B41FA5}">
                      <a16:colId xmlns:a16="http://schemas.microsoft.com/office/drawing/2014/main" val="2685615572"/>
                    </a:ext>
                  </a:extLst>
                </a:gridCol>
                <a:gridCol w="7877174">
                  <a:extLst>
                    <a:ext uri="{9D8B030D-6E8A-4147-A177-3AD203B41FA5}">
                      <a16:colId xmlns:a16="http://schemas.microsoft.com/office/drawing/2014/main" val="2102218928"/>
                    </a:ext>
                  </a:extLst>
                </a:gridCol>
              </a:tblGrid>
              <a:tr h="59172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   Стандарты финансовой отчетности</a:t>
                      </a:r>
                      <a:endParaRPr lang="en-US" sz="1600" dirty="0"/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    Связь с вопросами изменения климата</a:t>
                      </a:r>
                      <a:endParaRPr lang="en-US" sz="1600" dirty="0"/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3708160"/>
                  </a:ext>
                </a:extLst>
              </a:tr>
              <a:tr h="581213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>
                          <a:solidFill>
                            <a:srgbClr val="FFE600"/>
                          </a:solidFill>
                        </a:rPr>
                        <a:t>IAS 1 «Представление финансовой отчетности»</a:t>
                      </a:r>
                      <a:endParaRPr lang="en-US" sz="1400" b="0" dirty="0">
                        <a:solidFill>
                          <a:srgbClr val="FFE6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solidFill>
                            <a:schemeClr val="bg1"/>
                          </a:solidFill>
                        </a:rPr>
                        <a:t>Допущения, оценки и суждения, связанные с климатом, относительно будущего, которые несут значительный риск существенных корректировок в течение следующего финансового года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marL="27432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471999"/>
                  </a:ext>
                </a:extLst>
              </a:tr>
              <a:tr h="4671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rgbClr val="FFE600"/>
                          </a:solidFill>
                        </a:rPr>
                        <a:t>IAS 16</a:t>
                      </a:r>
                      <a:r>
                        <a:rPr lang="ru-RU" sz="1400" b="0" dirty="0">
                          <a:solidFill>
                            <a:srgbClr val="FFE600"/>
                          </a:solidFill>
                        </a:rPr>
                        <a:t> «Основные средства»</a:t>
                      </a:r>
                      <a:endParaRPr lang="en-US" sz="1400" b="0" dirty="0">
                        <a:solidFill>
                          <a:srgbClr val="FFE6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solidFill>
                            <a:schemeClr val="bg1"/>
                          </a:solidFill>
                        </a:rPr>
                        <a:t>Климатические риски негативно влияют на стоимость основных средств, сокращают срок их службы и приводят к занижению остаточной стоимости</a:t>
                      </a:r>
                    </a:p>
                  </a:txBody>
                  <a:tcPr marL="27432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9935555"/>
                  </a:ext>
                </a:extLst>
              </a:tr>
              <a:tr h="467148"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>
                          <a:solidFill>
                            <a:srgbClr val="FFE600"/>
                          </a:solidFill>
                        </a:rPr>
                        <a:t>IAS 36</a:t>
                      </a:r>
                      <a:r>
                        <a:rPr lang="ru-RU" sz="1400" b="0" dirty="0">
                          <a:solidFill>
                            <a:srgbClr val="FFE600"/>
                          </a:solidFill>
                        </a:rPr>
                        <a:t> «Обесценение активов»</a:t>
                      </a:r>
                      <a:endParaRPr lang="en-US" sz="1400" b="0" dirty="0">
                        <a:solidFill>
                          <a:srgbClr val="FFE60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solidFill>
                            <a:schemeClr val="bg1"/>
                          </a:solidFill>
                        </a:rPr>
                        <a:t>Последствия изменения климата ведут к обесцениванию активов; физические риски ведут к существенным ущербам, а переходные к устареванию углеродоёмких активов </a:t>
                      </a:r>
                    </a:p>
                  </a:txBody>
                  <a:tcPr marL="27432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5324330"/>
                  </a:ext>
                </a:extLst>
              </a:tr>
              <a:tr h="724981"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>
                          <a:solidFill>
                            <a:schemeClr val="bg1"/>
                          </a:solidFill>
                        </a:rPr>
                        <a:t>IAS 38 </a:t>
                      </a:r>
                      <a:r>
                        <a:rPr lang="ru-RU" sz="1400" b="0" dirty="0">
                          <a:solidFill>
                            <a:schemeClr val="bg1"/>
                          </a:solidFill>
                        </a:rPr>
                        <a:t>«Нематериальные активы»</a:t>
                      </a:r>
                      <a:endParaRPr lang="en-US" sz="14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solidFill>
                            <a:schemeClr val="bg1"/>
                          </a:solidFill>
                        </a:rPr>
                        <a:t>Климатические факторы могут повлиять на признание и оценку нематериальных активов.</a:t>
                      </a:r>
                    </a:p>
                    <a:p>
                      <a:pPr algn="l"/>
                      <a:r>
                        <a:rPr lang="ru-RU" sz="1200" dirty="0">
                          <a:solidFill>
                            <a:schemeClr val="bg1"/>
                          </a:solidFill>
                        </a:rPr>
                        <a:t>Например: ограничения прав на выбросы и увеличение обязательств по выбросам, вызванные снижением квот на выбросы углерода; приобретение и продажа сертификатов возобновляемой энергии для целей соответствия климатическому законодательству.</a:t>
                      </a:r>
                    </a:p>
                  </a:txBody>
                  <a:tcPr marL="27432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7219044"/>
                  </a:ext>
                </a:extLst>
              </a:tr>
              <a:tr h="46714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AS 2 </a:t>
                      </a:r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«Запасы»</a:t>
                      </a:r>
                      <a:endParaRPr lang="en-US" sz="14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solidFill>
                            <a:schemeClr val="bg1"/>
                          </a:solidFill>
                        </a:rPr>
                        <a:t>Климатические факторы могут повлиять как на себестоимость (из-за сборов за компенсацию выбросов углерода, дополнительных импортных пошлин, расходов на перепроектирование), так и на чистую стоимость реализации запасов (из-за изменений в потребительском спросе или нормативных ограничений).</a:t>
                      </a:r>
                    </a:p>
                  </a:txBody>
                  <a:tcPr marL="27432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9655648"/>
                  </a:ext>
                </a:extLst>
              </a:tr>
              <a:tr h="840866"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>
                          <a:solidFill>
                            <a:schemeClr val="bg1"/>
                          </a:solidFill>
                        </a:rPr>
                        <a:t>IFRS 9 </a:t>
                      </a:r>
                      <a:r>
                        <a:rPr lang="ru-RU" sz="1400" b="0" dirty="0">
                          <a:solidFill>
                            <a:schemeClr val="bg1"/>
                          </a:solidFill>
                        </a:rPr>
                        <a:t>«Финансовые инструменты»</a:t>
                      </a:r>
                      <a:endParaRPr lang="en-US" sz="14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solidFill>
                            <a:schemeClr val="bg1"/>
                          </a:solidFill>
                        </a:rPr>
                        <a:t>Изменение климата может увеличить ожидаемые кредитные убытки 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(ECL) </a:t>
                      </a:r>
                      <a:r>
                        <a:rPr lang="ru-RU" sz="1200" dirty="0">
                          <a:solidFill>
                            <a:schemeClr val="bg1"/>
                          </a:solidFill>
                        </a:rPr>
                        <a:t>из-за более высокого кредитного риска. События, связанные с климатом, и переходные риски могут повлиять на финансовое состояние контрагентов, что приведет к более высокой вероятности дефолта и убыткам. </a:t>
                      </a:r>
                    </a:p>
                  </a:txBody>
                  <a:tcPr marL="27432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2927699"/>
                  </a:ext>
                </a:extLst>
              </a:tr>
            </a:tbl>
          </a:graphicData>
        </a:graphic>
      </p:graphicFrame>
      <p:pic>
        <p:nvPicPr>
          <p:cNvPr id="5" name="Graphic 4" descr="Document with solid fill">
            <a:extLst>
              <a:ext uri="{FF2B5EF4-FFF2-40B4-BE49-F238E27FC236}">
                <a16:creationId xmlns:a16="http://schemas.microsoft.com/office/drawing/2014/main" id="{1FB8FBE5-16E1-93BF-4F5F-3793C67F1D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9424" y="1785857"/>
            <a:ext cx="457200" cy="4572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E035A1DF-7348-46E9-DB3D-556C0DC3A966}"/>
              </a:ext>
            </a:extLst>
          </p:cNvPr>
          <p:cNvGrpSpPr/>
          <p:nvPr/>
        </p:nvGrpSpPr>
        <p:grpSpPr>
          <a:xfrm>
            <a:off x="5394296" y="1818122"/>
            <a:ext cx="620202" cy="457200"/>
            <a:chOff x="5867400" y="1785857"/>
            <a:chExt cx="620202" cy="457200"/>
          </a:xfrm>
        </p:grpSpPr>
        <p:pic>
          <p:nvPicPr>
            <p:cNvPr id="7" name="Graphic 6" descr="Earth Globe - Asia with solid fill">
              <a:extLst>
                <a:ext uri="{FF2B5EF4-FFF2-40B4-BE49-F238E27FC236}">
                  <a16:creationId xmlns:a16="http://schemas.microsoft.com/office/drawing/2014/main" id="{354A007B-9834-5E37-A812-F59131711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867400" y="1785857"/>
              <a:ext cx="457200" cy="457200"/>
            </a:xfrm>
            <a:prstGeom prst="rect">
              <a:avLst/>
            </a:prstGeom>
          </p:spPr>
        </p:pic>
        <p:pic>
          <p:nvPicPr>
            <p:cNvPr id="9" name="Graphic 8" descr="Thermometer with solid fill">
              <a:extLst>
                <a:ext uri="{FF2B5EF4-FFF2-40B4-BE49-F238E27FC236}">
                  <a16:creationId xmlns:a16="http://schemas.microsoft.com/office/drawing/2014/main" id="{C278E369-215E-FAD7-DF04-5F5C3153C34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259002" y="1797377"/>
              <a:ext cx="228600" cy="228600"/>
            </a:xfrm>
            <a:prstGeom prst="rect">
              <a:avLst/>
            </a:prstGeom>
          </p:spPr>
        </p:pic>
      </p:grp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8D1F54EF-9871-3E88-971D-EF03B03B1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F3A60FC-E7D3-480F-158B-74DF81474A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15C70CB-141E-37CD-B5FD-CAD412CC9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392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B02664-80D1-761D-8854-A5F7C8438F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>
            <a:extLst>
              <a:ext uri="{FF2B5EF4-FFF2-40B4-BE49-F238E27FC236}">
                <a16:creationId xmlns:a16="http://schemas.microsoft.com/office/drawing/2014/main" id="{591D7E39-516C-1435-EA99-158653A1C737}"/>
              </a:ext>
            </a:extLst>
          </p:cNvPr>
          <p:cNvSpPr txBox="1">
            <a:spLocks/>
          </p:cNvSpPr>
          <p:nvPr/>
        </p:nvSpPr>
        <p:spPr>
          <a:xfrm>
            <a:off x="485747" y="703312"/>
            <a:ext cx="11613120" cy="590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394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399" b="0" kern="1200">
                <a:solidFill>
                  <a:schemeClr val="tx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ru-RU" sz="3200" b="1" dirty="0">
                <a:solidFill>
                  <a:schemeClr val="tx2"/>
                </a:solidFill>
                <a:latin typeface="EYInterstate" panose="02000503020000020004" pitchFamily="2" charset="0"/>
              </a:rPr>
              <a:t>Может потребоваться раскрытие допущений о влиянии климата на будущее финансовое положение компаний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60785B8-8614-2063-3293-2E5B6DD7767D}"/>
              </a:ext>
            </a:extLst>
          </p:cNvPr>
          <p:cNvGrpSpPr/>
          <p:nvPr/>
        </p:nvGrpSpPr>
        <p:grpSpPr>
          <a:xfrm>
            <a:off x="6489700" y="137155"/>
            <a:ext cx="5702300" cy="357335"/>
            <a:chOff x="6489700" y="137155"/>
            <a:chExt cx="5702300" cy="35733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FE7AA34-5974-1A75-F8B9-351898426ACF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6736306" y="137156"/>
              <a:ext cx="5455694" cy="357334"/>
            </a:xfrm>
            <a:prstGeom prst="rect">
              <a:avLst/>
            </a:prstGeom>
            <a:gradFill flip="none" rotWithShape="1">
              <a:gsLst>
                <a:gs pos="24732">
                  <a:schemeClr val="tx1">
                    <a:alpha val="37000"/>
                  </a:schemeClr>
                </a:gs>
                <a:gs pos="11510">
                  <a:srgbClr val="000000"/>
                </a:gs>
                <a:gs pos="64373">
                  <a:schemeClr val="bg1">
                    <a:alpha val="20000"/>
                  </a:schemeClr>
                </a:gs>
                <a:gs pos="52318">
                  <a:schemeClr val="bg1">
                    <a:alpha val="20000"/>
                  </a:schemeClr>
                </a:gs>
                <a:gs pos="0">
                  <a:srgbClr val="000000"/>
                </a:gs>
                <a:gs pos="74000">
                  <a:schemeClr val="bg1">
                    <a:alpha val="18000"/>
                  </a:schemeClr>
                </a:gs>
                <a:gs pos="83000">
                  <a:schemeClr val="bg1">
                    <a:alpha val="20000"/>
                  </a:schemeClr>
                </a:gs>
                <a:gs pos="74000">
                  <a:schemeClr val="bg1">
                    <a:alpha val="20000"/>
                  </a:schemeClr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</a:ln>
            <a:effectLst/>
          </p:spPr>
          <p:txBody>
            <a:bodyPr lIns="200796" tIns="37291" rIns="172110" rtlCol="0" anchor="t"/>
            <a:lstStyle/>
            <a:p>
              <a:pPr marL="141694" marR="0" lvl="0" indent="-141694" algn="just" defTabSz="69514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60"/>
                </a:spcAft>
                <a:buClr>
                  <a:srgbClr val="FFE600"/>
                </a:buClr>
                <a:buSzPct val="75000"/>
                <a:buFont typeface="Arial" charset="0"/>
                <a:buChar char="►"/>
                <a:tabLst/>
                <a:defRPr/>
              </a:pPr>
              <a:endPara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A7C8206-22C3-FAA6-E9B7-04D700DCA9AC}"/>
                </a:ext>
              </a:extLst>
            </p:cNvPr>
            <p:cNvSpPr txBox="1"/>
            <p:nvPr/>
          </p:nvSpPr>
          <p:spPr>
            <a:xfrm>
              <a:off x="6736306" y="161933"/>
              <a:ext cx="446332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071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r>
                <a:rPr lang="ru-RU" sz="1400" b="1" kern="0" noProof="1">
                  <a:solidFill>
                    <a:prstClr val="white"/>
                  </a:solidFill>
                </a:rPr>
                <a:t>IAS 1  «Представление финансовой отчетности»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BE38044-98E2-DE80-8571-0ACB999953FE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489700" y="137155"/>
              <a:ext cx="246606" cy="357334"/>
            </a:xfrm>
            <a:prstGeom prst="rect">
              <a:avLst/>
            </a:prstGeom>
            <a:solidFill>
              <a:srgbClr val="FFE6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6625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534602A-79A0-2701-1165-E8EC2A972A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5095263"/>
              </p:ext>
            </p:extLst>
          </p:nvPr>
        </p:nvGraphicFramePr>
        <p:xfrm>
          <a:off x="485747" y="1570447"/>
          <a:ext cx="11233149" cy="4539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33149">
                  <a:extLst>
                    <a:ext uri="{9D8B030D-6E8A-4147-A177-3AD203B41FA5}">
                      <a16:colId xmlns:a16="http://schemas.microsoft.com/office/drawing/2014/main" val="2685615572"/>
                    </a:ext>
                  </a:extLst>
                </a:gridCol>
              </a:tblGrid>
              <a:tr h="998372"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E600"/>
                          </a:solidFill>
                        </a:rPr>
                        <a:t>Допущения и оценки</a:t>
                      </a:r>
                      <a:r>
                        <a:rPr lang="en-US" sz="1600" b="1" dirty="0">
                          <a:solidFill>
                            <a:srgbClr val="FFE600"/>
                          </a:solidFill>
                        </a:rPr>
                        <a:t> (Assumptions and estimates)</a:t>
                      </a:r>
                      <a:endParaRPr lang="ru-RU" sz="1600" b="1" dirty="0">
                        <a:solidFill>
                          <a:srgbClr val="FFE600"/>
                        </a:solidFill>
                      </a:endParaRPr>
                    </a:p>
                    <a:p>
                      <a:pPr algn="l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bg1"/>
                          </a:solidFill>
                        </a:rPr>
                        <a:t>Климатические риски и возможности могут повлиять на допущения и оценки будущего финансового положения компаний, которые могут привести к существенным корректировкам в финансовых показателях в течение следующего финансового года. </a:t>
                      </a:r>
                      <a:endParaRPr lang="ru-RU" sz="14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00"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471999"/>
                  </a:ext>
                </a:extLst>
              </a:tr>
              <a:tr h="2070698"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E600"/>
                          </a:solidFill>
                        </a:rPr>
                        <a:t>Суждения</a:t>
                      </a:r>
                      <a:r>
                        <a:rPr lang="en-US" sz="1600" b="1" dirty="0">
                          <a:solidFill>
                            <a:srgbClr val="FFE600"/>
                          </a:solidFill>
                        </a:rPr>
                        <a:t> (Judgements)</a:t>
                      </a:r>
                      <a:endParaRPr lang="ru-RU" sz="1600" b="1" dirty="0">
                        <a:solidFill>
                          <a:srgbClr val="FFE600"/>
                        </a:solidFill>
                      </a:endParaRPr>
                    </a:p>
                    <a:p>
                      <a:pPr algn="l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Вопросы, связанные с климатом, могут влиять на суждения руководства в отношении учетной политики, в т.ч. в процессе признания и оценки активов и обязательств. 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  <a:p>
                      <a:pPr algn="l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Например, суждение может применяться при оценке того, следует ли считать денежные потоки, которые, как ожидается, возникнут в попытке организации достичь определенных целей  по декарбонизации в будущем, обслуживанием или улучшением активов при определении ценности использования в оценке обесценения. </a:t>
                      </a:r>
                    </a:p>
                  </a:txBody>
                  <a:tcPr marL="914400"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5741662"/>
                  </a:ext>
                </a:extLst>
              </a:tr>
              <a:tr h="998372">
                <a:tc>
                  <a:txBody>
                    <a:bodyPr/>
                    <a:lstStyle/>
                    <a:p>
                      <a:pPr algn="l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E600"/>
                          </a:solidFill>
                        </a:rPr>
                        <a:t>Непрерывность деятельности (</a:t>
                      </a:r>
                      <a:r>
                        <a:rPr lang="en-US" sz="1600" b="1" dirty="0">
                          <a:solidFill>
                            <a:srgbClr val="FFE600"/>
                          </a:solidFill>
                        </a:rPr>
                        <a:t>Going Concern</a:t>
                      </a:r>
                      <a:r>
                        <a:rPr lang="ru-RU" sz="1600" b="1" dirty="0">
                          <a:solidFill>
                            <a:srgbClr val="FFE600"/>
                          </a:solidFill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EYInterstate Light" panose="02000506000000020004" pitchFamily="2" charset="0"/>
                        <a:buNone/>
                        <a:tabLst/>
                        <a:defRPr/>
                      </a:pPr>
                      <a:r>
                        <a:rPr lang="ru-RU" sz="1400" b="0" i="0" dirty="0">
                          <a:solidFill>
                            <a:schemeClr val="bg1"/>
                          </a:solidFill>
                          <a:effectLst/>
                        </a:rPr>
                        <a:t>При оценке способности организации продолжать свою деятельность как </a:t>
                      </a:r>
                      <a:r>
                        <a:rPr lang="en-US" sz="1400" b="0" i="0" dirty="0">
                          <a:solidFill>
                            <a:schemeClr val="bg1"/>
                          </a:solidFill>
                          <a:effectLst/>
                        </a:rPr>
                        <a:t>going</a:t>
                      </a:r>
                      <a:r>
                        <a:rPr lang="ru-RU" sz="1400" b="0" i="0" dirty="0">
                          <a:solidFill>
                            <a:schemeClr val="bg1"/>
                          </a:solidFill>
                          <a:effectLst/>
                        </a:rPr>
                        <a:t> concern, следует учитывать неопределенности, связанные с будущими изменениями в запасах природного капитала, доступных технологиях, ужесточением регулирования, предпочтениями потребителей и т.д. ввиду возможных физических и переходных климатических рисков.</a:t>
                      </a:r>
                    </a:p>
                  </a:txBody>
                  <a:tcPr marL="914400"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9935555"/>
                  </a:ext>
                </a:extLst>
              </a:tr>
            </a:tbl>
          </a:graphicData>
        </a:graphic>
      </p:graphicFrame>
      <p:pic>
        <p:nvPicPr>
          <p:cNvPr id="3" name="Graphic 2" descr="Scales of justice with solid fill">
            <a:extLst>
              <a:ext uri="{FF2B5EF4-FFF2-40B4-BE49-F238E27FC236}">
                <a16:creationId xmlns:a16="http://schemas.microsoft.com/office/drawing/2014/main" id="{FEF76A55-1AEF-DB5C-1C6D-E197A65DD9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7122" y="2971800"/>
            <a:ext cx="457200" cy="457200"/>
          </a:xfrm>
          <a:prstGeom prst="rect">
            <a:avLst/>
          </a:prstGeom>
        </p:spPr>
      </p:pic>
      <p:pic>
        <p:nvPicPr>
          <p:cNvPr id="9" name="Graphic 8" descr="Folder Search with solid fill">
            <a:extLst>
              <a:ext uri="{FF2B5EF4-FFF2-40B4-BE49-F238E27FC236}">
                <a16:creationId xmlns:a16="http://schemas.microsoft.com/office/drawing/2014/main" id="{E0A666A0-364A-963A-6421-042A99C62AD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7122" y="1764328"/>
            <a:ext cx="457200" cy="457200"/>
          </a:xfrm>
          <a:prstGeom prst="rect">
            <a:avLst/>
          </a:prstGeom>
        </p:spPr>
      </p:pic>
      <p:pic>
        <p:nvPicPr>
          <p:cNvPr id="11" name="Graphic 10" descr="Continuous Improvement with solid fill">
            <a:extLst>
              <a:ext uri="{FF2B5EF4-FFF2-40B4-BE49-F238E27FC236}">
                <a16:creationId xmlns:a16="http://schemas.microsoft.com/office/drawing/2014/main" id="{586E054E-C0F6-8B37-4DE1-C41427C7BC3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005" y="4802033"/>
            <a:ext cx="637435" cy="637435"/>
          </a:xfrm>
          <a:prstGeom prst="rect">
            <a:avLst/>
          </a:prstGeom>
        </p:spPr>
      </p:pic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9C94C00C-8E74-BB01-579B-85AB241EA5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3BE3FDB8-6E74-4B23-CA52-87A2E252A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C8DD60B-3F61-5E5C-3C43-4FC5107C6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55353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4C5DB5-08F4-B57A-8AB5-50E194137B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>
            <a:extLst>
              <a:ext uri="{FF2B5EF4-FFF2-40B4-BE49-F238E27FC236}">
                <a16:creationId xmlns:a16="http://schemas.microsoft.com/office/drawing/2014/main" id="{19ED37AD-D072-39D7-3FAB-76C1CD0EE9F2}"/>
              </a:ext>
            </a:extLst>
          </p:cNvPr>
          <p:cNvSpPr txBox="1">
            <a:spLocks/>
          </p:cNvSpPr>
          <p:nvPr/>
        </p:nvSpPr>
        <p:spPr>
          <a:xfrm>
            <a:off x="485747" y="577547"/>
            <a:ext cx="11220505" cy="590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394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399" b="0" kern="1200">
                <a:solidFill>
                  <a:schemeClr val="tx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ru-RU" sz="2800" b="1" dirty="0">
                <a:solidFill>
                  <a:schemeClr val="tx2"/>
                </a:solidFill>
                <a:latin typeface="EYInterstate" panose="02000503020000020004" pitchFamily="2" charset="0"/>
              </a:rPr>
              <a:t>Примеры раскрытия допущений, оценок и суждений, связанных с климатом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C8AE563-C8D4-3BB6-6EFA-384FED01A6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B4DB9038-BAF8-B306-A654-8EDC9CF0F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1DC66E8-70E0-7BCB-2743-BCAD37616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23</a:t>
            </a:fld>
            <a:endParaRPr lang="en-US" dirty="0"/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0C440281-1468-69B4-1CD7-734D7801E9ED}"/>
              </a:ext>
            </a:extLst>
          </p:cNvPr>
          <p:cNvSpPr txBox="1">
            <a:spLocks/>
          </p:cNvSpPr>
          <p:nvPr/>
        </p:nvSpPr>
        <p:spPr>
          <a:xfrm>
            <a:off x="485747" y="3370222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i="1" dirty="0"/>
              <a:t>Годовой отчет </a:t>
            </a:r>
            <a:r>
              <a:rPr lang="en-US" i="1" dirty="0"/>
              <a:t>BHP </a:t>
            </a:r>
            <a:r>
              <a:rPr lang="ru-RU" i="1" dirty="0"/>
              <a:t>за 202</a:t>
            </a:r>
            <a:r>
              <a:rPr lang="en-US" i="1" dirty="0"/>
              <a:t>4</a:t>
            </a:r>
            <a:r>
              <a:rPr lang="ru-RU" i="1" dirty="0"/>
              <a:t> год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951CB8E-A473-3FE3-2CC6-62D05E5884D0}"/>
              </a:ext>
            </a:extLst>
          </p:cNvPr>
          <p:cNvSpPr txBox="1"/>
          <p:nvPr/>
        </p:nvSpPr>
        <p:spPr>
          <a:xfrm>
            <a:off x="6095999" y="1306759"/>
            <a:ext cx="6096001" cy="1200329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r>
              <a:rPr lang="en-US" sz="1200" dirty="0"/>
              <a:t>В своей годовой финансовой отчетности за 2024 год</a:t>
            </a:r>
            <a:r>
              <a:rPr lang="ru-RU" sz="1200" dirty="0"/>
              <a:t> горнодобывающая</a:t>
            </a:r>
            <a:r>
              <a:rPr lang="en-US" sz="1200" dirty="0"/>
              <a:t> компани</a:t>
            </a:r>
            <a:r>
              <a:rPr lang="ru-RU" sz="1200" dirty="0"/>
              <a:t>я</a:t>
            </a:r>
            <a:r>
              <a:rPr lang="en-US" sz="1200" dirty="0"/>
              <a:t> BHP</a:t>
            </a:r>
            <a:r>
              <a:rPr lang="ru-RU" sz="1200" dirty="0"/>
              <a:t> отмечает, что использует несколько сценариев перехода на низкоуглеродную энергетику, отражающих допущения и суждения руководства относительно влияния переходных рисков, связанных с климатом, на статьи в финансовой отчетности, затронутых этими сценариями, в т.ч. при оценке балансовой стоимости активов и оценки обесценения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AFB0972-52D1-553A-0A4E-E1877546E8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748" y="1306759"/>
            <a:ext cx="4429152" cy="206346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CB5A4856-A781-62DD-4C25-7BB675E9B7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5747" y="3771512"/>
            <a:ext cx="5419753" cy="2408820"/>
          </a:xfrm>
          <a:prstGeom prst="rect">
            <a:avLst/>
          </a:prstGeom>
        </p:spPr>
      </p:pic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E0DF632E-B561-51EF-28AD-64BF056598A5}"/>
              </a:ext>
            </a:extLst>
          </p:cNvPr>
          <p:cNvSpPr txBox="1">
            <a:spLocks/>
          </p:cNvSpPr>
          <p:nvPr/>
        </p:nvSpPr>
        <p:spPr>
          <a:xfrm>
            <a:off x="485747" y="6180332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i="1" dirty="0"/>
              <a:t>Годовой отчет </a:t>
            </a:r>
            <a:r>
              <a:rPr lang="en-US" i="1" dirty="0"/>
              <a:t>Equinor ASA </a:t>
            </a:r>
            <a:r>
              <a:rPr lang="ru-RU" i="1" dirty="0"/>
              <a:t>за 202</a:t>
            </a:r>
            <a:r>
              <a:rPr lang="en-US" i="1" dirty="0"/>
              <a:t>4</a:t>
            </a:r>
            <a:r>
              <a:rPr lang="ru-RU" i="1" dirty="0"/>
              <a:t> год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78A0B30-7A98-4399-06D0-54F007568650}"/>
              </a:ext>
            </a:extLst>
          </p:cNvPr>
          <p:cNvSpPr txBox="1"/>
          <p:nvPr/>
        </p:nvSpPr>
        <p:spPr>
          <a:xfrm>
            <a:off x="6095998" y="3771512"/>
            <a:ext cx="6096001" cy="1938992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r>
              <a:rPr lang="en-US" sz="1200" dirty="0"/>
              <a:t>В своей годовой финансовой отчетности за 2024 год</a:t>
            </a:r>
            <a:r>
              <a:rPr lang="ru-RU" sz="1200" dirty="0"/>
              <a:t> нефтегазовая</a:t>
            </a:r>
            <a:r>
              <a:rPr lang="en-US" sz="1200" dirty="0"/>
              <a:t> компани</a:t>
            </a:r>
            <a:r>
              <a:rPr lang="ru-RU" sz="1200" dirty="0"/>
              <a:t>я</a:t>
            </a:r>
            <a:r>
              <a:rPr lang="en-US" sz="1200" dirty="0"/>
              <a:t> Equinor </a:t>
            </a:r>
            <a:r>
              <a:rPr lang="ru-RU" sz="1200" dirty="0"/>
              <a:t>отмечает влияние климатических инициатив и потенциальное воздействие энергетического перехода на экономические допущения и будущие оценки денежных потоков. </a:t>
            </a:r>
          </a:p>
          <a:p>
            <a:endParaRPr lang="ru-RU" sz="1200" dirty="0"/>
          </a:p>
          <a:p>
            <a:r>
              <a:rPr lang="ru-RU" sz="1200" dirty="0"/>
              <a:t>Изменения в оценках мирового спроса на энергию и цен на сырьевые товары к 2050 году, могут привести к значительным изменениям в оценках, таких как срок службы (период амортизации и сроки обязательств по выбытию активов), стоимость использования (оценка обесценения) и отложенные налоговые активы.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DD936EC-C1E4-3951-D6E3-AFDA16BB1C70}"/>
              </a:ext>
            </a:extLst>
          </p:cNvPr>
          <p:cNvGrpSpPr/>
          <p:nvPr/>
        </p:nvGrpSpPr>
        <p:grpSpPr>
          <a:xfrm>
            <a:off x="6489700" y="137155"/>
            <a:ext cx="5702300" cy="357335"/>
            <a:chOff x="6489700" y="137155"/>
            <a:chExt cx="5702300" cy="357335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2E0E6DC1-231B-D48F-E150-2B13D52F1500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6736306" y="137156"/>
              <a:ext cx="5455694" cy="357334"/>
            </a:xfrm>
            <a:prstGeom prst="rect">
              <a:avLst/>
            </a:prstGeom>
            <a:gradFill flip="none" rotWithShape="1">
              <a:gsLst>
                <a:gs pos="24732">
                  <a:schemeClr val="tx1">
                    <a:alpha val="37000"/>
                  </a:schemeClr>
                </a:gs>
                <a:gs pos="11510">
                  <a:srgbClr val="000000"/>
                </a:gs>
                <a:gs pos="64373">
                  <a:schemeClr val="bg1">
                    <a:alpha val="20000"/>
                  </a:schemeClr>
                </a:gs>
                <a:gs pos="52318">
                  <a:schemeClr val="bg1">
                    <a:alpha val="20000"/>
                  </a:schemeClr>
                </a:gs>
                <a:gs pos="0">
                  <a:srgbClr val="000000"/>
                </a:gs>
                <a:gs pos="74000">
                  <a:schemeClr val="bg1">
                    <a:alpha val="18000"/>
                  </a:schemeClr>
                </a:gs>
                <a:gs pos="83000">
                  <a:schemeClr val="bg1">
                    <a:alpha val="20000"/>
                  </a:schemeClr>
                </a:gs>
                <a:gs pos="74000">
                  <a:schemeClr val="bg1">
                    <a:alpha val="20000"/>
                  </a:schemeClr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</a:ln>
            <a:effectLst/>
          </p:spPr>
          <p:txBody>
            <a:bodyPr lIns="200796" tIns="37291" rIns="172110" rtlCol="0" anchor="t"/>
            <a:lstStyle/>
            <a:p>
              <a:pPr marL="141694" marR="0" lvl="0" indent="-141694" algn="just" defTabSz="69514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60"/>
                </a:spcAft>
                <a:buClr>
                  <a:srgbClr val="FFE600"/>
                </a:buClr>
                <a:buSzPct val="75000"/>
                <a:buFont typeface="Arial" charset="0"/>
                <a:buChar char="►"/>
                <a:tabLst/>
                <a:defRPr/>
              </a:pPr>
              <a:endPara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0E94A40-A6B3-617D-AD98-D39650A41116}"/>
                </a:ext>
              </a:extLst>
            </p:cNvPr>
            <p:cNvSpPr txBox="1"/>
            <p:nvPr/>
          </p:nvSpPr>
          <p:spPr>
            <a:xfrm>
              <a:off x="6736306" y="161933"/>
              <a:ext cx="446332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071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r>
                <a:rPr lang="ru-RU" sz="1400" b="1" kern="0" noProof="1">
                  <a:solidFill>
                    <a:prstClr val="white"/>
                  </a:solidFill>
                </a:rPr>
                <a:t>IAS 1  «Представление финансовой отчетности»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64FA994-3148-4A46-EE7C-C5A0967C6CBA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489700" y="137155"/>
              <a:ext cx="246606" cy="357334"/>
            </a:xfrm>
            <a:prstGeom prst="rect">
              <a:avLst/>
            </a:prstGeom>
            <a:solidFill>
              <a:srgbClr val="FFE6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6625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43795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01AFA5-93CC-3697-79EE-94C7CE3E0A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>
            <a:extLst>
              <a:ext uri="{FF2B5EF4-FFF2-40B4-BE49-F238E27FC236}">
                <a16:creationId xmlns:a16="http://schemas.microsoft.com/office/drawing/2014/main" id="{75F8B74A-C717-5A26-DEE2-95CA7AD8DD40}"/>
              </a:ext>
            </a:extLst>
          </p:cNvPr>
          <p:cNvSpPr txBox="1">
            <a:spLocks/>
          </p:cNvSpPr>
          <p:nvPr/>
        </p:nvSpPr>
        <p:spPr>
          <a:xfrm>
            <a:off x="485747" y="916115"/>
            <a:ext cx="10972800" cy="590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394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399" b="0" kern="1200">
                <a:solidFill>
                  <a:schemeClr val="tx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ru-RU" sz="3200" b="1" dirty="0">
                <a:solidFill>
                  <a:schemeClr val="tx2"/>
                </a:solidFill>
                <a:latin typeface="EYInterstate" panose="02000503020000020004" pitchFamily="2" charset="0"/>
              </a:rPr>
              <a:t>Климатические риски могут негативно повлиять на стоимость основных средств, срок их службы и остаточную стоимость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ACCE9C0-AA70-1B0B-3330-09749362C3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6464518"/>
              </p:ext>
            </p:extLst>
          </p:nvPr>
        </p:nvGraphicFramePr>
        <p:xfrm>
          <a:off x="473104" y="1928140"/>
          <a:ext cx="11233149" cy="43032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33149">
                  <a:extLst>
                    <a:ext uri="{9D8B030D-6E8A-4147-A177-3AD203B41FA5}">
                      <a16:colId xmlns:a16="http://schemas.microsoft.com/office/drawing/2014/main" val="2685615572"/>
                    </a:ext>
                  </a:extLst>
                </a:gridCol>
              </a:tblGrid>
              <a:tr h="1767928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600" b="1" kern="1200" dirty="0">
                          <a:solidFill>
                            <a:srgbClr val="FFE600"/>
                          </a:solidFill>
                          <a:latin typeface="+mn-lt"/>
                          <a:ea typeface="+mn-ea"/>
                          <a:cs typeface="+mn-cs"/>
                        </a:rPr>
                        <a:t>Снижение срока полезного использования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0" dirty="0">
                          <a:solidFill>
                            <a:schemeClr val="bg1"/>
                          </a:solidFill>
                        </a:rPr>
                        <a:t>Климатические риски могут влиять на то, как и как долго используются элементы основных средств. 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0" dirty="0">
                          <a:solidFill>
                            <a:schemeClr val="bg1"/>
                          </a:solidFill>
                        </a:rPr>
                        <a:t>Организациям необходимо будет ежегодно учитывать климатические факторы при определении ожидаемого срока полезного использования своих активов и, следовательно, периода, в течение которого такие активы амортизируются.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0" dirty="0">
                          <a:solidFill>
                            <a:schemeClr val="bg1"/>
                          </a:solidFill>
                        </a:rPr>
                        <a:t>Организация должна будет оценить, ожидает ли она, например, раннего закрытия активов, производящих ископаемое топливо (например, активов, производящих уголь), или продолжения использования активов, выбрасывающих углерод (например, оборудования с высоким уровнем выбросов), или вследствие подверженности активов повреждениям от экстремальных погодных явлений (наводнения, пожары и т.д.)</a:t>
                      </a:r>
                    </a:p>
                  </a:txBody>
                  <a:tcPr marL="914400"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471999"/>
                  </a:ext>
                </a:extLst>
              </a:tr>
              <a:tr h="112290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600" b="1" kern="1200" dirty="0">
                          <a:solidFill>
                            <a:srgbClr val="FFE600"/>
                          </a:solidFill>
                          <a:latin typeface="+mn-lt"/>
                          <a:ea typeface="+mn-ea"/>
                          <a:cs typeface="+mn-cs"/>
                        </a:rPr>
                        <a:t>Ранний вывод из эксплуатации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Если срок полезного использования объекта основных средств короче, чем ожидалось ранее, это приведет к более раннему выводу из эксплуатации и увеличит резерв на вывод из эксплуатации.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4400"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5741662"/>
                  </a:ext>
                </a:extLst>
              </a:tr>
              <a:tr h="112290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600" b="1" kern="1200" dirty="0">
                          <a:solidFill>
                            <a:srgbClr val="FFE600"/>
                          </a:solidFill>
                          <a:latin typeface="+mn-lt"/>
                          <a:ea typeface="+mn-ea"/>
                          <a:cs typeface="+mn-cs"/>
                        </a:rPr>
                        <a:t>Снижающаяся остаточная стоимость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Ввиду ужесточения климатического регулирования спрос на приобретение бывших в использовании основных средств может снижаться, если такие средства используют более неразрешенные (например, крайне углеродоемкие) технологии, что приведет к снижению остаточной стоимости основных средств (н</a:t>
                      </a: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апример, угольные электростанции).</a:t>
                      </a:r>
                    </a:p>
                  </a:txBody>
                  <a:tcPr marL="914400"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9935555"/>
                  </a:ext>
                </a:extLst>
              </a:tr>
            </a:tbl>
          </a:graphicData>
        </a:graphic>
      </p:graphicFrame>
      <p:pic>
        <p:nvPicPr>
          <p:cNvPr id="10" name="Graphic 9" descr="Hourglass Finished with solid fill">
            <a:extLst>
              <a:ext uri="{FF2B5EF4-FFF2-40B4-BE49-F238E27FC236}">
                <a16:creationId xmlns:a16="http://schemas.microsoft.com/office/drawing/2014/main" id="{E9FD69CB-83F4-6A38-02C5-B1489B15E8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3345" y="2642189"/>
            <a:ext cx="457200" cy="457200"/>
          </a:xfrm>
          <a:prstGeom prst="rect">
            <a:avLst/>
          </a:prstGeom>
        </p:spPr>
      </p:pic>
      <p:pic>
        <p:nvPicPr>
          <p:cNvPr id="12" name="Graphic 11" descr="Money with solid fill">
            <a:extLst>
              <a:ext uri="{FF2B5EF4-FFF2-40B4-BE49-F238E27FC236}">
                <a16:creationId xmlns:a16="http://schemas.microsoft.com/office/drawing/2014/main" id="{10A71B90-A02F-7428-EA88-C92E4F0F8F4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9075" y="5411543"/>
            <a:ext cx="457200" cy="45720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2641920B-5E15-DDCE-3877-E118A67E133E}"/>
              </a:ext>
            </a:extLst>
          </p:cNvPr>
          <p:cNvGrpSpPr/>
          <p:nvPr/>
        </p:nvGrpSpPr>
        <p:grpSpPr>
          <a:xfrm>
            <a:off x="694257" y="4254779"/>
            <a:ext cx="495376" cy="572386"/>
            <a:chOff x="707068" y="3861389"/>
            <a:chExt cx="495376" cy="572386"/>
          </a:xfrm>
        </p:grpSpPr>
        <p:pic>
          <p:nvPicPr>
            <p:cNvPr id="14" name="Graphic 13" descr="Home with solid fill">
              <a:extLst>
                <a:ext uri="{FF2B5EF4-FFF2-40B4-BE49-F238E27FC236}">
                  <a16:creationId xmlns:a16="http://schemas.microsoft.com/office/drawing/2014/main" id="{673FDA7C-7E7F-18E1-6144-06D5A152FCE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45244" y="3976575"/>
              <a:ext cx="457200" cy="457200"/>
            </a:xfrm>
            <a:prstGeom prst="rect">
              <a:avLst/>
            </a:prstGeom>
          </p:spPr>
        </p:pic>
        <p:pic>
          <p:nvPicPr>
            <p:cNvPr id="17" name="Graphic 16" descr="Badge Cross with solid fill">
              <a:extLst>
                <a:ext uri="{FF2B5EF4-FFF2-40B4-BE49-F238E27FC236}">
                  <a16:creationId xmlns:a16="http://schemas.microsoft.com/office/drawing/2014/main" id="{6EC595AE-4FE4-1AD7-B3DC-77F5CF7E91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07068" y="3861389"/>
              <a:ext cx="230371" cy="230371"/>
            </a:xfrm>
            <a:prstGeom prst="rect">
              <a:avLst/>
            </a:prstGeom>
          </p:spPr>
        </p:pic>
      </p:grp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93EED04B-5B2B-4DF1-E524-E40EF0AB13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CFD3D3B-7B8E-C66D-C89B-3E445F560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1F87439-99E7-7E25-2666-F9AC48531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24</a:t>
            </a:fld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F680F04-D560-D110-F708-423B71B4A4DA}"/>
              </a:ext>
            </a:extLst>
          </p:cNvPr>
          <p:cNvGrpSpPr/>
          <p:nvPr/>
        </p:nvGrpSpPr>
        <p:grpSpPr>
          <a:xfrm>
            <a:off x="6489700" y="137155"/>
            <a:ext cx="5702300" cy="357335"/>
            <a:chOff x="6489700" y="137155"/>
            <a:chExt cx="5702300" cy="35733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03E5B65-8746-7B4B-2195-932B2994C58E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6736306" y="137156"/>
              <a:ext cx="5455694" cy="357334"/>
            </a:xfrm>
            <a:prstGeom prst="rect">
              <a:avLst/>
            </a:prstGeom>
            <a:gradFill flip="none" rotWithShape="1">
              <a:gsLst>
                <a:gs pos="24732">
                  <a:schemeClr val="tx1">
                    <a:alpha val="37000"/>
                  </a:schemeClr>
                </a:gs>
                <a:gs pos="11510">
                  <a:srgbClr val="000000"/>
                </a:gs>
                <a:gs pos="64373">
                  <a:schemeClr val="bg1">
                    <a:alpha val="20000"/>
                  </a:schemeClr>
                </a:gs>
                <a:gs pos="52318">
                  <a:schemeClr val="bg1">
                    <a:alpha val="20000"/>
                  </a:schemeClr>
                </a:gs>
                <a:gs pos="0">
                  <a:srgbClr val="000000"/>
                </a:gs>
                <a:gs pos="74000">
                  <a:schemeClr val="bg1">
                    <a:alpha val="18000"/>
                  </a:schemeClr>
                </a:gs>
                <a:gs pos="83000">
                  <a:schemeClr val="bg1">
                    <a:alpha val="20000"/>
                  </a:schemeClr>
                </a:gs>
                <a:gs pos="74000">
                  <a:schemeClr val="bg1">
                    <a:alpha val="20000"/>
                  </a:schemeClr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</a:ln>
            <a:effectLst/>
          </p:spPr>
          <p:txBody>
            <a:bodyPr lIns="200796" tIns="37291" rIns="172110" rtlCol="0" anchor="t"/>
            <a:lstStyle/>
            <a:p>
              <a:pPr marL="141694" marR="0" lvl="0" indent="-141694" algn="just" defTabSz="69514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60"/>
                </a:spcAft>
                <a:buClr>
                  <a:srgbClr val="FFE600"/>
                </a:buClr>
                <a:buSzPct val="75000"/>
                <a:buFont typeface="Arial" charset="0"/>
                <a:buChar char="►"/>
                <a:tabLst/>
                <a:defRPr/>
              </a:pPr>
              <a:endPara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32080B9-3D61-A7A6-DA88-E1D247E8A1AE}"/>
                </a:ext>
              </a:extLst>
            </p:cNvPr>
            <p:cNvSpPr txBox="1"/>
            <p:nvPr/>
          </p:nvSpPr>
          <p:spPr>
            <a:xfrm>
              <a:off x="6736306" y="161933"/>
              <a:ext cx="446332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071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r>
                <a:rPr lang="en-US" sz="1400" b="1" kern="0" noProof="1">
                  <a:solidFill>
                    <a:prstClr val="white"/>
                  </a:solidFill>
                </a:rPr>
                <a:t>IAS 16 «</a:t>
              </a:r>
              <a:r>
                <a:rPr lang="uz-Cyrl-UZ" sz="1400" b="1" kern="0" noProof="1">
                  <a:solidFill>
                    <a:prstClr val="white"/>
                  </a:solidFill>
                </a:rPr>
                <a:t>Основные средства»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2F0C2A7-57FF-3628-9D82-A4FE4F368DD8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489700" y="137155"/>
              <a:ext cx="246606" cy="357334"/>
            </a:xfrm>
            <a:prstGeom prst="rect">
              <a:avLst/>
            </a:prstGeom>
            <a:solidFill>
              <a:srgbClr val="FFE6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6625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4407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B55298-8D55-8ACD-7343-713E468F94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E31AF06-C94C-1F3A-246C-3381755B69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2013621"/>
              </p:ext>
            </p:extLst>
          </p:nvPr>
        </p:nvGraphicFramePr>
        <p:xfrm>
          <a:off x="485747" y="1894119"/>
          <a:ext cx="11226827" cy="3989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6827">
                  <a:extLst>
                    <a:ext uri="{9D8B030D-6E8A-4147-A177-3AD203B41FA5}">
                      <a16:colId xmlns:a16="http://schemas.microsoft.com/office/drawing/2014/main" val="2685615572"/>
                    </a:ext>
                  </a:extLst>
                </a:gridCol>
              </a:tblGrid>
              <a:tr h="111046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600" b="1" kern="1200" dirty="0">
                          <a:solidFill>
                            <a:srgbClr val="FFE600"/>
                          </a:solidFill>
                          <a:latin typeface="+mn-lt"/>
                          <a:ea typeface="+mn-ea"/>
                          <a:cs typeface="+mn-cs"/>
                        </a:rPr>
                        <a:t>Изменение бизнес модели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0" dirty="0">
                          <a:solidFill>
                            <a:schemeClr val="bg1"/>
                          </a:solidFill>
                        </a:rPr>
                        <a:t>Климатические амбиции могут привести к изменению существующих и разработке новых бизнес-моделей и проектов с целью сокращения выбросов углерода</a:t>
                      </a:r>
                    </a:p>
                    <a:p>
                      <a:pPr marL="171450" indent="-171450" algn="l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Font typeface="EYInterstate Light" panose="02000506000000020004" pitchFamily="2" charset="0"/>
                        <a:buChar char="•"/>
                      </a:pPr>
                      <a:r>
                        <a:rPr lang="ru-RU" sz="1400" b="0" dirty="0">
                          <a:solidFill>
                            <a:schemeClr val="bg1"/>
                          </a:solidFill>
                        </a:rPr>
                        <a:t>Например, улавливание и хранение углерода может использовать истощенный резервуар нефти или природного газа и использовать существующую инфраструктуру, которая частично или полностью изношена</a:t>
                      </a:r>
                    </a:p>
                  </a:txBody>
                  <a:tcPr marL="914400"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471999"/>
                  </a:ext>
                </a:extLst>
              </a:tr>
              <a:tr h="130676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600" b="1" kern="1200" dirty="0">
                          <a:solidFill>
                            <a:srgbClr val="FFE600"/>
                          </a:solidFill>
                          <a:latin typeface="+mn-lt"/>
                          <a:ea typeface="+mn-ea"/>
                          <a:cs typeface="+mn-cs"/>
                        </a:rPr>
                        <a:t>Повышение затрат на разработку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Организация может понести расходы на создание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инфраструктуры, связанной с новыми технологиями 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  <a:p>
                      <a:pPr marL="171450" indent="-171450" algn="l" defTabSz="914400" rtl="0" eaLnBrk="1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Font typeface="EYInterstate Light" panose="02000506000000020004" pitchFamily="2" charset="0"/>
                        <a:buChar char="•"/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апример, переработка водорода или улавливание и хранение углерода (CCS). 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4400"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5741662"/>
                  </a:ext>
                </a:extLst>
              </a:tr>
              <a:tr h="1306768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600" b="1" kern="1200" dirty="0">
                          <a:solidFill>
                            <a:srgbClr val="FFE600"/>
                          </a:solidFill>
                          <a:latin typeface="+mn-lt"/>
                          <a:ea typeface="+mn-ea"/>
                          <a:cs typeface="+mn-cs"/>
                        </a:rPr>
                        <a:t>Повышение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600" b="1" kern="1200" dirty="0">
                          <a:solidFill>
                            <a:srgbClr val="FFE600"/>
                          </a:solidFill>
                          <a:latin typeface="+mn-lt"/>
                          <a:ea typeface="+mn-ea"/>
                          <a:cs typeface="+mn-cs"/>
                        </a:rPr>
                        <a:t>затрат на капитальный ремонт и перепроектирование</a:t>
                      </a:r>
                    </a:p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</a:rPr>
                        <a:t>В некоторых случаях может потребоваться капитальный ремонт или перепроектирование для преобразования или перепрофилирования существующего актива </a:t>
                      </a:r>
                    </a:p>
                    <a:p>
                      <a:pPr marL="171450" indent="-171450" algn="l" defTabSz="914400" rtl="0" eaLnBrk="1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Font typeface="EYInterstate Light" panose="02000506000000020004" pitchFamily="2" charset="0"/>
                        <a:buChar char="•"/>
                      </a:pPr>
                      <a:r>
                        <a:rPr lang="ru-RU" sz="14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апример, специализированные суда, используемые в сфере обслуживания морских месторождений нефти, могут быть перепрофилированы для обслуживания морских ветряных электростанций</a:t>
                      </a:r>
                    </a:p>
                  </a:txBody>
                  <a:tcPr marL="914400"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9935555"/>
                  </a:ext>
                </a:extLst>
              </a:tr>
            </a:tbl>
          </a:graphicData>
        </a:graphic>
      </p:graphicFrame>
      <p:pic>
        <p:nvPicPr>
          <p:cNvPr id="3" name="Graphic 2" descr="Workflow with solid fill">
            <a:extLst>
              <a:ext uri="{FF2B5EF4-FFF2-40B4-BE49-F238E27FC236}">
                <a16:creationId xmlns:a16="http://schemas.microsoft.com/office/drawing/2014/main" id="{D7C5F0BC-B01B-3B49-E68C-5F565B46B1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3846" y="2598821"/>
            <a:ext cx="457200" cy="457200"/>
          </a:xfrm>
          <a:prstGeom prst="rect">
            <a:avLst/>
          </a:prstGeom>
        </p:spPr>
      </p:pic>
      <p:pic>
        <p:nvPicPr>
          <p:cNvPr id="7" name="Graphic 6" descr="Money with solid fill">
            <a:extLst>
              <a:ext uri="{FF2B5EF4-FFF2-40B4-BE49-F238E27FC236}">
                <a16:creationId xmlns:a16="http://schemas.microsoft.com/office/drawing/2014/main" id="{9E6D8ADD-C284-83B6-2CD3-130550A11C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3846" y="3888623"/>
            <a:ext cx="457200" cy="457200"/>
          </a:xfrm>
          <a:prstGeom prst="rect">
            <a:avLst/>
          </a:prstGeom>
        </p:spPr>
      </p:pic>
      <p:pic>
        <p:nvPicPr>
          <p:cNvPr id="9" name="Graphic 8" descr="Architecture with solid fill">
            <a:extLst>
              <a:ext uri="{FF2B5EF4-FFF2-40B4-BE49-F238E27FC236}">
                <a16:creationId xmlns:a16="http://schemas.microsoft.com/office/drawing/2014/main" id="{A516F863-25AF-E4B8-1636-8C3DC1FB72B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3846" y="5262727"/>
            <a:ext cx="457200" cy="4572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36C4ED9-0529-0EDB-D6C1-D22E59685EA8}"/>
              </a:ext>
            </a:extLst>
          </p:cNvPr>
          <p:cNvSpPr txBox="1"/>
          <p:nvPr/>
        </p:nvSpPr>
        <p:spPr>
          <a:xfrm>
            <a:off x="600659" y="6151225"/>
            <a:ext cx="108534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</a:pPr>
            <a:r>
              <a:rPr lang="ru-RU" sz="800" dirty="0">
                <a:solidFill>
                  <a:schemeClr val="bg1"/>
                </a:solidFill>
              </a:rPr>
              <a:t>* Только при условии, если существует вероятность того, что будущие экономические выгоды, связанные с субъектом затрат, поступят в организацию, и стоимость субъекта затрат может быть надежно оценена.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FAD18DB5-826D-EBB3-AF69-1FB48FD6B3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A8E04218-AFC6-FC86-F499-CF1BE10B6E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7787C89-DB2B-BA22-F1F0-F05654276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25</a:t>
            </a:fld>
            <a:endParaRPr lang="en-US" dirty="0"/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55BA28D0-9759-51E2-439D-57AEA8E58973}"/>
              </a:ext>
            </a:extLst>
          </p:cNvPr>
          <p:cNvSpPr txBox="1">
            <a:spLocks/>
          </p:cNvSpPr>
          <p:nvPr/>
        </p:nvSpPr>
        <p:spPr>
          <a:xfrm>
            <a:off x="485747" y="916115"/>
            <a:ext cx="10972800" cy="590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394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399" b="0" kern="1200">
                <a:solidFill>
                  <a:schemeClr val="tx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ru-RU" sz="3200" b="1" dirty="0">
                <a:solidFill>
                  <a:schemeClr val="tx2"/>
                </a:solidFill>
                <a:latin typeface="EYInterstate" panose="02000503020000020004" pitchFamily="2" charset="0"/>
              </a:rPr>
              <a:t>Климатические риски могут привести к изменениям в бизнес-модели, повышению затрат на разработку и капитальный ремонт или перепроектирование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BC96CE7-20E5-0118-7D30-41615EFC606B}"/>
              </a:ext>
            </a:extLst>
          </p:cNvPr>
          <p:cNvGrpSpPr/>
          <p:nvPr/>
        </p:nvGrpSpPr>
        <p:grpSpPr>
          <a:xfrm>
            <a:off x="6489700" y="137155"/>
            <a:ext cx="5702300" cy="357335"/>
            <a:chOff x="6489700" y="137155"/>
            <a:chExt cx="5702300" cy="35733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7F17DE8-2290-EBAF-9570-E34A2330B0AF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6736306" y="137156"/>
              <a:ext cx="5455694" cy="357334"/>
            </a:xfrm>
            <a:prstGeom prst="rect">
              <a:avLst/>
            </a:prstGeom>
            <a:gradFill flip="none" rotWithShape="1">
              <a:gsLst>
                <a:gs pos="24732">
                  <a:schemeClr val="tx1">
                    <a:alpha val="37000"/>
                  </a:schemeClr>
                </a:gs>
                <a:gs pos="11510">
                  <a:srgbClr val="000000"/>
                </a:gs>
                <a:gs pos="64373">
                  <a:schemeClr val="bg1">
                    <a:alpha val="20000"/>
                  </a:schemeClr>
                </a:gs>
                <a:gs pos="52318">
                  <a:schemeClr val="bg1">
                    <a:alpha val="20000"/>
                  </a:schemeClr>
                </a:gs>
                <a:gs pos="0">
                  <a:srgbClr val="000000"/>
                </a:gs>
                <a:gs pos="74000">
                  <a:schemeClr val="bg1">
                    <a:alpha val="18000"/>
                  </a:schemeClr>
                </a:gs>
                <a:gs pos="83000">
                  <a:schemeClr val="bg1">
                    <a:alpha val="20000"/>
                  </a:schemeClr>
                </a:gs>
                <a:gs pos="74000">
                  <a:schemeClr val="bg1">
                    <a:alpha val="20000"/>
                  </a:schemeClr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</a:ln>
            <a:effectLst/>
          </p:spPr>
          <p:txBody>
            <a:bodyPr lIns="200796" tIns="37291" rIns="172110" rtlCol="0" anchor="t"/>
            <a:lstStyle/>
            <a:p>
              <a:pPr marL="141694" marR="0" lvl="0" indent="-141694" algn="just" defTabSz="69514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60"/>
                </a:spcAft>
                <a:buClr>
                  <a:srgbClr val="FFE600"/>
                </a:buClr>
                <a:buSzPct val="75000"/>
                <a:buFont typeface="Arial" charset="0"/>
                <a:buChar char="►"/>
                <a:tabLst/>
                <a:defRPr/>
              </a:pPr>
              <a:endPara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DD0808D-9482-B082-4BB7-06D0F5CF8F90}"/>
                </a:ext>
              </a:extLst>
            </p:cNvPr>
            <p:cNvSpPr txBox="1"/>
            <p:nvPr/>
          </p:nvSpPr>
          <p:spPr>
            <a:xfrm>
              <a:off x="6736306" y="161933"/>
              <a:ext cx="446332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071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r>
                <a:rPr lang="en-US" sz="1400" b="1" kern="0" noProof="1">
                  <a:solidFill>
                    <a:prstClr val="white"/>
                  </a:solidFill>
                </a:rPr>
                <a:t>IAS 16 «</a:t>
              </a:r>
              <a:r>
                <a:rPr lang="uz-Cyrl-UZ" sz="1400" b="1" kern="0" noProof="1">
                  <a:solidFill>
                    <a:prstClr val="white"/>
                  </a:solidFill>
                </a:rPr>
                <a:t>Основные средства»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8C1A46C-F404-35CC-AFEE-A03950605BC6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489700" y="137155"/>
              <a:ext cx="246606" cy="357334"/>
            </a:xfrm>
            <a:prstGeom prst="rect">
              <a:avLst/>
            </a:prstGeom>
            <a:solidFill>
              <a:srgbClr val="FFE6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6625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53255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409BED-3B2C-E9BD-A34F-78CCE43E3B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>
            <a:extLst>
              <a:ext uri="{FF2B5EF4-FFF2-40B4-BE49-F238E27FC236}">
                <a16:creationId xmlns:a16="http://schemas.microsoft.com/office/drawing/2014/main" id="{051A5AD8-8808-332E-0616-41879FF02006}"/>
              </a:ext>
            </a:extLst>
          </p:cNvPr>
          <p:cNvSpPr txBox="1">
            <a:spLocks/>
          </p:cNvSpPr>
          <p:nvPr/>
        </p:nvSpPr>
        <p:spPr>
          <a:xfrm>
            <a:off x="485747" y="689976"/>
            <a:ext cx="10972800" cy="590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394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399" b="0" kern="1200">
                <a:solidFill>
                  <a:schemeClr val="tx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ru-RU" sz="2400" b="1" dirty="0">
                <a:solidFill>
                  <a:schemeClr val="tx2"/>
                </a:solidFill>
                <a:latin typeface="EYInterstate" panose="02000503020000020004" pitchFamily="2" charset="0"/>
              </a:rPr>
              <a:t>Примеры раскрытия влияния климатических рисков на срок полезного использования и остаточную стоимость основных средств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66B88711-2064-80D6-9CAF-BF43358D40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38277C3-77B0-E7EA-CA52-24F76DB2B8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6F31AF5-EF87-E995-DA93-F55558EA2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26</a:t>
            </a:fld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D6AA5B-24DE-7040-3116-6E8E3123C681}"/>
              </a:ext>
            </a:extLst>
          </p:cNvPr>
          <p:cNvGrpSpPr/>
          <p:nvPr/>
        </p:nvGrpSpPr>
        <p:grpSpPr>
          <a:xfrm>
            <a:off x="6489700" y="137155"/>
            <a:ext cx="5702300" cy="357335"/>
            <a:chOff x="6489700" y="137155"/>
            <a:chExt cx="5702300" cy="35733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67227E7-6176-137B-A680-39AE02DFF519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6736306" y="137156"/>
              <a:ext cx="5455694" cy="357334"/>
            </a:xfrm>
            <a:prstGeom prst="rect">
              <a:avLst/>
            </a:prstGeom>
            <a:gradFill flip="none" rotWithShape="1">
              <a:gsLst>
                <a:gs pos="24732">
                  <a:schemeClr val="tx1">
                    <a:alpha val="37000"/>
                  </a:schemeClr>
                </a:gs>
                <a:gs pos="11510">
                  <a:srgbClr val="000000"/>
                </a:gs>
                <a:gs pos="64373">
                  <a:schemeClr val="bg1">
                    <a:alpha val="20000"/>
                  </a:schemeClr>
                </a:gs>
                <a:gs pos="52318">
                  <a:schemeClr val="bg1">
                    <a:alpha val="20000"/>
                  </a:schemeClr>
                </a:gs>
                <a:gs pos="0">
                  <a:srgbClr val="000000"/>
                </a:gs>
                <a:gs pos="74000">
                  <a:schemeClr val="bg1">
                    <a:alpha val="18000"/>
                  </a:schemeClr>
                </a:gs>
                <a:gs pos="83000">
                  <a:schemeClr val="bg1">
                    <a:alpha val="20000"/>
                  </a:schemeClr>
                </a:gs>
                <a:gs pos="74000">
                  <a:schemeClr val="bg1">
                    <a:alpha val="20000"/>
                  </a:schemeClr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</a:ln>
            <a:effectLst/>
          </p:spPr>
          <p:txBody>
            <a:bodyPr lIns="200796" tIns="37291" rIns="172110" rtlCol="0" anchor="t"/>
            <a:lstStyle/>
            <a:p>
              <a:pPr marL="141694" marR="0" lvl="0" indent="-141694" algn="just" defTabSz="69514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60"/>
                </a:spcAft>
                <a:buClr>
                  <a:srgbClr val="FFE600"/>
                </a:buClr>
                <a:buSzPct val="75000"/>
                <a:buFont typeface="Arial" charset="0"/>
                <a:buChar char="►"/>
                <a:tabLst/>
                <a:defRPr/>
              </a:pPr>
              <a:endPara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6E234DA-A088-DCC8-DE78-B9CB752F7694}"/>
                </a:ext>
              </a:extLst>
            </p:cNvPr>
            <p:cNvSpPr txBox="1"/>
            <p:nvPr/>
          </p:nvSpPr>
          <p:spPr>
            <a:xfrm>
              <a:off x="6736306" y="161933"/>
              <a:ext cx="446332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071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r>
                <a:rPr lang="en-US" sz="1400" b="1" kern="0" noProof="1">
                  <a:solidFill>
                    <a:prstClr val="white"/>
                  </a:solidFill>
                </a:rPr>
                <a:t>IAS 16 «</a:t>
              </a:r>
              <a:r>
                <a:rPr lang="uz-Cyrl-UZ" sz="1400" b="1" kern="0" noProof="1">
                  <a:solidFill>
                    <a:prstClr val="white"/>
                  </a:solidFill>
                </a:rPr>
                <a:t>Основные средства»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CE6AE0B-12FE-2CE6-6DEE-C62B13D02CFC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489700" y="137155"/>
              <a:ext cx="246606" cy="357334"/>
            </a:xfrm>
            <a:prstGeom prst="rect">
              <a:avLst/>
            </a:prstGeom>
            <a:solidFill>
              <a:srgbClr val="FFE6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6625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818CAF2-0F90-04CF-269D-E666AD70101F}"/>
              </a:ext>
            </a:extLst>
          </p:cNvPr>
          <p:cNvSpPr txBox="1"/>
          <p:nvPr/>
        </p:nvSpPr>
        <p:spPr>
          <a:xfrm>
            <a:off x="6605933" y="1515601"/>
            <a:ext cx="5586067" cy="3046988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r>
              <a:rPr lang="en-US" sz="1200" dirty="0"/>
              <a:t>В своей годовой финансовой отчетности за 2024 год</a:t>
            </a:r>
            <a:r>
              <a:rPr lang="ru-RU" sz="1200" dirty="0"/>
              <a:t> </a:t>
            </a:r>
            <a:r>
              <a:rPr lang="en-US" sz="1200" dirty="0"/>
              <a:t>компани</a:t>
            </a:r>
            <a:r>
              <a:rPr lang="ru-RU" sz="1200" dirty="0"/>
              <a:t>я</a:t>
            </a:r>
            <a:r>
              <a:rPr lang="en-US" sz="1200" dirty="0"/>
              <a:t> Moller-Maersk</a:t>
            </a:r>
            <a:r>
              <a:rPr lang="ru-RU" sz="1200" dirty="0"/>
              <a:t>, специализирующаяся на морских грузовых перевозках и обслуживании портовых терминалов</a:t>
            </a:r>
            <a:r>
              <a:rPr lang="en-US" sz="1200" dirty="0"/>
              <a:t> </a:t>
            </a:r>
            <a:r>
              <a:rPr lang="ru-RU" sz="1200" dirty="0"/>
              <a:t>отмечает, что при оценке срока полезного использования основных средств учитываются климатические риски, обусловленные климатическим законодательством, ограничивающим использование определенных активов и требованиями о применении новых технологий и повышением затрат на восстановление территории портовых терминалов.</a:t>
            </a:r>
          </a:p>
          <a:p>
            <a:endParaRPr lang="en-US" sz="1200" dirty="0"/>
          </a:p>
          <a:p>
            <a:r>
              <a:rPr lang="ru-RU" sz="1200" dirty="0"/>
              <a:t>При оценке остаточной стоимости судов отмечается неопределенность будущих экономических условий, рынок судов на ископаемом топливе и неопределенность будущих цен на сталь, которая считается основным фактором, определяющим остаточную стоимость. Кроме того, ускоренные темпы проектирования и создания судов с более низким углеродным следом может вызвать снижение спроса на бывшие в употреблении суда на ископаемом топливе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A03EDE2-B4A7-52AF-12F9-C6DE41C001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3927" y="1515601"/>
            <a:ext cx="5858774" cy="2678808"/>
          </a:xfrm>
          <a:prstGeom prst="rect">
            <a:avLst/>
          </a:prstGeom>
        </p:spPr>
      </p:pic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B744E094-E7D0-60F2-DAA1-106EA7E13056}"/>
              </a:ext>
            </a:extLst>
          </p:cNvPr>
          <p:cNvSpPr txBox="1">
            <a:spLocks/>
          </p:cNvSpPr>
          <p:nvPr/>
        </p:nvSpPr>
        <p:spPr>
          <a:xfrm>
            <a:off x="503927" y="4194409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i="1" dirty="0"/>
              <a:t>Годовой отчет </a:t>
            </a:r>
            <a:r>
              <a:rPr lang="en-US" i="1" dirty="0"/>
              <a:t>Moller-Maersk </a:t>
            </a:r>
            <a:r>
              <a:rPr lang="ru-RU" i="1" dirty="0"/>
              <a:t>за 202</a:t>
            </a:r>
            <a:r>
              <a:rPr lang="en-US" i="1" dirty="0"/>
              <a:t>4</a:t>
            </a:r>
            <a:r>
              <a:rPr lang="ru-RU" i="1" dirty="0"/>
              <a:t> год</a:t>
            </a:r>
          </a:p>
        </p:txBody>
      </p:sp>
    </p:spTree>
    <p:extLst>
      <p:ext uri="{BB962C8B-B14F-4D97-AF65-F5344CB8AC3E}">
        <p14:creationId xmlns:p14="http://schemas.microsoft.com/office/powerpoint/2010/main" val="34728916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314FA5-41E8-958F-908C-98398A8133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>
            <a:extLst>
              <a:ext uri="{FF2B5EF4-FFF2-40B4-BE49-F238E27FC236}">
                <a16:creationId xmlns:a16="http://schemas.microsoft.com/office/drawing/2014/main" id="{98AC2B4B-BFC3-29B4-3367-67D4CA35C41D}"/>
              </a:ext>
            </a:extLst>
          </p:cNvPr>
          <p:cNvSpPr txBox="1">
            <a:spLocks/>
          </p:cNvSpPr>
          <p:nvPr/>
        </p:nvSpPr>
        <p:spPr>
          <a:xfrm>
            <a:off x="410785" y="469710"/>
            <a:ext cx="11706253" cy="590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394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399" b="0" kern="1200">
                <a:solidFill>
                  <a:schemeClr val="tx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ru-RU" sz="2800" b="1" dirty="0">
                <a:solidFill>
                  <a:schemeClr val="tx2"/>
                </a:solidFill>
                <a:latin typeface="EYInterstate" panose="02000503020000020004" pitchFamily="2" charset="0"/>
              </a:rPr>
              <a:t>Изменение климата может привести к обесценению активов</a:t>
            </a:r>
            <a:endParaRPr lang="uz-Cyrl-UZ" sz="2000" b="1">
              <a:solidFill>
                <a:schemeClr val="bg1"/>
              </a:solidFill>
              <a:latin typeface="EYInterstate" panose="02000503020000020004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576841-BFB3-C114-C9FA-3CCCBA14F0B5}"/>
              </a:ext>
            </a:extLst>
          </p:cNvPr>
          <p:cNvSpPr txBox="1"/>
          <p:nvPr/>
        </p:nvSpPr>
        <p:spPr>
          <a:xfrm>
            <a:off x="600659" y="6151225"/>
            <a:ext cx="1085340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</a:pPr>
            <a:r>
              <a:rPr lang="ru-RU" sz="800" dirty="0">
                <a:solidFill>
                  <a:schemeClr val="bg1"/>
                </a:solidFill>
              </a:rPr>
              <a:t>* </a:t>
            </a:r>
            <a:r>
              <a:rPr lang="en-US" sz="800" dirty="0">
                <a:solidFill>
                  <a:schemeClr val="bg1"/>
                </a:solidFill>
              </a:rPr>
              <a:t>CGU – cash generating unit </a:t>
            </a:r>
            <a:r>
              <a:rPr lang="ru-RU" sz="800" dirty="0">
                <a:solidFill>
                  <a:schemeClr val="bg1"/>
                </a:solidFill>
              </a:rPr>
              <a:t>или генерирующая единица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CC9E2634-8EBC-42AC-17A7-25DA6F2FC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5A1391A-A20C-DC2C-A586-C22F1A0C1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A7EEC48-00E0-542F-F33F-384E003AF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27</a:t>
            </a:fld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8F8084B-C527-3A83-AFDC-F54D490F00EA}"/>
              </a:ext>
            </a:extLst>
          </p:cNvPr>
          <p:cNvGrpSpPr/>
          <p:nvPr/>
        </p:nvGrpSpPr>
        <p:grpSpPr>
          <a:xfrm>
            <a:off x="6489700" y="137155"/>
            <a:ext cx="5702300" cy="357335"/>
            <a:chOff x="6489700" y="137155"/>
            <a:chExt cx="5702300" cy="35733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2ACB910-40DF-1CC6-089E-59ADB705D8D1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6736306" y="137156"/>
              <a:ext cx="5455694" cy="357334"/>
            </a:xfrm>
            <a:prstGeom prst="rect">
              <a:avLst/>
            </a:prstGeom>
            <a:gradFill flip="none" rotWithShape="1">
              <a:gsLst>
                <a:gs pos="24732">
                  <a:schemeClr val="tx1">
                    <a:alpha val="37000"/>
                  </a:schemeClr>
                </a:gs>
                <a:gs pos="11510">
                  <a:srgbClr val="000000"/>
                </a:gs>
                <a:gs pos="64373">
                  <a:schemeClr val="bg1">
                    <a:alpha val="20000"/>
                  </a:schemeClr>
                </a:gs>
                <a:gs pos="52318">
                  <a:schemeClr val="bg1">
                    <a:alpha val="20000"/>
                  </a:schemeClr>
                </a:gs>
                <a:gs pos="0">
                  <a:srgbClr val="000000"/>
                </a:gs>
                <a:gs pos="74000">
                  <a:schemeClr val="bg1">
                    <a:alpha val="18000"/>
                  </a:schemeClr>
                </a:gs>
                <a:gs pos="83000">
                  <a:schemeClr val="bg1">
                    <a:alpha val="20000"/>
                  </a:schemeClr>
                </a:gs>
                <a:gs pos="74000">
                  <a:schemeClr val="bg1">
                    <a:alpha val="20000"/>
                  </a:schemeClr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</a:ln>
            <a:effectLst/>
          </p:spPr>
          <p:txBody>
            <a:bodyPr lIns="200796" tIns="37291" rIns="172110" rtlCol="0" anchor="t"/>
            <a:lstStyle/>
            <a:p>
              <a:pPr marL="141694" marR="0" lvl="0" indent="-141694" algn="just" defTabSz="69514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60"/>
                </a:spcAft>
                <a:buClr>
                  <a:srgbClr val="FFE600"/>
                </a:buClr>
                <a:buSzPct val="75000"/>
                <a:buFont typeface="Arial" charset="0"/>
                <a:buChar char="►"/>
                <a:tabLst/>
                <a:defRPr/>
              </a:pPr>
              <a:endPara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DF4DADC-7CF4-BCA5-9858-F97E030F82C1}"/>
                </a:ext>
              </a:extLst>
            </p:cNvPr>
            <p:cNvSpPr txBox="1"/>
            <p:nvPr/>
          </p:nvSpPr>
          <p:spPr>
            <a:xfrm>
              <a:off x="6736306" y="161933"/>
              <a:ext cx="446332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071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r>
                <a:rPr lang="ru-RU" sz="1400" b="1" kern="0" noProof="1">
                  <a:solidFill>
                    <a:prstClr val="white"/>
                  </a:solidFill>
                </a:rPr>
                <a:t>IAS 3</a:t>
              </a:r>
              <a:r>
                <a:rPr lang="en-US" sz="1400" b="1" kern="0" noProof="1">
                  <a:solidFill>
                    <a:prstClr val="white"/>
                  </a:solidFill>
                </a:rPr>
                <a:t>6</a:t>
              </a:r>
              <a:r>
                <a:rPr lang="ru-RU" sz="1400" b="1" kern="0" noProof="1">
                  <a:solidFill>
                    <a:prstClr val="white"/>
                  </a:solidFill>
                </a:rPr>
                <a:t>  «Обесценение активов»</a:t>
              </a:r>
              <a:endParaRPr lang="uz-Cyrl-UZ" sz="1400" b="1" kern="0" noProof="1">
                <a:solidFill>
                  <a:prstClr val="white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8A0AB95-A621-3FE6-028F-1A0B236282E7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489700" y="137155"/>
              <a:ext cx="246606" cy="357334"/>
            </a:xfrm>
            <a:prstGeom prst="rect">
              <a:avLst/>
            </a:prstGeom>
            <a:solidFill>
              <a:srgbClr val="FFE6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6625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160522C4-5D86-28E5-13EC-FD26354E55BA}"/>
              </a:ext>
            </a:extLst>
          </p:cNvPr>
          <p:cNvSpPr/>
          <p:nvPr/>
        </p:nvSpPr>
        <p:spPr>
          <a:xfrm>
            <a:off x="930466" y="1502993"/>
            <a:ext cx="3055267" cy="4349599"/>
          </a:xfrm>
          <a:prstGeom prst="rect">
            <a:avLst/>
          </a:prstGeom>
          <a:noFill/>
          <a:ln w="12700" cap="flat" cmpd="sng" algn="ctr">
            <a:solidFill>
              <a:srgbClr val="FFE6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99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8" name="Text Box 12">
            <a:extLst>
              <a:ext uri="{FF2B5EF4-FFF2-40B4-BE49-F238E27FC236}">
                <a16:creationId xmlns:a16="http://schemas.microsoft.com/office/drawing/2014/main" id="{06406921-281B-11C7-EDCE-8EC9E0A3C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8858" y="1625021"/>
            <a:ext cx="2924557" cy="657551"/>
          </a:xfrm>
          <a:prstGeom prst="rect">
            <a:avLst/>
          </a:prstGeom>
          <a:solidFill>
            <a:srgbClr val="FFE60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square" lIns="91392" tIns="0" rIns="0" bIns="0" anchor="ctr">
            <a:noAutofit/>
          </a:bodyPr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199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rPr>
              <a:t>Обязательства государства по достижению нулевого уровня выбросов парниковых газов</a:t>
            </a:r>
          </a:p>
        </p:txBody>
      </p:sp>
      <p:sp>
        <p:nvSpPr>
          <p:cNvPr id="19" name="Text Box 12">
            <a:extLst>
              <a:ext uri="{FF2B5EF4-FFF2-40B4-BE49-F238E27FC236}">
                <a16:creationId xmlns:a16="http://schemas.microsoft.com/office/drawing/2014/main" id="{C2747D89-6F74-74A9-F475-22DBD68526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5812" y="2431274"/>
            <a:ext cx="2824578" cy="308931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marL="215892" marR="0" lvl="0" indent="-215892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anose="020B0604020202020204" pitchFamily="34" charset="0"/>
              <a:buChar char="►"/>
              <a:tabLst/>
              <a:defRPr/>
            </a:pP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Значительное и </a:t>
            </a: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неожиданно быстрое снижение стоимости активов</a:t>
            </a: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из-за штрафов за использование активов сверх определенных целевых показателей выбросов</a:t>
            </a:r>
          </a:p>
          <a:p>
            <a:pPr marL="215892" marR="0" lvl="0" indent="-215892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anose="020B0604020202020204" pitchFamily="34" charset="0"/>
              <a:buChar char="►"/>
              <a:tabLst/>
              <a:defRPr/>
            </a:pP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Правила, ограничивающие определенные методы производства, могут означать </a:t>
            </a: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необходимость инвестиций или отказ от производства</a:t>
            </a:r>
            <a:endParaRPr kumimoji="0" lang="ru-RU" sz="1199" b="0" i="0" u="none" strike="noStrike" kern="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</a:endParaRPr>
          </a:p>
          <a:p>
            <a:pPr marL="215892" marR="0" lvl="0" indent="-215892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anose="020B0604020202020204" pitchFamily="34" charset="0"/>
              <a:buChar char="►"/>
              <a:tabLst/>
              <a:defRPr/>
            </a:pP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Значительное неблагоприятное изменение технологии, используемой предприятием, требующее </a:t>
            </a: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значительных инвестиций в технологию</a:t>
            </a: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для адаптации к изменениям на рынке</a:t>
            </a:r>
          </a:p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Tx/>
              <a:buNone/>
              <a:tabLst/>
              <a:defRPr/>
            </a:pPr>
            <a:endParaRPr kumimoji="0" lang="en-US" sz="11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73BC5EA-1FDF-37BC-9FC4-E535992D6DB5}"/>
              </a:ext>
            </a:extLst>
          </p:cNvPr>
          <p:cNvSpPr/>
          <p:nvPr/>
        </p:nvSpPr>
        <p:spPr>
          <a:xfrm>
            <a:off x="4634139" y="1502992"/>
            <a:ext cx="3055267" cy="4349600"/>
          </a:xfrm>
          <a:prstGeom prst="rect">
            <a:avLst/>
          </a:prstGeom>
          <a:noFill/>
          <a:ln w="12700" cap="flat" cmpd="sng" algn="ctr">
            <a:solidFill>
              <a:srgbClr val="FFE6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99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" name="Text Box 12">
            <a:extLst>
              <a:ext uri="{FF2B5EF4-FFF2-40B4-BE49-F238E27FC236}">
                <a16:creationId xmlns:a16="http://schemas.microsoft.com/office/drawing/2014/main" id="{7AF44006-0145-C69D-4AA7-0F58AE8461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92531" y="1625020"/>
            <a:ext cx="2924557" cy="648279"/>
          </a:xfrm>
          <a:prstGeom prst="rect">
            <a:avLst/>
          </a:prstGeom>
          <a:solidFill>
            <a:srgbClr val="FFE60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square" lIns="91392" tIns="0" rIns="0" bIns="0" anchor="ctr">
            <a:noAutofit/>
          </a:bodyPr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199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rPr>
              <a:t>Инвесторы, страховщики, поставщики, кредиторы учитывают риски УР и климата</a:t>
            </a:r>
          </a:p>
        </p:txBody>
      </p:sp>
      <p:sp>
        <p:nvSpPr>
          <p:cNvPr id="22" name="Text Box 12">
            <a:extLst>
              <a:ext uri="{FF2B5EF4-FFF2-40B4-BE49-F238E27FC236}">
                <a16:creationId xmlns:a16="http://schemas.microsoft.com/office/drawing/2014/main" id="{E922815B-86CB-BEDB-C638-49AD8738B3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49483" y="2431274"/>
            <a:ext cx="2824578" cy="308931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marL="215892" marR="0" lvl="0" indent="-215892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anose="020B0604020202020204" pitchFamily="34" charset="0"/>
              <a:buChar char="►"/>
              <a:tabLst/>
              <a:defRPr/>
            </a:pP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Повышенные затраты на техническое обслуживание </a:t>
            </a: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из-за физического воздействия экстремальных погодных явлений</a:t>
            </a:r>
          </a:p>
          <a:p>
            <a:pPr marL="215892" marR="0" lvl="0" indent="-215892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anose="020B0604020202020204" pitchFamily="34" charset="0"/>
              <a:buChar char="►"/>
              <a:tabLst/>
              <a:defRPr/>
            </a:pP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Более высокие ставки дисконтирования </a:t>
            </a: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из-за </a:t>
            </a: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повышения рыночных процентных ставок </a:t>
            </a: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или инвесторы требуют </a:t>
            </a: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более высокой нормы прибыли</a:t>
            </a: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, чтобы компенсировать повышенный риск, которому они подвергаются при инвестировании</a:t>
            </a:r>
          </a:p>
          <a:p>
            <a:pPr marL="215892" marR="0" lvl="0" indent="-215892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anose="020B0604020202020204" pitchFamily="34" charset="0"/>
              <a:buChar char="►"/>
              <a:tabLst/>
              <a:defRPr/>
            </a:pP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Снижение цены акций организации</a:t>
            </a: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, что может привести к падению ее рыночной капитализации ниже балансовой стоимости чистых активов.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F159CBE-5784-0BB2-E383-02F0BE9C92FD}"/>
              </a:ext>
            </a:extLst>
          </p:cNvPr>
          <p:cNvSpPr/>
          <p:nvPr/>
        </p:nvSpPr>
        <p:spPr>
          <a:xfrm>
            <a:off x="8337812" y="1502993"/>
            <a:ext cx="3055267" cy="4349599"/>
          </a:xfrm>
          <a:prstGeom prst="rect">
            <a:avLst/>
          </a:prstGeom>
          <a:noFill/>
          <a:ln w="12700" cap="flat" cmpd="sng" algn="ctr">
            <a:solidFill>
              <a:srgbClr val="FFE6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99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4" name="Text Box 12">
            <a:extLst>
              <a:ext uri="{FF2B5EF4-FFF2-40B4-BE49-F238E27FC236}">
                <a16:creationId xmlns:a16="http://schemas.microsoft.com/office/drawing/2014/main" id="{F0267AA1-00A8-D5F0-9EE0-205485FCC3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96204" y="1625021"/>
            <a:ext cx="2924557" cy="657551"/>
          </a:xfrm>
          <a:prstGeom prst="rect">
            <a:avLst/>
          </a:prstGeom>
          <a:solidFill>
            <a:srgbClr val="FFE600"/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square" lIns="91392" tIns="0" rIns="0" bIns="0" anchor="ctr">
            <a:noAutofit/>
          </a:bodyPr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199" b="1" i="0" u="none" strike="noStrike" kern="0" cap="none" spc="0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</a:rPr>
              <a:t>Обязательства организации по сокращению углеродного и экологического следа</a:t>
            </a:r>
          </a:p>
        </p:txBody>
      </p:sp>
      <p:sp>
        <p:nvSpPr>
          <p:cNvPr id="25" name="Text Box 12">
            <a:extLst>
              <a:ext uri="{FF2B5EF4-FFF2-40B4-BE49-F238E27FC236}">
                <a16:creationId xmlns:a16="http://schemas.microsoft.com/office/drawing/2014/main" id="{DA3D0732-C2A6-AAB5-BD24-09F6FAB44A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27035" y="2431274"/>
            <a:ext cx="2824578" cy="308931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marL="215892" marR="0" lvl="0" indent="-215892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anose="020B0604020202020204" pitchFamily="34" charset="0"/>
              <a:buChar char="►"/>
              <a:tabLst/>
              <a:defRPr/>
            </a:pP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Активы, несовместимые со стратегией декарбонизации, устаревают </a:t>
            </a:r>
          </a:p>
          <a:p>
            <a:pPr marL="215892" marR="0" lvl="0" indent="-215892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anose="020B0604020202020204" pitchFamily="34" charset="0"/>
              <a:buChar char="►"/>
              <a:tabLst/>
              <a:defRPr/>
            </a:pP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Снижение коэффициента использования </a:t>
            </a: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актива для снижения углеродного следа организации или поэтапного вывода из эксплуатации активов с высоким энергопотреблением</a:t>
            </a:r>
          </a:p>
          <a:p>
            <a:pPr marL="215892" marR="0" lvl="0" indent="-215892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anose="020B0604020202020204" pitchFamily="34" charset="0"/>
              <a:buChar char="►"/>
              <a:tabLst/>
              <a:defRPr/>
            </a:pP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Более высокие эксплуатационные расходы </a:t>
            </a:r>
            <a:r>
              <a:rPr kumimoji="0" lang="ru" sz="1199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из-за необходимости компенсации выбросов CO2 или инвестиций в снижение потребления энергии и/или воды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D500F54-BAC0-34DB-9C11-1FFBE77C176F}"/>
              </a:ext>
            </a:extLst>
          </p:cNvPr>
          <p:cNvSpPr txBox="1"/>
          <p:nvPr/>
        </p:nvSpPr>
        <p:spPr>
          <a:xfrm>
            <a:off x="565073" y="1145889"/>
            <a:ext cx="11017327" cy="3383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071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FFE600"/>
              </a:buClr>
              <a:buSzPct val="80000"/>
              <a:buFontTx/>
              <a:buNone/>
              <a:tabLst/>
              <a:defRPr/>
            </a:pPr>
            <a:r>
              <a:rPr kumimoji="0" lang="ru" sz="1599" b="0" i="0" u="none" strike="noStrike" kern="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Признаки обесценения, связанные с климатом, можно разделить на три группы:</a:t>
            </a:r>
          </a:p>
        </p:txBody>
      </p:sp>
    </p:spTree>
    <p:extLst>
      <p:ext uri="{BB962C8B-B14F-4D97-AF65-F5344CB8AC3E}">
        <p14:creationId xmlns:p14="http://schemas.microsoft.com/office/powerpoint/2010/main" val="34289827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BF6ED0-C17C-DEAD-2FEB-3F9C1E5B38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>
            <a:extLst>
              <a:ext uri="{FF2B5EF4-FFF2-40B4-BE49-F238E27FC236}">
                <a16:creationId xmlns:a16="http://schemas.microsoft.com/office/drawing/2014/main" id="{37040363-8717-2FB3-E852-0A9450785F35}"/>
              </a:ext>
            </a:extLst>
          </p:cNvPr>
          <p:cNvSpPr txBox="1">
            <a:spLocks/>
          </p:cNvSpPr>
          <p:nvPr/>
        </p:nvSpPr>
        <p:spPr>
          <a:xfrm>
            <a:off x="485747" y="648974"/>
            <a:ext cx="11096653" cy="590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394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399" b="0" kern="1200">
                <a:solidFill>
                  <a:schemeClr val="tx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ru-RU" sz="2800" b="1" dirty="0">
                <a:solidFill>
                  <a:schemeClr val="tx2"/>
                </a:solidFill>
                <a:latin typeface="EYInterstate" panose="02000503020000020004" pitchFamily="2" charset="0"/>
              </a:rPr>
              <a:t>Примеры раскрытия влияния климатических рисков на обесценение активов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AE330FE-17A3-850C-CB1B-F09B62A01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DCFA052-CB50-6204-945D-3BC57C77BF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9038836-72A9-D920-4AD2-86499868F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28</a:t>
            </a:fld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B317B8D-BC1F-925B-A297-C68701502017}"/>
              </a:ext>
            </a:extLst>
          </p:cNvPr>
          <p:cNvGrpSpPr/>
          <p:nvPr/>
        </p:nvGrpSpPr>
        <p:grpSpPr>
          <a:xfrm>
            <a:off x="6489700" y="137155"/>
            <a:ext cx="5702300" cy="357335"/>
            <a:chOff x="6489700" y="137155"/>
            <a:chExt cx="5702300" cy="3573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BA74E7A-C3B1-721B-FF6A-FEE6AF428117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6736306" y="137156"/>
              <a:ext cx="5455694" cy="357334"/>
            </a:xfrm>
            <a:prstGeom prst="rect">
              <a:avLst/>
            </a:prstGeom>
            <a:gradFill flip="none" rotWithShape="1">
              <a:gsLst>
                <a:gs pos="24732">
                  <a:schemeClr val="tx1">
                    <a:alpha val="37000"/>
                  </a:schemeClr>
                </a:gs>
                <a:gs pos="11510">
                  <a:srgbClr val="000000"/>
                </a:gs>
                <a:gs pos="64373">
                  <a:schemeClr val="bg1">
                    <a:alpha val="20000"/>
                  </a:schemeClr>
                </a:gs>
                <a:gs pos="52318">
                  <a:schemeClr val="bg1">
                    <a:alpha val="20000"/>
                  </a:schemeClr>
                </a:gs>
                <a:gs pos="0">
                  <a:srgbClr val="000000"/>
                </a:gs>
                <a:gs pos="74000">
                  <a:schemeClr val="bg1">
                    <a:alpha val="18000"/>
                  </a:schemeClr>
                </a:gs>
                <a:gs pos="83000">
                  <a:schemeClr val="bg1">
                    <a:alpha val="20000"/>
                  </a:schemeClr>
                </a:gs>
                <a:gs pos="74000">
                  <a:schemeClr val="bg1">
                    <a:alpha val="20000"/>
                  </a:schemeClr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</a:ln>
            <a:effectLst/>
          </p:spPr>
          <p:txBody>
            <a:bodyPr lIns="200796" tIns="37291" rIns="172110" rtlCol="0" anchor="t"/>
            <a:lstStyle/>
            <a:p>
              <a:pPr marL="141694" marR="0" lvl="0" indent="-141694" algn="just" defTabSz="69514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60"/>
                </a:spcAft>
                <a:buClr>
                  <a:srgbClr val="FFE600"/>
                </a:buClr>
                <a:buSzPct val="75000"/>
                <a:buFont typeface="Arial" charset="0"/>
                <a:buChar char="►"/>
                <a:tabLst/>
                <a:defRPr/>
              </a:pPr>
              <a:endPara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46B898A-4D9E-4187-5CF8-DDE9E11CA31D}"/>
                </a:ext>
              </a:extLst>
            </p:cNvPr>
            <p:cNvSpPr txBox="1"/>
            <p:nvPr/>
          </p:nvSpPr>
          <p:spPr>
            <a:xfrm>
              <a:off x="6736306" y="161933"/>
              <a:ext cx="446332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071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r>
                <a:rPr lang="ru-RU" sz="1400" b="1" kern="0" noProof="1">
                  <a:solidFill>
                    <a:prstClr val="white"/>
                  </a:solidFill>
                </a:rPr>
                <a:t>IAS 3</a:t>
              </a:r>
              <a:r>
                <a:rPr lang="en-US" sz="1400" b="1" kern="0" noProof="1">
                  <a:solidFill>
                    <a:prstClr val="white"/>
                  </a:solidFill>
                </a:rPr>
                <a:t>6</a:t>
              </a:r>
              <a:r>
                <a:rPr lang="ru-RU" sz="1400" b="1" kern="0" noProof="1">
                  <a:solidFill>
                    <a:prstClr val="white"/>
                  </a:solidFill>
                </a:rPr>
                <a:t>  «Обесценение активов»</a:t>
              </a:r>
              <a:endParaRPr lang="uz-Cyrl-UZ" sz="1400" b="1" kern="0" noProof="1">
                <a:solidFill>
                  <a:prstClr val="white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9EFF63C-10D8-5017-8E6A-8DE0E2C678EC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489700" y="137155"/>
              <a:ext cx="246606" cy="357334"/>
            </a:xfrm>
            <a:prstGeom prst="rect">
              <a:avLst/>
            </a:prstGeom>
            <a:solidFill>
              <a:srgbClr val="FFE6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6625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50000"/>
                </a:spcAft>
                <a:buClr>
                  <a:srgbClr val="FFE600"/>
                </a:buClr>
                <a:buSzPct val="80000"/>
                <a:buFontTx/>
                <a:buNone/>
                <a:tabLst/>
                <a:defRPr/>
              </a:pPr>
              <a:endPara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A07963DD-FA4E-6CC9-A95C-1336561387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747" y="1516694"/>
            <a:ext cx="5941911" cy="3957006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008AEA2-8507-0CD6-3458-D4D825E62DB6}"/>
              </a:ext>
            </a:extLst>
          </p:cNvPr>
          <p:cNvSpPr txBox="1"/>
          <p:nvPr/>
        </p:nvSpPr>
        <p:spPr>
          <a:xfrm>
            <a:off x="6605933" y="1515601"/>
            <a:ext cx="5586067" cy="1754326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r>
              <a:rPr lang="en-US" sz="1200" dirty="0"/>
              <a:t>В своей годовой финансовой отчетности за 2024 год</a:t>
            </a:r>
            <a:r>
              <a:rPr lang="ru-RU" sz="1200" dirty="0"/>
              <a:t> </a:t>
            </a:r>
            <a:r>
              <a:rPr lang="en-US" sz="1200" dirty="0"/>
              <a:t>компани</a:t>
            </a:r>
            <a:r>
              <a:rPr lang="ru-RU" sz="1200" dirty="0"/>
              <a:t>я по производству стали </a:t>
            </a:r>
            <a:r>
              <a:rPr lang="en-US" sz="1200" dirty="0"/>
              <a:t>ArcelorMittal SA</a:t>
            </a:r>
            <a:r>
              <a:rPr lang="ru-RU" sz="1200" dirty="0"/>
              <a:t> отмечает, что Компания учла свою подверженность определенным рискам, связанным с климатом, которые могут повлиять на ее оценки будущих денежных потоков, прогнозы, применяемые для определения возмещаемой суммы ее GCGU и CGU. С переходом на электромобили и переходом на ветровую и солнечную энергетику, Компания также видит для себя дополнительные возможности, поскольку клиенты углубляют свое понимание выбросов ПГ, связанных с производством материалов.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D0F3DCFE-DFBC-F455-8771-BC623F90CCCB}"/>
              </a:ext>
            </a:extLst>
          </p:cNvPr>
          <p:cNvSpPr txBox="1">
            <a:spLocks/>
          </p:cNvSpPr>
          <p:nvPr/>
        </p:nvSpPr>
        <p:spPr>
          <a:xfrm>
            <a:off x="503927" y="5477109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i="1" dirty="0"/>
              <a:t>Годовой отчет </a:t>
            </a:r>
            <a:r>
              <a:rPr lang="en-US" i="1" dirty="0"/>
              <a:t>ArcelorMittal SA </a:t>
            </a:r>
            <a:r>
              <a:rPr lang="ru-RU" i="1" dirty="0"/>
              <a:t>за 202</a:t>
            </a:r>
            <a:r>
              <a:rPr lang="en-US" i="1" dirty="0"/>
              <a:t>4</a:t>
            </a:r>
            <a:r>
              <a:rPr lang="ru-RU" i="1" dirty="0"/>
              <a:t> год</a:t>
            </a:r>
          </a:p>
        </p:txBody>
      </p:sp>
    </p:spTree>
    <p:extLst>
      <p:ext uri="{BB962C8B-B14F-4D97-AF65-F5344CB8AC3E}">
        <p14:creationId xmlns:p14="http://schemas.microsoft.com/office/powerpoint/2010/main" val="12423185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A6B80D-F752-A9FF-FBD4-21F047674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/>
              <a:t>МСФО </a:t>
            </a:r>
            <a:r>
              <a:rPr lang="en-US" sz="3200" dirty="0"/>
              <a:t>S2 </a:t>
            </a:r>
            <a:r>
              <a:rPr lang="ru-RU" sz="3200" dirty="0"/>
              <a:t>тесно связан с традиционными стандартами финансовой отчетности МСФО</a:t>
            </a:r>
            <a:endParaRPr lang="en-US" sz="32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427507-1D88-49EA-F11C-CA67B98A4D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2EFC1C4-DA37-DFEF-682F-2936748B4D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6371F1-2FC7-4F9C-0674-E993ABD12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29</a:t>
            </a:fld>
            <a:endParaRPr lang="en-US" dirty="0"/>
          </a:p>
        </p:txBody>
      </p:sp>
      <p:sp>
        <p:nvSpPr>
          <p:cNvPr id="16" name="Abgerundetes Rechteck 24">
            <a:extLst>
              <a:ext uri="{FF2B5EF4-FFF2-40B4-BE49-F238E27FC236}">
                <a16:creationId xmlns:a16="http://schemas.microsoft.com/office/drawing/2014/main" id="{9977EDF7-AF92-46A6-6BC4-09F4D9810300}"/>
              </a:ext>
            </a:extLst>
          </p:cNvPr>
          <p:cNvSpPr/>
          <p:nvPr/>
        </p:nvSpPr>
        <p:spPr bwMode="gray">
          <a:xfrm>
            <a:off x="1129890" y="1429308"/>
            <a:ext cx="10118483" cy="1280160"/>
          </a:xfrm>
          <a:prstGeom prst="rect">
            <a:avLst/>
          </a:prstGeom>
          <a:solidFill>
            <a:srgbClr val="F0F0F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8000" tIns="72000" rIns="108000" bIns="72000" anchor="ctr"/>
          <a:lstStyle/>
          <a:p>
            <a:pPr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b="1" dirty="0">
                <a:solidFill>
                  <a:srgbClr val="646464"/>
                </a:solidFill>
                <a:latin typeface="Arial" panose="020B0604020202020204" pitchFamily="34" charset="0"/>
                <a:cs typeface="Arial" charset="0"/>
              </a:rPr>
              <a:t>Климатические риски и возможности находят отражение во многих статьях финансовой отчетности</a:t>
            </a:r>
            <a:endParaRPr lang="en-US" b="1" dirty="0">
              <a:solidFill>
                <a:srgbClr val="646464"/>
              </a:solidFill>
              <a:latin typeface="Arial" panose="020B0604020202020204" pitchFamily="34" charset="0"/>
              <a:cs typeface="Arial" charset="0"/>
            </a:endParaRPr>
          </a:p>
        </p:txBody>
      </p:sp>
      <p:sp>
        <p:nvSpPr>
          <p:cNvPr id="18" name="Abgerundetes Rechteck 24">
            <a:extLst>
              <a:ext uri="{FF2B5EF4-FFF2-40B4-BE49-F238E27FC236}">
                <a16:creationId xmlns:a16="http://schemas.microsoft.com/office/drawing/2014/main" id="{C04641CA-E031-E026-856B-BE1970B45697}"/>
              </a:ext>
            </a:extLst>
          </p:cNvPr>
          <p:cNvSpPr/>
          <p:nvPr/>
        </p:nvSpPr>
        <p:spPr bwMode="gray">
          <a:xfrm>
            <a:off x="1129890" y="4497940"/>
            <a:ext cx="10118482" cy="1280160"/>
          </a:xfrm>
          <a:prstGeom prst="rect">
            <a:avLst/>
          </a:prstGeom>
          <a:solidFill>
            <a:srgbClr val="F0F0F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8000" tIns="72000" rIns="108000" bIns="72000" anchor="ctr"/>
          <a:lstStyle/>
          <a:p>
            <a:pPr indent="-190500"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b="1" dirty="0">
                <a:solidFill>
                  <a:srgbClr val="646464"/>
                </a:solidFill>
                <a:latin typeface="Arial" panose="020B0604020202020204" pitchFamily="34" charset="0"/>
                <a:cs typeface="Arial" charset="0"/>
              </a:rPr>
              <a:t>Структура и подход к подготовке финансовой отчетности не меняется, но климатические аспекты дополняют некоторые статьи финансовой отчетности</a:t>
            </a:r>
          </a:p>
        </p:txBody>
      </p:sp>
      <p:sp>
        <p:nvSpPr>
          <p:cNvPr id="22" name="Abgerundetes Rechteck 24">
            <a:extLst>
              <a:ext uri="{FF2B5EF4-FFF2-40B4-BE49-F238E27FC236}">
                <a16:creationId xmlns:a16="http://schemas.microsoft.com/office/drawing/2014/main" id="{09823BE1-A3CC-B4E8-1817-25FA3222A8EA}"/>
              </a:ext>
            </a:extLst>
          </p:cNvPr>
          <p:cNvSpPr/>
          <p:nvPr/>
        </p:nvSpPr>
        <p:spPr bwMode="gray">
          <a:xfrm>
            <a:off x="1129889" y="2997071"/>
            <a:ext cx="10118483" cy="1280160"/>
          </a:xfrm>
          <a:prstGeom prst="rect">
            <a:avLst/>
          </a:prstGeom>
          <a:solidFill>
            <a:srgbClr val="F0F0F0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48000" tIns="72000" rIns="108000" bIns="72000" anchor="ctr"/>
          <a:lstStyle/>
          <a:p>
            <a:pPr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ru-RU" b="1" dirty="0">
                <a:solidFill>
                  <a:srgbClr val="646464"/>
                </a:solidFill>
                <a:latin typeface="Arial" panose="020B0604020202020204" pitchFamily="34" charset="0"/>
                <a:cs typeface="Arial" charset="0"/>
              </a:rPr>
              <a:t>Требуется обеспечить согласованность между нефинансовой и финансовой отчетностью</a:t>
            </a:r>
            <a:endParaRPr lang="en-US" b="1" dirty="0">
              <a:solidFill>
                <a:srgbClr val="646464"/>
              </a:solidFill>
              <a:latin typeface="Arial" panose="020B0604020202020204" pitchFamily="34" charset="0"/>
              <a:cs typeface="Arial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70D133A-0082-D152-AC9E-6E03690117C6}"/>
              </a:ext>
            </a:extLst>
          </p:cNvPr>
          <p:cNvSpPr txBox="1"/>
          <p:nvPr/>
        </p:nvSpPr>
        <p:spPr>
          <a:xfrm>
            <a:off x="509314" y="1295984"/>
            <a:ext cx="984244" cy="1805110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3800" b="1" dirty="0">
                <a:solidFill>
                  <a:srgbClr val="FFE600"/>
                </a:solidFill>
                <a:latin typeface="Arial" panose="020B0604020202020204" pitchFamily="34" charset="0"/>
              </a:rPr>
              <a:t>1</a:t>
            </a:r>
            <a:endParaRPr lang="en-IN" sz="13800" b="1" dirty="0">
              <a:solidFill>
                <a:srgbClr val="FFE600"/>
              </a:solidFill>
              <a:latin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BCA0A81-50EE-BF28-A245-8F70763B60DC}"/>
              </a:ext>
            </a:extLst>
          </p:cNvPr>
          <p:cNvSpPr txBox="1"/>
          <p:nvPr/>
        </p:nvSpPr>
        <p:spPr>
          <a:xfrm>
            <a:off x="500223" y="2854352"/>
            <a:ext cx="984244" cy="1805110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3800" b="1" dirty="0">
                <a:solidFill>
                  <a:srgbClr val="808080"/>
                </a:solidFill>
                <a:latin typeface="Arial" panose="020B0604020202020204" pitchFamily="34" charset="0"/>
              </a:rPr>
              <a:t>2</a:t>
            </a:r>
            <a:endParaRPr lang="en-IN" sz="13800" b="1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1EEFDF-5202-3F23-5AA7-CDDB82DE754F}"/>
              </a:ext>
            </a:extLst>
          </p:cNvPr>
          <p:cNvSpPr txBox="1"/>
          <p:nvPr/>
        </p:nvSpPr>
        <p:spPr>
          <a:xfrm>
            <a:off x="509314" y="4364742"/>
            <a:ext cx="984244" cy="1805110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3800" b="1" dirty="0">
                <a:solidFill>
                  <a:srgbClr val="C0C0C0"/>
                </a:solidFill>
                <a:latin typeface="Arial" panose="020B0604020202020204" pitchFamily="34" charset="0"/>
              </a:rPr>
              <a:t>3</a:t>
            </a:r>
            <a:endParaRPr lang="en-IN" sz="13800" b="1" dirty="0">
              <a:solidFill>
                <a:srgbClr val="C0C0C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58953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C9EE61B-9FC0-6A9F-B636-3B330C2C3B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грамма семинара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661C22-0FC8-DB9C-37A7-E7F7EE5F2E6F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11681C-F5DF-F773-55AC-51F14DBC4795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0940CD-5069-2C39-6645-A8198FE18CAF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F1BC30E3-FFE5-4B91-AA19-87A149EBB9E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38536EF-F436-E7D2-A5B3-F6FF7BBBB82C}"/>
              </a:ext>
            </a:extLst>
          </p:cNvPr>
          <p:cNvSpPr txBox="1"/>
          <p:nvPr/>
        </p:nvSpPr>
        <p:spPr>
          <a:xfrm>
            <a:off x="624575" y="1312760"/>
            <a:ext cx="7611058" cy="313932"/>
          </a:xfrm>
          <a:prstGeom prst="rect">
            <a:avLst/>
          </a:prstGeom>
          <a:noFill/>
        </p:spPr>
        <p:txBody>
          <a:bodyPr wrap="non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tx2"/>
                </a:solidFill>
              </a:rPr>
              <a:t>1. </a:t>
            </a:r>
            <a:r>
              <a:rPr lang="ru-RU" sz="2000" dirty="0">
                <a:solidFill>
                  <a:schemeClr val="bg1"/>
                </a:solidFill>
              </a:rPr>
              <a:t>Назначение и ключевые элементы стандартов МСФО S1 и S2</a:t>
            </a: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00E964-1916-9B52-D69F-C719DD277BD3}"/>
              </a:ext>
            </a:extLst>
          </p:cNvPr>
          <p:cNvSpPr txBox="1"/>
          <p:nvPr/>
        </p:nvSpPr>
        <p:spPr>
          <a:xfrm>
            <a:off x="624575" y="1894400"/>
            <a:ext cx="8728351" cy="313932"/>
          </a:xfrm>
          <a:prstGeom prst="rect">
            <a:avLst/>
          </a:prstGeom>
          <a:noFill/>
        </p:spPr>
        <p:txBody>
          <a:bodyPr wrap="non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tx2"/>
                </a:solidFill>
              </a:rPr>
              <a:t>2. </a:t>
            </a:r>
            <a:r>
              <a:rPr lang="ru-RU" sz="2000" dirty="0">
                <a:solidFill>
                  <a:schemeClr val="bg1"/>
                </a:solidFill>
              </a:rPr>
              <a:t>Прогресс внедрения стандартов МСФО S1 и S2 на глобальном уровне </a:t>
            </a: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46D449-B239-877E-131B-3219EE30732B}"/>
              </a:ext>
            </a:extLst>
          </p:cNvPr>
          <p:cNvSpPr txBox="1"/>
          <p:nvPr/>
        </p:nvSpPr>
        <p:spPr>
          <a:xfrm>
            <a:off x="624575" y="2476040"/>
            <a:ext cx="6221255" cy="313932"/>
          </a:xfrm>
          <a:prstGeom prst="rect">
            <a:avLst/>
          </a:prstGeom>
          <a:noFill/>
        </p:spPr>
        <p:txBody>
          <a:bodyPr wrap="non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tx2"/>
                </a:solidFill>
              </a:rPr>
              <a:t>3. </a:t>
            </a:r>
            <a:r>
              <a:rPr lang="ru-RU" sz="2000" dirty="0">
                <a:solidFill>
                  <a:schemeClr val="bg1"/>
                </a:solidFill>
              </a:rPr>
              <a:t>Структура и основные требования МСФО S1 и S2</a:t>
            </a: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A659F9-4016-5F9F-AB63-0EFFBFCF4F5D}"/>
              </a:ext>
            </a:extLst>
          </p:cNvPr>
          <p:cNvSpPr txBox="1"/>
          <p:nvPr/>
        </p:nvSpPr>
        <p:spPr>
          <a:xfrm>
            <a:off x="624575" y="3057680"/>
            <a:ext cx="6097823" cy="313932"/>
          </a:xfrm>
          <a:prstGeom prst="rect">
            <a:avLst/>
          </a:prstGeom>
          <a:noFill/>
        </p:spPr>
        <p:txBody>
          <a:bodyPr wrap="non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tx2"/>
                </a:solidFill>
              </a:rPr>
              <a:t>4. </a:t>
            </a:r>
            <a:r>
              <a:rPr lang="ru-RU" sz="2000" dirty="0">
                <a:solidFill>
                  <a:schemeClr val="bg1"/>
                </a:solidFill>
              </a:rPr>
              <a:t>Связь МСФО S1 и S2 с финансовой отчетностью</a:t>
            </a: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B653D7-D042-97A6-6702-3A8FFE1A993A}"/>
              </a:ext>
            </a:extLst>
          </p:cNvPr>
          <p:cNvSpPr txBox="1"/>
          <p:nvPr/>
        </p:nvSpPr>
        <p:spPr>
          <a:xfrm>
            <a:off x="624575" y="3639320"/>
            <a:ext cx="306174" cy="313932"/>
          </a:xfrm>
          <a:prstGeom prst="rect">
            <a:avLst/>
          </a:prstGeom>
          <a:noFill/>
        </p:spPr>
        <p:txBody>
          <a:bodyPr wrap="non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tx2"/>
                </a:solidFill>
              </a:rPr>
              <a:t>5. </a:t>
            </a: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BBA9D52-5A20-9DC1-B2F7-1070C93CC677}"/>
              </a:ext>
            </a:extLst>
          </p:cNvPr>
          <p:cNvSpPr txBox="1"/>
          <p:nvPr/>
        </p:nvSpPr>
        <p:spPr>
          <a:xfrm>
            <a:off x="624575" y="4220960"/>
            <a:ext cx="7479612" cy="313932"/>
          </a:xfrm>
          <a:prstGeom prst="rect">
            <a:avLst/>
          </a:prstGeom>
          <a:noFill/>
        </p:spPr>
        <p:txBody>
          <a:bodyPr wrap="non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tx2"/>
                </a:solidFill>
              </a:rPr>
              <a:t>6. </a:t>
            </a:r>
            <a:r>
              <a:rPr lang="ru-RU" sz="2000" dirty="0">
                <a:solidFill>
                  <a:schemeClr val="bg1"/>
                </a:solidFill>
              </a:rPr>
              <a:t>Дальнейшие шаги по развитию МСФО S1 и S2 в Казахстане</a:t>
            </a: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77B2DC4-C72F-137D-325F-BE565107E963}"/>
              </a:ext>
            </a:extLst>
          </p:cNvPr>
          <p:cNvSpPr txBox="1"/>
          <p:nvPr/>
        </p:nvSpPr>
        <p:spPr>
          <a:xfrm>
            <a:off x="624575" y="4802602"/>
            <a:ext cx="3528210" cy="313932"/>
          </a:xfrm>
          <a:prstGeom prst="rect">
            <a:avLst/>
          </a:prstGeom>
          <a:noFill/>
        </p:spPr>
        <p:txBody>
          <a:bodyPr wrap="non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2000" dirty="0">
                <a:solidFill>
                  <a:schemeClr val="tx2"/>
                </a:solidFill>
              </a:rPr>
              <a:t>7. </a:t>
            </a:r>
            <a:r>
              <a:rPr lang="ru-RU" sz="2000" dirty="0">
                <a:solidFill>
                  <a:schemeClr val="bg1"/>
                </a:solidFill>
              </a:rPr>
              <a:t>Сессия вопросов и ответов</a:t>
            </a: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487B29E-0339-F12C-51D8-055BF9E100AD}"/>
              </a:ext>
            </a:extLst>
          </p:cNvPr>
          <p:cNvSpPr txBox="1"/>
          <p:nvPr/>
        </p:nvSpPr>
        <p:spPr>
          <a:xfrm>
            <a:off x="777661" y="3578732"/>
            <a:ext cx="1099953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 Как компаниям начать готовиться к отчетности по МСФО S1 и S2	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3497650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979C99-1D04-5574-5417-771F2F263D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E5250326-2482-1123-C41D-99C5E9764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6000" dirty="0">
                <a:solidFill>
                  <a:schemeClr val="bg1"/>
                </a:solidFill>
              </a:rPr>
              <a:t>Как компаниям начать готовиться к отчетности по МСФО S1 и S2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AF4EE7E-4828-E1F2-E073-74E6F1AF93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Раздел</a:t>
            </a:r>
            <a:r>
              <a:rPr lang="en-US" dirty="0"/>
              <a:t> </a:t>
            </a:r>
            <a:r>
              <a:rPr lang="ru-RU" dirty="0"/>
              <a:t>5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B3930C-032F-8FD3-E8EF-981B155C99C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0C87E95-BC6A-A5B5-59D5-AAAC0DF1D8B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C6E5F17-529C-212F-D774-CAE52871FC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21703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71326-B99C-9388-20C4-A5337E0D1B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raphic 46" descr="Playbook with solid fill">
            <a:extLst>
              <a:ext uri="{FF2B5EF4-FFF2-40B4-BE49-F238E27FC236}">
                <a16:creationId xmlns:a16="http://schemas.microsoft.com/office/drawing/2014/main" id="{2A0D1201-3C4F-3A27-FE71-CB151BF475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341" y="5535789"/>
            <a:ext cx="914400" cy="914400"/>
          </a:xfrm>
          <a:prstGeom prst="rect">
            <a:avLst/>
          </a:prstGeom>
        </p:spPr>
      </p:pic>
      <p:sp>
        <p:nvSpPr>
          <p:cNvPr id="48" name="Title 1">
            <a:extLst>
              <a:ext uri="{FF2B5EF4-FFF2-40B4-BE49-F238E27FC236}">
                <a16:creationId xmlns:a16="http://schemas.microsoft.com/office/drawing/2014/main" id="{76F88714-41AC-1D0E-0A9B-EB20E2C62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287" y="181643"/>
            <a:ext cx="10978515" cy="590880"/>
          </a:xfrm>
        </p:spPr>
        <p:txBody>
          <a:bodyPr/>
          <a:lstStyle/>
          <a:p>
            <a:r>
              <a:rPr lang="ru-RU" dirty="0"/>
              <a:t>О чем должны будут отчитываться компании</a:t>
            </a:r>
            <a:r>
              <a:rPr lang="en-US" dirty="0"/>
              <a:t> </a:t>
            </a:r>
            <a:r>
              <a:rPr lang="ru-RU" dirty="0"/>
              <a:t>для соответствия МСФО S1/S2?</a:t>
            </a:r>
            <a:endParaRPr lang="en-US" dirty="0"/>
          </a:p>
        </p:txBody>
      </p:sp>
      <p:sp>
        <p:nvSpPr>
          <p:cNvPr id="49" name="Rectangle 4">
            <a:extLst>
              <a:ext uri="{FF2B5EF4-FFF2-40B4-BE49-F238E27FC236}">
                <a16:creationId xmlns:a16="http://schemas.microsoft.com/office/drawing/2014/main" id="{0580BDB5-55DE-CFE2-0858-20B9726ABCD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82386" y="1530732"/>
            <a:ext cx="4310203" cy="914400"/>
          </a:xfrm>
          <a:prstGeom prst="rect">
            <a:avLst/>
          </a:prstGeom>
          <a:solidFill>
            <a:srgbClr val="F0F0F0"/>
          </a:solidFill>
          <a:ln w="6350">
            <a:noFill/>
            <a:miter lim="800000"/>
            <a:headEnd/>
            <a:tailEnd/>
          </a:ln>
        </p:spPr>
        <p:txBody>
          <a:bodyPr vert="horz" wrap="none" lIns="45720" tIns="45720" rIns="45720" bIns="45720" anchor="t"/>
          <a:lstStyle/>
          <a:p>
            <a:pPr marL="115888" eaLnBrk="0" fontAlgn="base" hangingPunct="0">
              <a:spcAft>
                <a:spcPct val="0"/>
              </a:spcAft>
              <a:buClr>
                <a:srgbClr val="FFD200"/>
              </a:buClr>
              <a:buSzPct val="100000"/>
            </a:pPr>
            <a:r>
              <a:rPr lang="ru-RU" sz="1600" dirty="0">
                <a:solidFill>
                  <a:srgbClr val="000000"/>
                </a:solidFill>
              </a:rPr>
              <a:t>Выявление и оценка рисков, </a:t>
            </a:r>
          </a:p>
          <a:p>
            <a:pPr marL="115888" eaLnBrk="0" fontAlgn="base" hangingPunct="0">
              <a:spcAft>
                <a:spcPct val="0"/>
              </a:spcAft>
              <a:buClr>
                <a:srgbClr val="FFD200"/>
              </a:buClr>
              <a:buSzPct val="100000"/>
            </a:pPr>
            <a:r>
              <a:rPr lang="ru-RU" sz="1600" dirty="0">
                <a:solidFill>
                  <a:srgbClr val="000000"/>
                </a:solidFill>
              </a:rPr>
              <a:t>связанных с климатом и их влияние </a:t>
            </a:r>
          </a:p>
          <a:p>
            <a:pPr marL="115888" eaLnBrk="0" fontAlgn="base" hangingPunct="0">
              <a:spcAft>
                <a:spcPct val="0"/>
              </a:spcAft>
              <a:buClr>
                <a:srgbClr val="FFD200"/>
              </a:buClr>
              <a:buSzPct val="100000"/>
            </a:pPr>
            <a:r>
              <a:rPr lang="ru-RU" sz="1600" dirty="0">
                <a:solidFill>
                  <a:srgbClr val="000000"/>
                </a:solidFill>
              </a:rPr>
              <a:t>на финансовые показатели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50" name="AutoShape 5">
            <a:extLst>
              <a:ext uri="{FF2B5EF4-FFF2-40B4-BE49-F238E27FC236}">
                <a16:creationId xmlns:a16="http://schemas.microsoft.com/office/drawing/2014/main" id="{2BFC7F03-1D6F-DA56-8A95-694A854572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5168" y="1525969"/>
            <a:ext cx="4390832" cy="914400"/>
          </a:xfrm>
          <a:prstGeom prst="homePlate">
            <a:avLst>
              <a:gd name="adj" fmla="val 27111"/>
            </a:avLst>
          </a:prstGeom>
          <a:solidFill>
            <a:srgbClr val="808080"/>
          </a:solidFill>
          <a:ln w="6350">
            <a:noFill/>
            <a:miter lim="800000"/>
            <a:headEnd/>
            <a:tailEnd/>
          </a:ln>
        </p:spPr>
        <p:txBody>
          <a:bodyPr vert="horz" wrap="square" lIns="45720" tIns="45720" rIns="45720" bIns="45720" anchor="t"/>
          <a:lstStyle/>
          <a:p>
            <a:pPr marL="115888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FFD200"/>
              </a:buClr>
              <a:buSzPct val="100000"/>
              <a:tabLst>
                <a:tab pos="2292350" algn="l"/>
              </a:tabLst>
            </a:pPr>
            <a:r>
              <a:rPr lang="ru-RU" sz="1600" dirty="0">
                <a:solidFill>
                  <a:srgbClr val="FFFFFF"/>
                </a:solidFill>
              </a:rPr>
              <a:t>Риски и возможности, связанные с климатом, влияющие на балансовую стоимость активов и обязательств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51" name="Rectangle 6">
            <a:extLst>
              <a:ext uri="{FF2B5EF4-FFF2-40B4-BE49-F238E27FC236}">
                <a16:creationId xmlns:a16="http://schemas.microsoft.com/office/drawing/2014/main" id="{2D1027A3-CCA4-9052-93C3-98C741C923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82387" y="2544747"/>
            <a:ext cx="4310202" cy="914400"/>
          </a:xfrm>
          <a:prstGeom prst="rect">
            <a:avLst/>
          </a:prstGeom>
          <a:solidFill>
            <a:srgbClr val="F0F0F0"/>
          </a:solidFill>
          <a:ln w="6350">
            <a:noFill/>
            <a:miter lim="800000"/>
            <a:headEnd/>
            <a:tailEnd/>
          </a:ln>
        </p:spPr>
        <p:txBody>
          <a:bodyPr vert="horz" wrap="none" lIns="45720" tIns="45720" rIns="45720" bIns="45720" anchor="t"/>
          <a:lstStyle/>
          <a:p>
            <a:pPr marL="115888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600" dirty="0">
                <a:solidFill>
                  <a:srgbClr val="000000"/>
                </a:solidFill>
              </a:rPr>
              <a:t>Оценка углеродного следа продукции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52" name="Rectangle 7">
            <a:extLst>
              <a:ext uri="{FF2B5EF4-FFF2-40B4-BE49-F238E27FC236}">
                <a16:creationId xmlns:a16="http://schemas.microsoft.com/office/drawing/2014/main" id="{BC3C39D1-C69A-A93F-3E85-8045F5CECF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82386" y="3558762"/>
            <a:ext cx="4310201" cy="914400"/>
          </a:xfrm>
          <a:prstGeom prst="rect">
            <a:avLst/>
          </a:prstGeom>
          <a:solidFill>
            <a:srgbClr val="F0F0F0"/>
          </a:solidFill>
          <a:ln w="6350">
            <a:noFill/>
            <a:miter lim="800000"/>
            <a:headEnd/>
            <a:tailEnd/>
          </a:ln>
        </p:spPr>
        <p:txBody>
          <a:bodyPr vert="horz" wrap="none" lIns="45720" tIns="45720" rIns="45720" bIns="45720" anchor="t"/>
          <a:lstStyle/>
          <a:p>
            <a:pPr marL="115888" eaLnBrk="0" fontAlgn="base" hangingPunct="0">
              <a:spcAft>
                <a:spcPct val="0"/>
              </a:spcAft>
              <a:buClr>
                <a:srgbClr val="646464"/>
              </a:buClr>
            </a:pPr>
            <a:r>
              <a:rPr lang="ru-RU" sz="1600" dirty="0">
                <a:solidFill>
                  <a:srgbClr val="000000"/>
                </a:solidFill>
              </a:rPr>
              <a:t>Проведение проверки на </a:t>
            </a:r>
          </a:p>
          <a:p>
            <a:pPr marL="115888" eaLnBrk="0" fontAlgn="base" hangingPunct="0">
              <a:spcAft>
                <a:spcPct val="0"/>
              </a:spcAft>
              <a:buClr>
                <a:srgbClr val="646464"/>
              </a:buClr>
            </a:pPr>
            <a:r>
              <a:rPr lang="ru-RU" sz="1600" dirty="0">
                <a:solidFill>
                  <a:srgbClr val="000000"/>
                </a:solidFill>
              </a:rPr>
              <a:t>обесценение активов</a:t>
            </a:r>
            <a:r>
              <a:rPr lang="en-US" sz="1600">
                <a:solidFill>
                  <a:srgbClr val="000000"/>
                </a:solidFill>
              </a:rPr>
              <a:t>, </a:t>
            </a:r>
            <a:r>
              <a:rPr lang="ru-RU" sz="1600">
                <a:solidFill>
                  <a:srgbClr val="000000"/>
                </a:solidFill>
              </a:rPr>
              <a:t>стресс-тест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53" name="AutoShape 8">
            <a:extLst>
              <a:ext uri="{FF2B5EF4-FFF2-40B4-BE49-F238E27FC236}">
                <a16:creationId xmlns:a16="http://schemas.microsoft.com/office/drawing/2014/main" id="{5B25A801-3945-4654-E3DD-7D5AEDB51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5167" y="2544747"/>
            <a:ext cx="4390832" cy="914400"/>
          </a:xfrm>
          <a:prstGeom prst="homePlate">
            <a:avLst>
              <a:gd name="adj" fmla="val 27111"/>
            </a:avLst>
          </a:prstGeom>
          <a:solidFill>
            <a:srgbClr val="808080"/>
          </a:solidFill>
          <a:ln w="6350">
            <a:noFill/>
            <a:miter lim="800000"/>
            <a:headEnd/>
            <a:tailEnd/>
          </a:ln>
        </p:spPr>
        <p:txBody>
          <a:bodyPr vert="horz" wrap="square" lIns="45720" tIns="45720" rIns="45720" bIns="45720" anchor="t"/>
          <a:lstStyle/>
          <a:p>
            <a:pPr marL="114300" indent="1588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600" dirty="0">
                <a:solidFill>
                  <a:srgbClr val="FFFFFF"/>
                </a:solidFill>
              </a:rPr>
              <a:t>Выбросы парниковых газов </a:t>
            </a:r>
            <a:r>
              <a:rPr lang="en-US" sz="1600" dirty="0">
                <a:solidFill>
                  <a:srgbClr val="FFFFFF"/>
                </a:solidFill>
              </a:rPr>
              <a:t>Scope 1, </a:t>
            </a:r>
            <a:r>
              <a:rPr lang="ru-RU" sz="1600" dirty="0">
                <a:solidFill>
                  <a:srgbClr val="FFFFFF"/>
                </a:solidFill>
              </a:rPr>
              <a:t>2 и</a:t>
            </a:r>
            <a:r>
              <a:rPr lang="en-US" sz="1600" dirty="0">
                <a:solidFill>
                  <a:srgbClr val="FFFFFF"/>
                </a:solidFill>
              </a:rPr>
              <a:t> 3, </a:t>
            </a:r>
            <a:r>
              <a:rPr lang="ru-RU" sz="1600" dirty="0">
                <a:solidFill>
                  <a:srgbClr val="FFFFFF"/>
                </a:solidFill>
              </a:rPr>
              <a:t>интенсивность выбросов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54" name="AutoShape 9">
            <a:extLst>
              <a:ext uri="{FF2B5EF4-FFF2-40B4-BE49-F238E27FC236}">
                <a16:creationId xmlns:a16="http://schemas.microsoft.com/office/drawing/2014/main" id="{958409CC-102A-A0BF-39F0-0307170036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5167" y="3558762"/>
            <a:ext cx="4390832" cy="914400"/>
          </a:xfrm>
          <a:prstGeom prst="homePlate">
            <a:avLst>
              <a:gd name="adj" fmla="val 27111"/>
            </a:avLst>
          </a:prstGeom>
          <a:solidFill>
            <a:srgbClr val="808080"/>
          </a:solidFill>
          <a:ln w="6350">
            <a:noFill/>
            <a:miter lim="800000"/>
            <a:headEnd/>
            <a:tailEnd/>
          </a:ln>
        </p:spPr>
        <p:txBody>
          <a:bodyPr vert="horz" wrap="square" lIns="45720" tIns="45720" rIns="45720" bIns="45720" anchor="t"/>
          <a:lstStyle/>
          <a:p>
            <a:pPr marL="1143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600" dirty="0">
                <a:solidFill>
                  <a:srgbClr val="FFFFFF"/>
                </a:solidFill>
              </a:rPr>
              <a:t>% активов, уязвимых к физическим и переходным рискам</a:t>
            </a:r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6F3A70A1-EB69-32D9-03CE-0FB42052A98F}"/>
              </a:ext>
            </a:extLst>
          </p:cNvPr>
          <p:cNvGrpSpPr/>
          <p:nvPr/>
        </p:nvGrpSpPr>
        <p:grpSpPr>
          <a:xfrm>
            <a:off x="443922" y="1521544"/>
            <a:ext cx="1151103" cy="943992"/>
            <a:chOff x="7356785" y="1759551"/>
            <a:chExt cx="1151103" cy="943992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C9CBBE93-E98B-C675-0FEB-D47B1BD7CAE0}"/>
                </a:ext>
              </a:extLst>
            </p:cNvPr>
            <p:cNvGrpSpPr/>
            <p:nvPr/>
          </p:nvGrpSpPr>
          <p:grpSpPr>
            <a:xfrm>
              <a:off x="7356785" y="1893315"/>
              <a:ext cx="1046641" cy="810228"/>
              <a:chOff x="6301559" y="3223616"/>
              <a:chExt cx="1046641" cy="810228"/>
            </a:xfrm>
          </p:grpSpPr>
          <p:pic>
            <p:nvPicPr>
              <p:cNvPr id="58" name="Graphic 57" descr="Earth Globe - Asia with solid fill">
                <a:extLst>
                  <a:ext uri="{FF2B5EF4-FFF2-40B4-BE49-F238E27FC236}">
                    <a16:creationId xmlns:a16="http://schemas.microsoft.com/office/drawing/2014/main" id="{230A0229-8E1A-EDA2-22FC-A442791831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537972" y="3223616"/>
                <a:ext cx="810228" cy="810228"/>
              </a:xfrm>
              <a:prstGeom prst="rect">
                <a:avLst/>
              </a:prstGeom>
            </p:spPr>
          </p:pic>
          <p:pic>
            <p:nvPicPr>
              <p:cNvPr id="59" name="Graphic 58" descr="Thermometer with solid fill">
                <a:extLst>
                  <a:ext uri="{FF2B5EF4-FFF2-40B4-BE49-F238E27FC236}">
                    <a16:creationId xmlns:a16="http://schemas.microsoft.com/office/drawing/2014/main" id="{1C08E502-63DD-4A6E-AF1B-336FEB6B8F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301559" y="3237752"/>
                <a:ext cx="735055" cy="735055"/>
              </a:xfrm>
              <a:prstGeom prst="rect">
                <a:avLst/>
              </a:prstGeom>
            </p:spPr>
          </p:pic>
        </p:grpSp>
        <p:pic>
          <p:nvPicPr>
            <p:cNvPr id="57" name="Graphic 56" descr="Dollar with solid fill">
              <a:extLst>
                <a:ext uri="{FF2B5EF4-FFF2-40B4-BE49-F238E27FC236}">
                  <a16:creationId xmlns:a16="http://schemas.microsoft.com/office/drawing/2014/main" id="{A829E37E-588E-CB1E-9D5A-AE5D239982E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085510" y="1759551"/>
              <a:ext cx="422378" cy="422378"/>
            </a:xfrm>
            <a:prstGeom prst="rect">
              <a:avLst/>
            </a:prstGeom>
          </p:spPr>
        </p:pic>
      </p:grpSp>
      <p:pic>
        <p:nvPicPr>
          <p:cNvPr id="60" name="Graphic 59" descr="Power Plant with solid fill">
            <a:extLst>
              <a:ext uri="{FF2B5EF4-FFF2-40B4-BE49-F238E27FC236}">
                <a16:creationId xmlns:a16="http://schemas.microsoft.com/office/drawing/2014/main" id="{D40CEA32-5374-A6ED-C4A0-EBFF95A9B60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1341" y="2539066"/>
            <a:ext cx="914400" cy="914400"/>
          </a:xfrm>
          <a:prstGeom prst="rect">
            <a:avLst/>
          </a:prstGeom>
        </p:spPr>
      </p:pic>
      <p:pic>
        <p:nvPicPr>
          <p:cNvPr id="61" name="Graphic 60" descr="Binoculars with solid fill">
            <a:extLst>
              <a:ext uri="{FF2B5EF4-FFF2-40B4-BE49-F238E27FC236}">
                <a16:creationId xmlns:a16="http://schemas.microsoft.com/office/drawing/2014/main" id="{71C22A14-F133-BDDF-0B00-E6B7A61A845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347144" y="1516553"/>
            <a:ext cx="914400" cy="914400"/>
          </a:xfrm>
          <a:prstGeom prst="rect">
            <a:avLst/>
          </a:prstGeom>
        </p:spPr>
      </p:pic>
      <p:pic>
        <p:nvPicPr>
          <p:cNvPr id="62" name="Graphic 61" descr="Footprints with solid fill">
            <a:extLst>
              <a:ext uri="{FF2B5EF4-FFF2-40B4-BE49-F238E27FC236}">
                <a16:creationId xmlns:a16="http://schemas.microsoft.com/office/drawing/2014/main" id="{80DEC62E-969C-9739-3F99-9ADA0035423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347144" y="2549107"/>
            <a:ext cx="914400" cy="914400"/>
          </a:xfrm>
          <a:prstGeom prst="rect">
            <a:avLst/>
          </a:pr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12BED396-ABA7-6CC0-6CFF-424FA2989774}"/>
              </a:ext>
            </a:extLst>
          </p:cNvPr>
          <p:cNvGrpSpPr/>
          <p:nvPr/>
        </p:nvGrpSpPr>
        <p:grpSpPr>
          <a:xfrm>
            <a:off x="10373218" y="3536060"/>
            <a:ext cx="994700" cy="944411"/>
            <a:chOff x="7532386" y="4313216"/>
            <a:chExt cx="994700" cy="944411"/>
          </a:xfrm>
        </p:grpSpPr>
        <p:pic>
          <p:nvPicPr>
            <p:cNvPr id="64" name="Graphic 63" descr="Dollar with solid fill">
              <a:extLst>
                <a:ext uri="{FF2B5EF4-FFF2-40B4-BE49-F238E27FC236}">
                  <a16:creationId xmlns:a16="http://schemas.microsoft.com/office/drawing/2014/main" id="{0EA96926-4D9C-41AD-64F2-DC0FA2D026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539540" y="4313216"/>
              <a:ext cx="914400" cy="914400"/>
            </a:xfrm>
            <a:prstGeom prst="rect">
              <a:avLst/>
            </a:prstGeom>
          </p:spPr>
        </p:pic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C4385334-3117-211A-F056-639E4AF8A8C8}"/>
                </a:ext>
              </a:extLst>
            </p:cNvPr>
            <p:cNvSpPr/>
            <p:nvPr/>
          </p:nvSpPr>
          <p:spPr>
            <a:xfrm>
              <a:off x="7532386" y="4313216"/>
              <a:ext cx="914039" cy="914400"/>
            </a:xfrm>
            <a:prstGeom prst="ellipse">
              <a:avLst/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8537F364-A81F-F644-F4DE-3D602895A0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8147960" y="5020360"/>
              <a:ext cx="298465" cy="222261"/>
            </a:xfrm>
            <a:prstGeom prst="rect">
              <a:avLst/>
            </a:prstGeom>
          </p:spPr>
        </p:pic>
        <p:pic>
          <p:nvPicPr>
            <p:cNvPr id="67" name="Graphic 66" descr="Arrow Down with solid fill">
              <a:extLst>
                <a:ext uri="{FF2B5EF4-FFF2-40B4-BE49-F238E27FC236}">
                  <a16:creationId xmlns:a16="http://schemas.microsoft.com/office/drawing/2014/main" id="{C2BC3A21-E1C9-4475-5D20-04083C2E88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7989406" y="4719947"/>
              <a:ext cx="537680" cy="537680"/>
            </a:xfrm>
            <a:prstGeom prst="rect">
              <a:avLst/>
            </a:prstGeom>
          </p:spPr>
        </p:pic>
      </p:grpSp>
      <p:sp>
        <p:nvSpPr>
          <p:cNvPr id="68" name="Rectangle 7">
            <a:extLst>
              <a:ext uri="{FF2B5EF4-FFF2-40B4-BE49-F238E27FC236}">
                <a16:creationId xmlns:a16="http://schemas.microsoft.com/office/drawing/2014/main" id="{1B5793E1-E6DC-967F-F508-0AF94848275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78120" y="4565673"/>
            <a:ext cx="4310200" cy="914400"/>
          </a:xfrm>
          <a:prstGeom prst="rect">
            <a:avLst/>
          </a:prstGeom>
          <a:solidFill>
            <a:srgbClr val="F0F0F0"/>
          </a:solidFill>
          <a:ln w="6350">
            <a:noFill/>
            <a:miter lim="800000"/>
            <a:headEnd/>
            <a:tailEnd/>
          </a:ln>
        </p:spPr>
        <p:txBody>
          <a:bodyPr vert="horz" wrap="none" lIns="45720" tIns="45720" rIns="45720" bIns="45720" anchor="t"/>
          <a:lstStyle/>
          <a:p>
            <a:pPr marL="115888" eaLnBrk="0" fontAlgn="base" hangingPunct="0">
              <a:spcAft>
                <a:spcPct val="0"/>
              </a:spcAft>
              <a:buClr>
                <a:srgbClr val="646464"/>
              </a:buClr>
            </a:pPr>
            <a:r>
              <a:rPr lang="ru-RU" sz="1600" dirty="0">
                <a:solidFill>
                  <a:srgbClr val="000000"/>
                </a:solidFill>
              </a:rPr>
              <a:t>Разработать </a:t>
            </a:r>
            <a:r>
              <a:rPr lang="ru-RU" sz="1600">
                <a:solidFill>
                  <a:srgbClr val="000000"/>
                </a:solidFill>
              </a:rPr>
              <a:t>климатическую </a:t>
            </a:r>
            <a:r>
              <a:rPr lang="ru-RU" sz="1600" dirty="0">
                <a:solidFill>
                  <a:srgbClr val="000000"/>
                </a:solidFill>
              </a:rPr>
              <a:t>стратегию,</a:t>
            </a:r>
          </a:p>
          <a:p>
            <a:pPr marL="115888" eaLnBrk="0" fontAlgn="base" hangingPunct="0">
              <a:spcAft>
                <a:spcPct val="0"/>
              </a:spcAft>
              <a:buClr>
                <a:srgbClr val="646464"/>
              </a:buClr>
            </a:pPr>
            <a:r>
              <a:rPr lang="ru-RU" sz="1600" dirty="0">
                <a:solidFill>
                  <a:srgbClr val="000000"/>
                </a:solidFill>
              </a:rPr>
              <a:t>включая цели по снижению выбросов </a:t>
            </a:r>
            <a:r>
              <a:rPr lang="ru-RU" sz="1600" err="1">
                <a:solidFill>
                  <a:srgbClr val="000000"/>
                </a:solidFill>
              </a:rPr>
              <a:t>SBTi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9" name="AutoShape 9">
            <a:extLst>
              <a:ext uri="{FF2B5EF4-FFF2-40B4-BE49-F238E27FC236}">
                <a16:creationId xmlns:a16="http://schemas.microsoft.com/office/drawing/2014/main" id="{793DECA0-461A-B329-AB02-F0EFC76706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0900" y="4565673"/>
            <a:ext cx="4390832" cy="914400"/>
          </a:xfrm>
          <a:prstGeom prst="homePlate">
            <a:avLst>
              <a:gd name="adj" fmla="val 27111"/>
            </a:avLst>
          </a:prstGeom>
          <a:solidFill>
            <a:srgbClr val="808080"/>
          </a:solidFill>
          <a:ln w="6350">
            <a:noFill/>
            <a:miter lim="800000"/>
            <a:headEnd/>
            <a:tailEnd/>
          </a:ln>
        </p:spPr>
        <p:txBody>
          <a:bodyPr vert="horz" wrap="square" lIns="45720" tIns="45720" rIns="45720" bIns="45720" anchor="t"/>
          <a:lstStyle/>
          <a:p>
            <a:pPr marL="1143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600" dirty="0">
                <a:solidFill>
                  <a:srgbClr val="FFFFFF"/>
                </a:solidFill>
              </a:rPr>
              <a:t>План действий по борьбе с изменением климата и цели по снижению выбросов ПГ</a:t>
            </a:r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405E42B-4E85-1A32-A187-FCC85709EE6A}"/>
              </a:ext>
            </a:extLst>
          </p:cNvPr>
          <p:cNvGrpSpPr/>
          <p:nvPr/>
        </p:nvGrpSpPr>
        <p:grpSpPr>
          <a:xfrm>
            <a:off x="618287" y="3542346"/>
            <a:ext cx="872276" cy="935241"/>
            <a:chOff x="828413" y="3630839"/>
            <a:chExt cx="872276" cy="935241"/>
          </a:xfrm>
        </p:grpSpPr>
        <p:pic>
          <p:nvPicPr>
            <p:cNvPr id="71" name="Graphic 70" descr="Cloud With Lightning And Rain with solid fill">
              <a:extLst>
                <a:ext uri="{FF2B5EF4-FFF2-40B4-BE49-F238E27FC236}">
                  <a16:creationId xmlns:a16="http://schemas.microsoft.com/office/drawing/2014/main" id="{61152C0B-6B3B-2D8D-1389-AA409757D97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1049025" y="3630839"/>
              <a:ext cx="651664" cy="651664"/>
            </a:xfrm>
            <a:prstGeom prst="rect">
              <a:avLst/>
            </a:prstGeom>
          </p:spPr>
        </p:pic>
        <p:pic>
          <p:nvPicPr>
            <p:cNvPr id="72" name="Graphic 71" descr="Home with solid fill">
              <a:extLst>
                <a:ext uri="{FF2B5EF4-FFF2-40B4-BE49-F238E27FC236}">
                  <a16:creationId xmlns:a16="http://schemas.microsoft.com/office/drawing/2014/main" id="{021377E1-7979-AAD1-9B51-7E87640DC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828413" y="3998927"/>
              <a:ext cx="567153" cy="567153"/>
            </a:xfrm>
            <a:prstGeom prst="rect">
              <a:avLst/>
            </a:prstGeom>
          </p:spPr>
        </p:pic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447D165-9AC5-2033-14F6-BCEFDDB47137}"/>
              </a:ext>
            </a:extLst>
          </p:cNvPr>
          <p:cNvGrpSpPr/>
          <p:nvPr/>
        </p:nvGrpSpPr>
        <p:grpSpPr>
          <a:xfrm>
            <a:off x="10451559" y="4560561"/>
            <a:ext cx="914400" cy="914400"/>
            <a:chOff x="10456693" y="5071664"/>
            <a:chExt cx="914400" cy="914400"/>
          </a:xfrm>
        </p:grpSpPr>
        <p:pic>
          <p:nvPicPr>
            <p:cNvPr id="74" name="Graphic 73" descr="Thought bubble with solid fill">
              <a:extLst>
                <a:ext uri="{FF2B5EF4-FFF2-40B4-BE49-F238E27FC236}">
                  <a16:creationId xmlns:a16="http://schemas.microsoft.com/office/drawing/2014/main" id="{A0D4F874-E553-8FCD-FAB0-96017A4715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10456693" y="5071664"/>
              <a:ext cx="914400" cy="914400"/>
            </a:xfrm>
            <a:prstGeom prst="rect">
              <a:avLst/>
            </a:prstGeom>
          </p:spPr>
        </p:pic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DCFC5A7-987E-78A7-95AF-C40172F55340}"/>
                </a:ext>
              </a:extLst>
            </p:cNvPr>
            <p:cNvSpPr txBox="1"/>
            <p:nvPr/>
          </p:nvSpPr>
          <p:spPr>
            <a:xfrm>
              <a:off x="10659469" y="5276933"/>
              <a:ext cx="439223" cy="298543"/>
            </a:xfrm>
            <a:prstGeom prst="rect">
              <a:avLst/>
            </a:prstGeom>
            <a:noFill/>
          </p:spPr>
          <p:txBody>
            <a:bodyPr wrap="non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2000" b="1" dirty="0">
                  <a:solidFill>
                    <a:schemeClr val="tx2"/>
                  </a:solidFill>
                </a:rPr>
                <a:t>CO</a:t>
              </a:r>
              <a:r>
                <a:rPr lang="en-US" sz="1050" b="1" dirty="0">
                  <a:solidFill>
                    <a:schemeClr val="tx2"/>
                  </a:solidFill>
                </a:rPr>
                <a:t>2</a:t>
              </a:r>
              <a:endParaRPr lang="en-US" sz="2000" b="1" dirty="0">
                <a:solidFill>
                  <a:schemeClr val="tx2"/>
                </a:solidFill>
              </a:endParaRPr>
            </a:p>
          </p:txBody>
        </p:sp>
        <p:pic>
          <p:nvPicPr>
            <p:cNvPr id="76" name="Graphic 75" descr="Arrow Down with solid fill">
              <a:extLst>
                <a:ext uri="{FF2B5EF4-FFF2-40B4-BE49-F238E27FC236}">
                  <a16:creationId xmlns:a16="http://schemas.microsoft.com/office/drawing/2014/main" id="{2952206E-D6B9-461C-0114-624A1C26BE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10953248" y="5380924"/>
              <a:ext cx="376539" cy="376539"/>
            </a:xfrm>
            <a:prstGeom prst="rect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CBCE0CA9-7CD5-61B1-6B2D-0425FFB0ABA9}"/>
              </a:ext>
            </a:extLst>
          </p:cNvPr>
          <p:cNvGrpSpPr/>
          <p:nvPr/>
        </p:nvGrpSpPr>
        <p:grpSpPr>
          <a:xfrm>
            <a:off x="541341" y="4580899"/>
            <a:ext cx="914400" cy="954890"/>
            <a:chOff x="683800" y="4976134"/>
            <a:chExt cx="914400" cy="954890"/>
          </a:xfrm>
        </p:grpSpPr>
        <p:pic>
          <p:nvPicPr>
            <p:cNvPr id="78" name="Graphic 77" descr="Bullseye with solid fill">
              <a:extLst>
                <a:ext uri="{FF2B5EF4-FFF2-40B4-BE49-F238E27FC236}">
                  <a16:creationId xmlns:a16="http://schemas.microsoft.com/office/drawing/2014/main" id="{1B70FBDE-0530-B2DC-5CDA-6687F72CD7AF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683800" y="5016624"/>
              <a:ext cx="914400" cy="914400"/>
            </a:xfrm>
            <a:prstGeom prst="rect">
              <a:avLst/>
            </a:prstGeom>
          </p:spPr>
        </p:pic>
        <p:pic>
          <p:nvPicPr>
            <p:cNvPr id="79" name="Graphic 78" descr="Thermometer with solid fill">
              <a:extLst>
                <a:ext uri="{FF2B5EF4-FFF2-40B4-BE49-F238E27FC236}">
                  <a16:creationId xmlns:a16="http://schemas.microsoft.com/office/drawing/2014/main" id="{DB129B44-B267-16E3-BEA0-2A5A869AE9C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07252" y="4976134"/>
              <a:ext cx="651664" cy="651664"/>
            </a:xfrm>
            <a:prstGeom prst="rect">
              <a:avLst/>
            </a:prstGeom>
          </p:spPr>
        </p:pic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A051A34E-9EA2-7BFB-00F6-131D92214510}"/>
              </a:ext>
            </a:extLst>
          </p:cNvPr>
          <p:cNvSpPr txBox="1"/>
          <p:nvPr/>
        </p:nvSpPr>
        <p:spPr>
          <a:xfrm>
            <a:off x="2432774" y="1143546"/>
            <a:ext cx="2927083" cy="298543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2000" b="1" dirty="0">
                <a:solidFill>
                  <a:schemeClr val="bg1"/>
                </a:solidFill>
              </a:rPr>
              <a:t>Что нужно раскрывать?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62B20B5-1DD3-BD6B-C75C-D4602A2DCCCA}"/>
              </a:ext>
            </a:extLst>
          </p:cNvPr>
          <p:cNvSpPr txBox="1"/>
          <p:nvPr/>
        </p:nvSpPr>
        <p:spPr>
          <a:xfrm>
            <a:off x="6049316" y="1143546"/>
            <a:ext cx="4167808" cy="298543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2000" b="1" dirty="0">
                <a:solidFill>
                  <a:schemeClr val="bg1"/>
                </a:solidFill>
              </a:rPr>
              <a:t>Как подготовиться к раскрытиям?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82" name="Rectangle 7">
            <a:extLst>
              <a:ext uri="{FF2B5EF4-FFF2-40B4-BE49-F238E27FC236}">
                <a16:creationId xmlns:a16="http://schemas.microsoft.com/office/drawing/2014/main" id="{A9DB0FC3-C369-ECFC-5E61-9F9C0F7B2461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78120" y="5575086"/>
            <a:ext cx="4310200" cy="914400"/>
          </a:xfrm>
          <a:prstGeom prst="rect">
            <a:avLst/>
          </a:prstGeom>
          <a:solidFill>
            <a:srgbClr val="F0F0F0"/>
          </a:solidFill>
          <a:ln w="6350">
            <a:noFill/>
            <a:miter lim="800000"/>
            <a:headEnd/>
            <a:tailEnd/>
          </a:ln>
        </p:spPr>
        <p:txBody>
          <a:bodyPr vert="horz" wrap="none" lIns="45720" tIns="45720" rIns="45720" bIns="45720" anchor="t"/>
          <a:lstStyle/>
          <a:p>
            <a:pPr marL="115888" eaLnBrk="0" fontAlgn="base" hangingPunct="0">
              <a:spcAft>
                <a:spcPct val="0"/>
              </a:spcAft>
              <a:buClr>
                <a:srgbClr val="646464"/>
              </a:buClr>
            </a:pPr>
            <a:r>
              <a:rPr lang="ru-RU" sz="1600" dirty="0">
                <a:solidFill>
                  <a:srgbClr val="000000"/>
                </a:solidFill>
              </a:rPr>
              <a:t>Рассмотреть применимость инструментов</a:t>
            </a:r>
          </a:p>
          <a:p>
            <a:pPr marL="115888" eaLnBrk="0" fontAlgn="base" hangingPunct="0">
              <a:spcAft>
                <a:spcPct val="0"/>
              </a:spcAft>
              <a:buClr>
                <a:srgbClr val="646464"/>
              </a:buClr>
            </a:pPr>
            <a:r>
              <a:rPr lang="ru-RU" sz="1600" dirty="0">
                <a:solidFill>
                  <a:srgbClr val="000000"/>
                </a:solidFill>
              </a:rPr>
              <a:t>"зеленого" финансирования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83" name="AutoShape 9">
            <a:extLst>
              <a:ext uri="{FF2B5EF4-FFF2-40B4-BE49-F238E27FC236}">
                <a16:creationId xmlns:a16="http://schemas.microsoft.com/office/drawing/2014/main" id="{C0A0BE05-6ADA-2EDE-DC8C-28E773EA1B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0900" y="5575086"/>
            <a:ext cx="4390832" cy="914400"/>
          </a:xfrm>
          <a:prstGeom prst="homePlate">
            <a:avLst>
              <a:gd name="adj" fmla="val 27111"/>
            </a:avLst>
          </a:prstGeom>
          <a:solidFill>
            <a:srgbClr val="808080"/>
          </a:solidFill>
          <a:ln w="6350">
            <a:noFill/>
            <a:miter lim="800000"/>
            <a:headEnd/>
            <a:tailEnd/>
          </a:ln>
        </p:spPr>
        <p:txBody>
          <a:bodyPr vert="horz" wrap="square" lIns="45720" tIns="45720" rIns="45720" bIns="45720" anchor="t"/>
          <a:lstStyle/>
          <a:p>
            <a:pPr marL="114300" eaLnBrk="0" fontAlgn="base" hangingPunct="0">
              <a:spcAft>
                <a:spcPct val="0"/>
              </a:spcAft>
              <a:buClr>
                <a:srgbClr val="646464"/>
              </a:buClr>
            </a:pPr>
            <a:r>
              <a:rPr lang="ru-RU" sz="1600" dirty="0">
                <a:solidFill>
                  <a:srgbClr val="FFFFFF"/>
                </a:solidFill>
              </a:rPr>
              <a:t>Средства на реализацию </a:t>
            </a:r>
            <a:r>
              <a:rPr lang="ru-RU" sz="1600">
                <a:solidFill>
                  <a:srgbClr val="FFFFFF"/>
                </a:solidFill>
              </a:rPr>
              <a:t>стратегии</a:t>
            </a:r>
            <a:endParaRPr lang="ru-RU" sz="1600" dirty="0">
              <a:solidFill>
                <a:srgbClr val="FFFFFF"/>
              </a:solidFill>
            </a:endParaRPr>
          </a:p>
          <a:p>
            <a:pPr marL="114300" eaLnBrk="0" fontAlgn="base" hangingPunct="0">
              <a:spcAft>
                <a:spcPct val="0"/>
              </a:spcAft>
              <a:buClr>
                <a:srgbClr val="646464"/>
              </a:buClr>
            </a:pPr>
            <a:r>
              <a:rPr lang="ru-RU" sz="1600" dirty="0">
                <a:solidFill>
                  <a:srgbClr val="FFFFFF"/>
                </a:solidFill>
              </a:rPr>
              <a:t>% активов, связанных с климатическими возможностями</a:t>
            </a:r>
            <a:endParaRPr lang="en-US" sz="1600" dirty="0">
              <a:solidFill>
                <a:srgbClr val="FFFFFF"/>
              </a:solidFill>
            </a:endParaRPr>
          </a:p>
          <a:p>
            <a:pPr marL="114300" eaLnBrk="0" fontAlgn="base" hangingPunct="0">
              <a:spcAft>
                <a:spcPct val="0"/>
              </a:spcAft>
              <a:buClr>
                <a:srgbClr val="646464"/>
              </a:buClr>
            </a:pP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84" name="Graphic 83" descr="Dollar with solid fill">
            <a:extLst>
              <a:ext uri="{FF2B5EF4-FFF2-40B4-BE49-F238E27FC236}">
                <a16:creationId xmlns:a16="http://schemas.microsoft.com/office/drawing/2014/main" id="{CA37470B-4583-7821-CF25-2208A89BD7E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87267" y="5820824"/>
            <a:ext cx="651664" cy="651664"/>
          </a:xfrm>
          <a:prstGeom prst="rect">
            <a:avLst/>
          </a:prstGeom>
        </p:spPr>
      </p:pic>
      <p:grpSp>
        <p:nvGrpSpPr>
          <p:cNvPr id="85" name="Group 84">
            <a:extLst>
              <a:ext uri="{FF2B5EF4-FFF2-40B4-BE49-F238E27FC236}">
                <a16:creationId xmlns:a16="http://schemas.microsoft.com/office/drawing/2014/main" id="{6BDD5D16-DBC7-6173-C3B3-6E580198F702}"/>
              </a:ext>
            </a:extLst>
          </p:cNvPr>
          <p:cNvGrpSpPr/>
          <p:nvPr/>
        </p:nvGrpSpPr>
        <p:grpSpPr>
          <a:xfrm>
            <a:off x="10491586" y="5481739"/>
            <a:ext cx="1064511" cy="968449"/>
            <a:chOff x="10494761" y="5474814"/>
            <a:chExt cx="1064511" cy="968449"/>
          </a:xfrm>
        </p:grpSpPr>
        <p:pic>
          <p:nvPicPr>
            <p:cNvPr id="86" name="Graphic 85" descr="Open hand with plant outline">
              <a:extLst>
                <a:ext uri="{FF2B5EF4-FFF2-40B4-BE49-F238E27FC236}">
                  <a16:creationId xmlns:a16="http://schemas.microsoft.com/office/drawing/2014/main" id="{F988B177-24DC-1FB0-AE50-B8DF571AEB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10494761" y="5673305"/>
              <a:ext cx="769958" cy="769958"/>
            </a:xfrm>
            <a:prstGeom prst="rect">
              <a:avLst/>
            </a:prstGeom>
          </p:spPr>
        </p:pic>
        <p:pic>
          <p:nvPicPr>
            <p:cNvPr id="87" name="Graphic 86" descr="Dollar with solid fill">
              <a:extLst>
                <a:ext uri="{FF2B5EF4-FFF2-40B4-BE49-F238E27FC236}">
                  <a16:creationId xmlns:a16="http://schemas.microsoft.com/office/drawing/2014/main" id="{95ECF1DF-2E3B-19B4-1FA3-CE8E389D30E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1021592" y="5474814"/>
              <a:ext cx="537680" cy="537680"/>
            </a:xfrm>
            <a:prstGeom prst="rect">
              <a:avLst/>
            </a:prstGeom>
          </p:spPr>
        </p:pic>
      </p:grp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6B4CAE-7E8B-293F-CD4D-B52F984107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2BE6C9-AF60-11A3-A6ED-02D412ADD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450AA1-50C7-B859-865A-74977BFA4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97110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CCA581-F1E1-C81D-3D4E-7A0DA28A17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E4E986E-3073-3EEC-2FF6-BC94AA6F99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047" y="206241"/>
            <a:ext cx="11693572" cy="590880"/>
          </a:xfrm>
        </p:spPr>
        <p:txBody>
          <a:bodyPr vert="horz"/>
          <a:lstStyle/>
          <a:p>
            <a:r>
              <a:rPr lang="ru-RU" dirty="0"/>
              <a:t>Выявление и оценка рисков, связанных с климатом и их влияние на финансовые показатели</a:t>
            </a:r>
          </a:p>
        </p:txBody>
      </p:sp>
      <p:grpSp>
        <p:nvGrpSpPr>
          <p:cNvPr id="7" name="Group 11">
            <a:extLst>
              <a:ext uri="{FF2B5EF4-FFF2-40B4-BE49-F238E27FC236}">
                <a16:creationId xmlns:a16="http://schemas.microsoft.com/office/drawing/2014/main" id="{372684EB-A44C-ECDE-27F0-DAAF835D51E1}"/>
              </a:ext>
            </a:extLst>
          </p:cNvPr>
          <p:cNvGrpSpPr>
            <a:grpSpLocks/>
          </p:cNvGrpSpPr>
          <p:nvPr/>
        </p:nvGrpSpPr>
        <p:grpSpPr bwMode="auto">
          <a:xfrm>
            <a:off x="3840107" y="1947951"/>
            <a:ext cx="4511786" cy="4479107"/>
            <a:chOff x="4206" y="2155"/>
            <a:chExt cx="945" cy="939"/>
          </a:xfrm>
        </p:grpSpPr>
        <p:sp>
          <p:nvSpPr>
            <p:cNvPr id="8" name="AutoShape 12">
              <a:extLst>
                <a:ext uri="{FF2B5EF4-FFF2-40B4-BE49-F238E27FC236}">
                  <a16:creationId xmlns:a16="http://schemas.microsoft.com/office/drawing/2014/main" id="{3949196A-896B-97A3-21D8-59A3CC6287A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206" y="2155"/>
              <a:ext cx="945" cy="939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646464"/>
                </a:solidFill>
              </a:endParaRPr>
            </a:p>
          </p:txBody>
        </p:sp>
        <p:sp>
          <p:nvSpPr>
            <p:cNvPr id="9" name="Freeform 13">
              <a:extLst>
                <a:ext uri="{FF2B5EF4-FFF2-40B4-BE49-F238E27FC236}">
                  <a16:creationId xmlns:a16="http://schemas.microsoft.com/office/drawing/2014/main" id="{7E1407AD-C574-F812-1D11-336069912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5" y="2747"/>
              <a:ext cx="513" cy="347"/>
            </a:xfrm>
            <a:custGeom>
              <a:avLst/>
              <a:gdLst/>
              <a:ahLst/>
              <a:cxnLst>
                <a:cxn ang="0">
                  <a:pos x="1539" y="384"/>
                </a:cxn>
                <a:cxn ang="0">
                  <a:pos x="1786" y="750"/>
                </a:cxn>
                <a:cxn ang="0">
                  <a:pos x="2020" y="1171"/>
                </a:cxn>
                <a:cxn ang="0">
                  <a:pos x="1953" y="1209"/>
                </a:cxn>
                <a:cxn ang="0">
                  <a:pos x="1885" y="1242"/>
                </a:cxn>
                <a:cxn ang="0">
                  <a:pos x="1818" y="1269"/>
                </a:cxn>
                <a:cxn ang="0">
                  <a:pos x="1753" y="1294"/>
                </a:cxn>
                <a:cxn ang="0">
                  <a:pos x="1689" y="1315"/>
                </a:cxn>
                <a:cxn ang="0">
                  <a:pos x="1627" y="1332"/>
                </a:cxn>
                <a:cxn ang="0">
                  <a:pos x="1542" y="1353"/>
                </a:cxn>
                <a:cxn ang="0">
                  <a:pos x="1489" y="1362"/>
                </a:cxn>
                <a:cxn ang="0">
                  <a:pos x="1401" y="1376"/>
                </a:cxn>
                <a:cxn ang="0">
                  <a:pos x="1337" y="1383"/>
                </a:cxn>
                <a:cxn ang="0">
                  <a:pos x="1297" y="1385"/>
                </a:cxn>
                <a:cxn ang="0">
                  <a:pos x="1259" y="1387"/>
                </a:cxn>
                <a:cxn ang="0">
                  <a:pos x="1177" y="1388"/>
                </a:cxn>
                <a:cxn ang="0">
                  <a:pos x="1091" y="1384"/>
                </a:cxn>
                <a:cxn ang="0">
                  <a:pos x="1024" y="1378"/>
                </a:cxn>
                <a:cxn ang="0">
                  <a:pos x="951" y="1368"/>
                </a:cxn>
                <a:cxn ang="0">
                  <a:pos x="873" y="1355"/>
                </a:cxn>
                <a:cxn ang="0">
                  <a:pos x="790" y="1336"/>
                </a:cxn>
                <a:cxn ang="0">
                  <a:pos x="746" y="1325"/>
                </a:cxn>
                <a:cxn ang="0">
                  <a:pos x="659" y="1298"/>
                </a:cxn>
                <a:cxn ang="0">
                  <a:pos x="568" y="1264"/>
                </a:cxn>
                <a:cxn ang="0">
                  <a:pos x="477" y="1223"/>
                </a:cxn>
                <a:cxn ang="0">
                  <a:pos x="387" y="1174"/>
                </a:cxn>
                <a:cxn ang="0">
                  <a:pos x="317" y="1130"/>
                </a:cxn>
                <a:cxn ang="0">
                  <a:pos x="251" y="1083"/>
                </a:cxn>
                <a:cxn ang="0">
                  <a:pos x="206" y="1048"/>
                </a:cxn>
                <a:cxn ang="0">
                  <a:pos x="203" y="1051"/>
                </a:cxn>
                <a:cxn ang="0">
                  <a:pos x="175" y="1086"/>
                </a:cxn>
                <a:cxn ang="0">
                  <a:pos x="110" y="1174"/>
                </a:cxn>
                <a:cxn ang="0">
                  <a:pos x="19" y="1303"/>
                </a:cxn>
                <a:cxn ang="0">
                  <a:pos x="981" y="0"/>
                </a:cxn>
                <a:cxn ang="0">
                  <a:pos x="787" y="283"/>
                </a:cxn>
                <a:cxn ang="0">
                  <a:pos x="860" y="329"/>
                </a:cxn>
                <a:cxn ang="0">
                  <a:pos x="918" y="359"/>
                </a:cxn>
                <a:cxn ang="0">
                  <a:pos x="967" y="381"/>
                </a:cxn>
                <a:cxn ang="0">
                  <a:pos x="1001" y="394"/>
                </a:cxn>
                <a:cxn ang="0">
                  <a:pos x="1037" y="405"/>
                </a:cxn>
                <a:cxn ang="0">
                  <a:pos x="1074" y="414"/>
                </a:cxn>
                <a:cxn ang="0">
                  <a:pos x="1113" y="420"/>
                </a:cxn>
                <a:cxn ang="0">
                  <a:pos x="1150" y="423"/>
                </a:cxn>
                <a:cxn ang="0">
                  <a:pos x="1188" y="422"/>
                </a:cxn>
                <a:cxn ang="0">
                  <a:pos x="1212" y="419"/>
                </a:cxn>
                <a:cxn ang="0">
                  <a:pos x="1257" y="415"/>
                </a:cxn>
                <a:cxn ang="0">
                  <a:pos x="1316" y="406"/>
                </a:cxn>
                <a:cxn ang="0">
                  <a:pos x="1366" y="395"/>
                </a:cxn>
                <a:cxn ang="0">
                  <a:pos x="1421" y="381"/>
                </a:cxn>
                <a:cxn ang="0">
                  <a:pos x="1467" y="367"/>
                </a:cxn>
                <a:cxn ang="0">
                  <a:pos x="1516" y="350"/>
                </a:cxn>
              </a:cxnLst>
              <a:rect l="0" t="0" r="r" b="b"/>
              <a:pathLst>
                <a:path w="2054" h="1388">
                  <a:moveTo>
                    <a:pt x="1516" y="350"/>
                  </a:moveTo>
                  <a:lnTo>
                    <a:pt x="1539" y="384"/>
                  </a:lnTo>
                  <a:lnTo>
                    <a:pt x="1600" y="475"/>
                  </a:lnTo>
                  <a:lnTo>
                    <a:pt x="1786" y="750"/>
                  </a:lnTo>
                  <a:lnTo>
                    <a:pt x="2054" y="1150"/>
                  </a:lnTo>
                  <a:lnTo>
                    <a:pt x="2020" y="1171"/>
                  </a:lnTo>
                  <a:lnTo>
                    <a:pt x="1986" y="1191"/>
                  </a:lnTo>
                  <a:lnTo>
                    <a:pt x="1953" y="1209"/>
                  </a:lnTo>
                  <a:lnTo>
                    <a:pt x="1919" y="1226"/>
                  </a:lnTo>
                  <a:lnTo>
                    <a:pt x="1885" y="1242"/>
                  </a:lnTo>
                  <a:lnTo>
                    <a:pt x="1851" y="1256"/>
                  </a:lnTo>
                  <a:lnTo>
                    <a:pt x="1818" y="1269"/>
                  </a:lnTo>
                  <a:lnTo>
                    <a:pt x="1785" y="1282"/>
                  </a:lnTo>
                  <a:lnTo>
                    <a:pt x="1753" y="1294"/>
                  </a:lnTo>
                  <a:lnTo>
                    <a:pt x="1720" y="1304"/>
                  </a:lnTo>
                  <a:lnTo>
                    <a:pt x="1689" y="1315"/>
                  </a:lnTo>
                  <a:lnTo>
                    <a:pt x="1658" y="1324"/>
                  </a:lnTo>
                  <a:lnTo>
                    <a:pt x="1627" y="1332"/>
                  </a:lnTo>
                  <a:lnTo>
                    <a:pt x="1598" y="1340"/>
                  </a:lnTo>
                  <a:lnTo>
                    <a:pt x="1542" y="1353"/>
                  </a:lnTo>
                  <a:lnTo>
                    <a:pt x="1515" y="1358"/>
                  </a:lnTo>
                  <a:lnTo>
                    <a:pt x="1489" y="1362"/>
                  </a:lnTo>
                  <a:lnTo>
                    <a:pt x="1443" y="1370"/>
                  </a:lnTo>
                  <a:lnTo>
                    <a:pt x="1401" y="1376"/>
                  </a:lnTo>
                  <a:lnTo>
                    <a:pt x="1365" y="1380"/>
                  </a:lnTo>
                  <a:lnTo>
                    <a:pt x="1337" y="1383"/>
                  </a:lnTo>
                  <a:lnTo>
                    <a:pt x="1315" y="1384"/>
                  </a:lnTo>
                  <a:lnTo>
                    <a:pt x="1297" y="1385"/>
                  </a:lnTo>
                  <a:lnTo>
                    <a:pt x="1284" y="1385"/>
                  </a:lnTo>
                  <a:lnTo>
                    <a:pt x="1259" y="1387"/>
                  </a:lnTo>
                  <a:lnTo>
                    <a:pt x="1223" y="1388"/>
                  </a:lnTo>
                  <a:lnTo>
                    <a:pt x="1177" y="1388"/>
                  </a:lnTo>
                  <a:lnTo>
                    <a:pt x="1122" y="1385"/>
                  </a:lnTo>
                  <a:lnTo>
                    <a:pt x="1091" y="1384"/>
                  </a:lnTo>
                  <a:lnTo>
                    <a:pt x="1059" y="1381"/>
                  </a:lnTo>
                  <a:lnTo>
                    <a:pt x="1024" y="1378"/>
                  </a:lnTo>
                  <a:lnTo>
                    <a:pt x="988" y="1374"/>
                  </a:lnTo>
                  <a:lnTo>
                    <a:pt x="951" y="1368"/>
                  </a:lnTo>
                  <a:lnTo>
                    <a:pt x="913" y="1362"/>
                  </a:lnTo>
                  <a:lnTo>
                    <a:pt x="873" y="1355"/>
                  </a:lnTo>
                  <a:lnTo>
                    <a:pt x="832" y="1346"/>
                  </a:lnTo>
                  <a:lnTo>
                    <a:pt x="790" y="1336"/>
                  </a:lnTo>
                  <a:lnTo>
                    <a:pt x="768" y="1330"/>
                  </a:lnTo>
                  <a:lnTo>
                    <a:pt x="746" y="1325"/>
                  </a:lnTo>
                  <a:lnTo>
                    <a:pt x="703" y="1312"/>
                  </a:lnTo>
                  <a:lnTo>
                    <a:pt x="659" y="1298"/>
                  </a:lnTo>
                  <a:lnTo>
                    <a:pt x="614" y="1282"/>
                  </a:lnTo>
                  <a:lnTo>
                    <a:pt x="568" y="1264"/>
                  </a:lnTo>
                  <a:lnTo>
                    <a:pt x="524" y="1244"/>
                  </a:lnTo>
                  <a:lnTo>
                    <a:pt x="477" y="1223"/>
                  </a:lnTo>
                  <a:lnTo>
                    <a:pt x="431" y="1200"/>
                  </a:lnTo>
                  <a:lnTo>
                    <a:pt x="387" y="1174"/>
                  </a:lnTo>
                  <a:lnTo>
                    <a:pt x="340" y="1146"/>
                  </a:lnTo>
                  <a:lnTo>
                    <a:pt x="317" y="1130"/>
                  </a:lnTo>
                  <a:lnTo>
                    <a:pt x="296" y="1116"/>
                  </a:lnTo>
                  <a:lnTo>
                    <a:pt x="251" y="1083"/>
                  </a:lnTo>
                  <a:lnTo>
                    <a:pt x="229" y="1066"/>
                  </a:lnTo>
                  <a:lnTo>
                    <a:pt x="206" y="1048"/>
                  </a:lnTo>
                  <a:lnTo>
                    <a:pt x="206" y="1049"/>
                  </a:lnTo>
                  <a:lnTo>
                    <a:pt x="203" y="1051"/>
                  </a:lnTo>
                  <a:lnTo>
                    <a:pt x="197" y="1058"/>
                  </a:lnTo>
                  <a:lnTo>
                    <a:pt x="175" y="1086"/>
                  </a:lnTo>
                  <a:lnTo>
                    <a:pt x="145" y="1126"/>
                  </a:lnTo>
                  <a:lnTo>
                    <a:pt x="110" y="1174"/>
                  </a:lnTo>
                  <a:lnTo>
                    <a:pt x="47" y="1262"/>
                  </a:lnTo>
                  <a:lnTo>
                    <a:pt x="19" y="1303"/>
                  </a:lnTo>
                  <a:lnTo>
                    <a:pt x="0" y="313"/>
                  </a:lnTo>
                  <a:lnTo>
                    <a:pt x="981" y="0"/>
                  </a:lnTo>
                  <a:lnTo>
                    <a:pt x="777" y="275"/>
                  </a:lnTo>
                  <a:lnTo>
                    <a:pt x="787" y="283"/>
                  </a:lnTo>
                  <a:lnTo>
                    <a:pt x="815" y="303"/>
                  </a:lnTo>
                  <a:lnTo>
                    <a:pt x="860" y="329"/>
                  </a:lnTo>
                  <a:lnTo>
                    <a:pt x="887" y="344"/>
                  </a:lnTo>
                  <a:lnTo>
                    <a:pt x="918" y="359"/>
                  </a:lnTo>
                  <a:lnTo>
                    <a:pt x="950" y="373"/>
                  </a:lnTo>
                  <a:lnTo>
                    <a:pt x="967" y="381"/>
                  </a:lnTo>
                  <a:lnTo>
                    <a:pt x="983" y="388"/>
                  </a:lnTo>
                  <a:lnTo>
                    <a:pt x="1001" y="394"/>
                  </a:lnTo>
                  <a:lnTo>
                    <a:pt x="1019" y="399"/>
                  </a:lnTo>
                  <a:lnTo>
                    <a:pt x="1037" y="405"/>
                  </a:lnTo>
                  <a:lnTo>
                    <a:pt x="1056" y="410"/>
                  </a:lnTo>
                  <a:lnTo>
                    <a:pt x="1074" y="414"/>
                  </a:lnTo>
                  <a:lnTo>
                    <a:pt x="1093" y="418"/>
                  </a:lnTo>
                  <a:lnTo>
                    <a:pt x="1113" y="420"/>
                  </a:lnTo>
                  <a:lnTo>
                    <a:pt x="1132" y="422"/>
                  </a:lnTo>
                  <a:lnTo>
                    <a:pt x="1150" y="423"/>
                  </a:lnTo>
                  <a:lnTo>
                    <a:pt x="1169" y="423"/>
                  </a:lnTo>
                  <a:lnTo>
                    <a:pt x="1188" y="422"/>
                  </a:lnTo>
                  <a:lnTo>
                    <a:pt x="1207" y="419"/>
                  </a:lnTo>
                  <a:lnTo>
                    <a:pt x="1212" y="419"/>
                  </a:lnTo>
                  <a:lnTo>
                    <a:pt x="1230" y="418"/>
                  </a:lnTo>
                  <a:lnTo>
                    <a:pt x="1257" y="415"/>
                  </a:lnTo>
                  <a:lnTo>
                    <a:pt x="1294" y="410"/>
                  </a:lnTo>
                  <a:lnTo>
                    <a:pt x="1316" y="406"/>
                  </a:lnTo>
                  <a:lnTo>
                    <a:pt x="1340" y="402"/>
                  </a:lnTo>
                  <a:lnTo>
                    <a:pt x="1366" y="395"/>
                  </a:lnTo>
                  <a:lnTo>
                    <a:pt x="1393" y="389"/>
                  </a:lnTo>
                  <a:lnTo>
                    <a:pt x="1421" y="381"/>
                  </a:lnTo>
                  <a:lnTo>
                    <a:pt x="1452" y="372"/>
                  </a:lnTo>
                  <a:lnTo>
                    <a:pt x="1467" y="367"/>
                  </a:lnTo>
                  <a:lnTo>
                    <a:pt x="1483" y="361"/>
                  </a:lnTo>
                  <a:lnTo>
                    <a:pt x="1516" y="350"/>
                  </a:lnTo>
                  <a:close/>
                </a:path>
              </a:pathLst>
            </a:custGeom>
            <a:solidFill>
              <a:srgbClr val="808080"/>
            </a:solidFill>
            <a:ln w="28575" cmpd="sng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646464"/>
                </a:solidFill>
              </a:endParaRPr>
            </a:p>
          </p:txBody>
        </p:sp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C7D0BF99-5079-DAC7-768D-F7084BF57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1" y="2577"/>
              <a:ext cx="370" cy="504"/>
            </a:xfrm>
            <a:custGeom>
              <a:avLst/>
              <a:gdLst/>
              <a:ahLst/>
              <a:cxnLst>
                <a:cxn ang="0">
                  <a:pos x="569" y="247"/>
                </a:cxn>
                <a:cxn ang="0">
                  <a:pos x="988" y="130"/>
                </a:cxn>
                <a:cxn ang="0">
                  <a:pos x="1454" y="39"/>
                </a:cxn>
                <a:cxn ang="0">
                  <a:pos x="1466" y="116"/>
                </a:cxn>
                <a:cxn ang="0">
                  <a:pos x="1474" y="192"/>
                </a:cxn>
                <a:cxn ang="0">
                  <a:pos x="1478" y="267"/>
                </a:cxn>
                <a:cxn ang="0">
                  <a:pos x="1479" y="339"/>
                </a:cxn>
                <a:cxn ang="0">
                  <a:pos x="1478" y="407"/>
                </a:cxn>
                <a:cxn ang="0">
                  <a:pos x="1474" y="471"/>
                </a:cxn>
                <a:cxn ang="0">
                  <a:pos x="1465" y="561"/>
                </a:cxn>
                <a:cxn ang="0">
                  <a:pos x="1457" y="615"/>
                </a:cxn>
                <a:cxn ang="0">
                  <a:pos x="1441" y="705"/>
                </a:cxn>
                <a:cxn ang="0">
                  <a:pos x="1420" y="790"/>
                </a:cxn>
                <a:cxn ang="0">
                  <a:pos x="1413" y="821"/>
                </a:cxn>
                <a:cxn ang="0">
                  <a:pos x="1395" y="880"/>
                </a:cxn>
                <a:cxn ang="0">
                  <a:pos x="1370" y="951"/>
                </a:cxn>
                <a:cxn ang="0">
                  <a:pos x="1347" y="1006"/>
                </a:cxn>
                <a:cxn ang="0">
                  <a:pos x="1320" y="1069"/>
                </a:cxn>
                <a:cxn ang="0">
                  <a:pos x="1288" y="1137"/>
                </a:cxn>
                <a:cxn ang="0">
                  <a:pos x="1250" y="1207"/>
                </a:cxn>
                <a:cxn ang="0">
                  <a:pos x="1205" y="1282"/>
                </a:cxn>
                <a:cxn ang="0">
                  <a:pos x="1168" y="1338"/>
                </a:cxn>
                <a:cxn ang="0">
                  <a:pos x="1127" y="1395"/>
                </a:cxn>
                <a:cxn ang="0">
                  <a:pos x="1067" y="1471"/>
                </a:cxn>
                <a:cxn ang="0">
                  <a:pos x="1034" y="1509"/>
                </a:cxn>
                <a:cxn ang="0">
                  <a:pos x="981" y="1564"/>
                </a:cxn>
                <a:cxn ang="0">
                  <a:pos x="943" y="1601"/>
                </a:cxn>
                <a:cxn ang="0">
                  <a:pos x="903" y="1636"/>
                </a:cxn>
                <a:cxn ang="0">
                  <a:pos x="862" y="1670"/>
                </a:cxn>
                <a:cxn ang="0">
                  <a:pos x="819" y="1704"/>
                </a:cxn>
                <a:cxn ang="0">
                  <a:pos x="772" y="1736"/>
                </a:cxn>
                <a:cxn ang="0">
                  <a:pos x="749" y="1753"/>
                </a:cxn>
                <a:cxn ang="0">
                  <a:pos x="756" y="1763"/>
                </a:cxn>
                <a:cxn ang="0">
                  <a:pos x="802" y="1836"/>
                </a:cxn>
                <a:cxn ang="0">
                  <a:pos x="897" y="1975"/>
                </a:cxn>
                <a:cxn ang="0">
                  <a:pos x="0" y="1712"/>
                </a:cxn>
                <a:cxn ang="0">
                  <a:pos x="31" y="663"/>
                </a:cxn>
                <a:cxn ang="0">
                  <a:pos x="229" y="942"/>
                </a:cxn>
                <a:cxn ang="0">
                  <a:pos x="276" y="904"/>
                </a:cxn>
                <a:cxn ang="0">
                  <a:pos x="319" y="865"/>
                </a:cxn>
                <a:cxn ang="0">
                  <a:pos x="367" y="814"/>
                </a:cxn>
                <a:cxn ang="0">
                  <a:pos x="390" y="786"/>
                </a:cxn>
                <a:cxn ang="0">
                  <a:pos x="424" y="739"/>
                </a:cxn>
                <a:cxn ang="0">
                  <a:pos x="445" y="706"/>
                </a:cxn>
                <a:cxn ang="0">
                  <a:pos x="463" y="672"/>
                </a:cxn>
                <a:cxn ang="0">
                  <a:pos x="478" y="636"/>
                </a:cxn>
                <a:cxn ang="0">
                  <a:pos x="488" y="599"/>
                </a:cxn>
                <a:cxn ang="0">
                  <a:pos x="498" y="557"/>
                </a:cxn>
                <a:cxn ang="0">
                  <a:pos x="509" y="513"/>
                </a:cxn>
                <a:cxn ang="0">
                  <a:pos x="516" y="471"/>
                </a:cxn>
                <a:cxn ang="0">
                  <a:pos x="523" y="420"/>
                </a:cxn>
                <a:cxn ang="0">
                  <a:pos x="528" y="361"/>
                </a:cxn>
                <a:cxn ang="0">
                  <a:pos x="529" y="294"/>
                </a:cxn>
              </a:cxnLst>
              <a:rect l="0" t="0" r="r" b="b"/>
              <a:pathLst>
                <a:path w="1479" h="2015">
                  <a:moveTo>
                    <a:pt x="529" y="259"/>
                  </a:moveTo>
                  <a:lnTo>
                    <a:pt x="569" y="247"/>
                  </a:lnTo>
                  <a:lnTo>
                    <a:pt x="673" y="218"/>
                  </a:lnTo>
                  <a:lnTo>
                    <a:pt x="988" y="130"/>
                  </a:lnTo>
                  <a:lnTo>
                    <a:pt x="1446" y="0"/>
                  </a:lnTo>
                  <a:lnTo>
                    <a:pt x="1454" y="39"/>
                  </a:lnTo>
                  <a:lnTo>
                    <a:pt x="1460" y="79"/>
                  </a:lnTo>
                  <a:lnTo>
                    <a:pt x="1466" y="116"/>
                  </a:lnTo>
                  <a:lnTo>
                    <a:pt x="1470" y="156"/>
                  </a:lnTo>
                  <a:lnTo>
                    <a:pt x="1474" y="192"/>
                  </a:lnTo>
                  <a:lnTo>
                    <a:pt x="1477" y="230"/>
                  </a:lnTo>
                  <a:lnTo>
                    <a:pt x="1478" y="267"/>
                  </a:lnTo>
                  <a:lnTo>
                    <a:pt x="1479" y="303"/>
                  </a:lnTo>
                  <a:lnTo>
                    <a:pt x="1479" y="339"/>
                  </a:lnTo>
                  <a:lnTo>
                    <a:pt x="1479" y="373"/>
                  </a:lnTo>
                  <a:lnTo>
                    <a:pt x="1478" y="407"/>
                  </a:lnTo>
                  <a:lnTo>
                    <a:pt x="1477" y="439"/>
                  </a:lnTo>
                  <a:lnTo>
                    <a:pt x="1474" y="471"/>
                  </a:lnTo>
                  <a:lnTo>
                    <a:pt x="1472" y="502"/>
                  </a:lnTo>
                  <a:lnTo>
                    <a:pt x="1465" y="561"/>
                  </a:lnTo>
                  <a:lnTo>
                    <a:pt x="1461" y="589"/>
                  </a:lnTo>
                  <a:lnTo>
                    <a:pt x="1457" y="615"/>
                  </a:lnTo>
                  <a:lnTo>
                    <a:pt x="1450" y="663"/>
                  </a:lnTo>
                  <a:lnTo>
                    <a:pt x="1441" y="705"/>
                  </a:lnTo>
                  <a:lnTo>
                    <a:pt x="1433" y="740"/>
                  </a:lnTo>
                  <a:lnTo>
                    <a:pt x="1420" y="790"/>
                  </a:lnTo>
                  <a:lnTo>
                    <a:pt x="1417" y="808"/>
                  </a:lnTo>
                  <a:lnTo>
                    <a:pt x="1413" y="821"/>
                  </a:lnTo>
                  <a:lnTo>
                    <a:pt x="1405" y="846"/>
                  </a:lnTo>
                  <a:lnTo>
                    <a:pt x="1395" y="880"/>
                  </a:lnTo>
                  <a:lnTo>
                    <a:pt x="1379" y="925"/>
                  </a:lnTo>
                  <a:lnTo>
                    <a:pt x="1370" y="951"/>
                  </a:lnTo>
                  <a:lnTo>
                    <a:pt x="1360" y="977"/>
                  </a:lnTo>
                  <a:lnTo>
                    <a:pt x="1347" y="1006"/>
                  </a:lnTo>
                  <a:lnTo>
                    <a:pt x="1335" y="1037"/>
                  </a:lnTo>
                  <a:lnTo>
                    <a:pt x="1320" y="1069"/>
                  </a:lnTo>
                  <a:lnTo>
                    <a:pt x="1305" y="1101"/>
                  </a:lnTo>
                  <a:lnTo>
                    <a:pt x="1288" y="1137"/>
                  </a:lnTo>
                  <a:lnTo>
                    <a:pt x="1269" y="1172"/>
                  </a:lnTo>
                  <a:lnTo>
                    <a:pt x="1250" y="1207"/>
                  </a:lnTo>
                  <a:lnTo>
                    <a:pt x="1228" y="1244"/>
                  </a:lnTo>
                  <a:lnTo>
                    <a:pt x="1205" y="1282"/>
                  </a:lnTo>
                  <a:lnTo>
                    <a:pt x="1181" y="1320"/>
                  </a:lnTo>
                  <a:lnTo>
                    <a:pt x="1168" y="1338"/>
                  </a:lnTo>
                  <a:lnTo>
                    <a:pt x="1155" y="1358"/>
                  </a:lnTo>
                  <a:lnTo>
                    <a:pt x="1127" y="1395"/>
                  </a:lnTo>
                  <a:lnTo>
                    <a:pt x="1098" y="1433"/>
                  </a:lnTo>
                  <a:lnTo>
                    <a:pt x="1067" y="1471"/>
                  </a:lnTo>
                  <a:lnTo>
                    <a:pt x="1050" y="1491"/>
                  </a:lnTo>
                  <a:lnTo>
                    <a:pt x="1034" y="1509"/>
                  </a:lnTo>
                  <a:lnTo>
                    <a:pt x="999" y="1546"/>
                  </a:lnTo>
                  <a:lnTo>
                    <a:pt x="981" y="1564"/>
                  </a:lnTo>
                  <a:lnTo>
                    <a:pt x="962" y="1582"/>
                  </a:lnTo>
                  <a:lnTo>
                    <a:pt x="943" y="1601"/>
                  </a:lnTo>
                  <a:lnTo>
                    <a:pt x="924" y="1619"/>
                  </a:lnTo>
                  <a:lnTo>
                    <a:pt x="903" y="1636"/>
                  </a:lnTo>
                  <a:lnTo>
                    <a:pt x="883" y="1653"/>
                  </a:lnTo>
                  <a:lnTo>
                    <a:pt x="862" y="1670"/>
                  </a:lnTo>
                  <a:lnTo>
                    <a:pt x="840" y="1687"/>
                  </a:lnTo>
                  <a:lnTo>
                    <a:pt x="819" y="1704"/>
                  </a:lnTo>
                  <a:lnTo>
                    <a:pt x="795" y="1720"/>
                  </a:lnTo>
                  <a:lnTo>
                    <a:pt x="772" y="1736"/>
                  </a:lnTo>
                  <a:lnTo>
                    <a:pt x="749" y="1751"/>
                  </a:lnTo>
                  <a:lnTo>
                    <a:pt x="749" y="1753"/>
                  </a:lnTo>
                  <a:lnTo>
                    <a:pt x="751" y="1755"/>
                  </a:lnTo>
                  <a:lnTo>
                    <a:pt x="756" y="1763"/>
                  </a:lnTo>
                  <a:lnTo>
                    <a:pt x="774" y="1794"/>
                  </a:lnTo>
                  <a:lnTo>
                    <a:pt x="802" y="1836"/>
                  </a:lnTo>
                  <a:lnTo>
                    <a:pt x="834" y="1885"/>
                  </a:lnTo>
                  <a:lnTo>
                    <a:pt x="897" y="1975"/>
                  </a:lnTo>
                  <a:lnTo>
                    <a:pt x="924" y="2015"/>
                  </a:lnTo>
                  <a:lnTo>
                    <a:pt x="0" y="1712"/>
                  </a:lnTo>
                  <a:lnTo>
                    <a:pt x="16" y="1188"/>
                  </a:lnTo>
                  <a:lnTo>
                    <a:pt x="31" y="663"/>
                  </a:lnTo>
                  <a:lnTo>
                    <a:pt x="219" y="948"/>
                  </a:lnTo>
                  <a:lnTo>
                    <a:pt x="229" y="942"/>
                  </a:lnTo>
                  <a:lnTo>
                    <a:pt x="258" y="919"/>
                  </a:lnTo>
                  <a:lnTo>
                    <a:pt x="276" y="904"/>
                  </a:lnTo>
                  <a:lnTo>
                    <a:pt x="296" y="885"/>
                  </a:lnTo>
                  <a:lnTo>
                    <a:pt x="319" y="865"/>
                  </a:lnTo>
                  <a:lnTo>
                    <a:pt x="342" y="840"/>
                  </a:lnTo>
                  <a:lnTo>
                    <a:pt x="367" y="814"/>
                  </a:lnTo>
                  <a:lnTo>
                    <a:pt x="378" y="800"/>
                  </a:lnTo>
                  <a:lnTo>
                    <a:pt x="390" y="786"/>
                  </a:lnTo>
                  <a:lnTo>
                    <a:pt x="413" y="755"/>
                  </a:lnTo>
                  <a:lnTo>
                    <a:pt x="424" y="739"/>
                  </a:lnTo>
                  <a:lnTo>
                    <a:pt x="434" y="723"/>
                  </a:lnTo>
                  <a:lnTo>
                    <a:pt x="445" y="706"/>
                  </a:lnTo>
                  <a:lnTo>
                    <a:pt x="454" y="689"/>
                  </a:lnTo>
                  <a:lnTo>
                    <a:pt x="463" y="672"/>
                  </a:lnTo>
                  <a:lnTo>
                    <a:pt x="470" y="654"/>
                  </a:lnTo>
                  <a:lnTo>
                    <a:pt x="478" y="636"/>
                  </a:lnTo>
                  <a:lnTo>
                    <a:pt x="483" y="617"/>
                  </a:lnTo>
                  <a:lnTo>
                    <a:pt x="488" y="599"/>
                  </a:lnTo>
                  <a:lnTo>
                    <a:pt x="493" y="581"/>
                  </a:lnTo>
                  <a:lnTo>
                    <a:pt x="498" y="557"/>
                  </a:lnTo>
                  <a:lnTo>
                    <a:pt x="505" y="530"/>
                  </a:lnTo>
                  <a:lnTo>
                    <a:pt x="509" y="513"/>
                  </a:lnTo>
                  <a:lnTo>
                    <a:pt x="512" y="492"/>
                  </a:lnTo>
                  <a:lnTo>
                    <a:pt x="516" y="471"/>
                  </a:lnTo>
                  <a:lnTo>
                    <a:pt x="519" y="446"/>
                  </a:lnTo>
                  <a:lnTo>
                    <a:pt x="523" y="420"/>
                  </a:lnTo>
                  <a:lnTo>
                    <a:pt x="525" y="391"/>
                  </a:lnTo>
                  <a:lnTo>
                    <a:pt x="528" y="361"/>
                  </a:lnTo>
                  <a:lnTo>
                    <a:pt x="529" y="328"/>
                  </a:lnTo>
                  <a:lnTo>
                    <a:pt x="529" y="294"/>
                  </a:lnTo>
                  <a:lnTo>
                    <a:pt x="529" y="259"/>
                  </a:lnTo>
                  <a:close/>
                </a:path>
              </a:pathLst>
            </a:custGeom>
            <a:solidFill>
              <a:srgbClr val="646464"/>
            </a:solidFill>
            <a:ln w="28575" cmpd="sng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646464"/>
                </a:solidFill>
              </a:endParaRPr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FFCCF2F3-717E-C35C-3824-800C9A149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1" y="2235"/>
              <a:ext cx="440" cy="473"/>
            </a:xfrm>
            <a:custGeom>
              <a:avLst/>
              <a:gdLst/>
              <a:ahLst/>
              <a:cxnLst>
                <a:cxn ang="0">
                  <a:pos x="0" y="928"/>
                </a:cxn>
                <a:cxn ang="0">
                  <a:pos x="4" y="485"/>
                </a:cxn>
                <a:cxn ang="0">
                  <a:pos x="49" y="2"/>
                </a:cxn>
                <a:cxn ang="0">
                  <a:pos x="124" y="11"/>
                </a:cxn>
                <a:cxn ang="0">
                  <a:pos x="199" y="25"/>
                </a:cxn>
                <a:cxn ang="0">
                  <a:pos x="269" y="40"/>
                </a:cxn>
                <a:cxn ang="0">
                  <a:pos x="337" y="59"/>
                </a:cxn>
                <a:cxn ang="0">
                  <a:pos x="401" y="79"/>
                </a:cxn>
                <a:cxn ang="0">
                  <a:pos x="461" y="100"/>
                </a:cxn>
                <a:cxn ang="0">
                  <a:pos x="542" y="134"/>
                </a:cxn>
                <a:cxn ang="0">
                  <a:pos x="634" y="178"/>
                </a:cxn>
                <a:cxn ang="0">
                  <a:pos x="702" y="214"/>
                </a:cxn>
                <a:cxn ang="0">
                  <a:pos x="745" y="240"/>
                </a:cxn>
                <a:cxn ang="0">
                  <a:pos x="772" y="257"/>
                </a:cxn>
                <a:cxn ang="0">
                  <a:pos x="823" y="291"/>
                </a:cxn>
                <a:cxn ang="0">
                  <a:pos x="905" y="353"/>
                </a:cxn>
                <a:cxn ang="0">
                  <a:pos x="954" y="393"/>
                </a:cxn>
                <a:cxn ang="0">
                  <a:pos x="1008" y="440"/>
                </a:cxn>
                <a:cxn ang="0">
                  <a:pos x="1063" y="494"/>
                </a:cxn>
                <a:cxn ang="0">
                  <a:pos x="1120" y="554"/>
                </a:cxn>
                <a:cxn ang="0">
                  <a:pos x="1178" y="622"/>
                </a:cxn>
                <a:cxn ang="0">
                  <a:pos x="1234" y="695"/>
                </a:cxn>
                <a:cxn ang="0">
                  <a:pos x="1275" y="756"/>
                </a:cxn>
                <a:cxn ang="0">
                  <a:pos x="1316" y="820"/>
                </a:cxn>
                <a:cxn ang="0">
                  <a:pos x="1341" y="864"/>
                </a:cxn>
                <a:cxn ang="0">
                  <a:pos x="1377" y="933"/>
                </a:cxn>
                <a:cxn ang="0">
                  <a:pos x="1410" y="1007"/>
                </a:cxn>
                <a:cxn ang="0">
                  <a:pos x="1430" y="1058"/>
                </a:cxn>
                <a:cxn ang="0">
                  <a:pos x="1448" y="1110"/>
                </a:cxn>
                <a:cxn ang="0">
                  <a:pos x="1465" y="1165"/>
                </a:cxn>
                <a:cxn ang="0">
                  <a:pos x="1479" y="1162"/>
                </a:cxn>
                <a:cxn ang="0">
                  <a:pos x="1560" y="1136"/>
                </a:cxn>
                <a:cxn ang="0">
                  <a:pos x="1716" y="1083"/>
                </a:cxn>
                <a:cxn ang="0">
                  <a:pos x="1222" y="1889"/>
                </a:cxn>
                <a:cxn ang="0">
                  <a:pos x="563" y="1464"/>
                </a:cxn>
                <a:cxn ang="0">
                  <a:pos x="547" y="1419"/>
                </a:cxn>
                <a:cxn ang="0">
                  <a:pos x="525" y="1372"/>
                </a:cxn>
                <a:cxn ang="0">
                  <a:pos x="496" y="1313"/>
                </a:cxn>
                <a:cxn ang="0">
                  <a:pos x="467" y="1267"/>
                </a:cxn>
                <a:cxn ang="0">
                  <a:pos x="447" y="1236"/>
                </a:cxn>
                <a:cxn ang="0">
                  <a:pos x="423" y="1206"/>
                </a:cxn>
                <a:cxn ang="0">
                  <a:pos x="398" y="1177"/>
                </a:cxn>
                <a:cxn ang="0">
                  <a:pos x="370" y="1149"/>
                </a:cxn>
                <a:cxn ang="0">
                  <a:pos x="348" y="1131"/>
                </a:cxn>
                <a:cxn ang="0">
                  <a:pos x="325" y="1114"/>
                </a:cxn>
                <a:cxn ang="0">
                  <a:pos x="292" y="1094"/>
                </a:cxn>
                <a:cxn ang="0">
                  <a:pos x="248" y="1068"/>
                </a:cxn>
                <a:cxn ang="0">
                  <a:pos x="173" y="1032"/>
                </a:cxn>
                <a:cxn ang="0">
                  <a:pos x="123" y="1011"/>
                </a:cxn>
                <a:cxn ang="0">
                  <a:pos x="65" y="990"/>
                </a:cxn>
                <a:cxn ang="0">
                  <a:pos x="0" y="970"/>
                </a:cxn>
              </a:cxnLst>
              <a:rect l="0" t="0" r="r" b="b"/>
              <a:pathLst>
                <a:path w="1762" h="1889">
                  <a:moveTo>
                    <a:pt x="0" y="970"/>
                  </a:moveTo>
                  <a:lnTo>
                    <a:pt x="0" y="928"/>
                  </a:lnTo>
                  <a:lnTo>
                    <a:pt x="1" y="818"/>
                  </a:lnTo>
                  <a:lnTo>
                    <a:pt x="4" y="485"/>
                  </a:lnTo>
                  <a:lnTo>
                    <a:pt x="9" y="0"/>
                  </a:lnTo>
                  <a:lnTo>
                    <a:pt x="49" y="2"/>
                  </a:lnTo>
                  <a:lnTo>
                    <a:pt x="87" y="6"/>
                  </a:lnTo>
                  <a:lnTo>
                    <a:pt x="124" y="11"/>
                  </a:lnTo>
                  <a:lnTo>
                    <a:pt x="161" y="17"/>
                  </a:lnTo>
                  <a:lnTo>
                    <a:pt x="199" y="25"/>
                  </a:lnTo>
                  <a:lnTo>
                    <a:pt x="234" y="31"/>
                  </a:lnTo>
                  <a:lnTo>
                    <a:pt x="269" y="40"/>
                  </a:lnTo>
                  <a:lnTo>
                    <a:pt x="304" y="49"/>
                  </a:lnTo>
                  <a:lnTo>
                    <a:pt x="337" y="59"/>
                  </a:lnTo>
                  <a:lnTo>
                    <a:pt x="369" y="69"/>
                  </a:lnTo>
                  <a:lnTo>
                    <a:pt x="401" y="79"/>
                  </a:lnTo>
                  <a:lnTo>
                    <a:pt x="432" y="90"/>
                  </a:lnTo>
                  <a:lnTo>
                    <a:pt x="461" y="100"/>
                  </a:lnTo>
                  <a:lnTo>
                    <a:pt x="489" y="112"/>
                  </a:lnTo>
                  <a:lnTo>
                    <a:pt x="542" y="134"/>
                  </a:lnTo>
                  <a:lnTo>
                    <a:pt x="590" y="157"/>
                  </a:lnTo>
                  <a:lnTo>
                    <a:pt x="634" y="178"/>
                  </a:lnTo>
                  <a:lnTo>
                    <a:pt x="671" y="197"/>
                  </a:lnTo>
                  <a:lnTo>
                    <a:pt x="702" y="214"/>
                  </a:lnTo>
                  <a:lnTo>
                    <a:pt x="727" y="230"/>
                  </a:lnTo>
                  <a:lnTo>
                    <a:pt x="745" y="240"/>
                  </a:lnTo>
                  <a:lnTo>
                    <a:pt x="761" y="251"/>
                  </a:lnTo>
                  <a:lnTo>
                    <a:pt x="772" y="257"/>
                  </a:lnTo>
                  <a:lnTo>
                    <a:pt x="794" y="272"/>
                  </a:lnTo>
                  <a:lnTo>
                    <a:pt x="823" y="291"/>
                  </a:lnTo>
                  <a:lnTo>
                    <a:pt x="862" y="319"/>
                  </a:lnTo>
                  <a:lnTo>
                    <a:pt x="905" y="353"/>
                  </a:lnTo>
                  <a:lnTo>
                    <a:pt x="930" y="372"/>
                  </a:lnTo>
                  <a:lnTo>
                    <a:pt x="954" y="393"/>
                  </a:lnTo>
                  <a:lnTo>
                    <a:pt x="981" y="416"/>
                  </a:lnTo>
                  <a:lnTo>
                    <a:pt x="1008" y="440"/>
                  </a:lnTo>
                  <a:lnTo>
                    <a:pt x="1035" y="467"/>
                  </a:lnTo>
                  <a:lnTo>
                    <a:pt x="1063" y="494"/>
                  </a:lnTo>
                  <a:lnTo>
                    <a:pt x="1091" y="524"/>
                  </a:lnTo>
                  <a:lnTo>
                    <a:pt x="1120" y="554"/>
                  </a:lnTo>
                  <a:lnTo>
                    <a:pt x="1149" y="587"/>
                  </a:lnTo>
                  <a:lnTo>
                    <a:pt x="1178" y="622"/>
                  </a:lnTo>
                  <a:lnTo>
                    <a:pt x="1206" y="658"/>
                  </a:lnTo>
                  <a:lnTo>
                    <a:pt x="1234" y="695"/>
                  </a:lnTo>
                  <a:lnTo>
                    <a:pt x="1263" y="735"/>
                  </a:lnTo>
                  <a:lnTo>
                    <a:pt x="1275" y="756"/>
                  </a:lnTo>
                  <a:lnTo>
                    <a:pt x="1290" y="777"/>
                  </a:lnTo>
                  <a:lnTo>
                    <a:pt x="1316" y="820"/>
                  </a:lnTo>
                  <a:lnTo>
                    <a:pt x="1329" y="841"/>
                  </a:lnTo>
                  <a:lnTo>
                    <a:pt x="1341" y="864"/>
                  </a:lnTo>
                  <a:lnTo>
                    <a:pt x="1365" y="910"/>
                  </a:lnTo>
                  <a:lnTo>
                    <a:pt x="1377" y="933"/>
                  </a:lnTo>
                  <a:lnTo>
                    <a:pt x="1388" y="957"/>
                  </a:lnTo>
                  <a:lnTo>
                    <a:pt x="1410" y="1007"/>
                  </a:lnTo>
                  <a:lnTo>
                    <a:pt x="1420" y="1032"/>
                  </a:lnTo>
                  <a:lnTo>
                    <a:pt x="1430" y="1058"/>
                  </a:lnTo>
                  <a:lnTo>
                    <a:pt x="1439" y="1084"/>
                  </a:lnTo>
                  <a:lnTo>
                    <a:pt x="1448" y="1110"/>
                  </a:lnTo>
                  <a:lnTo>
                    <a:pt x="1457" y="1138"/>
                  </a:lnTo>
                  <a:lnTo>
                    <a:pt x="1465" y="1165"/>
                  </a:lnTo>
                  <a:lnTo>
                    <a:pt x="1469" y="1165"/>
                  </a:lnTo>
                  <a:lnTo>
                    <a:pt x="1479" y="1162"/>
                  </a:lnTo>
                  <a:lnTo>
                    <a:pt x="1512" y="1152"/>
                  </a:lnTo>
                  <a:lnTo>
                    <a:pt x="1560" y="1136"/>
                  </a:lnTo>
                  <a:lnTo>
                    <a:pt x="1615" y="1118"/>
                  </a:lnTo>
                  <a:lnTo>
                    <a:pt x="1716" y="1083"/>
                  </a:lnTo>
                  <a:lnTo>
                    <a:pt x="1762" y="1067"/>
                  </a:lnTo>
                  <a:lnTo>
                    <a:pt x="1222" y="1889"/>
                  </a:lnTo>
                  <a:lnTo>
                    <a:pt x="242" y="1570"/>
                  </a:lnTo>
                  <a:lnTo>
                    <a:pt x="563" y="1464"/>
                  </a:lnTo>
                  <a:lnTo>
                    <a:pt x="560" y="1451"/>
                  </a:lnTo>
                  <a:lnTo>
                    <a:pt x="547" y="1419"/>
                  </a:lnTo>
                  <a:lnTo>
                    <a:pt x="537" y="1396"/>
                  </a:lnTo>
                  <a:lnTo>
                    <a:pt x="525" y="1372"/>
                  </a:lnTo>
                  <a:lnTo>
                    <a:pt x="511" y="1343"/>
                  </a:lnTo>
                  <a:lnTo>
                    <a:pt x="496" y="1313"/>
                  </a:lnTo>
                  <a:lnTo>
                    <a:pt x="478" y="1283"/>
                  </a:lnTo>
                  <a:lnTo>
                    <a:pt x="467" y="1267"/>
                  </a:lnTo>
                  <a:lnTo>
                    <a:pt x="457" y="1251"/>
                  </a:lnTo>
                  <a:lnTo>
                    <a:pt x="447" y="1236"/>
                  </a:lnTo>
                  <a:lnTo>
                    <a:pt x="435" y="1220"/>
                  </a:lnTo>
                  <a:lnTo>
                    <a:pt x="423" y="1206"/>
                  </a:lnTo>
                  <a:lnTo>
                    <a:pt x="411" y="1191"/>
                  </a:lnTo>
                  <a:lnTo>
                    <a:pt x="398" y="1177"/>
                  </a:lnTo>
                  <a:lnTo>
                    <a:pt x="384" y="1162"/>
                  </a:lnTo>
                  <a:lnTo>
                    <a:pt x="370" y="1149"/>
                  </a:lnTo>
                  <a:lnTo>
                    <a:pt x="356" y="1136"/>
                  </a:lnTo>
                  <a:lnTo>
                    <a:pt x="348" y="1131"/>
                  </a:lnTo>
                  <a:lnTo>
                    <a:pt x="341" y="1124"/>
                  </a:lnTo>
                  <a:lnTo>
                    <a:pt x="325" y="1114"/>
                  </a:lnTo>
                  <a:lnTo>
                    <a:pt x="309" y="1104"/>
                  </a:lnTo>
                  <a:lnTo>
                    <a:pt x="292" y="1094"/>
                  </a:lnTo>
                  <a:lnTo>
                    <a:pt x="273" y="1081"/>
                  </a:lnTo>
                  <a:lnTo>
                    <a:pt x="248" y="1068"/>
                  </a:lnTo>
                  <a:lnTo>
                    <a:pt x="215" y="1051"/>
                  </a:lnTo>
                  <a:lnTo>
                    <a:pt x="173" y="1032"/>
                  </a:lnTo>
                  <a:lnTo>
                    <a:pt x="150" y="1021"/>
                  </a:lnTo>
                  <a:lnTo>
                    <a:pt x="123" y="1011"/>
                  </a:lnTo>
                  <a:lnTo>
                    <a:pt x="95" y="1000"/>
                  </a:lnTo>
                  <a:lnTo>
                    <a:pt x="65" y="990"/>
                  </a:lnTo>
                  <a:lnTo>
                    <a:pt x="33" y="979"/>
                  </a:lnTo>
                  <a:lnTo>
                    <a:pt x="0" y="970"/>
                  </a:lnTo>
                  <a:close/>
                </a:path>
              </a:pathLst>
            </a:custGeom>
            <a:solidFill>
              <a:srgbClr val="FFD200"/>
            </a:solidFill>
            <a:ln w="28575" cmpd="sng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646464"/>
                </a:solidFill>
              </a:endParaRPr>
            </a:p>
          </p:txBody>
        </p:sp>
        <p:sp>
          <p:nvSpPr>
            <p:cNvPr id="12" name="Freeform 16">
              <a:extLst>
                <a:ext uri="{FF2B5EF4-FFF2-40B4-BE49-F238E27FC236}">
                  <a16:creationId xmlns:a16="http://schemas.microsoft.com/office/drawing/2014/main" id="{C141FD30-445B-9B9A-B0F3-666E52944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1" y="2156"/>
              <a:ext cx="534" cy="420"/>
            </a:xfrm>
            <a:custGeom>
              <a:avLst/>
              <a:gdLst/>
              <a:ahLst/>
              <a:cxnLst>
                <a:cxn ang="0">
                  <a:pos x="892" y="1678"/>
                </a:cxn>
                <a:cxn ang="0">
                  <a:pos x="761" y="1635"/>
                </a:cxn>
                <a:cxn ang="0">
                  <a:pos x="0" y="1373"/>
                </a:cxn>
                <a:cxn ang="0">
                  <a:pos x="31" y="1300"/>
                </a:cxn>
                <a:cxn ang="0">
                  <a:pos x="64" y="1231"/>
                </a:cxn>
                <a:cxn ang="0">
                  <a:pos x="100" y="1164"/>
                </a:cxn>
                <a:cxn ang="0">
                  <a:pos x="139" y="1102"/>
                </a:cxn>
                <a:cxn ang="0">
                  <a:pos x="177" y="1045"/>
                </a:cxn>
                <a:cxn ang="0">
                  <a:pos x="215" y="991"/>
                </a:cxn>
                <a:cxn ang="0">
                  <a:pos x="291" y="897"/>
                </a:cxn>
                <a:cxn ang="0">
                  <a:pos x="360" y="821"/>
                </a:cxn>
                <a:cxn ang="0">
                  <a:pos x="416" y="766"/>
                </a:cxn>
                <a:cxn ang="0">
                  <a:pos x="454" y="732"/>
                </a:cxn>
                <a:cxn ang="0">
                  <a:pos x="497" y="694"/>
                </a:cxn>
                <a:cxn ang="0">
                  <a:pos x="562" y="643"/>
                </a:cxn>
                <a:cxn ang="0">
                  <a:pos x="607" y="612"/>
                </a:cxn>
                <a:cxn ang="0">
                  <a:pos x="689" y="558"/>
                </a:cxn>
                <a:cxn ang="0">
                  <a:pos x="753" y="520"/>
                </a:cxn>
                <a:cxn ang="0">
                  <a:pos x="824" y="484"/>
                </a:cxn>
                <a:cxn ang="0">
                  <a:pos x="901" y="447"/>
                </a:cxn>
                <a:cxn ang="0">
                  <a:pos x="985" y="413"/>
                </a:cxn>
                <a:cxn ang="0">
                  <a:pos x="1029" y="397"/>
                </a:cxn>
                <a:cxn ang="0">
                  <a:pos x="1073" y="383"/>
                </a:cxn>
                <a:cxn ang="0">
                  <a:pos x="1168" y="357"/>
                </a:cxn>
                <a:cxn ang="0">
                  <a:pos x="1218" y="346"/>
                </a:cxn>
                <a:cxn ang="0">
                  <a:pos x="1294" y="332"/>
                </a:cxn>
                <a:cxn ang="0">
                  <a:pos x="1346" y="326"/>
                </a:cxn>
                <a:cxn ang="0">
                  <a:pos x="1399" y="322"/>
                </a:cxn>
                <a:cxn ang="0">
                  <a:pos x="1454" y="319"/>
                </a:cxn>
                <a:cxn ang="0">
                  <a:pos x="1509" y="318"/>
                </a:cxn>
                <a:cxn ang="0">
                  <a:pos x="1537" y="318"/>
                </a:cxn>
                <a:cxn ang="0">
                  <a:pos x="1538" y="305"/>
                </a:cxn>
                <a:cxn ang="0">
                  <a:pos x="1539" y="269"/>
                </a:cxn>
                <a:cxn ang="0">
                  <a:pos x="1539" y="159"/>
                </a:cxn>
                <a:cxn ang="0">
                  <a:pos x="2136" y="779"/>
                </a:cxn>
                <a:cxn ang="0">
                  <a:pos x="1537" y="1287"/>
                </a:cxn>
                <a:cxn ang="0">
                  <a:pos x="1490" y="1289"/>
                </a:cxn>
                <a:cxn ang="0">
                  <a:pos x="1438" y="1296"/>
                </a:cxn>
                <a:cxn ang="0">
                  <a:pos x="1376" y="1306"/>
                </a:cxn>
                <a:cxn ang="0">
                  <a:pos x="1341" y="1314"/>
                </a:cxn>
                <a:cxn ang="0">
                  <a:pos x="1287" y="1330"/>
                </a:cxn>
                <a:cxn ang="0">
                  <a:pos x="1253" y="1343"/>
                </a:cxn>
                <a:cxn ang="0">
                  <a:pos x="1217" y="1359"/>
                </a:cxn>
                <a:cxn ang="0">
                  <a:pos x="1184" y="1377"/>
                </a:cxn>
                <a:cxn ang="0">
                  <a:pos x="1151" y="1398"/>
                </a:cxn>
                <a:cxn ang="0">
                  <a:pos x="1136" y="1410"/>
                </a:cxn>
                <a:cxn ang="0">
                  <a:pos x="1116" y="1429"/>
                </a:cxn>
                <a:cxn ang="0">
                  <a:pos x="1090" y="1452"/>
                </a:cxn>
                <a:cxn ang="0">
                  <a:pos x="1044" y="1497"/>
                </a:cxn>
                <a:cxn ang="0">
                  <a:pos x="995" y="1552"/>
                </a:cxn>
                <a:cxn ang="0">
                  <a:pos x="959" y="1598"/>
                </a:cxn>
                <a:cxn ang="0">
                  <a:pos x="931" y="1637"/>
                </a:cxn>
                <a:cxn ang="0">
                  <a:pos x="902" y="1682"/>
                </a:cxn>
              </a:cxnLst>
              <a:rect l="0" t="0" r="r" b="b"/>
              <a:pathLst>
                <a:path w="2136" h="1682">
                  <a:moveTo>
                    <a:pt x="902" y="1682"/>
                  </a:moveTo>
                  <a:lnTo>
                    <a:pt x="892" y="1678"/>
                  </a:lnTo>
                  <a:lnTo>
                    <a:pt x="863" y="1669"/>
                  </a:lnTo>
                  <a:lnTo>
                    <a:pt x="761" y="1635"/>
                  </a:lnTo>
                  <a:lnTo>
                    <a:pt x="451" y="1527"/>
                  </a:lnTo>
                  <a:lnTo>
                    <a:pt x="0" y="1373"/>
                  </a:lnTo>
                  <a:lnTo>
                    <a:pt x="16" y="1335"/>
                  </a:lnTo>
                  <a:lnTo>
                    <a:pt x="31" y="1300"/>
                  </a:lnTo>
                  <a:lnTo>
                    <a:pt x="48" y="1265"/>
                  </a:lnTo>
                  <a:lnTo>
                    <a:pt x="64" y="1231"/>
                  </a:lnTo>
                  <a:lnTo>
                    <a:pt x="82" y="1197"/>
                  </a:lnTo>
                  <a:lnTo>
                    <a:pt x="100" y="1164"/>
                  </a:lnTo>
                  <a:lnTo>
                    <a:pt x="119" y="1132"/>
                  </a:lnTo>
                  <a:lnTo>
                    <a:pt x="139" y="1102"/>
                  </a:lnTo>
                  <a:lnTo>
                    <a:pt x="158" y="1074"/>
                  </a:lnTo>
                  <a:lnTo>
                    <a:pt x="177" y="1045"/>
                  </a:lnTo>
                  <a:lnTo>
                    <a:pt x="196" y="1017"/>
                  </a:lnTo>
                  <a:lnTo>
                    <a:pt x="215" y="991"/>
                  </a:lnTo>
                  <a:lnTo>
                    <a:pt x="254" y="942"/>
                  </a:lnTo>
                  <a:lnTo>
                    <a:pt x="291" y="897"/>
                  </a:lnTo>
                  <a:lnTo>
                    <a:pt x="327" y="857"/>
                  </a:lnTo>
                  <a:lnTo>
                    <a:pt x="360" y="821"/>
                  </a:lnTo>
                  <a:lnTo>
                    <a:pt x="390" y="791"/>
                  </a:lnTo>
                  <a:lnTo>
                    <a:pt x="416" y="766"/>
                  </a:lnTo>
                  <a:lnTo>
                    <a:pt x="437" y="747"/>
                  </a:lnTo>
                  <a:lnTo>
                    <a:pt x="454" y="732"/>
                  </a:lnTo>
                  <a:lnTo>
                    <a:pt x="468" y="721"/>
                  </a:lnTo>
                  <a:lnTo>
                    <a:pt x="497" y="694"/>
                  </a:lnTo>
                  <a:lnTo>
                    <a:pt x="525" y="672"/>
                  </a:lnTo>
                  <a:lnTo>
                    <a:pt x="562" y="643"/>
                  </a:lnTo>
                  <a:lnTo>
                    <a:pt x="583" y="628"/>
                  </a:lnTo>
                  <a:lnTo>
                    <a:pt x="607" y="612"/>
                  </a:lnTo>
                  <a:lnTo>
                    <a:pt x="660" y="577"/>
                  </a:lnTo>
                  <a:lnTo>
                    <a:pt x="689" y="558"/>
                  </a:lnTo>
                  <a:lnTo>
                    <a:pt x="720" y="540"/>
                  </a:lnTo>
                  <a:lnTo>
                    <a:pt x="753" y="520"/>
                  </a:lnTo>
                  <a:lnTo>
                    <a:pt x="788" y="502"/>
                  </a:lnTo>
                  <a:lnTo>
                    <a:pt x="824" y="484"/>
                  </a:lnTo>
                  <a:lnTo>
                    <a:pt x="862" y="466"/>
                  </a:lnTo>
                  <a:lnTo>
                    <a:pt x="901" y="447"/>
                  </a:lnTo>
                  <a:lnTo>
                    <a:pt x="941" y="430"/>
                  </a:lnTo>
                  <a:lnTo>
                    <a:pt x="985" y="413"/>
                  </a:lnTo>
                  <a:lnTo>
                    <a:pt x="1007" y="405"/>
                  </a:lnTo>
                  <a:lnTo>
                    <a:pt x="1029" y="397"/>
                  </a:lnTo>
                  <a:lnTo>
                    <a:pt x="1050" y="390"/>
                  </a:lnTo>
                  <a:lnTo>
                    <a:pt x="1073" y="383"/>
                  </a:lnTo>
                  <a:lnTo>
                    <a:pt x="1121" y="369"/>
                  </a:lnTo>
                  <a:lnTo>
                    <a:pt x="1168" y="357"/>
                  </a:lnTo>
                  <a:lnTo>
                    <a:pt x="1192" y="352"/>
                  </a:lnTo>
                  <a:lnTo>
                    <a:pt x="1218" y="346"/>
                  </a:lnTo>
                  <a:lnTo>
                    <a:pt x="1268" y="337"/>
                  </a:lnTo>
                  <a:lnTo>
                    <a:pt x="1294" y="332"/>
                  </a:lnTo>
                  <a:lnTo>
                    <a:pt x="1319" y="329"/>
                  </a:lnTo>
                  <a:lnTo>
                    <a:pt x="1346" y="326"/>
                  </a:lnTo>
                  <a:lnTo>
                    <a:pt x="1372" y="323"/>
                  </a:lnTo>
                  <a:lnTo>
                    <a:pt x="1399" y="322"/>
                  </a:lnTo>
                  <a:lnTo>
                    <a:pt x="1426" y="319"/>
                  </a:lnTo>
                  <a:lnTo>
                    <a:pt x="1454" y="319"/>
                  </a:lnTo>
                  <a:lnTo>
                    <a:pt x="1481" y="318"/>
                  </a:lnTo>
                  <a:lnTo>
                    <a:pt x="1509" y="318"/>
                  </a:lnTo>
                  <a:lnTo>
                    <a:pt x="1537" y="319"/>
                  </a:lnTo>
                  <a:lnTo>
                    <a:pt x="1537" y="318"/>
                  </a:lnTo>
                  <a:lnTo>
                    <a:pt x="1538" y="315"/>
                  </a:lnTo>
                  <a:lnTo>
                    <a:pt x="1538" y="305"/>
                  </a:lnTo>
                  <a:lnTo>
                    <a:pt x="1539" y="289"/>
                  </a:lnTo>
                  <a:lnTo>
                    <a:pt x="1539" y="269"/>
                  </a:lnTo>
                  <a:lnTo>
                    <a:pt x="1539" y="218"/>
                  </a:lnTo>
                  <a:lnTo>
                    <a:pt x="1539" y="159"/>
                  </a:lnTo>
                  <a:lnTo>
                    <a:pt x="1537" y="0"/>
                  </a:lnTo>
                  <a:lnTo>
                    <a:pt x="2136" y="779"/>
                  </a:lnTo>
                  <a:lnTo>
                    <a:pt x="1537" y="1632"/>
                  </a:lnTo>
                  <a:lnTo>
                    <a:pt x="1537" y="1287"/>
                  </a:lnTo>
                  <a:lnTo>
                    <a:pt x="1524" y="1287"/>
                  </a:lnTo>
                  <a:lnTo>
                    <a:pt x="1490" y="1289"/>
                  </a:lnTo>
                  <a:lnTo>
                    <a:pt x="1465" y="1292"/>
                  </a:lnTo>
                  <a:lnTo>
                    <a:pt x="1438" y="1296"/>
                  </a:lnTo>
                  <a:lnTo>
                    <a:pt x="1408" y="1300"/>
                  </a:lnTo>
                  <a:lnTo>
                    <a:pt x="1376" y="1306"/>
                  </a:lnTo>
                  <a:lnTo>
                    <a:pt x="1358" y="1310"/>
                  </a:lnTo>
                  <a:lnTo>
                    <a:pt x="1341" y="1314"/>
                  </a:lnTo>
                  <a:lnTo>
                    <a:pt x="1305" y="1325"/>
                  </a:lnTo>
                  <a:lnTo>
                    <a:pt x="1287" y="1330"/>
                  </a:lnTo>
                  <a:lnTo>
                    <a:pt x="1269" y="1336"/>
                  </a:lnTo>
                  <a:lnTo>
                    <a:pt x="1253" y="1343"/>
                  </a:lnTo>
                  <a:lnTo>
                    <a:pt x="1235" y="1351"/>
                  </a:lnTo>
                  <a:lnTo>
                    <a:pt x="1217" y="1359"/>
                  </a:lnTo>
                  <a:lnTo>
                    <a:pt x="1200" y="1368"/>
                  </a:lnTo>
                  <a:lnTo>
                    <a:pt x="1184" y="1377"/>
                  </a:lnTo>
                  <a:lnTo>
                    <a:pt x="1167" y="1387"/>
                  </a:lnTo>
                  <a:lnTo>
                    <a:pt x="1151" y="1398"/>
                  </a:lnTo>
                  <a:lnTo>
                    <a:pt x="1144" y="1405"/>
                  </a:lnTo>
                  <a:lnTo>
                    <a:pt x="1136" y="1410"/>
                  </a:lnTo>
                  <a:lnTo>
                    <a:pt x="1122" y="1423"/>
                  </a:lnTo>
                  <a:lnTo>
                    <a:pt x="1116" y="1429"/>
                  </a:lnTo>
                  <a:lnTo>
                    <a:pt x="1108" y="1436"/>
                  </a:lnTo>
                  <a:lnTo>
                    <a:pt x="1090" y="1452"/>
                  </a:lnTo>
                  <a:lnTo>
                    <a:pt x="1070" y="1471"/>
                  </a:lnTo>
                  <a:lnTo>
                    <a:pt x="1044" y="1497"/>
                  </a:lnTo>
                  <a:lnTo>
                    <a:pt x="1012" y="1533"/>
                  </a:lnTo>
                  <a:lnTo>
                    <a:pt x="995" y="1552"/>
                  </a:lnTo>
                  <a:lnTo>
                    <a:pt x="977" y="1575"/>
                  </a:lnTo>
                  <a:lnTo>
                    <a:pt x="959" y="1598"/>
                  </a:lnTo>
                  <a:lnTo>
                    <a:pt x="940" y="1624"/>
                  </a:lnTo>
                  <a:lnTo>
                    <a:pt x="931" y="1637"/>
                  </a:lnTo>
                  <a:lnTo>
                    <a:pt x="921" y="1652"/>
                  </a:lnTo>
                  <a:lnTo>
                    <a:pt x="902" y="1682"/>
                  </a:lnTo>
                  <a:close/>
                </a:path>
              </a:pathLst>
            </a:custGeom>
            <a:solidFill>
              <a:srgbClr val="646464"/>
            </a:solidFill>
            <a:ln w="28575" cmpd="sng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646464"/>
                </a:solidFill>
              </a:endParaRPr>
            </a:p>
          </p:txBody>
        </p:sp>
        <p:sp>
          <p:nvSpPr>
            <p:cNvPr id="13" name="Freeform 17">
              <a:extLst>
                <a:ext uri="{FF2B5EF4-FFF2-40B4-BE49-F238E27FC236}">
                  <a16:creationId xmlns:a16="http://schemas.microsoft.com/office/drawing/2014/main" id="{7E744B2A-9C35-5C61-BBB7-05168C4C37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6" y="2422"/>
              <a:ext cx="378" cy="542"/>
            </a:xfrm>
            <a:custGeom>
              <a:avLst/>
              <a:gdLst/>
              <a:ahLst/>
              <a:cxnLst>
                <a:cxn ang="0">
                  <a:pos x="1292" y="1418"/>
                </a:cxn>
                <a:cxn ang="0">
                  <a:pos x="1202" y="1447"/>
                </a:cxn>
                <a:cxn ang="0">
                  <a:pos x="677" y="1614"/>
                </a:cxn>
                <a:cxn ang="0">
                  <a:pos x="684" y="1892"/>
                </a:cxn>
                <a:cxn ang="0">
                  <a:pos x="686" y="2082"/>
                </a:cxn>
                <a:cxn ang="0">
                  <a:pos x="686" y="2161"/>
                </a:cxn>
                <a:cxn ang="0">
                  <a:pos x="686" y="2166"/>
                </a:cxn>
                <a:cxn ang="0">
                  <a:pos x="640" y="2119"/>
                </a:cxn>
                <a:cxn ang="0">
                  <a:pos x="599" y="2071"/>
                </a:cxn>
                <a:cxn ang="0">
                  <a:pos x="561" y="2022"/>
                </a:cxn>
                <a:cxn ang="0">
                  <a:pos x="508" y="1949"/>
                </a:cxn>
                <a:cxn ang="0">
                  <a:pos x="478" y="1902"/>
                </a:cxn>
                <a:cxn ang="0">
                  <a:pos x="438" y="1834"/>
                </a:cxn>
                <a:cxn ang="0">
                  <a:pos x="393" y="1752"/>
                </a:cxn>
                <a:cxn ang="0">
                  <a:pos x="361" y="1684"/>
                </a:cxn>
                <a:cxn ang="0">
                  <a:pos x="334" y="1617"/>
                </a:cxn>
                <a:cxn ang="0">
                  <a:pos x="325" y="1593"/>
                </a:cxn>
                <a:cxn ang="0">
                  <a:pos x="305" y="1540"/>
                </a:cxn>
                <a:cxn ang="0">
                  <a:pos x="274" y="1443"/>
                </a:cxn>
                <a:cxn ang="0">
                  <a:pos x="259" y="1382"/>
                </a:cxn>
                <a:cxn ang="0">
                  <a:pos x="242" y="1310"/>
                </a:cxn>
                <a:cxn ang="0">
                  <a:pos x="232" y="1252"/>
                </a:cxn>
                <a:cxn ang="0">
                  <a:pos x="222" y="1189"/>
                </a:cxn>
                <a:cxn ang="0">
                  <a:pos x="213" y="1102"/>
                </a:cxn>
                <a:cxn ang="0">
                  <a:pos x="206" y="1007"/>
                </a:cxn>
                <a:cxn ang="0">
                  <a:pos x="205" y="959"/>
                </a:cxn>
                <a:cxn ang="0">
                  <a:pos x="207" y="858"/>
                </a:cxn>
                <a:cxn ang="0">
                  <a:pos x="216" y="755"/>
                </a:cxn>
                <a:cxn ang="0">
                  <a:pos x="234" y="648"/>
                </a:cxn>
                <a:cxn ang="0">
                  <a:pos x="246" y="594"/>
                </a:cxn>
                <a:cxn ang="0">
                  <a:pos x="260" y="539"/>
                </a:cxn>
                <a:cxn ang="0">
                  <a:pos x="277" y="484"/>
                </a:cxn>
                <a:cxn ang="0">
                  <a:pos x="295" y="429"/>
                </a:cxn>
                <a:cxn ang="0">
                  <a:pos x="283" y="423"/>
                </a:cxn>
                <a:cxn ang="0">
                  <a:pos x="204" y="394"/>
                </a:cxn>
                <a:cxn ang="0">
                  <a:pos x="46" y="341"/>
                </a:cxn>
                <a:cxn ang="0">
                  <a:pos x="917" y="0"/>
                </a:cxn>
                <a:cxn ang="0">
                  <a:pos x="1192" y="745"/>
                </a:cxn>
                <a:cxn ang="0">
                  <a:pos x="1179" y="796"/>
                </a:cxn>
                <a:cxn ang="0">
                  <a:pos x="1169" y="852"/>
                </a:cxn>
                <a:cxn ang="0">
                  <a:pos x="1160" y="921"/>
                </a:cxn>
                <a:cxn ang="0">
                  <a:pos x="1158" y="959"/>
                </a:cxn>
                <a:cxn ang="0">
                  <a:pos x="1156" y="1000"/>
                </a:cxn>
                <a:cxn ang="0">
                  <a:pos x="1156" y="1040"/>
                </a:cxn>
                <a:cxn ang="0">
                  <a:pos x="1161" y="1102"/>
                </a:cxn>
                <a:cxn ang="0">
                  <a:pos x="1169" y="1142"/>
                </a:cxn>
                <a:cxn ang="0">
                  <a:pos x="1177" y="1171"/>
                </a:cxn>
                <a:cxn ang="0">
                  <a:pos x="1186" y="1200"/>
                </a:cxn>
                <a:cxn ang="0">
                  <a:pos x="1193" y="1218"/>
                </a:cxn>
                <a:cxn ang="0">
                  <a:pos x="1209" y="1252"/>
                </a:cxn>
                <a:cxn ang="0">
                  <a:pos x="1242" y="1323"/>
                </a:cxn>
                <a:cxn ang="0">
                  <a:pos x="1259" y="1353"/>
                </a:cxn>
                <a:cxn ang="0">
                  <a:pos x="1278" y="1384"/>
                </a:cxn>
                <a:cxn ang="0">
                  <a:pos x="1300" y="1416"/>
                </a:cxn>
              </a:cxnLst>
              <a:rect l="0" t="0" r="r" b="b"/>
              <a:pathLst>
                <a:path w="1511" h="2166">
                  <a:moveTo>
                    <a:pt x="1300" y="1416"/>
                  </a:moveTo>
                  <a:lnTo>
                    <a:pt x="1292" y="1418"/>
                  </a:lnTo>
                  <a:lnTo>
                    <a:pt x="1273" y="1425"/>
                  </a:lnTo>
                  <a:lnTo>
                    <a:pt x="1202" y="1447"/>
                  </a:lnTo>
                  <a:lnTo>
                    <a:pt x="989" y="1515"/>
                  </a:lnTo>
                  <a:lnTo>
                    <a:pt x="677" y="1614"/>
                  </a:lnTo>
                  <a:lnTo>
                    <a:pt x="679" y="1701"/>
                  </a:lnTo>
                  <a:lnTo>
                    <a:pt x="684" y="1892"/>
                  </a:lnTo>
                  <a:lnTo>
                    <a:pt x="685" y="1994"/>
                  </a:lnTo>
                  <a:lnTo>
                    <a:pt x="686" y="2082"/>
                  </a:lnTo>
                  <a:lnTo>
                    <a:pt x="688" y="2144"/>
                  </a:lnTo>
                  <a:lnTo>
                    <a:pt x="686" y="2161"/>
                  </a:lnTo>
                  <a:lnTo>
                    <a:pt x="686" y="2165"/>
                  </a:lnTo>
                  <a:lnTo>
                    <a:pt x="686" y="2166"/>
                  </a:lnTo>
                  <a:lnTo>
                    <a:pt x="663" y="2143"/>
                  </a:lnTo>
                  <a:lnTo>
                    <a:pt x="640" y="2119"/>
                  </a:lnTo>
                  <a:lnTo>
                    <a:pt x="620" y="2096"/>
                  </a:lnTo>
                  <a:lnTo>
                    <a:pt x="599" y="2071"/>
                  </a:lnTo>
                  <a:lnTo>
                    <a:pt x="580" y="2046"/>
                  </a:lnTo>
                  <a:lnTo>
                    <a:pt x="561" y="2022"/>
                  </a:lnTo>
                  <a:lnTo>
                    <a:pt x="525" y="1974"/>
                  </a:lnTo>
                  <a:lnTo>
                    <a:pt x="508" y="1949"/>
                  </a:lnTo>
                  <a:lnTo>
                    <a:pt x="493" y="1926"/>
                  </a:lnTo>
                  <a:lnTo>
                    <a:pt x="478" y="1902"/>
                  </a:lnTo>
                  <a:lnTo>
                    <a:pt x="464" y="1878"/>
                  </a:lnTo>
                  <a:lnTo>
                    <a:pt x="438" y="1834"/>
                  </a:lnTo>
                  <a:lnTo>
                    <a:pt x="414" y="1791"/>
                  </a:lnTo>
                  <a:lnTo>
                    <a:pt x="393" y="1752"/>
                  </a:lnTo>
                  <a:lnTo>
                    <a:pt x="376" y="1715"/>
                  </a:lnTo>
                  <a:lnTo>
                    <a:pt x="361" y="1684"/>
                  </a:lnTo>
                  <a:lnTo>
                    <a:pt x="350" y="1656"/>
                  </a:lnTo>
                  <a:lnTo>
                    <a:pt x="334" y="1617"/>
                  </a:lnTo>
                  <a:lnTo>
                    <a:pt x="329" y="1603"/>
                  </a:lnTo>
                  <a:lnTo>
                    <a:pt x="325" y="1593"/>
                  </a:lnTo>
                  <a:lnTo>
                    <a:pt x="316" y="1572"/>
                  </a:lnTo>
                  <a:lnTo>
                    <a:pt x="305" y="1540"/>
                  </a:lnTo>
                  <a:lnTo>
                    <a:pt x="291" y="1497"/>
                  </a:lnTo>
                  <a:lnTo>
                    <a:pt x="274" y="1443"/>
                  </a:lnTo>
                  <a:lnTo>
                    <a:pt x="266" y="1413"/>
                  </a:lnTo>
                  <a:lnTo>
                    <a:pt x="259" y="1382"/>
                  </a:lnTo>
                  <a:lnTo>
                    <a:pt x="250" y="1346"/>
                  </a:lnTo>
                  <a:lnTo>
                    <a:pt x="242" y="1310"/>
                  </a:lnTo>
                  <a:lnTo>
                    <a:pt x="236" y="1272"/>
                  </a:lnTo>
                  <a:lnTo>
                    <a:pt x="232" y="1252"/>
                  </a:lnTo>
                  <a:lnTo>
                    <a:pt x="228" y="1231"/>
                  </a:lnTo>
                  <a:lnTo>
                    <a:pt x="222" y="1189"/>
                  </a:lnTo>
                  <a:lnTo>
                    <a:pt x="216" y="1146"/>
                  </a:lnTo>
                  <a:lnTo>
                    <a:pt x="213" y="1102"/>
                  </a:lnTo>
                  <a:lnTo>
                    <a:pt x="209" y="1056"/>
                  </a:lnTo>
                  <a:lnTo>
                    <a:pt x="206" y="1007"/>
                  </a:lnTo>
                  <a:lnTo>
                    <a:pt x="206" y="984"/>
                  </a:lnTo>
                  <a:lnTo>
                    <a:pt x="205" y="959"/>
                  </a:lnTo>
                  <a:lnTo>
                    <a:pt x="206" y="909"/>
                  </a:lnTo>
                  <a:lnTo>
                    <a:pt x="207" y="858"/>
                  </a:lnTo>
                  <a:lnTo>
                    <a:pt x="211" y="807"/>
                  </a:lnTo>
                  <a:lnTo>
                    <a:pt x="216" y="755"/>
                  </a:lnTo>
                  <a:lnTo>
                    <a:pt x="224" y="701"/>
                  </a:lnTo>
                  <a:lnTo>
                    <a:pt x="234" y="648"/>
                  </a:lnTo>
                  <a:lnTo>
                    <a:pt x="239" y="620"/>
                  </a:lnTo>
                  <a:lnTo>
                    <a:pt x="246" y="594"/>
                  </a:lnTo>
                  <a:lnTo>
                    <a:pt x="252" y="567"/>
                  </a:lnTo>
                  <a:lnTo>
                    <a:pt x="260" y="539"/>
                  </a:lnTo>
                  <a:lnTo>
                    <a:pt x="268" y="512"/>
                  </a:lnTo>
                  <a:lnTo>
                    <a:pt x="277" y="484"/>
                  </a:lnTo>
                  <a:lnTo>
                    <a:pt x="296" y="429"/>
                  </a:lnTo>
                  <a:lnTo>
                    <a:pt x="295" y="429"/>
                  </a:lnTo>
                  <a:lnTo>
                    <a:pt x="293" y="427"/>
                  </a:lnTo>
                  <a:lnTo>
                    <a:pt x="283" y="423"/>
                  </a:lnTo>
                  <a:lnTo>
                    <a:pt x="251" y="411"/>
                  </a:lnTo>
                  <a:lnTo>
                    <a:pt x="204" y="394"/>
                  </a:lnTo>
                  <a:lnTo>
                    <a:pt x="149" y="376"/>
                  </a:lnTo>
                  <a:lnTo>
                    <a:pt x="46" y="341"/>
                  </a:lnTo>
                  <a:lnTo>
                    <a:pt x="0" y="326"/>
                  </a:lnTo>
                  <a:lnTo>
                    <a:pt x="917" y="0"/>
                  </a:lnTo>
                  <a:lnTo>
                    <a:pt x="1511" y="857"/>
                  </a:lnTo>
                  <a:lnTo>
                    <a:pt x="1192" y="745"/>
                  </a:lnTo>
                  <a:lnTo>
                    <a:pt x="1188" y="758"/>
                  </a:lnTo>
                  <a:lnTo>
                    <a:pt x="1179" y="796"/>
                  </a:lnTo>
                  <a:lnTo>
                    <a:pt x="1174" y="822"/>
                  </a:lnTo>
                  <a:lnTo>
                    <a:pt x="1169" y="852"/>
                  </a:lnTo>
                  <a:lnTo>
                    <a:pt x="1164" y="885"/>
                  </a:lnTo>
                  <a:lnTo>
                    <a:pt x="1160" y="921"/>
                  </a:lnTo>
                  <a:lnTo>
                    <a:pt x="1159" y="939"/>
                  </a:lnTo>
                  <a:lnTo>
                    <a:pt x="1158" y="959"/>
                  </a:lnTo>
                  <a:lnTo>
                    <a:pt x="1156" y="979"/>
                  </a:lnTo>
                  <a:lnTo>
                    <a:pt x="1156" y="1000"/>
                  </a:lnTo>
                  <a:lnTo>
                    <a:pt x="1156" y="1019"/>
                  </a:lnTo>
                  <a:lnTo>
                    <a:pt x="1156" y="1040"/>
                  </a:lnTo>
                  <a:lnTo>
                    <a:pt x="1159" y="1081"/>
                  </a:lnTo>
                  <a:lnTo>
                    <a:pt x="1161" y="1102"/>
                  </a:lnTo>
                  <a:lnTo>
                    <a:pt x="1165" y="1123"/>
                  </a:lnTo>
                  <a:lnTo>
                    <a:pt x="1169" y="1142"/>
                  </a:lnTo>
                  <a:lnTo>
                    <a:pt x="1174" y="1162"/>
                  </a:lnTo>
                  <a:lnTo>
                    <a:pt x="1177" y="1171"/>
                  </a:lnTo>
                  <a:lnTo>
                    <a:pt x="1179" y="1181"/>
                  </a:lnTo>
                  <a:lnTo>
                    <a:pt x="1186" y="1200"/>
                  </a:lnTo>
                  <a:lnTo>
                    <a:pt x="1190" y="1209"/>
                  </a:lnTo>
                  <a:lnTo>
                    <a:pt x="1193" y="1218"/>
                  </a:lnTo>
                  <a:lnTo>
                    <a:pt x="1202" y="1236"/>
                  </a:lnTo>
                  <a:lnTo>
                    <a:pt x="1209" y="1252"/>
                  </a:lnTo>
                  <a:lnTo>
                    <a:pt x="1229" y="1295"/>
                  </a:lnTo>
                  <a:lnTo>
                    <a:pt x="1242" y="1323"/>
                  </a:lnTo>
                  <a:lnTo>
                    <a:pt x="1251" y="1338"/>
                  </a:lnTo>
                  <a:lnTo>
                    <a:pt x="1259" y="1353"/>
                  </a:lnTo>
                  <a:lnTo>
                    <a:pt x="1269" y="1368"/>
                  </a:lnTo>
                  <a:lnTo>
                    <a:pt x="1278" y="1384"/>
                  </a:lnTo>
                  <a:lnTo>
                    <a:pt x="1288" y="1400"/>
                  </a:lnTo>
                  <a:lnTo>
                    <a:pt x="1300" y="1416"/>
                  </a:lnTo>
                  <a:close/>
                </a:path>
              </a:pathLst>
            </a:custGeom>
            <a:solidFill>
              <a:srgbClr val="C0C0C0"/>
            </a:solidFill>
            <a:ln w="28575" cmpd="sng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646464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258CCCE-54E6-A30A-5CC0-1EAAF1CA0EBC}"/>
              </a:ext>
            </a:extLst>
          </p:cNvPr>
          <p:cNvGrpSpPr/>
          <p:nvPr/>
        </p:nvGrpSpPr>
        <p:grpSpPr>
          <a:xfrm>
            <a:off x="7645118" y="3087199"/>
            <a:ext cx="4002817" cy="69747"/>
            <a:chOff x="7427308" y="2488840"/>
            <a:chExt cx="4002817" cy="69747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34F40B1-A181-ECD1-07AE-547B6119C251}"/>
                </a:ext>
              </a:extLst>
            </p:cNvPr>
            <p:cNvCxnSpPr>
              <a:cxnSpLocks/>
            </p:cNvCxnSpPr>
            <p:nvPr/>
          </p:nvCxnSpPr>
          <p:spPr>
            <a:xfrm>
              <a:off x="7470663" y="2523714"/>
              <a:ext cx="3959462" cy="0"/>
            </a:xfrm>
            <a:prstGeom prst="line">
              <a:avLst/>
            </a:prstGeom>
            <a:noFill/>
            <a:ln w="12700" cap="sq" cmpd="sng" algn="ctr">
              <a:solidFill>
                <a:srgbClr val="74748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3A6116A-376D-2FDD-52F0-1B89A8B3E4B3}"/>
                </a:ext>
              </a:extLst>
            </p:cNvPr>
            <p:cNvSpPr/>
            <p:nvPr/>
          </p:nvSpPr>
          <p:spPr>
            <a:xfrm>
              <a:off x="7427308" y="2488840"/>
              <a:ext cx="70355" cy="69747"/>
            </a:xfrm>
            <a:prstGeom prst="ellipse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0C6459E-25D9-E34B-51C0-00D9CE07845E}"/>
              </a:ext>
            </a:extLst>
          </p:cNvPr>
          <p:cNvGrpSpPr/>
          <p:nvPr/>
        </p:nvGrpSpPr>
        <p:grpSpPr>
          <a:xfrm>
            <a:off x="7606131" y="5550535"/>
            <a:ext cx="4002817" cy="69747"/>
            <a:chOff x="7427308" y="2488840"/>
            <a:chExt cx="4002817" cy="69747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1ABA5CBD-D6B8-6128-F3AF-DE597836D6DE}"/>
                </a:ext>
              </a:extLst>
            </p:cNvPr>
            <p:cNvCxnSpPr>
              <a:cxnSpLocks/>
            </p:cNvCxnSpPr>
            <p:nvPr/>
          </p:nvCxnSpPr>
          <p:spPr>
            <a:xfrm>
              <a:off x="7470663" y="2523714"/>
              <a:ext cx="3959462" cy="0"/>
            </a:xfrm>
            <a:prstGeom prst="line">
              <a:avLst/>
            </a:prstGeom>
            <a:noFill/>
            <a:ln w="12700" cap="sq" cmpd="sng" algn="ctr">
              <a:solidFill>
                <a:srgbClr val="74748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67892AD-E22C-E721-DC4E-77C468E4F80A}"/>
                </a:ext>
              </a:extLst>
            </p:cNvPr>
            <p:cNvSpPr/>
            <p:nvPr/>
          </p:nvSpPr>
          <p:spPr>
            <a:xfrm>
              <a:off x="7427308" y="2488840"/>
              <a:ext cx="70355" cy="69747"/>
            </a:xfrm>
            <a:prstGeom prst="ellipse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20" name="Graphic 19" descr="Group of men outline">
            <a:extLst>
              <a:ext uri="{FF2B5EF4-FFF2-40B4-BE49-F238E27FC236}">
                <a16:creationId xmlns:a16="http://schemas.microsoft.com/office/drawing/2014/main" id="{3863A153-F551-806C-EAF2-9BEBE99A50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88585" y="2899381"/>
            <a:ext cx="914400" cy="914400"/>
          </a:xfrm>
          <a:prstGeom prst="rect">
            <a:avLst/>
          </a:prstGeom>
        </p:spPr>
      </p:pic>
      <p:pic>
        <p:nvPicPr>
          <p:cNvPr id="21" name="Graphic 20" descr="Money outline">
            <a:extLst>
              <a:ext uri="{FF2B5EF4-FFF2-40B4-BE49-F238E27FC236}">
                <a16:creationId xmlns:a16="http://schemas.microsoft.com/office/drawing/2014/main" id="{559FB253-E17B-557F-41E4-D95FA001E0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45929" y="3795844"/>
            <a:ext cx="914400" cy="914400"/>
          </a:xfrm>
          <a:prstGeom prst="rect">
            <a:avLst/>
          </a:prstGeom>
        </p:spPr>
      </p:pic>
      <p:pic>
        <p:nvPicPr>
          <p:cNvPr id="22" name="Graphic 21" descr="Research outline">
            <a:extLst>
              <a:ext uri="{FF2B5EF4-FFF2-40B4-BE49-F238E27FC236}">
                <a16:creationId xmlns:a16="http://schemas.microsoft.com/office/drawing/2014/main" id="{B97039C7-4556-FC0A-8EF4-43A9CAE5A5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76433" y="5322547"/>
            <a:ext cx="914400" cy="914400"/>
          </a:xfrm>
          <a:prstGeom prst="rect">
            <a:avLst/>
          </a:prstGeom>
        </p:spPr>
      </p:pic>
      <p:pic>
        <p:nvPicPr>
          <p:cNvPr id="23" name="Graphic 22" descr="Workflow outline">
            <a:extLst>
              <a:ext uri="{FF2B5EF4-FFF2-40B4-BE49-F238E27FC236}">
                <a16:creationId xmlns:a16="http://schemas.microsoft.com/office/drawing/2014/main" id="{04581421-3975-5B71-9B1F-4354FB2211D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208656" y="2537997"/>
            <a:ext cx="914400" cy="914400"/>
          </a:xfrm>
          <a:prstGeom prst="rect">
            <a:avLst/>
          </a:prstGeom>
        </p:spPr>
      </p:pic>
      <p:pic>
        <p:nvPicPr>
          <p:cNvPr id="24" name="Graphic 23" descr="Binoculars outline">
            <a:extLst>
              <a:ext uri="{FF2B5EF4-FFF2-40B4-BE49-F238E27FC236}">
                <a16:creationId xmlns:a16="http://schemas.microsoft.com/office/drawing/2014/main" id="{C300D3EE-31C4-EEAB-6ED3-A082BC6F1CD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729597" y="4788314"/>
            <a:ext cx="914400" cy="91440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4E8A34C8-F3F6-F3E4-3906-68DFA6EB8CA0}"/>
              </a:ext>
            </a:extLst>
          </p:cNvPr>
          <p:cNvSpPr txBox="1"/>
          <p:nvPr/>
        </p:nvSpPr>
        <p:spPr>
          <a:xfrm>
            <a:off x="8257140" y="3325836"/>
            <a:ext cx="3373129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ru-RU" sz="1400" dirty="0">
                <a:solidFill>
                  <a:srgbClr val="FFE600"/>
                </a:solidFill>
              </a:rPr>
              <a:t>Идентификация климатических рисков и возможностей </a:t>
            </a:r>
          </a:p>
          <a:p>
            <a:pPr marL="342900" indent="-342900" eaLnBrk="0" fontAlgn="base" hangingPunct="0">
              <a:spcAft>
                <a:spcPct val="0"/>
              </a:spcAft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Экономические тренды</a:t>
            </a:r>
            <a:endParaRPr lang="en-US" sz="1400" dirty="0">
              <a:solidFill>
                <a:schemeClr val="bg1"/>
              </a:solidFill>
            </a:endParaRPr>
          </a:p>
          <a:p>
            <a:pPr marL="342900" indent="-342900" eaLnBrk="0" fontAlgn="base" hangingPunct="0">
              <a:spcAft>
                <a:spcPct val="0"/>
              </a:spcAft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Национальные стратегии/планы действий</a:t>
            </a:r>
            <a:endParaRPr lang="en-US" sz="1400" dirty="0">
              <a:solidFill>
                <a:schemeClr val="bg1"/>
              </a:solidFill>
            </a:endParaRPr>
          </a:p>
          <a:p>
            <a:pPr marL="342900" indent="-342900" eaLnBrk="0" fontAlgn="base" hangingPunct="0">
              <a:spcAft>
                <a:spcPct val="0"/>
              </a:spcAft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Оценка климатической уязвимости</a:t>
            </a:r>
            <a:endParaRPr lang="en-US" sz="1400" dirty="0">
              <a:solidFill>
                <a:schemeClr val="bg1"/>
              </a:solidFill>
            </a:endParaRPr>
          </a:p>
          <a:p>
            <a:pPr marL="342900" indent="-342900" eaLnBrk="0" fontAlgn="base" hangingPunct="0">
              <a:spcAft>
                <a:spcPct val="0"/>
              </a:spcAft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Данные по энергетическому рынку и макроэкономические тенденции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F83DF7E-A8F6-6934-7D89-8B283F4BA2DE}"/>
              </a:ext>
            </a:extLst>
          </p:cNvPr>
          <p:cNvSpPr txBox="1"/>
          <p:nvPr/>
        </p:nvSpPr>
        <p:spPr>
          <a:xfrm>
            <a:off x="8002449" y="1310963"/>
            <a:ext cx="362782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8925" eaLnBrk="0" fontAlgn="base" hangingPunct="0"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ru-RU" sz="1400" dirty="0">
                <a:solidFill>
                  <a:srgbClr val="FFE600"/>
                </a:solidFill>
              </a:rPr>
              <a:t>Создание межфункциональной команды </a:t>
            </a:r>
          </a:p>
          <a:p>
            <a:pPr marL="574675" indent="-285750" eaLnBrk="0" fontAlgn="base" hangingPunct="0">
              <a:spcAft>
                <a:spcPct val="0"/>
              </a:spcAft>
              <a:buClr>
                <a:srgbClr val="FFD2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Персонал компании</a:t>
            </a:r>
            <a:endParaRPr lang="en-US" sz="1400" dirty="0">
              <a:solidFill>
                <a:schemeClr val="bg1"/>
              </a:solidFill>
            </a:endParaRPr>
          </a:p>
          <a:p>
            <a:pPr marL="1031875" lvl="1" indent="-285750" eaLnBrk="0" fontAlgn="base" hangingPunct="0">
              <a:spcAft>
                <a:spcPct val="0"/>
              </a:spcAft>
              <a:buClr>
                <a:srgbClr val="FFD2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УР</a:t>
            </a:r>
          </a:p>
          <a:p>
            <a:pPr marL="1031875" lvl="1" indent="-285750" eaLnBrk="0" fontAlgn="base" hangingPunct="0">
              <a:spcAft>
                <a:spcPct val="0"/>
              </a:spcAft>
              <a:buClr>
                <a:srgbClr val="FFD2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Финансы, риск, стратегия</a:t>
            </a:r>
          </a:p>
          <a:p>
            <a:pPr marL="1031875" lvl="1" indent="-285750" eaLnBrk="0" fontAlgn="base" hangingPunct="0">
              <a:spcAft>
                <a:spcPct val="0"/>
              </a:spcAft>
              <a:buClr>
                <a:srgbClr val="FFD2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Связи с инвесторами</a:t>
            </a:r>
          </a:p>
          <a:p>
            <a:pPr marL="1031875" lvl="1" indent="-285750" eaLnBrk="0" fontAlgn="base" hangingPunct="0">
              <a:spcAft>
                <a:spcPct val="0"/>
              </a:spcAft>
              <a:buClr>
                <a:srgbClr val="FFD2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Опер. деятельность</a:t>
            </a:r>
          </a:p>
          <a:p>
            <a:pPr marL="574675" indent="-285750" eaLnBrk="0" fontAlgn="base" hangingPunct="0">
              <a:spcAft>
                <a:spcPct val="0"/>
              </a:spcAft>
              <a:buClr>
                <a:srgbClr val="FFD2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Внешние эксперты 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D43B724-AE7F-46E9-9B33-C0B6B8843714}"/>
              </a:ext>
            </a:extLst>
          </p:cNvPr>
          <p:cNvSpPr txBox="1"/>
          <p:nvPr/>
        </p:nvSpPr>
        <p:spPr>
          <a:xfrm>
            <a:off x="266854" y="4591281"/>
            <a:ext cx="3982438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8925" eaLnBrk="0" fontAlgn="base" hangingPunct="0">
              <a:spcAft>
                <a:spcPct val="0"/>
              </a:spcAft>
              <a:buClr>
                <a:srgbClr val="FFD200"/>
              </a:buClr>
              <a:buSzPct val="100000"/>
            </a:pPr>
            <a:r>
              <a:rPr lang="ru-RU" sz="1400" dirty="0">
                <a:solidFill>
                  <a:schemeClr val="tx2"/>
                </a:solidFill>
              </a:rPr>
              <a:t>Сценарный анализ климатических рисков</a:t>
            </a:r>
            <a:r>
              <a:rPr lang="en-US" sz="1400" dirty="0">
                <a:solidFill>
                  <a:schemeClr val="tx2"/>
                </a:solidFill>
              </a:rPr>
              <a:t>:</a:t>
            </a:r>
          </a:p>
          <a:p>
            <a:pPr marL="574675" indent="-285750" eaLnBrk="0" fontAlgn="base" hangingPunct="0">
              <a:spcAft>
                <a:spcPct val="0"/>
              </a:spcAft>
              <a:buClr>
                <a:srgbClr val="FFD2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Изменение степени риска при различных сценариях</a:t>
            </a:r>
            <a:endParaRPr lang="en-US" sz="1400" dirty="0">
              <a:solidFill>
                <a:schemeClr val="bg1"/>
              </a:solidFill>
            </a:endParaRPr>
          </a:p>
          <a:p>
            <a:pPr marL="574675" indent="-285750" eaLnBrk="0" fontAlgn="base" hangingPunct="0">
              <a:spcAft>
                <a:spcPct val="0"/>
              </a:spcAft>
              <a:buClr>
                <a:srgbClr val="FFD2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Изучение исторических климатических данных и событий</a:t>
            </a:r>
            <a:endParaRPr lang="en-US" sz="1400" dirty="0">
              <a:solidFill>
                <a:schemeClr val="bg1"/>
              </a:solidFill>
            </a:endParaRPr>
          </a:p>
          <a:p>
            <a:pPr marL="574675" indent="-285750" eaLnBrk="0" fontAlgn="base" hangingPunct="0">
              <a:spcAft>
                <a:spcPct val="0"/>
              </a:spcAft>
              <a:buClr>
                <a:srgbClr val="FFD2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Применение существующих сценариев </a:t>
            </a:r>
            <a:r>
              <a:rPr lang="en-US" sz="1400" dirty="0">
                <a:solidFill>
                  <a:schemeClr val="bg1"/>
                </a:solidFill>
              </a:rPr>
              <a:t>IPCC </a:t>
            </a:r>
            <a:r>
              <a:rPr lang="ru-RU" sz="1400" dirty="0">
                <a:solidFill>
                  <a:schemeClr val="bg1"/>
                </a:solidFill>
              </a:rPr>
              <a:t>и </a:t>
            </a:r>
            <a:r>
              <a:rPr lang="en-US" sz="1400" dirty="0">
                <a:solidFill>
                  <a:schemeClr val="bg1"/>
                </a:solidFill>
              </a:rPr>
              <a:t>IEA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D1B3DB1-B073-1BC6-9647-585C71F9619F}"/>
              </a:ext>
            </a:extLst>
          </p:cNvPr>
          <p:cNvGrpSpPr/>
          <p:nvPr/>
        </p:nvGrpSpPr>
        <p:grpSpPr>
          <a:xfrm flipH="1">
            <a:off x="618374" y="6316578"/>
            <a:ext cx="5155570" cy="74248"/>
            <a:chOff x="7427308" y="2488840"/>
            <a:chExt cx="4002817" cy="69747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689DE6E-6A03-A975-3419-727D8C3C851C}"/>
                </a:ext>
              </a:extLst>
            </p:cNvPr>
            <p:cNvCxnSpPr>
              <a:cxnSpLocks/>
            </p:cNvCxnSpPr>
            <p:nvPr/>
          </p:nvCxnSpPr>
          <p:spPr>
            <a:xfrm>
              <a:off x="7470663" y="2523714"/>
              <a:ext cx="3959462" cy="0"/>
            </a:xfrm>
            <a:prstGeom prst="line">
              <a:avLst/>
            </a:prstGeom>
            <a:noFill/>
            <a:ln w="12700" cap="sq" cmpd="sng" algn="ctr">
              <a:solidFill>
                <a:srgbClr val="74748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ED66F101-2012-4528-83FE-98DC97C7F9BF}"/>
                </a:ext>
              </a:extLst>
            </p:cNvPr>
            <p:cNvSpPr/>
            <p:nvPr/>
          </p:nvSpPr>
          <p:spPr>
            <a:xfrm>
              <a:off x="7427308" y="2488840"/>
              <a:ext cx="70355" cy="69747"/>
            </a:xfrm>
            <a:prstGeom prst="ellipse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49E18DCB-C199-3E44-E9E9-6F29C64B5384}"/>
              </a:ext>
            </a:extLst>
          </p:cNvPr>
          <p:cNvSpPr txBox="1"/>
          <p:nvPr/>
        </p:nvSpPr>
        <p:spPr>
          <a:xfrm>
            <a:off x="274666" y="2826307"/>
            <a:ext cx="3982438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8925" eaLnBrk="0" fontAlgn="base" hangingPunct="0">
              <a:spcAft>
                <a:spcPct val="0"/>
              </a:spcAft>
              <a:buClr>
                <a:srgbClr val="FFD200"/>
              </a:buClr>
              <a:buSzPct val="100000"/>
            </a:pPr>
            <a:r>
              <a:rPr lang="ru-RU" sz="1400" dirty="0">
                <a:solidFill>
                  <a:schemeClr val="tx2"/>
                </a:solidFill>
              </a:rPr>
              <a:t>Трансформация климатических в финансовые риски</a:t>
            </a:r>
            <a:r>
              <a:rPr lang="en-US" sz="1400" dirty="0">
                <a:solidFill>
                  <a:schemeClr val="tx2"/>
                </a:solidFill>
              </a:rPr>
              <a:t>:</a:t>
            </a:r>
          </a:p>
          <a:p>
            <a:pPr marL="574675" indent="-285750" eaLnBrk="0" fontAlgn="base" hangingPunct="0">
              <a:spcAft>
                <a:spcPct val="0"/>
              </a:spcAft>
              <a:buClr>
                <a:srgbClr val="FFD2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Кредитный риск</a:t>
            </a:r>
            <a:endParaRPr lang="en-US" sz="1400" dirty="0">
              <a:solidFill>
                <a:schemeClr val="bg1"/>
              </a:solidFill>
            </a:endParaRPr>
          </a:p>
          <a:p>
            <a:pPr marL="574675" indent="-285750" eaLnBrk="0" fontAlgn="base" hangingPunct="0">
              <a:spcAft>
                <a:spcPct val="0"/>
              </a:spcAft>
              <a:buClr>
                <a:srgbClr val="FFD2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Рыночный риск</a:t>
            </a:r>
            <a:endParaRPr lang="en-US" sz="1400" dirty="0">
              <a:solidFill>
                <a:schemeClr val="bg1"/>
              </a:solidFill>
            </a:endParaRPr>
          </a:p>
          <a:p>
            <a:pPr marL="574675" indent="-285750" eaLnBrk="0" fontAlgn="base" hangingPunct="0">
              <a:spcAft>
                <a:spcPct val="0"/>
              </a:spcAft>
              <a:buClr>
                <a:srgbClr val="FFD2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Ликвидный риск (стоимость активов)</a:t>
            </a:r>
            <a:endParaRPr lang="en-US" sz="1400" dirty="0">
              <a:solidFill>
                <a:schemeClr val="bg1"/>
              </a:solidFill>
            </a:endParaRPr>
          </a:p>
          <a:p>
            <a:pPr marL="574675" indent="-285750" eaLnBrk="0" fontAlgn="base" hangingPunct="0">
              <a:spcAft>
                <a:spcPct val="0"/>
              </a:spcAft>
              <a:buClr>
                <a:srgbClr val="FFD2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Риск андеррайтинга</a:t>
            </a:r>
            <a:endParaRPr lang="en-US" sz="1400" dirty="0">
              <a:solidFill>
                <a:schemeClr val="bg1"/>
              </a:solidFill>
            </a:endParaRPr>
          </a:p>
          <a:p>
            <a:pPr marL="574675" indent="-285750" eaLnBrk="0" fontAlgn="base" hangingPunct="0">
              <a:spcAft>
                <a:spcPct val="0"/>
              </a:spcAft>
              <a:buClr>
                <a:srgbClr val="FFD2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Операционный риск</a:t>
            </a:r>
            <a:r>
              <a:rPr lang="en-US" sz="1400" dirty="0">
                <a:solidFill>
                  <a:schemeClr val="bg1"/>
                </a:solidFill>
              </a:rPr>
              <a:t> (</a:t>
            </a:r>
            <a:r>
              <a:rPr lang="ru-RU" sz="1400" dirty="0">
                <a:solidFill>
                  <a:schemeClr val="bg1"/>
                </a:solidFill>
              </a:rPr>
              <a:t>высокий</a:t>
            </a:r>
            <a:r>
              <a:rPr lang="en-US" sz="1400" dirty="0">
                <a:solidFill>
                  <a:schemeClr val="bg1"/>
                </a:solidFill>
              </a:rPr>
              <a:t> OPEX, CAPEX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85FB44B-1B41-F490-DD50-16B1E24940D4}"/>
              </a:ext>
            </a:extLst>
          </p:cNvPr>
          <p:cNvSpPr txBox="1"/>
          <p:nvPr/>
        </p:nvSpPr>
        <p:spPr>
          <a:xfrm>
            <a:off x="274666" y="1308969"/>
            <a:ext cx="430252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8925" eaLnBrk="0" fontAlgn="base" hangingPunct="0">
              <a:spcAft>
                <a:spcPct val="0"/>
              </a:spcAft>
              <a:buClr>
                <a:srgbClr val="FFD200"/>
              </a:buClr>
              <a:buSzPct val="100000"/>
            </a:pPr>
            <a:r>
              <a:rPr lang="ru-RU" sz="1400" dirty="0">
                <a:solidFill>
                  <a:schemeClr val="tx2"/>
                </a:solidFill>
              </a:rPr>
              <a:t>Оценка влияния на финансовые показатели</a:t>
            </a:r>
            <a:r>
              <a:rPr lang="en-US" sz="1400" dirty="0">
                <a:solidFill>
                  <a:schemeClr val="tx2"/>
                </a:solidFill>
              </a:rPr>
              <a:t>:</a:t>
            </a:r>
          </a:p>
          <a:p>
            <a:pPr marL="574675" indent="-285750" eaLnBrk="0" fontAlgn="base" hangingPunct="0">
              <a:spcAft>
                <a:spcPct val="0"/>
              </a:spcAft>
              <a:buClr>
                <a:srgbClr val="FFD2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Оценка финансового эффекта климатических рисков и возможностей на затраты компании, выручку, движение денежных средств, т.д.</a:t>
            </a:r>
          </a:p>
          <a:p>
            <a:pPr marL="574675" indent="-285750" eaLnBrk="0" fontAlgn="base" hangingPunct="0">
              <a:spcAft>
                <a:spcPct val="0"/>
              </a:spcAft>
              <a:buClr>
                <a:srgbClr val="FFD2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Климатическое стресс-тестирование</a:t>
            </a:r>
            <a:endParaRPr lang="en-US" sz="1400" dirty="0">
              <a:solidFill>
                <a:schemeClr val="bg1"/>
              </a:solidFill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541853A-7089-61DA-09E4-89AB2B5C9171}"/>
              </a:ext>
            </a:extLst>
          </p:cNvPr>
          <p:cNvGrpSpPr/>
          <p:nvPr/>
        </p:nvGrpSpPr>
        <p:grpSpPr>
          <a:xfrm flipH="1">
            <a:off x="635463" y="2766032"/>
            <a:ext cx="4572000" cy="74248"/>
            <a:chOff x="7427308" y="2488840"/>
            <a:chExt cx="4002817" cy="69747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A4246ECD-2EE3-C359-A821-7999437E88F1}"/>
                </a:ext>
              </a:extLst>
            </p:cNvPr>
            <p:cNvCxnSpPr>
              <a:cxnSpLocks/>
            </p:cNvCxnSpPr>
            <p:nvPr/>
          </p:nvCxnSpPr>
          <p:spPr>
            <a:xfrm>
              <a:off x="7470663" y="2523714"/>
              <a:ext cx="3959462" cy="0"/>
            </a:xfrm>
            <a:prstGeom prst="line">
              <a:avLst/>
            </a:prstGeom>
            <a:noFill/>
            <a:ln w="12700" cap="sq" cmpd="sng" algn="ctr">
              <a:solidFill>
                <a:srgbClr val="74748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BF89A86D-3241-6FC2-1B69-2512C470CA60}"/>
                </a:ext>
              </a:extLst>
            </p:cNvPr>
            <p:cNvSpPr/>
            <p:nvPr/>
          </p:nvSpPr>
          <p:spPr>
            <a:xfrm>
              <a:off x="7427308" y="2488840"/>
              <a:ext cx="70355" cy="69747"/>
            </a:xfrm>
            <a:prstGeom prst="ellipse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D2B1CD5-9F5D-A7C2-35F7-6FF2A1E5B3AB}"/>
              </a:ext>
            </a:extLst>
          </p:cNvPr>
          <p:cNvGrpSpPr/>
          <p:nvPr/>
        </p:nvGrpSpPr>
        <p:grpSpPr>
          <a:xfrm flipH="1">
            <a:off x="611071" y="4570360"/>
            <a:ext cx="3586208" cy="84547"/>
            <a:chOff x="7427308" y="2488840"/>
            <a:chExt cx="4002817" cy="69747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CE4D26A-F1EF-771E-56E5-48A835D5E9F2}"/>
                </a:ext>
              </a:extLst>
            </p:cNvPr>
            <p:cNvCxnSpPr>
              <a:cxnSpLocks/>
            </p:cNvCxnSpPr>
            <p:nvPr/>
          </p:nvCxnSpPr>
          <p:spPr>
            <a:xfrm>
              <a:off x="7470663" y="2523714"/>
              <a:ext cx="3959462" cy="0"/>
            </a:xfrm>
            <a:prstGeom prst="line">
              <a:avLst/>
            </a:prstGeom>
            <a:noFill/>
            <a:ln w="12700" cap="sq" cmpd="sng" algn="ctr">
              <a:solidFill>
                <a:srgbClr val="74748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44A70401-7E26-ABAC-F66A-95DD1B10EC5D}"/>
                </a:ext>
              </a:extLst>
            </p:cNvPr>
            <p:cNvSpPr/>
            <p:nvPr/>
          </p:nvSpPr>
          <p:spPr>
            <a:xfrm>
              <a:off x="7427308" y="2488840"/>
              <a:ext cx="70355" cy="69747"/>
            </a:xfrm>
            <a:prstGeom prst="ellipse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2B7C1C-5B5B-7DEB-EA38-8A8139D2D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39" name="Footer Placeholder 38">
            <a:extLst>
              <a:ext uri="{FF2B5EF4-FFF2-40B4-BE49-F238E27FC236}">
                <a16:creationId xmlns:a16="http://schemas.microsoft.com/office/drawing/2014/main" id="{3B441C9B-AA02-6AEE-FAC5-3013BE43B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40" name="Slide Number Placeholder 39">
            <a:extLst>
              <a:ext uri="{FF2B5EF4-FFF2-40B4-BE49-F238E27FC236}">
                <a16:creationId xmlns:a16="http://schemas.microsoft.com/office/drawing/2014/main" id="{F5DFA95D-765B-1A51-EA5C-6F4E50E53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9415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500562-7721-F744-0E29-A3BA64D04D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34760A1F-A4FB-C994-63B5-87C06BDA7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47" y="181643"/>
            <a:ext cx="11706254" cy="531378"/>
          </a:xfrm>
        </p:spPr>
        <p:txBody>
          <a:bodyPr/>
          <a:lstStyle/>
          <a:p>
            <a:r>
              <a:rPr lang="ru-RU" dirty="0"/>
              <a:t>Блок «Управление»</a:t>
            </a:r>
            <a:br>
              <a:rPr lang="en-US" dirty="0"/>
            </a:br>
            <a:r>
              <a:rPr lang="ru-RU" sz="2400" i="1" dirty="0">
                <a:solidFill>
                  <a:schemeClr val="bg1"/>
                </a:solidFill>
              </a:rPr>
              <a:t>Практические примеры недостатков и корректирующих действий 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4EBE091-53FF-BF0A-1B68-72E32683C18F}"/>
              </a:ext>
            </a:extLst>
          </p:cNvPr>
          <p:cNvSpPr/>
          <p:nvPr/>
        </p:nvSpPr>
        <p:spPr>
          <a:xfrm>
            <a:off x="618287" y="2829812"/>
            <a:ext cx="5258757" cy="3464858"/>
          </a:xfrm>
          <a:prstGeom prst="rect">
            <a:avLst/>
          </a:prstGeom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tIns="365760" rIns="45720" bIns="180000" anchor="ctr">
            <a:noAutofit/>
          </a:bodyPr>
          <a:lstStyle/>
          <a:p>
            <a:pPr marL="0" marR="0" lvl="0" indent="0">
              <a:buClr>
                <a:srgbClr val="FFE600"/>
              </a:buClr>
              <a:buSzPts val="600"/>
              <a:buFont typeface="Arial" panose="020B0604020202020204" pitchFamily="34" charset="0"/>
              <a:buNone/>
            </a:pPr>
            <a:endParaRPr lang="en-US" sz="1100" b="1" u="none" strike="noStrike" kern="600" dirty="0">
              <a:solidFill>
                <a:schemeClr val="bg1"/>
              </a:solidFill>
              <a:effectLst/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0" marR="0" lvl="0" indent="0">
              <a:buClr>
                <a:srgbClr val="FFE600"/>
              </a:buClr>
              <a:buSzPts val="600"/>
              <a:buFont typeface="Arial" panose="020B0604020202020204" pitchFamily="34" charset="0"/>
              <a:buNone/>
            </a:pPr>
            <a:endParaRPr lang="en-US" sz="1100" b="1" u="none" strike="noStrike" kern="600" dirty="0">
              <a:solidFill>
                <a:schemeClr val="bg1"/>
              </a:solidFill>
              <a:effectLst/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0" marR="0" lvl="0" indent="0">
              <a:buClr>
                <a:srgbClr val="FFE600"/>
              </a:buClr>
              <a:buSzPts val="600"/>
              <a:buFont typeface="Arial" panose="020B0604020202020204" pitchFamily="34" charset="0"/>
              <a:buNone/>
            </a:pPr>
            <a:endParaRPr lang="en-US" sz="1200" u="none" strike="noStrike" kern="600" dirty="0">
              <a:solidFill>
                <a:schemeClr val="bg1"/>
              </a:solidFill>
              <a:effectLst/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DB47392-1CB0-393F-0CD4-7C884EF3CC0C}"/>
              </a:ext>
            </a:extLst>
          </p:cNvPr>
          <p:cNvSpPr txBox="1"/>
          <p:nvPr/>
        </p:nvSpPr>
        <p:spPr>
          <a:xfrm>
            <a:off x="6008860" y="3216903"/>
            <a:ext cx="5547360" cy="3077766"/>
          </a:xfrm>
          <a:prstGeom prst="rect">
            <a:avLst/>
          </a:prstGeom>
          <a:noFill/>
        </p:spPr>
        <p:txBody>
          <a:bodyPr wrap="square" lIns="288000">
            <a:spAutoFit/>
          </a:bodyPr>
          <a:lstStyle/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400" dirty="0">
                <a:solidFill>
                  <a:schemeClr val="bg1"/>
                </a:solidFill>
              </a:rPr>
              <a:t>Определить и задокументировать климатические обязанности Управляющего совета и его комитетов.</a:t>
            </a:r>
            <a:endParaRPr lang="en-US" sz="1400" i="0" dirty="0">
              <a:solidFill>
                <a:schemeClr val="bg1"/>
              </a:solidFill>
              <a:effectLst/>
            </a:endParaRP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400" i="0" dirty="0">
                <a:solidFill>
                  <a:schemeClr val="bg1"/>
                </a:solidFill>
                <a:effectLst/>
              </a:rPr>
              <a:t>Установить формальные процессы для регулярного информирования Совета о климатических рисках  и возможностях.</a:t>
            </a:r>
            <a:endParaRPr lang="en-US" sz="1400" i="0" dirty="0">
              <a:solidFill>
                <a:schemeClr val="bg1"/>
              </a:solidFill>
              <a:effectLst/>
            </a:endParaRP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400" dirty="0">
                <a:solidFill>
                  <a:schemeClr val="bg1"/>
                </a:solidFill>
              </a:rPr>
              <a:t>Интегрировать климатические аспекты в стратегические и контрольные процедуры</a:t>
            </a:r>
            <a:r>
              <a:rPr lang="en-US" sz="1400" i="0" dirty="0">
                <a:solidFill>
                  <a:schemeClr val="bg1"/>
                </a:solidFill>
                <a:effectLst/>
              </a:rPr>
              <a:t>.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400" i="0" dirty="0">
                <a:solidFill>
                  <a:schemeClr val="bg1"/>
                </a:solidFill>
                <a:effectLst/>
              </a:rPr>
              <a:t>Включить климатические риски в мандаты комитетов по рискам, закупкам и управлению персоналом.</a:t>
            </a:r>
            <a:endParaRPr lang="en-US" sz="1400" i="0" dirty="0">
              <a:solidFill>
                <a:schemeClr val="bg1"/>
              </a:solidFill>
              <a:effectLst/>
            </a:endParaRP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400" i="0" dirty="0">
                <a:solidFill>
                  <a:schemeClr val="bg1"/>
                </a:solidFill>
                <a:effectLst/>
              </a:rPr>
              <a:t>Разработать четкие процедуры отчетности и каналы коммуникации по вопросам, связанным с климатом.</a:t>
            </a:r>
            <a:endParaRPr lang="en-US" sz="1400" i="0" dirty="0">
              <a:solidFill>
                <a:schemeClr val="bg1"/>
              </a:solidFill>
              <a:effectLst/>
            </a:endParaRPr>
          </a:p>
        </p:txBody>
      </p:sp>
      <p:sp>
        <p:nvSpPr>
          <p:cNvPr id="4" name="object 56">
            <a:extLst>
              <a:ext uri="{FF2B5EF4-FFF2-40B4-BE49-F238E27FC236}">
                <a16:creationId xmlns:a16="http://schemas.microsoft.com/office/drawing/2014/main" id="{01C3658C-BD2C-DD76-1E44-E59820EBCBA2}"/>
              </a:ext>
            </a:extLst>
          </p:cNvPr>
          <p:cNvSpPr/>
          <p:nvPr/>
        </p:nvSpPr>
        <p:spPr>
          <a:xfrm>
            <a:off x="828400" y="2670293"/>
            <a:ext cx="3608283" cy="398806"/>
          </a:xfrm>
          <a:custGeom>
            <a:avLst/>
            <a:gdLst/>
            <a:ahLst/>
            <a:cxnLst/>
            <a:rect l="l" t="t" r="r" b="b"/>
            <a:pathLst>
              <a:path w="862330" h="254000">
                <a:moveTo>
                  <a:pt x="0" y="254000"/>
                </a:moveTo>
                <a:lnTo>
                  <a:pt x="861847" y="254000"/>
                </a:lnTo>
                <a:lnTo>
                  <a:pt x="861847" y="0"/>
                </a:lnTo>
                <a:lnTo>
                  <a:pt x="0" y="0"/>
                </a:lnTo>
                <a:lnTo>
                  <a:pt x="0" y="254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/>
          <a:p>
            <a:pPr marL="12700" algn="ctr">
              <a:lnSpc>
                <a:spcPct val="110000"/>
              </a:lnSpc>
              <a:spcBef>
                <a:spcPts val="100"/>
              </a:spcBef>
            </a:pPr>
            <a:endParaRPr lang="en-US" sz="1200" b="1" dirty="0"/>
          </a:p>
          <a:p>
            <a:pPr marL="12700" algn="ctr">
              <a:lnSpc>
                <a:spcPct val="110000"/>
              </a:lnSpc>
              <a:spcBef>
                <a:spcPts val="100"/>
              </a:spcBef>
            </a:pPr>
            <a:r>
              <a:rPr lang="ru-RU" sz="1400" b="1" dirty="0"/>
              <a:t>Общие недостатки, выявленные в блоке «Управление»: </a:t>
            </a:r>
            <a:endParaRPr lang="en-US" sz="1400" b="1" dirty="0"/>
          </a:p>
          <a:p>
            <a:pPr marL="12700" algn="ctr">
              <a:lnSpc>
                <a:spcPct val="110000"/>
              </a:lnSpc>
              <a:spcBef>
                <a:spcPts val="100"/>
              </a:spcBef>
            </a:pPr>
            <a:endParaRPr lang="ru-RU" sz="1200" b="1" kern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7AE3AE-1C2C-FFBE-0204-468834158C71}"/>
              </a:ext>
            </a:extLst>
          </p:cNvPr>
          <p:cNvSpPr txBox="1"/>
          <p:nvPr/>
        </p:nvSpPr>
        <p:spPr>
          <a:xfrm>
            <a:off x="750103" y="3013771"/>
            <a:ext cx="5191760" cy="3237809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171450" marR="0" lvl="0" indent="-171450">
              <a:spcBef>
                <a:spcPts val="60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u="none" strike="noStrike" kern="600" dirty="0">
                <a:solidFill>
                  <a:schemeClr val="bg1"/>
                </a:solidFill>
                <a:effectLst/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Отсутствие четкого распределения климатических обязанностей среди управляющих органов.</a:t>
            </a:r>
            <a:endParaRPr lang="en-US" sz="1400" u="none" strike="noStrike" kern="600" dirty="0">
              <a:solidFill>
                <a:schemeClr val="bg1"/>
              </a:solidFill>
              <a:effectLst/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kern="600" dirty="0">
                <a:solidFill>
                  <a:schemeClr val="bg1"/>
                </a:solidFill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Недостаток формальных процедур контроля со стороны руководящих органов за климатическими рисками и возможностями.</a:t>
            </a:r>
            <a:endParaRPr lang="en-US" sz="1400" u="none" strike="noStrike" kern="600" dirty="0">
              <a:solidFill>
                <a:schemeClr val="bg1"/>
              </a:solidFill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kern="600" dirty="0">
                <a:solidFill>
                  <a:schemeClr val="bg1"/>
                </a:solidFill>
                <a:effectLst/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Климатические риски не интегрированы во внутренний контроль или процесс принятия решений.</a:t>
            </a:r>
            <a:endParaRPr lang="en-US" sz="1400" kern="600" dirty="0">
              <a:solidFill>
                <a:schemeClr val="bg1"/>
              </a:solidFill>
              <a:effectLst/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u="none" strike="noStrike" kern="600" dirty="0">
                <a:solidFill>
                  <a:schemeClr val="bg1"/>
                </a:solidFill>
                <a:effectLst/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Отсутствует комитет на уровне Правления, ответственный за контроль климатических вопросов</a:t>
            </a:r>
            <a:endParaRPr lang="en-US" sz="1400" u="none" strike="noStrike" kern="600" dirty="0">
              <a:solidFill>
                <a:schemeClr val="bg1"/>
              </a:solidFill>
              <a:effectLst/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kern="600" dirty="0">
                <a:solidFill>
                  <a:schemeClr val="bg1"/>
                </a:solidFill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Климатическая политика и рамочная структура управления, определяющая роли и обязанности по контролю за климатом, не утверждены на уровне Совета Директоров.</a:t>
            </a:r>
            <a:endParaRPr lang="en-US" sz="1400" kern="600" dirty="0">
              <a:solidFill>
                <a:schemeClr val="bg1"/>
              </a:solidFill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CD50F12-B256-ACEE-9E9A-B755D2DB2E87}"/>
              </a:ext>
            </a:extLst>
          </p:cNvPr>
          <p:cNvSpPr txBox="1"/>
          <p:nvPr/>
        </p:nvSpPr>
        <p:spPr>
          <a:xfrm>
            <a:off x="521408" y="1093799"/>
            <a:ext cx="10985104" cy="1469120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1600" dirty="0">
                <a:solidFill>
                  <a:schemeClr val="bg1"/>
                </a:solidFill>
              </a:rPr>
              <a:t>Компании часто сталкиваются с трудностями при приведении своих управленческих структур в соответствие с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ru-RU" sz="1600" dirty="0">
                <a:solidFill>
                  <a:schemeClr val="bg1"/>
                </a:solidFill>
              </a:rPr>
              <a:t>МСФО</a:t>
            </a:r>
            <a:r>
              <a:rPr lang="en-US" sz="1600" dirty="0">
                <a:solidFill>
                  <a:schemeClr val="bg1"/>
                </a:solidFill>
              </a:rPr>
              <a:t> S2, </a:t>
            </a:r>
            <a:r>
              <a:rPr lang="ru-RU" sz="1600" dirty="0">
                <a:solidFill>
                  <a:schemeClr val="bg1"/>
                </a:solidFill>
              </a:rPr>
              <a:t>включая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ru-RU" sz="1600" dirty="0">
                <a:solidFill>
                  <a:schemeClr val="tx2"/>
                </a:solidFill>
              </a:rPr>
              <a:t>неопределенные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ru-RU" sz="1600" dirty="0">
                <a:solidFill>
                  <a:schemeClr val="tx2"/>
                </a:solidFill>
              </a:rPr>
              <a:t>климатические обязанности</a:t>
            </a:r>
            <a:r>
              <a:rPr lang="en-US" sz="1600" dirty="0">
                <a:solidFill>
                  <a:schemeClr val="tx2"/>
                </a:solidFill>
              </a:rPr>
              <a:t>, </a:t>
            </a:r>
            <a:r>
              <a:rPr lang="ru-RU" sz="1600" dirty="0">
                <a:solidFill>
                  <a:schemeClr val="tx2"/>
                </a:solidFill>
              </a:rPr>
              <a:t>ограниченный контроль со стороны Совета директоров</a:t>
            </a:r>
            <a:r>
              <a:rPr lang="en-US" sz="1600" dirty="0">
                <a:solidFill>
                  <a:schemeClr val="tx2"/>
                </a:solidFill>
              </a:rPr>
              <a:t>, </a:t>
            </a:r>
            <a:r>
              <a:rPr lang="ru-RU" sz="1600" dirty="0">
                <a:solidFill>
                  <a:schemeClr val="tx2"/>
                </a:solidFill>
              </a:rPr>
              <a:t>и недостаточную эффективность внутренних процессов</a:t>
            </a:r>
            <a:r>
              <a:rPr lang="en-US" sz="1600" dirty="0">
                <a:solidFill>
                  <a:schemeClr val="tx2"/>
                </a:solidFill>
              </a:rPr>
              <a:t>.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</a:p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1600" dirty="0">
                <a:solidFill>
                  <a:schemeClr val="bg1"/>
                </a:solidFill>
              </a:rPr>
              <a:t>Устранение этих недостатков требует четкого распределения обязанностей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ru-RU" sz="1600" dirty="0">
                <a:solidFill>
                  <a:schemeClr val="bg1"/>
                </a:solidFill>
              </a:rPr>
              <a:t>совершенствование механизмов надзора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ru-RU" sz="1600" dirty="0">
                <a:solidFill>
                  <a:schemeClr val="bg1"/>
                </a:solidFill>
              </a:rPr>
              <a:t>создание структурированной системы отчетности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ru-RU" sz="1600" dirty="0">
                <a:solidFill>
                  <a:schemeClr val="bg1"/>
                </a:solidFill>
              </a:rPr>
              <a:t>и учета климатических факторов в основных структурах управления и принятия решений. .</a:t>
            </a:r>
            <a:endParaRPr lang="en-US" sz="1600" dirty="0">
              <a:solidFill>
                <a:schemeClr val="bg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B768E4C-90B7-D8F3-6339-EFA07A2FCDE0}"/>
              </a:ext>
            </a:extLst>
          </p:cNvPr>
          <p:cNvGrpSpPr/>
          <p:nvPr/>
        </p:nvGrpSpPr>
        <p:grpSpPr>
          <a:xfrm>
            <a:off x="524079" y="2636513"/>
            <a:ext cx="457200" cy="457200"/>
            <a:chOff x="706981" y="1968940"/>
            <a:chExt cx="322908" cy="322908"/>
          </a:xfrm>
          <a:solidFill>
            <a:schemeClr val="tx2"/>
          </a:solidFill>
        </p:grpSpPr>
        <p:sp>
          <p:nvSpPr>
            <p:cNvPr id="8" name="Flowchart: Connector 7">
              <a:extLst>
                <a:ext uri="{FF2B5EF4-FFF2-40B4-BE49-F238E27FC236}">
                  <a16:creationId xmlns:a16="http://schemas.microsoft.com/office/drawing/2014/main" id="{DD93678F-52FB-B4A3-E4DE-029DE5211B6D}"/>
                </a:ext>
              </a:extLst>
            </p:cNvPr>
            <p:cNvSpPr/>
            <p:nvPr/>
          </p:nvSpPr>
          <p:spPr>
            <a:xfrm>
              <a:off x="706981" y="1968940"/>
              <a:ext cx="322908" cy="322908"/>
            </a:xfrm>
            <a:prstGeom prst="flowChartConnector">
              <a:avLst/>
            </a:prstGeom>
            <a:grpFill/>
            <a:ln w="1270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indent="-252000" algn="l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</a:pPr>
              <a:endPara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pic>
          <p:nvPicPr>
            <p:cNvPr id="9" name="Graphic 8" descr="Group brainstorm outline">
              <a:extLst>
                <a:ext uri="{FF2B5EF4-FFF2-40B4-BE49-F238E27FC236}">
                  <a16:creationId xmlns:a16="http://schemas.microsoft.com/office/drawing/2014/main" id="{5F463E06-CD1C-ABB7-38A9-F05907F72B4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726081" y="1968940"/>
              <a:ext cx="281070" cy="281070"/>
            </a:xfrm>
            <a:prstGeom prst="rect">
              <a:avLst/>
            </a:prstGeom>
            <a:effectLst/>
          </p:spPr>
        </p:pic>
      </p:grpSp>
      <p:sp>
        <p:nvSpPr>
          <p:cNvPr id="10" name="Rectangle 5">
            <a:extLst>
              <a:ext uri="{FF2B5EF4-FFF2-40B4-BE49-F238E27FC236}">
                <a16:creationId xmlns:a16="http://schemas.microsoft.com/office/drawing/2014/main" id="{FD3E1650-E3A9-7544-0E6A-88AAAD878E3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51976" y="2670293"/>
            <a:ext cx="5547360" cy="360850"/>
          </a:xfrm>
          <a:prstGeom prst="rect">
            <a:avLst/>
          </a:prstGeom>
          <a:noFill/>
          <a:ln w="9525" algn="ctr">
            <a:solidFill>
              <a:schemeClr val="bg1"/>
            </a:solidFill>
            <a:prstDash val="sysDash"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spAutoFit/>
          </a:bodyPr>
          <a:lstStyle/>
          <a:p>
            <a:pPr marL="0" marR="0" lvl="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Pct val="100000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Рекомендуемые корректирующие действия</a:t>
            </a:r>
            <a:r>
              <a:rPr lang="en-US" sz="1400" b="1" dirty="0">
                <a:solidFill>
                  <a:srgbClr val="FFFFFF"/>
                </a:solidFill>
                <a:latin typeface="EYInterstate Light"/>
              </a:rPr>
              <a:t>: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3B5CC614-3929-8839-7627-121295364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A53FD060-C7A8-BF14-81C9-B57AD31CF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EA3F04A-F1BF-4532-873A-B72A736AD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8814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E336C5-4FAE-3F65-7AAE-B53B065973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BFD20BB5-541D-259E-69F3-BED1E66681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689" y="113291"/>
            <a:ext cx="11627312" cy="645518"/>
          </a:xfrm>
        </p:spPr>
        <p:txBody>
          <a:bodyPr/>
          <a:lstStyle/>
          <a:p>
            <a:r>
              <a:rPr lang="ru-RU" dirty="0"/>
              <a:t>Блок  «Стратегия»</a:t>
            </a:r>
            <a:br>
              <a:rPr lang="en-US" sz="3200" dirty="0"/>
            </a:br>
            <a:r>
              <a:rPr lang="ru-RU" sz="2400" i="1" dirty="0">
                <a:solidFill>
                  <a:schemeClr val="bg1"/>
                </a:solidFill>
              </a:rPr>
              <a:t>Практические примеры недостатков и корректирующих действий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F38336E-9D65-AABC-0F86-34352A177B4D}"/>
              </a:ext>
            </a:extLst>
          </p:cNvPr>
          <p:cNvSpPr/>
          <p:nvPr/>
        </p:nvSpPr>
        <p:spPr>
          <a:xfrm>
            <a:off x="618287" y="2886846"/>
            <a:ext cx="5134297" cy="3491960"/>
          </a:xfrm>
          <a:prstGeom prst="rect">
            <a:avLst/>
          </a:prstGeom>
          <a:ln w="9525" cap="flat" cmpd="sng" algn="ctr">
            <a:solidFill>
              <a:srgbClr val="FFFACC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tIns="365760" rIns="45720" bIns="180000" anchor="ctr">
            <a:noAutofit/>
          </a:bodyPr>
          <a:lstStyle/>
          <a:p>
            <a:pPr marL="0" marR="0" lvl="0" indent="0">
              <a:buClr>
                <a:srgbClr val="FFE600"/>
              </a:buClr>
              <a:buSzPts val="600"/>
              <a:buFont typeface="Arial" panose="020B0604020202020204" pitchFamily="34" charset="0"/>
              <a:buNone/>
            </a:pPr>
            <a:endParaRPr lang="en-US" sz="1100" b="1" u="none" strike="noStrike" kern="600" dirty="0">
              <a:solidFill>
                <a:schemeClr val="bg1"/>
              </a:solidFill>
              <a:effectLst/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0" marR="0" lvl="0" indent="0">
              <a:buClr>
                <a:srgbClr val="FFE600"/>
              </a:buClr>
              <a:buSzPts val="600"/>
              <a:buFont typeface="Arial" panose="020B0604020202020204" pitchFamily="34" charset="0"/>
              <a:buNone/>
            </a:pPr>
            <a:endParaRPr lang="en-US" sz="1100" b="1" u="none" strike="noStrike" kern="600" dirty="0">
              <a:solidFill>
                <a:schemeClr val="bg1"/>
              </a:solidFill>
              <a:effectLst/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0" marR="0" lvl="0" indent="0">
              <a:buClr>
                <a:srgbClr val="FFE600"/>
              </a:buClr>
              <a:buSzPts val="600"/>
              <a:buFont typeface="Arial" panose="020B0604020202020204" pitchFamily="34" charset="0"/>
              <a:buNone/>
            </a:pPr>
            <a:endParaRPr lang="en-US" sz="1200" u="none" strike="noStrike" kern="600" dirty="0">
              <a:solidFill>
                <a:schemeClr val="bg1"/>
              </a:solidFill>
              <a:effectLst/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3DA6001-6695-696F-95AD-633B82C70F6E}"/>
              </a:ext>
            </a:extLst>
          </p:cNvPr>
          <p:cNvSpPr txBox="1"/>
          <p:nvPr/>
        </p:nvSpPr>
        <p:spPr>
          <a:xfrm>
            <a:off x="5840568" y="3086249"/>
            <a:ext cx="5840880" cy="3108543"/>
          </a:xfrm>
          <a:prstGeom prst="rect">
            <a:avLst/>
          </a:prstGeom>
          <a:noFill/>
        </p:spPr>
        <p:txBody>
          <a:bodyPr wrap="square" lIns="288000">
            <a:spAutoFit/>
          </a:bodyPr>
          <a:lstStyle/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200" dirty="0">
                <a:solidFill>
                  <a:schemeClr val="bg1"/>
                </a:solidFill>
              </a:rPr>
              <a:t>Интегрировать разработку климатических целей в стратегическое и финансовое планирование компании.</a:t>
            </a:r>
            <a:endParaRPr lang="en-US" sz="1200" b="0" i="0" dirty="0">
              <a:solidFill>
                <a:schemeClr val="bg1"/>
              </a:solidFill>
              <a:effectLst/>
            </a:endParaRP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200" dirty="0">
                <a:solidFill>
                  <a:schemeClr val="bg1"/>
                </a:solidFill>
              </a:rPr>
              <a:t>Разработать и утвердить Климатическую политику, включающую элементы раскрытия информации и выполнить маппинг климатических рисков по цепочке создания стоимости</a:t>
            </a:r>
            <a:r>
              <a:rPr lang="en-US" sz="1200" b="0" i="0" dirty="0">
                <a:solidFill>
                  <a:schemeClr val="bg1"/>
                </a:solidFill>
                <a:effectLst/>
              </a:rPr>
              <a:t>.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200" dirty="0">
                <a:solidFill>
                  <a:schemeClr val="bg1"/>
                </a:solidFill>
              </a:rPr>
              <a:t>Внедрить процесс оценки климатических рисков с использованием исторических данных, текущих условий и прогнозов.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200" dirty="0">
                <a:solidFill>
                  <a:schemeClr val="bg1"/>
                </a:solidFill>
              </a:rPr>
              <a:t>Определить методологию оценки климатических рисков с категориями рисков, критериями оценки и источниками данных в соответствие с требованиями МСФО</a:t>
            </a:r>
            <a:r>
              <a:rPr lang="en-US" sz="1200" dirty="0">
                <a:solidFill>
                  <a:schemeClr val="bg1"/>
                </a:solidFill>
              </a:rPr>
              <a:t> S2</a:t>
            </a:r>
            <a:r>
              <a:rPr lang="en-US" sz="1200" b="0" i="0" dirty="0">
                <a:solidFill>
                  <a:schemeClr val="bg1"/>
                </a:solidFill>
                <a:effectLst/>
              </a:rPr>
              <a:t>.</a:t>
            </a:r>
            <a:endParaRPr lang="en-US" sz="1200" dirty="0">
              <a:solidFill>
                <a:schemeClr val="bg1"/>
              </a:solidFill>
            </a:endParaRP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200" dirty="0">
                <a:solidFill>
                  <a:schemeClr val="bg1"/>
                </a:solidFill>
              </a:rPr>
              <a:t>Использовать количественные данные</a:t>
            </a:r>
            <a:r>
              <a:rPr lang="en-US" sz="1200" dirty="0">
                <a:solidFill>
                  <a:schemeClr val="bg1"/>
                </a:solidFill>
              </a:rPr>
              <a:t>,</a:t>
            </a:r>
            <a:r>
              <a:rPr lang="ru-RU" sz="1200" dirty="0">
                <a:solidFill>
                  <a:schemeClr val="bg1"/>
                </a:solidFill>
              </a:rPr>
              <a:t> предположения, анализ затрат и выгод, а также сценарное планирование для поддержки климатической стратегии.</a:t>
            </a:r>
            <a:endParaRPr lang="en-US" sz="1200" b="0" i="0" dirty="0">
              <a:solidFill>
                <a:schemeClr val="bg1"/>
              </a:solidFill>
              <a:effectLst/>
            </a:endParaRPr>
          </a:p>
        </p:txBody>
      </p:sp>
      <p:sp>
        <p:nvSpPr>
          <p:cNvPr id="13" name="object 56">
            <a:extLst>
              <a:ext uri="{FF2B5EF4-FFF2-40B4-BE49-F238E27FC236}">
                <a16:creationId xmlns:a16="http://schemas.microsoft.com/office/drawing/2014/main" id="{3AFCE9A0-F171-489F-2C0F-7D4BAED949E0}"/>
              </a:ext>
            </a:extLst>
          </p:cNvPr>
          <p:cNvSpPr/>
          <p:nvPr/>
        </p:nvSpPr>
        <p:spPr>
          <a:xfrm>
            <a:off x="829979" y="2687443"/>
            <a:ext cx="3345724" cy="398806"/>
          </a:xfrm>
          <a:custGeom>
            <a:avLst/>
            <a:gdLst/>
            <a:ahLst/>
            <a:cxnLst/>
            <a:rect l="l" t="t" r="r" b="b"/>
            <a:pathLst>
              <a:path w="862330" h="254000">
                <a:moveTo>
                  <a:pt x="0" y="254000"/>
                </a:moveTo>
                <a:lnTo>
                  <a:pt x="861847" y="254000"/>
                </a:lnTo>
                <a:lnTo>
                  <a:pt x="861847" y="0"/>
                </a:lnTo>
                <a:lnTo>
                  <a:pt x="0" y="0"/>
                </a:lnTo>
                <a:lnTo>
                  <a:pt x="0" y="254000"/>
                </a:lnTo>
                <a:close/>
              </a:path>
            </a:pathLst>
          </a:custGeom>
          <a:solidFill>
            <a:srgbClr val="FFFACC"/>
          </a:solidFill>
          <a:ln>
            <a:solidFill>
              <a:srgbClr val="FFFAC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/>
          <a:p>
            <a:pPr marL="12700" algn="ctr">
              <a:lnSpc>
                <a:spcPct val="110000"/>
              </a:lnSpc>
              <a:spcBef>
                <a:spcPts val="100"/>
              </a:spcBef>
            </a:pPr>
            <a:endParaRPr lang="en-US" sz="1300" b="1" dirty="0"/>
          </a:p>
          <a:p>
            <a:pPr marL="12700" algn="ctr">
              <a:lnSpc>
                <a:spcPct val="110000"/>
              </a:lnSpc>
              <a:spcBef>
                <a:spcPts val="100"/>
              </a:spcBef>
            </a:pPr>
            <a:r>
              <a:rPr lang="ru-RU" sz="1400" b="1" dirty="0"/>
              <a:t>Общие недостатки, выявленные в блоке «Стратегия»</a:t>
            </a:r>
            <a:endParaRPr lang="en-US" sz="1400" b="1" dirty="0"/>
          </a:p>
          <a:p>
            <a:pPr marL="12700" algn="ctr">
              <a:lnSpc>
                <a:spcPct val="110000"/>
              </a:lnSpc>
              <a:spcBef>
                <a:spcPts val="100"/>
              </a:spcBef>
            </a:pPr>
            <a:endParaRPr lang="ru-RU" sz="1300" b="1" kern="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5EFFCC3-061F-74F9-1982-DAB965C821EA}"/>
              </a:ext>
            </a:extLst>
          </p:cNvPr>
          <p:cNvSpPr txBox="1"/>
          <p:nvPr/>
        </p:nvSpPr>
        <p:spPr>
          <a:xfrm>
            <a:off x="740296" y="3157805"/>
            <a:ext cx="5006834" cy="3083921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171450" marR="0" lvl="0" indent="-171450">
              <a:spcBef>
                <a:spcPts val="60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Организационная структура и график реализации разработки климатических целей не утверждены формально. </a:t>
            </a:r>
            <a:endParaRPr lang="en-US" sz="1400" dirty="0">
              <a:solidFill>
                <a:schemeClr val="bg1"/>
              </a:solidFill>
            </a:endParaRPr>
          </a:p>
          <a:p>
            <a:pPr marL="171450" marR="0" lvl="0" indent="-171450">
              <a:spcBef>
                <a:spcPts val="60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Климатическая Политика не разработана и не утверждена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ru-RU" sz="1400" dirty="0">
                <a:solidFill>
                  <a:schemeClr val="bg1"/>
                </a:solidFill>
              </a:rPr>
              <a:t>включая необходимые раскрытия в соответствие с </a:t>
            </a:r>
            <a:r>
              <a:rPr lang="en-US" sz="1400" dirty="0">
                <a:solidFill>
                  <a:schemeClr val="bg1"/>
                </a:solidFill>
              </a:rPr>
              <a:t>IFRS S2.</a:t>
            </a:r>
          </a:p>
          <a:p>
            <a:pPr marL="171450" marR="0" lvl="0" indent="-171450">
              <a:spcBef>
                <a:spcPts val="60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u="none" strike="noStrike" kern="600" dirty="0">
                <a:solidFill>
                  <a:schemeClr val="bg1"/>
                </a:solidFill>
                <a:effectLst/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Методология для выявления</a:t>
            </a:r>
            <a:r>
              <a:rPr lang="en-US" sz="1400" kern="600" dirty="0">
                <a:solidFill>
                  <a:schemeClr val="bg1"/>
                </a:solidFill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, </a:t>
            </a:r>
            <a:r>
              <a:rPr lang="ru-RU" sz="1400" kern="600" dirty="0">
                <a:solidFill>
                  <a:schemeClr val="bg1"/>
                </a:solidFill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оценки, приоритизации и управлении климатическими рисками не разработана и не интегрирована в общую систему управления рисками</a:t>
            </a:r>
            <a:endParaRPr lang="en-US" sz="1400" kern="600" dirty="0">
              <a:solidFill>
                <a:schemeClr val="bg1"/>
              </a:solidFill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u="none" strike="noStrike" kern="600" dirty="0">
                <a:solidFill>
                  <a:schemeClr val="bg1"/>
                </a:solidFill>
                <a:effectLst/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Комплексный анализ цепочки создания стоимости для выявления климатических воздействий</a:t>
            </a:r>
            <a:r>
              <a:rPr lang="en-US" sz="1400" u="none" strike="noStrike" kern="600" dirty="0">
                <a:solidFill>
                  <a:schemeClr val="bg1"/>
                </a:solidFill>
                <a:effectLst/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 </a:t>
            </a:r>
            <a:r>
              <a:rPr lang="ru-RU" sz="1400" u="none" strike="noStrike" kern="600" dirty="0">
                <a:solidFill>
                  <a:schemeClr val="bg1"/>
                </a:solidFill>
                <a:effectLst/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и оценки рисковой подверженности по сегментам не проведен.</a:t>
            </a:r>
            <a:endParaRPr lang="en-US" sz="1400" u="none" strike="noStrike" kern="600" dirty="0">
              <a:solidFill>
                <a:schemeClr val="bg1"/>
              </a:solidFill>
              <a:effectLst/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96B4BAE-2306-AC0D-A73A-0BDCCAF32570}"/>
              </a:ext>
            </a:extLst>
          </p:cNvPr>
          <p:cNvSpPr txBox="1"/>
          <p:nvPr/>
        </p:nvSpPr>
        <p:spPr>
          <a:xfrm>
            <a:off x="565696" y="945416"/>
            <a:ext cx="11115752" cy="1690719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1600" dirty="0">
                <a:solidFill>
                  <a:schemeClr val="bg1"/>
                </a:solidFill>
              </a:rPr>
              <a:t>Компании сталкиваются с ключевыми стратегическими вызовами при приведении своих действий в соответствие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ru-RU" sz="1600" dirty="0">
                <a:solidFill>
                  <a:schemeClr val="bg1"/>
                </a:solidFill>
              </a:rPr>
              <a:t>МСФО</a:t>
            </a:r>
            <a:r>
              <a:rPr lang="en-US" sz="1600" dirty="0">
                <a:solidFill>
                  <a:schemeClr val="bg1"/>
                </a:solidFill>
              </a:rPr>
              <a:t> S2, </a:t>
            </a:r>
            <a:r>
              <a:rPr lang="ru-RU" sz="1600" dirty="0">
                <a:solidFill>
                  <a:schemeClr val="bg1"/>
                </a:solidFill>
              </a:rPr>
              <a:t>включая </a:t>
            </a:r>
            <a:r>
              <a:rPr lang="ru-RU" sz="1600" dirty="0">
                <a:solidFill>
                  <a:schemeClr val="tx2"/>
                </a:solidFill>
              </a:rPr>
              <a:t>отсутствие утвержденных климатических целей и сроков</a:t>
            </a:r>
            <a:r>
              <a:rPr lang="en-US" sz="1600" dirty="0">
                <a:solidFill>
                  <a:schemeClr val="tx2"/>
                </a:solidFill>
              </a:rPr>
              <a:t>, </a:t>
            </a:r>
            <a:r>
              <a:rPr lang="ru-RU" sz="1600" dirty="0">
                <a:solidFill>
                  <a:schemeClr val="tx2"/>
                </a:solidFill>
              </a:rPr>
              <a:t>недостаток формальной климатической политики</a:t>
            </a:r>
            <a:r>
              <a:rPr lang="en-US" sz="1600" dirty="0">
                <a:solidFill>
                  <a:schemeClr val="tx2"/>
                </a:solidFill>
              </a:rPr>
              <a:t>, </a:t>
            </a:r>
            <a:r>
              <a:rPr lang="ru-RU" sz="1600" dirty="0">
                <a:solidFill>
                  <a:schemeClr val="tx2"/>
                </a:solidFill>
              </a:rPr>
              <a:t>неполная методология оценки рисков</a:t>
            </a:r>
            <a:r>
              <a:rPr lang="en-US" sz="1600" dirty="0">
                <a:solidFill>
                  <a:schemeClr val="tx2"/>
                </a:solidFill>
              </a:rPr>
              <a:t>, </a:t>
            </a:r>
            <a:r>
              <a:rPr lang="ru-RU" sz="1600" dirty="0">
                <a:solidFill>
                  <a:schemeClr val="tx2"/>
                </a:solidFill>
              </a:rPr>
              <a:t>и ограниченный анализ климатических рисков по всей цепочке создания стоимости</a:t>
            </a:r>
            <a:r>
              <a:rPr lang="en-US" sz="1600" dirty="0">
                <a:solidFill>
                  <a:schemeClr val="tx2"/>
                </a:solidFill>
              </a:rPr>
              <a:t>.</a:t>
            </a:r>
            <a:r>
              <a:rPr lang="en-US" sz="1600" dirty="0">
                <a:solidFill>
                  <a:srgbClr val="FFFACC"/>
                </a:solidFill>
              </a:rPr>
              <a:t> </a:t>
            </a:r>
          </a:p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1600" dirty="0">
                <a:solidFill>
                  <a:schemeClr val="bg1"/>
                </a:solidFill>
              </a:rPr>
              <a:t>Для устранения этих недостатков компаниям следует установить структурированные процессы определения целей, принять комплексные климатические политики, внедрить надежные рамки оценки рисков и провести тщательный анализ цепочки создания стоимости для оценки климатических воздействий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73F1A217-72E5-15ED-62C2-2551F64B63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19461" y="2664379"/>
            <a:ext cx="5242560" cy="360850"/>
          </a:xfrm>
          <a:prstGeom prst="rect">
            <a:avLst/>
          </a:prstGeom>
          <a:noFill/>
          <a:ln w="9525" algn="ctr">
            <a:solidFill>
              <a:srgbClr val="C0C0C0"/>
            </a:solidFill>
            <a:prstDash val="sysDash"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spAutoFit/>
          </a:bodyPr>
          <a:lstStyle/>
          <a:p>
            <a:pPr marL="0" marR="0" lvl="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Pct val="100000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Рекомендуемые корректирующие действия</a:t>
            </a:r>
            <a:r>
              <a:rPr lang="en-US" sz="1400" b="1" dirty="0">
                <a:solidFill>
                  <a:srgbClr val="FFFFFF"/>
                </a:solidFill>
                <a:latin typeface="EYInterstate Light"/>
              </a:rPr>
              <a:t>: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872F8FE-F225-2363-F290-467EB7ED4925}"/>
              </a:ext>
            </a:extLst>
          </p:cNvPr>
          <p:cNvGrpSpPr/>
          <p:nvPr/>
        </p:nvGrpSpPr>
        <p:grpSpPr>
          <a:xfrm>
            <a:off x="537645" y="2632888"/>
            <a:ext cx="457200" cy="457200"/>
            <a:chOff x="706981" y="1967019"/>
            <a:chExt cx="322908" cy="322908"/>
          </a:xfrm>
        </p:grpSpPr>
        <p:sp>
          <p:nvSpPr>
            <p:cNvPr id="18" name="Flowchart: Connector 17">
              <a:extLst>
                <a:ext uri="{FF2B5EF4-FFF2-40B4-BE49-F238E27FC236}">
                  <a16:creationId xmlns:a16="http://schemas.microsoft.com/office/drawing/2014/main" id="{04F58031-80A5-02FF-3733-FAD3037739A6}"/>
                </a:ext>
              </a:extLst>
            </p:cNvPr>
            <p:cNvSpPr/>
            <p:nvPr/>
          </p:nvSpPr>
          <p:spPr>
            <a:xfrm>
              <a:off x="706981" y="1967019"/>
              <a:ext cx="322908" cy="322908"/>
            </a:xfrm>
            <a:prstGeom prst="flowChartConnector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indent="-252000" algn="l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</a:pPr>
              <a:endPara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pic>
          <p:nvPicPr>
            <p:cNvPr id="19" name="Graphic 18" descr="Chess pieces outline">
              <a:extLst>
                <a:ext uri="{FF2B5EF4-FFF2-40B4-BE49-F238E27FC236}">
                  <a16:creationId xmlns:a16="http://schemas.microsoft.com/office/drawing/2014/main" id="{58EBA1A2-9150-264C-3489-426C93A6F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726081" y="1989260"/>
              <a:ext cx="281070" cy="281070"/>
            </a:xfrm>
            <a:prstGeom prst="rect">
              <a:avLst/>
            </a:prstGeom>
            <a:effectLst/>
          </p:spPr>
        </p:pic>
      </p:grp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5294B-1D14-BB91-493D-6F8EAE02D5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335301-3F38-8E45-6030-DB0D21480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A3AC35-6591-9133-B1A3-3BAFF76057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2071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6B6E19-925E-981A-E2BC-0FDA458BC3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F846015E-869D-FE98-A4A5-59C71195B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287" y="181642"/>
            <a:ext cx="11399542" cy="638193"/>
          </a:xfrm>
        </p:spPr>
        <p:txBody>
          <a:bodyPr/>
          <a:lstStyle/>
          <a:p>
            <a:r>
              <a:rPr lang="ru-RU" dirty="0"/>
              <a:t>Блок «Управление рисками»</a:t>
            </a:r>
            <a:br>
              <a:rPr lang="en-US" sz="3200" dirty="0"/>
            </a:br>
            <a:r>
              <a:rPr lang="ru-RU" sz="2400" i="1" dirty="0">
                <a:solidFill>
                  <a:schemeClr val="bg1"/>
                </a:solidFill>
              </a:rPr>
              <a:t>Практические примеры недостатков и корректирующих действий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EA9A1D-DF9A-B766-AE9A-32DD3FBABA3F}"/>
              </a:ext>
            </a:extLst>
          </p:cNvPr>
          <p:cNvSpPr/>
          <p:nvPr/>
        </p:nvSpPr>
        <p:spPr>
          <a:xfrm>
            <a:off x="616262" y="2924596"/>
            <a:ext cx="4890457" cy="3392753"/>
          </a:xfrm>
          <a:prstGeom prst="rect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tIns="365760" rIns="45720" bIns="180000" anchor="ctr">
            <a:noAutofit/>
          </a:bodyPr>
          <a:lstStyle/>
          <a:p>
            <a:pPr marL="0" marR="0" lvl="0" indent="0">
              <a:buClr>
                <a:srgbClr val="FFE600"/>
              </a:buClr>
              <a:buSzPts val="600"/>
              <a:buFont typeface="Arial" panose="020B0604020202020204" pitchFamily="34" charset="0"/>
              <a:buNone/>
            </a:pPr>
            <a:endParaRPr lang="en-US" sz="1100" b="1" u="none" strike="noStrike" kern="600" dirty="0">
              <a:solidFill>
                <a:schemeClr val="bg1"/>
              </a:solidFill>
              <a:effectLst/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0" marR="0" lvl="0" indent="0">
              <a:buClr>
                <a:srgbClr val="FFE600"/>
              </a:buClr>
              <a:buSzPts val="600"/>
              <a:buFont typeface="Arial" panose="020B0604020202020204" pitchFamily="34" charset="0"/>
              <a:buNone/>
            </a:pPr>
            <a:endParaRPr lang="en-US" sz="1100" b="1" u="none" strike="noStrike" kern="600" dirty="0">
              <a:solidFill>
                <a:schemeClr val="bg1"/>
              </a:solidFill>
              <a:effectLst/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0" marR="0" lvl="0" indent="0">
              <a:buClr>
                <a:srgbClr val="FFE600"/>
              </a:buClr>
              <a:buSzPts val="600"/>
              <a:buFont typeface="Arial" panose="020B0604020202020204" pitchFamily="34" charset="0"/>
              <a:buNone/>
            </a:pPr>
            <a:endParaRPr lang="en-US" sz="1200" u="none" strike="noStrike" kern="600" dirty="0">
              <a:solidFill>
                <a:schemeClr val="bg1"/>
              </a:solidFill>
              <a:effectLst/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2AC34F9-EE68-AB46-24F1-225618C655D8}"/>
              </a:ext>
            </a:extLst>
          </p:cNvPr>
          <p:cNvSpPr txBox="1"/>
          <p:nvPr/>
        </p:nvSpPr>
        <p:spPr>
          <a:xfrm>
            <a:off x="5671294" y="3051573"/>
            <a:ext cx="5886136" cy="2923877"/>
          </a:xfrm>
          <a:prstGeom prst="rect">
            <a:avLst/>
          </a:prstGeom>
          <a:noFill/>
        </p:spPr>
        <p:txBody>
          <a:bodyPr wrap="square" lIns="288000">
            <a:spAutoFit/>
          </a:bodyPr>
          <a:lstStyle/>
          <a:p>
            <a:pPr marL="228600" indent="-228600" algn="just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200" b="0" i="0" dirty="0">
                <a:solidFill>
                  <a:schemeClr val="bg1"/>
                </a:solidFill>
                <a:effectLst/>
              </a:rPr>
              <a:t>Интегрировать климатические риски и возможности в общую систему управления рисками</a:t>
            </a:r>
            <a:r>
              <a:rPr lang="en-US" sz="1200" b="0" i="0" dirty="0">
                <a:solidFill>
                  <a:schemeClr val="bg1"/>
                </a:solidFill>
                <a:effectLst/>
              </a:rPr>
              <a:t>.</a:t>
            </a:r>
          </a:p>
          <a:p>
            <a:pPr marL="228600" indent="-228600" algn="just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200" dirty="0">
                <a:solidFill>
                  <a:schemeClr val="bg1"/>
                </a:solidFill>
              </a:rPr>
              <a:t>Назначить ответственный орган или определить роли в существующих структурах обеспечивая формальную координацию между отделами.</a:t>
            </a:r>
          </a:p>
          <a:p>
            <a:pPr marL="228600" indent="-228600" algn="just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200" dirty="0">
                <a:solidFill>
                  <a:schemeClr val="bg1"/>
                </a:solidFill>
              </a:rPr>
              <a:t>Формализовать мандат по контролю за климатическими рисками в управленческих документах. </a:t>
            </a:r>
          </a:p>
          <a:p>
            <a:pPr marL="228600" indent="-228600" algn="just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200" dirty="0">
                <a:solidFill>
                  <a:schemeClr val="bg1"/>
                </a:solidFill>
              </a:rPr>
              <a:t>Раскрыть внутренние механизмы мониторинга интеграции климатических рисков, включая ключевые показатели </a:t>
            </a:r>
            <a:r>
              <a:rPr lang="en-US" sz="1200" dirty="0">
                <a:solidFill>
                  <a:schemeClr val="bg1"/>
                </a:solidFill>
              </a:rPr>
              <a:t>(KPI)</a:t>
            </a:r>
            <a:r>
              <a:rPr lang="ru-RU" sz="1200" dirty="0">
                <a:solidFill>
                  <a:schemeClr val="bg1"/>
                </a:solidFill>
              </a:rPr>
              <a:t> и инструменты поддержки принятия решений. </a:t>
            </a:r>
          </a:p>
          <a:p>
            <a:pPr marL="228600" indent="-228600" algn="just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200" dirty="0">
                <a:solidFill>
                  <a:schemeClr val="bg1"/>
                </a:solidFill>
              </a:rPr>
              <a:t>Разработать рамки сценарного анализа, переходя от качественных к количественным методам, соответствующих глобальным климатическим целям.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" name="object 56">
            <a:extLst>
              <a:ext uri="{FF2B5EF4-FFF2-40B4-BE49-F238E27FC236}">
                <a16:creationId xmlns:a16="http://schemas.microsoft.com/office/drawing/2014/main" id="{E58E7AA8-CBCE-A066-618B-71F9DB997D54}"/>
              </a:ext>
            </a:extLst>
          </p:cNvPr>
          <p:cNvSpPr/>
          <p:nvPr/>
        </p:nvSpPr>
        <p:spPr>
          <a:xfrm>
            <a:off x="780837" y="2705393"/>
            <a:ext cx="3345724" cy="418911"/>
          </a:xfrm>
          <a:custGeom>
            <a:avLst/>
            <a:gdLst/>
            <a:ahLst/>
            <a:cxnLst/>
            <a:rect l="l" t="t" r="r" b="b"/>
            <a:pathLst>
              <a:path w="862330" h="254000">
                <a:moveTo>
                  <a:pt x="0" y="254000"/>
                </a:moveTo>
                <a:lnTo>
                  <a:pt x="861847" y="254000"/>
                </a:lnTo>
                <a:lnTo>
                  <a:pt x="861847" y="0"/>
                </a:lnTo>
                <a:lnTo>
                  <a:pt x="0" y="0"/>
                </a:lnTo>
                <a:lnTo>
                  <a:pt x="0" y="254000"/>
                </a:lnTo>
                <a:close/>
              </a:path>
            </a:pathLst>
          </a:custGeom>
          <a:solidFill>
            <a:srgbClr val="D9D9D9"/>
          </a:solidFill>
          <a:ln>
            <a:solidFill>
              <a:srgbClr val="D9D9D9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/>
          <a:p>
            <a:pPr marL="12700" algn="ctr">
              <a:lnSpc>
                <a:spcPct val="110000"/>
              </a:lnSpc>
              <a:spcBef>
                <a:spcPts val="100"/>
              </a:spcBef>
            </a:pPr>
            <a:endParaRPr lang="en-US" sz="1400" b="1" dirty="0"/>
          </a:p>
          <a:p>
            <a:pPr marL="12700" algn="ctr">
              <a:lnSpc>
                <a:spcPct val="110000"/>
              </a:lnSpc>
              <a:spcBef>
                <a:spcPts val="100"/>
              </a:spcBef>
            </a:pPr>
            <a:r>
              <a:rPr lang="ru-RU" sz="1400" b="1" dirty="0"/>
              <a:t>Общие недостатки, выявленные в Управлении рисками: </a:t>
            </a:r>
            <a:endParaRPr lang="en-US" sz="1400" b="1" dirty="0"/>
          </a:p>
          <a:p>
            <a:pPr marL="12700" algn="ctr">
              <a:lnSpc>
                <a:spcPct val="110000"/>
              </a:lnSpc>
              <a:spcBef>
                <a:spcPts val="100"/>
              </a:spcBef>
            </a:pPr>
            <a:endParaRPr lang="ru-RU" sz="1400" b="1" kern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69358FB-8D8F-7B9C-398F-694AE3A18D86}"/>
              </a:ext>
            </a:extLst>
          </p:cNvPr>
          <p:cNvSpPr txBox="1"/>
          <p:nvPr/>
        </p:nvSpPr>
        <p:spPr>
          <a:xfrm>
            <a:off x="780837" y="3409698"/>
            <a:ext cx="4239751" cy="2622256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171450" marR="0" lvl="0" indent="-171450"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kern="600" dirty="0">
                <a:solidFill>
                  <a:schemeClr val="bg1"/>
                </a:solidFill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Климатические риски и возможности не интегрированы </a:t>
            </a:r>
            <a:r>
              <a:rPr lang="ru-RU" sz="1400" u="none" strike="noStrike" kern="600" dirty="0">
                <a:solidFill>
                  <a:schemeClr val="bg1"/>
                </a:solidFill>
                <a:effectLst/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в систему управления корпоративными рисками</a:t>
            </a:r>
            <a:r>
              <a:rPr lang="en-US" sz="1400" u="none" strike="noStrike" kern="600" dirty="0">
                <a:solidFill>
                  <a:schemeClr val="bg1"/>
                </a:solidFill>
                <a:effectLst/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endParaRPr lang="en-US" sz="1400" kern="600" dirty="0">
              <a:solidFill>
                <a:schemeClr val="bg1"/>
              </a:solidFill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171450" indent="-171450"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kern="600" dirty="0">
                <a:solidFill>
                  <a:schemeClr val="bg1"/>
                </a:solidFill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Обязанности по выявлению, оценке и управлению климатическими рисками не четко определены и не регулируются</a:t>
            </a:r>
            <a:r>
              <a:rPr lang="en-US" sz="1400" kern="600" dirty="0">
                <a:solidFill>
                  <a:schemeClr val="bg1"/>
                </a:solidFill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.</a:t>
            </a:r>
          </a:p>
          <a:p>
            <a:pPr marL="171450" indent="-171450"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endParaRPr lang="en-US" sz="1400" kern="600" dirty="0">
              <a:solidFill>
                <a:schemeClr val="bg1"/>
              </a:solidFill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171450" indent="-171450"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kern="600" dirty="0">
                <a:solidFill>
                  <a:schemeClr val="bg1"/>
                </a:solidFill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Сценарный анализ климата не проводится для информирования о приоритизации климатических рисков и долгосрочном планировании.</a:t>
            </a:r>
            <a:endParaRPr lang="en-US" sz="1400" kern="600" dirty="0">
              <a:solidFill>
                <a:schemeClr val="bg1"/>
              </a:solidFill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BC8C80-AD73-12A1-A634-5B4E25D0D7DE}"/>
              </a:ext>
            </a:extLst>
          </p:cNvPr>
          <p:cNvSpPr txBox="1"/>
          <p:nvPr/>
        </p:nvSpPr>
        <p:spPr>
          <a:xfrm>
            <a:off x="616262" y="1114260"/>
            <a:ext cx="10884859" cy="1469120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just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1600" dirty="0">
                <a:solidFill>
                  <a:schemeClr val="bg1"/>
                </a:solidFill>
              </a:rPr>
              <a:t>Компании часто сталкиваются с недостатками в приведении своих действий в соответствие со Столпом Управления рисками МСФО </a:t>
            </a:r>
            <a:r>
              <a:rPr lang="en-US" sz="1600" dirty="0">
                <a:solidFill>
                  <a:schemeClr val="bg1"/>
                </a:solidFill>
              </a:rPr>
              <a:t>S2, </a:t>
            </a:r>
            <a:r>
              <a:rPr lang="ru-RU" sz="1600" dirty="0">
                <a:solidFill>
                  <a:schemeClr val="tx2"/>
                </a:solidFill>
              </a:rPr>
              <a:t>включая исключение климатических рисков из системы управления корпоративными рисками </a:t>
            </a:r>
            <a:r>
              <a:rPr lang="en-US" sz="1600" dirty="0">
                <a:solidFill>
                  <a:schemeClr val="tx2"/>
                </a:solidFill>
              </a:rPr>
              <a:t>, </a:t>
            </a:r>
            <a:r>
              <a:rPr lang="ru-RU" sz="1600" dirty="0">
                <a:solidFill>
                  <a:schemeClr val="tx2"/>
                </a:solidFill>
              </a:rPr>
              <a:t>неясные обязанности</a:t>
            </a:r>
            <a:r>
              <a:rPr lang="en-US" sz="1600" dirty="0">
                <a:solidFill>
                  <a:schemeClr val="tx2"/>
                </a:solidFill>
              </a:rPr>
              <a:t>, </a:t>
            </a:r>
            <a:r>
              <a:rPr lang="ru-RU" sz="1600" dirty="0">
                <a:solidFill>
                  <a:schemeClr val="tx2"/>
                </a:solidFill>
              </a:rPr>
              <a:t>и отсутствие сценарного анализа</a:t>
            </a:r>
            <a:r>
              <a:rPr lang="en-US" sz="1600" dirty="0">
                <a:solidFill>
                  <a:schemeClr val="tx2"/>
                </a:solidFill>
              </a:rPr>
              <a:t>.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</a:p>
          <a:p>
            <a:pPr algn="just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1600" dirty="0">
                <a:solidFill>
                  <a:schemeClr val="bg1"/>
                </a:solidFill>
              </a:rPr>
              <a:t>Ключевые корректирующие действия включают интеграцию климатических рисков в рамки управления рисками, формализацию ролей в управлении и внедрении сценарного анализа с прозрачными методологиями и раскрытием. 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4BB22B6A-DF72-7A0D-C23F-04FD8F04318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33441" y="2682268"/>
            <a:ext cx="5567680" cy="360850"/>
          </a:xfrm>
          <a:prstGeom prst="rect">
            <a:avLst/>
          </a:prstGeom>
          <a:noFill/>
          <a:ln w="9525" algn="ctr">
            <a:solidFill>
              <a:srgbClr val="C0C0C0"/>
            </a:solidFill>
            <a:prstDash val="sysDash"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spAutoFit/>
          </a:bodyPr>
          <a:lstStyle/>
          <a:p>
            <a:pPr marL="0" marR="0" lvl="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Pct val="100000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Рекомендуемые корректирующие действия</a:t>
            </a:r>
            <a:r>
              <a:rPr lang="en-US" sz="1400" b="1" dirty="0">
                <a:solidFill>
                  <a:srgbClr val="FFFFFF"/>
                </a:solidFill>
                <a:latin typeface="EYInterstate Light"/>
              </a:rPr>
              <a:t>: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DF7C73E-2259-4A7D-30E1-BCC664522892}"/>
              </a:ext>
            </a:extLst>
          </p:cNvPr>
          <p:cNvGrpSpPr/>
          <p:nvPr/>
        </p:nvGrpSpPr>
        <p:grpSpPr>
          <a:xfrm>
            <a:off x="552237" y="2706459"/>
            <a:ext cx="457200" cy="457201"/>
            <a:chOff x="706981" y="1967015"/>
            <a:chExt cx="322908" cy="322908"/>
          </a:xfrm>
          <a:solidFill>
            <a:srgbClr val="D9D9D9"/>
          </a:solidFill>
        </p:grpSpPr>
        <p:sp>
          <p:nvSpPr>
            <p:cNvPr id="9" name="Flowchart: Connector 8">
              <a:extLst>
                <a:ext uri="{FF2B5EF4-FFF2-40B4-BE49-F238E27FC236}">
                  <a16:creationId xmlns:a16="http://schemas.microsoft.com/office/drawing/2014/main" id="{2A0FFE0F-1EFC-0DA0-3843-3204C1DAEC3D}"/>
                </a:ext>
              </a:extLst>
            </p:cNvPr>
            <p:cNvSpPr/>
            <p:nvPr/>
          </p:nvSpPr>
          <p:spPr>
            <a:xfrm>
              <a:off x="706981" y="1967015"/>
              <a:ext cx="322908" cy="322908"/>
            </a:xfrm>
            <a:prstGeom prst="flowChartConnector">
              <a:avLst/>
            </a:prstGeom>
            <a:grpFill/>
            <a:ln w="1270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108000" tIns="108000" rIns="108000" bIns="108000" rtlCol="0" anchor="t" anchorCtr="0"/>
            <a:lstStyle/>
            <a:p>
              <a:pPr marL="252000" marR="0" indent="-252000" algn="l" defTabSz="91440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FFE600"/>
                </a:buClr>
                <a:buSzTx/>
                <a:buFont typeface="Wingdings" pitchFamily="2" charset="2"/>
                <a:buChar char="§"/>
                <a:tabLst/>
              </a:pPr>
              <a:endPara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1A1A24"/>
                </a:solidFill>
                <a:effectLst/>
                <a:uLnTx/>
                <a:uFillTx/>
              </a:endParaRPr>
            </a:p>
          </p:txBody>
        </p:sp>
        <p:pic>
          <p:nvPicPr>
            <p:cNvPr id="10" name="Graphic 9" descr="Hierarchy outline">
              <a:extLst>
                <a:ext uri="{FF2B5EF4-FFF2-40B4-BE49-F238E27FC236}">
                  <a16:creationId xmlns:a16="http://schemas.microsoft.com/office/drawing/2014/main" id="{37494B59-D3B6-6082-6299-592DEE8969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727900" y="1981811"/>
              <a:ext cx="281070" cy="281070"/>
            </a:xfrm>
            <a:prstGeom prst="rect">
              <a:avLst/>
            </a:prstGeom>
            <a:effectLst/>
          </p:spPr>
        </p:pic>
      </p:grp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9EFD4608-E5D7-8307-3300-4E4B0CFE7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2B2B5A20-8014-B3BC-9993-CD5CDD18C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42146F7D-7474-3836-6EB7-6C5B2186D5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09893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23AD8D-C366-358A-75A2-CA9928BDC2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1">
            <a:extLst>
              <a:ext uri="{FF2B5EF4-FFF2-40B4-BE49-F238E27FC236}">
                <a16:creationId xmlns:a16="http://schemas.microsoft.com/office/drawing/2014/main" id="{82DF18A3-DFBB-BE83-71BD-4B074133E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092" y="181643"/>
            <a:ext cx="11194794" cy="597252"/>
          </a:xfrm>
        </p:spPr>
        <p:txBody>
          <a:bodyPr/>
          <a:lstStyle/>
          <a:p>
            <a:r>
              <a:rPr lang="ru-RU" dirty="0"/>
              <a:t>Блок  «Метрики и Цели»</a:t>
            </a:r>
            <a:br>
              <a:rPr lang="en-US" sz="3200" dirty="0"/>
            </a:br>
            <a:r>
              <a:rPr lang="ru-RU" sz="2400" i="1" dirty="0">
                <a:solidFill>
                  <a:schemeClr val="bg1"/>
                </a:solidFill>
              </a:rPr>
              <a:t>Практические примеры недостатков и корректирующих действий 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24044D-0120-3DBA-CAE5-C7F25E2626F0}"/>
              </a:ext>
            </a:extLst>
          </p:cNvPr>
          <p:cNvSpPr/>
          <p:nvPr/>
        </p:nvSpPr>
        <p:spPr>
          <a:xfrm>
            <a:off x="629012" y="2803734"/>
            <a:ext cx="4585657" cy="3392753"/>
          </a:xfrm>
          <a:prstGeom prst="rect">
            <a:avLst/>
          </a:prstGeom>
          <a:ln w="9525" cap="flat" cmpd="sng" algn="ctr">
            <a:solidFill>
              <a:srgbClr val="40404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tIns="365760" rIns="45720" bIns="180000" anchor="ctr">
            <a:noAutofit/>
          </a:bodyPr>
          <a:lstStyle/>
          <a:p>
            <a:pPr marL="0" marR="0" lvl="0" indent="0">
              <a:buClr>
                <a:srgbClr val="FFE600"/>
              </a:buClr>
              <a:buSzPts val="600"/>
              <a:buFont typeface="Arial" panose="020B0604020202020204" pitchFamily="34" charset="0"/>
              <a:buNone/>
            </a:pPr>
            <a:endParaRPr lang="en-US" sz="1100" b="1" u="none" strike="noStrike" kern="600" dirty="0">
              <a:solidFill>
                <a:schemeClr val="bg1"/>
              </a:solidFill>
              <a:effectLst/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0" marR="0" lvl="0" indent="0">
              <a:buClr>
                <a:srgbClr val="FFE600"/>
              </a:buClr>
              <a:buSzPts val="600"/>
              <a:buFont typeface="Arial" panose="020B0604020202020204" pitchFamily="34" charset="0"/>
              <a:buNone/>
            </a:pPr>
            <a:endParaRPr lang="en-US" sz="1100" b="1" u="none" strike="noStrike" kern="600" dirty="0">
              <a:solidFill>
                <a:schemeClr val="bg1"/>
              </a:solidFill>
              <a:effectLst/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0" marR="0" lvl="0" indent="0">
              <a:buClr>
                <a:srgbClr val="FFE600"/>
              </a:buClr>
              <a:buSzPts val="600"/>
              <a:buFont typeface="Arial" panose="020B0604020202020204" pitchFamily="34" charset="0"/>
              <a:buNone/>
            </a:pPr>
            <a:endParaRPr lang="en-US" sz="1200" u="none" strike="noStrike" kern="600" dirty="0">
              <a:solidFill>
                <a:schemeClr val="bg1"/>
              </a:solidFill>
              <a:effectLst/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</p:txBody>
      </p:sp>
      <p:sp>
        <p:nvSpPr>
          <p:cNvPr id="12" name="object 56">
            <a:extLst>
              <a:ext uri="{FF2B5EF4-FFF2-40B4-BE49-F238E27FC236}">
                <a16:creationId xmlns:a16="http://schemas.microsoft.com/office/drawing/2014/main" id="{078F1F40-FCDA-2131-4511-581801C3CB7B}"/>
              </a:ext>
            </a:extLst>
          </p:cNvPr>
          <p:cNvSpPr/>
          <p:nvPr/>
        </p:nvSpPr>
        <p:spPr>
          <a:xfrm>
            <a:off x="851579" y="2615217"/>
            <a:ext cx="3345724" cy="418911"/>
          </a:xfrm>
          <a:custGeom>
            <a:avLst/>
            <a:gdLst/>
            <a:ahLst/>
            <a:cxnLst/>
            <a:rect l="l" t="t" r="r" b="b"/>
            <a:pathLst>
              <a:path w="862330" h="254000">
                <a:moveTo>
                  <a:pt x="0" y="254000"/>
                </a:moveTo>
                <a:lnTo>
                  <a:pt x="861847" y="254000"/>
                </a:lnTo>
                <a:lnTo>
                  <a:pt x="861847" y="0"/>
                </a:lnTo>
                <a:lnTo>
                  <a:pt x="0" y="0"/>
                </a:lnTo>
                <a:lnTo>
                  <a:pt x="0" y="254000"/>
                </a:lnTo>
                <a:close/>
              </a:path>
            </a:pathLst>
          </a:custGeom>
          <a:solidFill>
            <a:srgbClr val="404040"/>
          </a:solidFill>
          <a:ln>
            <a:solidFill>
              <a:srgbClr val="40404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 anchorCtr="0">
            <a:noAutofit/>
          </a:bodyPr>
          <a:lstStyle/>
          <a:p>
            <a:pPr marL="12700" algn="ctr">
              <a:lnSpc>
                <a:spcPct val="110000"/>
              </a:lnSpc>
              <a:spcBef>
                <a:spcPts val="100"/>
              </a:spcBef>
            </a:pPr>
            <a:endParaRPr lang="en-US" sz="1400" b="1" dirty="0">
              <a:solidFill>
                <a:schemeClr val="bg1"/>
              </a:solidFill>
            </a:endParaRPr>
          </a:p>
          <a:p>
            <a:pPr marL="12700" algn="ctr">
              <a:lnSpc>
                <a:spcPct val="110000"/>
              </a:lnSpc>
              <a:spcBef>
                <a:spcPts val="100"/>
              </a:spcBef>
            </a:pPr>
            <a:r>
              <a:rPr lang="ru-RU" sz="1400" b="1" dirty="0">
                <a:solidFill>
                  <a:schemeClr val="bg1"/>
                </a:solidFill>
              </a:rPr>
              <a:t>Общие недостатки, выявленные в Метриках и Целях:</a:t>
            </a:r>
            <a:endParaRPr lang="en-US" sz="1400" b="1" dirty="0">
              <a:solidFill>
                <a:schemeClr val="bg1"/>
              </a:solidFill>
            </a:endParaRPr>
          </a:p>
          <a:p>
            <a:pPr marL="12700" algn="ctr">
              <a:lnSpc>
                <a:spcPct val="110000"/>
              </a:lnSpc>
              <a:spcBef>
                <a:spcPts val="100"/>
              </a:spcBef>
            </a:pPr>
            <a:endParaRPr lang="ru-RU" sz="1400" b="1" kern="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D11733-6923-9A37-74A5-EA2C6CFCFC36}"/>
              </a:ext>
            </a:extLst>
          </p:cNvPr>
          <p:cNvSpPr txBox="1"/>
          <p:nvPr/>
        </p:nvSpPr>
        <p:spPr>
          <a:xfrm>
            <a:off x="994845" y="3196457"/>
            <a:ext cx="3915001" cy="2837700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171450" marR="0" lvl="0" indent="-171450"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kern="600" dirty="0">
                <a:solidFill>
                  <a:schemeClr val="bg1"/>
                </a:solidFill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Количественные климатические цели</a:t>
            </a:r>
            <a:r>
              <a:rPr lang="en-US" sz="1400" u="none" strike="noStrike" kern="600" dirty="0">
                <a:solidFill>
                  <a:schemeClr val="bg1"/>
                </a:solidFill>
                <a:effectLst/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, </a:t>
            </a:r>
            <a:r>
              <a:rPr lang="ru-RU" sz="1400" kern="600" dirty="0">
                <a:solidFill>
                  <a:schemeClr val="bg1"/>
                </a:solidFill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в</a:t>
            </a:r>
            <a:r>
              <a:rPr lang="ru-RU" sz="1400" u="none" strike="noStrike" kern="600" dirty="0">
                <a:solidFill>
                  <a:schemeClr val="bg1"/>
                </a:solidFill>
                <a:effectLst/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ключая базовый год и промежуточные этапы, не определены в соответствие с требованиями </a:t>
            </a:r>
            <a:r>
              <a:rPr lang="en-US" sz="1400" u="none" strike="noStrike" kern="600" dirty="0">
                <a:solidFill>
                  <a:schemeClr val="bg1"/>
                </a:solidFill>
                <a:effectLst/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SBTi </a:t>
            </a:r>
            <a:r>
              <a:rPr lang="ru-RU" sz="1400" u="none" strike="noStrike" kern="600" dirty="0">
                <a:solidFill>
                  <a:schemeClr val="bg1"/>
                </a:solidFill>
                <a:effectLst/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или</a:t>
            </a:r>
            <a:r>
              <a:rPr lang="en-US" sz="1400" u="none" strike="noStrike" kern="600" dirty="0">
                <a:solidFill>
                  <a:schemeClr val="bg1"/>
                </a:solidFill>
                <a:effectLst/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 </a:t>
            </a:r>
            <a:r>
              <a:rPr lang="ru-RU" sz="1400" u="none" strike="noStrike" kern="600" dirty="0">
                <a:solidFill>
                  <a:schemeClr val="bg1"/>
                </a:solidFill>
                <a:effectLst/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МСФО</a:t>
            </a:r>
            <a:r>
              <a:rPr lang="en-US" sz="1400" u="none" strike="noStrike" kern="600" dirty="0">
                <a:solidFill>
                  <a:schemeClr val="bg1"/>
                </a:solidFill>
                <a:effectLst/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 S2. </a:t>
            </a:r>
            <a:endParaRPr lang="en-US" sz="1400" kern="600" dirty="0">
              <a:solidFill>
                <a:schemeClr val="bg1"/>
              </a:solidFill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171450" indent="-171450"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endParaRPr lang="en-US" sz="1400" kern="600" dirty="0">
              <a:solidFill>
                <a:schemeClr val="bg1"/>
              </a:solidFill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171450" indent="-171450"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kern="600" dirty="0">
                <a:solidFill>
                  <a:schemeClr val="bg1"/>
                </a:solidFill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Климатическая политика и сопутствующие метрики для мониторинга прогресса не полностью определены или не согласованы с требованиями МСФО</a:t>
            </a:r>
            <a:r>
              <a:rPr lang="en-US" sz="1400" kern="600" dirty="0">
                <a:solidFill>
                  <a:schemeClr val="bg1"/>
                </a:solidFill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 S2.</a:t>
            </a:r>
          </a:p>
          <a:p>
            <a:pPr marL="171450" indent="-171450"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endParaRPr lang="en-US" sz="1400" kern="600" dirty="0">
              <a:solidFill>
                <a:schemeClr val="bg1"/>
              </a:solidFill>
              <a:latin typeface="EYInterstate Light" panose="02000506030000020004" pitchFamily="2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  <a:p>
            <a:pPr marL="171450" indent="-171450">
              <a:buClr>
                <a:srgbClr val="FFE60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400" kern="600" dirty="0">
                <a:solidFill>
                  <a:schemeClr val="bg1"/>
                </a:solidFill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Структурированный подход и график разработки и отслеживания климатических целей не утверждены формально</a:t>
            </a:r>
            <a:r>
              <a:rPr lang="en-US" sz="1400" kern="600" dirty="0">
                <a:solidFill>
                  <a:schemeClr val="bg1"/>
                </a:solidFill>
                <a:latin typeface="EYInterstate Light" panose="02000506030000020004" pitchFamily="2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FA8CCD7-4741-EA0C-7D69-B8ACEB8398C2}"/>
              </a:ext>
            </a:extLst>
          </p:cNvPr>
          <p:cNvSpPr txBox="1"/>
          <p:nvPr/>
        </p:nvSpPr>
        <p:spPr>
          <a:xfrm>
            <a:off x="629012" y="1094927"/>
            <a:ext cx="11194794" cy="1469120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just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1600" dirty="0">
                <a:solidFill>
                  <a:schemeClr val="bg1"/>
                </a:solidFill>
              </a:rPr>
              <a:t>Компании часто сталкиваются с трудностями в установлении четких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ru-RU" sz="1600" dirty="0">
                <a:solidFill>
                  <a:schemeClr val="bg1"/>
                </a:solidFill>
              </a:rPr>
              <a:t>измеримых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ru-RU" sz="1600" dirty="0">
                <a:solidFill>
                  <a:schemeClr val="bg1"/>
                </a:solidFill>
              </a:rPr>
              <a:t>климатических целей из-за </a:t>
            </a:r>
            <a:r>
              <a:rPr lang="ru-RU" sz="1600" dirty="0">
                <a:solidFill>
                  <a:schemeClr val="tx2"/>
                </a:solidFill>
              </a:rPr>
              <a:t>отсутствия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ru-RU" sz="1600" dirty="0">
                <a:solidFill>
                  <a:schemeClr val="tx2"/>
                </a:solidFill>
              </a:rPr>
              <a:t>количественных метрик</a:t>
            </a:r>
            <a:r>
              <a:rPr lang="en-US" sz="1600" dirty="0">
                <a:solidFill>
                  <a:schemeClr val="tx2"/>
                </a:solidFill>
              </a:rPr>
              <a:t>, </a:t>
            </a:r>
            <a:r>
              <a:rPr lang="ru-RU" sz="1600" dirty="0">
                <a:solidFill>
                  <a:schemeClr val="tx2"/>
                </a:solidFill>
              </a:rPr>
              <a:t>слабой согласованностью со стандартами, такими как </a:t>
            </a:r>
            <a:r>
              <a:rPr lang="en-US" sz="1600" dirty="0">
                <a:solidFill>
                  <a:schemeClr val="tx2"/>
                </a:solidFill>
              </a:rPr>
              <a:t>SBTi </a:t>
            </a:r>
            <a:r>
              <a:rPr lang="ru-RU" sz="1600" dirty="0">
                <a:solidFill>
                  <a:schemeClr val="tx2"/>
                </a:solidFill>
              </a:rPr>
              <a:t>или</a:t>
            </a:r>
            <a:r>
              <a:rPr lang="en-US" sz="1600" dirty="0">
                <a:solidFill>
                  <a:schemeClr val="tx2"/>
                </a:solidFill>
              </a:rPr>
              <a:t> TPI, </a:t>
            </a:r>
            <a:r>
              <a:rPr lang="ru-RU" sz="1600" dirty="0">
                <a:solidFill>
                  <a:schemeClr val="tx2"/>
                </a:solidFill>
              </a:rPr>
              <a:t>и неструктурированных процессов определения целей</a:t>
            </a:r>
            <a:r>
              <a:rPr lang="en-US" sz="1600" dirty="0">
                <a:solidFill>
                  <a:schemeClr val="tx2"/>
                </a:solidFill>
              </a:rPr>
              <a:t>. </a:t>
            </a:r>
          </a:p>
          <a:p>
            <a:pPr algn="just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1600" dirty="0">
                <a:solidFill>
                  <a:schemeClr val="bg1"/>
                </a:solidFill>
              </a:rPr>
              <a:t>Корректирующие действия включают разработку метрик, соответствующих </a:t>
            </a:r>
            <a:r>
              <a:rPr lang="en-US" sz="1600" dirty="0">
                <a:solidFill>
                  <a:schemeClr val="bg1"/>
                </a:solidFill>
              </a:rPr>
              <a:t>SBTi, </a:t>
            </a:r>
            <a:r>
              <a:rPr lang="ru-RU" sz="1600" dirty="0">
                <a:solidFill>
                  <a:schemeClr val="bg1"/>
                </a:solidFill>
              </a:rPr>
              <a:t>внедрение структурированных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ru-RU" sz="1600" dirty="0">
                <a:solidFill>
                  <a:schemeClr val="bg1"/>
                </a:solidFill>
              </a:rPr>
              <a:t>процедур обзора и мониторинга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ru-RU" sz="1600" dirty="0">
                <a:solidFill>
                  <a:schemeClr val="bg1"/>
                </a:solidFill>
              </a:rPr>
              <a:t>а также повышение прозрачности через отчетность, визуальные инструменты и стороннюю верификацию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5FF311CB-D354-556C-A1A5-94D9ABCC869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22456" y="2623309"/>
            <a:ext cx="5811520" cy="360850"/>
          </a:xfrm>
          <a:prstGeom prst="rect">
            <a:avLst/>
          </a:prstGeom>
          <a:noFill/>
          <a:ln w="9525" algn="ctr">
            <a:solidFill>
              <a:srgbClr val="C0C0C0"/>
            </a:solidFill>
            <a:prstDash val="sysDash"/>
            <a:miter lim="800000"/>
            <a:headEnd/>
            <a:tailEnd/>
          </a:ln>
          <a:effectLst/>
        </p:spPr>
        <p:txBody>
          <a:bodyPr wrap="square" lIns="72000" tIns="72000" rIns="72000" bIns="72000" anchor="ctr">
            <a:spAutoFit/>
          </a:bodyPr>
          <a:lstStyle/>
          <a:p>
            <a:pPr marL="0" marR="0" lvl="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Pct val="100000"/>
              <a:tabLst/>
              <a:defRPr/>
            </a:pPr>
            <a:r>
              <a:rPr lang="ru-RU" sz="1400" b="1" dirty="0">
                <a:solidFill>
                  <a:srgbClr val="FFFFFF"/>
                </a:solidFill>
                <a:latin typeface="EYInterstate Light"/>
              </a:rPr>
              <a:t>Рекомендуемые корректирующие действия</a:t>
            </a:r>
            <a:r>
              <a:rPr lang="en-US" sz="1400" b="1" dirty="0">
                <a:solidFill>
                  <a:srgbClr val="FFFFFF"/>
                </a:solidFill>
                <a:latin typeface="EYInterstate Light"/>
              </a:rPr>
              <a:t>: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6" name="Flowchart: Connector 15">
            <a:extLst>
              <a:ext uri="{FF2B5EF4-FFF2-40B4-BE49-F238E27FC236}">
                <a16:creationId xmlns:a16="http://schemas.microsoft.com/office/drawing/2014/main" id="{D0FEDEF3-7334-3FCA-7685-E5BF5D9FA4D4}"/>
              </a:ext>
            </a:extLst>
          </p:cNvPr>
          <p:cNvSpPr/>
          <p:nvPr/>
        </p:nvSpPr>
        <p:spPr>
          <a:xfrm>
            <a:off x="563489" y="2578958"/>
            <a:ext cx="457200" cy="457200"/>
          </a:xfrm>
          <a:prstGeom prst="flowChartConnector">
            <a:avLst/>
          </a:prstGeom>
          <a:solidFill>
            <a:srgbClr val="404040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108000" tIns="108000" rIns="108000" bIns="108000" rtlCol="0" anchor="t" anchorCtr="0"/>
          <a:lstStyle/>
          <a:p>
            <a:pPr marL="252000" marR="0" indent="-252000" algn="l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rgbClr val="FFE600"/>
              </a:buClr>
              <a:buSzTx/>
              <a:buFont typeface="Wingdings" pitchFamily="2" charset="2"/>
              <a:buChar char="§"/>
              <a:tabLst/>
            </a:pPr>
            <a:endParaRPr kumimoji="0" lang="ru-RU" sz="1300" b="0" i="0" u="none" strike="noStrike" kern="0" cap="none" spc="0" normalizeH="0" baseline="0" noProof="0" dirty="0">
              <a:ln>
                <a:noFill/>
              </a:ln>
              <a:solidFill>
                <a:srgbClr val="1A1A24"/>
              </a:solidFill>
              <a:effectLst/>
              <a:uLnTx/>
              <a:uFillTx/>
            </a:endParaRPr>
          </a:p>
        </p:txBody>
      </p:sp>
      <p:pic>
        <p:nvPicPr>
          <p:cNvPr id="17" name="Graphic 16" descr="Downward trend graph outline">
            <a:extLst>
              <a:ext uri="{FF2B5EF4-FFF2-40B4-BE49-F238E27FC236}">
                <a16:creationId xmlns:a16="http://schemas.microsoft.com/office/drawing/2014/main" id="{B9C3A7B1-1A7C-C6C4-C7DC-8C0F1A1CB8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11841" y="2599310"/>
            <a:ext cx="408848" cy="408848"/>
          </a:xfrm>
          <a:prstGeom prst="rect">
            <a:avLst/>
          </a:prstGeom>
          <a:effectLst/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BD395CE-65E4-B11D-C186-3131CF2A5118}"/>
              </a:ext>
            </a:extLst>
          </p:cNvPr>
          <p:cNvSpPr txBox="1"/>
          <p:nvPr/>
        </p:nvSpPr>
        <p:spPr>
          <a:xfrm>
            <a:off x="5424320" y="3106468"/>
            <a:ext cx="6109656" cy="3447098"/>
          </a:xfrm>
          <a:prstGeom prst="rect">
            <a:avLst/>
          </a:prstGeom>
          <a:noFill/>
        </p:spPr>
        <p:txBody>
          <a:bodyPr wrap="square" lIns="288000">
            <a:spAutoFit/>
          </a:bodyPr>
          <a:lstStyle/>
          <a:p>
            <a:pPr marL="228600" indent="-228600" algn="just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400" i="0" dirty="0">
                <a:solidFill>
                  <a:schemeClr val="bg1"/>
                </a:solidFill>
                <a:effectLst/>
              </a:rPr>
              <a:t>Определить количественные климатические цели с указанием базового года и промежуточных этапов</a:t>
            </a:r>
            <a:r>
              <a:rPr lang="en-US" sz="1400" i="0" dirty="0">
                <a:solidFill>
                  <a:schemeClr val="bg1"/>
                </a:solidFill>
                <a:effectLst/>
              </a:rPr>
              <a:t>.</a:t>
            </a:r>
          </a:p>
          <a:p>
            <a:pPr marL="228600" indent="-228600" algn="just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400" i="0" dirty="0">
                <a:solidFill>
                  <a:schemeClr val="bg1"/>
                </a:solidFill>
                <a:effectLst/>
              </a:rPr>
              <a:t>Установить регулярные процессы мониторинга </a:t>
            </a:r>
            <a:r>
              <a:rPr lang="en-US" sz="1400" dirty="0">
                <a:solidFill>
                  <a:schemeClr val="bg1"/>
                </a:solidFill>
              </a:rPr>
              <a:t>(</a:t>
            </a:r>
            <a:r>
              <a:rPr lang="ru-RU" sz="1400" dirty="0">
                <a:solidFill>
                  <a:schemeClr val="bg1"/>
                </a:solidFill>
              </a:rPr>
              <a:t>например квартальные обзоры</a:t>
            </a:r>
            <a:r>
              <a:rPr lang="en-US" sz="1400" dirty="0">
                <a:solidFill>
                  <a:schemeClr val="bg1"/>
                </a:solidFill>
              </a:rPr>
              <a:t>) </a:t>
            </a:r>
            <a:r>
              <a:rPr lang="ru-RU" sz="1400" dirty="0">
                <a:solidFill>
                  <a:schemeClr val="bg1"/>
                </a:solidFill>
              </a:rPr>
              <a:t>с ключевыми показателями эффективности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(</a:t>
            </a:r>
            <a:r>
              <a:rPr lang="en-US" sz="1400" i="0" dirty="0">
                <a:solidFill>
                  <a:schemeClr val="bg1"/>
                </a:solidFill>
                <a:effectLst/>
              </a:rPr>
              <a:t>KPI</a:t>
            </a:r>
            <a:r>
              <a:rPr lang="ru-RU" sz="1400" dirty="0">
                <a:solidFill>
                  <a:schemeClr val="bg1"/>
                </a:solidFill>
              </a:rPr>
              <a:t>)</a:t>
            </a:r>
            <a:r>
              <a:rPr lang="en-US" sz="1400" i="0" dirty="0">
                <a:solidFill>
                  <a:schemeClr val="bg1"/>
                </a:solidFill>
                <a:effectLst/>
              </a:rPr>
              <a:t> </a:t>
            </a:r>
            <a:r>
              <a:rPr lang="ru-RU" sz="1400" i="0" dirty="0">
                <a:solidFill>
                  <a:schemeClr val="bg1"/>
                </a:solidFill>
                <a:effectLst/>
              </a:rPr>
              <a:t>для оценки прогресса</a:t>
            </a:r>
            <a:r>
              <a:rPr lang="en-US" sz="1400" i="0" dirty="0">
                <a:solidFill>
                  <a:schemeClr val="bg1"/>
                </a:solidFill>
                <a:effectLst/>
              </a:rPr>
              <a:t>.</a:t>
            </a:r>
          </a:p>
          <a:p>
            <a:pPr marL="228600" indent="-228600" algn="just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400" dirty="0">
                <a:solidFill>
                  <a:schemeClr val="bg1"/>
                </a:solidFill>
              </a:rPr>
              <a:t>Выявить и количественно оценить процент активов или бизнес-операций, подверженных климатическим рискам</a:t>
            </a:r>
            <a:r>
              <a:rPr lang="en-US" sz="1400" dirty="0">
                <a:solidFill>
                  <a:schemeClr val="bg1"/>
                </a:solidFill>
              </a:rPr>
              <a:t>. </a:t>
            </a:r>
          </a:p>
          <a:p>
            <a:pPr marL="228600" indent="-228600" algn="just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400" dirty="0">
                <a:solidFill>
                  <a:schemeClr val="bg1"/>
                </a:solidFill>
              </a:rPr>
              <a:t>Включить показатели выбросов по областям охвата </a:t>
            </a:r>
            <a:r>
              <a:rPr lang="en-US" sz="1400" dirty="0">
                <a:solidFill>
                  <a:schemeClr val="bg1"/>
                </a:solidFill>
              </a:rPr>
              <a:t>1, 2, </a:t>
            </a:r>
            <a:r>
              <a:rPr lang="ru-RU" sz="1400" dirty="0">
                <a:solidFill>
                  <a:schemeClr val="bg1"/>
                </a:solidFill>
              </a:rPr>
              <a:t>и</a:t>
            </a:r>
            <a:r>
              <a:rPr lang="en-US" sz="1400" dirty="0">
                <a:solidFill>
                  <a:schemeClr val="bg1"/>
                </a:solidFill>
              </a:rPr>
              <a:t> 3 </a:t>
            </a:r>
            <a:r>
              <a:rPr lang="ru-RU" sz="1400" dirty="0">
                <a:solidFill>
                  <a:schemeClr val="bg1"/>
                </a:solidFill>
              </a:rPr>
              <a:t>в климатическую политику</a:t>
            </a:r>
            <a:r>
              <a:rPr lang="en-US" sz="1400" dirty="0">
                <a:solidFill>
                  <a:schemeClr val="bg1"/>
                </a:solidFill>
              </a:rPr>
              <a:t>, </a:t>
            </a:r>
            <a:r>
              <a:rPr lang="ru-RU" sz="1400" dirty="0">
                <a:solidFill>
                  <a:schemeClr val="bg1"/>
                </a:solidFill>
              </a:rPr>
              <a:t>с соответствие с МСФО</a:t>
            </a:r>
            <a:r>
              <a:rPr lang="en-US" sz="1400" dirty="0">
                <a:solidFill>
                  <a:schemeClr val="bg1"/>
                </a:solidFill>
              </a:rPr>
              <a:t> S2.</a:t>
            </a:r>
          </a:p>
          <a:p>
            <a:pPr marL="228600" indent="-228600" algn="just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ru-RU" sz="1400" dirty="0">
                <a:solidFill>
                  <a:schemeClr val="bg1"/>
                </a:solidFill>
              </a:rPr>
              <a:t>Получить стороннюю верификацию климатических метрик для обеспечения прозрачности</a:t>
            </a:r>
            <a:r>
              <a:rPr lang="en-US" sz="1400" dirty="0">
                <a:solidFill>
                  <a:schemeClr val="bg1"/>
                </a:solidFill>
              </a:rPr>
              <a:t>.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endParaRPr lang="en-US" sz="1400" i="0" dirty="0">
              <a:solidFill>
                <a:schemeClr val="bg1"/>
              </a:solidFill>
              <a:effectLst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6D478A-4A49-8AD2-3FCB-84B756ED7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95058C-C8E0-7F93-CBB5-256DCD9144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92CBF0-DA55-8AB2-009D-72CCE600B1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98774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93C368-698D-349D-702C-797246B731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4885FE3-A62D-A363-25FF-69326CFEE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9559925" cy="2869882"/>
          </a:xfrm>
        </p:spPr>
        <p:txBody>
          <a:bodyPr/>
          <a:lstStyle/>
          <a:p>
            <a:pPr marL="0" indent="0">
              <a:buNone/>
            </a:pPr>
            <a:r>
              <a:rPr lang="ru-RU" sz="6000" dirty="0">
                <a:solidFill>
                  <a:schemeClr val="bg1"/>
                </a:solidFill>
              </a:rPr>
              <a:t>Дальнейшие шаги по развитию МСФО S1 и S2 в Казахстане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A041520-686E-1FC1-6AC9-EC350222F4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Раздел</a:t>
            </a:r>
            <a:r>
              <a:rPr lang="en-US" dirty="0"/>
              <a:t> </a:t>
            </a:r>
            <a:r>
              <a:rPr lang="ru-RU" dirty="0"/>
              <a:t>6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C3DBD2-A6AB-B10E-5CD0-CF0363F3109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1A894AD-E2CA-B91B-FB77-7D384E67A2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13EC6E8-7013-26E8-B00E-5679E71C13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39222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1CEBF3-03BF-2D9B-BE44-38130F86E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B </a:t>
            </a:r>
            <a:r>
              <a:rPr lang="ru-RU" dirty="0"/>
              <a:t>разработал инструкцию по внедрению МСФО </a:t>
            </a:r>
            <a:r>
              <a:rPr lang="en-US" dirty="0"/>
              <a:t>S1/S2</a:t>
            </a:r>
            <a:r>
              <a:rPr lang="ru-RU" dirty="0"/>
              <a:t> юрисдикциями 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9AA8DD-75F9-B9EB-97A9-DDCE5E239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6631F2-C4E0-801B-D04C-4D20C2620C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D636DF-9F4E-CFD0-F9EF-81BFC9069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38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30358C6-ADEE-2354-41B4-7A6EE91A0DFE}"/>
              </a:ext>
            </a:extLst>
          </p:cNvPr>
          <p:cNvSpPr txBox="1"/>
          <p:nvPr/>
        </p:nvSpPr>
        <p:spPr>
          <a:xfrm>
            <a:off x="483827" y="1510747"/>
            <a:ext cx="10820276" cy="4602286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252000" indent="-2520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2000" dirty="0">
                <a:solidFill>
                  <a:schemeClr val="bg1"/>
                </a:solidFill>
              </a:rPr>
              <a:t>В мае 2024 года Фонд МСФО опубликовал </a:t>
            </a:r>
            <a:r>
              <a:rPr lang="en-US" sz="2000" dirty="0">
                <a:solidFill>
                  <a:schemeClr val="bg1"/>
                </a:solidFill>
              </a:rPr>
              <a:t>“</a:t>
            </a:r>
            <a:r>
              <a:rPr lang="ru-RU" sz="2000" dirty="0">
                <a:solidFill>
                  <a:schemeClr val="bg1"/>
                </a:solidFill>
              </a:rPr>
              <a:t>Первый Руководящий документ для юрисдикций по принятию или иному использованию Стандартов ISSB</a:t>
            </a:r>
            <a:r>
              <a:rPr lang="en-US" sz="2000" dirty="0">
                <a:solidFill>
                  <a:schemeClr val="bg1"/>
                </a:solidFill>
              </a:rPr>
              <a:t>”</a:t>
            </a:r>
            <a:r>
              <a:rPr lang="ru-RU" sz="2000" dirty="0">
                <a:solidFill>
                  <a:schemeClr val="bg1"/>
                </a:solidFill>
              </a:rPr>
              <a:t> (</a:t>
            </a:r>
            <a:r>
              <a:rPr lang="en-GB" sz="2000" b="0" i="1" u="none" strike="noStrike" dirty="0">
                <a:solidFill>
                  <a:srgbClr val="CD3333"/>
                </a:solidFill>
                <a:effectLst/>
                <a:latin typeface="Helvetica Neue"/>
                <a:hlinkClick r:id="rId2"/>
              </a:rPr>
              <a:t>Inaugural Jurisdictional Guide for the adoption or other use of ISSB Standards</a:t>
            </a:r>
            <a:r>
              <a:rPr lang="ru-RU" sz="2000" dirty="0">
                <a:solidFill>
                  <a:schemeClr val="bg1"/>
                </a:solidFill>
              </a:rPr>
              <a:t>).</a:t>
            </a:r>
            <a:endParaRPr lang="en-US" sz="2000" dirty="0">
              <a:solidFill>
                <a:schemeClr val="bg1"/>
              </a:solidFill>
            </a:endParaRPr>
          </a:p>
          <a:p>
            <a:pPr marL="252000" indent="-2520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endParaRPr lang="en-US" sz="2000" dirty="0">
              <a:solidFill>
                <a:schemeClr val="bg1"/>
              </a:solidFill>
            </a:endParaRPr>
          </a:p>
          <a:p>
            <a:pPr marL="252000" indent="-2520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2000" dirty="0">
                <a:solidFill>
                  <a:schemeClr val="bg1"/>
                </a:solidFill>
              </a:rPr>
              <a:t>Данное Руководство было разработано с целью содействия глобальной согласованности и сопоставимости раскрытия информации, связанной с климатом и другим устойчивым развитием, для рынков капитала, помогая все большему числу юрисдикций реализовывать свои планы по принятию или иному использованию Стандартов ISSB.</a:t>
            </a:r>
            <a:endParaRPr lang="en-US" sz="2000" dirty="0">
              <a:solidFill>
                <a:schemeClr val="bg1"/>
              </a:solidFill>
            </a:endParaRPr>
          </a:p>
          <a:p>
            <a:pPr marL="252000" indent="-2520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endParaRPr lang="en-US" sz="2000" dirty="0">
              <a:solidFill>
                <a:schemeClr val="bg1"/>
              </a:solidFill>
            </a:endParaRPr>
          </a:p>
          <a:p>
            <a:pPr marL="252000" indent="-2520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2000" dirty="0">
                <a:solidFill>
                  <a:schemeClr val="bg1"/>
                </a:solidFill>
              </a:rPr>
              <a:t>Посредством создания основы для разработки юрисдикционных профилей, описывающих подходы различных юрисдикций, Руководство направлено на обеспечение прозрачности, позволяющей участникам рынка и регулирующим органам понимать прогресс юрисдикций в предоставлении согласованной и сопоставимой информации, связанной с устойчивым развитием, для рынков капитала.</a:t>
            </a:r>
            <a:endParaRPr lang="en-GB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45497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88F393-3C0D-015F-A517-A1939C44C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826" y="227629"/>
            <a:ext cx="11224347" cy="470898"/>
          </a:xfrm>
        </p:spPr>
        <p:txBody>
          <a:bodyPr/>
          <a:lstStyle/>
          <a:p>
            <a:r>
              <a:rPr lang="ru-RU" dirty="0"/>
              <a:t>Каковы дальнейшие шаги по развитию МСФО S1/S2 в Казахстане?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6387D9-BD9A-1326-CDDC-625F5172A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5AC496-FEB1-BFBA-B063-21B762391E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5B50E5-B4D1-74DF-99CA-A6C02C033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39</a:t>
            </a:fld>
            <a:endParaRPr lang="en-US" dirty="0"/>
          </a:p>
        </p:txBody>
      </p:sp>
      <p:pic>
        <p:nvPicPr>
          <p:cNvPr id="6" name="Picture 2" descr="C:\Users\bastian.k\Desktop\straße.png">
            <a:extLst>
              <a:ext uri="{FF2B5EF4-FFF2-40B4-BE49-F238E27FC236}">
                <a16:creationId xmlns:a16="http://schemas.microsoft.com/office/drawing/2014/main" id="{48C53088-7A63-3134-F499-13A0049F20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88" b="25888"/>
          <a:stretch/>
        </p:blipFill>
        <p:spPr bwMode="gray">
          <a:xfrm>
            <a:off x="978534" y="1965852"/>
            <a:ext cx="7619365" cy="418571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" name="Gerade Verbindung 11">
            <a:extLst>
              <a:ext uri="{FF2B5EF4-FFF2-40B4-BE49-F238E27FC236}">
                <a16:creationId xmlns:a16="http://schemas.microsoft.com/office/drawing/2014/main" id="{13ECF793-77B8-2B63-4872-E5DA2760A9E0}"/>
              </a:ext>
            </a:extLst>
          </p:cNvPr>
          <p:cNvCxnSpPr/>
          <p:nvPr/>
        </p:nvCxnSpPr>
        <p:spPr bwMode="gray">
          <a:xfrm flipH="1">
            <a:off x="2842506" y="1904204"/>
            <a:ext cx="685801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sysDot"/>
            <a:round/>
            <a:headEnd/>
            <a:tailEnd/>
          </a:ln>
          <a:effectLst/>
        </p:spPr>
      </p:cxnSp>
      <p:sp>
        <p:nvSpPr>
          <p:cNvPr id="8" name="Rechteck 12">
            <a:extLst>
              <a:ext uri="{FF2B5EF4-FFF2-40B4-BE49-F238E27FC236}">
                <a16:creationId xmlns:a16="http://schemas.microsoft.com/office/drawing/2014/main" id="{8CA4ADBB-78F4-911E-3F48-21CB249D4CB2}"/>
              </a:ext>
            </a:extLst>
          </p:cNvPr>
          <p:cNvSpPr/>
          <p:nvPr/>
        </p:nvSpPr>
        <p:spPr bwMode="gray">
          <a:xfrm>
            <a:off x="287186" y="1483477"/>
            <a:ext cx="2573666" cy="861774"/>
          </a:xfrm>
          <a:prstGeom prst="rect">
            <a:avLst/>
          </a:prstGeom>
        </p:spPr>
        <p:txBody>
          <a:bodyPr vert="horz" wrap="square" lIns="0" tIns="0" rIns="91440" bIns="0" anchor="ctr" anchorCtr="0">
            <a:spAutoFit/>
          </a:bodyPr>
          <a:lstStyle/>
          <a:p>
            <a:pPr>
              <a:buClr>
                <a:schemeClr val="tx2"/>
              </a:buClr>
            </a:pPr>
            <a:r>
              <a:rPr lang="ru-RU" sz="1400" b="1">
                <a:solidFill>
                  <a:schemeClr val="tx2">
                    <a:lumMod val="20000"/>
                    <a:lumOff val="80000"/>
                  </a:schemeClr>
                </a:solidFill>
              </a:rPr>
              <a:t>Определить и запланировать ресурсы необходимые для выполнения Дорожной карты</a:t>
            </a:r>
          </a:p>
        </p:txBody>
      </p:sp>
      <p:cxnSp>
        <p:nvCxnSpPr>
          <p:cNvPr id="9" name="Gerade Verbindung 13">
            <a:extLst>
              <a:ext uri="{FF2B5EF4-FFF2-40B4-BE49-F238E27FC236}">
                <a16:creationId xmlns:a16="http://schemas.microsoft.com/office/drawing/2014/main" id="{051AF8E7-8160-D9B7-9357-6BEC1F94C5BE}"/>
              </a:ext>
            </a:extLst>
          </p:cNvPr>
          <p:cNvCxnSpPr/>
          <p:nvPr/>
        </p:nvCxnSpPr>
        <p:spPr bwMode="gray">
          <a:xfrm>
            <a:off x="2860851" y="1608966"/>
            <a:ext cx="0" cy="570156"/>
          </a:xfrm>
          <a:prstGeom prst="line">
            <a:avLst/>
          </a:prstGeom>
          <a:noFill/>
          <a:ln w="19050">
            <a:solidFill>
              <a:schemeClr val="tx2"/>
            </a:solidFill>
            <a:prstDash val="sysDot"/>
            <a:round/>
            <a:headEnd/>
            <a:tailEnd/>
          </a:ln>
          <a:effectLst/>
        </p:spPr>
      </p:cxnSp>
      <p:cxnSp>
        <p:nvCxnSpPr>
          <p:cNvPr id="13" name="Gerade Verbindung 25">
            <a:extLst>
              <a:ext uri="{FF2B5EF4-FFF2-40B4-BE49-F238E27FC236}">
                <a16:creationId xmlns:a16="http://schemas.microsoft.com/office/drawing/2014/main" id="{50DEF687-0418-9405-B098-95A3B131190A}"/>
              </a:ext>
            </a:extLst>
          </p:cNvPr>
          <p:cNvCxnSpPr/>
          <p:nvPr/>
        </p:nvCxnSpPr>
        <p:spPr bwMode="gray">
          <a:xfrm flipH="1">
            <a:off x="5550103" y="4501317"/>
            <a:ext cx="838905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sysDot"/>
            <a:round/>
            <a:headEnd/>
            <a:tailEnd/>
          </a:ln>
          <a:effectLst/>
        </p:spPr>
      </p:cxnSp>
      <p:sp>
        <p:nvSpPr>
          <p:cNvPr id="14" name="Rechteck 26">
            <a:extLst>
              <a:ext uri="{FF2B5EF4-FFF2-40B4-BE49-F238E27FC236}">
                <a16:creationId xmlns:a16="http://schemas.microsoft.com/office/drawing/2014/main" id="{2AA801E4-0210-CE0E-1503-757F368EAA79}"/>
              </a:ext>
            </a:extLst>
          </p:cNvPr>
          <p:cNvSpPr/>
          <p:nvPr/>
        </p:nvSpPr>
        <p:spPr bwMode="gray">
          <a:xfrm>
            <a:off x="6505602" y="3171357"/>
            <a:ext cx="5353550" cy="3070584"/>
          </a:xfrm>
          <a:prstGeom prst="rect">
            <a:avLst/>
          </a:prstGeom>
        </p:spPr>
        <p:txBody>
          <a:bodyPr vert="horz" wrap="square" lIns="0" tIns="0" rIns="91440" bIns="0" anchor="ctr" anchorCtr="0">
            <a:spAutoFit/>
          </a:bodyPr>
          <a:lstStyle/>
          <a:p>
            <a:pPr>
              <a:lnSpc>
                <a:spcPct val="95000"/>
              </a:lnSpc>
              <a:spcAft>
                <a:spcPts val="800"/>
              </a:spcAft>
              <a:defRPr/>
            </a:pPr>
            <a:r>
              <a:rPr lang="ru-RU" sz="1400" b="1" dirty="0">
                <a:solidFill>
                  <a:schemeClr val="tx2">
                    <a:lumMod val="20000"/>
                    <a:lumOff val="80000"/>
                  </a:schemeClr>
                </a:solidFill>
              </a:rPr>
              <a:t>Определить область и дату начала применения МСФО S1/S2 в Казахстане</a:t>
            </a:r>
          </a:p>
          <a:p>
            <a:pPr marL="252000" indent="-2520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200" i="1" dirty="0">
                <a:solidFill>
                  <a:schemeClr val="bg1">
                    <a:lumMod val="85000"/>
                  </a:schemeClr>
                </a:solidFill>
              </a:rPr>
              <a:t>Область применения МСФО </a:t>
            </a:r>
            <a:r>
              <a:rPr lang="en-US" sz="1200" i="1" dirty="0">
                <a:solidFill>
                  <a:schemeClr val="bg1">
                    <a:lumMod val="85000"/>
                  </a:schemeClr>
                </a:solidFill>
              </a:rPr>
              <a:t>S1, S2</a:t>
            </a:r>
            <a:r>
              <a:rPr lang="ru-RU" sz="1200" i="1" dirty="0">
                <a:solidFill>
                  <a:schemeClr val="bg1">
                    <a:lumMod val="85000"/>
                  </a:schemeClr>
                </a:solidFill>
              </a:rPr>
              <a:t> может быть аналогичной финансовым стандартам МСФО в Казахстане:</a:t>
            </a:r>
          </a:p>
          <a:p>
            <a:pPr marL="709200" lvl="1" indent="-2520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200" i="1" dirty="0">
                <a:solidFill>
                  <a:schemeClr val="bg1">
                    <a:lumMod val="85000"/>
                  </a:schemeClr>
                </a:solidFill>
              </a:rPr>
              <a:t>Крупные коммерческие предприятия и компании, представляющие общественный интерес, включая все финансовые учреждения</a:t>
            </a:r>
          </a:p>
          <a:p>
            <a:pPr marL="742950" lvl="1" indent="-2857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200" i="1" dirty="0">
                <a:solidFill>
                  <a:schemeClr val="bg1">
                    <a:lumMod val="85000"/>
                  </a:schemeClr>
                </a:solidFill>
              </a:rPr>
              <a:t>Компании, зарегистрированные на бирже</a:t>
            </a:r>
          </a:p>
          <a:p>
            <a:pPr marL="742950" lvl="1" indent="-28575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200" i="1" dirty="0">
                <a:solidFill>
                  <a:schemeClr val="bg1">
                    <a:lumMod val="85000"/>
                  </a:schemeClr>
                </a:solidFill>
              </a:rPr>
              <a:t>Предприятия среднего бизнеса и государственные предприятия</a:t>
            </a:r>
          </a:p>
          <a:p>
            <a:pPr marL="252000" indent="-2520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200" i="1" dirty="0">
                <a:solidFill>
                  <a:schemeClr val="bg1">
                    <a:lumMod val="85000"/>
                  </a:schemeClr>
                </a:solidFill>
              </a:rPr>
              <a:t>Определить степень зрелости отчетности об устойчивом развитии среди крупных организаций посредством проведения опроса.</a:t>
            </a:r>
          </a:p>
          <a:p>
            <a:pPr marL="252000" indent="-2520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200" i="1" dirty="0">
                <a:solidFill>
                  <a:schemeClr val="bg1">
                    <a:lumMod val="85000"/>
                  </a:schemeClr>
                </a:solidFill>
              </a:rPr>
              <a:t>С учетом зрелости организации установить сроки обязательной отчетности по МСФО </a:t>
            </a:r>
            <a:r>
              <a:rPr lang="en-US" sz="1200" i="1" dirty="0">
                <a:solidFill>
                  <a:schemeClr val="bg1">
                    <a:lumMod val="85000"/>
                  </a:schemeClr>
                </a:solidFill>
              </a:rPr>
              <a:t>S1, S2 </a:t>
            </a:r>
            <a:r>
              <a:rPr lang="ru-RU" sz="1200" i="1" dirty="0">
                <a:solidFill>
                  <a:schemeClr val="bg1">
                    <a:lumMod val="85000"/>
                  </a:schemeClr>
                </a:solidFill>
              </a:rPr>
              <a:t>и поэтапное внедрение показателей</a:t>
            </a:r>
          </a:p>
        </p:txBody>
      </p:sp>
      <p:cxnSp>
        <p:nvCxnSpPr>
          <p:cNvPr id="15" name="Gerade Verbindung 27">
            <a:extLst>
              <a:ext uri="{FF2B5EF4-FFF2-40B4-BE49-F238E27FC236}">
                <a16:creationId xmlns:a16="http://schemas.microsoft.com/office/drawing/2014/main" id="{71F898B4-CC0F-16DC-B696-77772281C792}"/>
              </a:ext>
            </a:extLst>
          </p:cNvPr>
          <p:cNvCxnSpPr>
            <a:cxnSpLocks/>
          </p:cNvCxnSpPr>
          <p:nvPr/>
        </p:nvCxnSpPr>
        <p:spPr bwMode="gray">
          <a:xfrm>
            <a:off x="6397828" y="4216239"/>
            <a:ext cx="0" cy="570156"/>
          </a:xfrm>
          <a:prstGeom prst="line">
            <a:avLst/>
          </a:prstGeom>
          <a:noFill/>
          <a:ln w="19050">
            <a:solidFill>
              <a:schemeClr val="tx2"/>
            </a:solidFill>
            <a:prstDash val="sysDot"/>
            <a:round/>
            <a:headEnd/>
            <a:tailEnd/>
          </a:ln>
          <a:effectLst/>
        </p:spPr>
      </p:cxnSp>
      <p:grpSp>
        <p:nvGrpSpPr>
          <p:cNvPr id="16" name="Gruppieren 41">
            <a:extLst>
              <a:ext uri="{FF2B5EF4-FFF2-40B4-BE49-F238E27FC236}">
                <a16:creationId xmlns:a16="http://schemas.microsoft.com/office/drawing/2014/main" id="{E58C84C2-7816-A36E-7CE4-81BE92A90B12}"/>
              </a:ext>
            </a:extLst>
          </p:cNvPr>
          <p:cNvGrpSpPr/>
          <p:nvPr/>
        </p:nvGrpSpPr>
        <p:grpSpPr>
          <a:xfrm rot="242885">
            <a:off x="3589832" y="2341518"/>
            <a:ext cx="1297590" cy="2173313"/>
            <a:chOff x="9511263" y="2745851"/>
            <a:chExt cx="2479042" cy="4152108"/>
          </a:xfrm>
        </p:grpSpPr>
        <p:sp>
          <p:nvSpPr>
            <p:cNvPr id="17" name="Rechteck 42">
              <a:extLst>
                <a:ext uri="{FF2B5EF4-FFF2-40B4-BE49-F238E27FC236}">
                  <a16:creationId xmlns:a16="http://schemas.microsoft.com/office/drawing/2014/main" id="{8747C0F2-2B96-D0F3-07DB-9C5B9904B1D6}"/>
                </a:ext>
              </a:extLst>
            </p:cNvPr>
            <p:cNvSpPr/>
            <p:nvPr/>
          </p:nvSpPr>
          <p:spPr bwMode="auto">
            <a:xfrm>
              <a:off x="10682853" y="2745851"/>
              <a:ext cx="1288954" cy="2255149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grpSp>
          <p:nvGrpSpPr>
            <p:cNvPr id="18" name="Gruppieren 43">
              <a:extLst>
                <a:ext uri="{FF2B5EF4-FFF2-40B4-BE49-F238E27FC236}">
                  <a16:creationId xmlns:a16="http://schemas.microsoft.com/office/drawing/2014/main" id="{0D6D4762-6241-6AA6-90BD-0A4AE1D85B3F}"/>
                </a:ext>
              </a:extLst>
            </p:cNvPr>
            <p:cNvGrpSpPr/>
            <p:nvPr/>
          </p:nvGrpSpPr>
          <p:grpSpPr>
            <a:xfrm>
              <a:off x="10746630" y="2745853"/>
              <a:ext cx="1243675" cy="1896956"/>
              <a:chOff x="7563644" y="1477833"/>
              <a:chExt cx="1888174" cy="2880000"/>
            </a:xfrm>
          </p:grpSpPr>
          <p:sp>
            <p:nvSpPr>
              <p:cNvPr id="20" name="Abgerundetes Rechteck 45">
                <a:extLst>
                  <a:ext uri="{FF2B5EF4-FFF2-40B4-BE49-F238E27FC236}">
                    <a16:creationId xmlns:a16="http://schemas.microsoft.com/office/drawing/2014/main" id="{8523911D-D795-044A-4F7D-793581B306E9}"/>
                  </a:ext>
                </a:extLst>
              </p:cNvPr>
              <p:cNvSpPr/>
              <p:nvPr/>
            </p:nvSpPr>
            <p:spPr bwMode="auto">
              <a:xfrm>
                <a:off x="7581644" y="1477833"/>
                <a:ext cx="108000" cy="2880000"/>
              </a:xfrm>
              <a:prstGeom prst="roundRect">
                <a:avLst>
                  <a:gd name="adj" fmla="val 50000"/>
                </a:avLst>
              </a:prstGeom>
              <a:solidFill>
                <a:srgbClr val="F0F0F0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808080"/>
                  </a:solidFill>
                </a:endParaRPr>
              </a:p>
            </p:txBody>
          </p:sp>
          <p:sp>
            <p:nvSpPr>
              <p:cNvPr id="21" name="Abgerundetes Rechteck 46">
                <a:extLst>
                  <a:ext uri="{FF2B5EF4-FFF2-40B4-BE49-F238E27FC236}">
                    <a16:creationId xmlns:a16="http://schemas.microsoft.com/office/drawing/2014/main" id="{C14D87C9-E0B7-EDBA-5666-DC5BAAB6510D}"/>
                  </a:ext>
                </a:extLst>
              </p:cNvPr>
              <p:cNvSpPr/>
              <p:nvPr/>
            </p:nvSpPr>
            <p:spPr bwMode="auto">
              <a:xfrm>
                <a:off x="7563644" y="1539089"/>
                <a:ext cx="144000" cy="1327896"/>
              </a:xfrm>
              <a:prstGeom prst="roundRect">
                <a:avLst>
                  <a:gd name="adj" fmla="val 0"/>
                </a:avLst>
              </a:prstGeom>
              <a:solidFill>
                <a:srgbClr val="808080"/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808080"/>
                  </a:solidFill>
                </a:endParaRPr>
              </a:p>
            </p:txBody>
          </p:sp>
          <p:sp>
            <p:nvSpPr>
              <p:cNvPr id="22" name="Freeform 6">
                <a:extLst>
                  <a:ext uri="{FF2B5EF4-FFF2-40B4-BE49-F238E27FC236}">
                    <a16:creationId xmlns:a16="http://schemas.microsoft.com/office/drawing/2014/main" id="{AD2C53F2-27C7-A1D1-738F-2678C43472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7644" y="1539089"/>
                <a:ext cx="1744174" cy="1327896"/>
              </a:xfrm>
              <a:custGeom>
                <a:avLst/>
                <a:gdLst>
                  <a:gd name="T0" fmla="*/ 504 w 534"/>
                  <a:gd name="T1" fmla="*/ 189 h 418"/>
                  <a:gd name="T2" fmla="*/ 0 w 534"/>
                  <a:gd name="T3" fmla="*/ 0 h 418"/>
                  <a:gd name="T4" fmla="*/ 0 w 534"/>
                  <a:gd name="T5" fmla="*/ 418 h 418"/>
                  <a:gd name="T6" fmla="*/ 504 w 534"/>
                  <a:gd name="T7" fmla="*/ 229 h 418"/>
                  <a:gd name="T8" fmla="*/ 504 w 534"/>
                  <a:gd name="T9" fmla="*/ 189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4" h="418">
                    <a:moveTo>
                      <a:pt x="504" y="18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18"/>
                      <a:pt x="0" y="418"/>
                      <a:pt x="0" y="418"/>
                    </a:cubicBezTo>
                    <a:cubicBezTo>
                      <a:pt x="504" y="229"/>
                      <a:pt x="504" y="229"/>
                      <a:pt x="504" y="229"/>
                    </a:cubicBezTo>
                    <a:cubicBezTo>
                      <a:pt x="534" y="218"/>
                      <a:pt x="534" y="200"/>
                      <a:pt x="504" y="189"/>
                    </a:cubicBezTo>
                    <a:close/>
                  </a:path>
                </a:pathLst>
              </a:custGeom>
              <a:solidFill>
                <a:srgbClr val="FFE600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vert="horz" wrap="none" lIns="54000" tIns="72000" rIns="288000" bIns="72000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050" b="1" dirty="0"/>
                  <a:t>Шаг 3</a:t>
                </a:r>
                <a:endParaRPr lang="de-DE" sz="1050" b="1" dirty="0"/>
              </a:p>
            </p:txBody>
          </p:sp>
        </p:grpSp>
        <p:sp>
          <p:nvSpPr>
            <p:cNvPr id="19" name="Rechteck 44">
              <a:extLst>
                <a:ext uri="{FF2B5EF4-FFF2-40B4-BE49-F238E27FC236}">
                  <a16:creationId xmlns:a16="http://schemas.microsoft.com/office/drawing/2014/main" id="{D29477B7-2D18-84AE-D4FA-C4D5307EC069}"/>
                </a:ext>
              </a:extLst>
            </p:cNvPr>
            <p:cNvSpPr/>
            <p:nvPr/>
          </p:nvSpPr>
          <p:spPr bwMode="auto">
            <a:xfrm>
              <a:off x="9511263" y="4642810"/>
              <a:ext cx="1282790" cy="2255149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3" name="Gruppieren 74">
            <a:extLst>
              <a:ext uri="{FF2B5EF4-FFF2-40B4-BE49-F238E27FC236}">
                <a16:creationId xmlns:a16="http://schemas.microsoft.com/office/drawing/2014/main" id="{78C389E8-34FF-EE9E-87FB-38A036D31761}"/>
              </a:ext>
            </a:extLst>
          </p:cNvPr>
          <p:cNvGrpSpPr/>
          <p:nvPr/>
        </p:nvGrpSpPr>
        <p:grpSpPr>
          <a:xfrm rot="21216871">
            <a:off x="3591985" y="3901640"/>
            <a:ext cx="2479042" cy="4152106"/>
            <a:chOff x="9511263" y="2745853"/>
            <a:chExt cx="2479042" cy="4152106"/>
          </a:xfrm>
        </p:grpSpPr>
        <p:grpSp>
          <p:nvGrpSpPr>
            <p:cNvPr id="24" name="Gruppieren 79">
              <a:extLst>
                <a:ext uri="{FF2B5EF4-FFF2-40B4-BE49-F238E27FC236}">
                  <a16:creationId xmlns:a16="http://schemas.microsoft.com/office/drawing/2014/main" id="{EE0C2C80-AE0B-84C9-8AFE-90BA041629ED}"/>
                </a:ext>
              </a:extLst>
            </p:cNvPr>
            <p:cNvGrpSpPr/>
            <p:nvPr/>
          </p:nvGrpSpPr>
          <p:grpSpPr>
            <a:xfrm>
              <a:off x="10746630" y="2745853"/>
              <a:ext cx="1243675" cy="1896956"/>
              <a:chOff x="7563644" y="1477833"/>
              <a:chExt cx="1888174" cy="2880000"/>
            </a:xfrm>
          </p:grpSpPr>
          <p:sp>
            <p:nvSpPr>
              <p:cNvPr id="26" name="Abgerundetes Rechteck 80">
                <a:extLst>
                  <a:ext uri="{FF2B5EF4-FFF2-40B4-BE49-F238E27FC236}">
                    <a16:creationId xmlns:a16="http://schemas.microsoft.com/office/drawing/2014/main" id="{B7322559-2794-E688-6D5B-9185B522F9DA}"/>
                  </a:ext>
                </a:extLst>
              </p:cNvPr>
              <p:cNvSpPr/>
              <p:nvPr/>
            </p:nvSpPr>
            <p:spPr bwMode="auto">
              <a:xfrm>
                <a:off x="7581646" y="1477833"/>
                <a:ext cx="108000" cy="2880000"/>
              </a:xfrm>
              <a:prstGeom prst="roundRect">
                <a:avLst>
                  <a:gd name="adj" fmla="val 50000"/>
                </a:avLst>
              </a:prstGeom>
              <a:solidFill>
                <a:srgbClr val="F0F0F0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808080"/>
                  </a:solidFill>
                </a:endParaRPr>
              </a:p>
            </p:txBody>
          </p:sp>
          <p:sp>
            <p:nvSpPr>
              <p:cNvPr id="27" name="Abgerundetes Rechteck 81">
                <a:extLst>
                  <a:ext uri="{FF2B5EF4-FFF2-40B4-BE49-F238E27FC236}">
                    <a16:creationId xmlns:a16="http://schemas.microsoft.com/office/drawing/2014/main" id="{7C7E2EDD-EF0F-1ABE-34B4-9F794F445627}"/>
                  </a:ext>
                </a:extLst>
              </p:cNvPr>
              <p:cNvSpPr/>
              <p:nvPr/>
            </p:nvSpPr>
            <p:spPr bwMode="auto">
              <a:xfrm>
                <a:off x="7563644" y="1539089"/>
                <a:ext cx="144000" cy="1327896"/>
              </a:xfrm>
              <a:prstGeom prst="roundRect">
                <a:avLst>
                  <a:gd name="adj" fmla="val 0"/>
                </a:avLst>
              </a:prstGeom>
              <a:solidFill>
                <a:srgbClr val="808080"/>
              </a:solidFill>
              <a:ln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808080"/>
                  </a:solidFill>
                </a:endParaRPr>
              </a:p>
            </p:txBody>
          </p:sp>
          <p:sp>
            <p:nvSpPr>
              <p:cNvPr id="28" name="Freeform 6">
                <a:extLst>
                  <a:ext uri="{FF2B5EF4-FFF2-40B4-BE49-F238E27FC236}">
                    <a16:creationId xmlns:a16="http://schemas.microsoft.com/office/drawing/2014/main" id="{F70234B5-F7F3-22CA-25B8-C2C268AB07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7644" y="1539089"/>
                <a:ext cx="1744174" cy="1327896"/>
              </a:xfrm>
              <a:custGeom>
                <a:avLst/>
                <a:gdLst>
                  <a:gd name="T0" fmla="*/ 504 w 534"/>
                  <a:gd name="T1" fmla="*/ 189 h 418"/>
                  <a:gd name="T2" fmla="*/ 0 w 534"/>
                  <a:gd name="T3" fmla="*/ 0 h 418"/>
                  <a:gd name="T4" fmla="*/ 0 w 534"/>
                  <a:gd name="T5" fmla="*/ 418 h 418"/>
                  <a:gd name="T6" fmla="*/ 504 w 534"/>
                  <a:gd name="T7" fmla="*/ 229 h 418"/>
                  <a:gd name="T8" fmla="*/ 504 w 534"/>
                  <a:gd name="T9" fmla="*/ 189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4" h="418">
                    <a:moveTo>
                      <a:pt x="504" y="18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18"/>
                      <a:pt x="0" y="418"/>
                      <a:pt x="0" y="418"/>
                    </a:cubicBezTo>
                    <a:cubicBezTo>
                      <a:pt x="504" y="229"/>
                      <a:pt x="504" y="229"/>
                      <a:pt x="504" y="229"/>
                    </a:cubicBezTo>
                    <a:cubicBezTo>
                      <a:pt x="534" y="218"/>
                      <a:pt x="534" y="200"/>
                      <a:pt x="504" y="189"/>
                    </a:cubicBezTo>
                    <a:close/>
                  </a:path>
                </a:pathLst>
              </a:custGeom>
              <a:solidFill>
                <a:srgbClr val="FFE600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vert="horz" wrap="none" lIns="144000" tIns="72000" rIns="288000" bIns="72000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600" b="1" dirty="0"/>
                  <a:t>Шаг 1</a:t>
                </a:r>
                <a:endParaRPr lang="de-DE" sz="1600" b="1" dirty="0"/>
              </a:p>
            </p:txBody>
          </p:sp>
        </p:grpSp>
        <p:sp>
          <p:nvSpPr>
            <p:cNvPr id="25" name="Rechteck 77">
              <a:extLst>
                <a:ext uri="{FF2B5EF4-FFF2-40B4-BE49-F238E27FC236}">
                  <a16:creationId xmlns:a16="http://schemas.microsoft.com/office/drawing/2014/main" id="{540D3A24-9B0B-4C36-551A-DE0BAC674FFA}"/>
                </a:ext>
              </a:extLst>
            </p:cNvPr>
            <p:cNvSpPr/>
            <p:nvPr/>
          </p:nvSpPr>
          <p:spPr bwMode="auto">
            <a:xfrm>
              <a:off x="9511263" y="4642810"/>
              <a:ext cx="1282790" cy="2255149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9" name="Gruppieren 67">
            <a:extLst>
              <a:ext uri="{FF2B5EF4-FFF2-40B4-BE49-F238E27FC236}">
                <a16:creationId xmlns:a16="http://schemas.microsoft.com/office/drawing/2014/main" id="{EC216874-2585-0C47-5543-94B9C1C716C6}"/>
              </a:ext>
            </a:extLst>
          </p:cNvPr>
          <p:cNvGrpSpPr/>
          <p:nvPr/>
        </p:nvGrpSpPr>
        <p:grpSpPr>
          <a:xfrm rot="21046012" flipH="1">
            <a:off x="3492189" y="1395643"/>
            <a:ext cx="1297590" cy="2173313"/>
            <a:chOff x="9511263" y="2745852"/>
            <a:chExt cx="2479042" cy="4152107"/>
          </a:xfrm>
        </p:grpSpPr>
        <p:sp>
          <p:nvSpPr>
            <p:cNvPr id="30" name="Rechteck 68">
              <a:extLst>
                <a:ext uri="{FF2B5EF4-FFF2-40B4-BE49-F238E27FC236}">
                  <a16:creationId xmlns:a16="http://schemas.microsoft.com/office/drawing/2014/main" id="{1784CF07-90FD-6F11-E00B-00322A6858BA}"/>
                </a:ext>
              </a:extLst>
            </p:cNvPr>
            <p:cNvSpPr/>
            <p:nvPr/>
          </p:nvSpPr>
          <p:spPr bwMode="auto">
            <a:xfrm>
              <a:off x="10682851" y="2745852"/>
              <a:ext cx="1288953" cy="2255149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grpSp>
          <p:nvGrpSpPr>
            <p:cNvPr id="31" name="Gruppieren 69">
              <a:extLst>
                <a:ext uri="{FF2B5EF4-FFF2-40B4-BE49-F238E27FC236}">
                  <a16:creationId xmlns:a16="http://schemas.microsoft.com/office/drawing/2014/main" id="{C37305EA-0AD0-C7A6-DD58-B0780D045108}"/>
                </a:ext>
              </a:extLst>
            </p:cNvPr>
            <p:cNvGrpSpPr/>
            <p:nvPr/>
          </p:nvGrpSpPr>
          <p:grpSpPr>
            <a:xfrm>
              <a:off x="10746630" y="2745853"/>
              <a:ext cx="1243675" cy="1896956"/>
              <a:chOff x="7563644" y="1477833"/>
              <a:chExt cx="1888174" cy="2880000"/>
            </a:xfrm>
          </p:grpSpPr>
          <p:sp>
            <p:nvSpPr>
              <p:cNvPr id="33" name="Abgerundetes Rechteck 71">
                <a:extLst>
                  <a:ext uri="{FF2B5EF4-FFF2-40B4-BE49-F238E27FC236}">
                    <a16:creationId xmlns:a16="http://schemas.microsoft.com/office/drawing/2014/main" id="{9BC1314B-44E0-507E-CC1D-D1167C17179F}"/>
                  </a:ext>
                </a:extLst>
              </p:cNvPr>
              <p:cNvSpPr/>
              <p:nvPr/>
            </p:nvSpPr>
            <p:spPr bwMode="auto">
              <a:xfrm>
                <a:off x="7581644" y="1477833"/>
                <a:ext cx="108000" cy="2880000"/>
              </a:xfrm>
              <a:prstGeom prst="roundRect">
                <a:avLst>
                  <a:gd name="adj" fmla="val 50000"/>
                </a:avLst>
              </a:prstGeom>
              <a:solidFill>
                <a:srgbClr val="F0F0F0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808080"/>
                  </a:solidFill>
                </a:endParaRPr>
              </a:p>
            </p:txBody>
          </p:sp>
          <p:sp>
            <p:nvSpPr>
              <p:cNvPr id="34" name="Abgerundetes Rechteck 72">
                <a:extLst>
                  <a:ext uri="{FF2B5EF4-FFF2-40B4-BE49-F238E27FC236}">
                    <a16:creationId xmlns:a16="http://schemas.microsoft.com/office/drawing/2014/main" id="{05C1BC41-9390-4331-DE0F-05E0C79732D2}"/>
                  </a:ext>
                </a:extLst>
              </p:cNvPr>
              <p:cNvSpPr/>
              <p:nvPr/>
            </p:nvSpPr>
            <p:spPr bwMode="auto">
              <a:xfrm>
                <a:off x="7563644" y="1539089"/>
                <a:ext cx="144000" cy="1327896"/>
              </a:xfrm>
              <a:prstGeom prst="roundRect">
                <a:avLst>
                  <a:gd name="adj" fmla="val 0"/>
                </a:avLst>
              </a:prstGeom>
              <a:solidFill>
                <a:srgbClr val="808080"/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808080"/>
                  </a:solidFill>
                </a:endParaRPr>
              </a:p>
            </p:txBody>
          </p:sp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id="{4B8E3C4D-3775-9C3A-1AA0-3457A1491F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7644" y="1539089"/>
                <a:ext cx="1744174" cy="1327896"/>
              </a:xfrm>
              <a:custGeom>
                <a:avLst/>
                <a:gdLst>
                  <a:gd name="T0" fmla="*/ 504 w 534"/>
                  <a:gd name="T1" fmla="*/ 189 h 418"/>
                  <a:gd name="T2" fmla="*/ 0 w 534"/>
                  <a:gd name="T3" fmla="*/ 0 h 418"/>
                  <a:gd name="T4" fmla="*/ 0 w 534"/>
                  <a:gd name="T5" fmla="*/ 418 h 418"/>
                  <a:gd name="T6" fmla="*/ 504 w 534"/>
                  <a:gd name="T7" fmla="*/ 229 h 418"/>
                  <a:gd name="T8" fmla="*/ 504 w 534"/>
                  <a:gd name="T9" fmla="*/ 189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4" h="418">
                    <a:moveTo>
                      <a:pt x="504" y="18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18"/>
                      <a:pt x="0" y="418"/>
                      <a:pt x="0" y="418"/>
                    </a:cubicBezTo>
                    <a:cubicBezTo>
                      <a:pt x="504" y="229"/>
                      <a:pt x="504" y="229"/>
                      <a:pt x="504" y="229"/>
                    </a:cubicBezTo>
                    <a:cubicBezTo>
                      <a:pt x="534" y="218"/>
                      <a:pt x="534" y="200"/>
                      <a:pt x="504" y="189"/>
                    </a:cubicBezTo>
                    <a:close/>
                  </a:path>
                </a:pathLst>
              </a:custGeom>
              <a:solidFill>
                <a:srgbClr val="FFE600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vert="horz" wrap="none" lIns="54000" tIns="72000" rIns="54000" bIns="72000" rtlCol="0" anchor="ctr"/>
              <a:lstStyle/>
              <a:p>
                <a:pPr marL="196850"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050" b="1" dirty="0"/>
                  <a:t>Шаг 4</a:t>
                </a:r>
                <a:endParaRPr lang="de-DE" sz="1050" b="1" dirty="0"/>
              </a:p>
            </p:txBody>
          </p:sp>
        </p:grpSp>
        <p:sp>
          <p:nvSpPr>
            <p:cNvPr id="32" name="Rechteck 70">
              <a:extLst>
                <a:ext uri="{FF2B5EF4-FFF2-40B4-BE49-F238E27FC236}">
                  <a16:creationId xmlns:a16="http://schemas.microsoft.com/office/drawing/2014/main" id="{83712339-B16E-B0BD-0806-23CC4C7DA526}"/>
                </a:ext>
              </a:extLst>
            </p:cNvPr>
            <p:cNvSpPr/>
            <p:nvPr/>
          </p:nvSpPr>
          <p:spPr bwMode="auto">
            <a:xfrm>
              <a:off x="9511263" y="4642810"/>
              <a:ext cx="1282790" cy="2255149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6" name="Rechteck 12">
            <a:extLst>
              <a:ext uri="{FF2B5EF4-FFF2-40B4-BE49-F238E27FC236}">
                <a16:creationId xmlns:a16="http://schemas.microsoft.com/office/drawing/2014/main" id="{648E5F57-4778-492B-A7D8-0B7200677790}"/>
              </a:ext>
            </a:extLst>
          </p:cNvPr>
          <p:cNvSpPr/>
          <p:nvPr/>
        </p:nvSpPr>
        <p:spPr bwMode="gray">
          <a:xfrm>
            <a:off x="6502584" y="2319601"/>
            <a:ext cx="5202571" cy="430887"/>
          </a:xfrm>
          <a:prstGeom prst="rect">
            <a:avLst/>
          </a:prstGeom>
        </p:spPr>
        <p:txBody>
          <a:bodyPr vert="horz" wrap="square" lIns="0" tIns="0" rIns="91440" bIns="0" anchor="ctr" anchorCtr="0">
            <a:spAutoFit/>
          </a:bodyPr>
          <a:lstStyle/>
          <a:p>
            <a:pPr>
              <a:buClr>
                <a:schemeClr val="tx2"/>
              </a:buClr>
            </a:pPr>
            <a:r>
              <a:rPr lang="ru-RU" sz="1400" b="1">
                <a:solidFill>
                  <a:schemeClr val="tx2">
                    <a:lumMod val="20000"/>
                    <a:lumOff val="80000"/>
                  </a:schemeClr>
                </a:solidFill>
              </a:rPr>
              <a:t>Создать рабочую группу по ведению проекта по внедрению стандартов в законодательство</a:t>
            </a:r>
          </a:p>
        </p:txBody>
      </p:sp>
      <p:cxnSp>
        <p:nvCxnSpPr>
          <p:cNvPr id="37" name="Gerade Verbindung 18">
            <a:extLst>
              <a:ext uri="{FF2B5EF4-FFF2-40B4-BE49-F238E27FC236}">
                <a16:creationId xmlns:a16="http://schemas.microsoft.com/office/drawing/2014/main" id="{41885F16-03D1-5491-7BE4-E91B51BF6724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2646386" y="3638959"/>
            <a:ext cx="565476" cy="18456"/>
          </a:xfrm>
          <a:prstGeom prst="line">
            <a:avLst/>
          </a:prstGeom>
          <a:noFill/>
          <a:ln w="19050">
            <a:solidFill>
              <a:schemeClr val="tx2"/>
            </a:solidFill>
            <a:prstDash val="sysDot"/>
            <a:round/>
            <a:headEnd/>
            <a:tailEnd/>
          </a:ln>
          <a:effectLst/>
        </p:spPr>
      </p:cxnSp>
      <p:cxnSp>
        <p:nvCxnSpPr>
          <p:cNvPr id="38" name="Gerade Verbindung 20">
            <a:extLst>
              <a:ext uri="{FF2B5EF4-FFF2-40B4-BE49-F238E27FC236}">
                <a16:creationId xmlns:a16="http://schemas.microsoft.com/office/drawing/2014/main" id="{75F29424-7784-46F1-5F42-1A26B3FA2FB5}"/>
              </a:ext>
            </a:extLst>
          </p:cNvPr>
          <p:cNvCxnSpPr/>
          <p:nvPr/>
        </p:nvCxnSpPr>
        <p:spPr bwMode="gray">
          <a:xfrm>
            <a:off x="2661569" y="3344198"/>
            <a:ext cx="0" cy="570156"/>
          </a:xfrm>
          <a:prstGeom prst="line">
            <a:avLst/>
          </a:prstGeom>
          <a:noFill/>
          <a:ln w="19050">
            <a:solidFill>
              <a:schemeClr val="tx2"/>
            </a:solidFill>
            <a:prstDash val="sysDot"/>
            <a:round/>
            <a:headEnd/>
            <a:tailEnd/>
          </a:ln>
          <a:effectLst/>
        </p:spPr>
      </p:cxnSp>
      <p:sp>
        <p:nvSpPr>
          <p:cNvPr id="46" name="Rechteck 12">
            <a:extLst>
              <a:ext uri="{FF2B5EF4-FFF2-40B4-BE49-F238E27FC236}">
                <a16:creationId xmlns:a16="http://schemas.microsoft.com/office/drawing/2014/main" id="{9DE56D80-5503-0837-5C94-48EC62C8C210}"/>
              </a:ext>
            </a:extLst>
          </p:cNvPr>
          <p:cNvSpPr/>
          <p:nvPr/>
        </p:nvSpPr>
        <p:spPr bwMode="gray">
          <a:xfrm>
            <a:off x="291323" y="2987942"/>
            <a:ext cx="2359201" cy="1723549"/>
          </a:xfrm>
          <a:prstGeom prst="rect">
            <a:avLst/>
          </a:prstGeom>
        </p:spPr>
        <p:txBody>
          <a:bodyPr vert="horz" wrap="square" lIns="0" tIns="0" rIns="91440" bIns="0" anchor="ctr" anchorCtr="0">
            <a:spAutoFit/>
          </a:bodyPr>
          <a:lstStyle/>
          <a:p>
            <a:pPr>
              <a:buClr>
                <a:schemeClr val="tx2"/>
              </a:buClr>
            </a:pPr>
            <a:r>
              <a:rPr lang="ru-RU" sz="1400" b="1" noProof="1">
                <a:solidFill>
                  <a:schemeClr val="tx2">
                    <a:lumMod val="20000"/>
                    <a:lumOff val="80000"/>
                  </a:schemeClr>
                </a:solidFill>
              </a:rPr>
              <a:t>Установить четкие цели и ключевые вехи по внедрению МСФО S1 и S2 в законодательное поле РК и в отчетность организаций, к которым будут применимы данные стандарты</a:t>
            </a:r>
          </a:p>
        </p:txBody>
      </p:sp>
      <p:sp>
        <p:nvSpPr>
          <p:cNvPr id="57" name="Rechteck 12">
            <a:extLst>
              <a:ext uri="{FF2B5EF4-FFF2-40B4-BE49-F238E27FC236}">
                <a16:creationId xmlns:a16="http://schemas.microsoft.com/office/drawing/2014/main" id="{33A7B3EC-9668-8CD1-15DC-BF03E2D1F720}"/>
              </a:ext>
            </a:extLst>
          </p:cNvPr>
          <p:cNvSpPr/>
          <p:nvPr/>
        </p:nvSpPr>
        <p:spPr bwMode="gray">
          <a:xfrm>
            <a:off x="6505601" y="1118821"/>
            <a:ext cx="5202571" cy="769441"/>
          </a:xfrm>
          <a:prstGeom prst="rect">
            <a:avLst/>
          </a:prstGeom>
        </p:spPr>
        <p:txBody>
          <a:bodyPr vert="horz" wrap="square" lIns="0" tIns="0" rIns="91440" bIns="0" anchor="ctr" anchorCtr="0">
            <a:spAutoFit/>
          </a:bodyPr>
          <a:lstStyle/>
          <a:p>
            <a:pPr>
              <a:buClr>
                <a:schemeClr val="tx2"/>
              </a:buClr>
            </a:pPr>
            <a:r>
              <a:rPr lang="ru-RU" sz="1400" b="1">
                <a:solidFill>
                  <a:schemeClr val="tx2">
                    <a:lumMod val="20000"/>
                    <a:lumOff val="80000"/>
                  </a:schemeClr>
                </a:solidFill>
              </a:rPr>
              <a:t>Провести обучение по МСФО </a:t>
            </a:r>
            <a:r>
              <a:rPr lang="en-US" sz="1400" b="1">
                <a:solidFill>
                  <a:schemeClr val="tx2">
                    <a:lumMod val="20000"/>
                    <a:lumOff val="80000"/>
                  </a:schemeClr>
                </a:solidFill>
              </a:rPr>
              <a:t>S1/S2 (capacity-building)</a:t>
            </a:r>
          </a:p>
          <a:p>
            <a:pPr marL="7429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200" i="1">
                <a:solidFill>
                  <a:schemeClr val="bg1">
                    <a:lumMod val="85000"/>
                  </a:schemeClr>
                </a:solidFill>
              </a:rPr>
              <a:t>Провести серию семинаров для организаций</a:t>
            </a:r>
          </a:p>
          <a:p>
            <a:pPr marL="742950" lvl="1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200" i="1">
                <a:solidFill>
                  <a:schemeClr val="bg1">
                    <a:lumMod val="85000"/>
                  </a:schemeClr>
                </a:solidFill>
              </a:rPr>
              <a:t>Разработать руководство для организаций по внедрению стандартов</a:t>
            </a:r>
          </a:p>
        </p:txBody>
      </p:sp>
      <p:cxnSp>
        <p:nvCxnSpPr>
          <p:cNvPr id="60" name="Gerade Verbindung 25">
            <a:extLst>
              <a:ext uri="{FF2B5EF4-FFF2-40B4-BE49-F238E27FC236}">
                <a16:creationId xmlns:a16="http://schemas.microsoft.com/office/drawing/2014/main" id="{57C20A0C-B6EC-EE89-69EA-B9DE3D171E50}"/>
              </a:ext>
            </a:extLst>
          </p:cNvPr>
          <p:cNvCxnSpPr/>
          <p:nvPr/>
        </p:nvCxnSpPr>
        <p:spPr bwMode="gray">
          <a:xfrm flipH="1">
            <a:off x="5550103" y="1438504"/>
            <a:ext cx="838905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sysDot"/>
            <a:round/>
            <a:headEnd/>
            <a:tailEnd/>
          </a:ln>
          <a:effectLst/>
        </p:spPr>
      </p:cxnSp>
      <p:cxnSp>
        <p:nvCxnSpPr>
          <p:cNvPr id="61" name="Gerade Verbindung 27">
            <a:extLst>
              <a:ext uri="{FF2B5EF4-FFF2-40B4-BE49-F238E27FC236}">
                <a16:creationId xmlns:a16="http://schemas.microsoft.com/office/drawing/2014/main" id="{5947CD76-E520-E3FA-1FF6-6DD24C847A67}"/>
              </a:ext>
            </a:extLst>
          </p:cNvPr>
          <p:cNvCxnSpPr>
            <a:cxnSpLocks/>
          </p:cNvCxnSpPr>
          <p:nvPr/>
        </p:nvCxnSpPr>
        <p:spPr bwMode="gray">
          <a:xfrm>
            <a:off x="6397828" y="1153426"/>
            <a:ext cx="0" cy="570156"/>
          </a:xfrm>
          <a:prstGeom prst="line">
            <a:avLst/>
          </a:prstGeom>
          <a:noFill/>
          <a:ln w="19050">
            <a:solidFill>
              <a:schemeClr val="tx2"/>
            </a:solidFill>
            <a:prstDash val="sysDot"/>
            <a:round/>
            <a:headEnd/>
            <a:tailEnd/>
          </a:ln>
          <a:effectLst/>
        </p:spPr>
      </p:cxnSp>
      <p:cxnSp>
        <p:nvCxnSpPr>
          <p:cNvPr id="62" name="Gerade Verbindung 25">
            <a:extLst>
              <a:ext uri="{FF2B5EF4-FFF2-40B4-BE49-F238E27FC236}">
                <a16:creationId xmlns:a16="http://schemas.microsoft.com/office/drawing/2014/main" id="{5B524C19-E312-89E9-A1B9-F1D75A734C9C}"/>
              </a:ext>
            </a:extLst>
          </p:cNvPr>
          <p:cNvCxnSpPr>
            <a:cxnSpLocks/>
          </p:cNvCxnSpPr>
          <p:nvPr/>
        </p:nvCxnSpPr>
        <p:spPr bwMode="gray">
          <a:xfrm flipH="1">
            <a:off x="4988449" y="2595736"/>
            <a:ext cx="1409379" cy="0"/>
          </a:xfrm>
          <a:prstGeom prst="line">
            <a:avLst/>
          </a:prstGeom>
          <a:noFill/>
          <a:ln w="19050">
            <a:solidFill>
              <a:schemeClr val="tx2"/>
            </a:solidFill>
            <a:prstDash val="sysDot"/>
            <a:round/>
            <a:headEnd/>
            <a:tailEnd/>
          </a:ln>
          <a:effectLst/>
        </p:spPr>
      </p:cxnSp>
      <p:cxnSp>
        <p:nvCxnSpPr>
          <p:cNvPr id="63" name="Gerade Verbindung 27">
            <a:extLst>
              <a:ext uri="{FF2B5EF4-FFF2-40B4-BE49-F238E27FC236}">
                <a16:creationId xmlns:a16="http://schemas.microsoft.com/office/drawing/2014/main" id="{5286BE29-6FB0-683F-3417-67E5EB728112}"/>
              </a:ext>
            </a:extLst>
          </p:cNvPr>
          <p:cNvCxnSpPr>
            <a:cxnSpLocks/>
          </p:cNvCxnSpPr>
          <p:nvPr/>
        </p:nvCxnSpPr>
        <p:spPr bwMode="gray">
          <a:xfrm>
            <a:off x="6406648" y="2310658"/>
            <a:ext cx="0" cy="570156"/>
          </a:xfrm>
          <a:prstGeom prst="line">
            <a:avLst/>
          </a:prstGeom>
          <a:noFill/>
          <a:ln w="19050">
            <a:solidFill>
              <a:schemeClr val="tx2"/>
            </a:solidFill>
            <a:prstDash val="sysDot"/>
            <a:round/>
            <a:headEnd/>
            <a:tailEnd/>
          </a:ln>
          <a:effectLst/>
        </p:spPr>
      </p:cxnSp>
      <p:sp>
        <p:nvSpPr>
          <p:cNvPr id="72" name="Rechteck 70">
            <a:extLst>
              <a:ext uri="{FF2B5EF4-FFF2-40B4-BE49-F238E27FC236}">
                <a16:creationId xmlns:a16="http://schemas.microsoft.com/office/drawing/2014/main" id="{89048B30-1991-2333-8A74-FA6DB965EB61}"/>
              </a:ext>
            </a:extLst>
          </p:cNvPr>
          <p:cNvSpPr/>
          <p:nvPr/>
        </p:nvSpPr>
        <p:spPr bwMode="auto">
          <a:xfrm rot="21046012" flipH="1">
            <a:off x="4379057" y="2507066"/>
            <a:ext cx="671443" cy="1180399"/>
          </a:xfrm>
          <a:prstGeom prst="rect">
            <a:avLst/>
          </a:prstGeom>
          <a:solidFill>
            <a:srgbClr val="000000">
              <a:alpha val="0"/>
            </a:srgb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600" dirty="0">
              <a:solidFill>
                <a:srgbClr val="000000"/>
              </a:solidFill>
            </a:endParaRPr>
          </a:p>
        </p:txBody>
      </p:sp>
      <p:grpSp>
        <p:nvGrpSpPr>
          <p:cNvPr id="73" name="Gruppieren 41">
            <a:extLst>
              <a:ext uri="{FF2B5EF4-FFF2-40B4-BE49-F238E27FC236}">
                <a16:creationId xmlns:a16="http://schemas.microsoft.com/office/drawing/2014/main" id="{EFBD0BC4-E22A-F368-1B16-C50383D84A7E}"/>
              </a:ext>
            </a:extLst>
          </p:cNvPr>
          <p:cNvGrpSpPr/>
          <p:nvPr/>
        </p:nvGrpSpPr>
        <p:grpSpPr>
          <a:xfrm rot="242885">
            <a:off x="4226566" y="1020687"/>
            <a:ext cx="1501322" cy="2555235"/>
            <a:chOff x="9511263" y="2745851"/>
            <a:chExt cx="2479042" cy="4152108"/>
          </a:xfrm>
        </p:grpSpPr>
        <p:sp>
          <p:nvSpPr>
            <p:cNvPr id="74" name="Rechteck 42">
              <a:extLst>
                <a:ext uri="{FF2B5EF4-FFF2-40B4-BE49-F238E27FC236}">
                  <a16:creationId xmlns:a16="http://schemas.microsoft.com/office/drawing/2014/main" id="{93AD59B0-3008-9E60-45B3-6B47722AA4C7}"/>
                </a:ext>
              </a:extLst>
            </p:cNvPr>
            <p:cNvSpPr/>
            <p:nvPr/>
          </p:nvSpPr>
          <p:spPr bwMode="auto">
            <a:xfrm>
              <a:off x="10682853" y="2745851"/>
              <a:ext cx="1288954" cy="2255149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srgbClr val="000000"/>
                </a:solidFill>
              </a:endParaRPr>
            </a:p>
          </p:txBody>
        </p:sp>
        <p:grpSp>
          <p:nvGrpSpPr>
            <p:cNvPr id="75" name="Gruppieren 43">
              <a:extLst>
                <a:ext uri="{FF2B5EF4-FFF2-40B4-BE49-F238E27FC236}">
                  <a16:creationId xmlns:a16="http://schemas.microsoft.com/office/drawing/2014/main" id="{21ECC8FC-64D5-2E08-CF7A-73E23C167AE8}"/>
                </a:ext>
              </a:extLst>
            </p:cNvPr>
            <p:cNvGrpSpPr/>
            <p:nvPr/>
          </p:nvGrpSpPr>
          <p:grpSpPr>
            <a:xfrm>
              <a:off x="10746630" y="2745853"/>
              <a:ext cx="1243675" cy="1896956"/>
              <a:chOff x="7563644" y="1477833"/>
              <a:chExt cx="1888174" cy="2880000"/>
            </a:xfrm>
          </p:grpSpPr>
          <p:sp>
            <p:nvSpPr>
              <p:cNvPr id="77" name="Abgerundetes Rechteck 45">
                <a:extLst>
                  <a:ext uri="{FF2B5EF4-FFF2-40B4-BE49-F238E27FC236}">
                    <a16:creationId xmlns:a16="http://schemas.microsoft.com/office/drawing/2014/main" id="{C248EE91-7C6E-DC3B-365C-FD827B928826}"/>
                  </a:ext>
                </a:extLst>
              </p:cNvPr>
              <p:cNvSpPr/>
              <p:nvPr/>
            </p:nvSpPr>
            <p:spPr bwMode="auto">
              <a:xfrm>
                <a:off x="7581644" y="1477833"/>
                <a:ext cx="108000" cy="2880000"/>
              </a:xfrm>
              <a:prstGeom prst="roundRect">
                <a:avLst>
                  <a:gd name="adj" fmla="val 50000"/>
                </a:avLst>
              </a:prstGeom>
              <a:solidFill>
                <a:srgbClr val="F0F0F0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srgbClr val="808080"/>
                  </a:solidFill>
                </a:endParaRPr>
              </a:p>
            </p:txBody>
          </p:sp>
          <p:sp>
            <p:nvSpPr>
              <p:cNvPr id="78" name="Abgerundetes Rechteck 46">
                <a:extLst>
                  <a:ext uri="{FF2B5EF4-FFF2-40B4-BE49-F238E27FC236}">
                    <a16:creationId xmlns:a16="http://schemas.microsoft.com/office/drawing/2014/main" id="{84D99008-93D8-CB81-667F-F3539301C803}"/>
                  </a:ext>
                </a:extLst>
              </p:cNvPr>
              <p:cNvSpPr/>
              <p:nvPr/>
            </p:nvSpPr>
            <p:spPr bwMode="auto">
              <a:xfrm>
                <a:off x="7563644" y="1539089"/>
                <a:ext cx="144000" cy="1327896"/>
              </a:xfrm>
              <a:prstGeom prst="roundRect">
                <a:avLst>
                  <a:gd name="adj" fmla="val 0"/>
                </a:avLst>
              </a:prstGeom>
              <a:solidFill>
                <a:srgbClr val="808080"/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dirty="0">
                  <a:solidFill>
                    <a:srgbClr val="808080"/>
                  </a:solidFill>
                </a:endParaRPr>
              </a:p>
            </p:txBody>
          </p:sp>
          <p:sp>
            <p:nvSpPr>
              <p:cNvPr id="79" name="Freeform 6">
                <a:extLst>
                  <a:ext uri="{FF2B5EF4-FFF2-40B4-BE49-F238E27FC236}">
                    <a16:creationId xmlns:a16="http://schemas.microsoft.com/office/drawing/2014/main" id="{1763BE62-0FA8-D9FD-6BFA-38AAC8D707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7644" y="1539089"/>
                <a:ext cx="1744174" cy="1327896"/>
              </a:xfrm>
              <a:custGeom>
                <a:avLst/>
                <a:gdLst>
                  <a:gd name="T0" fmla="*/ 504 w 534"/>
                  <a:gd name="T1" fmla="*/ 189 h 418"/>
                  <a:gd name="T2" fmla="*/ 0 w 534"/>
                  <a:gd name="T3" fmla="*/ 0 h 418"/>
                  <a:gd name="T4" fmla="*/ 0 w 534"/>
                  <a:gd name="T5" fmla="*/ 418 h 418"/>
                  <a:gd name="T6" fmla="*/ 504 w 534"/>
                  <a:gd name="T7" fmla="*/ 229 h 418"/>
                  <a:gd name="T8" fmla="*/ 504 w 534"/>
                  <a:gd name="T9" fmla="*/ 189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4" h="418">
                    <a:moveTo>
                      <a:pt x="504" y="18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18"/>
                      <a:pt x="0" y="418"/>
                      <a:pt x="0" y="418"/>
                    </a:cubicBezTo>
                    <a:cubicBezTo>
                      <a:pt x="504" y="229"/>
                      <a:pt x="504" y="229"/>
                      <a:pt x="504" y="229"/>
                    </a:cubicBezTo>
                    <a:cubicBezTo>
                      <a:pt x="534" y="218"/>
                      <a:pt x="534" y="200"/>
                      <a:pt x="504" y="189"/>
                    </a:cubicBezTo>
                    <a:close/>
                  </a:path>
                </a:pathLst>
              </a:custGeom>
              <a:solidFill>
                <a:srgbClr val="FFE600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vert="horz" wrap="none" lIns="54000" tIns="72000" rIns="288000" bIns="72000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200" b="1" dirty="0"/>
                  <a:t>Шаг </a:t>
                </a:r>
                <a:r>
                  <a:rPr lang="en-US" sz="1200" b="1" dirty="0"/>
                  <a:t>5</a:t>
                </a:r>
                <a:endParaRPr lang="de-DE" sz="1200" b="1" dirty="0"/>
              </a:p>
            </p:txBody>
          </p:sp>
        </p:grpSp>
        <p:sp>
          <p:nvSpPr>
            <p:cNvPr id="76" name="Rechteck 44">
              <a:extLst>
                <a:ext uri="{FF2B5EF4-FFF2-40B4-BE49-F238E27FC236}">
                  <a16:creationId xmlns:a16="http://schemas.microsoft.com/office/drawing/2014/main" id="{C54789B3-B099-FB08-9362-1B2FC2051609}"/>
                </a:ext>
              </a:extLst>
            </p:cNvPr>
            <p:cNvSpPr/>
            <p:nvPr/>
          </p:nvSpPr>
          <p:spPr bwMode="auto">
            <a:xfrm>
              <a:off x="9511263" y="4642810"/>
              <a:ext cx="1282790" cy="2255149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0" name="Gruppieren 67">
            <a:extLst>
              <a:ext uri="{FF2B5EF4-FFF2-40B4-BE49-F238E27FC236}">
                <a16:creationId xmlns:a16="http://schemas.microsoft.com/office/drawing/2014/main" id="{53F1B814-B05C-3123-EE31-445AA28F74EA}"/>
              </a:ext>
            </a:extLst>
          </p:cNvPr>
          <p:cNvGrpSpPr/>
          <p:nvPr/>
        </p:nvGrpSpPr>
        <p:grpSpPr>
          <a:xfrm rot="21046012" flipH="1">
            <a:off x="3122404" y="3118117"/>
            <a:ext cx="1693343" cy="2449452"/>
            <a:chOff x="9511263" y="2745852"/>
            <a:chExt cx="2479042" cy="4152107"/>
          </a:xfrm>
        </p:grpSpPr>
        <p:sp>
          <p:nvSpPr>
            <p:cNvPr id="81" name="Rechteck 68">
              <a:extLst>
                <a:ext uri="{FF2B5EF4-FFF2-40B4-BE49-F238E27FC236}">
                  <a16:creationId xmlns:a16="http://schemas.microsoft.com/office/drawing/2014/main" id="{14186128-50CF-19BF-870A-C2937E82299E}"/>
                </a:ext>
              </a:extLst>
            </p:cNvPr>
            <p:cNvSpPr/>
            <p:nvPr/>
          </p:nvSpPr>
          <p:spPr bwMode="auto">
            <a:xfrm>
              <a:off x="10682851" y="2745852"/>
              <a:ext cx="1288953" cy="2255149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  <p:grpSp>
          <p:nvGrpSpPr>
            <p:cNvPr id="82" name="Gruppieren 69">
              <a:extLst>
                <a:ext uri="{FF2B5EF4-FFF2-40B4-BE49-F238E27FC236}">
                  <a16:creationId xmlns:a16="http://schemas.microsoft.com/office/drawing/2014/main" id="{A5AFD283-8528-6DEE-2706-30B66D92436B}"/>
                </a:ext>
              </a:extLst>
            </p:cNvPr>
            <p:cNvGrpSpPr/>
            <p:nvPr/>
          </p:nvGrpSpPr>
          <p:grpSpPr>
            <a:xfrm>
              <a:off x="10746630" y="2745853"/>
              <a:ext cx="1243675" cy="1896956"/>
              <a:chOff x="7563644" y="1477833"/>
              <a:chExt cx="1888174" cy="2880000"/>
            </a:xfrm>
          </p:grpSpPr>
          <p:sp>
            <p:nvSpPr>
              <p:cNvPr id="84" name="Abgerundetes Rechteck 71">
                <a:extLst>
                  <a:ext uri="{FF2B5EF4-FFF2-40B4-BE49-F238E27FC236}">
                    <a16:creationId xmlns:a16="http://schemas.microsoft.com/office/drawing/2014/main" id="{09C8AA7B-0C09-51AB-844E-BC3B21AED541}"/>
                  </a:ext>
                </a:extLst>
              </p:cNvPr>
              <p:cNvSpPr/>
              <p:nvPr/>
            </p:nvSpPr>
            <p:spPr bwMode="auto">
              <a:xfrm>
                <a:off x="7581644" y="1477833"/>
                <a:ext cx="108000" cy="2880000"/>
              </a:xfrm>
              <a:prstGeom prst="roundRect">
                <a:avLst>
                  <a:gd name="adj" fmla="val 50000"/>
                </a:avLst>
              </a:prstGeom>
              <a:solidFill>
                <a:srgbClr val="F0F0F0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808080"/>
                  </a:solidFill>
                </a:endParaRPr>
              </a:p>
            </p:txBody>
          </p:sp>
          <p:sp>
            <p:nvSpPr>
              <p:cNvPr id="85" name="Abgerundetes Rechteck 72">
                <a:extLst>
                  <a:ext uri="{FF2B5EF4-FFF2-40B4-BE49-F238E27FC236}">
                    <a16:creationId xmlns:a16="http://schemas.microsoft.com/office/drawing/2014/main" id="{9FD01995-E1A3-0161-D0C1-9AB8C17DF99A}"/>
                  </a:ext>
                </a:extLst>
              </p:cNvPr>
              <p:cNvSpPr/>
              <p:nvPr/>
            </p:nvSpPr>
            <p:spPr bwMode="auto">
              <a:xfrm>
                <a:off x="7563644" y="1539089"/>
                <a:ext cx="144000" cy="1327896"/>
              </a:xfrm>
              <a:prstGeom prst="roundRect">
                <a:avLst>
                  <a:gd name="adj" fmla="val 0"/>
                </a:avLst>
              </a:prstGeom>
              <a:solidFill>
                <a:srgbClr val="808080"/>
              </a:soli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600" dirty="0">
                  <a:solidFill>
                    <a:srgbClr val="808080"/>
                  </a:solidFill>
                </a:endParaRPr>
              </a:p>
            </p:txBody>
          </p:sp>
          <p:sp>
            <p:nvSpPr>
              <p:cNvPr id="86" name="Freeform 6">
                <a:extLst>
                  <a:ext uri="{FF2B5EF4-FFF2-40B4-BE49-F238E27FC236}">
                    <a16:creationId xmlns:a16="http://schemas.microsoft.com/office/drawing/2014/main" id="{2C63C0C0-7205-2009-3DF9-B0467ED310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07644" y="1539089"/>
                <a:ext cx="1744174" cy="1327896"/>
              </a:xfrm>
              <a:custGeom>
                <a:avLst/>
                <a:gdLst>
                  <a:gd name="T0" fmla="*/ 504 w 534"/>
                  <a:gd name="T1" fmla="*/ 189 h 418"/>
                  <a:gd name="T2" fmla="*/ 0 w 534"/>
                  <a:gd name="T3" fmla="*/ 0 h 418"/>
                  <a:gd name="T4" fmla="*/ 0 w 534"/>
                  <a:gd name="T5" fmla="*/ 418 h 418"/>
                  <a:gd name="T6" fmla="*/ 504 w 534"/>
                  <a:gd name="T7" fmla="*/ 229 h 418"/>
                  <a:gd name="T8" fmla="*/ 504 w 534"/>
                  <a:gd name="T9" fmla="*/ 189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4" h="418">
                    <a:moveTo>
                      <a:pt x="504" y="189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18"/>
                      <a:pt x="0" y="418"/>
                      <a:pt x="0" y="418"/>
                    </a:cubicBezTo>
                    <a:cubicBezTo>
                      <a:pt x="504" y="229"/>
                      <a:pt x="504" y="229"/>
                      <a:pt x="504" y="229"/>
                    </a:cubicBezTo>
                    <a:cubicBezTo>
                      <a:pt x="534" y="218"/>
                      <a:pt x="534" y="200"/>
                      <a:pt x="504" y="189"/>
                    </a:cubicBezTo>
                    <a:close/>
                  </a:path>
                </a:pathLst>
              </a:custGeom>
              <a:solidFill>
                <a:srgbClr val="FFE600"/>
              </a:solidFill>
              <a:ln w="12700">
                <a:noFill/>
                <a:round/>
                <a:headEnd/>
                <a:tailEnd/>
              </a:ln>
              <a:effectLst/>
            </p:spPr>
            <p:txBody>
              <a:bodyPr vert="horz" wrap="none" lIns="54000" tIns="72000" rIns="54000" bIns="72000" rtlCol="0" anchor="ctr"/>
              <a:lstStyle/>
              <a:p>
                <a:pPr marL="196850"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050" b="1" dirty="0"/>
                  <a:t>Шаг </a:t>
                </a:r>
                <a:r>
                  <a:rPr lang="en-US" sz="1050" b="1" dirty="0"/>
                  <a:t>2</a:t>
                </a:r>
                <a:endParaRPr lang="de-DE" sz="1050" b="1" dirty="0"/>
              </a:p>
            </p:txBody>
          </p:sp>
        </p:grpSp>
        <p:sp>
          <p:nvSpPr>
            <p:cNvPr id="83" name="Rechteck 70">
              <a:extLst>
                <a:ext uri="{FF2B5EF4-FFF2-40B4-BE49-F238E27FC236}">
                  <a16:creationId xmlns:a16="http://schemas.microsoft.com/office/drawing/2014/main" id="{86BAC033-A199-DD12-F0B4-110DDA348FEC}"/>
                </a:ext>
              </a:extLst>
            </p:cNvPr>
            <p:cNvSpPr/>
            <p:nvPr/>
          </p:nvSpPr>
          <p:spPr bwMode="auto">
            <a:xfrm>
              <a:off x="9511263" y="4642810"/>
              <a:ext cx="1282790" cy="2255149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182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C935EF-D1AE-E56F-0331-0D23E9E4E4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7B68DD8-5FAA-F882-4FC2-0D2AFA767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9305925" cy="2869882"/>
          </a:xfrm>
        </p:spPr>
        <p:txBody>
          <a:bodyPr/>
          <a:lstStyle/>
          <a:p>
            <a:pPr marL="0" indent="0">
              <a:buNone/>
            </a:pPr>
            <a:r>
              <a:rPr lang="ru-RU" dirty="0">
                <a:solidFill>
                  <a:schemeClr val="bg1"/>
                </a:solidFill>
              </a:rPr>
              <a:t>Назначение и ключевые элементы стандартов МСФО S1 и S2 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10D1384-639C-4324-00DC-47ADA7117F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Раздел</a:t>
            </a:r>
            <a:r>
              <a:rPr lang="en-US" dirty="0"/>
              <a:t> 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A1DAD3-E666-1B38-1448-82D66702554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0B6C70B0-2758-9945-7C73-D27E971B6FB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240FD73-E565-8AA1-C051-BE65252D833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698298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E8A514-C4A9-52A5-87FF-9D5E0CC55F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39D9485-2065-A391-B06B-AE3C81FC82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6000" dirty="0">
                <a:solidFill>
                  <a:schemeClr val="bg1"/>
                </a:solidFill>
              </a:rPr>
              <a:t>Сессия вопросов и ответов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269E784-E5E8-E171-8326-C30B56475C2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4176698-C115-B408-5778-C9B8542EEC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956E83D-6DB6-76D2-B0C3-3A23FC5CE0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05106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1C3B2D-2064-D613-F8E1-AD1586CB051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68375" y="-471488"/>
            <a:ext cx="11223625" cy="471488"/>
          </a:xfr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Boilerplat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CBEE6C-38E6-3FF3-2A3B-602AD601C438}"/>
              </a:ext>
            </a:extLst>
          </p:cNvPr>
          <p:cNvSpPr txBox="1">
            <a:spLocks/>
          </p:cNvSpPr>
          <p:nvPr/>
        </p:nvSpPr>
        <p:spPr>
          <a:xfrm>
            <a:off x="481958" y="563952"/>
            <a:ext cx="3741834" cy="4022640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lvl="0">
              <a:spcAft>
                <a:spcPts val="600"/>
              </a:spcAft>
              <a:buClr>
                <a:srgbClr val="FFD200"/>
              </a:buClr>
              <a:buSzPct val="70000"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 panose="02000503020000020004" pitchFamily="2" charset="0"/>
              </a:rPr>
              <a:t>EY 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 panose="02000503020000020004" pitchFamily="2" charset="0"/>
                <a:cs typeface="Arial"/>
              </a:rPr>
              <a:t>|  </a:t>
            </a:r>
            <a:r>
              <a:rPr lang="en-US" sz="1200" kern="0" dirty="0">
                <a:solidFill>
                  <a:srgbClr val="FFE600"/>
                </a:solidFill>
                <a:latin typeface="EYInterstate" panose="02000503020000020004" pitchFamily="2" charset="0"/>
                <a:cs typeface="Arial"/>
              </a:rPr>
              <a:t>Building a better working world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" panose="02000503020000020004" pitchFamily="2" charset="0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" panose="02000503020000020004" pitchFamily="2" charset="0"/>
              <a:cs typeface="Arial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defRPr/>
            </a:pPr>
            <a:r>
              <a:rPr lang="ru-RU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Следуя своей миссии — совершенствуя бизнес, улучшать мир, — EY содействует созданию долгосрочного полезного эффекта для клиентов, сотрудников и общества в целом, а также помогает укреплять доверие к рынкам капитала.</a:t>
            </a:r>
          </a:p>
          <a:p>
            <a:pPr marR="0"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defRPr/>
            </a:pPr>
            <a:r>
              <a:rPr lang="ru-RU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 </a:t>
            </a:r>
          </a:p>
          <a:p>
            <a:pPr marR="0"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defRPr/>
            </a:pPr>
            <a:r>
              <a:rPr lang="ru-RU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Используя данные, ИИ и новейшие технологии, мы помогаем клиентам уверенно формировать будущее и вырабатывать решения в ответ на самые насущные вопросы повестки дня. </a:t>
            </a:r>
          </a:p>
          <a:p>
            <a:pPr marR="0"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defRPr/>
            </a:pPr>
            <a:r>
              <a:rPr lang="ru-RU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 </a:t>
            </a:r>
          </a:p>
          <a:p>
            <a:pPr marR="0"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defRPr/>
            </a:pPr>
            <a:r>
              <a:rPr lang="ru-RU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Специалисты EY оказывают весь комплекс услуг в области аудита, консалтинга, налогообложения, стратегии и сделок. Благодаря отраслевой аналитике, поддержке специалистов единой международной сети и различных партнеров, работающих в одной экосистеме, многопрофильные команды EY могут оказывать услуги более чем в 150 странах мира.</a:t>
            </a:r>
            <a:endParaRPr lang="en-US" sz="1100" kern="0" dirty="0">
              <a:solidFill>
                <a:srgbClr val="FFFFFF"/>
              </a:solidFill>
              <a:latin typeface="EYInterstate" panose="02000503020000020004" pitchFamily="2" charset="0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defRPr/>
            </a:pPr>
            <a:r>
              <a:rPr lang="en-US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 </a:t>
            </a:r>
          </a:p>
          <a:p>
            <a:pPr marR="0"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defRPr/>
            </a:pPr>
            <a:r>
              <a:rPr lang="ru-RU" sz="1100" kern="0" dirty="0">
                <a:solidFill>
                  <a:schemeClr val="tx2"/>
                </a:solidFill>
                <a:latin typeface="EYInterstate" panose="02000503020000020004" pitchFamily="2" charset="0"/>
              </a:rPr>
              <a:t>Вместе мы вовлечены в выполнение главной задачи — уверенно формировать будущее.</a:t>
            </a:r>
            <a:endParaRPr lang="en-US" sz="1100" kern="0" dirty="0">
              <a:solidFill>
                <a:schemeClr val="tx2"/>
              </a:solidFill>
              <a:latin typeface="EYInterstate" panose="02000503020000020004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1F4EFDC-0E07-D948-24A8-CA5ADEA32943}"/>
              </a:ext>
            </a:extLst>
          </p:cNvPr>
          <p:cNvSpPr txBox="1">
            <a:spLocks/>
          </p:cNvSpPr>
          <p:nvPr/>
        </p:nvSpPr>
        <p:spPr>
          <a:xfrm>
            <a:off x="8256241" y="563952"/>
            <a:ext cx="3453630" cy="3576364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lvl="0">
              <a:buClr>
                <a:srgbClr val="FFD200"/>
              </a:buClr>
              <a:buSzPct val="70000"/>
              <a:defRPr/>
            </a:pPr>
            <a:r>
              <a:rPr lang="ru-RU" sz="8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Название EY относится к глобальной организации и может относиться к одной или нескольким компаниям, входящим в состав Ernst &amp; Young Global Limited, каждая из которых является отдельным юридическим лицом. Ernst &amp; Young Global Limited − юридическое лицо, созданное в соответствии с законодательством Великобритании, − является компанией, ограниченной гарантиями ее участников, и не оказывает услуг клиентам. С информацией о том, как компания EY собирает и использует персональные данные, а также с описанием прав физических лиц, предусмотренных законодательством о защите данных, можно ознакомиться по адресу: ey.com/privacy. Фирмы, входящие в состав международной сети EY, не занимаются юридической практикой в случае, если это запрещено местным законодательством. Более подробная информация приводится на нашем сайте: ey.com.</a:t>
            </a:r>
            <a:endParaRPr lang="en-US" sz="800" kern="0" dirty="0">
              <a:solidFill>
                <a:srgbClr val="FFFFFF"/>
              </a:solidFill>
              <a:latin typeface="EYInterstate" panose="02000503020000020004" pitchFamily="2" charset="0"/>
            </a:endParaRPr>
          </a:p>
          <a:p>
            <a:pPr lvl="0">
              <a:buClr>
                <a:srgbClr val="FFD200"/>
              </a:buClr>
              <a:buSzPct val="70000"/>
              <a:defRPr/>
            </a:pPr>
            <a:endParaRPr lang="en-US" sz="800" kern="0" dirty="0">
              <a:solidFill>
                <a:srgbClr val="FFFFFF"/>
              </a:solidFill>
              <a:latin typeface="+mj-lt"/>
            </a:endParaRPr>
          </a:p>
          <a:p>
            <a:pPr>
              <a:buClr>
                <a:srgbClr val="FFD200"/>
              </a:buClr>
              <a:buSzPct val="70000"/>
              <a:defRPr/>
            </a:pPr>
            <a:r>
              <a:rPr lang="en-US" sz="800" kern="0" dirty="0">
                <a:solidFill>
                  <a:srgbClr val="FFFFFF"/>
                </a:solidFill>
              </a:rPr>
              <a:t>© 2025 </a:t>
            </a:r>
            <a:r>
              <a:rPr lang="ru-KZ" sz="800" kern="0" dirty="0">
                <a:solidFill>
                  <a:srgbClr val="FFFFFF"/>
                </a:solidFill>
              </a:rPr>
              <a:t>ТОО «Э</a:t>
            </a:r>
            <a:r>
              <a:rPr lang="ru-RU" sz="800" kern="0" dirty="0">
                <a:solidFill>
                  <a:srgbClr val="FFFFFF"/>
                </a:solidFill>
              </a:rPr>
              <a:t>р</a:t>
            </a:r>
            <a:r>
              <a:rPr lang="ru-KZ" sz="800" kern="0" dirty="0">
                <a:solidFill>
                  <a:srgbClr val="FFFFFF"/>
                </a:solidFill>
              </a:rPr>
              <a:t>нст энд Янг</a:t>
            </a:r>
            <a:r>
              <a:rPr lang="ru-RU" sz="800" kern="0" dirty="0">
                <a:solidFill>
                  <a:srgbClr val="FFFFFF"/>
                </a:solidFill>
              </a:rPr>
              <a:t> – консультационные услуги</a:t>
            </a:r>
            <a:r>
              <a:rPr lang="ru-KZ" sz="800" kern="0" dirty="0">
                <a:solidFill>
                  <a:srgbClr val="FFFFFF"/>
                </a:solidFill>
              </a:rPr>
              <a:t>»</a:t>
            </a:r>
            <a:r>
              <a:rPr lang="en-US" sz="800" kern="0" dirty="0">
                <a:solidFill>
                  <a:srgbClr val="FFFFFF"/>
                </a:solidFill>
              </a:rPr>
              <a:t>. </a:t>
            </a:r>
          </a:p>
          <a:p>
            <a:pPr>
              <a:buClr>
                <a:srgbClr val="FFD200"/>
              </a:buClr>
              <a:buSzPct val="70000"/>
              <a:defRPr/>
            </a:pPr>
            <a:r>
              <a:rPr lang="ru-KZ" sz="800" kern="0" dirty="0">
                <a:solidFill>
                  <a:srgbClr val="FFFFFF"/>
                </a:solidFill>
              </a:rPr>
              <a:t>Все права защищены</a:t>
            </a:r>
            <a:r>
              <a:rPr lang="en-US" sz="800" kern="0" dirty="0">
                <a:solidFill>
                  <a:srgbClr val="FFFFFF"/>
                </a:solidFill>
              </a:rPr>
              <a:t>.</a:t>
            </a:r>
          </a:p>
          <a:p>
            <a:pPr>
              <a:buClr>
                <a:srgbClr val="FFD200"/>
              </a:buClr>
              <a:buSzPct val="70000"/>
              <a:defRPr/>
            </a:pPr>
            <a:endParaRPr lang="en-US" sz="800" kern="0" dirty="0">
              <a:solidFill>
                <a:srgbClr val="FFFFFF"/>
              </a:solidFill>
            </a:endParaRPr>
          </a:p>
          <a:p>
            <a:pPr>
              <a:buClr>
                <a:srgbClr val="FFD200"/>
              </a:buClr>
              <a:buSzPct val="70000"/>
              <a:defRPr/>
            </a:pPr>
            <a:r>
              <a:rPr lang="en-US" sz="800" kern="0" dirty="0">
                <a:solidFill>
                  <a:srgbClr val="FFFFFF"/>
                </a:solidFill>
              </a:rPr>
              <a:t>ED None.</a:t>
            </a:r>
          </a:p>
          <a:p>
            <a:pPr>
              <a:buClr>
                <a:srgbClr val="FFD200"/>
              </a:buClr>
              <a:buSzPct val="70000"/>
              <a:defRPr/>
            </a:pPr>
            <a:endParaRPr lang="en-US" sz="800" kern="0" dirty="0">
              <a:solidFill>
                <a:srgbClr val="FFFFFF"/>
              </a:solidFill>
            </a:endParaRPr>
          </a:p>
          <a:p>
            <a:pPr lvl="0">
              <a:buClr>
                <a:srgbClr val="FFD200"/>
              </a:buClr>
              <a:buSzPct val="70000"/>
              <a:defRPr/>
            </a:pPr>
            <a:r>
              <a:rPr lang="ru-RU" sz="700" kern="0" dirty="0">
                <a:solidFill>
                  <a:srgbClr val="FFFFFF"/>
                </a:solidFill>
              </a:rPr>
              <a:t>Данный материал подготовлен исключительно в целях представления общей информации и не предназначен для использования в качестве консультации по бухгалтерским, налоговым, юридическим или иным вопросам. </a:t>
            </a:r>
            <a:br>
              <a:rPr lang="ru-KZ" sz="700" kern="0" dirty="0">
                <a:solidFill>
                  <a:srgbClr val="FFFFFF"/>
                </a:solidFill>
              </a:rPr>
            </a:br>
            <a:r>
              <a:rPr lang="ru-RU" sz="700" kern="0" dirty="0">
                <a:solidFill>
                  <a:srgbClr val="FFFFFF"/>
                </a:solidFill>
              </a:rPr>
              <a:t>Для получения рекомендаций по конкретному вопросу, пожалуйста, обратитесь к своим консультантам.</a:t>
            </a:r>
            <a:endParaRPr lang="en-US" sz="700" kern="0" dirty="0">
              <a:solidFill>
                <a:srgbClr val="FFFFFF"/>
              </a:solidFill>
            </a:endParaRPr>
          </a:p>
          <a:p>
            <a:pPr lvl="0">
              <a:spcAft>
                <a:spcPts val="600"/>
              </a:spcAft>
              <a:buClr>
                <a:srgbClr val="FFD200"/>
              </a:buClr>
              <a:buSzPct val="70000"/>
              <a:defRPr/>
            </a:pPr>
            <a:endParaRPr lang="en-US" sz="1100" kern="0" dirty="0">
              <a:solidFill>
                <a:srgbClr val="FFFFFF"/>
              </a:solidFill>
              <a:latin typeface="EYInterstate" panose="02000503020000020004" pitchFamily="2" charset="0"/>
            </a:endParaRPr>
          </a:p>
          <a:p>
            <a:pPr lvl="0">
              <a:spcAft>
                <a:spcPts val="600"/>
              </a:spcAft>
              <a:buClr>
                <a:srgbClr val="FFD200"/>
              </a:buClr>
              <a:buSzPct val="70000"/>
              <a:defRPr/>
            </a:pPr>
            <a:r>
              <a:rPr lang="en-US" sz="1100" kern="0" dirty="0">
                <a:solidFill>
                  <a:srgbClr val="FFFFFF"/>
                </a:solidFill>
                <a:latin typeface="EYInterstate" panose="02000503020000020004" pitchFamily="2" charset="0"/>
              </a:rPr>
              <a:t>ey.com/kz</a:t>
            </a:r>
          </a:p>
        </p:txBody>
      </p:sp>
    </p:spTree>
    <p:extLst>
      <p:ext uri="{BB962C8B-B14F-4D97-AF65-F5344CB8AC3E}">
        <p14:creationId xmlns:p14="http://schemas.microsoft.com/office/powerpoint/2010/main" val="3038804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143F9F-7AAA-A834-B40F-71DDFFAFD0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F31629E6-CFEC-551B-F494-B01BEABCB1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0A75F3AF-5467-B960-6EFC-DCEB52CE4F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EC07226-B129-E8D3-4F2F-E4958C83C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15E5FDB-F478-B60E-89C4-C1E20E5DAF60}"/>
              </a:ext>
            </a:extLst>
          </p:cNvPr>
          <p:cNvSpPr/>
          <p:nvPr/>
        </p:nvSpPr>
        <p:spPr bwMode="auto">
          <a:xfrm>
            <a:off x="287973" y="1146152"/>
            <a:ext cx="4294421" cy="5090108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glow>
              <a:schemeClr val="accent1"/>
            </a:glow>
            <a:outerShdw blurRad="1270000" dist="23000" sx="1000" sy="1000" rotWithShape="0">
              <a:srgbClr val="000000"/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2" rtlCol="0" anchor="t" anchorCtr="0" compatLnSpc="1">
            <a:prstTxWarp prst="textNoShape">
              <a:avLst/>
            </a:prstTxWarp>
            <a:normAutofit/>
          </a:bodyPr>
          <a:lstStyle/>
          <a:p>
            <a:pPr algn="l"/>
            <a:endParaRPr lang="en-US" sz="1600" b="1" u="sng" dirty="0">
              <a:solidFill>
                <a:schemeClr val="bg2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CB9EB11-3C7C-A330-F08F-6B5FDBC74A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47" y="372111"/>
            <a:ext cx="10972800" cy="590400"/>
          </a:xfrm>
        </p:spPr>
        <p:txBody>
          <a:bodyPr/>
          <a:lstStyle/>
          <a:p>
            <a:r>
              <a:rPr lang="ru-RU" b="1" dirty="0"/>
              <a:t>Цель и требования стандартов МСФО S1 и S2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A21184-E471-F84A-DC86-80244BCD3848}"/>
              </a:ext>
            </a:extLst>
          </p:cNvPr>
          <p:cNvSpPr txBox="1"/>
          <p:nvPr/>
        </p:nvSpPr>
        <p:spPr>
          <a:xfrm>
            <a:off x="352733" y="1198938"/>
            <a:ext cx="429442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Стандарты МСФО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 S1/S2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были созданы на основе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с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тандарто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в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ASB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и рекомендаци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й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CFD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6B3FEC-D249-9D98-75DC-3FD3C5CF9A8D}"/>
              </a:ext>
            </a:extLst>
          </p:cNvPr>
          <p:cNvSpPr txBox="1"/>
          <p:nvPr/>
        </p:nvSpPr>
        <p:spPr>
          <a:xfrm>
            <a:off x="1898131" y="3944295"/>
            <a:ext cx="2497923" cy="149887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lang="ru-RU" sz="1200" b="1" kern="0" dirty="0">
                <a:solidFill>
                  <a:srgbClr val="FFE600"/>
                </a:solidFill>
              </a:rPr>
              <a:t>МСФО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 S2: Раскрытие информации, связанной с климатом, 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тематический стандарт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: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</a:endParaRPr>
          </a:p>
          <a:p>
            <a:pPr marL="342900" marR="0" lvl="0" indent="-342900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10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Риски и возможности, связанные </a:t>
            </a:r>
            <a:r>
              <a:rPr kumimoji="0" lang="ru-RU" sz="1200" b="0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с климатом,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и их финансовый эффект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.</a:t>
            </a:r>
          </a:p>
          <a:p>
            <a:pPr marL="0" marR="0" lvl="0" indent="0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6843EBA-43F7-07AB-95C8-AB9363F9941F}"/>
              </a:ext>
            </a:extLst>
          </p:cNvPr>
          <p:cNvSpPr txBox="1"/>
          <p:nvPr/>
        </p:nvSpPr>
        <p:spPr>
          <a:xfrm>
            <a:off x="1898131" y="1990382"/>
            <a:ext cx="2485979" cy="168353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lang="ru-RU" sz="1200" b="1" kern="0" dirty="0">
                <a:solidFill>
                  <a:srgbClr val="FFE600"/>
                </a:solidFill>
              </a:rPr>
              <a:t>МСФО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</a:rPr>
              <a:t> S1 Общие требования к раскрытию финансовой информации, связанной с устойчивым развитием, 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общий стандарт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: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</a:endParaRPr>
          </a:p>
          <a:p>
            <a:pPr marL="342900" marR="0" lvl="0" indent="-342900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10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Риски и возможности, связанные </a:t>
            </a:r>
            <a:r>
              <a:rPr kumimoji="0" lang="ru-RU" sz="1200" b="0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с устойчивым развитием, </a:t>
            </a:r>
            <a:r>
              <a:rPr kumimoji="0" lang="ru-RU" sz="1200" b="0" i="0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и их в</a:t>
            </a:r>
            <a:r>
              <a:rPr lang="ru-RU" sz="1200" kern="0" dirty="0">
                <a:solidFill>
                  <a:prstClr val="white"/>
                </a:solidFill>
              </a:rPr>
              <a:t>лияние на денежные потоки и стоимость капитала.</a:t>
            </a:r>
            <a:endParaRPr lang="en-US" sz="1200" kern="0" dirty="0">
              <a:solidFill>
                <a:prstClr val="white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29660E-F627-E415-4617-3C6B3EA7D6D5}"/>
              </a:ext>
            </a:extLst>
          </p:cNvPr>
          <p:cNvSpPr txBox="1"/>
          <p:nvPr/>
        </p:nvSpPr>
        <p:spPr>
          <a:xfrm>
            <a:off x="4756531" y="1110276"/>
            <a:ext cx="7172843" cy="47397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338138"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Tx/>
              <a:buChar char="•"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В июне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2023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 года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,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SSB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(</a:t>
            </a: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6F6FA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International Sustainability Standards Board</a:t>
            </a:r>
            <a:r>
              <a:rPr kumimoji="0" lang="ru-RU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6F6FA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)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выпустил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международные стандарты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по раскрытию финансовой информации в области устойчивого развития,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отвечающие потребностям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инвесторов.</a:t>
            </a:r>
          </a:p>
          <a:p>
            <a:pPr indent="338138"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Tx/>
              <a:buChar char="•"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Стандарты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МСФО S1/S2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введены в действие с 1 января 2024 года и по решению местных законодательных органов могут стать и становятся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обязательными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во многих юрисдикциях</a:t>
            </a:r>
            <a:r>
              <a:rPr lang="ru-RU" sz="1600" kern="0" dirty="0">
                <a:solidFill>
                  <a:prstClr val="white"/>
                </a:solidFill>
              </a:rPr>
              <a:t>.</a:t>
            </a:r>
          </a:p>
          <a:p>
            <a:pPr indent="338138"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Tx/>
              <a:buChar char="•"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Крупнейшие мировые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фондовые биржи и банки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поддерживают применение </a:t>
            </a:r>
            <a:r>
              <a:rPr lang="ru-RU" sz="1600" kern="0" dirty="0">
                <a:solidFill>
                  <a:prstClr val="white"/>
                </a:solidFill>
              </a:rPr>
              <a:t>МСФО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S1/S2.</a:t>
            </a:r>
          </a:p>
          <a:p>
            <a:pPr indent="338138"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100000"/>
              <a:buFontTx/>
              <a:buChar char="•"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Финансовый аудит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будет включать раскрытие информации, связанной с устойчивым развитием и климатом, в число ключевых вопросов аудита.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17463" marR="0" lvl="0" indent="3206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110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Раскрытия информации должны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соответствовать данным и допущениям в финансовой отчетности, связанной с ними</a:t>
            </a:r>
            <a:r>
              <a:rPr lang="en-US" sz="1600" b="1" dirty="0">
                <a:solidFill>
                  <a:srgbClr val="FFE600"/>
                </a:solidFill>
                <a:latin typeface="EYInterstate Light" panose="02000506000000020004" pitchFamily="2" charset="0"/>
              </a:rPr>
              <a:t>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  <a:p>
            <a:pPr marL="17463" marR="0" lvl="0" indent="3206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E600"/>
              </a:buClr>
              <a:buSzPct val="110000"/>
              <a:buFont typeface="EYInterstate Light" panose="02000506000000020004" pitchFamily="2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Раскрытия информации должны быть включены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в общую финансовую/годовую отчетность и опубликованы одновременно с финансовой отчетностью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E4D6024-494A-6FAB-9B36-CE12AEA8F75C}"/>
              </a:ext>
            </a:extLst>
          </p:cNvPr>
          <p:cNvGrpSpPr/>
          <p:nvPr/>
        </p:nvGrpSpPr>
        <p:grpSpPr>
          <a:xfrm>
            <a:off x="465508" y="1990382"/>
            <a:ext cx="1107859" cy="901399"/>
            <a:chOff x="4023835" y="3778934"/>
            <a:chExt cx="1371600" cy="85703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D90BC35-A5B9-A947-350A-1B8AC709A5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3835" y="3778934"/>
              <a:ext cx="1371600" cy="365760"/>
            </a:xfrm>
            <a:prstGeom prst="rect">
              <a:avLst/>
            </a:prstGeom>
            <a:solidFill>
              <a:srgbClr val="747480"/>
            </a:solidFill>
            <a:ln w="9525" cap="flat" cmpd="sng" algn="ctr">
              <a:solidFill>
                <a:srgbClr val="74748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82690" rIns="0" bIns="0" anchor="ctr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E600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SASB</a:t>
              </a:r>
            </a:p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8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2" name="TextBox 23">
              <a:extLst>
                <a:ext uri="{FF2B5EF4-FFF2-40B4-BE49-F238E27FC236}">
                  <a16:creationId xmlns:a16="http://schemas.microsoft.com/office/drawing/2014/main" id="{5B8828F5-B12C-365E-AC5F-3B9816301D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23835" y="4128141"/>
              <a:ext cx="1371600" cy="507831"/>
            </a:xfrm>
            <a:prstGeom prst="rect">
              <a:avLst/>
            </a:prstGeom>
            <a:noFill/>
            <a:ln w="3175" algn="ctr">
              <a:solidFill>
                <a:srgbClr val="7474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9pPr>
            </a:lstStyle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6F6FA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Sustainability Accounting Standards Board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8CEC17D-E108-E9B2-1EAD-CF2B0A382628}"/>
              </a:ext>
            </a:extLst>
          </p:cNvPr>
          <p:cNvGrpSpPr/>
          <p:nvPr/>
        </p:nvGrpSpPr>
        <p:grpSpPr>
          <a:xfrm>
            <a:off x="462110" y="3217138"/>
            <a:ext cx="1111257" cy="1024481"/>
            <a:chOff x="5705905" y="3880933"/>
            <a:chExt cx="1371601" cy="652794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75536F3-F9D5-1261-B970-429AC5BFA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9763" y="3880933"/>
              <a:ext cx="1367743" cy="250947"/>
            </a:xfrm>
            <a:prstGeom prst="rect">
              <a:avLst/>
            </a:prstGeom>
            <a:solidFill>
              <a:srgbClr val="747480"/>
            </a:solidFill>
            <a:ln w="9525" cap="flat" cmpd="sng" algn="ctr">
              <a:solidFill>
                <a:srgbClr val="747480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82690" rIns="0" bIns="0" anchor="ctr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>
                  <a:solidFill>
                    <a:srgbClr val="FFE600"/>
                  </a:solidFill>
                  <a:latin typeface="EYInterstate Light"/>
                </a:rPr>
                <a:t>TCFD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8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  <p:sp>
          <p:nvSpPr>
            <p:cNvPr id="15" name="TextBox 42">
              <a:extLst>
                <a:ext uri="{FF2B5EF4-FFF2-40B4-BE49-F238E27FC236}">
                  <a16:creationId xmlns:a16="http://schemas.microsoft.com/office/drawing/2014/main" id="{C2794E8B-8115-2718-4C1C-7736D3249A0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5905" y="4121889"/>
              <a:ext cx="1371601" cy="411838"/>
            </a:xfrm>
            <a:prstGeom prst="rect">
              <a:avLst/>
            </a:prstGeom>
            <a:noFill/>
            <a:ln w="3175" algn="ctr">
              <a:solidFill>
                <a:srgbClr val="7474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9pPr>
            </a:lstStyle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6F6FA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rPr>
                <a:t>Task Force on Climate-related Financial Disclosures</a:t>
              </a:r>
            </a:p>
          </p:txBody>
        </p:sp>
      </p:grpSp>
      <p:grpSp>
        <p:nvGrpSpPr>
          <p:cNvPr id="16" name="Group 37">
            <a:extLst>
              <a:ext uri="{FF2B5EF4-FFF2-40B4-BE49-F238E27FC236}">
                <a16:creationId xmlns:a16="http://schemas.microsoft.com/office/drawing/2014/main" id="{4AF01481-2964-B7AE-04D8-37E9EDAE5B76}"/>
              </a:ext>
            </a:extLst>
          </p:cNvPr>
          <p:cNvGrpSpPr>
            <a:grpSpLocks/>
          </p:cNvGrpSpPr>
          <p:nvPr/>
        </p:nvGrpSpPr>
        <p:grpSpPr bwMode="auto">
          <a:xfrm>
            <a:off x="474925" y="4582928"/>
            <a:ext cx="1104385" cy="1030444"/>
            <a:chOff x="7139114" y="2206897"/>
            <a:chExt cx="1244616" cy="817975"/>
          </a:xfrm>
        </p:grpSpPr>
        <p:sp>
          <p:nvSpPr>
            <p:cNvPr id="21" name="TextBox 39">
              <a:extLst>
                <a:ext uri="{FF2B5EF4-FFF2-40B4-BE49-F238E27FC236}">
                  <a16:creationId xmlns:a16="http://schemas.microsoft.com/office/drawing/2014/main" id="{4A6EE485-55D1-B5C4-0F0F-85D328577D8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39114" y="2511809"/>
              <a:ext cx="1239511" cy="513063"/>
            </a:xfrm>
            <a:prstGeom prst="rect">
              <a:avLst/>
            </a:prstGeom>
            <a:noFill/>
            <a:ln w="3175" algn="ctr">
              <a:solidFill>
                <a:srgbClr val="FFE6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EYInterstate Light" panose="02000506000000020004" pitchFamily="2" charset="0"/>
                </a:defRPr>
              </a:lvl9pPr>
            </a:lstStyle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dirty="0">
                  <a:solidFill>
                    <a:srgbClr val="F6F6FA"/>
                  </a:solidFill>
                </a:rPr>
                <a:t>International Financial Reporting Standards S1/S2</a:t>
              </a:r>
              <a:endParaRPr lang="en-US" altLang="en-US" sz="900" dirty="0">
                <a:solidFill>
                  <a:srgbClr val="F6F6FA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2C92CE2-8E7C-9B8D-EC7B-218A39C0DAB3}"/>
                </a:ext>
              </a:extLst>
            </p:cNvPr>
            <p:cNvSpPr>
              <a:spLocks/>
            </p:cNvSpPr>
            <p:nvPr/>
          </p:nvSpPr>
          <p:spPr>
            <a:xfrm>
              <a:off x="7144219" y="2206897"/>
              <a:ext cx="1239511" cy="317761"/>
            </a:xfrm>
            <a:prstGeom prst="rect">
              <a:avLst/>
            </a:prstGeom>
            <a:solidFill>
              <a:srgbClr val="FFE600"/>
            </a:solidFill>
            <a:ln w="9525" cap="flat" cmpd="sng" algn="ctr">
              <a:solidFill>
                <a:schemeClr val="tx2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82690" rIns="0" bIns="0" anchor="ctr"/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  IFRS S1/S2</a:t>
              </a:r>
              <a:r>
                <a:rPr kumimoji="0" lang="uk-UA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/>
                  <a:ea typeface="+mn-ea"/>
                  <a:cs typeface="+mn-cs"/>
                </a:rPr>
                <a:t>        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8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24566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663943-4F87-4C92-9198-0F3CE6D51B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02CCA3EC-A502-6A6D-1B46-2295D9D22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0AB03A08-C1BD-4338-EB84-4D311EC497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14459D4-398A-CAD8-4B37-EA61F356C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C30E3-FFE5-4B91-AA19-87A149EBB9EE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2C36D4B-B832-8171-F0DF-A8A2C4B05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46" y="372111"/>
            <a:ext cx="11439553" cy="590400"/>
          </a:xfrm>
        </p:spPr>
        <p:txBody>
          <a:bodyPr/>
          <a:lstStyle/>
          <a:p>
            <a:r>
              <a:rPr lang="ru-RU" dirty="0"/>
              <a:t>МСФО</a:t>
            </a:r>
            <a:r>
              <a:rPr lang="en-US" sz="3600" dirty="0"/>
              <a:t> S1/S2 </a:t>
            </a:r>
            <a:r>
              <a:rPr lang="ru-RU" sz="3600" dirty="0"/>
              <a:t>связаны </a:t>
            </a:r>
            <a:r>
              <a:rPr lang="ru-RU" dirty="0"/>
              <a:t>с</a:t>
            </a:r>
            <a:r>
              <a:rPr lang="ru-RU" sz="3600" dirty="0"/>
              <a:t> другими стандартами</a:t>
            </a:r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DC0F0F7-6E3A-CB1E-A1A9-61DDF063044A}"/>
              </a:ext>
            </a:extLst>
          </p:cNvPr>
          <p:cNvGrpSpPr/>
          <p:nvPr/>
        </p:nvGrpSpPr>
        <p:grpSpPr>
          <a:xfrm>
            <a:off x="590981" y="1802522"/>
            <a:ext cx="1679550" cy="3038510"/>
            <a:chOff x="4539954" y="1394207"/>
            <a:chExt cx="1679550" cy="3038510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B8D46DB-7DE5-C6F4-2F73-9B903DBE0F98}"/>
                </a:ext>
              </a:extLst>
            </p:cNvPr>
            <p:cNvSpPr/>
            <p:nvPr/>
          </p:nvSpPr>
          <p:spPr>
            <a:xfrm>
              <a:off x="4539954" y="1394207"/>
              <a:ext cx="1679550" cy="1679550"/>
            </a:xfrm>
            <a:custGeom>
              <a:avLst/>
              <a:gdLst>
                <a:gd name="connsiteX0" fmla="*/ 0 w 1679550"/>
                <a:gd name="connsiteY0" fmla="*/ 839775 h 1679550"/>
                <a:gd name="connsiteX1" fmla="*/ 839775 w 1679550"/>
                <a:gd name="connsiteY1" fmla="*/ 0 h 1679550"/>
                <a:gd name="connsiteX2" fmla="*/ 1679550 w 1679550"/>
                <a:gd name="connsiteY2" fmla="*/ 839775 h 1679550"/>
                <a:gd name="connsiteX3" fmla="*/ 839775 w 1679550"/>
                <a:gd name="connsiteY3" fmla="*/ 1679550 h 1679550"/>
                <a:gd name="connsiteX4" fmla="*/ 0 w 1679550"/>
                <a:gd name="connsiteY4" fmla="*/ 839775 h 167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9550" h="1679550">
                  <a:moveTo>
                    <a:pt x="0" y="839775"/>
                  </a:moveTo>
                  <a:cubicBezTo>
                    <a:pt x="0" y="375980"/>
                    <a:pt x="375980" y="0"/>
                    <a:pt x="839775" y="0"/>
                  </a:cubicBezTo>
                  <a:cubicBezTo>
                    <a:pt x="1303570" y="0"/>
                    <a:pt x="1679550" y="375980"/>
                    <a:pt x="1679550" y="839775"/>
                  </a:cubicBezTo>
                  <a:cubicBezTo>
                    <a:pt x="1679550" y="1303570"/>
                    <a:pt x="1303570" y="1679550"/>
                    <a:pt x="839775" y="1679550"/>
                  </a:cubicBezTo>
                  <a:cubicBezTo>
                    <a:pt x="375980" y="1679550"/>
                    <a:pt x="0" y="1303570"/>
                    <a:pt x="0" y="839775"/>
                  </a:cubicBezTo>
                  <a:close/>
                </a:path>
              </a:pathLst>
            </a:custGeom>
          </p:spPr>
          <p:style>
            <a:lnRef idx="2">
              <a:schemeClr val="dk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338395" tIns="261204" rIns="338395" bIns="261204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>
                  <a:schemeClr val="tx2"/>
                </a:buClr>
                <a:buSzPct val="100000"/>
                <a:buNone/>
              </a:pPr>
              <a:r>
                <a:rPr lang="ru-RU" sz="1200" kern="1200" dirty="0">
                  <a:solidFill>
                    <a:schemeClr val="bg1"/>
                  </a:solidFill>
                </a:rPr>
                <a:t>Финансовая</a:t>
              </a:r>
              <a:br>
                <a:rPr lang="ru-RU" sz="1200" kern="1200" dirty="0">
                  <a:solidFill>
                    <a:schemeClr val="bg1"/>
                  </a:solidFill>
                </a:rPr>
              </a:br>
              <a:r>
                <a:rPr lang="ru-RU" sz="1200" kern="1200" dirty="0">
                  <a:solidFill>
                    <a:schemeClr val="bg1"/>
                  </a:solidFill>
                </a:rPr>
                <a:t>отчетность</a:t>
              </a:r>
              <a:endParaRPr lang="en-US" sz="1200" kern="12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221177F-57C6-5038-E299-E0C141232A25}"/>
                </a:ext>
              </a:extLst>
            </p:cNvPr>
            <p:cNvSpPr/>
            <p:nvPr/>
          </p:nvSpPr>
          <p:spPr>
            <a:xfrm>
              <a:off x="4539954" y="2753167"/>
              <a:ext cx="1679550" cy="1679550"/>
            </a:xfrm>
            <a:custGeom>
              <a:avLst/>
              <a:gdLst>
                <a:gd name="connsiteX0" fmla="*/ 0 w 1679550"/>
                <a:gd name="connsiteY0" fmla="*/ 839775 h 1679550"/>
                <a:gd name="connsiteX1" fmla="*/ 839775 w 1679550"/>
                <a:gd name="connsiteY1" fmla="*/ 0 h 1679550"/>
                <a:gd name="connsiteX2" fmla="*/ 1679550 w 1679550"/>
                <a:gd name="connsiteY2" fmla="*/ 839775 h 1679550"/>
                <a:gd name="connsiteX3" fmla="*/ 839775 w 1679550"/>
                <a:gd name="connsiteY3" fmla="*/ 1679550 h 1679550"/>
                <a:gd name="connsiteX4" fmla="*/ 0 w 1679550"/>
                <a:gd name="connsiteY4" fmla="*/ 839775 h 167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9550" h="1679550">
                  <a:moveTo>
                    <a:pt x="0" y="839775"/>
                  </a:moveTo>
                  <a:cubicBezTo>
                    <a:pt x="0" y="375980"/>
                    <a:pt x="375980" y="0"/>
                    <a:pt x="839775" y="0"/>
                  </a:cubicBezTo>
                  <a:cubicBezTo>
                    <a:pt x="1303570" y="0"/>
                    <a:pt x="1679550" y="375980"/>
                    <a:pt x="1679550" y="839775"/>
                  </a:cubicBezTo>
                  <a:cubicBezTo>
                    <a:pt x="1679550" y="1303570"/>
                    <a:pt x="1303570" y="1679550"/>
                    <a:pt x="839775" y="1679550"/>
                  </a:cubicBezTo>
                  <a:cubicBezTo>
                    <a:pt x="375980" y="1679550"/>
                    <a:pt x="0" y="1303570"/>
                    <a:pt x="0" y="839775"/>
                  </a:cubicBezTo>
                  <a:close/>
                </a:path>
              </a:pathLst>
            </a:custGeom>
          </p:spPr>
          <p:style>
            <a:lnRef idx="2">
              <a:schemeClr val="dk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338395" tIns="261204" rIns="338395" bIns="261204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>
                  <a:schemeClr val="tx2"/>
                </a:buClr>
                <a:buSzPct val="100000"/>
                <a:buNone/>
              </a:pPr>
              <a:r>
                <a:rPr lang="ru-RU" sz="1200" kern="1200" dirty="0">
                  <a:solidFill>
                    <a:schemeClr val="bg1"/>
                  </a:solidFill>
                </a:rPr>
                <a:t>Раскрытие финансовой информации, связанной с устойчивым развитием </a:t>
              </a:r>
              <a:endParaRPr lang="en-US" sz="1200" kern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02E93EF-12EA-E3CB-7880-58FD35507D48}"/>
              </a:ext>
            </a:extLst>
          </p:cNvPr>
          <p:cNvSpPr txBox="1"/>
          <p:nvPr/>
        </p:nvSpPr>
        <p:spPr>
          <a:xfrm>
            <a:off x="2365353" y="1735392"/>
            <a:ext cx="1817913" cy="32778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1050" i="1" dirty="0">
                <a:solidFill>
                  <a:schemeClr val="bg1"/>
                </a:solidFill>
              </a:rPr>
              <a:t>Информация, требуемая по </a:t>
            </a:r>
            <a:r>
              <a:rPr lang="en-US" sz="1050" i="1" dirty="0">
                <a:solidFill>
                  <a:schemeClr val="bg1"/>
                </a:solidFill>
              </a:rPr>
              <a:t>IFRS Accounting Standard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EC32EC7-9503-3B7B-9E1E-DD19F06312C7}"/>
              </a:ext>
            </a:extLst>
          </p:cNvPr>
          <p:cNvSpPr txBox="1"/>
          <p:nvPr/>
        </p:nvSpPr>
        <p:spPr>
          <a:xfrm>
            <a:off x="2898704" y="2360270"/>
            <a:ext cx="2148811" cy="535531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1200" dirty="0">
                <a:solidFill>
                  <a:schemeClr val="bg1"/>
                </a:solidFill>
              </a:rPr>
              <a:t>Информация об активах, обязательствах, доходах и расходах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74A5EC8-3DA2-8888-E238-8B66FB1B275B}"/>
              </a:ext>
            </a:extLst>
          </p:cNvPr>
          <p:cNvSpPr txBox="1"/>
          <p:nvPr/>
        </p:nvSpPr>
        <p:spPr>
          <a:xfrm>
            <a:off x="2365353" y="4626006"/>
            <a:ext cx="2259728" cy="327782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1050" i="1" dirty="0">
                <a:solidFill>
                  <a:schemeClr val="bg1"/>
                </a:solidFill>
              </a:rPr>
              <a:t>Информация, требуемая по </a:t>
            </a:r>
            <a:r>
              <a:rPr lang="en-US" sz="1050" i="1" dirty="0">
                <a:solidFill>
                  <a:schemeClr val="bg1"/>
                </a:solidFill>
              </a:rPr>
              <a:t>IFRS Sustainability Disclosure Standard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04701C5-C4F0-3946-7BCC-8DDACF086E4B}"/>
              </a:ext>
            </a:extLst>
          </p:cNvPr>
          <p:cNvSpPr txBox="1"/>
          <p:nvPr/>
        </p:nvSpPr>
        <p:spPr>
          <a:xfrm>
            <a:off x="2898704" y="3987042"/>
            <a:ext cx="2331776" cy="535531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1200" dirty="0">
                <a:solidFill>
                  <a:schemeClr val="bg1"/>
                </a:solidFill>
              </a:rPr>
              <a:t>Информация о рисках и возможностях, связанных с устойчивым развитием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9D3FF4A-3AEF-B7A6-196F-003C4E74D058}"/>
              </a:ext>
            </a:extLst>
          </p:cNvPr>
          <p:cNvSpPr txBox="1"/>
          <p:nvPr/>
        </p:nvSpPr>
        <p:spPr>
          <a:xfrm>
            <a:off x="2439740" y="2972514"/>
            <a:ext cx="3068487" cy="701731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1200" dirty="0">
                <a:solidFill>
                  <a:schemeClr val="tx2"/>
                </a:solidFill>
              </a:rPr>
              <a:t>Информация о влиянии рисков и возможностей, связанных с устойчивым развитием, на активы, обязательства, собственный капитал, доходы и расходы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3A72E7E0-D92F-1157-6923-C87D42587C80}"/>
              </a:ext>
            </a:extLst>
          </p:cNvPr>
          <p:cNvCxnSpPr>
            <a:cxnSpLocks/>
          </p:cNvCxnSpPr>
          <p:nvPr/>
        </p:nvCxnSpPr>
        <p:spPr>
          <a:xfrm>
            <a:off x="2047206" y="2628036"/>
            <a:ext cx="698500" cy="0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4213FEAA-03C3-A1B8-11DF-7CC1764D15A2}"/>
              </a:ext>
            </a:extLst>
          </p:cNvPr>
          <p:cNvCxnSpPr>
            <a:cxnSpLocks/>
          </p:cNvCxnSpPr>
          <p:nvPr/>
        </p:nvCxnSpPr>
        <p:spPr>
          <a:xfrm>
            <a:off x="2052765" y="4253101"/>
            <a:ext cx="698500" cy="0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3" name="Table 42">
            <a:extLst>
              <a:ext uri="{FF2B5EF4-FFF2-40B4-BE49-F238E27FC236}">
                <a16:creationId xmlns:a16="http://schemas.microsoft.com/office/drawing/2014/main" id="{44E8EAFC-A1FB-B3F0-793B-8A3664B694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0563643"/>
              </p:ext>
            </p:extLst>
          </p:nvPr>
        </p:nvGraphicFramePr>
        <p:xfrm>
          <a:off x="5710039" y="1579552"/>
          <a:ext cx="5943593" cy="43967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81772">
                  <a:extLst>
                    <a:ext uri="{9D8B030D-6E8A-4147-A177-3AD203B41FA5}">
                      <a16:colId xmlns:a16="http://schemas.microsoft.com/office/drawing/2014/main" val="1036842910"/>
                    </a:ext>
                  </a:extLst>
                </a:gridCol>
                <a:gridCol w="3661821">
                  <a:extLst>
                    <a:ext uri="{9D8B030D-6E8A-4147-A177-3AD203B41FA5}">
                      <a16:colId xmlns:a16="http://schemas.microsoft.com/office/drawing/2014/main" val="2707297982"/>
                    </a:ext>
                  </a:extLst>
                </a:gridCol>
              </a:tblGrid>
              <a:tr h="8842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</a:rPr>
                        <a:t>TCFD - Task Force on Climate-Related Financial Disclosures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+mn-lt"/>
                        </a:rPr>
                        <a:t>Основные элементы TCFD </a:t>
                      </a:r>
                      <a:r>
                        <a:rPr lang="ru-RU" sz="1200" dirty="0">
                          <a:solidFill>
                            <a:schemeClr val="bg1"/>
                          </a:solidFill>
                          <a:latin typeface="+mn-lt"/>
                        </a:rPr>
                        <a:t>(управление, стратегия, риск-менеджмент, метрики и цели) 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+mn-lt"/>
                        </a:rPr>
                        <a:t>легли в основу МСФО S1 и S2 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677465"/>
                  </a:ext>
                </a:extLst>
              </a:tr>
              <a:tr h="14826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SASB - Sustainability Accounting Standards Board</a:t>
                      </a:r>
                      <a:endParaRPr lang="uk-UA" sz="12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chemeClr val="bg1"/>
                          </a:solidFill>
                        </a:rPr>
                        <a:t>Стандарты SASB стали интегральной частью МСФО S1/S2. Так, </a:t>
                      </a:r>
                      <a:r>
                        <a:rPr lang="ru-RU" sz="1200" dirty="0">
                          <a:solidFill>
                            <a:schemeClr val="bg1"/>
                          </a:solidFill>
                          <a:latin typeface="+mn-lt"/>
                        </a:rPr>
                        <a:t>МСФО S1 и 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latin typeface="+mn-lt"/>
                        </a:rPr>
                        <a:t>S2 </a:t>
                      </a:r>
                      <a:r>
                        <a:rPr lang="ru-RU" sz="1200" dirty="0">
                          <a:solidFill>
                            <a:schemeClr val="bg1"/>
                          </a:solidFill>
                          <a:latin typeface="+mn-lt"/>
                        </a:rPr>
                        <a:t>требуют рассмотреть применимость существенных тем и показателей SASB при определении отраслевых рисков и возможностей, связанных с устойчивым развитием и климатом соответственно.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7895422"/>
                  </a:ext>
                </a:extLst>
              </a:tr>
              <a:tr h="9210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</a:rPr>
                        <a:t>GRI - Global Reporting Initiative</a:t>
                      </a:r>
                      <a:endParaRPr lang="uk-UA" sz="12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+mn-lt"/>
                        </a:rPr>
                        <a:t>МСФО</a:t>
                      </a:r>
                      <a:r>
                        <a:rPr lang="en-GB" sz="1200" dirty="0">
                          <a:solidFill>
                            <a:schemeClr val="bg1"/>
                          </a:solidFill>
                          <a:latin typeface="+mn-lt"/>
                        </a:rPr>
                        <a:t> S1/S2 </a:t>
                      </a:r>
                      <a:r>
                        <a:rPr lang="ru-RU" sz="1200" dirty="0">
                          <a:solidFill>
                            <a:schemeClr val="bg1"/>
                          </a:solidFill>
                          <a:latin typeface="+mn-lt"/>
                        </a:rPr>
                        <a:t>допускает и поощряет раскрытие нефинансовой информации согласно стандарту </a:t>
                      </a:r>
                      <a:r>
                        <a:rPr lang="en-GB" sz="1200" dirty="0">
                          <a:solidFill>
                            <a:schemeClr val="bg1"/>
                          </a:solidFill>
                          <a:latin typeface="+mn-lt"/>
                        </a:rPr>
                        <a:t>GRI</a:t>
                      </a:r>
                      <a:r>
                        <a:rPr lang="ru-RU" sz="1200" dirty="0">
                          <a:solidFill>
                            <a:schemeClr val="bg1"/>
                          </a:solidFill>
                          <a:latin typeface="+mn-lt"/>
                        </a:rPr>
                        <a:t> для более комплексного охвата существенных для организаций тем.</a:t>
                      </a:r>
                      <a:endParaRPr lang="en-US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2469957"/>
                  </a:ext>
                </a:extLst>
              </a:tr>
              <a:tr h="11089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+mn-lt"/>
                        </a:rPr>
                        <a:t>ESRS - European Sustainability Reporting Standards</a:t>
                      </a:r>
                      <a:endParaRPr lang="uk-UA" sz="12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+mn-lt"/>
                        </a:rPr>
                        <a:t>МСФО</a:t>
                      </a:r>
                      <a:r>
                        <a:rPr lang="en-GB" sz="1200" dirty="0">
                          <a:solidFill>
                            <a:schemeClr val="bg1"/>
                          </a:solidFill>
                          <a:latin typeface="+mn-lt"/>
                        </a:rPr>
                        <a:t> S1/S2 </a:t>
                      </a:r>
                      <a:r>
                        <a:rPr lang="ru-RU" sz="1200" dirty="0">
                          <a:solidFill>
                            <a:schemeClr val="bg1"/>
                          </a:solidFill>
                          <a:latin typeface="+mn-lt"/>
                        </a:rPr>
                        <a:t>согласуются с раскрытиями информации об управлении и стратегии с Европейскими стандартами </a:t>
                      </a:r>
                      <a:r>
                        <a:rPr lang="en-GB" sz="1200" dirty="0">
                          <a:solidFill>
                            <a:schemeClr val="bg1"/>
                          </a:solidFill>
                          <a:latin typeface="+mn-lt"/>
                        </a:rPr>
                        <a:t>ESRS</a:t>
                      </a:r>
                      <a:r>
                        <a:rPr lang="ru-RU" sz="1200" dirty="0">
                          <a:solidFill>
                            <a:schemeClr val="bg1"/>
                          </a:solidFill>
                          <a:latin typeface="+mn-lt"/>
                        </a:rPr>
                        <a:t>.</a:t>
                      </a:r>
                      <a:endParaRPr lang="en-US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4659715"/>
                  </a:ext>
                </a:extLst>
              </a:tr>
            </a:tbl>
          </a:graphicData>
        </a:graphic>
      </p:graphicFrame>
      <p:pic>
        <p:nvPicPr>
          <p:cNvPr id="45" name="Picture 6" descr="Global Reporting Initiative (GRI) Logo Vector PNG">
            <a:extLst>
              <a:ext uri="{FF2B5EF4-FFF2-40B4-BE49-F238E27FC236}">
                <a16:creationId xmlns:a16="http://schemas.microsoft.com/office/drawing/2014/main" id="{02FF4E0B-18F1-0411-521D-3759D87585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250" b="97750" l="10000" r="90000">
                        <a14:foregroundMark x1="43167" y1="7000" x2="36500" y2="10750"/>
                        <a14:foregroundMark x1="65167" y1="41000" x2="65167" y2="41000"/>
                        <a14:foregroundMark x1="69000" y1="45000" x2="53833" y2="41000"/>
                        <a14:foregroundMark x1="53833" y1="41000" x2="43500" y2="49000"/>
                        <a14:foregroundMark x1="43500" y1="49000" x2="56667" y2="48750"/>
                        <a14:foregroundMark x1="56667" y1="48750" x2="67500" y2="43250"/>
                        <a14:foregroundMark x1="67500" y1="43250" x2="76500" y2="43750"/>
                        <a14:foregroundMark x1="76500" y1="43750" x2="76000" y2="56250"/>
                        <a14:foregroundMark x1="76000" y1="56250" x2="78667" y2="41500"/>
                        <a14:foregroundMark x1="78667" y1="41500" x2="78167" y2="35000"/>
                        <a14:foregroundMark x1="51667" y1="41000" x2="44167" y2="62500"/>
                        <a14:foregroundMark x1="44167" y1="62500" x2="63000" y2="61000"/>
                        <a14:foregroundMark x1="63000" y1="61000" x2="72167" y2="44000"/>
                        <a14:foregroundMark x1="72167" y1="44000" x2="64667" y2="57000"/>
                        <a14:foregroundMark x1="64667" y1="57000" x2="53500" y2="58750"/>
                        <a14:foregroundMark x1="53500" y1="58750" x2="46667" y2="50000"/>
                        <a14:foregroundMark x1="46667" y1="50000" x2="54167" y2="43250"/>
                        <a14:foregroundMark x1="54167" y1="43250" x2="71000" y2="59250"/>
                        <a14:foregroundMark x1="71000" y1="59250" x2="63333" y2="65500"/>
                        <a14:foregroundMark x1="63333" y1="65500" x2="49000" y2="52750"/>
                        <a14:foregroundMark x1="49000" y1="52750" x2="41167" y2="57250"/>
                        <a14:foregroundMark x1="41167" y1="57250" x2="51333" y2="46750"/>
                        <a14:foregroundMark x1="51333" y1="46750" x2="72167" y2="52500"/>
                        <a14:foregroundMark x1="72167" y1="52500" x2="65000" y2="66250"/>
                        <a14:foregroundMark x1="65000" y1="66250" x2="43833" y2="44250"/>
                        <a14:foregroundMark x1="43833" y1="44250" x2="49500" y2="53750"/>
                        <a14:foregroundMark x1="49500" y1="53750" x2="62500" y2="49500"/>
                        <a14:foregroundMark x1="62500" y1="49500" x2="68000" y2="57250"/>
                        <a14:foregroundMark x1="48167" y1="41500" x2="35667" y2="47000"/>
                        <a14:foregroundMark x1="35667" y1="47000" x2="49500" y2="39500"/>
                        <a14:foregroundMark x1="49500" y1="39500" x2="53167" y2="41000"/>
                        <a14:foregroundMark x1="47667" y1="92250" x2="48500" y2="92000"/>
                        <a14:foregroundMark x1="50000" y1="97750" x2="50000" y2="97750"/>
                        <a14:foregroundMark x1="48667" y1="1250" x2="48667" y2="1250"/>
                        <a14:backgroundMark x1="52667" y1="0" x2="52667" y2="0"/>
                        <a14:backgroundMark x1="46167" y1="250" x2="46167" y2="250"/>
                        <a14:backgroundMark x1="46833" y1="250" x2="47000" y2="250"/>
                        <a14:backgroundMark x1="48000" y1="250" x2="53167" y2="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0189" y="4171026"/>
            <a:ext cx="9144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0">
            <a:extLst>
              <a:ext uri="{FF2B5EF4-FFF2-40B4-BE49-F238E27FC236}">
                <a16:creationId xmlns:a16="http://schemas.microsoft.com/office/drawing/2014/main" id="{B92CF48A-6308-9CBB-C8A8-AF95972E25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004" b="-14017"/>
          <a:stretch/>
        </p:blipFill>
        <p:spPr bwMode="auto">
          <a:xfrm>
            <a:off x="7104469" y="2106757"/>
            <a:ext cx="817521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8">
            <a:extLst>
              <a:ext uri="{FF2B5EF4-FFF2-40B4-BE49-F238E27FC236}">
                <a16:creationId xmlns:a16="http://schemas.microsoft.com/office/drawing/2014/main" id="{66071AED-9E41-5E70-4ABB-F4481BA7CE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0581" y="5580707"/>
            <a:ext cx="1331409" cy="266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BA9B15C9-9FE8-0430-2A30-897093F642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359" b="96870" l="1681" r="98167">
                        <a14:foregroundMark x1="52636" y1="4351" x2="24752" y2="13053"/>
                        <a14:foregroundMark x1="24752" y1="13053" x2="7334" y2="43206"/>
                        <a14:foregroundMark x1="7334" y1="43206" x2="9702" y2="76947"/>
                        <a14:foregroundMark x1="9702" y1="76947" x2="43927" y2="93511"/>
                        <a14:foregroundMark x1="43927" y1="93511" x2="58212" y2="91908"/>
                        <a14:foregroundMark x1="58212" y1="91908" x2="79603" y2="79008"/>
                        <a14:foregroundMark x1="79603" y1="79008" x2="94423" y2="57252"/>
                        <a14:foregroundMark x1="94423" y1="57252" x2="92590" y2="42595"/>
                        <a14:foregroundMark x1="92590" y1="42595" x2="84645" y2="33053"/>
                        <a14:foregroundMark x1="84645" y1="33053" x2="77846" y2="16870"/>
                        <a14:foregroundMark x1="77846" y1="16870" x2="54775" y2="5802"/>
                        <a14:foregroundMark x1="54775" y1="5802" x2="71811" y2="18244"/>
                        <a14:foregroundMark x1="71811" y1="18244" x2="50573" y2="11069"/>
                        <a14:foregroundMark x1="50573" y1="11069" x2="22460" y2="18779"/>
                        <a14:foregroundMark x1="22460" y1="18779" x2="14820" y2="56565"/>
                        <a14:foregroundMark x1="14820" y1="56565" x2="17800" y2="72595"/>
                        <a14:foregroundMark x1="17800" y1="72595" x2="56303" y2="86641"/>
                        <a14:foregroundMark x1="56303" y1="86641" x2="81131" y2="78321"/>
                        <a14:foregroundMark x1="81131" y1="78321" x2="85943" y2="52901"/>
                        <a14:foregroundMark x1="85943" y1="52901" x2="75859" y2="34198"/>
                        <a14:foregroundMark x1="75859" y1="34198" x2="64095" y2="27863"/>
                        <a14:foregroundMark x1="24752" y1="75878" x2="42399" y2="85344"/>
                        <a14:foregroundMark x1="42399" y1="85344" x2="29717" y2="84733"/>
                        <a14:foregroundMark x1="29717" y1="84733" x2="10390" y2="70611"/>
                        <a14:foregroundMark x1="10390" y1="70611" x2="2750" y2="54580"/>
                        <a14:foregroundMark x1="2750" y1="54580" x2="4660" y2="41679"/>
                        <a14:foregroundMark x1="4660" y1="41679" x2="15202" y2="25649"/>
                        <a14:foregroundMark x1="15202" y1="25649" x2="40183" y2="9466"/>
                        <a14:foregroundMark x1="40183" y1="9466" x2="52636" y2="5496"/>
                        <a14:foregroundMark x1="52636" y1="5496" x2="68296" y2="6183"/>
                        <a14:foregroundMark x1="68296" y1="6183" x2="74255" y2="17023"/>
                        <a14:foregroundMark x1="66845" y1="90992" x2="66845" y2="90992"/>
                        <a14:foregroundMark x1="73033" y1="87328" x2="73033" y2="87328"/>
                        <a14:foregroundMark x1="85103" y1="75496" x2="67991" y2="84504"/>
                        <a14:foregroundMark x1="67991" y1="84504" x2="83652" y2="77252"/>
                        <a14:foregroundMark x1="83652" y1="77252" x2="93888" y2="62214"/>
                        <a14:foregroundMark x1="93888" y1="62214" x2="97785" y2="46947"/>
                        <a14:foregroundMark x1="97785" y1="46947" x2="91597" y2="32977"/>
                        <a14:foregroundMark x1="91597" y1="32977" x2="87319" y2="47786"/>
                        <a14:foregroundMark x1="87319" y1="47786" x2="87701" y2="29618"/>
                        <a14:foregroundMark x1="87701" y1="29618" x2="74866" y2="13817"/>
                        <a14:foregroundMark x1="74866" y1="13817" x2="56761" y2="4046"/>
                        <a14:foregroundMark x1="56761" y1="4046" x2="40871" y2="2824"/>
                        <a14:foregroundMark x1="40871" y1="2824" x2="16883" y2="17328"/>
                        <a14:foregroundMark x1="16883" y1="17328" x2="7105" y2="31527"/>
                        <a14:foregroundMark x1="7105" y1="31527" x2="2139" y2="46641"/>
                        <a14:foregroundMark x1="2139" y1="46641" x2="1910" y2="59847"/>
                        <a14:foregroundMark x1="1910" y1="59847" x2="22307" y2="86107"/>
                        <a14:foregroundMark x1="22307" y1="86107" x2="35065" y2="92901"/>
                        <a14:foregroundMark x1="35065" y1="92901" x2="67685" y2="95649"/>
                        <a14:foregroundMark x1="67685" y1="95649" x2="80825" y2="87252"/>
                        <a14:foregroundMark x1="80825" y1="87252" x2="97785" y2="52595"/>
                        <a14:foregroundMark x1="97785" y1="52595" x2="98167" y2="50153"/>
                        <a14:foregroundMark x1="5806" y1="51374" x2="5806" y2="51374"/>
                        <a14:foregroundMark x1="1833" y1="49542" x2="1833" y2="49542"/>
                        <a14:foregroundMark x1="49503" y1="3435" x2="49503" y2="3435"/>
                        <a14:foregroundMark x1="55997" y1="37481" x2="55997" y2="37481"/>
                        <a14:foregroundMark x1="30940" y1="27863" x2="28801" y2="39847"/>
                        <a14:foregroundMark x1="28801" y1="39847" x2="38350" y2="18244"/>
                        <a14:foregroundMark x1="38350" y1="18244" x2="40871" y2="37863"/>
                        <a14:foregroundMark x1="40871" y1="37863" x2="66081" y2="47634"/>
                        <a14:foregroundMark x1="66081" y1="47634" x2="33690" y2="52748"/>
                        <a14:foregroundMark x1="33690" y1="52748" x2="30940" y2="30382"/>
                        <a14:foregroundMark x1="30940" y1="30382" x2="33079" y2="28473"/>
                        <a14:foregroundMark x1="72727" y1="9313" x2="74255" y2="10229"/>
                        <a14:foregroundMark x1="76776" y1="12672" x2="76776" y2="12672"/>
                        <a14:foregroundMark x1="72727" y1="8397" x2="91520" y2="34275"/>
                        <a14:foregroundMark x1="91520" y1="34275" x2="84568" y2="18931"/>
                        <a14:foregroundMark x1="84568" y1="18931" x2="94500" y2="31527"/>
                        <a14:foregroundMark x1="94500" y1="31527" x2="95951" y2="38702"/>
                        <a14:foregroundMark x1="12681" y1="79237" x2="37280" y2="92901"/>
                        <a14:foregroundMark x1="37280" y1="92901" x2="55997" y2="97252"/>
                        <a14:foregroundMark x1="55997" y1="97252" x2="67150" y2="91603"/>
                        <a14:foregroundMark x1="67150" y1="91603" x2="67762" y2="90992"/>
                        <a14:foregroundMark x1="47364" y1="90992" x2="60963" y2="86718"/>
                        <a14:foregroundMark x1="60963" y1="86718" x2="52177" y2="98931"/>
                        <a14:foregroundMark x1="52177" y1="98931" x2="38885" y2="96870"/>
                        <a14:foregroundMark x1="38885" y1="96870" x2="22995" y2="89084"/>
                        <a14:foregroundMark x1="22995" y1="89084" x2="14286" y2="79542"/>
                        <a14:foregroundMark x1="14286" y1="79542" x2="13904" y2="77099"/>
                        <a14:foregroundMark x1="42704" y1="13969" x2="44843" y2="28015"/>
                        <a14:foregroundMark x1="44843" y1="28015" x2="57372" y2="24351"/>
                        <a14:foregroundMark x1="57372" y1="24351" x2="69595" y2="28168"/>
                        <a14:foregroundMark x1="69595" y1="28168" x2="44767" y2="21756"/>
                        <a14:foregroundMark x1="44767" y1="21756" x2="54316" y2="35191"/>
                        <a14:foregroundMark x1="54316" y1="35191" x2="41482" y2="26565"/>
                        <a14:foregroundMark x1="41482" y1="26565" x2="57296" y2="25420"/>
                        <a14:foregroundMark x1="57296" y1="25420" x2="62108" y2="38550"/>
                        <a14:foregroundMark x1="62108" y1="38550" x2="64248" y2="24046"/>
                        <a14:foregroundMark x1="64248" y1="24046" x2="41558" y2="14962"/>
                        <a14:foregroundMark x1="41558" y1="14962" x2="40871" y2="17939"/>
                        <a14:foregroundMark x1="54469" y1="66260" x2="72422" y2="55649"/>
                        <a14:foregroundMark x1="72422" y1="55649" x2="74484" y2="67710"/>
                        <a14:foregroundMark x1="74484" y1="67710" x2="56073" y2="71298"/>
                        <a14:foregroundMark x1="56073" y1="71298" x2="53552" y2="63740"/>
                        <a14:foregroundMark x1="60046" y1="51679" x2="32009" y2="59466"/>
                        <a14:foregroundMark x1="32009" y1="59466" x2="55309" y2="62443"/>
                        <a14:foregroundMark x1="55309" y1="62443" x2="58824" y2="55115"/>
                        <a14:foregroundMark x1="43927" y1="44885" x2="30940" y2="39466"/>
                        <a14:foregroundMark x1="30940" y1="39466" x2="28113" y2="45496"/>
                        <a14:foregroundMark x1="34607" y1="30382" x2="35829" y2="44809"/>
                        <a14:foregroundMark x1="35829" y1="44809" x2="31856" y2="24504"/>
                        <a14:foregroundMark x1="31856" y1="24504" x2="29717" y2="46718"/>
                        <a14:foregroundMark x1="29717" y1="46718" x2="27196" y2="46107"/>
                        <a14:foregroundMark x1="26585" y1="49542" x2="37433" y2="76031"/>
                        <a14:foregroundMark x1="37433" y1="76031" x2="37433" y2="60458"/>
                        <a14:foregroundMark x1="37433" y1="60458" x2="35600" y2="56336"/>
                        <a14:foregroundMark x1="26280" y1="59771" x2="37280" y2="69160"/>
                        <a14:foregroundMark x1="37280" y1="69160" x2="27502" y2="56641"/>
                        <a14:foregroundMark x1="25668" y1="68397" x2="35294" y2="67786"/>
                        <a14:foregroundMark x1="28419" y1="73969" x2="73950" y2="59847"/>
                        <a14:foregroundMark x1="73950" y1="59847" x2="74866" y2="65038"/>
                        <a14:foregroundMark x1="50420" y1="57557" x2="50420" y2="57557"/>
                        <a14:foregroundMark x1="50420" y1="50458" x2="50420" y2="5045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3862" y="3150678"/>
            <a:ext cx="639592" cy="640080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BB84A38B-8A32-9BFE-59EA-43408E96131D}"/>
              </a:ext>
            </a:extLst>
          </p:cNvPr>
          <p:cNvSpPr txBox="1"/>
          <p:nvPr/>
        </p:nvSpPr>
        <p:spPr>
          <a:xfrm>
            <a:off x="485746" y="1038031"/>
            <a:ext cx="4341964" cy="480131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1600" b="1" dirty="0">
                <a:highlight>
                  <a:srgbClr val="FFE600"/>
                </a:highlight>
              </a:rPr>
              <a:t>Связь МСФО </a:t>
            </a:r>
            <a:r>
              <a:rPr lang="en-US" sz="1600" b="1" dirty="0">
                <a:highlight>
                  <a:srgbClr val="FFE600"/>
                </a:highlight>
              </a:rPr>
              <a:t>S1/S2 </a:t>
            </a:r>
            <a:r>
              <a:rPr lang="ru-RU" sz="1600" b="1" dirty="0">
                <a:highlight>
                  <a:srgbClr val="FFE600"/>
                </a:highlight>
              </a:rPr>
              <a:t>со стандартами финансовой отчетности</a:t>
            </a:r>
            <a:endParaRPr lang="en-US" sz="1600" b="1" dirty="0">
              <a:highlight>
                <a:srgbClr val="FFE600"/>
              </a:highlight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BD078DB-7606-CF5F-DB4A-BE5C7E7386CE}"/>
              </a:ext>
            </a:extLst>
          </p:cNvPr>
          <p:cNvSpPr txBox="1"/>
          <p:nvPr/>
        </p:nvSpPr>
        <p:spPr>
          <a:xfrm>
            <a:off x="5710039" y="1017527"/>
            <a:ext cx="4341964" cy="480131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SzPct val="100000"/>
            </a:pPr>
            <a:r>
              <a:rPr lang="ru-RU" sz="1600" b="1" dirty="0">
                <a:highlight>
                  <a:srgbClr val="FFE600"/>
                </a:highlight>
              </a:rPr>
              <a:t>Связь МСФО </a:t>
            </a:r>
            <a:r>
              <a:rPr lang="en-US" sz="1600" b="1" dirty="0">
                <a:highlight>
                  <a:srgbClr val="FFE600"/>
                </a:highlight>
              </a:rPr>
              <a:t>S1/S2 </a:t>
            </a:r>
            <a:r>
              <a:rPr lang="ru-RU" sz="1600" b="1" dirty="0">
                <a:highlight>
                  <a:srgbClr val="FFE600"/>
                </a:highlight>
              </a:rPr>
              <a:t>со стандартами нефинансовой отчетности</a:t>
            </a:r>
            <a:endParaRPr lang="en-US" sz="1600" b="1" dirty="0">
              <a:highlight>
                <a:srgbClr val="FFE600"/>
              </a:highlight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35FA3770-51DC-7C84-AE7B-E98A3A4C9CC4}"/>
              </a:ext>
            </a:extLst>
          </p:cNvPr>
          <p:cNvCxnSpPr>
            <a:cxnSpLocks/>
          </p:cNvCxnSpPr>
          <p:nvPr/>
        </p:nvCxnSpPr>
        <p:spPr>
          <a:xfrm>
            <a:off x="1572031" y="3323379"/>
            <a:ext cx="698500" cy="0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96770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1C0F2D9-589A-5443-F977-6038BD06B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775" y="1970406"/>
            <a:ext cx="10042525" cy="2869882"/>
          </a:xfrm>
        </p:spPr>
        <p:txBody>
          <a:bodyPr/>
          <a:lstStyle/>
          <a:p>
            <a:pPr marL="0" indent="0">
              <a:buNone/>
            </a:pPr>
            <a:r>
              <a:rPr lang="ru-RU" sz="6000" dirty="0">
                <a:solidFill>
                  <a:schemeClr val="bg1"/>
                </a:solidFill>
              </a:rPr>
              <a:t>Прогресс внедрения стандартов МСФО S1 и S2 на глобальном уровне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3D1D9F3-B54E-A3B3-A03E-0531EA8251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Раздел</a:t>
            </a:r>
            <a:r>
              <a:rPr lang="en-US" dirty="0"/>
              <a:t> </a:t>
            </a:r>
            <a:r>
              <a:rPr lang="ru-RU" dirty="0"/>
              <a:t>2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BF2C1F-53C3-B3B0-4A7B-B92089CDC5C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925DD58-4974-549B-5F84-0ABC911DCE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198CFE6-6DE2-2C53-6DED-8BE22EE73E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5235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29954-6593-5D37-6744-B85EEFEE8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536" y="306403"/>
            <a:ext cx="11820464" cy="432278"/>
          </a:xfrm>
        </p:spPr>
        <p:txBody>
          <a:bodyPr/>
          <a:lstStyle/>
          <a:p>
            <a:r>
              <a:rPr lang="ru-RU" sz="3200" dirty="0"/>
              <a:t>Ожидаемые¹ даты вступления в силу МСФО S1 и S2</a:t>
            </a:r>
            <a:endParaRPr lang="en-US" sz="32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3A34DA-1BB3-DD99-5A56-CF5197E687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F4159-FC48-CC4E-ECF1-FE2CC0CAF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B7115D-4FFE-4BFE-15AC-E622B049E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8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2A61EC-6ED0-7060-1CAD-4FE20FCDDFB4}"/>
              </a:ext>
            </a:extLst>
          </p:cNvPr>
          <p:cNvSpPr txBox="1"/>
          <p:nvPr/>
        </p:nvSpPr>
        <p:spPr>
          <a:xfrm>
            <a:off x="8929010" y="4570141"/>
            <a:ext cx="2841629" cy="1671163"/>
          </a:xfrm>
          <a:prstGeom prst="rect">
            <a:avLst/>
          </a:prstGeom>
          <a:noFill/>
        </p:spPr>
        <p:txBody>
          <a:bodyPr wrap="square" lIns="0" tIns="0" bIns="0">
            <a:spAutoFit/>
          </a:bodyPr>
          <a:lstStyle/>
          <a:p>
            <a:pPr marL="285607" indent="-285607" defTabSz="913943">
              <a:lnSpc>
                <a:spcPct val="107000"/>
              </a:lnSpc>
              <a:spcAft>
                <a:spcPts val="800"/>
              </a:spcAft>
              <a:buClr>
                <a:srgbClr val="FFE600"/>
              </a:buClr>
              <a:buFont typeface="EYInterstate Light" panose="02000506000000020004" pitchFamily="2" charset="0"/>
              <a:buChar char="•"/>
            </a:pPr>
            <a:r>
              <a:rPr lang="ru-RU" sz="1200" spc="-20" dirty="0">
                <a:solidFill>
                  <a:prstClr val="white"/>
                </a:solidFill>
              </a:rPr>
              <a:t>составлять отчетность о рисках и возможностях, связанных с климатом, с применением МСФО S2.</a:t>
            </a:r>
          </a:p>
          <a:p>
            <a:pPr marL="285607" indent="-285607" defTabSz="913943">
              <a:lnSpc>
                <a:spcPct val="107000"/>
              </a:lnSpc>
              <a:spcAft>
                <a:spcPts val="800"/>
              </a:spcAft>
              <a:buClr>
                <a:srgbClr val="FFE600"/>
              </a:buClr>
              <a:buFont typeface="EYInterstate Light" panose="02000506000000020004" pitchFamily="2" charset="0"/>
              <a:buChar char="•"/>
            </a:pPr>
            <a:r>
              <a:rPr lang="ru-RU" sz="1200" spc="-20" dirty="0">
                <a:solidFill>
                  <a:prstClr val="white"/>
                </a:solidFill>
              </a:rPr>
              <a:t>применять требования МСФО S1 к раскрытию финансовой информации, связанной с климатом и устойчивым развитием</a:t>
            </a:r>
            <a:endParaRPr lang="en-US" sz="1200" spc="-20" dirty="0">
              <a:solidFill>
                <a:prstClr val="white"/>
              </a:solidFill>
            </a:endParaRPr>
          </a:p>
        </p:txBody>
      </p:sp>
      <p:cxnSp>
        <p:nvCxnSpPr>
          <p:cNvPr id="7" name="Straight Connector 5">
            <a:extLst>
              <a:ext uri="{FF2B5EF4-FFF2-40B4-BE49-F238E27FC236}">
                <a16:creationId xmlns:a16="http://schemas.microsoft.com/office/drawing/2014/main" id="{004178D9-D63A-5804-1D8F-F34362970342}"/>
              </a:ext>
            </a:extLst>
          </p:cNvPr>
          <p:cNvCxnSpPr>
            <a:cxnSpLocks/>
          </p:cNvCxnSpPr>
          <p:nvPr/>
        </p:nvCxnSpPr>
        <p:spPr>
          <a:xfrm>
            <a:off x="517060" y="3667753"/>
            <a:ext cx="2050013" cy="1568"/>
          </a:xfrm>
          <a:prstGeom prst="line">
            <a:avLst/>
          </a:prstGeom>
          <a:noFill/>
          <a:ln w="19050" cap="flat" cmpd="sng" algn="ctr">
            <a:solidFill>
              <a:srgbClr val="C4C4CD"/>
            </a:solidFill>
            <a:prstDash val="solid"/>
            <a:tailEnd type="triangle" w="lg" len="med"/>
          </a:ln>
          <a:effectLst/>
        </p:spPr>
      </p:cxnSp>
      <p:cxnSp>
        <p:nvCxnSpPr>
          <p:cNvPr id="8" name="Straight Connector 5">
            <a:extLst>
              <a:ext uri="{FF2B5EF4-FFF2-40B4-BE49-F238E27FC236}">
                <a16:creationId xmlns:a16="http://schemas.microsoft.com/office/drawing/2014/main" id="{21400FEA-172C-1BF8-4B20-6AB21F012D6C}"/>
              </a:ext>
            </a:extLst>
          </p:cNvPr>
          <p:cNvCxnSpPr>
            <a:cxnSpLocks/>
          </p:cNvCxnSpPr>
          <p:nvPr/>
        </p:nvCxnSpPr>
        <p:spPr>
          <a:xfrm>
            <a:off x="1783160" y="1098962"/>
            <a:ext cx="0" cy="2568790"/>
          </a:xfrm>
          <a:prstGeom prst="line">
            <a:avLst/>
          </a:prstGeom>
          <a:noFill/>
          <a:ln w="19050" cap="flat" cmpd="sng" algn="ctr">
            <a:solidFill>
              <a:srgbClr val="747480">
                <a:alpha val="50000"/>
              </a:srgbClr>
            </a:solidFill>
            <a:prstDash val="solid"/>
            <a:tailEnd type="none" w="lg" len="med"/>
          </a:ln>
          <a:effectLst/>
        </p:spPr>
      </p:cxnSp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id="{C63B9F9B-311D-AA26-9088-CCBFA7703926}"/>
              </a:ext>
            </a:extLst>
          </p:cNvPr>
          <p:cNvCxnSpPr>
            <a:cxnSpLocks/>
          </p:cNvCxnSpPr>
          <p:nvPr/>
        </p:nvCxnSpPr>
        <p:spPr>
          <a:xfrm>
            <a:off x="6405108" y="1120685"/>
            <a:ext cx="0" cy="2568790"/>
          </a:xfrm>
          <a:prstGeom prst="line">
            <a:avLst/>
          </a:prstGeom>
          <a:noFill/>
          <a:ln w="19050" cap="flat" cmpd="sng" algn="ctr">
            <a:solidFill>
              <a:srgbClr val="747480">
                <a:alpha val="50000"/>
              </a:srgbClr>
            </a:solidFill>
            <a:prstDash val="solid"/>
            <a:tailEnd type="none" w="lg" len="med"/>
          </a:ln>
          <a:effectLst/>
        </p:spPr>
      </p:cxnSp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86B40070-D03F-DDAD-F4AF-684D00185548}"/>
              </a:ext>
            </a:extLst>
          </p:cNvPr>
          <p:cNvCxnSpPr>
            <a:cxnSpLocks/>
            <a:stCxn id="15" idx="3"/>
            <a:endCxn id="22" idx="3"/>
          </p:cNvCxnSpPr>
          <p:nvPr/>
        </p:nvCxnSpPr>
        <p:spPr>
          <a:xfrm>
            <a:off x="5298100" y="3681644"/>
            <a:ext cx="2109427" cy="7831"/>
          </a:xfrm>
          <a:prstGeom prst="line">
            <a:avLst/>
          </a:prstGeom>
          <a:noFill/>
          <a:ln w="19050" cap="flat" cmpd="sng" algn="ctr">
            <a:solidFill>
              <a:srgbClr val="C4C4CD"/>
            </a:solidFill>
            <a:prstDash val="solid"/>
            <a:tailEnd type="triangle" w="lg" len="med"/>
          </a:ln>
          <a:effectLst/>
        </p:spPr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85B66C5F-89BA-2663-95EF-FD3D6BD0606D}"/>
              </a:ext>
            </a:extLst>
          </p:cNvPr>
          <p:cNvSpPr txBox="1"/>
          <p:nvPr/>
        </p:nvSpPr>
        <p:spPr>
          <a:xfrm>
            <a:off x="1861771" y="1306134"/>
            <a:ext cx="2218929" cy="21531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lvl="1" defTabSz="913943">
              <a:spcAft>
                <a:spcPts val="600"/>
              </a:spcAft>
              <a:buClr>
                <a:srgbClr val="000000"/>
              </a:buClr>
              <a:buSzPct val="70000"/>
              <a:defRPr/>
            </a:pPr>
            <a:r>
              <a:rPr lang="ru-RU" sz="1399" dirty="0">
                <a:solidFill>
                  <a:srgbClr val="FFE600"/>
                </a:solidFill>
                <a:latin typeface="EYInterstate Light" panose="02000506000000020004" pitchFamily="2" charset="0"/>
              </a:rPr>
              <a:t>Приняты МСФО S1 и S2</a:t>
            </a:r>
            <a:endParaRPr lang="en-GB" sz="1399" dirty="0">
              <a:solidFill>
                <a:srgbClr val="FFE600"/>
              </a:solidFill>
              <a:latin typeface="EYInterstate Light" panose="02000506000000020004" pitchFamily="2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8970A2B-9540-1E54-69D4-1FED85276CB3}"/>
              </a:ext>
            </a:extLst>
          </p:cNvPr>
          <p:cNvCxnSpPr>
            <a:cxnSpLocks/>
          </p:cNvCxnSpPr>
          <p:nvPr/>
        </p:nvCxnSpPr>
        <p:spPr>
          <a:xfrm>
            <a:off x="1843645" y="1605923"/>
            <a:ext cx="1446857" cy="0"/>
          </a:xfrm>
          <a:prstGeom prst="line">
            <a:avLst/>
          </a:prstGeom>
          <a:ln w="3175">
            <a:solidFill>
              <a:srgbClr val="74748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A41E9EE8-3128-0756-2A7B-70B625D14BD2}"/>
              </a:ext>
            </a:extLst>
          </p:cNvPr>
          <p:cNvSpPr txBox="1"/>
          <p:nvPr/>
        </p:nvSpPr>
        <p:spPr>
          <a:xfrm>
            <a:off x="1843644" y="1665555"/>
            <a:ext cx="2876874" cy="738664"/>
          </a:xfrm>
          <a:prstGeom prst="rect">
            <a:avLst/>
          </a:prstGeom>
          <a:noFill/>
        </p:spPr>
        <p:txBody>
          <a:bodyPr wrap="square" lIns="0" tIns="0" bIns="0">
            <a:spAutoFit/>
          </a:bodyPr>
          <a:lstStyle/>
          <a:p>
            <a:pPr defTabSz="913029">
              <a:spcBef>
                <a:spcPts val="300"/>
              </a:spcBef>
              <a:spcAft>
                <a:spcPts val="1199"/>
              </a:spcAft>
              <a:buClr>
                <a:srgbClr val="FFE600"/>
              </a:buClr>
              <a:buSzPct val="60000"/>
              <a:defRPr/>
            </a:pPr>
            <a:r>
              <a:rPr lang="ru-RU" sz="1200" spc="-20" dirty="0">
                <a:solidFill>
                  <a:prstClr val="white"/>
                </a:solidFill>
                <a:ea typeface="EYInterstate Regular" charset="0"/>
                <a:cs typeface="EYInterstate Regular" charset="0"/>
              </a:rPr>
              <a:t>26 июня 2023 года - ISSB опубликовал окончательные стандарты раскрытия информации об устойчивом развитии: МСФО S1 и МСФО S2</a:t>
            </a:r>
            <a:endParaRPr lang="en-US" sz="1200" spc="-20" dirty="0">
              <a:solidFill>
                <a:prstClr val="white"/>
              </a:solidFill>
              <a:ea typeface="EYInterstate Regular" charset="0"/>
              <a:cs typeface="EYInterstate Regular" charset="0"/>
            </a:endParaRPr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EF2DB0C5-F81C-68D7-4870-2A480615CCF8}"/>
              </a:ext>
            </a:extLst>
          </p:cNvPr>
          <p:cNvSpPr/>
          <p:nvPr/>
        </p:nvSpPr>
        <p:spPr>
          <a:xfrm>
            <a:off x="661056" y="3266842"/>
            <a:ext cx="937224" cy="804958"/>
          </a:xfrm>
          <a:prstGeom prst="hexagon">
            <a:avLst/>
          </a:prstGeom>
          <a:solidFill>
            <a:srgbClr val="2E2E38"/>
          </a:solidFill>
          <a:ln w="19050">
            <a:solidFill>
              <a:srgbClr val="C4C4CD"/>
            </a:solidFill>
            <a:miter lim="800000"/>
            <a:headEnd/>
            <a:tailEnd/>
          </a:ln>
        </p:spPr>
        <p:txBody>
          <a:bodyPr lIns="107992" tIns="107992" rIns="107992" bIns="107992" anchor="ctr">
            <a:noAutofit/>
          </a:bodyPr>
          <a:lstStyle/>
          <a:p>
            <a:pPr algn="ctr" defTabSz="913943" eaLnBrk="0" hangingPunct="0">
              <a:spcAft>
                <a:spcPts val="500"/>
              </a:spcAft>
              <a:defRPr/>
            </a:pPr>
            <a:r>
              <a:rPr lang="en-US" sz="1400" b="1" spc="-30" dirty="0">
                <a:solidFill>
                  <a:prstClr val="white"/>
                </a:solidFill>
                <a:latin typeface="EYInterstate Regular" panose="02000503020000020004" pitchFamily="2" charset="0"/>
              </a:rPr>
              <a:t>2023</a:t>
            </a:r>
          </a:p>
        </p:txBody>
      </p:sp>
      <p:sp>
        <p:nvSpPr>
          <p:cNvPr id="15" name="Hexagon 14">
            <a:extLst>
              <a:ext uri="{FF2B5EF4-FFF2-40B4-BE49-F238E27FC236}">
                <a16:creationId xmlns:a16="http://schemas.microsoft.com/office/drawing/2014/main" id="{1344C0C4-E7CB-A634-BAD1-BAFA861207DA}"/>
              </a:ext>
            </a:extLst>
          </p:cNvPr>
          <p:cNvSpPr/>
          <p:nvPr/>
        </p:nvSpPr>
        <p:spPr>
          <a:xfrm>
            <a:off x="5298100" y="3279165"/>
            <a:ext cx="937224" cy="804958"/>
          </a:xfrm>
          <a:prstGeom prst="hexagon">
            <a:avLst/>
          </a:prstGeom>
          <a:solidFill>
            <a:srgbClr val="C4C4CD"/>
          </a:solidFill>
          <a:ln w="19050">
            <a:noFill/>
            <a:miter lim="800000"/>
            <a:headEnd/>
            <a:tailEnd/>
          </a:ln>
        </p:spPr>
        <p:txBody>
          <a:bodyPr lIns="107992" tIns="107992" rIns="107992" bIns="107992" anchor="ctr">
            <a:noAutofit/>
          </a:bodyPr>
          <a:lstStyle/>
          <a:p>
            <a:pPr algn="ctr" defTabSz="913943" eaLnBrk="0" hangingPunct="0">
              <a:spcAft>
                <a:spcPts val="500"/>
              </a:spcAft>
              <a:defRPr/>
            </a:pPr>
            <a:r>
              <a:rPr lang="en-US" sz="1400" b="1" spc="-30" dirty="0">
                <a:solidFill>
                  <a:srgbClr val="2E2E38"/>
                </a:solidFill>
                <a:latin typeface="EYInterstate Regular" panose="02000503020000020004" pitchFamily="2" charset="0"/>
              </a:rPr>
              <a:t>2025</a:t>
            </a:r>
          </a:p>
        </p:txBody>
      </p:sp>
      <p:cxnSp>
        <p:nvCxnSpPr>
          <p:cNvPr id="16" name="Straight Connector 5">
            <a:extLst>
              <a:ext uri="{FF2B5EF4-FFF2-40B4-BE49-F238E27FC236}">
                <a16:creationId xmlns:a16="http://schemas.microsoft.com/office/drawing/2014/main" id="{3E83886A-4C01-8867-D53B-D44E49A1F8B5}"/>
              </a:ext>
            </a:extLst>
          </p:cNvPr>
          <p:cNvCxnSpPr>
            <a:cxnSpLocks/>
            <a:stCxn id="17" idx="0"/>
          </p:cNvCxnSpPr>
          <p:nvPr/>
        </p:nvCxnSpPr>
        <p:spPr>
          <a:xfrm>
            <a:off x="3504298" y="3675747"/>
            <a:ext cx="1793802" cy="5898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tailEnd type="triangle" w="lg" len="med"/>
          </a:ln>
          <a:effectLst/>
        </p:spPr>
      </p:cxnSp>
      <p:sp>
        <p:nvSpPr>
          <p:cNvPr id="17" name="Hexagon 16">
            <a:extLst>
              <a:ext uri="{FF2B5EF4-FFF2-40B4-BE49-F238E27FC236}">
                <a16:creationId xmlns:a16="http://schemas.microsoft.com/office/drawing/2014/main" id="{B691D63F-ECCA-B92E-FBF3-4A10C3AF0780}"/>
              </a:ext>
            </a:extLst>
          </p:cNvPr>
          <p:cNvSpPr/>
          <p:nvPr/>
        </p:nvSpPr>
        <p:spPr>
          <a:xfrm>
            <a:off x="2567074" y="3273268"/>
            <a:ext cx="937224" cy="804958"/>
          </a:xfrm>
          <a:prstGeom prst="hexagon">
            <a:avLst/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lIns="107992" tIns="107992" rIns="107992" bIns="107992" anchor="ctr">
            <a:noAutofit/>
          </a:bodyPr>
          <a:lstStyle/>
          <a:p>
            <a:pPr algn="ctr" defTabSz="913943" eaLnBrk="0" hangingPunct="0">
              <a:spcAft>
                <a:spcPts val="500"/>
              </a:spcAft>
              <a:defRPr/>
            </a:pPr>
            <a:r>
              <a:rPr lang="en-US" sz="1400" b="1" spc="-30" dirty="0">
                <a:solidFill>
                  <a:srgbClr val="2E2E38"/>
                </a:solidFill>
                <a:latin typeface="EYInterstate Regular" panose="02000503020000020004" pitchFamily="2" charset="0"/>
              </a:rPr>
              <a:t>2024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11373BA-D588-978F-1AFA-CF95AA71F4AF}"/>
              </a:ext>
            </a:extLst>
          </p:cNvPr>
          <p:cNvSpPr txBox="1"/>
          <p:nvPr/>
        </p:nvSpPr>
        <p:spPr>
          <a:xfrm>
            <a:off x="3813765" y="4096409"/>
            <a:ext cx="2409171" cy="43063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2pPr marL="0" marR="0" lvl="1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0000"/>
              <a:buFontTx/>
              <a:buNone/>
              <a:tabLst/>
              <a:defRPr kumimoji="0" sz="120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2pPr>
          </a:lstStyle>
          <a:p>
            <a:pPr lvl="1" defTabSz="913943">
              <a:defRPr/>
            </a:pPr>
            <a:r>
              <a:rPr lang="ru-RU" sz="1399" dirty="0">
                <a:solidFill>
                  <a:srgbClr val="FFE600"/>
                </a:solidFill>
              </a:rPr>
              <a:t>Начало сбора информации для МСФО S1 и S2</a:t>
            </a:r>
            <a:endParaRPr lang="en-GB" sz="1399" dirty="0">
              <a:solidFill>
                <a:srgbClr val="FFE60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75F95DC-48E1-D977-188A-4E8199C90C9D}"/>
              </a:ext>
            </a:extLst>
          </p:cNvPr>
          <p:cNvSpPr txBox="1"/>
          <p:nvPr/>
        </p:nvSpPr>
        <p:spPr>
          <a:xfrm>
            <a:off x="3814352" y="4603598"/>
            <a:ext cx="2683582" cy="738664"/>
          </a:xfrm>
          <a:prstGeom prst="rect">
            <a:avLst/>
          </a:prstGeom>
          <a:noFill/>
        </p:spPr>
        <p:txBody>
          <a:bodyPr wrap="square" lIns="0" tIns="0" bIns="0">
            <a:spAutoFit/>
          </a:bodyPr>
          <a:lstStyle/>
          <a:p>
            <a:pPr defTabSz="913029">
              <a:spcBef>
                <a:spcPts val="300"/>
              </a:spcBef>
              <a:spcAft>
                <a:spcPts val="1199"/>
              </a:spcAft>
              <a:buClr>
                <a:srgbClr val="FFE600"/>
              </a:buClr>
              <a:buSzPct val="60000"/>
              <a:defRPr/>
            </a:pPr>
            <a:r>
              <a:rPr lang="ru-RU" sz="1200" spc="-20" dirty="0">
                <a:solidFill>
                  <a:prstClr val="white"/>
                </a:solidFill>
                <a:ea typeface="EYInterstate Regular" charset="0"/>
                <a:cs typeface="EYInterstate Regular" charset="0"/>
              </a:rPr>
              <a:t>С 1 января 2024 года - компании должны начать сбор информации за 2024 отчетный год в соответствии со Стандартами</a:t>
            </a:r>
            <a:endParaRPr lang="en-US" sz="1200" spc="-20" dirty="0">
              <a:solidFill>
                <a:prstClr val="white"/>
              </a:solidFill>
              <a:ea typeface="EYInterstate Regular" charset="0"/>
              <a:cs typeface="EYInterstate Regular" charset="0"/>
            </a:endParaRPr>
          </a:p>
        </p:txBody>
      </p:sp>
      <p:cxnSp>
        <p:nvCxnSpPr>
          <p:cNvPr id="20" name="Straight Connector 5">
            <a:extLst>
              <a:ext uri="{FF2B5EF4-FFF2-40B4-BE49-F238E27FC236}">
                <a16:creationId xmlns:a16="http://schemas.microsoft.com/office/drawing/2014/main" id="{75F6B15D-7C4E-1CA3-CD6F-E7ECB5962E52}"/>
              </a:ext>
            </a:extLst>
          </p:cNvPr>
          <p:cNvCxnSpPr>
            <a:cxnSpLocks/>
          </p:cNvCxnSpPr>
          <p:nvPr/>
        </p:nvCxnSpPr>
        <p:spPr>
          <a:xfrm>
            <a:off x="3996928" y="3667752"/>
            <a:ext cx="0" cy="1924973"/>
          </a:xfrm>
          <a:prstGeom prst="line">
            <a:avLst/>
          </a:prstGeom>
          <a:noFill/>
          <a:ln w="19050" cap="flat" cmpd="sng" algn="ctr">
            <a:solidFill>
              <a:srgbClr val="747480">
                <a:alpha val="50000"/>
              </a:srgbClr>
            </a:solidFill>
            <a:prstDash val="solid"/>
            <a:tailEnd type="none" w="lg" len="med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9DCE71E-7B66-DB5A-FA14-8AD0F48282F8}"/>
              </a:ext>
            </a:extLst>
          </p:cNvPr>
          <p:cNvCxnSpPr>
            <a:cxnSpLocks/>
          </p:cNvCxnSpPr>
          <p:nvPr/>
        </p:nvCxnSpPr>
        <p:spPr>
          <a:xfrm>
            <a:off x="3813765" y="4557317"/>
            <a:ext cx="1446857" cy="0"/>
          </a:xfrm>
          <a:prstGeom prst="line">
            <a:avLst/>
          </a:prstGeom>
          <a:ln w="3175">
            <a:solidFill>
              <a:srgbClr val="74748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Hexagon 21">
            <a:extLst>
              <a:ext uri="{FF2B5EF4-FFF2-40B4-BE49-F238E27FC236}">
                <a16:creationId xmlns:a16="http://schemas.microsoft.com/office/drawing/2014/main" id="{81AB5529-2A84-A511-011A-B1BCE859FF3E}"/>
              </a:ext>
            </a:extLst>
          </p:cNvPr>
          <p:cNvSpPr/>
          <p:nvPr/>
        </p:nvSpPr>
        <p:spPr>
          <a:xfrm>
            <a:off x="7407527" y="3286996"/>
            <a:ext cx="937224" cy="804958"/>
          </a:xfrm>
          <a:prstGeom prst="hexagon">
            <a:avLst/>
          </a:prstGeom>
          <a:solidFill>
            <a:schemeClr val="bg2">
              <a:lumMod val="60000"/>
              <a:lumOff val="40000"/>
            </a:schemeClr>
          </a:solidFill>
          <a:ln w="19050">
            <a:noFill/>
            <a:miter lim="800000"/>
            <a:headEnd/>
            <a:tailEnd/>
          </a:ln>
        </p:spPr>
        <p:txBody>
          <a:bodyPr lIns="107992" tIns="107992" rIns="107992" bIns="107992" anchor="ctr">
            <a:noAutofit/>
          </a:bodyPr>
          <a:lstStyle/>
          <a:p>
            <a:pPr algn="ctr" defTabSz="913943" eaLnBrk="0" hangingPunct="0">
              <a:spcAft>
                <a:spcPts val="500"/>
              </a:spcAft>
              <a:defRPr/>
            </a:pPr>
            <a:r>
              <a:rPr lang="en-US" sz="1400" b="1" spc="-30" dirty="0">
                <a:solidFill>
                  <a:schemeClr val="bg1"/>
                </a:solidFill>
                <a:latin typeface="EYInterstate Regular" panose="02000503020000020004" pitchFamily="2" charset="0"/>
              </a:rPr>
              <a:t>2026</a:t>
            </a:r>
          </a:p>
        </p:txBody>
      </p:sp>
      <p:cxnSp>
        <p:nvCxnSpPr>
          <p:cNvPr id="23" name="Straight Connector 5">
            <a:extLst>
              <a:ext uri="{FF2B5EF4-FFF2-40B4-BE49-F238E27FC236}">
                <a16:creationId xmlns:a16="http://schemas.microsoft.com/office/drawing/2014/main" id="{BCFFD0B6-C4FB-585A-F5AE-D2A7FD1C92D3}"/>
              </a:ext>
            </a:extLst>
          </p:cNvPr>
          <p:cNvCxnSpPr>
            <a:cxnSpLocks/>
          </p:cNvCxnSpPr>
          <p:nvPr/>
        </p:nvCxnSpPr>
        <p:spPr>
          <a:xfrm flipV="1">
            <a:off x="8321345" y="3680015"/>
            <a:ext cx="1618960" cy="473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tailEnd type="triangle" w="lg" len="med"/>
          </a:ln>
          <a:effectLst/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E0CE480E-B8F7-139F-8837-EA988B8415E1}"/>
              </a:ext>
            </a:extLst>
          </p:cNvPr>
          <p:cNvSpPr txBox="1"/>
          <p:nvPr/>
        </p:nvSpPr>
        <p:spPr>
          <a:xfrm>
            <a:off x="6497934" y="1101955"/>
            <a:ext cx="2935016" cy="43063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lvl="1" defTabSz="913943">
              <a:spcAft>
                <a:spcPts val="600"/>
              </a:spcAft>
              <a:buClr>
                <a:srgbClr val="000000"/>
              </a:buClr>
              <a:buSzPct val="70000"/>
              <a:defRPr/>
            </a:pPr>
            <a:r>
              <a:rPr lang="ru-RU" sz="1399" dirty="0">
                <a:solidFill>
                  <a:srgbClr val="FFE600"/>
                </a:solidFill>
                <a:latin typeface="EYInterstate Light" panose="02000506000000020004" pitchFamily="2" charset="0"/>
              </a:rPr>
              <a:t>Отчетность в полном соответствии с МСФО S2 и частичном с S1</a:t>
            </a:r>
            <a:endParaRPr lang="en-GB" sz="1399" dirty="0">
              <a:solidFill>
                <a:srgbClr val="FFE600"/>
              </a:solidFill>
              <a:latin typeface="EYInterstate Light" panose="02000506000000020004" pitchFamily="2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CA68355-2DA7-F12A-71AF-6770A94CFDA0}"/>
              </a:ext>
            </a:extLst>
          </p:cNvPr>
          <p:cNvCxnSpPr>
            <a:cxnSpLocks/>
          </p:cNvCxnSpPr>
          <p:nvPr/>
        </p:nvCxnSpPr>
        <p:spPr>
          <a:xfrm flipV="1">
            <a:off x="6497934" y="1605923"/>
            <a:ext cx="2508125" cy="3080"/>
          </a:xfrm>
          <a:prstGeom prst="line">
            <a:avLst/>
          </a:prstGeom>
          <a:ln w="3175">
            <a:solidFill>
              <a:srgbClr val="74748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2C8CFA72-21C2-BA7D-3732-8BBE05454CFD}"/>
              </a:ext>
            </a:extLst>
          </p:cNvPr>
          <p:cNvSpPr txBox="1"/>
          <p:nvPr/>
        </p:nvSpPr>
        <p:spPr>
          <a:xfrm>
            <a:off x="6497935" y="1664170"/>
            <a:ext cx="3021780" cy="1275927"/>
          </a:xfrm>
          <a:prstGeom prst="rect">
            <a:avLst/>
          </a:prstGeom>
          <a:noFill/>
        </p:spPr>
        <p:txBody>
          <a:bodyPr wrap="square" lIns="0" tIns="0" bIns="0">
            <a:spAutoFit/>
          </a:bodyPr>
          <a:lstStyle/>
          <a:p>
            <a:pPr marL="285607" indent="-285607" defTabSz="913943">
              <a:lnSpc>
                <a:spcPct val="107000"/>
              </a:lnSpc>
              <a:spcAft>
                <a:spcPts val="800"/>
              </a:spcAft>
              <a:buClr>
                <a:srgbClr val="FFE600"/>
              </a:buClr>
              <a:buFont typeface="EYInterstate Light" panose="02000506000000020004" pitchFamily="2" charset="0"/>
              <a:buChar char="•"/>
            </a:pPr>
            <a:r>
              <a:rPr lang="ru-RU" sz="1200" spc="-20" dirty="0">
                <a:solidFill>
                  <a:prstClr val="white"/>
                </a:solidFill>
              </a:rPr>
              <a:t>составлять отчетность о рисках и возможностях, связанных с климатом, только с применением МСФО S2.</a:t>
            </a:r>
          </a:p>
          <a:p>
            <a:pPr marL="285607" indent="-285607" defTabSz="913943">
              <a:lnSpc>
                <a:spcPct val="107000"/>
              </a:lnSpc>
              <a:spcAft>
                <a:spcPts val="800"/>
              </a:spcAft>
              <a:buClr>
                <a:srgbClr val="FFE600"/>
              </a:buClr>
              <a:buFont typeface="EYInterstate Light" panose="02000506000000020004" pitchFamily="2" charset="0"/>
              <a:buChar char="•"/>
            </a:pPr>
            <a:r>
              <a:rPr lang="ru-RU" sz="1200" spc="-20" dirty="0">
                <a:solidFill>
                  <a:prstClr val="white"/>
                </a:solidFill>
              </a:rPr>
              <a:t>применять требования МСФО S1 только к раскрытию финансовой информации, связанной с климатом.</a:t>
            </a:r>
            <a:endParaRPr lang="en-US" sz="1200" spc="-2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76C8BCD-F7D7-C8BD-E395-545CE025A881}"/>
              </a:ext>
            </a:extLst>
          </p:cNvPr>
          <p:cNvSpPr txBox="1"/>
          <p:nvPr/>
        </p:nvSpPr>
        <p:spPr>
          <a:xfrm>
            <a:off x="8793832" y="4050445"/>
            <a:ext cx="2679223" cy="43818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2pPr marL="0" marR="0" lvl="1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ct val="70000"/>
              <a:buFontTx/>
              <a:buNone/>
              <a:tabLst/>
              <a:defRPr kumimoji="0" sz="1200" u="none" strike="noStrike" cap="none" spc="0" normalizeH="0" baseline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 panose="02000506000000020004" pitchFamily="2" charset="0"/>
              </a:defRPr>
            </a:lvl2pPr>
          </a:lstStyle>
          <a:p>
            <a:pPr lvl="1" defTabSz="913943">
              <a:defRPr/>
            </a:pPr>
            <a:r>
              <a:rPr lang="ru-RU" sz="1399" dirty="0">
                <a:solidFill>
                  <a:srgbClr val="FFE600"/>
                </a:solidFill>
              </a:rPr>
              <a:t>Отчетность в полном соответствии с МСФО S2 и S1</a:t>
            </a:r>
            <a:endParaRPr lang="en-GB" sz="1399" dirty="0">
              <a:solidFill>
                <a:srgbClr val="FFE600"/>
              </a:solidFill>
            </a:endParaRPr>
          </a:p>
        </p:txBody>
      </p:sp>
      <p:cxnSp>
        <p:nvCxnSpPr>
          <p:cNvPr id="28" name="Straight Connector 5">
            <a:extLst>
              <a:ext uri="{FF2B5EF4-FFF2-40B4-BE49-F238E27FC236}">
                <a16:creationId xmlns:a16="http://schemas.microsoft.com/office/drawing/2014/main" id="{422B23F5-49C9-CFD8-EA5C-B0D8B40E4163}"/>
              </a:ext>
            </a:extLst>
          </p:cNvPr>
          <p:cNvCxnSpPr>
            <a:cxnSpLocks/>
          </p:cNvCxnSpPr>
          <p:nvPr/>
        </p:nvCxnSpPr>
        <p:spPr>
          <a:xfrm>
            <a:off x="8791888" y="3661335"/>
            <a:ext cx="12387" cy="2633138"/>
          </a:xfrm>
          <a:prstGeom prst="line">
            <a:avLst/>
          </a:prstGeom>
          <a:noFill/>
          <a:ln w="19050" cap="flat" cmpd="sng" algn="ctr">
            <a:solidFill>
              <a:srgbClr val="747480">
                <a:alpha val="50000"/>
              </a:srgbClr>
            </a:solidFill>
            <a:prstDash val="solid"/>
            <a:tailEnd type="none" w="lg" len="med"/>
          </a:ln>
          <a:effectLst/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B5B97C1-53E2-74B4-3EA3-F9DE9C39466F}"/>
              </a:ext>
            </a:extLst>
          </p:cNvPr>
          <p:cNvCxnSpPr>
            <a:cxnSpLocks/>
          </p:cNvCxnSpPr>
          <p:nvPr/>
        </p:nvCxnSpPr>
        <p:spPr>
          <a:xfrm>
            <a:off x="8793832" y="4511430"/>
            <a:ext cx="2244343" cy="0"/>
          </a:xfrm>
          <a:prstGeom prst="line">
            <a:avLst/>
          </a:prstGeom>
          <a:ln w="3175">
            <a:solidFill>
              <a:srgbClr val="74748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A3CEBE21-27A2-251A-DEDD-CF8F7434DAE5}"/>
              </a:ext>
            </a:extLst>
          </p:cNvPr>
          <p:cNvSpPr/>
          <p:nvPr/>
        </p:nvSpPr>
        <p:spPr>
          <a:xfrm>
            <a:off x="3667112" y="3638451"/>
            <a:ext cx="83436" cy="83127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>
              <a:defRPr/>
            </a:pPr>
            <a:endParaRPr lang="es-CO" sz="1199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A9ABB89-5F96-E334-AF9F-BA75AFD26F48}"/>
              </a:ext>
            </a:extLst>
          </p:cNvPr>
          <p:cNvSpPr/>
          <p:nvPr/>
        </p:nvSpPr>
        <p:spPr>
          <a:xfrm>
            <a:off x="6329598" y="3643182"/>
            <a:ext cx="83436" cy="83127"/>
          </a:xfrm>
          <a:prstGeom prst="ellipse">
            <a:avLst/>
          </a:prstGeom>
          <a:solidFill>
            <a:srgbClr val="C4C4C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>
              <a:defRPr/>
            </a:pPr>
            <a:endParaRPr lang="es-CO" sz="1199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5072046-CFAD-2EF5-D8A0-E9796CCFA28E}"/>
              </a:ext>
            </a:extLst>
          </p:cNvPr>
          <p:cNvSpPr/>
          <p:nvPr/>
        </p:nvSpPr>
        <p:spPr>
          <a:xfrm>
            <a:off x="8462072" y="3643182"/>
            <a:ext cx="83436" cy="83127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>
              <a:defRPr/>
            </a:pPr>
            <a:endParaRPr lang="es-CO" sz="1199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D67DCA0-B17B-31A7-8FB4-A47D1A0E5E8F}"/>
              </a:ext>
            </a:extLst>
          </p:cNvPr>
          <p:cNvSpPr/>
          <p:nvPr/>
        </p:nvSpPr>
        <p:spPr>
          <a:xfrm>
            <a:off x="1741441" y="3632774"/>
            <a:ext cx="83436" cy="83127"/>
          </a:xfrm>
          <a:prstGeom prst="ellipse">
            <a:avLst/>
          </a:prstGeom>
          <a:solidFill>
            <a:srgbClr val="BBBBC4"/>
          </a:solidFill>
          <a:ln w="9525">
            <a:solidFill>
              <a:srgbClr val="C4C4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>
              <a:defRPr/>
            </a:pPr>
            <a:endParaRPr lang="es-CO" sz="1199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8D4C22F-91AF-93A6-5926-F42C0068B646}"/>
              </a:ext>
            </a:extLst>
          </p:cNvPr>
          <p:cNvSpPr txBox="1"/>
          <p:nvPr/>
        </p:nvSpPr>
        <p:spPr>
          <a:xfrm>
            <a:off x="609919" y="5995685"/>
            <a:ext cx="7795494" cy="31162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050" i="1" dirty="0">
                <a:solidFill>
                  <a:schemeClr val="bg1"/>
                </a:solidFill>
              </a:rPr>
              <a:t>(1) Указанные даты отчетности представляют собой видение </a:t>
            </a:r>
            <a:r>
              <a:rPr lang="en-US" sz="1050" i="1" dirty="0">
                <a:solidFill>
                  <a:schemeClr val="bg1"/>
                </a:solidFill>
              </a:rPr>
              <a:t>ISSB</a:t>
            </a:r>
            <a:r>
              <a:rPr lang="ru-RU" sz="1050" i="1" dirty="0">
                <a:solidFill>
                  <a:schemeClr val="bg1"/>
                </a:solidFill>
              </a:rPr>
              <a:t> относительно принятия стандартов МСФО S1/S2, однако соответствующие национальные юрисдикции сами определят дату введения в действие МСФО S1/S2.</a:t>
            </a:r>
            <a:endParaRPr lang="en-US" sz="1050" i="1" dirty="0">
              <a:solidFill>
                <a:schemeClr val="bg1"/>
              </a:solidFill>
            </a:endParaRPr>
          </a:p>
        </p:txBody>
      </p:sp>
      <p:sp>
        <p:nvSpPr>
          <p:cNvPr id="35" name="Hexagon 34">
            <a:extLst>
              <a:ext uri="{FF2B5EF4-FFF2-40B4-BE49-F238E27FC236}">
                <a16:creationId xmlns:a16="http://schemas.microsoft.com/office/drawing/2014/main" id="{14DAA2BB-3B31-2F37-9B16-69F3F13F9963}"/>
              </a:ext>
            </a:extLst>
          </p:cNvPr>
          <p:cNvSpPr/>
          <p:nvPr/>
        </p:nvSpPr>
        <p:spPr>
          <a:xfrm>
            <a:off x="9926716" y="3275946"/>
            <a:ext cx="937224" cy="804958"/>
          </a:xfrm>
          <a:prstGeom prst="hexagon">
            <a:avLst/>
          </a:prstGeom>
          <a:solidFill>
            <a:schemeClr val="tx2"/>
          </a:solidFill>
          <a:ln w="19050">
            <a:noFill/>
            <a:miter lim="800000"/>
            <a:headEnd/>
            <a:tailEnd/>
          </a:ln>
        </p:spPr>
        <p:txBody>
          <a:bodyPr lIns="107992" tIns="107992" rIns="107992" bIns="107992" anchor="ctr">
            <a:noAutofit/>
          </a:bodyPr>
          <a:lstStyle/>
          <a:p>
            <a:pPr algn="ctr" defTabSz="913943" eaLnBrk="0" hangingPunct="0">
              <a:spcAft>
                <a:spcPts val="500"/>
              </a:spcAft>
              <a:defRPr/>
            </a:pPr>
            <a:r>
              <a:rPr lang="en-US" sz="1400" b="1" spc="-30" dirty="0">
                <a:solidFill>
                  <a:srgbClr val="2E2E38"/>
                </a:solidFill>
                <a:latin typeface="EYInterstate Regular" panose="02000503020000020004" pitchFamily="2" charset="0"/>
              </a:rPr>
              <a:t>2029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7D1FE77-00FC-F5FF-5EFE-DF4E9AB1F2FF}"/>
              </a:ext>
            </a:extLst>
          </p:cNvPr>
          <p:cNvSpPr txBox="1"/>
          <p:nvPr/>
        </p:nvSpPr>
        <p:spPr>
          <a:xfrm>
            <a:off x="9519715" y="1101584"/>
            <a:ext cx="2508125" cy="43088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lvl="1" defTabSz="913943">
              <a:spcAft>
                <a:spcPts val="600"/>
              </a:spcAft>
              <a:buClr>
                <a:srgbClr val="000000"/>
              </a:buClr>
              <a:buSzPct val="70000"/>
              <a:defRPr/>
            </a:pPr>
            <a:r>
              <a:rPr lang="ru-RU" sz="1400" dirty="0">
                <a:solidFill>
                  <a:srgbClr val="FFE600"/>
                </a:solidFill>
                <a:latin typeface="EYInterstate Light" panose="02000506000000020004" pitchFamily="2" charset="0"/>
              </a:rPr>
              <a:t>Ожидаемый максимальный  срок внедрения МСФО </a:t>
            </a:r>
            <a:r>
              <a:rPr lang="en-US" sz="1400" dirty="0">
                <a:solidFill>
                  <a:srgbClr val="FFE600"/>
                </a:solidFill>
                <a:latin typeface="EYInterstate Light" panose="02000506000000020004" pitchFamily="2" charset="0"/>
              </a:rPr>
              <a:t>S1/S2</a:t>
            </a:r>
            <a:endParaRPr lang="en-GB" sz="1400" dirty="0">
              <a:solidFill>
                <a:srgbClr val="FFE600"/>
              </a:solidFill>
              <a:latin typeface="EYInterstate Light" panose="02000506000000020004" pitchFamily="2" charset="0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2F89400-0A5A-CB52-1B8E-A6366AD27DFE}"/>
              </a:ext>
            </a:extLst>
          </p:cNvPr>
          <p:cNvCxnSpPr>
            <a:cxnSpLocks/>
          </p:cNvCxnSpPr>
          <p:nvPr/>
        </p:nvCxnSpPr>
        <p:spPr>
          <a:xfrm flipV="1">
            <a:off x="9569476" y="1595911"/>
            <a:ext cx="2074159" cy="13092"/>
          </a:xfrm>
          <a:prstGeom prst="line">
            <a:avLst/>
          </a:prstGeom>
          <a:ln w="3175">
            <a:solidFill>
              <a:srgbClr val="74748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DF192FB0-C4ED-AE18-4475-35807B0C51BE}"/>
              </a:ext>
            </a:extLst>
          </p:cNvPr>
          <p:cNvSpPr txBox="1"/>
          <p:nvPr/>
        </p:nvSpPr>
        <p:spPr>
          <a:xfrm>
            <a:off x="9569476" y="1688658"/>
            <a:ext cx="2074159" cy="975652"/>
          </a:xfrm>
          <a:prstGeom prst="rect">
            <a:avLst/>
          </a:prstGeom>
          <a:noFill/>
        </p:spPr>
        <p:txBody>
          <a:bodyPr wrap="square" lIns="0" tIns="0" bIns="0">
            <a:spAutoFit/>
          </a:bodyPr>
          <a:lstStyle/>
          <a:p>
            <a:pPr defTabSz="913943">
              <a:lnSpc>
                <a:spcPct val="107000"/>
              </a:lnSpc>
              <a:spcAft>
                <a:spcPts val="800"/>
              </a:spcAft>
              <a:buClr>
                <a:srgbClr val="FFE600"/>
              </a:buClr>
            </a:pPr>
            <a:r>
              <a:rPr lang="en-US" sz="1200" spc="-20" dirty="0">
                <a:solidFill>
                  <a:prstClr val="white"/>
                </a:solidFill>
              </a:rPr>
              <a:t>ISSB </a:t>
            </a:r>
            <a:r>
              <a:rPr lang="ru-RU" sz="1200" spc="-20" dirty="0">
                <a:solidFill>
                  <a:prstClr val="white"/>
                </a:solidFill>
              </a:rPr>
              <a:t>ожидает, что до конца 2029 года юрисдикции внедрят МСФО </a:t>
            </a:r>
            <a:r>
              <a:rPr lang="en-US" sz="1200" spc="-20" dirty="0">
                <a:solidFill>
                  <a:prstClr val="white"/>
                </a:solidFill>
              </a:rPr>
              <a:t>S1/S2 </a:t>
            </a:r>
            <a:r>
              <a:rPr lang="ru-RU" sz="1200" spc="-20" dirty="0">
                <a:solidFill>
                  <a:prstClr val="white"/>
                </a:solidFill>
              </a:rPr>
              <a:t>в местное законодательное поле</a:t>
            </a:r>
            <a:endParaRPr lang="en-US" sz="1200" spc="-2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7564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E969FB-1A8F-4D5E-0689-4EF8C97D29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2.07.2025г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491C6D-BB3F-86EA-A51D-A3439325A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Обучающий семинар по вопросам новых стандартов МСФО S1/S2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BF7EB6-60B2-F6BD-2AE5-94A64D086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FCA0F3-9F3A-694B-99BB-0E592A797735}" type="slidenum">
              <a:rPr lang="en-US" smtClean="0"/>
              <a:t>9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DAE08FF-DFCE-3B1F-B6B2-69422780D6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51" y="189482"/>
            <a:ext cx="11525424" cy="570955"/>
          </a:xfrm>
        </p:spPr>
        <p:txBody>
          <a:bodyPr/>
          <a:lstStyle/>
          <a:p>
            <a:r>
              <a:rPr lang="ru-RU" sz="2800" b="1" dirty="0"/>
              <a:t>Отчетность по стандартам </a:t>
            </a:r>
            <a:r>
              <a:rPr lang="en-US" sz="2800" b="1" dirty="0"/>
              <a:t>IFRS S1/S2</a:t>
            </a:r>
            <a:r>
              <a:rPr lang="ru-RU" sz="2800" b="1" dirty="0"/>
              <a:t> становится обязательной, в т.ч. среди иностранных инвесторов </a:t>
            </a:r>
            <a:endParaRPr lang="en-US" sz="2800" b="1" dirty="0"/>
          </a:p>
        </p:txBody>
      </p:sp>
      <p:grpSp>
        <p:nvGrpSpPr>
          <p:cNvPr id="9" name="Group 362">
            <a:extLst>
              <a:ext uri="{FF2B5EF4-FFF2-40B4-BE49-F238E27FC236}">
                <a16:creationId xmlns:a16="http://schemas.microsoft.com/office/drawing/2014/main" id="{F20F9450-E3F7-2974-24B6-E5F4C4356FB5}"/>
              </a:ext>
            </a:extLst>
          </p:cNvPr>
          <p:cNvGrpSpPr>
            <a:grpSpLocks/>
          </p:cNvGrpSpPr>
          <p:nvPr/>
        </p:nvGrpSpPr>
        <p:grpSpPr bwMode="gray">
          <a:xfrm>
            <a:off x="1196819" y="2191503"/>
            <a:ext cx="7164767" cy="3690463"/>
            <a:chOff x="-22397" y="-19887"/>
            <a:chExt cx="34671" cy="16911"/>
          </a:xfrm>
          <a:solidFill>
            <a:schemeClr val="tx1">
              <a:lumMod val="95000"/>
            </a:schemeClr>
          </a:solidFill>
          <a:effectLst>
            <a:outerShdw blurRad="127000" dist="25400" dir="2700000" algn="tl" rotWithShape="0">
              <a:prstClr val="black">
                <a:alpha val="30000"/>
              </a:prstClr>
            </a:outerShdw>
          </a:effectLst>
        </p:grpSpPr>
        <p:sp>
          <p:nvSpPr>
            <p:cNvPr id="10" name="Freeform 188">
              <a:extLst>
                <a:ext uri="{FF2B5EF4-FFF2-40B4-BE49-F238E27FC236}">
                  <a16:creationId xmlns:a16="http://schemas.microsoft.com/office/drawing/2014/main" id="{C2DAED65-7D34-C9DA-0884-C75B9956089C}"/>
                </a:ext>
              </a:extLst>
            </p:cNvPr>
            <p:cNvSpPr>
              <a:spLocks/>
            </p:cNvSpPr>
            <p:nvPr/>
          </p:nvSpPr>
          <p:spPr bwMode="gray">
            <a:xfrm>
              <a:off x="-1758" y="-8428"/>
              <a:ext cx="966" cy="1763"/>
            </a:xfrm>
            <a:custGeom>
              <a:avLst/>
              <a:gdLst>
                <a:gd name="T0" fmla="*/ 88 w 409"/>
                <a:gd name="T1" fmla="*/ 219 h 746"/>
                <a:gd name="T2" fmla="*/ 104 w 409"/>
                <a:gd name="T3" fmla="*/ 214 h 746"/>
                <a:gd name="T4" fmla="*/ 134 w 409"/>
                <a:gd name="T5" fmla="*/ 218 h 746"/>
                <a:gd name="T6" fmla="*/ 134 w 409"/>
                <a:gd name="T7" fmla="*/ 202 h 746"/>
                <a:gd name="T8" fmla="*/ 173 w 409"/>
                <a:gd name="T9" fmla="*/ 207 h 746"/>
                <a:gd name="T10" fmla="*/ 186 w 409"/>
                <a:gd name="T11" fmla="*/ 188 h 746"/>
                <a:gd name="T12" fmla="*/ 216 w 409"/>
                <a:gd name="T13" fmla="*/ 193 h 746"/>
                <a:gd name="T14" fmla="*/ 214 w 409"/>
                <a:gd name="T15" fmla="*/ 172 h 746"/>
                <a:gd name="T16" fmla="*/ 223 w 409"/>
                <a:gd name="T17" fmla="*/ 150 h 746"/>
                <a:gd name="T18" fmla="*/ 225 w 409"/>
                <a:gd name="T19" fmla="*/ 172 h 746"/>
                <a:gd name="T20" fmla="*/ 230 w 409"/>
                <a:gd name="T21" fmla="*/ 186 h 746"/>
                <a:gd name="T22" fmla="*/ 239 w 409"/>
                <a:gd name="T23" fmla="*/ 159 h 746"/>
                <a:gd name="T24" fmla="*/ 244 w 409"/>
                <a:gd name="T25" fmla="*/ 124 h 746"/>
                <a:gd name="T26" fmla="*/ 255 w 409"/>
                <a:gd name="T27" fmla="*/ 138 h 746"/>
                <a:gd name="T28" fmla="*/ 269 w 409"/>
                <a:gd name="T29" fmla="*/ 126 h 746"/>
                <a:gd name="T30" fmla="*/ 271 w 409"/>
                <a:gd name="T31" fmla="*/ 88 h 746"/>
                <a:gd name="T32" fmla="*/ 288 w 409"/>
                <a:gd name="T33" fmla="*/ 88 h 746"/>
                <a:gd name="T34" fmla="*/ 312 w 409"/>
                <a:gd name="T35" fmla="*/ 62 h 746"/>
                <a:gd name="T36" fmla="*/ 315 w 409"/>
                <a:gd name="T37" fmla="*/ 26 h 746"/>
                <a:gd name="T38" fmla="*/ 336 w 409"/>
                <a:gd name="T39" fmla="*/ 0 h 746"/>
                <a:gd name="T40" fmla="*/ 372 w 409"/>
                <a:gd name="T41" fmla="*/ 41 h 746"/>
                <a:gd name="T42" fmla="*/ 372 w 409"/>
                <a:gd name="T43" fmla="*/ 56 h 746"/>
                <a:gd name="T44" fmla="*/ 395 w 409"/>
                <a:gd name="T45" fmla="*/ 110 h 746"/>
                <a:gd name="T46" fmla="*/ 382 w 409"/>
                <a:gd name="T47" fmla="*/ 143 h 746"/>
                <a:gd name="T48" fmla="*/ 402 w 409"/>
                <a:gd name="T49" fmla="*/ 193 h 746"/>
                <a:gd name="T50" fmla="*/ 375 w 409"/>
                <a:gd name="T51" fmla="*/ 188 h 746"/>
                <a:gd name="T52" fmla="*/ 354 w 409"/>
                <a:gd name="T53" fmla="*/ 193 h 746"/>
                <a:gd name="T54" fmla="*/ 358 w 409"/>
                <a:gd name="T55" fmla="*/ 221 h 746"/>
                <a:gd name="T56" fmla="*/ 333 w 409"/>
                <a:gd name="T57" fmla="*/ 259 h 746"/>
                <a:gd name="T58" fmla="*/ 338 w 409"/>
                <a:gd name="T59" fmla="*/ 312 h 746"/>
                <a:gd name="T60" fmla="*/ 267 w 409"/>
                <a:gd name="T61" fmla="*/ 478 h 746"/>
                <a:gd name="T62" fmla="*/ 211 w 409"/>
                <a:gd name="T63" fmla="*/ 609 h 746"/>
                <a:gd name="T64" fmla="*/ 189 w 409"/>
                <a:gd name="T65" fmla="*/ 676 h 746"/>
                <a:gd name="T66" fmla="*/ 149 w 409"/>
                <a:gd name="T67" fmla="*/ 712 h 746"/>
                <a:gd name="T68" fmla="*/ 133 w 409"/>
                <a:gd name="T69" fmla="*/ 710 h 746"/>
                <a:gd name="T70" fmla="*/ 60 w 409"/>
                <a:gd name="T71" fmla="*/ 717 h 746"/>
                <a:gd name="T72" fmla="*/ 28 w 409"/>
                <a:gd name="T73" fmla="*/ 675 h 746"/>
                <a:gd name="T74" fmla="*/ 41 w 409"/>
                <a:gd name="T75" fmla="*/ 659 h 746"/>
                <a:gd name="T76" fmla="*/ 5 w 409"/>
                <a:gd name="T77" fmla="*/ 556 h 746"/>
                <a:gd name="T78" fmla="*/ 39 w 409"/>
                <a:gd name="T79" fmla="*/ 473 h 746"/>
                <a:gd name="T80" fmla="*/ 79 w 409"/>
                <a:gd name="T81" fmla="*/ 436 h 746"/>
                <a:gd name="T82" fmla="*/ 71 w 409"/>
                <a:gd name="T83" fmla="*/ 349 h 746"/>
                <a:gd name="T84" fmla="*/ 67 w 409"/>
                <a:gd name="T85" fmla="*/ 271 h 746"/>
                <a:gd name="T86" fmla="*/ 94 w 409"/>
                <a:gd name="T87" fmla="*/ 239 h 746"/>
                <a:gd name="T88" fmla="*/ 88 w 409"/>
                <a:gd name="T89" fmla="*/ 219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9" h="746">
                  <a:moveTo>
                    <a:pt x="88" y="219"/>
                  </a:moveTo>
                  <a:cubicBezTo>
                    <a:pt x="104" y="214"/>
                    <a:pt x="104" y="214"/>
                    <a:pt x="104" y="214"/>
                  </a:cubicBezTo>
                  <a:cubicBezTo>
                    <a:pt x="134" y="218"/>
                    <a:pt x="134" y="218"/>
                    <a:pt x="134" y="218"/>
                  </a:cubicBezTo>
                  <a:cubicBezTo>
                    <a:pt x="134" y="202"/>
                    <a:pt x="134" y="202"/>
                    <a:pt x="134" y="202"/>
                  </a:cubicBezTo>
                  <a:cubicBezTo>
                    <a:pt x="173" y="207"/>
                    <a:pt x="173" y="207"/>
                    <a:pt x="173" y="207"/>
                  </a:cubicBezTo>
                  <a:cubicBezTo>
                    <a:pt x="186" y="188"/>
                    <a:pt x="186" y="188"/>
                    <a:pt x="186" y="188"/>
                  </a:cubicBezTo>
                  <a:cubicBezTo>
                    <a:pt x="216" y="193"/>
                    <a:pt x="216" y="193"/>
                    <a:pt x="216" y="193"/>
                  </a:cubicBezTo>
                  <a:cubicBezTo>
                    <a:pt x="214" y="172"/>
                    <a:pt x="214" y="172"/>
                    <a:pt x="214" y="172"/>
                  </a:cubicBezTo>
                  <a:cubicBezTo>
                    <a:pt x="223" y="150"/>
                    <a:pt x="223" y="150"/>
                    <a:pt x="223" y="150"/>
                  </a:cubicBezTo>
                  <a:cubicBezTo>
                    <a:pt x="225" y="172"/>
                    <a:pt x="225" y="172"/>
                    <a:pt x="225" y="172"/>
                  </a:cubicBezTo>
                  <a:cubicBezTo>
                    <a:pt x="230" y="186"/>
                    <a:pt x="230" y="186"/>
                    <a:pt x="230" y="186"/>
                  </a:cubicBezTo>
                  <a:cubicBezTo>
                    <a:pt x="239" y="159"/>
                    <a:pt x="239" y="159"/>
                    <a:pt x="239" y="159"/>
                  </a:cubicBezTo>
                  <a:cubicBezTo>
                    <a:pt x="239" y="159"/>
                    <a:pt x="237" y="129"/>
                    <a:pt x="244" y="124"/>
                  </a:cubicBezTo>
                  <a:cubicBezTo>
                    <a:pt x="251" y="118"/>
                    <a:pt x="255" y="138"/>
                    <a:pt x="255" y="138"/>
                  </a:cubicBezTo>
                  <a:cubicBezTo>
                    <a:pt x="255" y="138"/>
                    <a:pt x="260" y="136"/>
                    <a:pt x="269" y="126"/>
                  </a:cubicBezTo>
                  <a:cubicBezTo>
                    <a:pt x="278" y="115"/>
                    <a:pt x="264" y="95"/>
                    <a:pt x="271" y="88"/>
                  </a:cubicBezTo>
                  <a:cubicBezTo>
                    <a:pt x="278" y="81"/>
                    <a:pt x="288" y="88"/>
                    <a:pt x="288" y="88"/>
                  </a:cubicBezTo>
                  <a:cubicBezTo>
                    <a:pt x="288" y="88"/>
                    <a:pt x="306" y="74"/>
                    <a:pt x="312" y="62"/>
                  </a:cubicBezTo>
                  <a:cubicBezTo>
                    <a:pt x="317" y="49"/>
                    <a:pt x="315" y="26"/>
                    <a:pt x="315" y="26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372" y="41"/>
                    <a:pt x="372" y="41"/>
                    <a:pt x="372" y="41"/>
                  </a:cubicBezTo>
                  <a:cubicBezTo>
                    <a:pt x="372" y="41"/>
                    <a:pt x="372" y="51"/>
                    <a:pt x="372" y="56"/>
                  </a:cubicBezTo>
                  <a:cubicBezTo>
                    <a:pt x="372" y="62"/>
                    <a:pt x="395" y="110"/>
                    <a:pt x="395" y="110"/>
                  </a:cubicBezTo>
                  <a:cubicBezTo>
                    <a:pt x="382" y="143"/>
                    <a:pt x="382" y="143"/>
                    <a:pt x="382" y="143"/>
                  </a:cubicBezTo>
                  <a:cubicBezTo>
                    <a:pt x="382" y="143"/>
                    <a:pt x="409" y="188"/>
                    <a:pt x="402" y="193"/>
                  </a:cubicBezTo>
                  <a:cubicBezTo>
                    <a:pt x="395" y="198"/>
                    <a:pt x="375" y="188"/>
                    <a:pt x="375" y="188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8" y="221"/>
                    <a:pt x="358" y="221"/>
                    <a:pt x="358" y="221"/>
                  </a:cubicBezTo>
                  <a:cubicBezTo>
                    <a:pt x="358" y="221"/>
                    <a:pt x="335" y="245"/>
                    <a:pt x="333" y="259"/>
                  </a:cubicBezTo>
                  <a:cubicBezTo>
                    <a:pt x="331" y="273"/>
                    <a:pt x="345" y="287"/>
                    <a:pt x="338" y="312"/>
                  </a:cubicBezTo>
                  <a:cubicBezTo>
                    <a:pt x="331" y="336"/>
                    <a:pt x="306" y="409"/>
                    <a:pt x="267" y="478"/>
                  </a:cubicBezTo>
                  <a:cubicBezTo>
                    <a:pt x="228" y="547"/>
                    <a:pt x="211" y="609"/>
                    <a:pt x="211" y="609"/>
                  </a:cubicBezTo>
                  <a:cubicBezTo>
                    <a:pt x="211" y="609"/>
                    <a:pt x="214" y="653"/>
                    <a:pt x="189" y="676"/>
                  </a:cubicBezTo>
                  <a:cubicBezTo>
                    <a:pt x="165" y="699"/>
                    <a:pt x="156" y="708"/>
                    <a:pt x="149" y="712"/>
                  </a:cubicBezTo>
                  <a:cubicBezTo>
                    <a:pt x="141" y="715"/>
                    <a:pt x="133" y="710"/>
                    <a:pt x="133" y="710"/>
                  </a:cubicBezTo>
                  <a:cubicBezTo>
                    <a:pt x="133" y="710"/>
                    <a:pt x="90" y="746"/>
                    <a:pt x="60" y="717"/>
                  </a:cubicBezTo>
                  <a:cubicBezTo>
                    <a:pt x="30" y="689"/>
                    <a:pt x="28" y="675"/>
                    <a:pt x="28" y="675"/>
                  </a:cubicBezTo>
                  <a:cubicBezTo>
                    <a:pt x="41" y="659"/>
                    <a:pt x="41" y="659"/>
                    <a:pt x="41" y="659"/>
                  </a:cubicBezTo>
                  <a:cubicBezTo>
                    <a:pt x="41" y="659"/>
                    <a:pt x="10" y="622"/>
                    <a:pt x="5" y="556"/>
                  </a:cubicBezTo>
                  <a:cubicBezTo>
                    <a:pt x="0" y="490"/>
                    <a:pt x="23" y="492"/>
                    <a:pt x="39" y="473"/>
                  </a:cubicBezTo>
                  <a:cubicBezTo>
                    <a:pt x="55" y="453"/>
                    <a:pt x="79" y="436"/>
                    <a:pt x="79" y="436"/>
                  </a:cubicBezTo>
                  <a:cubicBezTo>
                    <a:pt x="79" y="436"/>
                    <a:pt x="72" y="370"/>
                    <a:pt x="71" y="349"/>
                  </a:cubicBezTo>
                  <a:cubicBezTo>
                    <a:pt x="69" y="327"/>
                    <a:pt x="53" y="283"/>
                    <a:pt x="67" y="271"/>
                  </a:cubicBezTo>
                  <a:cubicBezTo>
                    <a:pt x="81" y="259"/>
                    <a:pt x="94" y="239"/>
                    <a:pt x="94" y="239"/>
                  </a:cubicBezTo>
                  <a:lnTo>
                    <a:pt x="88" y="219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 189">
              <a:extLst>
                <a:ext uri="{FF2B5EF4-FFF2-40B4-BE49-F238E27FC236}">
                  <a16:creationId xmlns:a16="http://schemas.microsoft.com/office/drawing/2014/main" id="{A0846FE0-5D0B-E32E-B8BF-959DFB73D63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5766" y="-12935"/>
              <a:ext cx="1165" cy="437"/>
            </a:xfrm>
            <a:custGeom>
              <a:avLst/>
              <a:gdLst>
                <a:gd name="T0" fmla="*/ 475 w 493"/>
                <a:gd name="T1" fmla="*/ 151 h 185"/>
                <a:gd name="T2" fmla="*/ 445 w 493"/>
                <a:gd name="T3" fmla="*/ 148 h 185"/>
                <a:gd name="T4" fmla="*/ 434 w 493"/>
                <a:gd name="T5" fmla="*/ 129 h 185"/>
                <a:gd name="T6" fmla="*/ 399 w 493"/>
                <a:gd name="T7" fmla="*/ 128 h 185"/>
                <a:gd name="T8" fmla="*/ 416 w 493"/>
                <a:gd name="T9" fmla="*/ 114 h 185"/>
                <a:gd name="T10" fmla="*/ 378 w 493"/>
                <a:gd name="T11" fmla="*/ 106 h 185"/>
                <a:gd name="T12" fmla="*/ 349 w 493"/>
                <a:gd name="T13" fmla="*/ 96 h 185"/>
                <a:gd name="T14" fmla="*/ 351 w 493"/>
                <a:gd name="T15" fmla="*/ 79 h 185"/>
                <a:gd name="T16" fmla="*/ 338 w 493"/>
                <a:gd name="T17" fmla="*/ 77 h 185"/>
                <a:gd name="T18" fmla="*/ 290 w 493"/>
                <a:gd name="T19" fmla="*/ 45 h 185"/>
                <a:gd name="T20" fmla="*/ 300 w 493"/>
                <a:gd name="T21" fmla="*/ 64 h 185"/>
                <a:gd name="T22" fmla="*/ 255 w 493"/>
                <a:gd name="T23" fmla="*/ 42 h 185"/>
                <a:gd name="T24" fmla="*/ 220 w 493"/>
                <a:gd name="T25" fmla="*/ 12 h 185"/>
                <a:gd name="T26" fmla="*/ 180 w 493"/>
                <a:gd name="T27" fmla="*/ 12 h 185"/>
                <a:gd name="T28" fmla="*/ 118 w 493"/>
                <a:gd name="T29" fmla="*/ 0 h 185"/>
                <a:gd name="T30" fmla="*/ 48 w 493"/>
                <a:gd name="T31" fmla="*/ 26 h 185"/>
                <a:gd name="T32" fmla="*/ 0 w 493"/>
                <a:gd name="T33" fmla="*/ 51 h 185"/>
                <a:gd name="T34" fmla="*/ 51 w 493"/>
                <a:gd name="T35" fmla="*/ 49 h 185"/>
                <a:gd name="T36" fmla="*/ 51 w 493"/>
                <a:gd name="T37" fmla="*/ 39 h 185"/>
                <a:gd name="T38" fmla="*/ 102 w 493"/>
                <a:gd name="T39" fmla="*/ 36 h 185"/>
                <a:gd name="T40" fmla="*/ 115 w 493"/>
                <a:gd name="T41" fmla="*/ 29 h 185"/>
                <a:gd name="T42" fmla="*/ 150 w 493"/>
                <a:gd name="T43" fmla="*/ 34 h 185"/>
                <a:gd name="T44" fmla="*/ 126 w 493"/>
                <a:gd name="T45" fmla="*/ 46 h 185"/>
                <a:gd name="T46" fmla="*/ 137 w 493"/>
                <a:gd name="T47" fmla="*/ 54 h 185"/>
                <a:gd name="T48" fmla="*/ 172 w 493"/>
                <a:gd name="T49" fmla="*/ 66 h 185"/>
                <a:gd name="T50" fmla="*/ 188 w 493"/>
                <a:gd name="T51" fmla="*/ 61 h 185"/>
                <a:gd name="T52" fmla="*/ 220 w 493"/>
                <a:gd name="T53" fmla="*/ 81 h 185"/>
                <a:gd name="T54" fmla="*/ 268 w 493"/>
                <a:gd name="T55" fmla="*/ 79 h 185"/>
                <a:gd name="T56" fmla="*/ 263 w 493"/>
                <a:gd name="T57" fmla="*/ 96 h 185"/>
                <a:gd name="T58" fmla="*/ 303 w 493"/>
                <a:gd name="T59" fmla="*/ 113 h 185"/>
                <a:gd name="T60" fmla="*/ 319 w 493"/>
                <a:gd name="T61" fmla="*/ 136 h 185"/>
                <a:gd name="T62" fmla="*/ 335 w 493"/>
                <a:gd name="T63" fmla="*/ 150 h 185"/>
                <a:gd name="T64" fmla="*/ 316 w 493"/>
                <a:gd name="T65" fmla="*/ 172 h 185"/>
                <a:gd name="T66" fmla="*/ 356 w 493"/>
                <a:gd name="T67" fmla="*/ 163 h 185"/>
                <a:gd name="T68" fmla="*/ 367 w 493"/>
                <a:gd name="T69" fmla="*/ 168 h 185"/>
                <a:gd name="T70" fmla="*/ 375 w 493"/>
                <a:gd name="T71" fmla="*/ 180 h 185"/>
                <a:gd name="T72" fmla="*/ 426 w 493"/>
                <a:gd name="T73" fmla="*/ 178 h 185"/>
                <a:gd name="T74" fmla="*/ 493 w 493"/>
                <a:gd name="T75" fmla="*/ 163 h 185"/>
                <a:gd name="T76" fmla="*/ 475 w 493"/>
                <a:gd name="T77" fmla="*/ 151 h 185"/>
                <a:gd name="T78" fmla="*/ 78 w 493"/>
                <a:gd name="T79" fmla="*/ 84 h 185"/>
                <a:gd name="T80" fmla="*/ 104 w 493"/>
                <a:gd name="T81" fmla="*/ 84 h 185"/>
                <a:gd name="T82" fmla="*/ 78 w 493"/>
                <a:gd name="T83" fmla="*/ 84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3" h="185">
                  <a:moveTo>
                    <a:pt x="475" y="151"/>
                  </a:moveTo>
                  <a:cubicBezTo>
                    <a:pt x="456" y="148"/>
                    <a:pt x="445" y="148"/>
                    <a:pt x="445" y="148"/>
                  </a:cubicBezTo>
                  <a:cubicBezTo>
                    <a:pt x="445" y="148"/>
                    <a:pt x="453" y="131"/>
                    <a:pt x="434" y="129"/>
                  </a:cubicBezTo>
                  <a:cubicBezTo>
                    <a:pt x="416" y="126"/>
                    <a:pt x="399" y="128"/>
                    <a:pt x="399" y="128"/>
                  </a:cubicBezTo>
                  <a:cubicBezTo>
                    <a:pt x="416" y="114"/>
                    <a:pt x="416" y="114"/>
                    <a:pt x="416" y="114"/>
                  </a:cubicBezTo>
                  <a:cubicBezTo>
                    <a:pt x="416" y="114"/>
                    <a:pt x="386" y="106"/>
                    <a:pt x="378" y="106"/>
                  </a:cubicBezTo>
                  <a:cubicBezTo>
                    <a:pt x="370" y="106"/>
                    <a:pt x="349" y="96"/>
                    <a:pt x="349" y="96"/>
                  </a:cubicBezTo>
                  <a:cubicBezTo>
                    <a:pt x="349" y="96"/>
                    <a:pt x="359" y="79"/>
                    <a:pt x="351" y="79"/>
                  </a:cubicBezTo>
                  <a:cubicBezTo>
                    <a:pt x="343" y="79"/>
                    <a:pt x="338" y="77"/>
                    <a:pt x="338" y="77"/>
                  </a:cubicBezTo>
                  <a:cubicBezTo>
                    <a:pt x="338" y="77"/>
                    <a:pt x="298" y="37"/>
                    <a:pt x="290" y="45"/>
                  </a:cubicBezTo>
                  <a:cubicBezTo>
                    <a:pt x="282" y="52"/>
                    <a:pt x="300" y="64"/>
                    <a:pt x="300" y="64"/>
                  </a:cubicBezTo>
                  <a:cubicBezTo>
                    <a:pt x="255" y="42"/>
                    <a:pt x="255" y="42"/>
                    <a:pt x="255" y="42"/>
                  </a:cubicBezTo>
                  <a:cubicBezTo>
                    <a:pt x="255" y="42"/>
                    <a:pt x="231" y="17"/>
                    <a:pt x="220" y="12"/>
                  </a:cubicBezTo>
                  <a:cubicBezTo>
                    <a:pt x="209" y="7"/>
                    <a:pt x="180" y="12"/>
                    <a:pt x="180" y="12"/>
                  </a:cubicBezTo>
                  <a:cubicBezTo>
                    <a:pt x="180" y="12"/>
                    <a:pt x="156" y="0"/>
                    <a:pt x="118" y="0"/>
                  </a:cubicBezTo>
                  <a:cubicBezTo>
                    <a:pt x="81" y="0"/>
                    <a:pt x="64" y="12"/>
                    <a:pt x="48" y="26"/>
                  </a:cubicBezTo>
                  <a:cubicBezTo>
                    <a:pt x="32" y="41"/>
                    <a:pt x="0" y="51"/>
                    <a:pt x="0" y="51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15" y="29"/>
                    <a:pt x="115" y="29"/>
                    <a:pt x="115" y="29"/>
                  </a:cubicBezTo>
                  <a:cubicBezTo>
                    <a:pt x="115" y="29"/>
                    <a:pt x="142" y="27"/>
                    <a:pt x="150" y="34"/>
                  </a:cubicBezTo>
                  <a:cubicBezTo>
                    <a:pt x="158" y="42"/>
                    <a:pt x="126" y="46"/>
                    <a:pt x="126" y="46"/>
                  </a:cubicBezTo>
                  <a:cubicBezTo>
                    <a:pt x="137" y="54"/>
                    <a:pt x="137" y="54"/>
                    <a:pt x="137" y="54"/>
                  </a:cubicBezTo>
                  <a:cubicBezTo>
                    <a:pt x="137" y="54"/>
                    <a:pt x="155" y="61"/>
                    <a:pt x="172" y="66"/>
                  </a:cubicBezTo>
                  <a:cubicBezTo>
                    <a:pt x="188" y="71"/>
                    <a:pt x="188" y="61"/>
                    <a:pt x="188" y="61"/>
                  </a:cubicBezTo>
                  <a:cubicBezTo>
                    <a:pt x="188" y="61"/>
                    <a:pt x="204" y="74"/>
                    <a:pt x="220" y="81"/>
                  </a:cubicBezTo>
                  <a:cubicBezTo>
                    <a:pt x="236" y="89"/>
                    <a:pt x="268" y="79"/>
                    <a:pt x="268" y="79"/>
                  </a:cubicBezTo>
                  <a:cubicBezTo>
                    <a:pt x="263" y="96"/>
                    <a:pt x="263" y="96"/>
                    <a:pt x="263" y="96"/>
                  </a:cubicBezTo>
                  <a:cubicBezTo>
                    <a:pt x="303" y="113"/>
                    <a:pt x="303" y="113"/>
                    <a:pt x="303" y="113"/>
                  </a:cubicBezTo>
                  <a:cubicBezTo>
                    <a:pt x="319" y="136"/>
                    <a:pt x="319" y="136"/>
                    <a:pt x="319" y="136"/>
                  </a:cubicBezTo>
                  <a:cubicBezTo>
                    <a:pt x="319" y="136"/>
                    <a:pt x="335" y="143"/>
                    <a:pt x="335" y="150"/>
                  </a:cubicBezTo>
                  <a:cubicBezTo>
                    <a:pt x="335" y="158"/>
                    <a:pt x="308" y="165"/>
                    <a:pt x="316" y="172"/>
                  </a:cubicBezTo>
                  <a:cubicBezTo>
                    <a:pt x="324" y="180"/>
                    <a:pt x="348" y="163"/>
                    <a:pt x="356" y="163"/>
                  </a:cubicBezTo>
                  <a:cubicBezTo>
                    <a:pt x="364" y="163"/>
                    <a:pt x="381" y="165"/>
                    <a:pt x="367" y="168"/>
                  </a:cubicBezTo>
                  <a:cubicBezTo>
                    <a:pt x="354" y="170"/>
                    <a:pt x="375" y="180"/>
                    <a:pt x="375" y="180"/>
                  </a:cubicBezTo>
                  <a:cubicBezTo>
                    <a:pt x="375" y="180"/>
                    <a:pt x="397" y="185"/>
                    <a:pt x="426" y="178"/>
                  </a:cubicBezTo>
                  <a:cubicBezTo>
                    <a:pt x="456" y="170"/>
                    <a:pt x="493" y="163"/>
                    <a:pt x="493" y="163"/>
                  </a:cubicBezTo>
                  <a:cubicBezTo>
                    <a:pt x="493" y="163"/>
                    <a:pt x="493" y="153"/>
                    <a:pt x="475" y="151"/>
                  </a:cubicBezTo>
                  <a:close/>
                  <a:moveTo>
                    <a:pt x="78" y="84"/>
                  </a:moveTo>
                  <a:cubicBezTo>
                    <a:pt x="75" y="97"/>
                    <a:pt x="102" y="99"/>
                    <a:pt x="104" y="84"/>
                  </a:cubicBezTo>
                  <a:cubicBezTo>
                    <a:pt x="107" y="70"/>
                    <a:pt x="78" y="84"/>
                    <a:pt x="78" y="84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190">
              <a:extLst>
                <a:ext uri="{FF2B5EF4-FFF2-40B4-BE49-F238E27FC236}">
                  <a16:creationId xmlns:a16="http://schemas.microsoft.com/office/drawing/2014/main" id="{748432B1-1352-E01C-7062-943B63DC5A70}"/>
                </a:ext>
              </a:extLst>
            </p:cNvPr>
            <p:cNvSpPr>
              <a:spLocks/>
            </p:cNvSpPr>
            <p:nvPr/>
          </p:nvSpPr>
          <p:spPr bwMode="gray">
            <a:xfrm>
              <a:off x="-15126" y="-12330"/>
              <a:ext cx="255" cy="99"/>
            </a:xfrm>
            <a:custGeom>
              <a:avLst/>
              <a:gdLst>
                <a:gd name="T0" fmla="*/ 72 w 108"/>
                <a:gd name="T1" fmla="*/ 42 h 42"/>
                <a:gd name="T2" fmla="*/ 79 w 108"/>
                <a:gd name="T3" fmla="*/ 28 h 42"/>
                <a:gd name="T4" fmla="*/ 108 w 108"/>
                <a:gd name="T5" fmla="*/ 34 h 42"/>
                <a:gd name="T6" fmla="*/ 85 w 108"/>
                <a:gd name="T7" fmla="*/ 9 h 42"/>
                <a:gd name="T8" fmla="*/ 48 w 108"/>
                <a:gd name="T9" fmla="*/ 6 h 42"/>
                <a:gd name="T10" fmla="*/ 19 w 108"/>
                <a:gd name="T11" fmla="*/ 4 h 42"/>
                <a:gd name="T12" fmla="*/ 0 w 108"/>
                <a:gd name="T13" fmla="*/ 9 h 42"/>
                <a:gd name="T14" fmla="*/ 17 w 108"/>
                <a:gd name="T15" fmla="*/ 26 h 42"/>
                <a:gd name="T16" fmla="*/ 43 w 108"/>
                <a:gd name="T17" fmla="*/ 32 h 42"/>
                <a:gd name="T18" fmla="*/ 54 w 108"/>
                <a:gd name="T19" fmla="*/ 38 h 42"/>
                <a:gd name="T20" fmla="*/ 72 w 108"/>
                <a:gd name="T2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8" h="42">
                  <a:moveTo>
                    <a:pt x="72" y="42"/>
                  </a:moveTo>
                  <a:cubicBezTo>
                    <a:pt x="79" y="28"/>
                    <a:pt x="79" y="28"/>
                    <a:pt x="79" y="28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95" y="9"/>
                    <a:pt x="85" y="9"/>
                  </a:cubicBezTo>
                  <a:cubicBezTo>
                    <a:pt x="75" y="9"/>
                    <a:pt x="58" y="7"/>
                    <a:pt x="48" y="6"/>
                  </a:cubicBezTo>
                  <a:cubicBezTo>
                    <a:pt x="37" y="4"/>
                    <a:pt x="27" y="0"/>
                    <a:pt x="19" y="4"/>
                  </a:cubicBezTo>
                  <a:cubicBezTo>
                    <a:pt x="11" y="7"/>
                    <a:pt x="0" y="9"/>
                    <a:pt x="0" y="9"/>
                  </a:cubicBezTo>
                  <a:cubicBezTo>
                    <a:pt x="0" y="9"/>
                    <a:pt x="8" y="20"/>
                    <a:pt x="17" y="26"/>
                  </a:cubicBezTo>
                  <a:cubicBezTo>
                    <a:pt x="25" y="32"/>
                    <a:pt x="43" y="32"/>
                    <a:pt x="43" y="32"/>
                  </a:cubicBezTo>
                  <a:cubicBezTo>
                    <a:pt x="54" y="38"/>
                    <a:pt x="54" y="38"/>
                    <a:pt x="54" y="38"/>
                  </a:cubicBezTo>
                  <a:lnTo>
                    <a:pt x="72" y="42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191">
              <a:extLst>
                <a:ext uri="{FF2B5EF4-FFF2-40B4-BE49-F238E27FC236}">
                  <a16:creationId xmlns:a16="http://schemas.microsoft.com/office/drawing/2014/main" id="{F6665CBF-1A59-EC1C-270F-7184C3E81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-13871" y="-12323"/>
              <a:ext cx="229" cy="94"/>
            </a:xfrm>
            <a:custGeom>
              <a:avLst/>
              <a:gdLst>
                <a:gd name="T0" fmla="*/ 60 w 97"/>
                <a:gd name="T1" fmla="*/ 9 h 40"/>
                <a:gd name="T2" fmla="*/ 15 w 97"/>
                <a:gd name="T3" fmla="*/ 0 h 40"/>
                <a:gd name="T4" fmla="*/ 2 w 97"/>
                <a:gd name="T5" fmla="*/ 32 h 40"/>
                <a:gd name="T6" fmla="*/ 27 w 97"/>
                <a:gd name="T7" fmla="*/ 40 h 40"/>
                <a:gd name="T8" fmla="*/ 33 w 97"/>
                <a:gd name="T9" fmla="*/ 34 h 40"/>
                <a:gd name="T10" fmla="*/ 64 w 97"/>
                <a:gd name="T11" fmla="*/ 34 h 40"/>
                <a:gd name="T12" fmla="*/ 95 w 97"/>
                <a:gd name="T13" fmla="*/ 10 h 40"/>
                <a:gd name="T14" fmla="*/ 60 w 97"/>
                <a:gd name="T15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40">
                  <a:moveTo>
                    <a:pt x="60" y="9"/>
                  </a:moveTo>
                  <a:cubicBezTo>
                    <a:pt x="52" y="9"/>
                    <a:pt x="29" y="0"/>
                    <a:pt x="15" y="0"/>
                  </a:cubicBezTo>
                  <a:cubicBezTo>
                    <a:pt x="0" y="0"/>
                    <a:pt x="2" y="32"/>
                    <a:pt x="2" y="32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3" y="34"/>
                    <a:pt x="48" y="36"/>
                    <a:pt x="64" y="34"/>
                  </a:cubicBezTo>
                  <a:cubicBezTo>
                    <a:pt x="81" y="32"/>
                    <a:pt x="97" y="17"/>
                    <a:pt x="95" y="10"/>
                  </a:cubicBezTo>
                  <a:cubicBezTo>
                    <a:pt x="93" y="2"/>
                    <a:pt x="68" y="10"/>
                    <a:pt x="60" y="9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192">
              <a:extLst>
                <a:ext uri="{FF2B5EF4-FFF2-40B4-BE49-F238E27FC236}">
                  <a16:creationId xmlns:a16="http://schemas.microsoft.com/office/drawing/2014/main" id="{5BDF2458-F349-2E16-6197-2C4995573600}"/>
                </a:ext>
              </a:extLst>
            </p:cNvPr>
            <p:cNvSpPr>
              <a:spLocks/>
            </p:cNvSpPr>
            <p:nvPr/>
          </p:nvSpPr>
          <p:spPr bwMode="gray">
            <a:xfrm>
              <a:off x="-12206" y="-16495"/>
              <a:ext cx="687" cy="614"/>
            </a:xfrm>
            <a:custGeom>
              <a:avLst/>
              <a:gdLst>
                <a:gd name="T0" fmla="*/ 180 w 291"/>
                <a:gd name="T1" fmla="*/ 17 h 260"/>
                <a:gd name="T2" fmla="*/ 226 w 291"/>
                <a:gd name="T3" fmla="*/ 5 h 260"/>
                <a:gd name="T4" fmla="*/ 229 w 291"/>
                <a:gd name="T5" fmla="*/ 20 h 260"/>
                <a:gd name="T6" fmla="*/ 215 w 291"/>
                <a:gd name="T7" fmla="*/ 29 h 260"/>
                <a:gd name="T8" fmla="*/ 198 w 291"/>
                <a:gd name="T9" fmla="*/ 60 h 260"/>
                <a:gd name="T10" fmla="*/ 171 w 291"/>
                <a:gd name="T11" fmla="*/ 72 h 260"/>
                <a:gd name="T12" fmla="*/ 147 w 291"/>
                <a:gd name="T13" fmla="*/ 101 h 260"/>
                <a:gd name="T14" fmla="*/ 145 w 291"/>
                <a:gd name="T15" fmla="*/ 119 h 260"/>
                <a:gd name="T16" fmla="*/ 162 w 291"/>
                <a:gd name="T17" fmla="*/ 106 h 260"/>
                <a:gd name="T18" fmla="*/ 180 w 291"/>
                <a:gd name="T19" fmla="*/ 76 h 260"/>
                <a:gd name="T20" fmla="*/ 194 w 291"/>
                <a:gd name="T21" fmla="*/ 88 h 260"/>
                <a:gd name="T22" fmla="*/ 210 w 291"/>
                <a:gd name="T23" fmla="*/ 94 h 260"/>
                <a:gd name="T24" fmla="*/ 202 w 291"/>
                <a:gd name="T25" fmla="*/ 115 h 260"/>
                <a:gd name="T26" fmla="*/ 222 w 291"/>
                <a:gd name="T27" fmla="*/ 113 h 260"/>
                <a:gd name="T28" fmla="*/ 228 w 291"/>
                <a:gd name="T29" fmla="*/ 132 h 260"/>
                <a:gd name="T30" fmla="*/ 262 w 291"/>
                <a:gd name="T31" fmla="*/ 111 h 260"/>
                <a:gd name="T32" fmla="*/ 275 w 291"/>
                <a:gd name="T33" fmla="*/ 120 h 260"/>
                <a:gd name="T34" fmla="*/ 256 w 291"/>
                <a:gd name="T35" fmla="*/ 138 h 260"/>
                <a:gd name="T36" fmla="*/ 280 w 291"/>
                <a:gd name="T37" fmla="*/ 144 h 260"/>
                <a:gd name="T38" fmla="*/ 242 w 291"/>
                <a:gd name="T39" fmla="*/ 197 h 260"/>
                <a:gd name="T40" fmla="*/ 266 w 291"/>
                <a:gd name="T41" fmla="*/ 198 h 260"/>
                <a:gd name="T42" fmla="*/ 244 w 291"/>
                <a:gd name="T43" fmla="*/ 212 h 260"/>
                <a:gd name="T44" fmla="*/ 264 w 291"/>
                <a:gd name="T45" fmla="*/ 213 h 260"/>
                <a:gd name="T46" fmla="*/ 286 w 291"/>
                <a:gd name="T47" fmla="*/ 204 h 260"/>
                <a:gd name="T48" fmla="*/ 291 w 291"/>
                <a:gd name="T49" fmla="*/ 219 h 260"/>
                <a:gd name="T50" fmla="*/ 244 w 291"/>
                <a:gd name="T51" fmla="*/ 260 h 260"/>
                <a:gd name="T52" fmla="*/ 216 w 291"/>
                <a:gd name="T53" fmla="*/ 256 h 260"/>
                <a:gd name="T54" fmla="*/ 232 w 291"/>
                <a:gd name="T55" fmla="*/ 240 h 260"/>
                <a:gd name="T56" fmla="*/ 210 w 291"/>
                <a:gd name="T57" fmla="*/ 242 h 260"/>
                <a:gd name="T58" fmla="*/ 205 w 291"/>
                <a:gd name="T59" fmla="*/ 237 h 260"/>
                <a:gd name="T60" fmla="*/ 158 w 291"/>
                <a:gd name="T61" fmla="*/ 243 h 260"/>
                <a:gd name="T62" fmla="*/ 133 w 291"/>
                <a:gd name="T63" fmla="*/ 239 h 260"/>
                <a:gd name="T64" fmla="*/ 131 w 291"/>
                <a:gd name="T65" fmla="*/ 236 h 260"/>
                <a:gd name="T66" fmla="*/ 159 w 291"/>
                <a:gd name="T67" fmla="*/ 228 h 260"/>
                <a:gd name="T68" fmla="*/ 152 w 291"/>
                <a:gd name="T69" fmla="*/ 217 h 260"/>
                <a:gd name="T70" fmla="*/ 64 w 291"/>
                <a:gd name="T71" fmla="*/ 199 h 260"/>
                <a:gd name="T72" fmla="*/ 12 w 291"/>
                <a:gd name="T73" fmla="*/ 201 h 260"/>
                <a:gd name="T74" fmla="*/ 34 w 291"/>
                <a:gd name="T75" fmla="*/ 186 h 260"/>
                <a:gd name="T76" fmla="*/ 8 w 291"/>
                <a:gd name="T77" fmla="*/ 176 h 260"/>
                <a:gd name="T78" fmla="*/ 50 w 291"/>
                <a:gd name="T79" fmla="*/ 153 h 260"/>
                <a:gd name="T80" fmla="*/ 106 w 291"/>
                <a:gd name="T81" fmla="*/ 101 h 260"/>
                <a:gd name="T82" fmla="*/ 143 w 291"/>
                <a:gd name="T83" fmla="*/ 65 h 260"/>
                <a:gd name="T84" fmla="*/ 180 w 291"/>
                <a:gd name="T85" fmla="*/ 17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1" h="260">
                  <a:moveTo>
                    <a:pt x="180" y="17"/>
                  </a:moveTo>
                  <a:cubicBezTo>
                    <a:pt x="180" y="17"/>
                    <a:pt x="209" y="0"/>
                    <a:pt x="226" y="5"/>
                  </a:cubicBezTo>
                  <a:cubicBezTo>
                    <a:pt x="244" y="10"/>
                    <a:pt x="229" y="20"/>
                    <a:pt x="229" y="20"/>
                  </a:cubicBezTo>
                  <a:cubicBezTo>
                    <a:pt x="215" y="29"/>
                    <a:pt x="215" y="29"/>
                    <a:pt x="215" y="29"/>
                  </a:cubicBezTo>
                  <a:cubicBezTo>
                    <a:pt x="215" y="29"/>
                    <a:pt x="210" y="49"/>
                    <a:pt x="198" y="60"/>
                  </a:cubicBezTo>
                  <a:cubicBezTo>
                    <a:pt x="186" y="71"/>
                    <a:pt x="171" y="72"/>
                    <a:pt x="171" y="72"/>
                  </a:cubicBezTo>
                  <a:cubicBezTo>
                    <a:pt x="147" y="101"/>
                    <a:pt x="147" y="101"/>
                    <a:pt x="147" y="101"/>
                  </a:cubicBezTo>
                  <a:cubicBezTo>
                    <a:pt x="145" y="119"/>
                    <a:pt x="145" y="119"/>
                    <a:pt x="145" y="119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80" y="76"/>
                    <a:pt x="180" y="76"/>
                    <a:pt x="180" y="76"/>
                  </a:cubicBezTo>
                  <a:cubicBezTo>
                    <a:pt x="194" y="88"/>
                    <a:pt x="194" y="88"/>
                    <a:pt x="194" y="88"/>
                  </a:cubicBezTo>
                  <a:cubicBezTo>
                    <a:pt x="210" y="94"/>
                    <a:pt x="210" y="94"/>
                    <a:pt x="210" y="94"/>
                  </a:cubicBezTo>
                  <a:cubicBezTo>
                    <a:pt x="202" y="115"/>
                    <a:pt x="202" y="115"/>
                    <a:pt x="202" y="115"/>
                  </a:cubicBezTo>
                  <a:cubicBezTo>
                    <a:pt x="222" y="113"/>
                    <a:pt x="222" y="113"/>
                    <a:pt x="222" y="113"/>
                  </a:cubicBezTo>
                  <a:cubicBezTo>
                    <a:pt x="228" y="132"/>
                    <a:pt x="228" y="132"/>
                    <a:pt x="228" y="132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75" y="120"/>
                    <a:pt x="275" y="120"/>
                    <a:pt x="275" y="120"/>
                  </a:cubicBezTo>
                  <a:cubicBezTo>
                    <a:pt x="275" y="120"/>
                    <a:pt x="265" y="135"/>
                    <a:pt x="256" y="138"/>
                  </a:cubicBezTo>
                  <a:cubicBezTo>
                    <a:pt x="248" y="141"/>
                    <a:pt x="274" y="144"/>
                    <a:pt x="280" y="144"/>
                  </a:cubicBezTo>
                  <a:cubicBezTo>
                    <a:pt x="286" y="145"/>
                    <a:pt x="242" y="197"/>
                    <a:pt x="242" y="197"/>
                  </a:cubicBezTo>
                  <a:cubicBezTo>
                    <a:pt x="266" y="198"/>
                    <a:pt x="266" y="198"/>
                    <a:pt x="266" y="198"/>
                  </a:cubicBezTo>
                  <a:cubicBezTo>
                    <a:pt x="244" y="212"/>
                    <a:pt x="244" y="212"/>
                    <a:pt x="244" y="212"/>
                  </a:cubicBezTo>
                  <a:cubicBezTo>
                    <a:pt x="264" y="213"/>
                    <a:pt x="264" y="213"/>
                    <a:pt x="264" y="213"/>
                  </a:cubicBezTo>
                  <a:cubicBezTo>
                    <a:pt x="286" y="204"/>
                    <a:pt x="286" y="204"/>
                    <a:pt x="286" y="204"/>
                  </a:cubicBezTo>
                  <a:cubicBezTo>
                    <a:pt x="291" y="219"/>
                    <a:pt x="291" y="219"/>
                    <a:pt x="291" y="219"/>
                  </a:cubicBezTo>
                  <a:cubicBezTo>
                    <a:pt x="244" y="260"/>
                    <a:pt x="244" y="260"/>
                    <a:pt x="244" y="260"/>
                  </a:cubicBezTo>
                  <a:cubicBezTo>
                    <a:pt x="216" y="256"/>
                    <a:pt x="216" y="256"/>
                    <a:pt x="216" y="256"/>
                  </a:cubicBezTo>
                  <a:cubicBezTo>
                    <a:pt x="232" y="240"/>
                    <a:pt x="232" y="240"/>
                    <a:pt x="232" y="240"/>
                  </a:cubicBezTo>
                  <a:cubicBezTo>
                    <a:pt x="210" y="242"/>
                    <a:pt x="210" y="242"/>
                    <a:pt x="210" y="242"/>
                  </a:cubicBezTo>
                  <a:cubicBezTo>
                    <a:pt x="205" y="237"/>
                    <a:pt x="205" y="237"/>
                    <a:pt x="205" y="237"/>
                  </a:cubicBezTo>
                  <a:cubicBezTo>
                    <a:pt x="158" y="243"/>
                    <a:pt x="158" y="243"/>
                    <a:pt x="158" y="243"/>
                  </a:cubicBezTo>
                  <a:cubicBezTo>
                    <a:pt x="133" y="239"/>
                    <a:pt x="133" y="239"/>
                    <a:pt x="133" y="239"/>
                  </a:cubicBezTo>
                  <a:cubicBezTo>
                    <a:pt x="131" y="236"/>
                    <a:pt x="131" y="236"/>
                    <a:pt x="131" y="23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59" y="228"/>
                    <a:pt x="168" y="217"/>
                    <a:pt x="152" y="217"/>
                  </a:cubicBezTo>
                  <a:cubicBezTo>
                    <a:pt x="136" y="216"/>
                    <a:pt x="64" y="199"/>
                    <a:pt x="64" y="199"/>
                  </a:cubicBezTo>
                  <a:cubicBezTo>
                    <a:pt x="64" y="199"/>
                    <a:pt x="24" y="213"/>
                    <a:pt x="12" y="201"/>
                  </a:cubicBezTo>
                  <a:cubicBezTo>
                    <a:pt x="0" y="189"/>
                    <a:pt x="34" y="186"/>
                    <a:pt x="34" y="186"/>
                  </a:cubicBezTo>
                  <a:cubicBezTo>
                    <a:pt x="34" y="186"/>
                    <a:pt x="6" y="183"/>
                    <a:pt x="8" y="176"/>
                  </a:cubicBezTo>
                  <a:cubicBezTo>
                    <a:pt x="10" y="170"/>
                    <a:pt x="50" y="153"/>
                    <a:pt x="50" y="153"/>
                  </a:cubicBezTo>
                  <a:cubicBezTo>
                    <a:pt x="106" y="101"/>
                    <a:pt x="106" y="101"/>
                    <a:pt x="106" y="101"/>
                  </a:cubicBezTo>
                  <a:cubicBezTo>
                    <a:pt x="143" y="65"/>
                    <a:pt x="143" y="65"/>
                    <a:pt x="143" y="65"/>
                  </a:cubicBezTo>
                  <a:lnTo>
                    <a:pt x="180" y="17"/>
                  </a:lnTo>
                  <a:close/>
                </a:path>
              </a:pathLst>
            </a:custGeom>
            <a:grpFill/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193">
              <a:extLst>
                <a:ext uri="{FF2B5EF4-FFF2-40B4-BE49-F238E27FC236}">
                  <a16:creationId xmlns:a16="http://schemas.microsoft.com/office/drawing/2014/main" id="{BA50BCE1-25C6-62D3-4D88-00F28F4CDB0A}"/>
                </a:ext>
              </a:extLst>
            </p:cNvPr>
            <p:cNvSpPr>
              <a:spLocks/>
            </p:cNvSpPr>
            <p:nvPr/>
          </p:nvSpPr>
          <p:spPr bwMode="gray">
            <a:xfrm>
              <a:off x="-16489" y="-11818"/>
              <a:ext cx="277" cy="175"/>
            </a:xfrm>
            <a:custGeom>
              <a:avLst/>
              <a:gdLst>
                <a:gd name="T0" fmla="*/ 116 w 117"/>
                <a:gd name="T1" fmla="*/ 57 h 74"/>
                <a:gd name="T2" fmla="*/ 115 w 117"/>
                <a:gd name="T3" fmla="*/ 28 h 74"/>
                <a:gd name="T4" fmla="*/ 100 w 117"/>
                <a:gd name="T5" fmla="*/ 26 h 74"/>
                <a:gd name="T6" fmla="*/ 84 w 117"/>
                <a:gd name="T7" fmla="*/ 32 h 74"/>
                <a:gd name="T8" fmla="*/ 76 w 117"/>
                <a:gd name="T9" fmla="*/ 16 h 74"/>
                <a:gd name="T10" fmla="*/ 61 w 117"/>
                <a:gd name="T11" fmla="*/ 16 h 74"/>
                <a:gd name="T12" fmla="*/ 48 w 117"/>
                <a:gd name="T13" fmla="*/ 0 h 74"/>
                <a:gd name="T14" fmla="*/ 33 w 117"/>
                <a:gd name="T15" fmla="*/ 4 h 74"/>
                <a:gd name="T16" fmla="*/ 32 w 117"/>
                <a:gd name="T17" fmla="*/ 12 h 74"/>
                <a:gd name="T18" fmla="*/ 19 w 117"/>
                <a:gd name="T19" fmla="*/ 24 h 74"/>
                <a:gd name="T20" fmla="*/ 0 w 117"/>
                <a:gd name="T21" fmla="*/ 39 h 74"/>
                <a:gd name="T22" fmla="*/ 20 w 117"/>
                <a:gd name="T23" fmla="*/ 52 h 74"/>
                <a:gd name="T24" fmla="*/ 48 w 117"/>
                <a:gd name="T25" fmla="*/ 53 h 74"/>
                <a:gd name="T26" fmla="*/ 64 w 117"/>
                <a:gd name="T27" fmla="*/ 66 h 74"/>
                <a:gd name="T28" fmla="*/ 86 w 117"/>
                <a:gd name="T29" fmla="*/ 64 h 74"/>
                <a:gd name="T30" fmla="*/ 98 w 117"/>
                <a:gd name="T31" fmla="*/ 74 h 74"/>
                <a:gd name="T32" fmla="*/ 110 w 117"/>
                <a:gd name="T33" fmla="*/ 55 h 74"/>
                <a:gd name="T34" fmla="*/ 117 w 117"/>
                <a:gd name="T35" fmla="*/ 57 h 74"/>
                <a:gd name="T36" fmla="*/ 116 w 117"/>
                <a:gd name="T37" fmla="*/ 5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7" h="74">
                  <a:moveTo>
                    <a:pt x="116" y="57"/>
                  </a:moveTo>
                  <a:cubicBezTo>
                    <a:pt x="115" y="28"/>
                    <a:pt x="115" y="28"/>
                    <a:pt x="115" y="28"/>
                  </a:cubicBezTo>
                  <a:cubicBezTo>
                    <a:pt x="115" y="28"/>
                    <a:pt x="105" y="27"/>
                    <a:pt x="100" y="26"/>
                  </a:cubicBezTo>
                  <a:cubicBezTo>
                    <a:pt x="95" y="25"/>
                    <a:pt x="93" y="30"/>
                    <a:pt x="84" y="32"/>
                  </a:cubicBezTo>
                  <a:cubicBezTo>
                    <a:pt x="75" y="34"/>
                    <a:pt x="76" y="16"/>
                    <a:pt x="76" y="16"/>
                  </a:cubicBezTo>
                  <a:cubicBezTo>
                    <a:pt x="76" y="16"/>
                    <a:pt x="70" y="16"/>
                    <a:pt x="61" y="16"/>
                  </a:cubicBezTo>
                  <a:cubicBezTo>
                    <a:pt x="54" y="16"/>
                    <a:pt x="50" y="5"/>
                    <a:pt x="48" y="0"/>
                  </a:cubicBezTo>
                  <a:cubicBezTo>
                    <a:pt x="41" y="3"/>
                    <a:pt x="33" y="4"/>
                    <a:pt x="33" y="4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27" y="22"/>
                    <a:pt x="19" y="24"/>
                  </a:cubicBezTo>
                  <a:cubicBezTo>
                    <a:pt x="13" y="25"/>
                    <a:pt x="5" y="34"/>
                    <a:pt x="0" y="39"/>
                  </a:cubicBezTo>
                  <a:cubicBezTo>
                    <a:pt x="7" y="44"/>
                    <a:pt x="16" y="50"/>
                    <a:pt x="20" y="52"/>
                  </a:cubicBezTo>
                  <a:cubicBezTo>
                    <a:pt x="28" y="55"/>
                    <a:pt x="48" y="53"/>
                    <a:pt x="48" y="53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17" y="57"/>
                    <a:pt x="117" y="57"/>
                    <a:pt x="117" y="57"/>
                  </a:cubicBezTo>
                  <a:lnTo>
                    <a:pt x="116" y="57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194">
              <a:extLst>
                <a:ext uri="{FF2B5EF4-FFF2-40B4-BE49-F238E27FC236}">
                  <a16:creationId xmlns:a16="http://schemas.microsoft.com/office/drawing/2014/main" id="{35FD612C-A4B2-1BDE-12D1-A2DDD05EC11D}"/>
                </a:ext>
              </a:extLst>
            </p:cNvPr>
            <p:cNvSpPr>
              <a:spLocks/>
            </p:cNvSpPr>
            <p:nvPr/>
          </p:nvSpPr>
          <p:spPr bwMode="gray">
            <a:xfrm>
              <a:off x="-16347" y="-12333"/>
              <a:ext cx="170" cy="331"/>
            </a:xfrm>
            <a:custGeom>
              <a:avLst/>
              <a:gdLst>
                <a:gd name="T0" fmla="*/ 72 w 72"/>
                <a:gd name="T1" fmla="*/ 22 h 140"/>
                <a:gd name="T2" fmla="*/ 54 w 72"/>
                <a:gd name="T3" fmla="*/ 11 h 140"/>
                <a:gd name="T4" fmla="*/ 51 w 72"/>
                <a:gd name="T5" fmla="*/ 0 h 140"/>
                <a:gd name="T6" fmla="*/ 33 w 72"/>
                <a:gd name="T7" fmla="*/ 33 h 140"/>
                <a:gd name="T8" fmla="*/ 23 w 72"/>
                <a:gd name="T9" fmla="*/ 26 h 140"/>
                <a:gd name="T10" fmla="*/ 16 w 72"/>
                <a:gd name="T11" fmla="*/ 36 h 140"/>
                <a:gd name="T12" fmla="*/ 0 w 72"/>
                <a:gd name="T13" fmla="*/ 140 h 140"/>
                <a:gd name="T14" fmla="*/ 18 w 72"/>
                <a:gd name="T15" fmla="*/ 140 h 140"/>
                <a:gd name="T16" fmla="*/ 28 w 72"/>
                <a:gd name="T17" fmla="*/ 114 h 140"/>
                <a:gd name="T18" fmla="*/ 39 w 72"/>
                <a:gd name="T19" fmla="*/ 118 h 140"/>
                <a:gd name="T20" fmla="*/ 55 w 72"/>
                <a:gd name="T21" fmla="*/ 93 h 140"/>
                <a:gd name="T22" fmla="*/ 55 w 72"/>
                <a:gd name="T23" fmla="*/ 60 h 140"/>
                <a:gd name="T24" fmla="*/ 72 w 72"/>
                <a:gd name="T25" fmla="*/ 2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0">
                  <a:moveTo>
                    <a:pt x="72" y="22"/>
                  </a:moveTo>
                  <a:cubicBezTo>
                    <a:pt x="72" y="17"/>
                    <a:pt x="54" y="11"/>
                    <a:pt x="54" y="11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44" y="32"/>
                    <a:pt x="33" y="33"/>
                  </a:cubicBezTo>
                  <a:cubicBezTo>
                    <a:pt x="22" y="34"/>
                    <a:pt x="28" y="26"/>
                    <a:pt x="23" y="26"/>
                  </a:cubicBezTo>
                  <a:cubicBezTo>
                    <a:pt x="18" y="26"/>
                    <a:pt x="16" y="36"/>
                    <a:pt x="16" y="36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55" y="104"/>
                    <a:pt x="55" y="93"/>
                  </a:cubicBezTo>
                  <a:cubicBezTo>
                    <a:pt x="55" y="82"/>
                    <a:pt x="51" y="70"/>
                    <a:pt x="55" y="60"/>
                  </a:cubicBezTo>
                  <a:cubicBezTo>
                    <a:pt x="59" y="50"/>
                    <a:pt x="72" y="27"/>
                    <a:pt x="72" y="22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195">
              <a:extLst>
                <a:ext uri="{FF2B5EF4-FFF2-40B4-BE49-F238E27FC236}">
                  <a16:creationId xmlns:a16="http://schemas.microsoft.com/office/drawing/2014/main" id="{00BB74A4-E9C8-42AF-1E47-D5BD7DDB3BF6}"/>
                </a:ext>
              </a:extLst>
            </p:cNvPr>
            <p:cNvSpPr>
              <a:spLocks/>
            </p:cNvSpPr>
            <p:nvPr/>
          </p:nvSpPr>
          <p:spPr bwMode="gray">
            <a:xfrm>
              <a:off x="-16706" y="-12250"/>
              <a:ext cx="470" cy="525"/>
            </a:xfrm>
            <a:custGeom>
              <a:avLst/>
              <a:gdLst>
                <a:gd name="T0" fmla="*/ 190 w 199"/>
                <a:gd name="T1" fmla="*/ 103 h 222"/>
                <a:gd name="T2" fmla="*/ 179 w 199"/>
                <a:gd name="T3" fmla="*/ 110 h 222"/>
                <a:gd name="T4" fmla="*/ 170 w 199"/>
                <a:gd name="T5" fmla="*/ 105 h 222"/>
                <a:gd name="T6" fmla="*/ 152 w 199"/>
                <a:gd name="T7" fmla="*/ 105 h 222"/>
                <a:gd name="T8" fmla="*/ 168 w 199"/>
                <a:gd name="T9" fmla="*/ 1 h 222"/>
                <a:gd name="T10" fmla="*/ 81 w 199"/>
                <a:gd name="T11" fmla="*/ 0 h 222"/>
                <a:gd name="T12" fmla="*/ 82 w 199"/>
                <a:gd name="T13" fmla="*/ 30 h 222"/>
                <a:gd name="T14" fmla="*/ 54 w 199"/>
                <a:gd name="T15" fmla="*/ 34 h 222"/>
                <a:gd name="T16" fmla="*/ 64 w 199"/>
                <a:gd name="T17" fmla="*/ 38 h 222"/>
                <a:gd name="T18" fmla="*/ 75 w 199"/>
                <a:gd name="T19" fmla="*/ 56 h 222"/>
                <a:gd name="T20" fmla="*/ 87 w 199"/>
                <a:gd name="T21" fmla="*/ 57 h 222"/>
                <a:gd name="T22" fmla="*/ 91 w 199"/>
                <a:gd name="T23" fmla="*/ 73 h 222"/>
                <a:gd name="T24" fmla="*/ 103 w 199"/>
                <a:gd name="T25" fmla="*/ 79 h 222"/>
                <a:gd name="T26" fmla="*/ 94 w 199"/>
                <a:gd name="T27" fmla="*/ 86 h 222"/>
                <a:gd name="T28" fmla="*/ 94 w 199"/>
                <a:gd name="T29" fmla="*/ 97 h 222"/>
                <a:gd name="T30" fmla="*/ 35 w 199"/>
                <a:gd name="T31" fmla="*/ 96 h 222"/>
                <a:gd name="T32" fmla="*/ 14 w 199"/>
                <a:gd name="T33" fmla="*/ 127 h 222"/>
                <a:gd name="T34" fmla="*/ 14 w 199"/>
                <a:gd name="T35" fmla="*/ 165 h 222"/>
                <a:gd name="T36" fmla="*/ 0 w 199"/>
                <a:gd name="T37" fmla="*/ 179 h 222"/>
                <a:gd name="T38" fmla="*/ 14 w 199"/>
                <a:gd name="T39" fmla="*/ 192 h 222"/>
                <a:gd name="T40" fmla="*/ 47 w 199"/>
                <a:gd name="T41" fmla="*/ 213 h 222"/>
                <a:gd name="T42" fmla="*/ 80 w 199"/>
                <a:gd name="T43" fmla="*/ 213 h 222"/>
                <a:gd name="T44" fmla="*/ 92 w 199"/>
                <a:gd name="T45" fmla="*/ 222 h 222"/>
                <a:gd name="T46" fmla="*/ 111 w 199"/>
                <a:gd name="T47" fmla="*/ 207 h 222"/>
                <a:gd name="T48" fmla="*/ 124 w 199"/>
                <a:gd name="T49" fmla="*/ 195 h 222"/>
                <a:gd name="T50" fmla="*/ 125 w 199"/>
                <a:gd name="T51" fmla="*/ 187 h 222"/>
                <a:gd name="T52" fmla="*/ 149 w 199"/>
                <a:gd name="T53" fmla="*/ 176 h 222"/>
                <a:gd name="T54" fmla="*/ 151 w 199"/>
                <a:gd name="T55" fmla="*/ 155 h 222"/>
                <a:gd name="T56" fmla="*/ 179 w 199"/>
                <a:gd name="T57" fmla="*/ 131 h 222"/>
                <a:gd name="T58" fmla="*/ 199 w 199"/>
                <a:gd name="T59" fmla="*/ 112 h 222"/>
                <a:gd name="T60" fmla="*/ 190 w 199"/>
                <a:gd name="T61" fmla="*/ 103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9" h="222">
                  <a:moveTo>
                    <a:pt x="190" y="103"/>
                  </a:moveTo>
                  <a:cubicBezTo>
                    <a:pt x="179" y="110"/>
                    <a:pt x="179" y="110"/>
                    <a:pt x="179" y="110"/>
                  </a:cubicBezTo>
                  <a:cubicBezTo>
                    <a:pt x="170" y="105"/>
                    <a:pt x="170" y="105"/>
                    <a:pt x="170" y="105"/>
                  </a:cubicBezTo>
                  <a:cubicBezTo>
                    <a:pt x="152" y="105"/>
                    <a:pt x="152" y="105"/>
                    <a:pt x="152" y="105"/>
                  </a:cubicBezTo>
                  <a:cubicBezTo>
                    <a:pt x="168" y="1"/>
                    <a:pt x="168" y="1"/>
                    <a:pt x="168" y="1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4" y="24"/>
                    <a:pt x="82" y="30"/>
                  </a:cubicBezTo>
                  <a:cubicBezTo>
                    <a:pt x="80" y="36"/>
                    <a:pt x="54" y="34"/>
                    <a:pt x="54" y="34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5" y="54"/>
                    <a:pt x="75" y="56"/>
                  </a:cubicBezTo>
                  <a:cubicBezTo>
                    <a:pt x="85" y="58"/>
                    <a:pt x="87" y="57"/>
                    <a:pt x="87" y="57"/>
                  </a:cubicBezTo>
                  <a:cubicBezTo>
                    <a:pt x="91" y="73"/>
                    <a:pt x="91" y="73"/>
                    <a:pt x="91" y="73"/>
                  </a:cubicBezTo>
                  <a:cubicBezTo>
                    <a:pt x="91" y="73"/>
                    <a:pt x="103" y="69"/>
                    <a:pt x="103" y="79"/>
                  </a:cubicBezTo>
                  <a:cubicBezTo>
                    <a:pt x="103" y="89"/>
                    <a:pt x="94" y="86"/>
                    <a:pt x="94" y="86"/>
                  </a:cubicBezTo>
                  <a:cubicBezTo>
                    <a:pt x="94" y="97"/>
                    <a:pt x="94" y="97"/>
                    <a:pt x="94" y="97"/>
                  </a:cubicBezTo>
                  <a:cubicBezTo>
                    <a:pt x="35" y="96"/>
                    <a:pt x="35" y="96"/>
                    <a:pt x="35" y="96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49"/>
                    <a:pt x="14" y="165"/>
                  </a:cubicBezTo>
                  <a:cubicBezTo>
                    <a:pt x="14" y="181"/>
                    <a:pt x="0" y="179"/>
                    <a:pt x="0" y="179"/>
                  </a:cubicBezTo>
                  <a:cubicBezTo>
                    <a:pt x="3" y="185"/>
                    <a:pt x="7" y="189"/>
                    <a:pt x="14" y="192"/>
                  </a:cubicBezTo>
                  <a:cubicBezTo>
                    <a:pt x="33" y="199"/>
                    <a:pt x="36" y="209"/>
                    <a:pt x="47" y="213"/>
                  </a:cubicBezTo>
                  <a:cubicBezTo>
                    <a:pt x="58" y="217"/>
                    <a:pt x="80" y="213"/>
                    <a:pt x="80" y="213"/>
                  </a:cubicBezTo>
                  <a:cubicBezTo>
                    <a:pt x="80" y="213"/>
                    <a:pt x="86" y="217"/>
                    <a:pt x="92" y="222"/>
                  </a:cubicBezTo>
                  <a:cubicBezTo>
                    <a:pt x="97" y="217"/>
                    <a:pt x="105" y="208"/>
                    <a:pt x="111" y="207"/>
                  </a:cubicBezTo>
                  <a:cubicBezTo>
                    <a:pt x="119" y="205"/>
                    <a:pt x="124" y="195"/>
                    <a:pt x="124" y="195"/>
                  </a:cubicBezTo>
                  <a:cubicBezTo>
                    <a:pt x="125" y="187"/>
                    <a:pt x="125" y="187"/>
                    <a:pt x="125" y="187"/>
                  </a:cubicBezTo>
                  <a:cubicBezTo>
                    <a:pt x="125" y="187"/>
                    <a:pt x="146" y="185"/>
                    <a:pt x="149" y="176"/>
                  </a:cubicBezTo>
                  <a:cubicBezTo>
                    <a:pt x="152" y="167"/>
                    <a:pt x="151" y="155"/>
                    <a:pt x="151" y="155"/>
                  </a:cubicBezTo>
                  <a:cubicBezTo>
                    <a:pt x="151" y="155"/>
                    <a:pt x="164" y="139"/>
                    <a:pt x="179" y="131"/>
                  </a:cubicBezTo>
                  <a:cubicBezTo>
                    <a:pt x="194" y="123"/>
                    <a:pt x="199" y="112"/>
                    <a:pt x="199" y="112"/>
                  </a:cubicBezTo>
                  <a:lnTo>
                    <a:pt x="190" y="103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196">
              <a:extLst>
                <a:ext uri="{FF2B5EF4-FFF2-40B4-BE49-F238E27FC236}">
                  <a16:creationId xmlns:a16="http://schemas.microsoft.com/office/drawing/2014/main" id="{46F49795-8247-8B34-CABE-D1DEF73A937D}"/>
                </a:ext>
              </a:extLst>
            </p:cNvPr>
            <p:cNvSpPr>
              <a:spLocks/>
            </p:cNvSpPr>
            <p:nvPr/>
          </p:nvSpPr>
          <p:spPr bwMode="gray">
            <a:xfrm>
              <a:off x="-18910" y="-14128"/>
              <a:ext cx="2946" cy="2306"/>
            </a:xfrm>
            <a:custGeom>
              <a:avLst/>
              <a:gdLst>
                <a:gd name="T0" fmla="*/ 968 w 1247"/>
                <a:gd name="T1" fmla="*/ 891 h 976"/>
                <a:gd name="T2" fmla="*/ 1036 w 1247"/>
                <a:gd name="T3" fmla="*/ 874 h 976"/>
                <a:gd name="T4" fmla="*/ 1008 w 1247"/>
                <a:gd name="T5" fmla="*/ 851 h 976"/>
                <a:gd name="T6" fmla="*/ 1015 w 1247"/>
                <a:gd name="T7" fmla="*/ 825 h 976"/>
                <a:gd name="T8" fmla="*/ 1108 w 1247"/>
                <a:gd name="T9" fmla="*/ 786 h 976"/>
                <a:gd name="T10" fmla="*/ 1139 w 1247"/>
                <a:gd name="T11" fmla="*/ 771 h 976"/>
                <a:gd name="T12" fmla="*/ 1162 w 1247"/>
                <a:gd name="T13" fmla="*/ 767 h 976"/>
                <a:gd name="T14" fmla="*/ 1182 w 1247"/>
                <a:gd name="T15" fmla="*/ 717 h 976"/>
                <a:gd name="T16" fmla="*/ 1184 w 1247"/>
                <a:gd name="T17" fmla="*/ 701 h 976"/>
                <a:gd name="T18" fmla="*/ 1234 w 1247"/>
                <a:gd name="T19" fmla="*/ 632 h 976"/>
                <a:gd name="T20" fmla="*/ 1172 w 1247"/>
                <a:gd name="T21" fmla="*/ 594 h 976"/>
                <a:gd name="T22" fmla="*/ 1060 w 1247"/>
                <a:gd name="T23" fmla="*/ 655 h 976"/>
                <a:gd name="T24" fmla="*/ 1043 w 1247"/>
                <a:gd name="T25" fmla="*/ 716 h 976"/>
                <a:gd name="T26" fmla="*/ 974 w 1247"/>
                <a:gd name="T27" fmla="*/ 749 h 976"/>
                <a:gd name="T28" fmla="*/ 836 w 1247"/>
                <a:gd name="T29" fmla="*/ 753 h 976"/>
                <a:gd name="T30" fmla="*/ 777 w 1247"/>
                <a:gd name="T31" fmla="*/ 708 h 976"/>
                <a:gd name="T32" fmla="*/ 750 w 1247"/>
                <a:gd name="T33" fmla="*/ 616 h 976"/>
                <a:gd name="T34" fmla="*/ 752 w 1247"/>
                <a:gd name="T35" fmla="*/ 507 h 976"/>
                <a:gd name="T36" fmla="*/ 768 w 1247"/>
                <a:gd name="T37" fmla="*/ 434 h 976"/>
                <a:gd name="T38" fmla="*/ 806 w 1247"/>
                <a:gd name="T39" fmla="*/ 364 h 976"/>
                <a:gd name="T40" fmla="*/ 780 w 1247"/>
                <a:gd name="T41" fmla="*/ 355 h 976"/>
                <a:gd name="T42" fmla="*/ 720 w 1247"/>
                <a:gd name="T43" fmla="*/ 332 h 976"/>
                <a:gd name="T44" fmla="*/ 714 w 1247"/>
                <a:gd name="T45" fmla="*/ 280 h 976"/>
                <a:gd name="T46" fmla="*/ 700 w 1247"/>
                <a:gd name="T47" fmla="*/ 241 h 976"/>
                <a:gd name="T48" fmla="*/ 661 w 1247"/>
                <a:gd name="T49" fmla="*/ 154 h 976"/>
                <a:gd name="T50" fmla="*/ 621 w 1247"/>
                <a:gd name="T51" fmla="*/ 154 h 976"/>
                <a:gd name="T52" fmla="*/ 519 w 1247"/>
                <a:gd name="T53" fmla="*/ 161 h 976"/>
                <a:gd name="T54" fmla="*/ 491 w 1247"/>
                <a:gd name="T55" fmla="*/ 76 h 976"/>
                <a:gd name="T56" fmla="*/ 390 w 1247"/>
                <a:gd name="T57" fmla="*/ 45 h 976"/>
                <a:gd name="T58" fmla="*/ 378 w 1247"/>
                <a:gd name="T59" fmla="*/ 72 h 976"/>
                <a:gd name="T60" fmla="*/ 106 w 1247"/>
                <a:gd name="T61" fmla="*/ 0 h 976"/>
                <a:gd name="T62" fmla="*/ 0 w 1247"/>
                <a:gd name="T63" fmla="*/ 25 h 976"/>
                <a:gd name="T64" fmla="*/ 10 w 1247"/>
                <a:gd name="T65" fmla="*/ 76 h 976"/>
                <a:gd name="T66" fmla="*/ 5 w 1247"/>
                <a:gd name="T67" fmla="*/ 117 h 976"/>
                <a:gd name="T68" fmla="*/ 42 w 1247"/>
                <a:gd name="T69" fmla="*/ 176 h 976"/>
                <a:gd name="T70" fmla="*/ 58 w 1247"/>
                <a:gd name="T71" fmla="*/ 267 h 976"/>
                <a:gd name="T72" fmla="*/ 7 w 1247"/>
                <a:gd name="T73" fmla="*/ 261 h 976"/>
                <a:gd name="T74" fmla="*/ 43 w 1247"/>
                <a:gd name="T75" fmla="*/ 296 h 976"/>
                <a:gd name="T76" fmla="*/ 91 w 1247"/>
                <a:gd name="T77" fmla="*/ 337 h 976"/>
                <a:gd name="T78" fmla="*/ 142 w 1247"/>
                <a:gd name="T79" fmla="*/ 459 h 976"/>
                <a:gd name="T80" fmla="*/ 210 w 1247"/>
                <a:gd name="T81" fmla="*/ 506 h 976"/>
                <a:gd name="T82" fmla="*/ 172 w 1247"/>
                <a:gd name="T83" fmla="*/ 452 h 976"/>
                <a:gd name="T84" fmla="*/ 162 w 1247"/>
                <a:gd name="T85" fmla="*/ 387 h 976"/>
                <a:gd name="T86" fmla="*/ 131 w 1247"/>
                <a:gd name="T87" fmla="*/ 319 h 976"/>
                <a:gd name="T88" fmla="*/ 116 w 1247"/>
                <a:gd name="T89" fmla="*/ 227 h 976"/>
                <a:gd name="T90" fmla="*/ 66 w 1247"/>
                <a:gd name="T91" fmla="*/ 128 h 976"/>
                <a:gd name="T92" fmla="*/ 84 w 1247"/>
                <a:gd name="T93" fmla="*/ 42 h 976"/>
                <a:gd name="T94" fmla="*/ 138 w 1247"/>
                <a:gd name="T95" fmla="*/ 73 h 976"/>
                <a:gd name="T96" fmla="*/ 160 w 1247"/>
                <a:gd name="T97" fmla="*/ 180 h 976"/>
                <a:gd name="T98" fmla="*/ 208 w 1247"/>
                <a:gd name="T99" fmla="*/ 284 h 976"/>
                <a:gd name="T100" fmla="*/ 257 w 1247"/>
                <a:gd name="T101" fmla="*/ 318 h 976"/>
                <a:gd name="T102" fmla="*/ 255 w 1247"/>
                <a:gd name="T103" fmla="*/ 375 h 976"/>
                <a:gd name="T104" fmla="*/ 294 w 1247"/>
                <a:gd name="T105" fmla="*/ 418 h 976"/>
                <a:gd name="T106" fmla="*/ 313 w 1247"/>
                <a:gd name="T107" fmla="*/ 456 h 976"/>
                <a:gd name="T108" fmla="*/ 371 w 1247"/>
                <a:gd name="T109" fmla="*/ 575 h 976"/>
                <a:gd name="T110" fmla="*/ 375 w 1247"/>
                <a:gd name="T111" fmla="*/ 645 h 976"/>
                <a:gd name="T112" fmla="*/ 423 w 1247"/>
                <a:gd name="T113" fmla="*/ 740 h 976"/>
                <a:gd name="T114" fmla="*/ 556 w 1247"/>
                <a:gd name="T115" fmla="*/ 838 h 976"/>
                <a:gd name="T116" fmla="*/ 677 w 1247"/>
                <a:gd name="T117" fmla="*/ 899 h 976"/>
                <a:gd name="T118" fmla="*/ 840 w 1247"/>
                <a:gd name="T119" fmla="*/ 878 h 976"/>
                <a:gd name="T120" fmla="*/ 947 w 1247"/>
                <a:gd name="T121" fmla="*/ 960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47" h="976">
                  <a:moveTo>
                    <a:pt x="947" y="960"/>
                  </a:moveTo>
                  <a:cubicBezTo>
                    <a:pt x="947" y="944"/>
                    <a:pt x="947" y="922"/>
                    <a:pt x="947" y="922"/>
                  </a:cubicBezTo>
                  <a:cubicBezTo>
                    <a:pt x="968" y="891"/>
                    <a:pt x="968" y="891"/>
                    <a:pt x="968" y="891"/>
                  </a:cubicBezTo>
                  <a:cubicBezTo>
                    <a:pt x="1027" y="892"/>
                    <a:pt x="1027" y="892"/>
                    <a:pt x="1027" y="892"/>
                  </a:cubicBezTo>
                  <a:cubicBezTo>
                    <a:pt x="1027" y="881"/>
                    <a:pt x="1027" y="881"/>
                    <a:pt x="1027" y="881"/>
                  </a:cubicBezTo>
                  <a:cubicBezTo>
                    <a:pt x="1027" y="881"/>
                    <a:pt x="1036" y="884"/>
                    <a:pt x="1036" y="874"/>
                  </a:cubicBezTo>
                  <a:cubicBezTo>
                    <a:pt x="1036" y="864"/>
                    <a:pt x="1024" y="868"/>
                    <a:pt x="1024" y="868"/>
                  </a:cubicBezTo>
                  <a:cubicBezTo>
                    <a:pt x="1020" y="852"/>
                    <a:pt x="1020" y="852"/>
                    <a:pt x="1020" y="852"/>
                  </a:cubicBezTo>
                  <a:cubicBezTo>
                    <a:pt x="1020" y="852"/>
                    <a:pt x="1018" y="853"/>
                    <a:pt x="1008" y="851"/>
                  </a:cubicBezTo>
                  <a:cubicBezTo>
                    <a:pt x="998" y="849"/>
                    <a:pt x="997" y="833"/>
                    <a:pt x="997" y="833"/>
                  </a:cubicBezTo>
                  <a:cubicBezTo>
                    <a:pt x="987" y="829"/>
                    <a:pt x="987" y="829"/>
                    <a:pt x="987" y="829"/>
                  </a:cubicBezTo>
                  <a:cubicBezTo>
                    <a:pt x="987" y="829"/>
                    <a:pt x="1013" y="831"/>
                    <a:pt x="1015" y="825"/>
                  </a:cubicBezTo>
                  <a:cubicBezTo>
                    <a:pt x="1017" y="819"/>
                    <a:pt x="1014" y="795"/>
                    <a:pt x="1014" y="795"/>
                  </a:cubicBezTo>
                  <a:cubicBezTo>
                    <a:pt x="1101" y="796"/>
                    <a:pt x="1101" y="796"/>
                    <a:pt x="1101" y="796"/>
                  </a:cubicBezTo>
                  <a:cubicBezTo>
                    <a:pt x="1101" y="796"/>
                    <a:pt x="1103" y="786"/>
                    <a:pt x="1108" y="786"/>
                  </a:cubicBezTo>
                  <a:cubicBezTo>
                    <a:pt x="1113" y="786"/>
                    <a:pt x="1107" y="794"/>
                    <a:pt x="1118" y="793"/>
                  </a:cubicBezTo>
                  <a:cubicBezTo>
                    <a:pt x="1129" y="792"/>
                    <a:pt x="1136" y="760"/>
                    <a:pt x="1136" y="760"/>
                  </a:cubicBezTo>
                  <a:cubicBezTo>
                    <a:pt x="1139" y="771"/>
                    <a:pt x="1139" y="771"/>
                    <a:pt x="1139" y="771"/>
                  </a:cubicBezTo>
                  <a:cubicBezTo>
                    <a:pt x="1150" y="761"/>
                    <a:pt x="1150" y="761"/>
                    <a:pt x="1150" y="761"/>
                  </a:cubicBezTo>
                  <a:cubicBezTo>
                    <a:pt x="1164" y="745"/>
                    <a:pt x="1164" y="745"/>
                    <a:pt x="1164" y="745"/>
                  </a:cubicBezTo>
                  <a:cubicBezTo>
                    <a:pt x="1164" y="745"/>
                    <a:pt x="1158" y="764"/>
                    <a:pt x="1162" y="767"/>
                  </a:cubicBezTo>
                  <a:cubicBezTo>
                    <a:pt x="1166" y="770"/>
                    <a:pt x="1173" y="770"/>
                    <a:pt x="1173" y="770"/>
                  </a:cubicBezTo>
                  <a:cubicBezTo>
                    <a:pt x="1188" y="725"/>
                    <a:pt x="1188" y="725"/>
                    <a:pt x="1188" y="725"/>
                  </a:cubicBezTo>
                  <a:cubicBezTo>
                    <a:pt x="1182" y="717"/>
                    <a:pt x="1182" y="717"/>
                    <a:pt x="1182" y="717"/>
                  </a:cubicBezTo>
                  <a:cubicBezTo>
                    <a:pt x="1195" y="713"/>
                    <a:pt x="1195" y="713"/>
                    <a:pt x="1195" y="713"/>
                  </a:cubicBezTo>
                  <a:cubicBezTo>
                    <a:pt x="1196" y="705"/>
                    <a:pt x="1196" y="705"/>
                    <a:pt x="1196" y="705"/>
                  </a:cubicBezTo>
                  <a:cubicBezTo>
                    <a:pt x="1184" y="701"/>
                    <a:pt x="1184" y="701"/>
                    <a:pt x="1184" y="701"/>
                  </a:cubicBezTo>
                  <a:cubicBezTo>
                    <a:pt x="1196" y="688"/>
                    <a:pt x="1196" y="688"/>
                    <a:pt x="1196" y="688"/>
                  </a:cubicBezTo>
                  <a:cubicBezTo>
                    <a:pt x="1200" y="672"/>
                    <a:pt x="1200" y="672"/>
                    <a:pt x="1200" y="672"/>
                  </a:cubicBezTo>
                  <a:cubicBezTo>
                    <a:pt x="1200" y="672"/>
                    <a:pt x="1230" y="641"/>
                    <a:pt x="1234" y="632"/>
                  </a:cubicBezTo>
                  <a:cubicBezTo>
                    <a:pt x="1238" y="623"/>
                    <a:pt x="1247" y="600"/>
                    <a:pt x="1236" y="597"/>
                  </a:cubicBezTo>
                  <a:cubicBezTo>
                    <a:pt x="1225" y="594"/>
                    <a:pt x="1203" y="601"/>
                    <a:pt x="1203" y="601"/>
                  </a:cubicBezTo>
                  <a:cubicBezTo>
                    <a:pt x="1203" y="601"/>
                    <a:pt x="1179" y="594"/>
                    <a:pt x="1172" y="594"/>
                  </a:cubicBezTo>
                  <a:cubicBezTo>
                    <a:pt x="1165" y="594"/>
                    <a:pt x="1137" y="602"/>
                    <a:pt x="1123" y="606"/>
                  </a:cubicBezTo>
                  <a:cubicBezTo>
                    <a:pt x="1109" y="610"/>
                    <a:pt x="1084" y="606"/>
                    <a:pt x="1078" y="612"/>
                  </a:cubicBezTo>
                  <a:cubicBezTo>
                    <a:pt x="1072" y="618"/>
                    <a:pt x="1061" y="639"/>
                    <a:pt x="1060" y="655"/>
                  </a:cubicBezTo>
                  <a:cubicBezTo>
                    <a:pt x="1059" y="671"/>
                    <a:pt x="1059" y="686"/>
                    <a:pt x="1059" y="686"/>
                  </a:cubicBezTo>
                  <a:cubicBezTo>
                    <a:pt x="1049" y="690"/>
                    <a:pt x="1049" y="690"/>
                    <a:pt x="1049" y="690"/>
                  </a:cubicBezTo>
                  <a:cubicBezTo>
                    <a:pt x="1049" y="690"/>
                    <a:pt x="1049" y="710"/>
                    <a:pt x="1043" y="716"/>
                  </a:cubicBezTo>
                  <a:cubicBezTo>
                    <a:pt x="1037" y="722"/>
                    <a:pt x="1016" y="728"/>
                    <a:pt x="1011" y="737"/>
                  </a:cubicBezTo>
                  <a:cubicBezTo>
                    <a:pt x="1006" y="746"/>
                    <a:pt x="1009" y="765"/>
                    <a:pt x="996" y="766"/>
                  </a:cubicBezTo>
                  <a:cubicBezTo>
                    <a:pt x="983" y="767"/>
                    <a:pt x="990" y="749"/>
                    <a:pt x="974" y="749"/>
                  </a:cubicBezTo>
                  <a:cubicBezTo>
                    <a:pt x="958" y="749"/>
                    <a:pt x="932" y="761"/>
                    <a:pt x="912" y="761"/>
                  </a:cubicBezTo>
                  <a:cubicBezTo>
                    <a:pt x="892" y="761"/>
                    <a:pt x="864" y="784"/>
                    <a:pt x="855" y="780"/>
                  </a:cubicBezTo>
                  <a:cubicBezTo>
                    <a:pt x="846" y="776"/>
                    <a:pt x="847" y="755"/>
                    <a:pt x="836" y="753"/>
                  </a:cubicBezTo>
                  <a:cubicBezTo>
                    <a:pt x="825" y="751"/>
                    <a:pt x="797" y="748"/>
                    <a:pt x="797" y="748"/>
                  </a:cubicBezTo>
                  <a:cubicBezTo>
                    <a:pt x="797" y="748"/>
                    <a:pt x="795" y="731"/>
                    <a:pt x="790" y="724"/>
                  </a:cubicBezTo>
                  <a:cubicBezTo>
                    <a:pt x="785" y="717"/>
                    <a:pt x="777" y="708"/>
                    <a:pt x="777" y="708"/>
                  </a:cubicBezTo>
                  <a:cubicBezTo>
                    <a:pt x="777" y="685"/>
                    <a:pt x="777" y="685"/>
                    <a:pt x="777" y="685"/>
                  </a:cubicBezTo>
                  <a:cubicBezTo>
                    <a:pt x="751" y="644"/>
                    <a:pt x="751" y="644"/>
                    <a:pt x="751" y="644"/>
                  </a:cubicBezTo>
                  <a:cubicBezTo>
                    <a:pt x="750" y="616"/>
                    <a:pt x="750" y="616"/>
                    <a:pt x="750" y="616"/>
                  </a:cubicBezTo>
                  <a:cubicBezTo>
                    <a:pt x="739" y="596"/>
                    <a:pt x="739" y="596"/>
                    <a:pt x="739" y="596"/>
                  </a:cubicBezTo>
                  <a:cubicBezTo>
                    <a:pt x="736" y="539"/>
                    <a:pt x="736" y="539"/>
                    <a:pt x="736" y="539"/>
                  </a:cubicBezTo>
                  <a:cubicBezTo>
                    <a:pt x="736" y="539"/>
                    <a:pt x="752" y="518"/>
                    <a:pt x="752" y="507"/>
                  </a:cubicBezTo>
                  <a:cubicBezTo>
                    <a:pt x="752" y="496"/>
                    <a:pt x="754" y="466"/>
                    <a:pt x="754" y="466"/>
                  </a:cubicBezTo>
                  <a:cubicBezTo>
                    <a:pt x="752" y="439"/>
                    <a:pt x="752" y="439"/>
                    <a:pt x="752" y="439"/>
                  </a:cubicBezTo>
                  <a:cubicBezTo>
                    <a:pt x="768" y="434"/>
                    <a:pt x="768" y="434"/>
                    <a:pt x="768" y="434"/>
                  </a:cubicBezTo>
                  <a:cubicBezTo>
                    <a:pt x="768" y="434"/>
                    <a:pt x="767" y="394"/>
                    <a:pt x="775" y="392"/>
                  </a:cubicBezTo>
                  <a:cubicBezTo>
                    <a:pt x="783" y="390"/>
                    <a:pt x="791" y="401"/>
                    <a:pt x="793" y="392"/>
                  </a:cubicBezTo>
                  <a:cubicBezTo>
                    <a:pt x="795" y="383"/>
                    <a:pt x="806" y="364"/>
                    <a:pt x="806" y="364"/>
                  </a:cubicBezTo>
                  <a:cubicBezTo>
                    <a:pt x="806" y="363"/>
                    <a:pt x="806" y="363"/>
                    <a:pt x="806" y="363"/>
                  </a:cubicBezTo>
                  <a:cubicBezTo>
                    <a:pt x="803" y="364"/>
                    <a:pt x="799" y="365"/>
                    <a:pt x="794" y="365"/>
                  </a:cubicBezTo>
                  <a:cubicBezTo>
                    <a:pt x="783" y="365"/>
                    <a:pt x="785" y="355"/>
                    <a:pt x="780" y="355"/>
                  </a:cubicBezTo>
                  <a:cubicBezTo>
                    <a:pt x="775" y="355"/>
                    <a:pt x="756" y="355"/>
                    <a:pt x="756" y="355"/>
                  </a:cubicBezTo>
                  <a:cubicBezTo>
                    <a:pt x="750" y="344"/>
                    <a:pt x="750" y="344"/>
                    <a:pt x="750" y="344"/>
                  </a:cubicBezTo>
                  <a:cubicBezTo>
                    <a:pt x="750" y="344"/>
                    <a:pt x="720" y="343"/>
                    <a:pt x="720" y="332"/>
                  </a:cubicBezTo>
                  <a:cubicBezTo>
                    <a:pt x="720" y="321"/>
                    <a:pt x="722" y="313"/>
                    <a:pt x="722" y="313"/>
                  </a:cubicBezTo>
                  <a:cubicBezTo>
                    <a:pt x="714" y="307"/>
                    <a:pt x="714" y="307"/>
                    <a:pt x="714" y="307"/>
                  </a:cubicBezTo>
                  <a:cubicBezTo>
                    <a:pt x="714" y="280"/>
                    <a:pt x="714" y="280"/>
                    <a:pt x="714" y="280"/>
                  </a:cubicBezTo>
                  <a:cubicBezTo>
                    <a:pt x="714" y="280"/>
                    <a:pt x="724" y="277"/>
                    <a:pt x="717" y="270"/>
                  </a:cubicBezTo>
                  <a:cubicBezTo>
                    <a:pt x="710" y="263"/>
                    <a:pt x="701" y="262"/>
                    <a:pt x="701" y="254"/>
                  </a:cubicBezTo>
                  <a:cubicBezTo>
                    <a:pt x="701" y="247"/>
                    <a:pt x="700" y="241"/>
                    <a:pt x="700" y="241"/>
                  </a:cubicBezTo>
                  <a:cubicBezTo>
                    <a:pt x="700" y="241"/>
                    <a:pt x="689" y="234"/>
                    <a:pt x="689" y="225"/>
                  </a:cubicBezTo>
                  <a:cubicBezTo>
                    <a:pt x="689" y="216"/>
                    <a:pt x="697" y="201"/>
                    <a:pt x="689" y="193"/>
                  </a:cubicBezTo>
                  <a:cubicBezTo>
                    <a:pt x="681" y="185"/>
                    <a:pt x="661" y="154"/>
                    <a:pt x="661" y="154"/>
                  </a:cubicBezTo>
                  <a:cubicBezTo>
                    <a:pt x="632" y="153"/>
                    <a:pt x="632" y="153"/>
                    <a:pt x="632" y="153"/>
                  </a:cubicBezTo>
                  <a:cubicBezTo>
                    <a:pt x="622" y="148"/>
                    <a:pt x="622" y="148"/>
                    <a:pt x="622" y="148"/>
                  </a:cubicBezTo>
                  <a:cubicBezTo>
                    <a:pt x="621" y="154"/>
                    <a:pt x="621" y="154"/>
                    <a:pt x="621" y="154"/>
                  </a:cubicBezTo>
                  <a:cubicBezTo>
                    <a:pt x="621" y="154"/>
                    <a:pt x="609" y="153"/>
                    <a:pt x="605" y="157"/>
                  </a:cubicBezTo>
                  <a:cubicBezTo>
                    <a:pt x="601" y="161"/>
                    <a:pt x="588" y="195"/>
                    <a:pt x="569" y="195"/>
                  </a:cubicBezTo>
                  <a:cubicBezTo>
                    <a:pt x="550" y="195"/>
                    <a:pt x="519" y="161"/>
                    <a:pt x="519" y="161"/>
                  </a:cubicBezTo>
                  <a:cubicBezTo>
                    <a:pt x="519" y="161"/>
                    <a:pt x="529" y="119"/>
                    <a:pt x="519" y="109"/>
                  </a:cubicBezTo>
                  <a:cubicBezTo>
                    <a:pt x="508" y="98"/>
                    <a:pt x="497" y="97"/>
                    <a:pt x="497" y="97"/>
                  </a:cubicBezTo>
                  <a:cubicBezTo>
                    <a:pt x="491" y="76"/>
                    <a:pt x="491" y="76"/>
                    <a:pt x="491" y="76"/>
                  </a:cubicBezTo>
                  <a:cubicBezTo>
                    <a:pt x="473" y="68"/>
                    <a:pt x="473" y="68"/>
                    <a:pt x="473" y="68"/>
                  </a:cubicBezTo>
                  <a:cubicBezTo>
                    <a:pt x="473" y="68"/>
                    <a:pt x="478" y="60"/>
                    <a:pt x="463" y="45"/>
                  </a:cubicBezTo>
                  <a:cubicBezTo>
                    <a:pt x="390" y="45"/>
                    <a:pt x="390" y="45"/>
                    <a:pt x="390" y="45"/>
                  </a:cubicBezTo>
                  <a:cubicBezTo>
                    <a:pt x="390" y="45"/>
                    <a:pt x="383" y="49"/>
                    <a:pt x="383" y="55"/>
                  </a:cubicBezTo>
                  <a:cubicBezTo>
                    <a:pt x="383" y="61"/>
                    <a:pt x="385" y="65"/>
                    <a:pt x="382" y="69"/>
                  </a:cubicBezTo>
                  <a:cubicBezTo>
                    <a:pt x="378" y="72"/>
                    <a:pt x="378" y="72"/>
                    <a:pt x="378" y="72"/>
                  </a:cubicBezTo>
                  <a:cubicBezTo>
                    <a:pt x="246" y="74"/>
                    <a:pt x="246" y="74"/>
                    <a:pt x="246" y="74"/>
                  </a:cubicBezTo>
                  <a:cubicBezTo>
                    <a:pt x="106" y="10"/>
                    <a:pt x="106" y="10"/>
                    <a:pt x="106" y="10"/>
                  </a:cubicBezTo>
                  <a:cubicBezTo>
                    <a:pt x="106" y="10"/>
                    <a:pt x="96" y="10"/>
                    <a:pt x="106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2" y="12"/>
                    <a:pt x="0" y="20"/>
                    <a:pt x="0" y="25"/>
                  </a:cubicBezTo>
                  <a:cubicBezTo>
                    <a:pt x="0" y="36"/>
                    <a:pt x="13" y="54"/>
                    <a:pt x="13" y="54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4" y="121"/>
                    <a:pt x="11" y="162"/>
                    <a:pt x="20" y="171"/>
                  </a:cubicBezTo>
                  <a:cubicBezTo>
                    <a:pt x="29" y="180"/>
                    <a:pt x="42" y="176"/>
                    <a:pt x="42" y="176"/>
                  </a:cubicBezTo>
                  <a:cubicBezTo>
                    <a:pt x="42" y="176"/>
                    <a:pt x="66" y="219"/>
                    <a:pt x="66" y="227"/>
                  </a:cubicBezTo>
                  <a:cubicBezTo>
                    <a:pt x="66" y="235"/>
                    <a:pt x="47" y="260"/>
                    <a:pt x="47" y="260"/>
                  </a:cubicBezTo>
                  <a:cubicBezTo>
                    <a:pt x="58" y="267"/>
                    <a:pt x="58" y="267"/>
                    <a:pt x="58" y="267"/>
                  </a:cubicBezTo>
                  <a:cubicBezTo>
                    <a:pt x="50" y="276"/>
                    <a:pt x="50" y="276"/>
                    <a:pt x="50" y="276"/>
                  </a:cubicBezTo>
                  <a:cubicBezTo>
                    <a:pt x="41" y="264"/>
                    <a:pt x="41" y="264"/>
                    <a:pt x="41" y="264"/>
                  </a:cubicBezTo>
                  <a:cubicBezTo>
                    <a:pt x="7" y="261"/>
                    <a:pt x="7" y="261"/>
                    <a:pt x="7" y="261"/>
                  </a:cubicBezTo>
                  <a:cubicBezTo>
                    <a:pt x="23" y="279"/>
                    <a:pt x="23" y="279"/>
                    <a:pt x="23" y="279"/>
                  </a:cubicBezTo>
                  <a:cubicBezTo>
                    <a:pt x="29" y="295"/>
                    <a:pt x="29" y="295"/>
                    <a:pt x="29" y="295"/>
                  </a:cubicBezTo>
                  <a:cubicBezTo>
                    <a:pt x="43" y="296"/>
                    <a:pt x="43" y="296"/>
                    <a:pt x="43" y="296"/>
                  </a:cubicBezTo>
                  <a:cubicBezTo>
                    <a:pt x="43" y="296"/>
                    <a:pt x="60" y="319"/>
                    <a:pt x="65" y="317"/>
                  </a:cubicBezTo>
                  <a:cubicBezTo>
                    <a:pt x="70" y="315"/>
                    <a:pt x="85" y="305"/>
                    <a:pt x="85" y="305"/>
                  </a:cubicBezTo>
                  <a:cubicBezTo>
                    <a:pt x="85" y="305"/>
                    <a:pt x="84" y="328"/>
                    <a:pt x="91" y="337"/>
                  </a:cubicBezTo>
                  <a:cubicBezTo>
                    <a:pt x="98" y="346"/>
                    <a:pt x="113" y="358"/>
                    <a:pt x="113" y="368"/>
                  </a:cubicBezTo>
                  <a:cubicBezTo>
                    <a:pt x="113" y="378"/>
                    <a:pt x="96" y="398"/>
                    <a:pt x="102" y="412"/>
                  </a:cubicBezTo>
                  <a:cubicBezTo>
                    <a:pt x="108" y="426"/>
                    <a:pt x="128" y="442"/>
                    <a:pt x="142" y="459"/>
                  </a:cubicBezTo>
                  <a:cubicBezTo>
                    <a:pt x="156" y="476"/>
                    <a:pt x="175" y="497"/>
                    <a:pt x="175" y="497"/>
                  </a:cubicBezTo>
                  <a:cubicBezTo>
                    <a:pt x="175" y="497"/>
                    <a:pt x="162" y="524"/>
                    <a:pt x="178" y="525"/>
                  </a:cubicBezTo>
                  <a:cubicBezTo>
                    <a:pt x="194" y="526"/>
                    <a:pt x="210" y="506"/>
                    <a:pt x="210" y="506"/>
                  </a:cubicBezTo>
                  <a:cubicBezTo>
                    <a:pt x="206" y="493"/>
                    <a:pt x="206" y="493"/>
                    <a:pt x="206" y="493"/>
                  </a:cubicBezTo>
                  <a:cubicBezTo>
                    <a:pt x="206" y="493"/>
                    <a:pt x="198" y="457"/>
                    <a:pt x="190" y="453"/>
                  </a:cubicBezTo>
                  <a:cubicBezTo>
                    <a:pt x="182" y="449"/>
                    <a:pt x="172" y="452"/>
                    <a:pt x="172" y="452"/>
                  </a:cubicBezTo>
                  <a:cubicBezTo>
                    <a:pt x="160" y="435"/>
                    <a:pt x="160" y="435"/>
                    <a:pt x="160" y="435"/>
                  </a:cubicBezTo>
                  <a:cubicBezTo>
                    <a:pt x="160" y="435"/>
                    <a:pt x="164" y="422"/>
                    <a:pt x="162" y="414"/>
                  </a:cubicBezTo>
                  <a:cubicBezTo>
                    <a:pt x="160" y="406"/>
                    <a:pt x="162" y="387"/>
                    <a:pt x="162" y="387"/>
                  </a:cubicBezTo>
                  <a:cubicBezTo>
                    <a:pt x="150" y="365"/>
                    <a:pt x="150" y="365"/>
                    <a:pt x="150" y="365"/>
                  </a:cubicBezTo>
                  <a:cubicBezTo>
                    <a:pt x="150" y="365"/>
                    <a:pt x="160" y="341"/>
                    <a:pt x="156" y="329"/>
                  </a:cubicBezTo>
                  <a:cubicBezTo>
                    <a:pt x="152" y="317"/>
                    <a:pt x="131" y="319"/>
                    <a:pt x="131" y="319"/>
                  </a:cubicBezTo>
                  <a:cubicBezTo>
                    <a:pt x="131" y="288"/>
                    <a:pt x="131" y="288"/>
                    <a:pt x="131" y="288"/>
                  </a:cubicBezTo>
                  <a:cubicBezTo>
                    <a:pt x="114" y="267"/>
                    <a:pt x="114" y="267"/>
                    <a:pt x="114" y="267"/>
                  </a:cubicBezTo>
                  <a:cubicBezTo>
                    <a:pt x="116" y="227"/>
                    <a:pt x="116" y="227"/>
                    <a:pt x="116" y="227"/>
                  </a:cubicBezTo>
                  <a:cubicBezTo>
                    <a:pt x="116" y="227"/>
                    <a:pt x="102" y="207"/>
                    <a:pt x="97" y="201"/>
                  </a:cubicBezTo>
                  <a:cubicBezTo>
                    <a:pt x="92" y="195"/>
                    <a:pt x="89" y="170"/>
                    <a:pt x="89" y="170"/>
                  </a:cubicBezTo>
                  <a:cubicBezTo>
                    <a:pt x="89" y="170"/>
                    <a:pt x="63" y="132"/>
                    <a:pt x="66" y="128"/>
                  </a:cubicBezTo>
                  <a:cubicBezTo>
                    <a:pt x="69" y="124"/>
                    <a:pt x="79" y="107"/>
                    <a:pt x="75" y="95"/>
                  </a:cubicBezTo>
                  <a:cubicBezTo>
                    <a:pt x="71" y="83"/>
                    <a:pt x="85" y="67"/>
                    <a:pt x="85" y="67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42"/>
                    <a:pt x="104" y="62"/>
                    <a:pt x="113" y="62"/>
                  </a:cubicBezTo>
                  <a:cubicBezTo>
                    <a:pt x="122" y="62"/>
                    <a:pt x="134" y="58"/>
                    <a:pt x="134" y="58"/>
                  </a:cubicBezTo>
                  <a:cubicBezTo>
                    <a:pt x="134" y="58"/>
                    <a:pt x="131" y="69"/>
                    <a:pt x="138" y="73"/>
                  </a:cubicBezTo>
                  <a:cubicBezTo>
                    <a:pt x="145" y="77"/>
                    <a:pt x="155" y="77"/>
                    <a:pt x="155" y="77"/>
                  </a:cubicBezTo>
                  <a:cubicBezTo>
                    <a:pt x="155" y="77"/>
                    <a:pt x="152" y="88"/>
                    <a:pt x="152" y="106"/>
                  </a:cubicBezTo>
                  <a:cubicBezTo>
                    <a:pt x="152" y="124"/>
                    <a:pt x="160" y="180"/>
                    <a:pt x="160" y="180"/>
                  </a:cubicBezTo>
                  <a:cubicBezTo>
                    <a:pt x="160" y="180"/>
                    <a:pt x="181" y="255"/>
                    <a:pt x="189" y="257"/>
                  </a:cubicBezTo>
                  <a:cubicBezTo>
                    <a:pt x="197" y="259"/>
                    <a:pt x="217" y="257"/>
                    <a:pt x="217" y="257"/>
                  </a:cubicBezTo>
                  <a:cubicBezTo>
                    <a:pt x="217" y="257"/>
                    <a:pt x="199" y="268"/>
                    <a:pt x="208" y="284"/>
                  </a:cubicBezTo>
                  <a:cubicBezTo>
                    <a:pt x="217" y="300"/>
                    <a:pt x="234" y="302"/>
                    <a:pt x="234" y="302"/>
                  </a:cubicBezTo>
                  <a:cubicBezTo>
                    <a:pt x="236" y="317"/>
                    <a:pt x="236" y="317"/>
                    <a:pt x="236" y="317"/>
                  </a:cubicBezTo>
                  <a:cubicBezTo>
                    <a:pt x="257" y="318"/>
                    <a:pt x="257" y="318"/>
                    <a:pt x="257" y="318"/>
                  </a:cubicBezTo>
                  <a:cubicBezTo>
                    <a:pt x="260" y="346"/>
                    <a:pt x="260" y="346"/>
                    <a:pt x="260" y="346"/>
                  </a:cubicBezTo>
                  <a:cubicBezTo>
                    <a:pt x="260" y="346"/>
                    <a:pt x="228" y="359"/>
                    <a:pt x="238" y="374"/>
                  </a:cubicBezTo>
                  <a:cubicBezTo>
                    <a:pt x="248" y="389"/>
                    <a:pt x="255" y="375"/>
                    <a:pt x="255" y="375"/>
                  </a:cubicBezTo>
                  <a:cubicBezTo>
                    <a:pt x="255" y="375"/>
                    <a:pt x="264" y="395"/>
                    <a:pt x="270" y="397"/>
                  </a:cubicBezTo>
                  <a:cubicBezTo>
                    <a:pt x="276" y="399"/>
                    <a:pt x="294" y="401"/>
                    <a:pt x="294" y="404"/>
                  </a:cubicBezTo>
                  <a:cubicBezTo>
                    <a:pt x="294" y="407"/>
                    <a:pt x="294" y="418"/>
                    <a:pt x="294" y="418"/>
                  </a:cubicBezTo>
                  <a:cubicBezTo>
                    <a:pt x="294" y="418"/>
                    <a:pt x="279" y="437"/>
                    <a:pt x="290" y="438"/>
                  </a:cubicBezTo>
                  <a:cubicBezTo>
                    <a:pt x="301" y="439"/>
                    <a:pt x="313" y="437"/>
                    <a:pt x="313" y="437"/>
                  </a:cubicBezTo>
                  <a:cubicBezTo>
                    <a:pt x="313" y="456"/>
                    <a:pt x="313" y="456"/>
                    <a:pt x="313" y="456"/>
                  </a:cubicBezTo>
                  <a:cubicBezTo>
                    <a:pt x="313" y="456"/>
                    <a:pt x="335" y="481"/>
                    <a:pt x="345" y="495"/>
                  </a:cubicBezTo>
                  <a:cubicBezTo>
                    <a:pt x="355" y="509"/>
                    <a:pt x="373" y="538"/>
                    <a:pt x="373" y="547"/>
                  </a:cubicBezTo>
                  <a:cubicBezTo>
                    <a:pt x="373" y="556"/>
                    <a:pt x="370" y="562"/>
                    <a:pt x="371" y="575"/>
                  </a:cubicBezTo>
                  <a:cubicBezTo>
                    <a:pt x="372" y="588"/>
                    <a:pt x="386" y="595"/>
                    <a:pt x="384" y="606"/>
                  </a:cubicBezTo>
                  <a:cubicBezTo>
                    <a:pt x="382" y="617"/>
                    <a:pt x="364" y="625"/>
                    <a:pt x="364" y="632"/>
                  </a:cubicBezTo>
                  <a:cubicBezTo>
                    <a:pt x="364" y="639"/>
                    <a:pt x="375" y="645"/>
                    <a:pt x="375" y="645"/>
                  </a:cubicBezTo>
                  <a:cubicBezTo>
                    <a:pt x="375" y="645"/>
                    <a:pt x="351" y="642"/>
                    <a:pt x="351" y="659"/>
                  </a:cubicBezTo>
                  <a:cubicBezTo>
                    <a:pt x="351" y="676"/>
                    <a:pt x="350" y="717"/>
                    <a:pt x="373" y="719"/>
                  </a:cubicBezTo>
                  <a:cubicBezTo>
                    <a:pt x="396" y="721"/>
                    <a:pt x="416" y="727"/>
                    <a:pt x="423" y="740"/>
                  </a:cubicBezTo>
                  <a:cubicBezTo>
                    <a:pt x="430" y="753"/>
                    <a:pt x="437" y="779"/>
                    <a:pt x="453" y="781"/>
                  </a:cubicBezTo>
                  <a:cubicBezTo>
                    <a:pt x="469" y="783"/>
                    <a:pt x="496" y="777"/>
                    <a:pt x="507" y="788"/>
                  </a:cubicBezTo>
                  <a:cubicBezTo>
                    <a:pt x="518" y="799"/>
                    <a:pt x="525" y="825"/>
                    <a:pt x="556" y="838"/>
                  </a:cubicBezTo>
                  <a:cubicBezTo>
                    <a:pt x="587" y="851"/>
                    <a:pt x="632" y="851"/>
                    <a:pt x="639" y="861"/>
                  </a:cubicBezTo>
                  <a:cubicBezTo>
                    <a:pt x="646" y="871"/>
                    <a:pt x="649" y="881"/>
                    <a:pt x="659" y="881"/>
                  </a:cubicBezTo>
                  <a:cubicBezTo>
                    <a:pt x="669" y="881"/>
                    <a:pt x="677" y="899"/>
                    <a:pt x="677" y="899"/>
                  </a:cubicBezTo>
                  <a:cubicBezTo>
                    <a:pt x="677" y="899"/>
                    <a:pt x="720" y="894"/>
                    <a:pt x="722" y="897"/>
                  </a:cubicBezTo>
                  <a:cubicBezTo>
                    <a:pt x="724" y="900"/>
                    <a:pt x="731" y="921"/>
                    <a:pt x="745" y="917"/>
                  </a:cubicBezTo>
                  <a:cubicBezTo>
                    <a:pt x="759" y="913"/>
                    <a:pt x="829" y="875"/>
                    <a:pt x="840" y="878"/>
                  </a:cubicBezTo>
                  <a:cubicBezTo>
                    <a:pt x="851" y="881"/>
                    <a:pt x="921" y="938"/>
                    <a:pt x="924" y="946"/>
                  </a:cubicBezTo>
                  <a:cubicBezTo>
                    <a:pt x="926" y="951"/>
                    <a:pt x="927" y="964"/>
                    <a:pt x="933" y="974"/>
                  </a:cubicBezTo>
                  <a:cubicBezTo>
                    <a:pt x="933" y="974"/>
                    <a:pt x="947" y="976"/>
                    <a:pt x="947" y="960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97">
              <a:extLst>
                <a:ext uri="{FF2B5EF4-FFF2-40B4-BE49-F238E27FC236}">
                  <a16:creationId xmlns:a16="http://schemas.microsoft.com/office/drawing/2014/main" id="{14DD3E15-67EB-53D8-BB53-E8016353F974}"/>
                </a:ext>
              </a:extLst>
            </p:cNvPr>
            <p:cNvSpPr>
              <a:spLocks/>
            </p:cNvSpPr>
            <p:nvPr/>
          </p:nvSpPr>
          <p:spPr bwMode="gray">
            <a:xfrm>
              <a:off x="-16375" y="-12021"/>
              <a:ext cx="699" cy="392"/>
            </a:xfrm>
            <a:custGeom>
              <a:avLst/>
              <a:gdLst>
                <a:gd name="T0" fmla="*/ 103 w 296"/>
                <a:gd name="T1" fmla="*/ 162 h 166"/>
                <a:gd name="T2" fmla="*/ 105 w 296"/>
                <a:gd name="T3" fmla="*/ 151 h 166"/>
                <a:gd name="T4" fmla="*/ 114 w 296"/>
                <a:gd name="T5" fmla="*/ 149 h 166"/>
                <a:gd name="T6" fmla="*/ 115 w 296"/>
                <a:gd name="T7" fmla="*/ 122 h 166"/>
                <a:gd name="T8" fmla="*/ 135 w 296"/>
                <a:gd name="T9" fmla="*/ 123 h 166"/>
                <a:gd name="T10" fmla="*/ 148 w 296"/>
                <a:gd name="T11" fmla="*/ 109 h 166"/>
                <a:gd name="T12" fmla="*/ 162 w 296"/>
                <a:gd name="T13" fmla="*/ 118 h 166"/>
                <a:gd name="T14" fmla="*/ 189 w 296"/>
                <a:gd name="T15" fmla="*/ 95 h 166"/>
                <a:gd name="T16" fmla="*/ 190 w 296"/>
                <a:gd name="T17" fmla="*/ 85 h 166"/>
                <a:gd name="T18" fmla="*/ 203 w 296"/>
                <a:gd name="T19" fmla="*/ 84 h 166"/>
                <a:gd name="T20" fmla="*/ 213 w 296"/>
                <a:gd name="T21" fmla="*/ 65 h 166"/>
                <a:gd name="T22" fmla="*/ 238 w 296"/>
                <a:gd name="T23" fmla="*/ 76 h 166"/>
                <a:gd name="T24" fmla="*/ 251 w 296"/>
                <a:gd name="T25" fmla="*/ 66 h 166"/>
                <a:gd name="T26" fmla="*/ 262 w 296"/>
                <a:gd name="T27" fmla="*/ 66 h 166"/>
                <a:gd name="T28" fmla="*/ 281 w 296"/>
                <a:gd name="T29" fmla="*/ 65 h 166"/>
                <a:gd name="T30" fmla="*/ 294 w 296"/>
                <a:gd name="T31" fmla="*/ 55 h 166"/>
                <a:gd name="T32" fmla="*/ 283 w 296"/>
                <a:gd name="T33" fmla="*/ 41 h 166"/>
                <a:gd name="T34" fmla="*/ 268 w 296"/>
                <a:gd name="T35" fmla="*/ 35 h 166"/>
                <a:gd name="T36" fmla="*/ 248 w 296"/>
                <a:gd name="T37" fmla="*/ 18 h 166"/>
                <a:gd name="T38" fmla="*/ 230 w 296"/>
                <a:gd name="T39" fmla="*/ 13 h 166"/>
                <a:gd name="T40" fmla="*/ 214 w 296"/>
                <a:gd name="T41" fmla="*/ 1 h 166"/>
                <a:gd name="T42" fmla="*/ 192 w 296"/>
                <a:gd name="T43" fmla="*/ 9 h 166"/>
                <a:gd name="T44" fmla="*/ 171 w 296"/>
                <a:gd name="T45" fmla="*/ 0 h 166"/>
                <a:gd name="T46" fmla="*/ 148 w 296"/>
                <a:gd name="T47" fmla="*/ 18 h 166"/>
                <a:gd name="T48" fmla="*/ 125 w 296"/>
                <a:gd name="T49" fmla="*/ 17 h 166"/>
                <a:gd name="T50" fmla="*/ 109 w 296"/>
                <a:gd name="T51" fmla="*/ 11 h 166"/>
                <a:gd name="T52" fmla="*/ 89 w 296"/>
                <a:gd name="T53" fmla="*/ 16 h 166"/>
                <a:gd name="T54" fmla="*/ 81 w 296"/>
                <a:gd name="T55" fmla="*/ 2 h 166"/>
                <a:gd name="T56" fmla="*/ 59 w 296"/>
                <a:gd name="T57" fmla="*/ 15 h 166"/>
                <a:gd name="T58" fmla="*/ 39 w 296"/>
                <a:gd name="T59" fmla="*/ 34 h 166"/>
                <a:gd name="T60" fmla="*/ 11 w 296"/>
                <a:gd name="T61" fmla="*/ 58 h 166"/>
                <a:gd name="T62" fmla="*/ 9 w 296"/>
                <a:gd name="T63" fmla="*/ 79 h 166"/>
                <a:gd name="T64" fmla="*/ 0 w 296"/>
                <a:gd name="T65" fmla="*/ 86 h 166"/>
                <a:gd name="T66" fmla="*/ 13 w 296"/>
                <a:gd name="T67" fmla="*/ 102 h 166"/>
                <a:gd name="T68" fmla="*/ 28 w 296"/>
                <a:gd name="T69" fmla="*/ 102 h 166"/>
                <a:gd name="T70" fmla="*/ 36 w 296"/>
                <a:gd name="T71" fmla="*/ 118 h 166"/>
                <a:gd name="T72" fmla="*/ 52 w 296"/>
                <a:gd name="T73" fmla="*/ 112 h 166"/>
                <a:gd name="T74" fmla="*/ 67 w 296"/>
                <a:gd name="T75" fmla="*/ 114 h 166"/>
                <a:gd name="T76" fmla="*/ 68 w 296"/>
                <a:gd name="T77" fmla="*/ 143 h 166"/>
                <a:gd name="T78" fmla="*/ 85 w 296"/>
                <a:gd name="T79" fmla="*/ 148 h 166"/>
                <a:gd name="T80" fmla="*/ 89 w 296"/>
                <a:gd name="T81" fmla="*/ 166 h 166"/>
                <a:gd name="T82" fmla="*/ 103 w 296"/>
                <a:gd name="T83" fmla="*/ 16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96" h="166">
                  <a:moveTo>
                    <a:pt x="103" y="162"/>
                  </a:moveTo>
                  <a:cubicBezTo>
                    <a:pt x="109" y="160"/>
                    <a:pt x="105" y="151"/>
                    <a:pt x="105" y="151"/>
                  </a:cubicBezTo>
                  <a:cubicBezTo>
                    <a:pt x="114" y="149"/>
                    <a:pt x="114" y="149"/>
                    <a:pt x="114" y="149"/>
                  </a:cubicBezTo>
                  <a:cubicBezTo>
                    <a:pt x="114" y="149"/>
                    <a:pt x="100" y="122"/>
                    <a:pt x="115" y="122"/>
                  </a:cubicBezTo>
                  <a:cubicBezTo>
                    <a:pt x="130" y="122"/>
                    <a:pt x="135" y="123"/>
                    <a:pt x="135" y="123"/>
                  </a:cubicBezTo>
                  <a:cubicBezTo>
                    <a:pt x="135" y="123"/>
                    <a:pt x="140" y="108"/>
                    <a:pt x="148" y="109"/>
                  </a:cubicBezTo>
                  <a:cubicBezTo>
                    <a:pt x="156" y="110"/>
                    <a:pt x="147" y="118"/>
                    <a:pt x="162" y="118"/>
                  </a:cubicBezTo>
                  <a:cubicBezTo>
                    <a:pt x="177" y="118"/>
                    <a:pt x="189" y="95"/>
                    <a:pt x="189" y="95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203" y="84"/>
                    <a:pt x="203" y="84"/>
                    <a:pt x="203" y="84"/>
                  </a:cubicBezTo>
                  <a:cubicBezTo>
                    <a:pt x="203" y="84"/>
                    <a:pt x="204" y="64"/>
                    <a:pt x="213" y="65"/>
                  </a:cubicBezTo>
                  <a:cubicBezTo>
                    <a:pt x="222" y="66"/>
                    <a:pt x="228" y="77"/>
                    <a:pt x="238" y="76"/>
                  </a:cubicBezTo>
                  <a:cubicBezTo>
                    <a:pt x="248" y="75"/>
                    <a:pt x="247" y="66"/>
                    <a:pt x="251" y="66"/>
                  </a:cubicBezTo>
                  <a:cubicBezTo>
                    <a:pt x="255" y="66"/>
                    <a:pt x="262" y="66"/>
                    <a:pt x="262" y="66"/>
                  </a:cubicBezTo>
                  <a:cubicBezTo>
                    <a:pt x="281" y="65"/>
                    <a:pt x="281" y="65"/>
                    <a:pt x="281" y="65"/>
                  </a:cubicBezTo>
                  <a:cubicBezTo>
                    <a:pt x="282" y="61"/>
                    <a:pt x="296" y="62"/>
                    <a:pt x="294" y="55"/>
                  </a:cubicBezTo>
                  <a:cubicBezTo>
                    <a:pt x="292" y="48"/>
                    <a:pt x="283" y="41"/>
                    <a:pt x="283" y="41"/>
                  </a:cubicBezTo>
                  <a:cubicBezTo>
                    <a:pt x="268" y="35"/>
                    <a:pt x="268" y="35"/>
                    <a:pt x="268" y="35"/>
                  </a:cubicBezTo>
                  <a:cubicBezTo>
                    <a:pt x="268" y="35"/>
                    <a:pt x="257" y="27"/>
                    <a:pt x="248" y="18"/>
                  </a:cubicBezTo>
                  <a:cubicBezTo>
                    <a:pt x="239" y="9"/>
                    <a:pt x="230" y="13"/>
                    <a:pt x="230" y="13"/>
                  </a:cubicBezTo>
                  <a:cubicBezTo>
                    <a:pt x="230" y="13"/>
                    <a:pt x="226" y="1"/>
                    <a:pt x="214" y="1"/>
                  </a:cubicBezTo>
                  <a:cubicBezTo>
                    <a:pt x="202" y="1"/>
                    <a:pt x="192" y="9"/>
                    <a:pt x="192" y="9"/>
                  </a:cubicBezTo>
                  <a:cubicBezTo>
                    <a:pt x="192" y="9"/>
                    <a:pt x="178" y="0"/>
                    <a:pt x="171" y="0"/>
                  </a:cubicBezTo>
                  <a:cubicBezTo>
                    <a:pt x="164" y="0"/>
                    <a:pt x="148" y="18"/>
                    <a:pt x="148" y="18"/>
                  </a:cubicBezTo>
                  <a:cubicBezTo>
                    <a:pt x="125" y="17"/>
                    <a:pt x="125" y="17"/>
                    <a:pt x="125" y="17"/>
                  </a:cubicBezTo>
                  <a:cubicBezTo>
                    <a:pt x="125" y="17"/>
                    <a:pt x="112" y="11"/>
                    <a:pt x="109" y="11"/>
                  </a:cubicBezTo>
                  <a:cubicBezTo>
                    <a:pt x="106" y="11"/>
                    <a:pt x="89" y="16"/>
                    <a:pt x="89" y="16"/>
                  </a:cubicBezTo>
                  <a:cubicBezTo>
                    <a:pt x="89" y="16"/>
                    <a:pt x="84" y="2"/>
                    <a:pt x="81" y="2"/>
                  </a:cubicBezTo>
                  <a:cubicBezTo>
                    <a:pt x="78" y="2"/>
                    <a:pt x="59" y="15"/>
                    <a:pt x="59" y="15"/>
                  </a:cubicBezTo>
                  <a:cubicBezTo>
                    <a:pt x="59" y="15"/>
                    <a:pt x="54" y="26"/>
                    <a:pt x="39" y="34"/>
                  </a:cubicBezTo>
                  <a:cubicBezTo>
                    <a:pt x="24" y="42"/>
                    <a:pt x="11" y="58"/>
                    <a:pt x="11" y="58"/>
                  </a:cubicBezTo>
                  <a:cubicBezTo>
                    <a:pt x="11" y="58"/>
                    <a:pt x="12" y="70"/>
                    <a:pt x="9" y="79"/>
                  </a:cubicBezTo>
                  <a:cubicBezTo>
                    <a:pt x="8" y="82"/>
                    <a:pt x="4" y="85"/>
                    <a:pt x="0" y="86"/>
                  </a:cubicBezTo>
                  <a:cubicBezTo>
                    <a:pt x="2" y="91"/>
                    <a:pt x="6" y="102"/>
                    <a:pt x="13" y="102"/>
                  </a:cubicBezTo>
                  <a:cubicBezTo>
                    <a:pt x="22" y="102"/>
                    <a:pt x="28" y="102"/>
                    <a:pt x="28" y="102"/>
                  </a:cubicBezTo>
                  <a:cubicBezTo>
                    <a:pt x="28" y="102"/>
                    <a:pt x="27" y="120"/>
                    <a:pt x="36" y="118"/>
                  </a:cubicBezTo>
                  <a:cubicBezTo>
                    <a:pt x="45" y="116"/>
                    <a:pt x="47" y="111"/>
                    <a:pt x="52" y="112"/>
                  </a:cubicBezTo>
                  <a:cubicBezTo>
                    <a:pt x="57" y="113"/>
                    <a:pt x="67" y="114"/>
                    <a:pt x="67" y="114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92" y="158"/>
                    <a:pt x="89" y="166"/>
                    <a:pt x="89" y="166"/>
                  </a:cubicBezTo>
                  <a:cubicBezTo>
                    <a:pt x="89" y="166"/>
                    <a:pt x="97" y="164"/>
                    <a:pt x="103" y="162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198">
              <a:extLst>
                <a:ext uri="{FF2B5EF4-FFF2-40B4-BE49-F238E27FC236}">
                  <a16:creationId xmlns:a16="http://schemas.microsoft.com/office/drawing/2014/main" id="{42E9D331-FE98-432B-386F-B0F1DA8B9F7F}"/>
                </a:ext>
              </a:extLst>
            </p:cNvPr>
            <p:cNvSpPr>
              <a:spLocks/>
            </p:cNvSpPr>
            <p:nvPr/>
          </p:nvSpPr>
          <p:spPr bwMode="gray">
            <a:xfrm>
              <a:off x="-12974" y="-10745"/>
              <a:ext cx="470" cy="539"/>
            </a:xfrm>
            <a:custGeom>
              <a:avLst/>
              <a:gdLst>
                <a:gd name="T0" fmla="*/ 43 w 199"/>
                <a:gd name="T1" fmla="*/ 52 h 228"/>
                <a:gd name="T2" fmla="*/ 10 w 199"/>
                <a:gd name="T3" fmla="*/ 61 h 228"/>
                <a:gd name="T4" fmla="*/ 11 w 199"/>
                <a:gd name="T5" fmla="*/ 89 h 228"/>
                <a:gd name="T6" fmla="*/ 1 w 199"/>
                <a:gd name="T7" fmla="*/ 107 h 228"/>
                <a:gd name="T8" fmla="*/ 12 w 199"/>
                <a:gd name="T9" fmla="*/ 122 h 228"/>
                <a:gd name="T10" fmla="*/ 26 w 199"/>
                <a:gd name="T11" fmla="*/ 144 h 228"/>
                <a:gd name="T12" fmla="*/ 40 w 199"/>
                <a:gd name="T13" fmla="*/ 137 h 228"/>
                <a:gd name="T14" fmla="*/ 40 w 199"/>
                <a:gd name="T15" fmla="*/ 173 h 228"/>
                <a:gd name="T16" fmla="*/ 65 w 199"/>
                <a:gd name="T17" fmla="*/ 212 h 228"/>
                <a:gd name="T18" fmla="*/ 103 w 199"/>
                <a:gd name="T19" fmla="*/ 224 h 228"/>
                <a:gd name="T20" fmla="*/ 95 w 199"/>
                <a:gd name="T21" fmla="*/ 204 h 228"/>
                <a:gd name="T22" fmla="*/ 102 w 199"/>
                <a:gd name="T23" fmla="*/ 187 h 228"/>
                <a:gd name="T24" fmla="*/ 107 w 199"/>
                <a:gd name="T25" fmla="*/ 195 h 228"/>
                <a:gd name="T26" fmla="*/ 125 w 199"/>
                <a:gd name="T27" fmla="*/ 195 h 228"/>
                <a:gd name="T28" fmla="*/ 142 w 199"/>
                <a:gd name="T29" fmla="*/ 183 h 228"/>
                <a:gd name="T30" fmla="*/ 154 w 199"/>
                <a:gd name="T31" fmla="*/ 193 h 228"/>
                <a:gd name="T32" fmla="*/ 167 w 199"/>
                <a:gd name="T33" fmla="*/ 199 h 228"/>
                <a:gd name="T34" fmla="*/ 174 w 199"/>
                <a:gd name="T35" fmla="*/ 182 h 228"/>
                <a:gd name="T36" fmla="*/ 186 w 199"/>
                <a:gd name="T37" fmla="*/ 175 h 228"/>
                <a:gd name="T38" fmla="*/ 184 w 199"/>
                <a:gd name="T39" fmla="*/ 147 h 228"/>
                <a:gd name="T40" fmla="*/ 195 w 199"/>
                <a:gd name="T41" fmla="*/ 132 h 228"/>
                <a:gd name="T42" fmla="*/ 174 w 199"/>
                <a:gd name="T43" fmla="*/ 105 h 228"/>
                <a:gd name="T44" fmla="*/ 173 w 199"/>
                <a:gd name="T45" fmla="*/ 55 h 228"/>
                <a:gd name="T46" fmla="*/ 195 w 199"/>
                <a:gd name="T47" fmla="*/ 32 h 228"/>
                <a:gd name="T48" fmla="*/ 199 w 199"/>
                <a:gd name="T49" fmla="*/ 11 h 228"/>
                <a:gd name="T50" fmla="*/ 199 w 199"/>
                <a:gd name="T51" fmla="*/ 11 h 228"/>
                <a:gd name="T52" fmla="*/ 197 w 199"/>
                <a:gd name="T53" fmla="*/ 9 h 228"/>
                <a:gd name="T54" fmla="*/ 143 w 199"/>
                <a:gd name="T55" fmla="*/ 0 h 228"/>
                <a:gd name="T56" fmla="*/ 139 w 199"/>
                <a:gd name="T57" fmla="*/ 9 h 228"/>
                <a:gd name="T58" fmla="*/ 109 w 199"/>
                <a:gd name="T59" fmla="*/ 4 h 228"/>
                <a:gd name="T60" fmla="*/ 108 w 199"/>
                <a:gd name="T61" fmla="*/ 15 h 228"/>
                <a:gd name="T62" fmla="*/ 69 w 199"/>
                <a:gd name="T63" fmla="*/ 1 h 228"/>
                <a:gd name="T64" fmla="*/ 50 w 199"/>
                <a:gd name="T65" fmla="*/ 7 h 228"/>
                <a:gd name="T66" fmla="*/ 39 w 199"/>
                <a:gd name="T67" fmla="*/ 29 h 228"/>
                <a:gd name="T68" fmla="*/ 43 w 199"/>
                <a:gd name="T69" fmla="*/ 5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9" h="228">
                  <a:moveTo>
                    <a:pt x="43" y="52"/>
                  </a:moveTo>
                  <a:cubicBezTo>
                    <a:pt x="31" y="55"/>
                    <a:pt x="13" y="52"/>
                    <a:pt x="10" y="61"/>
                  </a:cubicBezTo>
                  <a:cubicBezTo>
                    <a:pt x="7" y="70"/>
                    <a:pt x="11" y="89"/>
                    <a:pt x="11" y="89"/>
                  </a:cubicBezTo>
                  <a:cubicBezTo>
                    <a:pt x="11" y="89"/>
                    <a:pt x="0" y="96"/>
                    <a:pt x="1" y="107"/>
                  </a:cubicBezTo>
                  <a:cubicBezTo>
                    <a:pt x="2" y="117"/>
                    <a:pt x="12" y="115"/>
                    <a:pt x="12" y="122"/>
                  </a:cubicBezTo>
                  <a:cubicBezTo>
                    <a:pt x="12" y="129"/>
                    <a:pt x="22" y="143"/>
                    <a:pt x="26" y="144"/>
                  </a:cubicBezTo>
                  <a:cubicBezTo>
                    <a:pt x="30" y="145"/>
                    <a:pt x="39" y="130"/>
                    <a:pt x="40" y="137"/>
                  </a:cubicBezTo>
                  <a:cubicBezTo>
                    <a:pt x="41" y="144"/>
                    <a:pt x="31" y="165"/>
                    <a:pt x="40" y="173"/>
                  </a:cubicBezTo>
                  <a:cubicBezTo>
                    <a:pt x="49" y="181"/>
                    <a:pt x="65" y="212"/>
                    <a:pt x="65" y="212"/>
                  </a:cubicBezTo>
                  <a:cubicBezTo>
                    <a:pt x="65" y="212"/>
                    <a:pt x="94" y="228"/>
                    <a:pt x="103" y="224"/>
                  </a:cubicBezTo>
                  <a:cubicBezTo>
                    <a:pt x="112" y="220"/>
                    <a:pt x="98" y="210"/>
                    <a:pt x="95" y="204"/>
                  </a:cubicBezTo>
                  <a:cubicBezTo>
                    <a:pt x="92" y="198"/>
                    <a:pt x="96" y="188"/>
                    <a:pt x="102" y="187"/>
                  </a:cubicBezTo>
                  <a:cubicBezTo>
                    <a:pt x="108" y="186"/>
                    <a:pt x="107" y="195"/>
                    <a:pt x="107" y="195"/>
                  </a:cubicBezTo>
                  <a:cubicBezTo>
                    <a:pt x="125" y="195"/>
                    <a:pt x="125" y="195"/>
                    <a:pt x="125" y="195"/>
                  </a:cubicBezTo>
                  <a:cubicBezTo>
                    <a:pt x="125" y="195"/>
                    <a:pt x="134" y="184"/>
                    <a:pt x="142" y="183"/>
                  </a:cubicBezTo>
                  <a:cubicBezTo>
                    <a:pt x="150" y="182"/>
                    <a:pt x="154" y="193"/>
                    <a:pt x="154" y="193"/>
                  </a:cubicBezTo>
                  <a:cubicBezTo>
                    <a:pt x="167" y="199"/>
                    <a:pt x="167" y="199"/>
                    <a:pt x="167" y="199"/>
                  </a:cubicBezTo>
                  <a:cubicBezTo>
                    <a:pt x="167" y="199"/>
                    <a:pt x="173" y="185"/>
                    <a:pt x="174" y="182"/>
                  </a:cubicBezTo>
                  <a:cubicBezTo>
                    <a:pt x="175" y="179"/>
                    <a:pt x="186" y="175"/>
                    <a:pt x="186" y="175"/>
                  </a:cubicBezTo>
                  <a:cubicBezTo>
                    <a:pt x="184" y="147"/>
                    <a:pt x="184" y="147"/>
                    <a:pt x="184" y="147"/>
                  </a:cubicBezTo>
                  <a:cubicBezTo>
                    <a:pt x="184" y="147"/>
                    <a:pt x="196" y="142"/>
                    <a:pt x="195" y="132"/>
                  </a:cubicBezTo>
                  <a:cubicBezTo>
                    <a:pt x="194" y="122"/>
                    <a:pt x="175" y="117"/>
                    <a:pt x="174" y="105"/>
                  </a:cubicBezTo>
                  <a:cubicBezTo>
                    <a:pt x="173" y="92"/>
                    <a:pt x="163" y="71"/>
                    <a:pt x="173" y="55"/>
                  </a:cubicBezTo>
                  <a:cubicBezTo>
                    <a:pt x="184" y="38"/>
                    <a:pt x="195" y="39"/>
                    <a:pt x="195" y="32"/>
                  </a:cubicBezTo>
                  <a:cubicBezTo>
                    <a:pt x="195" y="27"/>
                    <a:pt x="195" y="18"/>
                    <a:pt x="199" y="11"/>
                  </a:cubicBezTo>
                  <a:cubicBezTo>
                    <a:pt x="199" y="11"/>
                    <a:pt x="199" y="11"/>
                    <a:pt x="199" y="11"/>
                  </a:cubicBezTo>
                  <a:cubicBezTo>
                    <a:pt x="198" y="10"/>
                    <a:pt x="197" y="10"/>
                    <a:pt x="197" y="9"/>
                  </a:cubicBezTo>
                  <a:cubicBezTo>
                    <a:pt x="190" y="0"/>
                    <a:pt x="143" y="0"/>
                    <a:pt x="143" y="0"/>
                  </a:cubicBezTo>
                  <a:cubicBezTo>
                    <a:pt x="139" y="9"/>
                    <a:pt x="139" y="9"/>
                    <a:pt x="139" y="9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7"/>
                    <a:pt x="39" y="21"/>
                    <a:pt x="39" y="29"/>
                  </a:cubicBezTo>
                  <a:cubicBezTo>
                    <a:pt x="39" y="37"/>
                    <a:pt x="55" y="49"/>
                    <a:pt x="43" y="52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199">
              <a:extLst>
                <a:ext uri="{FF2B5EF4-FFF2-40B4-BE49-F238E27FC236}">
                  <a16:creationId xmlns:a16="http://schemas.microsoft.com/office/drawing/2014/main" id="{B782EBD9-7DD5-FF74-9A59-999C320A4003}"/>
                </a:ext>
              </a:extLst>
            </p:cNvPr>
            <p:cNvSpPr>
              <a:spLocks/>
            </p:cNvSpPr>
            <p:nvPr/>
          </p:nvSpPr>
          <p:spPr bwMode="gray">
            <a:xfrm>
              <a:off x="-13342" y="-11050"/>
              <a:ext cx="531" cy="917"/>
            </a:xfrm>
            <a:custGeom>
              <a:avLst/>
              <a:gdLst>
                <a:gd name="T0" fmla="*/ 62 w 225"/>
                <a:gd name="T1" fmla="*/ 28 h 388"/>
                <a:gd name="T2" fmla="*/ 42 w 225"/>
                <a:gd name="T3" fmla="*/ 44 h 388"/>
                <a:gd name="T4" fmla="*/ 46 w 225"/>
                <a:gd name="T5" fmla="*/ 64 h 388"/>
                <a:gd name="T6" fmla="*/ 57 w 225"/>
                <a:gd name="T7" fmla="*/ 67 h 388"/>
                <a:gd name="T8" fmla="*/ 47 w 225"/>
                <a:gd name="T9" fmla="*/ 85 h 388"/>
                <a:gd name="T10" fmla="*/ 11 w 225"/>
                <a:gd name="T11" fmla="*/ 93 h 388"/>
                <a:gd name="T12" fmla="*/ 22 w 225"/>
                <a:gd name="T13" fmla="*/ 116 h 388"/>
                <a:gd name="T14" fmla="*/ 4 w 225"/>
                <a:gd name="T15" fmla="*/ 134 h 388"/>
                <a:gd name="T16" fmla="*/ 35 w 225"/>
                <a:gd name="T17" fmla="*/ 172 h 388"/>
                <a:gd name="T18" fmla="*/ 51 w 225"/>
                <a:gd name="T19" fmla="*/ 174 h 388"/>
                <a:gd name="T20" fmla="*/ 56 w 225"/>
                <a:gd name="T21" fmla="*/ 167 h 388"/>
                <a:gd name="T22" fmla="*/ 68 w 225"/>
                <a:gd name="T23" fmla="*/ 182 h 388"/>
                <a:gd name="T24" fmla="*/ 59 w 225"/>
                <a:gd name="T25" fmla="*/ 208 h 388"/>
                <a:gd name="T26" fmla="*/ 81 w 225"/>
                <a:gd name="T27" fmla="*/ 211 h 388"/>
                <a:gd name="T28" fmla="*/ 80 w 225"/>
                <a:gd name="T29" fmla="*/ 230 h 388"/>
                <a:gd name="T30" fmla="*/ 88 w 225"/>
                <a:gd name="T31" fmla="*/ 240 h 388"/>
                <a:gd name="T32" fmla="*/ 74 w 225"/>
                <a:gd name="T33" fmla="*/ 258 h 388"/>
                <a:gd name="T34" fmla="*/ 69 w 225"/>
                <a:gd name="T35" fmla="*/ 286 h 388"/>
                <a:gd name="T36" fmla="*/ 61 w 225"/>
                <a:gd name="T37" fmla="*/ 312 h 388"/>
                <a:gd name="T38" fmla="*/ 78 w 225"/>
                <a:gd name="T39" fmla="*/ 333 h 388"/>
                <a:gd name="T40" fmla="*/ 78 w 225"/>
                <a:gd name="T41" fmla="*/ 353 h 388"/>
                <a:gd name="T42" fmla="*/ 99 w 225"/>
                <a:gd name="T43" fmla="*/ 377 h 388"/>
                <a:gd name="T44" fmla="*/ 108 w 225"/>
                <a:gd name="T45" fmla="*/ 377 h 388"/>
                <a:gd name="T46" fmla="*/ 112 w 225"/>
                <a:gd name="T47" fmla="*/ 388 h 388"/>
                <a:gd name="T48" fmla="*/ 132 w 225"/>
                <a:gd name="T49" fmla="*/ 387 h 388"/>
                <a:gd name="T50" fmla="*/ 143 w 225"/>
                <a:gd name="T51" fmla="*/ 369 h 388"/>
                <a:gd name="T52" fmla="*/ 161 w 225"/>
                <a:gd name="T53" fmla="*/ 368 h 388"/>
                <a:gd name="T54" fmla="*/ 162 w 225"/>
                <a:gd name="T55" fmla="*/ 360 h 388"/>
                <a:gd name="T56" fmla="*/ 183 w 225"/>
                <a:gd name="T57" fmla="*/ 359 h 388"/>
                <a:gd name="T58" fmla="*/ 197 w 225"/>
                <a:gd name="T59" fmla="*/ 342 h 388"/>
                <a:gd name="T60" fmla="*/ 217 w 225"/>
                <a:gd name="T61" fmla="*/ 350 h 388"/>
                <a:gd name="T62" fmla="*/ 221 w 225"/>
                <a:gd name="T63" fmla="*/ 341 h 388"/>
                <a:gd name="T64" fmla="*/ 196 w 225"/>
                <a:gd name="T65" fmla="*/ 302 h 388"/>
                <a:gd name="T66" fmla="*/ 196 w 225"/>
                <a:gd name="T67" fmla="*/ 266 h 388"/>
                <a:gd name="T68" fmla="*/ 182 w 225"/>
                <a:gd name="T69" fmla="*/ 273 h 388"/>
                <a:gd name="T70" fmla="*/ 168 w 225"/>
                <a:gd name="T71" fmla="*/ 251 h 388"/>
                <a:gd name="T72" fmla="*/ 157 w 225"/>
                <a:gd name="T73" fmla="*/ 236 h 388"/>
                <a:gd name="T74" fmla="*/ 167 w 225"/>
                <a:gd name="T75" fmla="*/ 218 h 388"/>
                <a:gd name="T76" fmla="*/ 166 w 225"/>
                <a:gd name="T77" fmla="*/ 190 h 388"/>
                <a:gd name="T78" fmla="*/ 199 w 225"/>
                <a:gd name="T79" fmla="*/ 181 h 388"/>
                <a:gd name="T80" fmla="*/ 195 w 225"/>
                <a:gd name="T81" fmla="*/ 158 h 388"/>
                <a:gd name="T82" fmla="*/ 206 w 225"/>
                <a:gd name="T83" fmla="*/ 136 h 388"/>
                <a:gd name="T84" fmla="*/ 203 w 225"/>
                <a:gd name="T85" fmla="*/ 117 h 388"/>
                <a:gd name="T86" fmla="*/ 185 w 225"/>
                <a:gd name="T87" fmla="*/ 117 h 388"/>
                <a:gd name="T88" fmla="*/ 183 w 225"/>
                <a:gd name="T89" fmla="*/ 102 h 388"/>
                <a:gd name="T90" fmla="*/ 153 w 225"/>
                <a:gd name="T91" fmla="*/ 85 h 388"/>
                <a:gd name="T92" fmla="*/ 133 w 225"/>
                <a:gd name="T93" fmla="*/ 109 h 388"/>
                <a:gd name="T94" fmla="*/ 144 w 225"/>
                <a:gd name="T95" fmla="*/ 61 h 388"/>
                <a:gd name="T96" fmla="*/ 126 w 225"/>
                <a:gd name="T97" fmla="*/ 22 h 388"/>
                <a:gd name="T98" fmla="*/ 83 w 225"/>
                <a:gd name="T99" fmla="*/ 0 h 388"/>
                <a:gd name="T100" fmla="*/ 76 w 225"/>
                <a:gd name="T101" fmla="*/ 12 h 388"/>
                <a:gd name="T102" fmla="*/ 62 w 225"/>
                <a:gd name="T103" fmla="*/ 2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5" h="388">
                  <a:moveTo>
                    <a:pt x="62" y="28"/>
                  </a:moveTo>
                  <a:cubicBezTo>
                    <a:pt x="56" y="30"/>
                    <a:pt x="40" y="35"/>
                    <a:pt x="42" y="44"/>
                  </a:cubicBezTo>
                  <a:cubicBezTo>
                    <a:pt x="44" y="53"/>
                    <a:pt x="42" y="64"/>
                    <a:pt x="46" y="64"/>
                  </a:cubicBezTo>
                  <a:cubicBezTo>
                    <a:pt x="50" y="64"/>
                    <a:pt x="57" y="64"/>
                    <a:pt x="57" y="67"/>
                  </a:cubicBezTo>
                  <a:cubicBezTo>
                    <a:pt x="57" y="71"/>
                    <a:pt x="58" y="81"/>
                    <a:pt x="47" y="85"/>
                  </a:cubicBezTo>
                  <a:cubicBezTo>
                    <a:pt x="36" y="89"/>
                    <a:pt x="11" y="88"/>
                    <a:pt x="11" y="93"/>
                  </a:cubicBezTo>
                  <a:cubicBezTo>
                    <a:pt x="11" y="98"/>
                    <a:pt x="31" y="109"/>
                    <a:pt x="22" y="116"/>
                  </a:cubicBezTo>
                  <a:cubicBezTo>
                    <a:pt x="13" y="124"/>
                    <a:pt x="0" y="123"/>
                    <a:pt x="4" y="134"/>
                  </a:cubicBezTo>
                  <a:cubicBezTo>
                    <a:pt x="8" y="145"/>
                    <a:pt x="35" y="172"/>
                    <a:pt x="35" y="172"/>
                  </a:cubicBezTo>
                  <a:cubicBezTo>
                    <a:pt x="51" y="174"/>
                    <a:pt x="51" y="174"/>
                    <a:pt x="51" y="174"/>
                  </a:cubicBezTo>
                  <a:cubicBezTo>
                    <a:pt x="56" y="167"/>
                    <a:pt x="56" y="167"/>
                    <a:pt x="56" y="167"/>
                  </a:cubicBezTo>
                  <a:cubicBezTo>
                    <a:pt x="56" y="167"/>
                    <a:pt x="65" y="168"/>
                    <a:pt x="68" y="182"/>
                  </a:cubicBezTo>
                  <a:cubicBezTo>
                    <a:pt x="71" y="196"/>
                    <a:pt x="59" y="208"/>
                    <a:pt x="59" y="208"/>
                  </a:cubicBezTo>
                  <a:cubicBezTo>
                    <a:pt x="59" y="217"/>
                    <a:pt x="81" y="211"/>
                    <a:pt x="81" y="211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80" y="230"/>
                    <a:pt x="89" y="234"/>
                    <a:pt x="88" y="240"/>
                  </a:cubicBezTo>
                  <a:cubicBezTo>
                    <a:pt x="87" y="246"/>
                    <a:pt x="74" y="258"/>
                    <a:pt x="74" y="258"/>
                  </a:cubicBezTo>
                  <a:cubicBezTo>
                    <a:pt x="69" y="286"/>
                    <a:pt x="69" y="286"/>
                    <a:pt x="69" y="286"/>
                  </a:cubicBezTo>
                  <a:cubicBezTo>
                    <a:pt x="69" y="286"/>
                    <a:pt x="61" y="302"/>
                    <a:pt x="61" y="312"/>
                  </a:cubicBezTo>
                  <a:cubicBezTo>
                    <a:pt x="61" y="322"/>
                    <a:pt x="78" y="325"/>
                    <a:pt x="78" y="333"/>
                  </a:cubicBezTo>
                  <a:cubicBezTo>
                    <a:pt x="78" y="341"/>
                    <a:pt x="78" y="353"/>
                    <a:pt x="78" y="353"/>
                  </a:cubicBezTo>
                  <a:cubicBezTo>
                    <a:pt x="99" y="377"/>
                    <a:pt x="99" y="377"/>
                    <a:pt x="99" y="377"/>
                  </a:cubicBezTo>
                  <a:cubicBezTo>
                    <a:pt x="108" y="377"/>
                    <a:pt x="108" y="377"/>
                    <a:pt x="108" y="377"/>
                  </a:cubicBezTo>
                  <a:cubicBezTo>
                    <a:pt x="112" y="388"/>
                    <a:pt x="112" y="388"/>
                    <a:pt x="112" y="388"/>
                  </a:cubicBezTo>
                  <a:cubicBezTo>
                    <a:pt x="112" y="388"/>
                    <a:pt x="122" y="388"/>
                    <a:pt x="132" y="387"/>
                  </a:cubicBezTo>
                  <a:cubicBezTo>
                    <a:pt x="142" y="386"/>
                    <a:pt x="137" y="373"/>
                    <a:pt x="143" y="369"/>
                  </a:cubicBezTo>
                  <a:cubicBezTo>
                    <a:pt x="149" y="365"/>
                    <a:pt x="161" y="368"/>
                    <a:pt x="161" y="368"/>
                  </a:cubicBezTo>
                  <a:cubicBezTo>
                    <a:pt x="162" y="360"/>
                    <a:pt x="162" y="360"/>
                    <a:pt x="162" y="360"/>
                  </a:cubicBezTo>
                  <a:cubicBezTo>
                    <a:pt x="183" y="359"/>
                    <a:pt x="183" y="359"/>
                    <a:pt x="183" y="359"/>
                  </a:cubicBezTo>
                  <a:cubicBezTo>
                    <a:pt x="183" y="359"/>
                    <a:pt x="187" y="343"/>
                    <a:pt x="197" y="342"/>
                  </a:cubicBezTo>
                  <a:cubicBezTo>
                    <a:pt x="207" y="341"/>
                    <a:pt x="209" y="352"/>
                    <a:pt x="217" y="350"/>
                  </a:cubicBezTo>
                  <a:cubicBezTo>
                    <a:pt x="225" y="348"/>
                    <a:pt x="221" y="341"/>
                    <a:pt x="221" y="341"/>
                  </a:cubicBezTo>
                  <a:cubicBezTo>
                    <a:pt x="221" y="341"/>
                    <a:pt x="205" y="310"/>
                    <a:pt x="196" y="302"/>
                  </a:cubicBezTo>
                  <a:cubicBezTo>
                    <a:pt x="187" y="294"/>
                    <a:pt x="197" y="273"/>
                    <a:pt x="196" y="266"/>
                  </a:cubicBezTo>
                  <a:cubicBezTo>
                    <a:pt x="195" y="259"/>
                    <a:pt x="186" y="274"/>
                    <a:pt x="182" y="273"/>
                  </a:cubicBezTo>
                  <a:cubicBezTo>
                    <a:pt x="178" y="272"/>
                    <a:pt x="168" y="258"/>
                    <a:pt x="168" y="251"/>
                  </a:cubicBezTo>
                  <a:cubicBezTo>
                    <a:pt x="168" y="244"/>
                    <a:pt x="158" y="246"/>
                    <a:pt x="157" y="236"/>
                  </a:cubicBezTo>
                  <a:cubicBezTo>
                    <a:pt x="156" y="225"/>
                    <a:pt x="167" y="218"/>
                    <a:pt x="167" y="218"/>
                  </a:cubicBezTo>
                  <a:cubicBezTo>
                    <a:pt x="167" y="218"/>
                    <a:pt x="163" y="199"/>
                    <a:pt x="166" y="190"/>
                  </a:cubicBezTo>
                  <a:cubicBezTo>
                    <a:pt x="169" y="181"/>
                    <a:pt x="187" y="184"/>
                    <a:pt x="199" y="181"/>
                  </a:cubicBezTo>
                  <a:cubicBezTo>
                    <a:pt x="211" y="178"/>
                    <a:pt x="195" y="166"/>
                    <a:pt x="195" y="158"/>
                  </a:cubicBezTo>
                  <a:cubicBezTo>
                    <a:pt x="195" y="150"/>
                    <a:pt x="206" y="136"/>
                    <a:pt x="206" y="136"/>
                  </a:cubicBezTo>
                  <a:cubicBezTo>
                    <a:pt x="206" y="136"/>
                    <a:pt x="206" y="125"/>
                    <a:pt x="203" y="117"/>
                  </a:cubicBezTo>
                  <a:cubicBezTo>
                    <a:pt x="200" y="109"/>
                    <a:pt x="185" y="117"/>
                    <a:pt x="185" y="117"/>
                  </a:cubicBezTo>
                  <a:cubicBezTo>
                    <a:pt x="183" y="102"/>
                    <a:pt x="183" y="102"/>
                    <a:pt x="183" y="102"/>
                  </a:cubicBezTo>
                  <a:cubicBezTo>
                    <a:pt x="183" y="102"/>
                    <a:pt x="166" y="87"/>
                    <a:pt x="153" y="85"/>
                  </a:cubicBezTo>
                  <a:cubicBezTo>
                    <a:pt x="140" y="83"/>
                    <a:pt x="133" y="109"/>
                    <a:pt x="133" y="109"/>
                  </a:cubicBezTo>
                  <a:cubicBezTo>
                    <a:pt x="133" y="109"/>
                    <a:pt x="142" y="69"/>
                    <a:pt x="144" y="61"/>
                  </a:cubicBezTo>
                  <a:cubicBezTo>
                    <a:pt x="146" y="53"/>
                    <a:pt x="132" y="30"/>
                    <a:pt x="126" y="22"/>
                  </a:cubicBezTo>
                  <a:cubicBezTo>
                    <a:pt x="120" y="14"/>
                    <a:pt x="83" y="0"/>
                    <a:pt x="83" y="0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69" y="26"/>
                    <a:pt x="62" y="28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200">
              <a:extLst>
                <a:ext uri="{FF2B5EF4-FFF2-40B4-BE49-F238E27FC236}">
                  <a16:creationId xmlns:a16="http://schemas.microsoft.com/office/drawing/2014/main" id="{2CAF7047-3C27-4491-A2EA-8F66B8ABB8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4663" y="-11536"/>
              <a:ext cx="1517" cy="1476"/>
            </a:xfrm>
            <a:custGeom>
              <a:avLst/>
              <a:gdLst>
                <a:gd name="T0" fmla="*/ 175 w 642"/>
                <a:gd name="T1" fmla="*/ 3 h 625"/>
                <a:gd name="T2" fmla="*/ 165 w 642"/>
                <a:gd name="T3" fmla="*/ 34 h 625"/>
                <a:gd name="T4" fmla="*/ 630 w 642"/>
                <a:gd name="T5" fmla="*/ 190 h 625"/>
                <a:gd name="T6" fmla="*/ 595 w 642"/>
                <a:gd name="T7" fmla="*/ 194 h 625"/>
                <a:gd name="T8" fmla="*/ 553 w 642"/>
                <a:gd name="T9" fmla="*/ 194 h 625"/>
                <a:gd name="T10" fmla="*/ 586 w 642"/>
                <a:gd name="T11" fmla="*/ 167 h 625"/>
                <a:gd name="T12" fmla="*/ 572 w 642"/>
                <a:gd name="T13" fmla="*/ 143 h 625"/>
                <a:gd name="T14" fmla="*/ 556 w 642"/>
                <a:gd name="T15" fmla="*/ 143 h 625"/>
                <a:gd name="T16" fmla="*/ 536 w 642"/>
                <a:gd name="T17" fmla="*/ 123 h 625"/>
                <a:gd name="T18" fmla="*/ 522 w 642"/>
                <a:gd name="T19" fmla="*/ 129 h 625"/>
                <a:gd name="T20" fmla="*/ 498 w 642"/>
                <a:gd name="T21" fmla="*/ 117 h 625"/>
                <a:gd name="T22" fmla="*/ 501 w 642"/>
                <a:gd name="T23" fmla="*/ 93 h 625"/>
                <a:gd name="T24" fmla="*/ 457 w 642"/>
                <a:gd name="T25" fmla="*/ 84 h 625"/>
                <a:gd name="T26" fmla="*/ 435 w 642"/>
                <a:gd name="T27" fmla="*/ 99 h 625"/>
                <a:gd name="T28" fmla="*/ 346 w 642"/>
                <a:gd name="T29" fmla="*/ 88 h 625"/>
                <a:gd name="T30" fmla="*/ 242 w 642"/>
                <a:gd name="T31" fmla="*/ 68 h 625"/>
                <a:gd name="T32" fmla="*/ 147 w 642"/>
                <a:gd name="T33" fmla="*/ 56 h 625"/>
                <a:gd name="T34" fmla="*/ 113 w 642"/>
                <a:gd name="T35" fmla="*/ 136 h 625"/>
                <a:gd name="T36" fmla="*/ 89 w 642"/>
                <a:gd name="T37" fmla="*/ 154 h 625"/>
                <a:gd name="T38" fmla="*/ 82 w 642"/>
                <a:gd name="T39" fmla="*/ 102 h 625"/>
                <a:gd name="T40" fmla="*/ 77 w 642"/>
                <a:gd name="T41" fmla="*/ 38 h 625"/>
                <a:gd name="T42" fmla="*/ 38 w 642"/>
                <a:gd name="T43" fmla="*/ 77 h 625"/>
                <a:gd name="T44" fmla="*/ 24 w 642"/>
                <a:gd name="T45" fmla="*/ 115 h 625"/>
                <a:gd name="T46" fmla="*/ 5 w 642"/>
                <a:gd name="T47" fmla="*/ 162 h 625"/>
                <a:gd name="T48" fmla="*/ 35 w 642"/>
                <a:gd name="T49" fmla="*/ 180 h 625"/>
                <a:gd name="T50" fmla="*/ 50 w 642"/>
                <a:gd name="T51" fmla="*/ 216 h 625"/>
                <a:gd name="T52" fmla="*/ 41 w 642"/>
                <a:gd name="T53" fmla="*/ 259 h 625"/>
                <a:gd name="T54" fmla="*/ 59 w 642"/>
                <a:gd name="T55" fmla="*/ 280 h 625"/>
                <a:gd name="T56" fmla="*/ 111 w 642"/>
                <a:gd name="T57" fmla="*/ 284 h 625"/>
                <a:gd name="T58" fmla="*/ 136 w 642"/>
                <a:gd name="T59" fmla="*/ 284 h 625"/>
                <a:gd name="T60" fmla="*/ 181 w 642"/>
                <a:gd name="T61" fmla="*/ 330 h 625"/>
                <a:gd name="T62" fmla="*/ 203 w 642"/>
                <a:gd name="T63" fmla="*/ 322 h 625"/>
                <a:gd name="T64" fmla="*/ 232 w 642"/>
                <a:gd name="T65" fmla="*/ 324 h 625"/>
                <a:gd name="T66" fmla="*/ 276 w 642"/>
                <a:gd name="T67" fmla="*/ 323 h 625"/>
                <a:gd name="T68" fmla="*/ 263 w 642"/>
                <a:gd name="T69" fmla="*/ 362 h 625"/>
                <a:gd name="T70" fmla="*/ 254 w 642"/>
                <a:gd name="T71" fmla="*/ 404 h 625"/>
                <a:gd name="T72" fmla="*/ 261 w 642"/>
                <a:gd name="T73" fmla="*/ 440 h 625"/>
                <a:gd name="T74" fmla="*/ 278 w 642"/>
                <a:gd name="T75" fmla="*/ 476 h 625"/>
                <a:gd name="T76" fmla="*/ 259 w 642"/>
                <a:gd name="T77" fmla="*/ 507 h 625"/>
                <a:gd name="T78" fmla="*/ 284 w 642"/>
                <a:gd name="T79" fmla="*/ 549 h 625"/>
                <a:gd name="T80" fmla="*/ 299 w 642"/>
                <a:gd name="T81" fmla="*/ 594 h 625"/>
                <a:gd name="T82" fmla="*/ 326 w 642"/>
                <a:gd name="T83" fmla="*/ 619 h 625"/>
                <a:gd name="T84" fmla="*/ 362 w 642"/>
                <a:gd name="T85" fmla="*/ 624 h 625"/>
                <a:gd name="T86" fmla="*/ 400 w 642"/>
                <a:gd name="T87" fmla="*/ 593 h 625"/>
                <a:gd name="T88" fmla="*/ 420 w 642"/>
                <a:gd name="T89" fmla="*/ 579 h 625"/>
                <a:gd name="T90" fmla="*/ 457 w 642"/>
                <a:gd name="T91" fmla="*/ 547 h 625"/>
                <a:gd name="T92" fmla="*/ 432 w 642"/>
                <a:gd name="T93" fmla="*/ 524 h 625"/>
                <a:gd name="T94" fmla="*/ 419 w 642"/>
                <a:gd name="T95" fmla="*/ 490 h 625"/>
                <a:gd name="T96" fmla="*/ 400 w 642"/>
                <a:gd name="T97" fmla="*/ 425 h 625"/>
                <a:gd name="T98" fmla="*/ 429 w 642"/>
                <a:gd name="T99" fmla="*/ 433 h 625"/>
                <a:gd name="T100" fmla="*/ 450 w 642"/>
                <a:gd name="T101" fmla="*/ 444 h 625"/>
                <a:gd name="T102" fmla="*/ 469 w 642"/>
                <a:gd name="T103" fmla="*/ 446 h 625"/>
                <a:gd name="T104" fmla="*/ 507 w 642"/>
                <a:gd name="T105" fmla="*/ 432 h 625"/>
                <a:gd name="T106" fmla="*/ 551 w 642"/>
                <a:gd name="T107" fmla="*/ 424 h 625"/>
                <a:gd name="T108" fmla="*/ 583 w 642"/>
                <a:gd name="T109" fmla="*/ 414 h 625"/>
                <a:gd name="T110" fmla="*/ 596 w 642"/>
                <a:gd name="T111" fmla="*/ 399 h 625"/>
                <a:gd name="T112" fmla="*/ 563 w 642"/>
                <a:gd name="T113" fmla="*/ 340 h 625"/>
                <a:gd name="T114" fmla="*/ 570 w 642"/>
                <a:gd name="T115" fmla="*/ 299 h 625"/>
                <a:gd name="T116" fmla="*/ 616 w 642"/>
                <a:gd name="T117" fmla="*/ 273 h 625"/>
                <a:gd name="T118" fmla="*/ 601 w 642"/>
                <a:gd name="T119" fmla="*/ 250 h 625"/>
                <a:gd name="T120" fmla="*/ 635 w 642"/>
                <a:gd name="T121" fmla="*/ 218 h 625"/>
                <a:gd name="T122" fmla="*/ 630 w 642"/>
                <a:gd name="T123" fmla="*/ 190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42" h="625">
                  <a:moveTo>
                    <a:pt x="182" y="33"/>
                  </a:moveTo>
                  <a:cubicBezTo>
                    <a:pt x="182" y="33"/>
                    <a:pt x="187" y="6"/>
                    <a:pt x="175" y="3"/>
                  </a:cubicBezTo>
                  <a:cubicBezTo>
                    <a:pt x="164" y="0"/>
                    <a:pt x="158" y="7"/>
                    <a:pt x="158" y="13"/>
                  </a:cubicBezTo>
                  <a:cubicBezTo>
                    <a:pt x="158" y="18"/>
                    <a:pt x="165" y="34"/>
                    <a:pt x="165" y="34"/>
                  </a:cubicBezTo>
                  <a:lnTo>
                    <a:pt x="182" y="33"/>
                  </a:lnTo>
                  <a:close/>
                  <a:moveTo>
                    <a:pt x="630" y="190"/>
                  </a:moveTo>
                  <a:cubicBezTo>
                    <a:pt x="626" y="184"/>
                    <a:pt x="611" y="201"/>
                    <a:pt x="611" y="201"/>
                  </a:cubicBezTo>
                  <a:cubicBezTo>
                    <a:pt x="611" y="201"/>
                    <a:pt x="601" y="197"/>
                    <a:pt x="595" y="194"/>
                  </a:cubicBezTo>
                  <a:cubicBezTo>
                    <a:pt x="589" y="191"/>
                    <a:pt x="575" y="208"/>
                    <a:pt x="575" y="208"/>
                  </a:cubicBezTo>
                  <a:cubicBezTo>
                    <a:pt x="553" y="194"/>
                    <a:pt x="553" y="194"/>
                    <a:pt x="553" y="194"/>
                  </a:cubicBezTo>
                  <a:cubicBezTo>
                    <a:pt x="553" y="194"/>
                    <a:pt x="579" y="194"/>
                    <a:pt x="583" y="187"/>
                  </a:cubicBezTo>
                  <a:cubicBezTo>
                    <a:pt x="587" y="180"/>
                    <a:pt x="586" y="167"/>
                    <a:pt x="586" y="167"/>
                  </a:cubicBezTo>
                  <a:cubicBezTo>
                    <a:pt x="586" y="167"/>
                    <a:pt x="596" y="166"/>
                    <a:pt x="598" y="153"/>
                  </a:cubicBezTo>
                  <a:cubicBezTo>
                    <a:pt x="600" y="140"/>
                    <a:pt x="572" y="143"/>
                    <a:pt x="572" y="143"/>
                  </a:cubicBezTo>
                  <a:cubicBezTo>
                    <a:pt x="572" y="143"/>
                    <a:pt x="568" y="129"/>
                    <a:pt x="561" y="128"/>
                  </a:cubicBezTo>
                  <a:cubicBezTo>
                    <a:pt x="554" y="127"/>
                    <a:pt x="556" y="143"/>
                    <a:pt x="556" y="143"/>
                  </a:cubicBezTo>
                  <a:cubicBezTo>
                    <a:pt x="556" y="143"/>
                    <a:pt x="550" y="134"/>
                    <a:pt x="550" y="128"/>
                  </a:cubicBezTo>
                  <a:cubicBezTo>
                    <a:pt x="550" y="122"/>
                    <a:pt x="536" y="123"/>
                    <a:pt x="536" y="123"/>
                  </a:cubicBezTo>
                  <a:cubicBezTo>
                    <a:pt x="532" y="143"/>
                    <a:pt x="532" y="143"/>
                    <a:pt x="532" y="143"/>
                  </a:cubicBezTo>
                  <a:cubicBezTo>
                    <a:pt x="532" y="143"/>
                    <a:pt x="524" y="135"/>
                    <a:pt x="522" y="129"/>
                  </a:cubicBezTo>
                  <a:cubicBezTo>
                    <a:pt x="520" y="123"/>
                    <a:pt x="519" y="109"/>
                    <a:pt x="519" y="109"/>
                  </a:cubicBezTo>
                  <a:cubicBezTo>
                    <a:pt x="498" y="117"/>
                    <a:pt x="498" y="117"/>
                    <a:pt x="498" y="117"/>
                  </a:cubicBezTo>
                  <a:cubicBezTo>
                    <a:pt x="498" y="117"/>
                    <a:pt x="514" y="108"/>
                    <a:pt x="514" y="103"/>
                  </a:cubicBezTo>
                  <a:cubicBezTo>
                    <a:pt x="514" y="98"/>
                    <a:pt x="501" y="98"/>
                    <a:pt x="501" y="93"/>
                  </a:cubicBezTo>
                  <a:cubicBezTo>
                    <a:pt x="501" y="88"/>
                    <a:pt x="543" y="88"/>
                    <a:pt x="547" y="82"/>
                  </a:cubicBezTo>
                  <a:cubicBezTo>
                    <a:pt x="551" y="76"/>
                    <a:pt x="457" y="84"/>
                    <a:pt x="457" y="84"/>
                  </a:cubicBezTo>
                  <a:cubicBezTo>
                    <a:pt x="466" y="94"/>
                    <a:pt x="466" y="94"/>
                    <a:pt x="466" y="94"/>
                  </a:cubicBezTo>
                  <a:cubicBezTo>
                    <a:pt x="466" y="94"/>
                    <a:pt x="444" y="96"/>
                    <a:pt x="435" y="99"/>
                  </a:cubicBezTo>
                  <a:cubicBezTo>
                    <a:pt x="426" y="102"/>
                    <a:pt x="402" y="119"/>
                    <a:pt x="402" y="119"/>
                  </a:cubicBezTo>
                  <a:cubicBezTo>
                    <a:pt x="378" y="120"/>
                    <a:pt x="346" y="88"/>
                    <a:pt x="346" y="88"/>
                  </a:cubicBezTo>
                  <a:cubicBezTo>
                    <a:pt x="346" y="88"/>
                    <a:pt x="265" y="93"/>
                    <a:pt x="255" y="92"/>
                  </a:cubicBezTo>
                  <a:cubicBezTo>
                    <a:pt x="245" y="91"/>
                    <a:pt x="242" y="82"/>
                    <a:pt x="242" y="68"/>
                  </a:cubicBezTo>
                  <a:cubicBezTo>
                    <a:pt x="242" y="54"/>
                    <a:pt x="236" y="44"/>
                    <a:pt x="210" y="39"/>
                  </a:cubicBezTo>
                  <a:cubicBezTo>
                    <a:pt x="184" y="34"/>
                    <a:pt x="147" y="56"/>
                    <a:pt x="147" y="56"/>
                  </a:cubicBezTo>
                  <a:cubicBezTo>
                    <a:pt x="147" y="56"/>
                    <a:pt x="120" y="62"/>
                    <a:pt x="104" y="76"/>
                  </a:cubicBezTo>
                  <a:cubicBezTo>
                    <a:pt x="88" y="90"/>
                    <a:pt x="111" y="116"/>
                    <a:pt x="113" y="136"/>
                  </a:cubicBezTo>
                  <a:cubicBezTo>
                    <a:pt x="115" y="156"/>
                    <a:pt x="88" y="172"/>
                    <a:pt x="88" y="172"/>
                  </a:cubicBezTo>
                  <a:cubicBezTo>
                    <a:pt x="89" y="154"/>
                    <a:pt x="89" y="154"/>
                    <a:pt x="89" y="154"/>
                  </a:cubicBezTo>
                  <a:cubicBezTo>
                    <a:pt x="89" y="154"/>
                    <a:pt x="71" y="149"/>
                    <a:pt x="65" y="139"/>
                  </a:cubicBezTo>
                  <a:cubicBezTo>
                    <a:pt x="59" y="129"/>
                    <a:pt x="75" y="111"/>
                    <a:pt x="82" y="102"/>
                  </a:cubicBezTo>
                  <a:cubicBezTo>
                    <a:pt x="89" y="93"/>
                    <a:pt x="88" y="77"/>
                    <a:pt x="88" y="65"/>
                  </a:cubicBezTo>
                  <a:cubicBezTo>
                    <a:pt x="88" y="53"/>
                    <a:pt x="77" y="38"/>
                    <a:pt x="77" y="38"/>
                  </a:cubicBezTo>
                  <a:cubicBezTo>
                    <a:pt x="77" y="38"/>
                    <a:pt x="76" y="53"/>
                    <a:pt x="65" y="56"/>
                  </a:cubicBezTo>
                  <a:cubicBezTo>
                    <a:pt x="54" y="60"/>
                    <a:pt x="45" y="64"/>
                    <a:pt x="38" y="77"/>
                  </a:cubicBezTo>
                  <a:cubicBezTo>
                    <a:pt x="30" y="90"/>
                    <a:pt x="30" y="110"/>
                    <a:pt x="30" y="110"/>
                  </a:cubicBezTo>
                  <a:cubicBezTo>
                    <a:pt x="24" y="115"/>
                    <a:pt x="24" y="115"/>
                    <a:pt x="24" y="115"/>
                  </a:cubicBezTo>
                  <a:cubicBezTo>
                    <a:pt x="24" y="133"/>
                    <a:pt x="24" y="133"/>
                    <a:pt x="24" y="133"/>
                  </a:cubicBezTo>
                  <a:cubicBezTo>
                    <a:pt x="24" y="133"/>
                    <a:pt x="0" y="154"/>
                    <a:pt x="5" y="162"/>
                  </a:cubicBezTo>
                  <a:cubicBezTo>
                    <a:pt x="10" y="171"/>
                    <a:pt x="14" y="157"/>
                    <a:pt x="21" y="157"/>
                  </a:cubicBezTo>
                  <a:cubicBezTo>
                    <a:pt x="28" y="157"/>
                    <a:pt x="35" y="171"/>
                    <a:pt x="35" y="180"/>
                  </a:cubicBezTo>
                  <a:cubicBezTo>
                    <a:pt x="35" y="189"/>
                    <a:pt x="36" y="195"/>
                    <a:pt x="36" y="195"/>
                  </a:cubicBezTo>
                  <a:cubicBezTo>
                    <a:pt x="36" y="195"/>
                    <a:pt x="52" y="204"/>
                    <a:pt x="50" y="216"/>
                  </a:cubicBezTo>
                  <a:cubicBezTo>
                    <a:pt x="48" y="229"/>
                    <a:pt x="42" y="232"/>
                    <a:pt x="42" y="232"/>
                  </a:cubicBezTo>
                  <a:cubicBezTo>
                    <a:pt x="41" y="259"/>
                    <a:pt x="41" y="259"/>
                    <a:pt x="41" y="259"/>
                  </a:cubicBezTo>
                  <a:cubicBezTo>
                    <a:pt x="51" y="259"/>
                    <a:pt x="51" y="259"/>
                    <a:pt x="51" y="259"/>
                  </a:cubicBezTo>
                  <a:cubicBezTo>
                    <a:pt x="51" y="259"/>
                    <a:pt x="50" y="277"/>
                    <a:pt x="59" y="280"/>
                  </a:cubicBezTo>
                  <a:cubicBezTo>
                    <a:pt x="68" y="283"/>
                    <a:pt x="79" y="278"/>
                    <a:pt x="83" y="278"/>
                  </a:cubicBezTo>
                  <a:cubicBezTo>
                    <a:pt x="88" y="278"/>
                    <a:pt x="106" y="285"/>
                    <a:pt x="111" y="284"/>
                  </a:cubicBezTo>
                  <a:cubicBezTo>
                    <a:pt x="116" y="283"/>
                    <a:pt x="117" y="277"/>
                    <a:pt x="122" y="277"/>
                  </a:cubicBezTo>
                  <a:cubicBezTo>
                    <a:pt x="127" y="277"/>
                    <a:pt x="136" y="284"/>
                    <a:pt x="136" y="284"/>
                  </a:cubicBezTo>
                  <a:cubicBezTo>
                    <a:pt x="154" y="285"/>
                    <a:pt x="154" y="285"/>
                    <a:pt x="154" y="285"/>
                  </a:cubicBezTo>
                  <a:cubicBezTo>
                    <a:pt x="154" y="285"/>
                    <a:pt x="173" y="327"/>
                    <a:pt x="181" y="330"/>
                  </a:cubicBezTo>
                  <a:cubicBezTo>
                    <a:pt x="189" y="332"/>
                    <a:pt x="197" y="329"/>
                    <a:pt x="197" y="329"/>
                  </a:cubicBezTo>
                  <a:cubicBezTo>
                    <a:pt x="197" y="329"/>
                    <a:pt x="195" y="322"/>
                    <a:pt x="203" y="322"/>
                  </a:cubicBezTo>
                  <a:cubicBezTo>
                    <a:pt x="211" y="322"/>
                    <a:pt x="213" y="329"/>
                    <a:pt x="221" y="330"/>
                  </a:cubicBezTo>
                  <a:cubicBezTo>
                    <a:pt x="229" y="331"/>
                    <a:pt x="232" y="324"/>
                    <a:pt x="232" y="324"/>
                  </a:cubicBezTo>
                  <a:cubicBezTo>
                    <a:pt x="251" y="326"/>
                    <a:pt x="251" y="326"/>
                    <a:pt x="251" y="326"/>
                  </a:cubicBezTo>
                  <a:cubicBezTo>
                    <a:pt x="251" y="326"/>
                    <a:pt x="270" y="311"/>
                    <a:pt x="276" y="323"/>
                  </a:cubicBezTo>
                  <a:cubicBezTo>
                    <a:pt x="282" y="336"/>
                    <a:pt x="265" y="344"/>
                    <a:pt x="265" y="344"/>
                  </a:cubicBezTo>
                  <a:cubicBezTo>
                    <a:pt x="265" y="344"/>
                    <a:pt x="266" y="359"/>
                    <a:pt x="263" y="362"/>
                  </a:cubicBezTo>
                  <a:cubicBezTo>
                    <a:pt x="260" y="365"/>
                    <a:pt x="250" y="370"/>
                    <a:pt x="251" y="375"/>
                  </a:cubicBezTo>
                  <a:cubicBezTo>
                    <a:pt x="252" y="380"/>
                    <a:pt x="254" y="398"/>
                    <a:pt x="254" y="404"/>
                  </a:cubicBezTo>
                  <a:cubicBezTo>
                    <a:pt x="254" y="410"/>
                    <a:pt x="252" y="433"/>
                    <a:pt x="252" y="433"/>
                  </a:cubicBezTo>
                  <a:cubicBezTo>
                    <a:pt x="252" y="433"/>
                    <a:pt x="261" y="437"/>
                    <a:pt x="261" y="440"/>
                  </a:cubicBezTo>
                  <a:cubicBezTo>
                    <a:pt x="261" y="443"/>
                    <a:pt x="262" y="452"/>
                    <a:pt x="262" y="452"/>
                  </a:cubicBezTo>
                  <a:cubicBezTo>
                    <a:pt x="262" y="452"/>
                    <a:pt x="278" y="466"/>
                    <a:pt x="278" y="476"/>
                  </a:cubicBezTo>
                  <a:cubicBezTo>
                    <a:pt x="278" y="486"/>
                    <a:pt x="249" y="504"/>
                    <a:pt x="249" y="504"/>
                  </a:cubicBezTo>
                  <a:cubicBezTo>
                    <a:pt x="259" y="507"/>
                    <a:pt x="259" y="507"/>
                    <a:pt x="259" y="507"/>
                  </a:cubicBezTo>
                  <a:cubicBezTo>
                    <a:pt x="259" y="507"/>
                    <a:pt x="281" y="521"/>
                    <a:pt x="281" y="525"/>
                  </a:cubicBezTo>
                  <a:cubicBezTo>
                    <a:pt x="281" y="529"/>
                    <a:pt x="284" y="549"/>
                    <a:pt x="284" y="549"/>
                  </a:cubicBezTo>
                  <a:cubicBezTo>
                    <a:pt x="284" y="549"/>
                    <a:pt x="295" y="575"/>
                    <a:pt x="294" y="580"/>
                  </a:cubicBezTo>
                  <a:cubicBezTo>
                    <a:pt x="293" y="585"/>
                    <a:pt x="299" y="594"/>
                    <a:pt x="299" y="594"/>
                  </a:cubicBezTo>
                  <a:cubicBezTo>
                    <a:pt x="299" y="594"/>
                    <a:pt x="306" y="607"/>
                    <a:pt x="310" y="612"/>
                  </a:cubicBezTo>
                  <a:cubicBezTo>
                    <a:pt x="314" y="617"/>
                    <a:pt x="326" y="619"/>
                    <a:pt x="326" y="619"/>
                  </a:cubicBezTo>
                  <a:cubicBezTo>
                    <a:pt x="336" y="625"/>
                    <a:pt x="347" y="603"/>
                    <a:pt x="356" y="605"/>
                  </a:cubicBezTo>
                  <a:cubicBezTo>
                    <a:pt x="365" y="607"/>
                    <a:pt x="354" y="624"/>
                    <a:pt x="362" y="624"/>
                  </a:cubicBezTo>
                  <a:cubicBezTo>
                    <a:pt x="370" y="624"/>
                    <a:pt x="376" y="599"/>
                    <a:pt x="382" y="595"/>
                  </a:cubicBezTo>
                  <a:cubicBezTo>
                    <a:pt x="388" y="591"/>
                    <a:pt x="400" y="593"/>
                    <a:pt x="400" y="593"/>
                  </a:cubicBezTo>
                  <a:cubicBezTo>
                    <a:pt x="402" y="587"/>
                    <a:pt x="402" y="587"/>
                    <a:pt x="402" y="587"/>
                  </a:cubicBezTo>
                  <a:cubicBezTo>
                    <a:pt x="402" y="587"/>
                    <a:pt x="407" y="583"/>
                    <a:pt x="420" y="579"/>
                  </a:cubicBezTo>
                  <a:cubicBezTo>
                    <a:pt x="433" y="575"/>
                    <a:pt x="432" y="550"/>
                    <a:pt x="432" y="550"/>
                  </a:cubicBezTo>
                  <a:cubicBezTo>
                    <a:pt x="432" y="550"/>
                    <a:pt x="445" y="553"/>
                    <a:pt x="457" y="547"/>
                  </a:cubicBezTo>
                  <a:cubicBezTo>
                    <a:pt x="469" y="541"/>
                    <a:pt x="462" y="527"/>
                    <a:pt x="462" y="527"/>
                  </a:cubicBezTo>
                  <a:cubicBezTo>
                    <a:pt x="432" y="524"/>
                    <a:pt x="432" y="524"/>
                    <a:pt x="432" y="524"/>
                  </a:cubicBezTo>
                  <a:cubicBezTo>
                    <a:pt x="432" y="524"/>
                    <a:pt x="432" y="515"/>
                    <a:pt x="432" y="508"/>
                  </a:cubicBezTo>
                  <a:cubicBezTo>
                    <a:pt x="432" y="501"/>
                    <a:pt x="419" y="490"/>
                    <a:pt x="419" y="490"/>
                  </a:cubicBezTo>
                  <a:cubicBezTo>
                    <a:pt x="419" y="490"/>
                    <a:pt x="434" y="466"/>
                    <a:pt x="412" y="455"/>
                  </a:cubicBezTo>
                  <a:cubicBezTo>
                    <a:pt x="390" y="444"/>
                    <a:pt x="400" y="425"/>
                    <a:pt x="400" y="425"/>
                  </a:cubicBezTo>
                  <a:cubicBezTo>
                    <a:pt x="400" y="425"/>
                    <a:pt x="403" y="431"/>
                    <a:pt x="406" y="434"/>
                  </a:cubicBezTo>
                  <a:cubicBezTo>
                    <a:pt x="409" y="437"/>
                    <a:pt x="418" y="429"/>
                    <a:pt x="429" y="433"/>
                  </a:cubicBezTo>
                  <a:cubicBezTo>
                    <a:pt x="440" y="437"/>
                    <a:pt x="434" y="446"/>
                    <a:pt x="436" y="449"/>
                  </a:cubicBezTo>
                  <a:cubicBezTo>
                    <a:pt x="438" y="452"/>
                    <a:pt x="450" y="444"/>
                    <a:pt x="450" y="444"/>
                  </a:cubicBezTo>
                  <a:cubicBezTo>
                    <a:pt x="460" y="450"/>
                    <a:pt x="460" y="450"/>
                    <a:pt x="460" y="450"/>
                  </a:cubicBezTo>
                  <a:cubicBezTo>
                    <a:pt x="460" y="450"/>
                    <a:pt x="465" y="442"/>
                    <a:pt x="469" y="446"/>
                  </a:cubicBezTo>
                  <a:cubicBezTo>
                    <a:pt x="473" y="450"/>
                    <a:pt x="484" y="469"/>
                    <a:pt x="493" y="469"/>
                  </a:cubicBezTo>
                  <a:cubicBezTo>
                    <a:pt x="502" y="469"/>
                    <a:pt x="499" y="435"/>
                    <a:pt x="507" y="432"/>
                  </a:cubicBezTo>
                  <a:cubicBezTo>
                    <a:pt x="515" y="429"/>
                    <a:pt x="521" y="437"/>
                    <a:pt x="528" y="437"/>
                  </a:cubicBezTo>
                  <a:cubicBezTo>
                    <a:pt x="535" y="437"/>
                    <a:pt x="549" y="430"/>
                    <a:pt x="551" y="424"/>
                  </a:cubicBezTo>
                  <a:cubicBezTo>
                    <a:pt x="553" y="418"/>
                    <a:pt x="565" y="413"/>
                    <a:pt x="565" y="413"/>
                  </a:cubicBezTo>
                  <a:cubicBezTo>
                    <a:pt x="583" y="414"/>
                    <a:pt x="583" y="414"/>
                    <a:pt x="583" y="414"/>
                  </a:cubicBezTo>
                  <a:cubicBezTo>
                    <a:pt x="581" y="404"/>
                    <a:pt x="581" y="404"/>
                    <a:pt x="581" y="404"/>
                  </a:cubicBezTo>
                  <a:cubicBezTo>
                    <a:pt x="581" y="404"/>
                    <a:pt x="592" y="406"/>
                    <a:pt x="596" y="399"/>
                  </a:cubicBezTo>
                  <a:cubicBezTo>
                    <a:pt x="600" y="392"/>
                    <a:pt x="594" y="378"/>
                    <a:pt x="594" y="378"/>
                  </a:cubicBezTo>
                  <a:cubicBezTo>
                    <a:pt x="594" y="378"/>
                    <a:pt x="567" y="351"/>
                    <a:pt x="563" y="340"/>
                  </a:cubicBezTo>
                  <a:cubicBezTo>
                    <a:pt x="559" y="329"/>
                    <a:pt x="572" y="330"/>
                    <a:pt x="581" y="322"/>
                  </a:cubicBezTo>
                  <a:cubicBezTo>
                    <a:pt x="590" y="315"/>
                    <a:pt x="570" y="304"/>
                    <a:pt x="570" y="299"/>
                  </a:cubicBezTo>
                  <a:cubicBezTo>
                    <a:pt x="570" y="294"/>
                    <a:pt x="595" y="295"/>
                    <a:pt x="606" y="291"/>
                  </a:cubicBezTo>
                  <a:cubicBezTo>
                    <a:pt x="617" y="287"/>
                    <a:pt x="616" y="277"/>
                    <a:pt x="616" y="273"/>
                  </a:cubicBezTo>
                  <a:cubicBezTo>
                    <a:pt x="616" y="270"/>
                    <a:pt x="609" y="270"/>
                    <a:pt x="605" y="270"/>
                  </a:cubicBezTo>
                  <a:cubicBezTo>
                    <a:pt x="601" y="270"/>
                    <a:pt x="603" y="259"/>
                    <a:pt x="601" y="250"/>
                  </a:cubicBezTo>
                  <a:cubicBezTo>
                    <a:pt x="599" y="241"/>
                    <a:pt x="615" y="236"/>
                    <a:pt x="621" y="234"/>
                  </a:cubicBezTo>
                  <a:cubicBezTo>
                    <a:pt x="628" y="232"/>
                    <a:pt x="635" y="218"/>
                    <a:pt x="635" y="218"/>
                  </a:cubicBezTo>
                  <a:cubicBezTo>
                    <a:pt x="642" y="206"/>
                    <a:pt x="642" y="206"/>
                    <a:pt x="642" y="206"/>
                  </a:cubicBezTo>
                  <a:cubicBezTo>
                    <a:pt x="642" y="206"/>
                    <a:pt x="634" y="196"/>
                    <a:pt x="630" y="190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201">
              <a:extLst>
                <a:ext uri="{FF2B5EF4-FFF2-40B4-BE49-F238E27FC236}">
                  <a16:creationId xmlns:a16="http://schemas.microsoft.com/office/drawing/2014/main" id="{45303860-BB90-3E3A-546D-CDE01CA58367}"/>
                </a:ext>
              </a:extLst>
            </p:cNvPr>
            <p:cNvSpPr>
              <a:spLocks/>
            </p:cNvSpPr>
            <p:nvPr/>
          </p:nvSpPr>
          <p:spPr bwMode="gray">
            <a:xfrm>
              <a:off x="-15747" y="-11210"/>
              <a:ext cx="659" cy="333"/>
            </a:xfrm>
            <a:custGeom>
              <a:avLst/>
              <a:gdLst>
                <a:gd name="T0" fmla="*/ 209 w 279"/>
                <a:gd name="T1" fmla="*/ 47 h 141"/>
                <a:gd name="T2" fmla="*/ 224 w 279"/>
                <a:gd name="T3" fmla="*/ 66 h 141"/>
                <a:gd name="T4" fmla="*/ 232 w 279"/>
                <a:gd name="T5" fmla="*/ 63 h 141"/>
                <a:gd name="T6" fmla="*/ 254 w 279"/>
                <a:gd name="T7" fmla="*/ 81 h 141"/>
                <a:gd name="T8" fmla="*/ 232 w 279"/>
                <a:gd name="T9" fmla="*/ 71 h 141"/>
                <a:gd name="T10" fmla="*/ 229 w 279"/>
                <a:gd name="T11" fmla="*/ 106 h 141"/>
                <a:gd name="T12" fmla="*/ 243 w 279"/>
                <a:gd name="T13" fmla="*/ 128 h 141"/>
                <a:gd name="T14" fmla="*/ 243 w 279"/>
                <a:gd name="T15" fmla="*/ 128 h 141"/>
                <a:gd name="T16" fmla="*/ 253 w 279"/>
                <a:gd name="T17" fmla="*/ 107 h 141"/>
                <a:gd name="T18" fmla="*/ 269 w 279"/>
                <a:gd name="T19" fmla="*/ 109 h 141"/>
                <a:gd name="T20" fmla="*/ 279 w 279"/>
                <a:gd name="T21" fmla="*/ 84 h 141"/>
                <a:gd name="T22" fmla="*/ 266 w 279"/>
                <a:gd name="T23" fmla="*/ 70 h 141"/>
                <a:gd name="T24" fmla="*/ 270 w 279"/>
                <a:gd name="T25" fmla="*/ 58 h 141"/>
                <a:gd name="T26" fmla="*/ 255 w 279"/>
                <a:gd name="T27" fmla="*/ 46 h 141"/>
                <a:gd name="T28" fmla="*/ 236 w 279"/>
                <a:gd name="T29" fmla="*/ 18 h 141"/>
                <a:gd name="T30" fmla="*/ 196 w 279"/>
                <a:gd name="T31" fmla="*/ 13 h 141"/>
                <a:gd name="T32" fmla="*/ 195 w 279"/>
                <a:gd name="T33" fmla="*/ 4 h 141"/>
                <a:gd name="T34" fmla="*/ 163 w 279"/>
                <a:gd name="T35" fmla="*/ 7 h 141"/>
                <a:gd name="T36" fmla="*/ 144 w 279"/>
                <a:gd name="T37" fmla="*/ 27 h 141"/>
                <a:gd name="T38" fmla="*/ 126 w 279"/>
                <a:gd name="T39" fmla="*/ 25 h 141"/>
                <a:gd name="T40" fmla="*/ 94 w 279"/>
                <a:gd name="T41" fmla="*/ 50 h 141"/>
                <a:gd name="T42" fmla="*/ 75 w 279"/>
                <a:gd name="T43" fmla="*/ 43 h 141"/>
                <a:gd name="T44" fmla="*/ 65 w 279"/>
                <a:gd name="T45" fmla="*/ 32 h 141"/>
                <a:gd name="T46" fmla="*/ 59 w 279"/>
                <a:gd name="T47" fmla="*/ 39 h 141"/>
                <a:gd name="T48" fmla="*/ 40 w 279"/>
                <a:gd name="T49" fmla="*/ 35 h 141"/>
                <a:gd name="T50" fmla="*/ 35 w 279"/>
                <a:gd name="T51" fmla="*/ 10 h 141"/>
                <a:gd name="T52" fmla="*/ 27 w 279"/>
                <a:gd name="T53" fmla="*/ 5 h 141"/>
                <a:gd name="T54" fmla="*/ 10 w 279"/>
                <a:gd name="T55" fmla="*/ 11 h 141"/>
                <a:gd name="T56" fmla="*/ 10 w 279"/>
                <a:gd name="T57" fmla="*/ 33 h 141"/>
                <a:gd name="T58" fmla="*/ 24 w 279"/>
                <a:gd name="T59" fmla="*/ 40 h 141"/>
                <a:gd name="T60" fmla="*/ 11 w 279"/>
                <a:gd name="T61" fmla="*/ 51 h 141"/>
                <a:gd name="T62" fmla="*/ 10 w 279"/>
                <a:gd name="T63" fmla="*/ 65 h 141"/>
                <a:gd name="T64" fmla="*/ 6 w 279"/>
                <a:gd name="T65" fmla="*/ 70 h 141"/>
                <a:gd name="T66" fmla="*/ 11 w 279"/>
                <a:gd name="T67" fmla="*/ 75 h 141"/>
                <a:gd name="T68" fmla="*/ 39 w 279"/>
                <a:gd name="T69" fmla="*/ 69 h 141"/>
                <a:gd name="T70" fmla="*/ 44 w 279"/>
                <a:gd name="T71" fmla="*/ 81 h 141"/>
                <a:gd name="T72" fmla="*/ 64 w 279"/>
                <a:gd name="T73" fmla="*/ 80 h 141"/>
                <a:gd name="T74" fmla="*/ 67 w 279"/>
                <a:gd name="T75" fmla="*/ 107 h 141"/>
                <a:gd name="T76" fmla="*/ 86 w 279"/>
                <a:gd name="T77" fmla="*/ 102 h 141"/>
                <a:gd name="T78" fmla="*/ 86 w 279"/>
                <a:gd name="T79" fmla="*/ 89 h 141"/>
                <a:gd name="T80" fmla="*/ 97 w 279"/>
                <a:gd name="T81" fmla="*/ 88 h 141"/>
                <a:gd name="T82" fmla="*/ 115 w 279"/>
                <a:gd name="T83" fmla="*/ 134 h 141"/>
                <a:gd name="T84" fmla="*/ 143 w 279"/>
                <a:gd name="T85" fmla="*/ 118 h 141"/>
                <a:gd name="T86" fmla="*/ 116 w 279"/>
                <a:gd name="T87" fmla="*/ 81 h 141"/>
                <a:gd name="T88" fmla="*/ 147 w 279"/>
                <a:gd name="T89" fmla="*/ 62 h 141"/>
                <a:gd name="T90" fmla="*/ 177 w 279"/>
                <a:gd name="T91" fmla="*/ 36 h 141"/>
                <a:gd name="T92" fmla="*/ 209 w 279"/>
                <a:gd name="T93" fmla="*/ 47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9" h="141">
                  <a:moveTo>
                    <a:pt x="209" y="47"/>
                  </a:moveTo>
                  <a:cubicBezTo>
                    <a:pt x="215" y="51"/>
                    <a:pt x="224" y="66"/>
                    <a:pt x="224" y="66"/>
                  </a:cubicBezTo>
                  <a:cubicBezTo>
                    <a:pt x="232" y="63"/>
                    <a:pt x="232" y="63"/>
                    <a:pt x="232" y="63"/>
                  </a:cubicBezTo>
                  <a:cubicBezTo>
                    <a:pt x="254" y="81"/>
                    <a:pt x="254" y="81"/>
                    <a:pt x="254" y="81"/>
                  </a:cubicBezTo>
                  <a:cubicBezTo>
                    <a:pt x="232" y="71"/>
                    <a:pt x="232" y="71"/>
                    <a:pt x="232" y="71"/>
                  </a:cubicBezTo>
                  <a:cubicBezTo>
                    <a:pt x="232" y="71"/>
                    <a:pt x="229" y="100"/>
                    <a:pt x="229" y="106"/>
                  </a:cubicBezTo>
                  <a:cubicBezTo>
                    <a:pt x="229" y="111"/>
                    <a:pt x="240" y="124"/>
                    <a:pt x="243" y="128"/>
                  </a:cubicBezTo>
                  <a:cubicBezTo>
                    <a:pt x="243" y="128"/>
                    <a:pt x="243" y="128"/>
                    <a:pt x="243" y="128"/>
                  </a:cubicBezTo>
                  <a:cubicBezTo>
                    <a:pt x="253" y="107"/>
                    <a:pt x="253" y="107"/>
                    <a:pt x="253" y="107"/>
                  </a:cubicBezTo>
                  <a:cubicBezTo>
                    <a:pt x="253" y="107"/>
                    <a:pt x="260" y="117"/>
                    <a:pt x="269" y="109"/>
                  </a:cubicBezTo>
                  <a:cubicBezTo>
                    <a:pt x="279" y="101"/>
                    <a:pt x="279" y="84"/>
                    <a:pt x="279" y="84"/>
                  </a:cubicBezTo>
                  <a:cubicBezTo>
                    <a:pt x="279" y="84"/>
                    <a:pt x="266" y="77"/>
                    <a:pt x="266" y="70"/>
                  </a:cubicBezTo>
                  <a:cubicBezTo>
                    <a:pt x="266" y="64"/>
                    <a:pt x="269" y="59"/>
                    <a:pt x="270" y="58"/>
                  </a:cubicBezTo>
                  <a:cubicBezTo>
                    <a:pt x="255" y="46"/>
                    <a:pt x="255" y="46"/>
                    <a:pt x="255" y="46"/>
                  </a:cubicBezTo>
                  <a:cubicBezTo>
                    <a:pt x="255" y="46"/>
                    <a:pt x="251" y="24"/>
                    <a:pt x="236" y="18"/>
                  </a:cubicBezTo>
                  <a:cubicBezTo>
                    <a:pt x="221" y="12"/>
                    <a:pt x="196" y="13"/>
                    <a:pt x="196" y="13"/>
                  </a:cubicBezTo>
                  <a:cubicBezTo>
                    <a:pt x="195" y="4"/>
                    <a:pt x="195" y="4"/>
                    <a:pt x="195" y="4"/>
                  </a:cubicBezTo>
                  <a:cubicBezTo>
                    <a:pt x="195" y="4"/>
                    <a:pt x="169" y="0"/>
                    <a:pt x="163" y="7"/>
                  </a:cubicBezTo>
                  <a:cubicBezTo>
                    <a:pt x="157" y="14"/>
                    <a:pt x="144" y="27"/>
                    <a:pt x="144" y="27"/>
                  </a:cubicBezTo>
                  <a:cubicBezTo>
                    <a:pt x="144" y="27"/>
                    <a:pt x="134" y="18"/>
                    <a:pt x="126" y="25"/>
                  </a:cubicBezTo>
                  <a:cubicBezTo>
                    <a:pt x="118" y="32"/>
                    <a:pt x="104" y="50"/>
                    <a:pt x="94" y="50"/>
                  </a:cubicBezTo>
                  <a:cubicBezTo>
                    <a:pt x="84" y="50"/>
                    <a:pt x="75" y="43"/>
                    <a:pt x="75" y="43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45" y="44"/>
                    <a:pt x="40" y="35"/>
                  </a:cubicBezTo>
                  <a:cubicBezTo>
                    <a:pt x="35" y="26"/>
                    <a:pt x="42" y="16"/>
                    <a:pt x="35" y="10"/>
                  </a:cubicBezTo>
                  <a:cubicBezTo>
                    <a:pt x="33" y="8"/>
                    <a:pt x="30" y="7"/>
                    <a:pt x="27" y="5"/>
                  </a:cubicBezTo>
                  <a:cubicBezTo>
                    <a:pt x="23" y="6"/>
                    <a:pt x="16" y="9"/>
                    <a:pt x="10" y="11"/>
                  </a:cubicBezTo>
                  <a:cubicBezTo>
                    <a:pt x="0" y="14"/>
                    <a:pt x="10" y="33"/>
                    <a:pt x="10" y="33"/>
                  </a:cubicBezTo>
                  <a:cubicBezTo>
                    <a:pt x="10" y="33"/>
                    <a:pt x="24" y="35"/>
                    <a:pt x="24" y="40"/>
                  </a:cubicBezTo>
                  <a:cubicBezTo>
                    <a:pt x="24" y="45"/>
                    <a:pt x="11" y="51"/>
                    <a:pt x="11" y="51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4" y="80"/>
                    <a:pt x="59" y="102"/>
                    <a:pt x="67" y="107"/>
                  </a:cubicBezTo>
                  <a:cubicBezTo>
                    <a:pt x="75" y="112"/>
                    <a:pt x="86" y="102"/>
                    <a:pt x="86" y="102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101" y="141"/>
                    <a:pt x="115" y="134"/>
                  </a:cubicBezTo>
                  <a:cubicBezTo>
                    <a:pt x="129" y="127"/>
                    <a:pt x="143" y="118"/>
                    <a:pt x="143" y="118"/>
                  </a:cubicBezTo>
                  <a:cubicBezTo>
                    <a:pt x="143" y="118"/>
                    <a:pt x="105" y="91"/>
                    <a:pt x="116" y="81"/>
                  </a:cubicBezTo>
                  <a:cubicBezTo>
                    <a:pt x="127" y="71"/>
                    <a:pt x="138" y="70"/>
                    <a:pt x="147" y="62"/>
                  </a:cubicBezTo>
                  <a:cubicBezTo>
                    <a:pt x="156" y="54"/>
                    <a:pt x="167" y="34"/>
                    <a:pt x="177" y="36"/>
                  </a:cubicBezTo>
                  <a:cubicBezTo>
                    <a:pt x="187" y="38"/>
                    <a:pt x="203" y="43"/>
                    <a:pt x="209" y="47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202">
              <a:extLst>
                <a:ext uri="{FF2B5EF4-FFF2-40B4-BE49-F238E27FC236}">
                  <a16:creationId xmlns:a16="http://schemas.microsoft.com/office/drawing/2014/main" id="{EDECD023-14D3-0C3E-06B3-6028CB195B80}"/>
                </a:ext>
              </a:extLst>
            </p:cNvPr>
            <p:cNvSpPr>
              <a:spLocks/>
            </p:cNvSpPr>
            <p:nvPr/>
          </p:nvSpPr>
          <p:spPr bwMode="gray">
            <a:xfrm>
              <a:off x="-15329" y="-11584"/>
              <a:ext cx="1373" cy="2131"/>
            </a:xfrm>
            <a:custGeom>
              <a:avLst/>
              <a:gdLst>
                <a:gd name="T0" fmla="*/ 65 w 581"/>
                <a:gd name="T1" fmla="*/ 635 h 902"/>
                <a:gd name="T2" fmla="*/ 120 w 581"/>
                <a:gd name="T3" fmla="*/ 665 h 902"/>
                <a:gd name="T4" fmla="*/ 185 w 581"/>
                <a:gd name="T5" fmla="*/ 680 h 902"/>
                <a:gd name="T6" fmla="*/ 238 w 581"/>
                <a:gd name="T7" fmla="*/ 732 h 902"/>
                <a:gd name="T8" fmla="*/ 264 w 581"/>
                <a:gd name="T9" fmla="*/ 772 h 902"/>
                <a:gd name="T10" fmla="*/ 329 w 581"/>
                <a:gd name="T11" fmla="*/ 813 h 902"/>
                <a:gd name="T12" fmla="*/ 388 w 581"/>
                <a:gd name="T13" fmla="*/ 797 h 902"/>
                <a:gd name="T14" fmla="*/ 415 w 581"/>
                <a:gd name="T15" fmla="*/ 846 h 902"/>
                <a:gd name="T16" fmla="*/ 427 w 581"/>
                <a:gd name="T17" fmla="*/ 898 h 902"/>
                <a:gd name="T18" fmla="*/ 444 w 581"/>
                <a:gd name="T19" fmla="*/ 831 h 902"/>
                <a:gd name="T20" fmla="*/ 464 w 581"/>
                <a:gd name="T21" fmla="*/ 749 h 902"/>
                <a:gd name="T22" fmla="*/ 425 w 581"/>
                <a:gd name="T23" fmla="*/ 688 h 902"/>
                <a:gd name="T24" fmla="*/ 471 w 581"/>
                <a:gd name="T25" fmla="*/ 643 h 902"/>
                <a:gd name="T26" fmla="*/ 442 w 581"/>
                <a:gd name="T27" fmla="*/ 616 h 902"/>
                <a:gd name="T28" fmla="*/ 510 w 581"/>
                <a:gd name="T29" fmla="*/ 586 h 902"/>
                <a:gd name="T30" fmla="*/ 555 w 581"/>
                <a:gd name="T31" fmla="*/ 563 h 902"/>
                <a:gd name="T32" fmla="*/ 564 w 581"/>
                <a:gd name="T33" fmla="*/ 614 h 902"/>
                <a:gd name="T34" fmla="*/ 566 w 581"/>
                <a:gd name="T35" fmla="*/ 569 h 902"/>
                <a:gd name="T36" fmla="*/ 531 w 581"/>
                <a:gd name="T37" fmla="*/ 524 h 902"/>
                <a:gd name="T38" fmla="*/ 543 w 581"/>
                <a:gd name="T39" fmla="*/ 460 h 902"/>
                <a:gd name="T40" fmla="*/ 533 w 581"/>
                <a:gd name="T41" fmla="*/ 395 h 902"/>
                <a:gd name="T42" fmla="*/ 558 w 581"/>
                <a:gd name="T43" fmla="*/ 343 h 902"/>
                <a:gd name="T44" fmla="*/ 503 w 581"/>
                <a:gd name="T45" fmla="*/ 350 h 902"/>
                <a:gd name="T46" fmla="*/ 463 w 581"/>
                <a:gd name="T47" fmla="*/ 350 h 902"/>
                <a:gd name="T48" fmla="*/ 404 w 581"/>
                <a:gd name="T49" fmla="*/ 297 h 902"/>
                <a:gd name="T50" fmla="*/ 341 w 581"/>
                <a:gd name="T51" fmla="*/ 300 h 902"/>
                <a:gd name="T52" fmla="*/ 324 w 581"/>
                <a:gd name="T53" fmla="*/ 252 h 902"/>
                <a:gd name="T54" fmla="*/ 317 w 581"/>
                <a:gd name="T55" fmla="*/ 200 h 902"/>
                <a:gd name="T56" fmla="*/ 306 w 581"/>
                <a:gd name="T57" fmla="*/ 153 h 902"/>
                <a:gd name="T58" fmla="*/ 320 w 581"/>
                <a:gd name="T59" fmla="*/ 97 h 902"/>
                <a:gd name="T60" fmla="*/ 381 w 581"/>
                <a:gd name="T61" fmla="*/ 47 h 902"/>
                <a:gd name="T62" fmla="*/ 342 w 581"/>
                <a:gd name="T63" fmla="*/ 45 h 902"/>
                <a:gd name="T64" fmla="*/ 271 w 581"/>
                <a:gd name="T65" fmla="*/ 74 h 902"/>
                <a:gd name="T66" fmla="*/ 239 w 581"/>
                <a:gd name="T67" fmla="*/ 101 h 902"/>
                <a:gd name="T68" fmla="*/ 207 w 581"/>
                <a:gd name="T69" fmla="*/ 94 h 902"/>
                <a:gd name="T70" fmla="*/ 177 w 581"/>
                <a:gd name="T71" fmla="*/ 155 h 902"/>
                <a:gd name="T72" fmla="*/ 147 w 581"/>
                <a:gd name="T73" fmla="*/ 198 h 902"/>
                <a:gd name="T74" fmla="*/ 123 w 581"/>
                <a:gd name="T75" fmla="*/ 229 h 902"/>
                <a:gd name="T76" fmla="*/ 93 w 581"/>
                <a:gd name="T77" fmla="*/ 215 h 902"/>
                <a:gd name="T78" fmla="*/ 92 w 581"/>
                <a:gd name="T79" fmla="*/ 267 h 902"/>
                <a:gd name="T80" fmla="*/ 74 w 581"/>
                <a:gd name="T81" fmla="*/ 301 h 902"/>
                <a:gd name="T82" fmla="*/ 77 w 581"/>
                <a:gd name="T83" fmla="*/ 338 h 902"/>
                <a:gd name="T84" fmla="*/ 77 w 581"/>
                <a:gd name="T85" fmla="*/ 378 h 902"/>
                <a:gd name="T86" fmla="*/ 74 w 581"/>
                <a:gd name="T87" fmla="*/ 454 h 902"/>
                <a:gd name="T88" fmla="*/ 74 w 581"/>
                <a:gd name="T89" fmla="*/ 522 h 902"/>
                <a:gd name="T90" fmla="*/ 26 w 581"/>
                <a:gd name="T91" fmla="*/ 580 h 902"/>
                <a:gd name="T92" fmla="*/ 23 w 581"/>
                <a:gd name="T93" fmla="*/ 614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81" h="902">
                  <a:moveTo>
                    <a:pt x="23" y="614"/>
                  </a:moveTo>
                  <a:cubicBezTo>
                    <a:pt x="34" y="620"/>
                    <a:pt x="42" y="632"/>
                    <a:pt x="42" y="632"/>
                  </a:cubicBezTo>
                  <a:cubicBezTo>
                    <a:pt x="42" y="632"/>
                    <a:pt x="55" y="627"/>
                    <a:pt x="65" y="635"/>
                  </a:cubicBezTo>
                  <a:cubicBezTo>
                    <a:pt x="75" y="643"/>
                    <a:pt x="68" y="650"/>
                    <a:pt x="77" y="656"/>
                  </a:cubicBezTo>
                  <a:cubicBezTo>
                    <a:pt x="86" y="662"/>
                    <a:pt x="97" y="657"/>
                    <a:pt x="97" y="657"/>
                  </a:cubicBezTo>
                  <a:cubicBezTo>
                    <a:pt x="97" y="657"/>
                    <a:pt x="113" y="667"/>
                    <a:pt x="120" y="665"/>
                  </a:cubicBezTo>
                  <a:cubicBezTo>
                    <a:pt x="127" y="663"/>
                    <a:pt x="115" y="650"/>
                    <a:pt x="132" y="653"/>
                  </a:cubicBezTo>
                  <a:cubicBezTo>
                    <a:pt x="149" y="656"/>
                    <a:pt x="141" y="674"/>
                    <a:pt x="154" y="675"/>
                  </a:cubicBezTo>
                  <a:cubicBezTo>
                    <a:pt x="166" y="676"/>
                    <a:pt x="178" y="676"/>
                    <a:pt x="185" y="680"/>
                  </a:cubicBezTo>
                  <a:cubicBezTo>
                    <a:pt x="192" y="684"/>
                    <a:pt x="222" y="708"/>
                    <a:pt x="222" y="708"/>
                  </a:cubicBezTo>
                  <a:cubicBezTo>
                    <a:pt x="230" y="732"/>
                    <a:pt x="230" y="732"/>
                    <a:pt x="230" y="732"/>
                  </a:cubicBezTo>
                  <a:cubicBezTo>
                    <a:pt x="238" y="732"/>
                    <a:pt x="238" y="732"/>
                    <a:pt x="238" y="732"/>
                  </a:cubicBezTo>
                  <a:cubicBezTo>
                    <a:pt x="249" y="745"/>
                    <a:pt x="249" y="745"/>
                    <a:pt x="249" y="745"/>
                  </a:cubicBezTo>
                  <a:cubicBezTo>
                    <a:pt x="249" y="745"/>
                    <a:pt x="257" y="742"/>
                    <a:pt x="259" y="748"/>
                  </a:cubicBezTo>
                  <a:cubicBezTo>
                    <a:pt x="262" y="754"/>
                    <a:pt x="264" y="772"/>
                    <a:pt x="264" y="772"/>
                  </a:cubicBezTo>
                  <a:cubicBezTo>
                    <a:pt x="264" y="772"/>
                    <a:pt x="282" y="773"/>
                    <a:pt x="283" y="781"/>
                  </a:cubicBezTo>
                  <a:cubicBezTo>
                    <a:pt x="284" y="788"/>
                    <a:pt x="269" y="803"/>
                    <a:pt x="288" y="808"/>
                  </a:cubicBezTo>
                  <a:cubicBezTo>
                    <a:pt x="307" y="813"/>
                    <a:pt x="329" y="813"/>
                    <a:pt x="329" y="813"/>
                  </a:cubicBezTo>
                  <a:cubicBezTo>
                    <a:pt x="329" y="813"/>
                    <a:pt x="330" y="792"/>
                    <a:pt x="344" y="795"/>
                  </a:cubicBezTo>
                  <a:cubicBezTo>
                    <a:pt x="358" y="798"/>
                    <a:pt x="359" y="805"/>
                    <a:pt x="367" y="805"/>
                  </a:cubicBezTo>
                  <a:cubicBezTo>
                    <a:pt x="376" y="805"/>
                    <a:pt x="384" y="796"/>
                    <a:pt x="388" y="797"/>
                  </a:cubicBezTo>
                  <a:cubicBezTo>
                    <a:pt x="392" y="798"/>
                    <a:pt x="400" y="810"/>
                    <a:pt x="400" y="810"/>
                  </a:cubicBezTo>
                  <a:cubicBezTo>
                    <a:pt x="400" y="810"/>
                    <a:pt x="428" y="809"/>
                    <a:pt x="428" y="823"/>
                  </a:cubicBezTo>
                  <a:cubicBezTo>
                    <a:pt x="428" y="838"/>
                    <a:pt x="420" y="846"/>
                    <a:pt x="415" y="846"/>
                  </a:cubicBezTo>
                  <a:cubicBezTo>
                    <a:pt x="410" y="846"/>
                    <a:pt x="401" y="876"/>
                    <a:pt x="404" y="881"/>
                  </a:cubicBezTo>
                  <a:cubicBezTo>
                    <a:pt x="407" y="887"/>
                    <a:pt x="421" y="882"/>
                    <a:pt x="421" y="882"/>
                  </a:cubicBezTo>
                  <a:cubicBezTo>
                    <a:pt x="427" y="898"/>
                    <a:pt x="427" y="898"/>
                    <a:pt x="427" y="898"/>
                  </a:cubicBezTo>
                  <a:cubicBezTo>
                    <a:pt x="438" y="902"/>
                    <a:pt x="438" y="902"/>
                    <a:pt x="438" y="902"/>
                  </a:cubicBezTo>
                  <a:cubicBezTo>
                    <a:pt x="441" y="893"/>
                    <a:pt x="442" y="881"/>
                    <a:pt x="442" y="881"/>
                  </a:cubicBezTo>
                  <a:cubicBezTo>
                    <a:pt x="444" y="831"/>
                    <a:pt x="444" y="831"/>
                    <a:pt x="444" y="831"/>
                  </a:cubicBezTo>
                  <a:cubicBezTo>
                    <a:pt x="455" y="801"/>
                    <a:pt x="455" y="801"/>
                    <a:pt x="455" y="801"/>
                  </a:cubicBezTo>
                  <a:cubicBezTo>
                    <a:pt x="453" y="767"/>
                    <a:pt x="453" y="767"/>
                    <a:pt x="453" y="767"/>
                  </a:cubicBezTo>
                  <a:cubicBezTo>
                    <a:pt x="453" y="767"/>
                    <a:pt x="463" y="756"/>
                    <a:pt x="464" y="749"/>
                  </a:cubicBezTo>
                  <a:cubicBezTo>
                    <a:pt x="465" y="742"/>
                    <a:pt x="451" y="727"/>
                    <a:pt x="451" y="727"/>
                  </a:cubicBezTo>
                  <a:cubicBezTo>
                    <a:pt x="451" y="727"/>
                    <a:pt x="450" y="715"/>
                    <a:pt x="448" y="706"/>
                  </a:cubicBezTo>
                  <a:cubicBezTo>
                    <a:pt x="446" y="697"/>
                    <a:pt x="425" y="688"/>
                    <a:pt x="425" y="688"/>
                  </a:cubicBezTo>
                  <a:cubicBezTo>
                    <a:pt x="427" y="646"/>
                    <a:pt x="427" y="646"/>
                    <a:pt x="427" y="646"/>
                  </a:cubicBezTo>
                  <a:cubicBezTo>
                    <a:pt x="449" y="641"/>
                    <a:pt x="449" y="641"/>
                    <a:pt x="449" y="641"/>
                  </a:cubicBezTo>
                  <a:cubicBezTo>
                    <a:pt x="449" y="641"/>
                    <a:pt x="458" y="645"/>
                    <a:pt x="471" y="643"/>
                  </a:cubicBezTo>
                  <a:cubicBezTo>
                    <a:pt x="484" y="641"/>
                    <a:pt x="465" y="621"/>
                    <a:pt x="465" y="621"/>
                  </a:cubicBezTo>
                  <a:cubicBezTo>
                    <a:pt x="458" y="623"/>
                    <a:pt x="458" y="623"/>
                    <a:pt x="458" y="623"/>
                  </a:cubicBezTo>
                  <a:cubicBezTo>
                    <a:pt x="442" y="616"/>
                    <a:pt x="442" y="616"/>
                    <a:pt x="442" y="616"/>
                  </a:cubicBezTo>
                  <a:cubicBezTo>
                    <a:pt x="442" y="616"/>
                    <a:pt x="434" y="587"/>
                    <a:pt x="443" y="582"/>
                  </a:cubicBezTo>
                  <a:cubicBezTo>
                    <a:pt x="452" y="577"/>
                    <a:pt x="466" y="590"/>
                    <a:pt x="466" y="590"/>
                  </a:cubicBezTo>
                  <a:cubicBezTo>
                    <a:pt x="510" y="586"/>
                    <a:pt x="510" y="586"/>
                    <a:pt x="510" y="586"/>
                  </a:cubicBezTo>
                  <a:cubicBezTo>
                    <a:pt x="510" y="586"/>
                    <a:pt x="510" y="569"/>
                    <a:pt x="516" y="569"/>
                  </a:cubicBezTo>
                  <a:cubicBezTo>
                    <a:pt x="522" y="569"/>
                    <a:pt x="527" y="585"/>
                    <a:pt x="533" y="584"/>
                  </a:cubicBezTo>
                  <a:cubicBezTo>
                    <a:pt x="539" y="583"/>
                    <a:pt x="548" y="560"/>
                    <a:pt x="555" y="563"/>
                  </a:cubicBezTo>
                  <a:cubicBezTo>
                    <a:pt x="562" y="566"/>
                    <a:pt x="557" y="573"/>
                    <a:pt x="557" y="573"/>
                  </a:cubicBezTo>
                  <a:cubicBezTo>
                    <a:pt x="557" y="573"/>
                    <a:pt x="560" y="574"/>
                    <a:pt x="562" y="580"/>
                  </a:cubicBezTo>
                  <a:cubicBezTo>
                    <a:pt x="564" y="586"/>
                    <a:pt x="564" y="614"/>
                    <a:pt x="564" y="614"/>
                  </a:cubicBezTo>
                  <a:cubicBezTo>
                    <a:pt x="581" y="614"/>
                    <a:pt x="581" y="614"/>
                    <a:pt x="581" y="614"/>
                  </a:cubicBezTo>
                  <a:cubicBezTo>
                    <a:pt x="581" y="614"/>
                    <a:pt x="575" y="605"/>
                    <a:pt x="576" y="600"/>
                  </a:cubicBezTo>
                  <a:cubicBezTo>
                    <a:pt x="577" y="595"/>
                    <a:pt x="566" y="569"/>
                    <a:pt x="566" y="569"/>
                  </a:cubicBezTo>
                  <a:cubicBezTo>
                    <a:pt x="566" y="569"/>
                    <a:pt x="563" y="549"/>
                    <a:pt x="563" y="545"/>
                  </a:cubicBezTo>
                  <a:cubicBezTo>
                    <a:pt x="563" y="541"/>
                    <a:pt x="541" y="527"/>
                    <a:pt x="541" y="527"/>
                  </a:cubicBezTo>
                  <a:cubicBezTo>
                    <a:pt x="531" y="524"/>
                    <a:pt x="531" y="524"/>
                    <a:pt x="531" y="524"/>
                  </a:cubicBezTo>
                  <a:cubicBezTo>
                    <a:pt x="531" y="524"/>
                    <a:pt x="560" y="506"/>
                    <a:pt x="560" y="496"/>
                  </a:cubicBezTo>
                  <a:cubicBezTo>
                    <a:pt x="560" y="486"/>
                    <a:pt x="544" y="472"/>
                    <a:pt x="544" y="472"/>
                  </a:cubicBezTo>
                  <a:cubicBezTo>
                    <a:pt x="544" y="472"/>
                    <a:pt x="543" y="463"/>
                    <a:pt x="543" y="460"/>
                  </a:cubicBezTo>
                  <a:cubicBezTo>
                    <a:pt x="543" y="457"/>
                    <a:pt x="534" y="453"/>
                    <a:pt x="534" y="453"/>
                  </a:cubicBezTo>
                  <a:cubicBezTo>
                    <a:pt x="534" y="453"/>
                    <a:pt x="536" y="430"/>
                    <a:pt x="536" y="424"/>
                  </a:cubicBezTo>
                  <a:cubicBezTo>
                    <a:pt x="536" y="418"/>
                    <a:pt x="534" y="400"/>
                    <a:pt x="533" y="395"/>
                  </a:cubicBezTo>
                  <a:cubicBezTo>
                    <a:pt x="532" y="390"/>
                    <a:pt x="542" y="385"/>
                    <a:pt x="545" y="382"/>
                  </a:cubicBezTo>
                  <a:cubicBezTo>
                    <a:pt x="548" y="379"/>
                    <a:pt x="547" y="364"/>
                    <a:pt x="547" y="364"/>
                  </a:cubicBezTo>
                  <a:cubicBezTo>
                    <a:pt x="547" y="364"/>
                    <a:pt x="564" y="356"/>
                    <a:pt x="558" y="343"/>
                  </a:cubicBezTo>
                  <a:cubicBezTo>
                    <a:pt x="552" y="331"/>
                    <a:pt x="533" y="346"/>
                    <a:pt x="533" y="346"/>
                  </a:cubicBezTo>
                  <a:cubicBezTo>
                    <a:pt x="514" y="344"/>
                    <a:pt x="514" y="344"/>
                    <a:pt x="514" y="344"/>
                  </a:cubicBezTo>
                  <a:cubicBezTo>
                    <a:pt x="514" y="344"/>
                    <a:pt x="511" y="351"/>
                    <a:pt x="503" y="350"/>
                  </a:cubicBezTo>
                  <a:cubicBezTo>
                    <a:pt x="495" y="349"/>
                    <a:pt x="493" y="342"/>
                    <a:pt x="485" y="342"/>
                  </a:cubicBezTo>
                  <a:cubicBezTo>
                    <a:pt x="477" y="342"/>
                    <a:pt x="479" y="349"/>
                    <a:pt x="479" y="349"/>
                  </a:cubicBezTo>
                  <a:cubicBezTo>
                    <a:pt x="479" y="349"/>
                    <a:pt x="471" y="352"/>
                    <a:pt x="463" y="350"/>
                  </a:cubicBezTo>
                  <a:cubicBezTo>
                    <a:pt x="455" y="347"/>
                    <a:pt x="436" y="305"/>
                    <a:pt x="436" y="305"/>
                  </a:cubicBezTo>
                  <a:cubicBezTo>
                    <a:pt x="418" y="304"/>
                    <a:pt x="418" y="304"/>
                    <a:pt x="418" y="304"/>
                  </a:cubicBezTo>
                  <a:cubicBezTo>
                    <a:pt x="418" y="304"/>
                    <a:pt x="409" y="297"/>
                    <a:pt x="404" y="297"/>
                  </a:cubicBezTo>
                  <a:cubicBezTo>
                    <a:pt x="399" y="297"/>
                    <a:pt x="398" y="303"/>
                    <a:pt x="393" y="304"/>
                  </a:cubicBezTo>
                  <a:cubicBezTo>
                    <a:pt x="388" y="305"/>
                    <a:pt x="370" y="298"/>
                    <a:pt x="365" y="298"/>
                  </a:cubicBezTo>
                  <a:cubicBezTo>
                    <a:pt x="361" y="298"/>
                    <a:pt x="350" y="303"/>
                    <a:pt x="341" y="300"/>
                  </a:cubicBezTo>
                  <a:cubicBezTo>
                    <a:pt x="332" y="297"/>
                    <a:pt x="333" y="279"/>
                    <a:pt x="333" y="279"/>
                  </a:cubicBezTo>
                  <a:cubicBezTo>
                    <a:pt x="323" y="279"/>
                    <a:pt x="323" y="279"/>
                    <a:pt x="323" y="279"/>
                  </a:cubicBezTo>
                  <a:cubicBezTo>
                    <a:pt x="324" y="252"/>
                    <a:pt x="324" y="252"/>
                    <a:pt x="324" y="252"/>
                  </a:cubicBezTo>
                  <a:cubicBezTo>
                    <a:pt x="324" y="252"/>
                    <a:pt x="330" y="249"/>
                    <a:pt x="332" y="236"/>
                  </a:cubicBezTo>
                  <a:cubicBezTo>
                    <a:pt x="334" y="224"/>
                    <a:pt x="318" y="215"/>
                    <a:pt x="318" y="215"/>
                  </a:cubicBezTo>
                  <a:cubicBezTo>
                    <a:pt x="318" y="215"/>
                    <a:pt x="317" y="209"/>
                    <a:pt x="317" y="200"/>
                  </a:cubicBezTo>
                  <a:cubicBezTo>
                    <a:pt x="317" y="191"/>
                    <a:pt x="310" y="177"/>
                    <a:pt x="303" y="177"/>
                  </a:cubicBezTo>
                  <a:cubicBezTo>
                    <a:pt x="296" y="177"/>
                    <a:pt x="292" y="191"/>
                    <a:pt x="287" y="182"/>
                  </a:cubicBezTo>
                  <a:cubicBezTo>
                    <a:pt x="282" y="174"/>
                    <a:pt x="306" y="153"/>
                    <a:pt x="306" y="153"/>
                  </a:cubicBezTo>
                  <a:cubicBezTo>
                    <a:pt x="306" y="135"/>
                    <a:pt x="306" y="135"/>
                    <a:pt x="306" y="135"/>
                  </a:cubicBezTo>
                  <a:cubicBezTo>
                    <a:pt x="312" y="130"/>
                    <a:pt x="312" y="130"/>
                    <a:pt x="312" y="130"/>
                  </a:cubicBezTo>
                  <a:cubicBezTo>
                    <a:pt x="312" y="130"/>
                    <a:pt x="312" y="110"/>
                    <a:pt x="320" y="97"/>
                  </a:cubicBezTo>
                  <a:cubicBezTo>
                    <a:pt x="327" y="84"/>
                    <a:pt x="336" y="80"/>
                    <a:pt x="347" y="76"/>
                  </a:cubicBezTo>
                  <a:cubicBezTo>
                    <a:pt x="358" y="73"/>
                    <a:pt x="359" y="58"/>
                    <a:pt x="359" y="58"/>
                  </a:cubicBezTo>
                  <a:cubicBezTo>
                    <a:pt x="359" y="58"/>
                    <a:pt x="376" y="48"/>
                    <a:pt x="381" y="47"/>
                  </a:cubicBezTo>
                  <a:cubicBezTo>
                    <a:pt x="386" y="46"/>
                    <a:pt x="401" y="42"/>
                    <a:pt x="402" y="21"/>
                  </a:cubicBezTo>
                  <a:cubicBezTo>
                    <a:pt x="403" y="0"/>
                    <a:pt x="361" y="16"/>
                    <a:pt x="355" y="17"/>
                  </a:cubicBezTo>
                  <a:cubicBezTo>
                    <a:pt x="349" y="18"/>
                    <a:pt x="349" y="38"/>
                    <a:pt x="342" y="45"/>
                  </a:cubicBezTo>
                  <a:cubicBezTo>
                    <a:pt x="335" y="52"/>
                    <a:pt x="324" y="45"/>
                    <a:pt x="317" y="46"/>
                  </a:cubicBezTo>
                  <a:cubicBezTo>
                    <a:pt x="310" y="47"/>
                    <a:pt x="296" y="70"/>
                    <a:pt x="296" y="70"/>
                  </a:cubicBezTo>
                  <a:cubicBezTo>
                    <a:pt x="271" y="74"/>
                    <a:pt x="271" y="74"/>
                    <a:pt x="271" y="74"/>
                  </a:cubicBezTo>
                  <a:cubicBezTo>
                    <a:pt x="271" y="74"/>
                    <a:pt x="265" y="65"/>
                    <a:pt x="258" y="69"/>
                  </a:cubicBezTo>
                  <a:cubicBezTo>
                    <a:pt x="251" y="74"/>
                    <a:pt x="251" y="86"/>
                    <a:pt x="251" y="86"/>
                  </a:cubicBezTo>
                  <a:cubicBezTo>
                    <a:pt x="251" y="86"/>
                    <a:pt x="246" y="100"/>
                    <a:pt x="239" y="101"/>
                  </a:cubicBezTo>
                  <a:cubicBezTo>
                    <a:pt x="232" y="103"/>
                    <a:pt x="240" y="92"/>
                    <a:pt x="240" y="92"/>
                  </a:cubicBezTo>
                  <a:cubicBezTo>
                    <a:pt x="240" y="92"/>
                    <a:pt x="234" y="87"/>
                    <a:pt x="230" y="87"/>
                  </a:cubicBezTo>
                  <a:cubicBezTo>
                    <a:pt x="227" y="87"/>
                    <a:pt x="212" y="91"/>
                    <a:pt x="207" y="94"/>
                  </a:cubicBezTo>
                  <a:cubicBezTo>
                    <a:pt x="202" y="98"/>
                    <a:pt x="187" y="112"/>
                    <a:pt x="183" y="119"/>
                  </a:cubicBezTo>
                  <a:cubicBezTo>
                    <a:pt x="180" y="126"/>
                    <a:pt x="188" y="135"/>
                    <a:pt x="188" y="135"/>
                  </a:cubicBezTo>
                  <a:cubicBezTo>
                    <a:pt x="177" y="155"/>
                    <a:pt x="177" y="155"/>
                    <a:pt x="177" y="155"/>
                  </a:cubicBezTo>
                  <a:cubicBezTo>
                    <a:pt x="184" y="171"/>
                    <a:pt x="184" y="171"/>
                    <a:pt x="184" y="171"/>
                  </a:cubicBezTo>
                  <a:cubicBezTo>
                    <a:pt x="184" y="171"/>
                    <a:pt x="168" y="172"/>
                    <a:pt x="162" y="175"/>
                  </a:cubicBezTo>
                  <a:cubicBezTo>
                    <a:pt x="156" y="177"/>
                    <a:pt x="150" y="191"/>
                    <a:pt x="147" y="198"/>
                  </a:cubicBezTo>
                  <a:cubicBezTo>
                    <a:pt x="143" y="205"/>
                    <a:pt x="129" y="207"/>
                    <a:pt x="129" y="207"/>
                  </a:cubicBezTo>
                  <a:cubicBezTo>
                    <a:pt x="115" y="213"/>
                    <a:pt x="115" y="213"/>
                    <a:pt x="115" y="213"/>
                  </a:cubicBezTo>
                  <a:cubicBezTo>
                    <a:pt x="123" y="229"/>
                    <a:pt x="123" y="229"/>
                    <a:pt x="123" y="229"/>
                  </a:cubicBezTo>
                  <a:cubicBezTo>
                    <a:pt x="123" y="229"/>
                    <a:pt x="126" y="252"/>
                    <a:pt x="118" y="254"/>
                  </a:cubicBezTo>
                  <a:cubicBezTo>
                    <a:pt x="110" y="256"/>
                    <a:pt x="116" y="246"/>
                    <a:pt x="115" y="236"/>
                  </a:cubicBezTo>
                  <a:cubicBezTo>
                    <a:pt x="113" y="227"/>
                    <a:pt x="93" y="215"/>
                    <a:pt x="93" y="215"/>
                  </a:cubicBezTo>
                  <a:cubicBezTo>
                    <a:pt x="93" y="215"/>
                    <a:pt x="89" y="221"/>
                    <a:pt x="89" y="228"/>
                  </a:cubicBezTo>
                  <a:cubicBezTo>
                    <a:pt x="89" y="235"/>
                    <a:pt x="102" y="242"/>
                    <a:pt x="102" y="242"/>
                  </a:cubicBezTo>
                  <a:cubicBezTo>
                    <a:pt x="102" y="242"/>
                    <a:pt x="102" y="259"/>
                    <a:pt x="92" y="267"/>
                  </a:cubicBezTo>
                  <a:cubicBezTo>
                    <a:pt x="83" y="275"/>
                    <a:pt x="76" y="265"/>
                    <a:pt x="76" y="265"/>
                  </a:cubicBezTo>
                  <a:cubicBezTo>
                    <a:pt x="66" y="286"/>
                    <a:pt x="66" y="286"/>
                    <a:pt x="66" y="286"/>
                  </a:cubicBezTo>
                  <a:cubicBezTo>
                    <a:pt x="74" y="301"/>
                    <a:pt x="74" y="301"/>
                    <a:pt x="74" y="301"/>
                  </a:cubicBezTo>
                  <a:cubicBezTo>
                    <a:pt x="74" y="308"/>
                    <a:pt x="74" y="308"/>
                    <a:pt x="74" y="308"/>
                  </a:cubicBezTo>
                  <a:cubicBezTo>
                    <a:pt x="74" y="308"/>
                    <a:pt x="81" y="313"/>
                    <a:pt x="87" y="325"/>
                  </a:cubicBezTo>
                  <a:cubicBezTo>
                    <a:pt x="93" y="337"/>
                    <a:pt x="77" y="338"/>
                    <a:pt x="77" y="338"/>
                  </a:cubicBezTo>
                  <a:cubicBezTo>
                    <a:pt x="87" y="353"/>
                    <a:pt x="87" y="353"/>
                    <a:pt x="87" y="353"/>
                  </a:cubicBezTo>
                  <a:cubicBezTo>
                    <a:pt x="92" y="375"/>
                    <a:pt x="92" y="375"/>
                    <a:pt x="92" y="375"/>
                  </a:cubicBezTo>
                  <a:cubicBezTo>
                    <a:pt x="77" y="378"/>
                    <a:pt x="77" y="378"/>
                    <a:pt x="77" y="378"/>
                  </a:cubicBezTo>
                  <a:cubicBezTo>
                    <a:pt x="87" y="391"/>
                    <a:pt x="87" y="391"/>
                    <a:pt x="87" y="391"/>
                  </a:cubicBezTo>
                  <a:cubicBezTo>
                    <a:pt x="87" y="431"/>
                    <a:pt x="87" y="431"/>
                    <a:pt x="87" y="431"/>
                  </a:cubicBezTo>
                  <a:cubicBezTo>
                    <a:pt x="87" y="431"/>
                    <a:pt x="74" y="441"/>
                    <a:pt x="74" y="454"/>
                  </a:cubicBezTo>
                  <a:cubicBezTo>
                    <a:pt x="74" y="467"/>
                    <a:pt x="91" y="467"/>
                    <a:pt x="92" y="482"/>
                  </a:cubicBezTo>
                  <a:cubicBezTo>
                    <a:pt x="93" y="497"/>
                    <a:pt x="65" y="514"/>
                    <a:pt x="65" y="514"/>
                  </a:cubicBezTo>
                  <a:cubicBezTo>
                    <a:pt x="74" y="522"/>
                    <a:pt x="74" y="522"/>
                    <a:pt x="74" y="522"/>
                  </a:cubicBezTo>
                  <a:cubicBezTo>
                    <a:pt x="55" y="539"/>
                    <a:pt x="55" y="539"/>
                    <a:pt x="55" y="539"/>
                  </a:cubicBezTo>
                  <a:cubicBezTo>
                    <a:pt x="55" y="539"/>
                    <a:pt x="34" y="539"/>
                    <a:pt x="26" y="548"/>
                  </a:cubicBezTo>
                  <a:cubicBezTo>
                    <a:pt x="18" y="558"/>
                    <a:pt x="26" y="580"/>
                    <a:pt x="26" y="580"/>
                  </a:cubicBezTo>
                  <a:cubicBezTo>
                    <a:pt x="26" y="580"/>
                    <a:pt x="1" y="572"/>
                    <a:pt x="0" y="586"/>
                  </a:cubicBezTo>
                  <a:cubicBezTo>
                    <a:pt x="0" y="588"/>
                    <a:pt x="0" y="590"/>
                    <a:pt x="0" y="592"/>
                  </a:cubicBezTo>
                  <a:cubicBezTo>
                    <a:pt x="5" y="598"/>
                    <a:pt x="15" y="611"/>
                    <a:pt x="23" y="614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203">
              <a:extLst>
                <a:ext uri="{FF2B5EF4-FFF2-40B4-BE49-F238E27FC236}">
                  <a16:creationId xmlns:a16="http://schemas.microsoft.com/office/drawing/2014/main" id="{F38F2F2B-D803-0B01-546F-20B60D0BE190}"/>
                </a:ext>
              </a:extLst>
            </p:cNvPr>
            <p:cNvSpPr>
              <a:spLocks/>
            </p:cNvSpPr>
            <p:nvPr/>
          </p:nvSpPr>
          <p:spPr bwMode="gray">
            <a:xfrm>
              <a:off x="-13321" y="-7537"/>
              <a:ext cx="961" cy="1068"/>
            </a:xfrm>
            <a:custGeom>
              <a:avLst/>
              <a:gdLst>
                <a:gd name="T0" fmla="*/ 326 w 407"/>
                <a:gd name="T1" fmla="*/ 441 h 452"/>
                <a:gd name="T2" fmla="*/ 333 w 407"/>
                <a:gd name="T3" fmla="*/ 452 h 452"/>
                <a:gd name="T4" fmla="*/ 342 w 407"/>
                <a:gd name="T5" fmla="*/ 435 h 452"/>
                <a:gd name="T6" fmla="*/ 356 w 407"/>
                <a:gd name="T7" fmla="*/ 439 h 452"/>
                <a:gd name="T8" fmla="*/ 369 w 407"/>
                <a:gd name="T9" fmla="*/ 415 h 452"/>
                <a:gd name="T10" fmla="*/ 399 w 407"/>
                <a:gd name="T11" fmla="*/ 390 h 452"/>
                <a:gd name="T12" fmla="*/ 399 w 407"/>
                <a:gd name="T13" fmla="*/ 344 h 452"/>
                <a:gd name="T14" fmla="*/ 396 w 407"/>
                <a:gd name="T15" fmla="*/ 331 h 452"/>
                <a:gd name="T16" fmla="*/ 399 w 407"/>
                <a:gd name="T17" fmla="*/ 311 h 452"/>
                <a:gd name="T18" fmla="*/ 405 w 407"/>
                <a:gd name="T19" fmla="*/ 276 h 452"/>
                <a:gd name="T20" fmla="*/ 388 w 407"/>
                <a:gd name="T21" fmla="*/ 244 h 452"/>
                <a:gd name="T22" fmla="*/ 358 w 407"/>
                <a:gd name="T23" fmla="*/ 254 h 452"/>
                <a:gd name="T24" fmla="*/ 338 w 407"/>
                <a:gd name="T25" fmla="*/ 211 h 452"/>
                <a:gd name="T26" fmla="*/ 333 w 407"/>
                <a:gd name="T27" fmla="*/ 166 h 452"/>
                <a:gd name="T28" fmla="*/ 296 w 407"/>
                <a:gd name="T29" fmla="*/ 161 h 452"/>
                <a:gd name="T30" fmla="*/ 221 w 407"/>
                <a:gd name="T31" fmla="*/ 148 h 452"/>
                <a:gd name="T32" fmla="*/ 220 w 407"/>
                <a:gd name="T33" fmla="*/ 94 h 452"/>
                <a:gd name="T34" fmla="*/ 211 w 407"/>
                <a:gd name="T35" fmla="*/ 86 h 452"/>
                <a:gd name="T36" fmla="*/ 211 w 407"/>
                <a:gd name="T37" fmla="*/ 66 h 452"/>
                <a:gd name="T38" fmla="*/ 200 w 407"/>
                <a:gd name="T39" fmla="*/ 51 h 452"/>
                <a:gd name="T40" fmla="*/ 187 w 407"/>
                <a:gd name="T41" fmla="*/ 28 h 452"/>
                <a:gd name="T42" fmla="*/ 152 w 407"/>
                <a:gd name="T43" fmla="*/ 0 h 452"/>
                <a:gd name="T44" fmla="*/ 99 w 407"/>
                <a:gd name="T45" fmla="*/ 9 h 452"/>
                <a:gd name="T46" fmla="*/ 30 w 407"/>
                <a:gd name="T47" fmla="*/ 21 h 452"/>
                <a:gd name="T48" fmla="*/ 26 w 407"/>
                <a:gd name="T49" fmla="*/ 40 h 452"/>
                <a:gd name="T50" fmla="*/ 7 w 407"/>
                <a:gd name="T51" fmla="*/ 56 h 452"/>
                <a:gd name="T52" fmla="*/ 16 w 407"/>
                <a:gd name="T53" fmla="*/ 89 h 452"/>
                <a:gd name="T54" fmla="*/ 10 w 407"/>
                <a:gd name="T55" fmla="*/ 163 h 452"/>
                <a:gd name="T56" fmla="*/ 23 w 407"/>
                <a:gd name="T57" fmla="*/ 175 h 452"/>
                <a:gd name="T58" fmla="*/ 48 w 407"/>
                <a:gd name="T59" fmla="*/ 209 h 452"/>
                <a:gd name="T60" fmla="*/ 84 w 407"/>
                <a:gd name="T61" fmla="*/ 231 h 452"/>
                <a:gd name="T62" fmla="*/ 88 w 407"/>
                <a:gd name="T63" fmla="*/ 245 h 452"/>
                <a:gd name="T64" fmla="*/ 133 w 407"/>
                <a:gd name="T65" fmla="*/ 261 h 452"/>
                <a:gd name="T66" fmla="*/ 164 w 407"/>
                <a:gd name="T67" fmla="*/ 277 h 452"/>
                <a:gd name="T68" fmla="*/ 220 w 407"/>
                <a:gd name="T69" fmla="*/ 306 h 452"/>
                <a:gd name="T70" fmla="*/ 258 w 407"/>
                <a:gd name="T71" fmla="*/ 322 h 452"/>
                <a:gd name="T72" fmla="*/ 246 w 407"/>
                <a:gd name="T73" fmla="*/ 347 h 452"/>
                <a:gd name="T74" fmla="*/ 255 w 407"/>
                <a:gd name="T75" fmla="*/ 362 h 452"/>
                <a:gd name="T76" fmla="*/ 239 w 407"/>
                <a:gd name="T77" fmla="*/ 369 h 452"/>
                <a:gd name="T78" fmla="*/ 239 w 407"/>
                <a:gd name="T79" fmla="*/ 391 h 452"/>
                <a:gd name="T80" fmla="*/ 224 w 407"/>
                <a:gd name="T81" fmla="*/ 425 h 452"/>
                <a:gd name="T82" fmla="*/ 254 w 407"/>
                <a:gd name="T83" fmla="*/ 425 h 452"/>
                <a:gd name="T84" fmla="*/ 287 w 407"/>
                <a:gd name="T85" fmla="*/ 439 h 452"/>
                <a:gd name="T86" fmla="*/ 326 w 407"/>
                <a:gd name="T87" fmla="*/ 441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07" h="452">
                  <a:moveTo>
                    <a:pt x="326" y="441"/>
                  </a:moveTo>
                  <a:cubicBezTo>
                    <a:pt x="333" y="452"/>
                    <a:pt x="333" y="452"/>
                    <a:pt x="333" y="452"/>
                  </a:cubicBezTo>
                  <a:cubicBezTo>
                    <a:pt x="333" y="452"/>
                    <a:pt x="333" y="433"/>
                    <a:pt x="342" y="435"/>
                  </a:cubicBezTo>
                  <a:cubicBezTo>
                    <a:pt x="351" y="437"/>
                    <a:pt x="352" y="446"/>
                    <a:pt x="356" y="439"/>
                  </a:cubicBezTo>
                  <a:cubicBezTo>
                    <a:pt x="360" y="432"/>
                    <a:pt x="362" y="415"/>
                    <a:pt x="369" y="415"/>
                  </a:cubicBezTo>
                  <a:cubicBezTo>
                    <a:pt x="376" y="415"/>
                    <a:pt x="397" y="401"/>
                    <a:pt x="399" y="390"/>
                  </a:cubicBezTo>
                  <a:cubicBezTo>
                    <a:pt x="401" y="379"/>
                    <a:pt x="399" y="344"/>
                    <a:pt x="399" y="344"/>
                  </a:cubicBezTo>
                  <a:cubicBezTo>
                    <a:pt x="396" y="331"/>
                    <a:pt x="396" y="331"/>
                    <a:pt x="396" y="331"/>
                  </a:cubicBezTo>
                  <a:cubicBezTo>
                    <a:pt x="396" y="331"/>
                    <a:pt x="397" y="316"/>
                    <a:pt x="399" y="311"/>
                  </a:cubicBezTo>
                  <a:cubicBezTo>
                    <a:pt x="401" y="306"/>
                    <a:pt x="403" y="296"/>
                    <a:pt x="405" y="276"/>
                  </a:cubicBezTo>
                  <a:cubicBezTo>
                    <a:pt x="407" y="256"/>
                    <a:pt x="403" y="248"/>
                    <a:pt x="388" y="244"/>
                  </a:cubicBezTo>
                  <a:cubicBezTo>
                    <a:pt x="373" y="240"/>
                    <a:pt x="369" y="256"/>
                    <a:pt x="358" y="254"/>
                  </a:cubicBezTo>
                  <a:cubicBezTo>
                    <a:pt x="347" y="252"/>
                    <a:pt x="343" y="231"/>
                    <a:pt x="338" y="211"/>
                  </a:cubicBezTo>
                  <a:cubicBezTo>
                    <a:pt x="333" y="191"/>
                    <a:pt x="337" y="174"/>
                    <a:pt x="333" y="166"/>
                  </a:cubicBezTo>
                  <a:cubicBezTo>
                    <a:pt x="329" y="158"/>
                    <a:pt x="311" y="158"/>
                    <a:pt x="296" y="161"/>
                  </a:cubicBezTo>
                  <a:cubicBezTo>
                    <a:pt x="281" y="164"/>
                    <a:pt x="237" y="157"/>
                    <a:pt x="221" y="148"/>
                  </a:cubicBezTo>
                  <a:cubicBezTo>
                    <a:pt x="205" y="139"/>
                    <a:pt x="220" y="103"/>
                    <a:pt x="220" y="94"/>
                  </a:cubicBezTo>
                  <a:cubicBezTo>
                    <a:pt x="220" y="85"/>
                    <a:pt x="215" y="90"/>
                    <a:pt x="211" y="86"/>
                  </a:cubicBezTo>
                  <a:cubicBezTo>
                    <a:pt x="207" y="82"/>
                    <a:pt x="213" y="73"/>
                    <a:pt x="211" y="66"/>
                  </a:cubicBezTo>
                  <a:cubicBezTo>
                    <a:pt x="209" y="59"/>
                    <a:pt x="200" y="57"/>
                    <a:pt x="200" y="51"/>
                  </a:cubicBezTo>
                  <a:cubicBezTo>
                    <a:pt x="187" y="28"/>
                    <a:pt x="187" y="28"/>
                    <a:pt x="187" y="28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14" y="52"/>
                    <a:pt x="7" y="56"/>
                  </a:cubicBezTo>
                  <a:cubicBezTo>
                    <a:pt x="0" y="60"/>
                    <a:pt x="15" y="82"/>
                    <a:pt x="16" y="89"/>
                  </a:cubicBezTo>
                  <a:cubicBezTo>
                    <a:pt x="18" y="95"/>
                    <a:pt x="10" y="163"/>
                    <a:pt x="10" y="163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23" y="175"/>
                    <a:pt x="39" y="204"/>
                    <a:pt x="48" y="209"/>
                  </a:cubicBezTo>
                  <a:cubicBezTo>
                    <a:pt x="57" y="214"/>
                    <a:pt x="84" y="231"/>
                    <a:pt x="84" y="231"/>
                  </a:cubicBezTo>
                  <a:cubicBezTo>
                    <a:pt x="88" y="245"/>
                    <a:pt x="88" y="245"/>
                    <a:pt x="88" y="245"/>
                  </a:cubicBezTo>
                  <a:cubicBezTo>
                    <a:pt x="88" y="245"/>
                    <a:pt x="123" y="265"/>
                    <a:pt x="133" y="261"/>
                  </a:cubicBezTo>
                  <a:cubicBezTo>
                    <a:pt x="143" y="257"/>
                    <a:pt x="164" y="277"/>
                    <a:pt x="164" y="277"/>
                  </a:cubicBezTo>
                  <a:cubicBezTo>
                    <a:pt x="164" y="277"/>
                    <a:pt x="214" y="305"/>
                    <a:pt x="220" y="306"/>
                  </a:cubicBezTo>
                  <a:cubicBezTo>
                    <a:pt x="226" y="307"/>
                    <a:pt x="260" y="314"/>
                    <a:pt x="258" y="322"/>
                  </a:cubicBezTo>
                  <a:cubicBezTo>
                    <a:pt x="256" y="330"/>
                    <a:pt x="246" y="347"/>
                    <a:pt x="246" y="347"/>
                  </a:cubicBezTo>
                  <a:cubicBezTo>
                    <a:pt x="246" y="347"/>
                    <a:pt x="259" y="355"/>
                    <a:pt x="255" y="362"/>
                  </a:cubicBezTo>
                  <a:cubicBezTo>
                    <a:pt x="251" y="369"/>
                    <a:pt x="239" y="369"/>
                    <a:pt x="239" y="369"/>
                  </a:cubicBezTo>
                  <a:cubicBezTo>
                    <a:pt x="239" y="391"/>
                    <a:pt x="239" y="391"/>
                    <a:pt x="239" y="391"/>
                  </a:cubicBezTo>
                  <a:cubicBezTo>
                    <a:pt x="239" y="391"/>
                    <a:pt x="219" y="418"/>
                    <a:pt x="224" y="425"/>
                  </a:cubicBezTo>
                  <a:cubicBezTo>
                    <a:pt x="229" y="432"/>
                    <a:pt x="245" y="422"/>
                    <a:pt x="254" y="425"/>
                  </a:cubicBezTo>
                  <a:cubicBezTo>
                    <a:pt x="263" y="428"/>
                    <a:pt x="270" y="435"/>
                    <a:pt x="287" y="439"/>
                  </a:cubicBezTo>
                  <a:cubicBezTo>
                    <a:pt x="304" y="443"/>
                    <a:pt x="326" y="441"/>
                    <a:pt x="326" y="441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204">
              <a:extLst>
                <a:ext uri="{FF2B5EF4-FFF2-40B4-BE49-F238E27FC236}">
                  <a16:creationId xmlns:a16="http://schemas.microsoft.com/office/drawing/2014/main" id="{7034A986-6FE1-85E5-7E30-C8F814D35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-12645" y="-6162"/>
              <a:ext cx="581" cy="609"/>
            </a:xfrm>
            <a:custGeom>
              <a:avLst/>
              <a:gdLst>
                <a:gd name="T0" fmla="*/ 92 w 246"/>
                <a:gd name="T1" fmla="*/ 249 h 258"/>
                <a:gd name="T2" fmla="*/ 152 w 246"/>
                <a:gd name="T3" fmla="*/ 253 h 258"/>
                <a:gd name="T4" fmla="*/ 220 w 246"/>
                <a:gd name="T5" fmla="*/ 244 h 258"/>
                <a:gd name="T6" fmla="*/ 243 w 246"/>
                <a:gd name="T7" fmla="*/ 196 h 258"/>
                <a:gd name="T8" fmla="*/ 233 w 246"/>
                <a:gd name="T9" fmla="*/ 197 h 258"/>
                <a:gd name="T10" fmla="*/ 234 w 246"/>
                <a:gd name="T11" fmla="*/ 176 h 258"/>
                <a:gd name="T12" fmla="*/ 227 w 246"/>
                <a:gd name="T13" fmla="*/ 169 h 258"/>
                <a:gd name="T14" fmla="*/ 241 w 246"/>
                <a:gd name="T15" fmla="*/ 140 h 258"/>
                <a:gd name="T16" fmla="*/ 219 w 246"/>
                <a:gd name="T17" fmla="*/ 127 h 258"/>
                <a:gd name="T18" fmla="*/ 201 w 246"/>
                <a:gd name="T19" fmla="*/ 98 h 258"/>
                <a:gd name="T20" fmla="*/ 182 w 246"/>
                <a:gd name="T21" fmla="*/ 95 h 258"/>
                <a:gd name="T22" fmla="*/ 164 w 246"/>
                <a:gd name="T23" fmla="*/ 76 h 258"/>
                <a:gd name="T24" fmla="*/ 152 w 246"/>
                <a:gd name="T25" fmla="*/ 67 h 258"/>
                <a:gd name="T26" fmla="*/ 140 w 246"/>
                <a:gd name="T27" fmla="*/ 65 h 258"/>
                <a:gd name="T28" fmla="*/ 116 w 246"/>
                <a:gd name="T29" fmla="*/ 43 h 258"/>
                <a:gd name="T30" fmla="*/ 101 w 246"/>
                <a:gd name="T31" fmla="*/ 54 h 258"/>
                <a:gd name="T32" fmla="*/ 85 w 246"/>
                <a:gd name="T33" fmla="*/ 31 h 258"/>
                <a:gd name="T34" fmla="*/ 48 w 246"/>
                <a:gd name="T35" fmla="*/ 2 h 258"/>
                <a:gd name="T36" fmla="*/ 30 w 246"/>
                <a:gd name="T37" fmla="*/ 10 h 258"/>
                <a:gd name="T38" fmla="*/ 14 w 246"/>
                <a:gd name="T39" fmla="*/ 9 h 258"/>
                <a:gd name="T40" fmla="*/ 0 w 246"/>
                <a:gd name="T41" fmla="*/ 24 h 258"/>
                <a:gd name="T42" fmla="*/ 21 w 246"/>
                <a:gd name="T43" fmla="*/ 41 h 258"/>
                <a:gd name="T44" fmla="*/ 3 w 246"/>
                <a:gd name="T45" fmla="*/ 48 h 258"/>
                <a:gd name="T46" fmla="*/ 3 w 246"/>
                <a:gd name="T47" fmla="*/ 75 h 258"/>
                <a:gd name="T48" fmla="*/ 20 w 246"/>
                <a:gd name="T49" fmla="*/ 85 h 258"/>
                <a:gd name="T50" fmla="*/ 2 w 246"/>
                <a:gd name="T51" fmla="*/ 93 h 258"/>
                <a:gd name="T52" fmla="*/ 16 w 246"/>
                <a:gd name="T53" fmla="*/ 114 h 258"/>
                <a:gd name="T54" fmla="*/ 9 w 246"/>
                <a:gd name="T55" fmla="*/ 124 h 258"/>
                <a:gd name="T56" fmla="*/ 28 w 246"/>
                <a:gd name="T57" fmla="*/ 152 h 258"/>
                <a:gd name="T58" fmla="*/ 4 w 246"/>
                <a:gd name="T59" fmla="*/ 158 h 258"/>
                <a:gd name="T60" fmla="*/ 4 w 246"/>
                <a:gd name="T61" fmla="*/ 190 h 258"/>
                <a:gd name="T62" fmla="*/ 24 w 246"/>
                <a:gd name="T63" fmla="*/ 215 h 258"/>
                <a:gd name="T64" fmla="*/ 51 w 246"/>
                <a:gd name="T65" fmla="*/ 234 h 258"/>
                <a:gd name="T66" fmla="*/ 58 w 246"/>
                <a:gd name="T67" fmla="*/ 238 h 258"/>
                <a:gd name="T68" fmla="*/ 85 w 246"/>
                <a:gd name="T69" fmla="*/ 238 h 258"/>
                <a:gd name="T70" fmla="*/ 92 w 246"/>
                <a:gd name="T71" fmla="*/ 249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6" h="258">
                  <a:moveTo>
                    <a:pt x="92" y="249"/>
                  </a:moveTo>
                  <a:cubicBezTo>
                    <a:pt x="92" y="249"/>
                    <a:pt x="119" y="248"/>
                    <a:pt x="152" y="253"/>
                  </a:cubicBezTo>
                  <a:cubicBezTo>
                    <a:pt x="185" y="258"/>
                    <a:pt x="204" y="257"/>
                    <a:pt x="220" y="244"/>
                  </a:cubicBezTo>
                  <a:cubicBezTo>
                    <a:pt x="234" y="233"/>
                    <a:pt x="241" y="203"/>
                    <a:pt x="243" y="196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4" y="176"/>
                    <a:pt x="234" y="176"/>
                    <a:pt x="234" y="176"/>
                  </a:cubicBezTo>
                  <a:cubicBezTo>
                    <a:pt x="234" y="176"/>
                    <a:pt x="228" y="176"/>
                    <a:pt x="227" y="169"/>
                  </a:cubicBezTo>
                  <a:cubicBezTo>
                    <a:pt x="226" y="162"/>
                    <a:pt x="236" y="149"/>
                    <a:pt x="241" y="140"/>
                  </a:cubicBezTo>
                  <a:cubicBezTo>
                    <a:pt x="246" y="131"/>
                    <a:pt x="227" y="132"/>
                    <a:pt x="219" y="127"/>
                  </a:cubicBezTo>
                  <a:cubicBezTo>
                    <a:pt x="211" y="122"/>
                    <a:pt x="201" y="98"/>
                    <a:pt x="201" y="98"/>
                  </a:cubicBezTo>
                  <a:cubicBezTo>
                    <a:pt x="201" y="98"/>
                    <a:pt x="194" y="99"/>
                    <a:pt x="182" y="95"/>
                  </a:cubicBezTo>
                  <a:cubicBezTo>
                    <a:pt x="170" y="91"/>
                    <a:pt x="168" y="78"/>
                    <a:pt x="164" y="76"/>
                  </a:cubicBezTo>
                  <a:cubicBezTo>
                    <a:pt x="160" y="74"/>
                    <a:pt x="152" y="67"/>
                    <a:pt x="152" y="67"/>
                  </a:cubicBezTo>
                  <a:cubicBezTo>
                    <a:pt x="152" y="67"/>
                    <a:pt x="145" y="68"/>
                    <a:pt x="140" y="65"/>
                  </a:cubicBezTo>
                  <a:cubicBezTo>
                    <a:pt x="135" y="62"/>
                    <a:pt x="126" y="46"/>
                    <a:pt x="116" y="43"/>
                  </a:cubicBezTo>
                  <a:cubicBezTo>
                    <a:pt x="106" y="40"/>
                    <a:pt x="107" y="54"/>
                    <a:pt x="101" y="54"/>
                  </a:cubicBezTo>
                  <a:cubicBezTo>
                    <a:pt x="95" y="54"/>
                    <a:pt x="85" y="31"/>
                    <a:pt x="85" y="31"/>
                  </a:cubicBezTo>
                  <a:cubicBezTo>
                    <a:pt x="85" y="31"/>
                    <a:pt x="60" y="4"/>
                    <a:pt x="48" y="2"/>
                  </a:cubicBezTo>
                  <a:cubicBezTo>
                    <a:pt x="36" y="0"/>
                    <a:pt x="30" y="10"/>
                    <a:pt x="30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0" y="20"/>
                    <a:pt x="0" y="24"/>
                  </a:cubicBezTo>
                  <a:cubicBezTo>
                    <a:pt x="0" y="28"/>
                    <a:pt x="21" y="41"/>
                    <a:pt x="21" y="41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20" y="85"/>
                    <a:pt x="20" y="85"/>
                    <a:pt x="20" y="85"/>
                  </a:cubicBezTo>
                  <a:cubicBezTo>
                    <a:pt x="20" y="85"/>
                    <a:pt x="1" y="84"/>
                    <a:pt x="2" y="93"/>
                  </a:cubicBezTo>
                  <a:cubicBezTo>
                    <a:pt x="3" y="102"/>
                    <a:pt x="16" y="114"/>
                    <a:pt x="16" y="114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9" y="124"/>
                    <a:pt x="29" y="147"/>
                    <a:pt x="28" y="152"/>
                  </a:cubicBezTo>
                  <a:cubicBezTo>
                    <a:pt x="27" y="157"/>
                    <a:pt x="4" y="158"/>
                    <a:pt x="4" y="158"/>
                  </a:cubicBezTo>
                  <a:cubicBezTo>
                    <a:pt x="4" y="190"/>
                    <a:pt x="4" y="190"/>
                    <a:pt x="4" y="190"/>
                  </a:cubicBezTo>
                  <a:cubicBezTo>
                    <a:pt x="24" y="215"/>
                    <a:pt x="24" y="215"/>
                    <a:pt x="24" y="215"/>
                  </a:cubicBezTo>
                  <a:cubicBezTo>
                    <a:pt x="32" y="209"/>
                    <a:pt x="46" y="227"/>
                    <a:pt x="51" y="234"/>
                  </a:cubicBezTo>
                  <a:cubicBezTo>
                    <a:pt x="58" y="238"/>
                    <a:pt x="58" y="238"/>
                    <a:pt x="58" y="238"/>
                  </a:cubicBezTo>
                  <a:cubicBezTo>
                    <a:pt x="85" y="238"/>
                    <a:pt x="85" y="238"/>
                    <a:pt x="85" y="238"/>
                  </a:cubicBezTo>
                  <a:lnTo>
                    <a:pt x="92" y="249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Freeform 205">
              <a:extLst>
                <a:ext uri="{FF2B5EF4-FFF2-40B4-BE49-F238E27FC236}">
                  <a16:creationId xmlns:a16="http://schemas.microsoft.com/office/drawing/2014/main" id="{62DEB49C-9B05-45A2-898F-6EEB2492CB2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3982" y="-7209"/>
              <a:ext cx="1729" cy="3846"/>
            </a:xfrm>
            <a:custGeom>
              <a:avLst/>
              <a:gdLst>
                <a:gd name="T0" fmla="*/ 659 w 732"/>
                <a:gd name="T1" fmla="*/ 333 h 1628"/>
                <a:gd name="T2" fmla="*/ 726 w 732"/>
                <a:gd name="T3" fmla="*/ 284 h 1628"/>
                <a:gd name="T4" fmla="*/ 679 w 732"/>
                <a:gd name="T5" fmla="*/ 205 h 1628"/>
                <a:gd name="T6" fmla="*/ 622 w 732"/>
                <a:gd name="T7" fmla="*/ 296 h 1628"/>
                <a:gd name="T8" fmla="*/ 534 w 732"/>
                <a:gd name="T9" fmla="*/ 286 h 1628"/>
                <a:gd name="T10" fmla="*/ 535 w 732"/>
                <a:gd name="T11" fmla="*/ 223 h 1628"/>
                <a:gd name="T12" fmla="*/ 444 w 732"/>
                <a:gd name="T13" fmla="*/ 138 h 1628"/>
                <a:gd name="T14" fmla="*/ 328 w 732"/>
                <a:gd name="T15" fmla="*/ 70 h 1628"/>
                <a:gd name="T16" fmla="*/ 216 w 732"/>
                <a:gd name="T17" fmla="*/ 13 h 1628"/>
                <a:gd name="T18" fmla="*/ 115 w 732"/>
                <a:gd name="T19" fmla="*/ 0 h 1628"/>
                <a:gd name="T20" fmla="*/ 81 w 732"/>
                <a:gd name="T21" fmla="*/ 32 h 1628"/>
                <a:gd name="T22" fmla="*/ 82 w 732"/>
                <a:gd name="T23" fmla="*/ 63 h 1628"/>
                <a:gd name="T24" fmla="*/ 27 w 732"/>
                <a:gd name="T25" fmla="*/ 199 h 1628"/>
                <a:gd name="T26" fmla="*/ 35 w 732"/>
                <a:gd name="T27" fmla="*/ 280 h 1628"/>
                <a:gd name="T28" fmla="*/ 2 w 732"/>
                <a:gd name="T29" fmla="*/ 401 h 1628"/>
                <a:gd name="T30" fmla="*/ 0 w 732"/>
                <a:gd name="T31" fmla="*/ 500 h 1628"/>
                <a:gd name="T32" fmla="*/ 32 w 732"/>
                <a:gd name="T33" fmla="*/ 564 h 1628"/>
                <a:gd name="T34" fmla="*/ 63 w 732"/>
                <a:gd name="T35" fmla="*/ 614 h 1628"/>
                <a:gd name="T36" fmla="*/ 64 w 732"/>
                <a:gd name="T37" fmla="*/ 724 h 1628"/>
                <a:gd name="T38" fmla="*/ 68 w 732"/>
                <a:gd name="T39" fmla="*/ 786 h 1628"/>
                <a:gd name="T40" fmla="*/ 83 w 732"/>
                <a:gd name="T41" fmla="*/ 872 h 1628"/>
                <a:gd name="T42" fmla="*/ 87 w 732"/>
                <a:gd name="T43" fmla="*/ 944 h 1628"/>
                <a:gd name="T44" fmla="*/ 95 w 732"/>
                <a:gd name="T45" fmla="*/ 990 h 1628"/>
                <a:gd name="T46" fmla="*/ 129 w 732"/>
                <a:gd name="T47" fmla="*/ 1082 h 1628"/>
                <a:gd name="T48" fmla="*/ 143 w 732"/>
                <a:gd name="T49" fmla="*/ 1145 h 1628"/>
                <a:gd name="T50" fmla="*/ 170 w 732"/>
                <a:gd name="T51" fmla="*/ 1213 h 1628"/>
                <a:gd name="T52" fmla="*/ 205 w 732"/>
                <a:gd name="T53" fmla="*/ 1257 h 1628"/>
                <a:gd name="T54" fmla="*/ 217 w 732"/>
                <a:gd name="T55" fmla="*/ 1321 h 1628"/>
                <a:gd name="T56" fmla="*/ 210 w 732"/>
                <a:gd name="T57" fmla="*/ 1394 h 1628"/>
                <a:gd name="T58" fmla="*/ 214 w 732"/>
                <a:gd name="T59" fmla="*/ 1450 h 1628"/>
                <a:gd name="T60" fmla="*/ 216 w 732"/>
                <a:gd name="T61" fmla="*/ 1513 h 1628"/>
                <a:gd name="T62" fmla="*/ 290 w 732"/>
                <a:gd name="T63" fmla="*/ 1562 h 1628"/>
                <a:gd name="T64" fmla="*/ 347 w 732"/>
                <a:gd name="T65" fmla="*/ 1612 h 1628"/>
                <a:gd name="T66" fmla="*/ 437 w 732"/>
                <a:gd name="T67" fmla="*/ 1628 h 1628"/>
                <a:gd name="T68" fmla="*/ 438 w 732"/>
                <a:gd name="T69" fmla="*/ 1589 h 1628"/>
                <a:gd name="T70" fmla="*/ 409 w 732"/>
                <a:gd name="T71" fmla="*/ 1534 h 1628"/>
                <a:gd name="T72" fmla="*/ 412 w 732"/>
                <a:gd name="T73" fmla="*/ 1501 h 1628"/>
                <a:gd name="T74" fmla="*/ 441 w 732"/>
                <a:gd name="T75" fmla="*/ 1451 h 1628"/>
                <a:gd name="T76" fmla="*/ 476 w 732"/>
                <a:gd name="T77" fmla="*/ 1359 h 1628"/>
                <a:gd name="T78" fmla="*/ 379 w 732"/>
                <a:gd name="T79" fmla="*/ 1301 h 1628"/>
                <a:gd name="T80" fmla="*/ 407 w 732"/>
                <a:gd name="T81" fmla="*/ 1240 h 1628"/>
                <a:gd name="T82" fmla="*/ 443 w 732"/>
                <a:gd name="T83" fmla="*/ 1217 h 1628"/>
                <a:gd name="T84" fmla="*/ 456 w 732"/>
                <a:gd name="T85" fmla="*/ 1130 h 1628"/>
                <a:gd name="T86" fmla="*/ 486 w 732"/>
                <a:gd name="T87" fmla="*/ 1113 h 1628"/>
                <a:gd name="T88" fmla="*/ 404 w 732"/>
                <a:gd name="T89" fmla="*/ 1089 h 1628"/>
                <a:gd name="T90" fmla="*/ 465 w 732"/>
                <a:gd name="T91" fmla="*/ 1039 h 1628"/>
                <a:gd name="T92" fmla="*/ 501 w 732"/>
                <a:gd name="T93" fmla="*/ 948 h 1628"/>
                <a:gd name="T94" fmla="*/ 494 w 732"/>
                <a:gd name="T95" fmla="*/ 934 h 1628"/>
                <a:gd name="T96" fmla="*/ 554 w 732"/>
                <a:gd name="T97" fmla="*/ 920 h 1628"/>
                <a:gd name="T98" fmla="*/ 688 w 732"/>
                <a:gd name="T99" fmla="*/ 847 h 1628"/>
                <a:gd name="T100" fmla="*/ 667 w 732"/>
                <a:gd name="T101" fmla="*/ 766 h 1628"/>
                <a:gd name="T102" fmla="*/ 601 w 732"/>
                <a:gd name="T103" fmla="*/ 696 h 1628"/>
                <a:gd name="T104" fmla="*/ 570 w 732"/>
                <a:gd name="T105" fmla="*/ 601 h 1628"/>
                <a:gd name="T106" fmla="*/ 568 w 732"/>
                <a:gd name="T107" fmla="*/ 536 h 1628"/>
                <a:gd name="T108" fmla="*/ 587 w 732"/>
                <a:gd name="T109" fmla="*/ 484 h 1628"/>
                <a:gd name="T110" fmla="*/ 604 w 732"/>
                <a:gd name="T111" fmla="*/ 419 h 1628"/>
                <a:gd name="T112" fmla="*/ 619 w 732"/>
                <a:gd name="T113" fmla="*/ 681 h 1628"/>
                <a:gd name="T114" fmla="*/ 619 w 732"/>
                <a:gd name="T115" fmla="*/ 681 h 1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32" h="1628">
                  <a:moveTo>
                    <a:pt x="634" y="355"/>
                  </a:moveTo>
                  <a:cubicBezTo>
                    <a:pt x="650" y="351"/>
                    <a:pt x="650" y="351"/>
                    <a:pt x="650" y="351"/>
                  </a:cubicBezTo>
                  <a:cubicBezTo>
                    <a:pt x="653" y="335"/>
                    <a:pt x="653" y="335"/>
                    <a:pt x="653" y="335"/>
                  </a:cubicBezTo>
                  <a:cubicBezTo>
                    <a:pt x="659" y="333"/>
                    <a:pt x="659" y="333"/>
                    <a:pt x="659" y="333"/>
                  </a:cubicBezTo>
                  <a:cubicBezTo>
                    <a:pt x="660" y="322"/>
                    <a:pt x="660" y="322"/>
                    <a:pt x="660" y="322"/>
                  </a:cubicBezTo>
                  <a:cubicBezTo>
                    <a:pt x="681" y="320"/>
                    <a:pt x="681" y="320"/>
                    <a:pt x="681" y="320"/>
                  </a:cubicBezTo>
                  <a:cubicBezTo>
                    <a:pt x="681" y="320"/>
                    <a:pt x="681" y="302"/>
                    <a:pt x="692" y="297"/>
                  </a:cubicBezTo>
                  <a:cubicBezTo>
                    <a:pt x="703" y="292"/>
                    <a:pt x="720" y="290"/>
                    <a:pt x="726" y="284"/>
                  </a:cubicBezTo>
                  <a:cubicBezTo>
                    <a:pt x="732" y="278"/>
                    <a:pt x="724" y="240"/>
                    <a:pt x="724" y="231"/>
                  </a:cubicBezTo>
                  <a:cubicBezTo>
                    <a:pt x="724" y="222"/>
                    <a:pt x="713" y="223"/>
                    <a:pt x="713" y="223"/>
                  </a:cubicBezTo>
                  <a:cubicBezTo>
                    <a:pt x="713" y="223"/>
                    <a:pt x="709" y="202"/>
                    <a:pt x="702" y="198"/>
                  </a:cubicBezTo>
                  <a:cubicBezTo>
                    <a:pt x="695" y="194"/>
                    <a:pt x="679" y="205"/>
                    <a:pt x="679" y="205"/>
                  </a:cubicBezTo>
                  <a:cubicBezTo>
                    <a:pt x="679" y="205"/>
                    <a:pt x="681" y="240"/>
                    <a:pt x="679" y="251"/>
                  </a:cubicBezTo>
                  <a:cubicBezTo>
                    <a:pt x="677" y="262"/>
                    <a:pt x="656" y="276"/>
                    <a:pt x="649" y="276"/>
                  </a:cubicBezTo>
                  <a:cubicBezTo>
                    <a:pt x="642" y="276"/>
                    <a:pt x="640" y="293"/>
                    <a:pt x="636" y="300"/>
                  </a:cubicBezTo>
                  <a:cubicBezTo>
                    <a:pt x="632" y="307"/>
                    <a:pt x="631" y="298"/>
                    <a:pt x="622" y="296"/>
                  </a:cubicBezTo>
                  <a:cubicBezTo>
                    <a:pt x="613" y="294"/>
                    <a:pt x="613" y="313"/>
                    <a:pt x="613" y="313"/>
                  </a:cubicBezTo>
                  <a:cubicBezTo>
                    <a:pt x="606" y="302"/>
                    <a:pt x="606" y="302"/>
                    <a:pt x="606" y="302"/>
                  </a:cubicBezTo>
                  <a:cubicBezTo>
                    <a:pt x="606" y="302"/>
                    <a:pt x="584" y="304"/>
                    <a:pt x="567" y="300"/>
                  </a:cubicBezTo>
                  <a:cubicBezTo>
                    <a:pt x="550" y="296"/>
                    <a:pt x="543" y="289"/>
                    <a:pt x="534" y="286"/>
                  </a:cubicBezTo>
                  <a:cubicBezTo>
                    <a:pt x="525" y="283"/>
                    <a:pt x="509" y="293"/>
                    <a:pt x="504" y="286"/>
                  </a:cubicBezTo>
                  <a:cubicBezTo>
                    <a:pt x="499" y="279"/>
                    <a:pt x="519" y="252"/>
                    <a:pt x="519" y="252"/>
                  </a:cubicBezTo>
                  <a:cubicBezTo>
                    <a:pt x="519" y="230"/>
                    <a:pt x="519" y="230"/>
                    <a:pt x="519" y="230"/>
                  </a:cubicBezTo>
                  <a:cubicBezTo>
                    <a:pt x="519" y="230"/>
                    <a:pt x="531" y="230"/>
                    <a:pt x="535" y="223"/>
                  </a:cubicBezTo>
                  <a:cubicBezTo>
                    <a:pt x="539" y="216"/>
                    <a:pt x="526" y="208"/>
                    <a:pt x="526" y="208"/>
                  </a:cubicBezTo>
                  <a:cubicBezTo>
                    <a:pt x="526" y="208"/>
                    <a:pt x="536" y="191"/>
                    <a:pt x="538" y="183"/>
                  </a:cubicBezTo>
                  <a:cubicBezTo>
                    <a:pt x="540" y="175"/>
                    <a:pt x="506" y="168"/>
                    <a:pt x="500" y="167"/>
                  </a:cubicBezTo>
                  <a:cubicBezTo>
                    <a:pt x="494" y="166"/>
                    <a:pt x="444" y="138"/>
                    <a:pt x="444" y="138"/>
                  </a:cubicBezTo>
                  <a:cubicBezTo>
                    <a:pt x="444" y="138"/>
                    <a:pt x="423" y="118"/>
                    <a:pt x="413" y="122"/>
                  </a:cubicBezTo>
                  <a:cubicBezTo>
                    <a:pt x="403" y="126"/>
                    <a:pt x="368" y="106"/>
                    <a:pt x="368" y="106"/>
                  </a:cubicBezTo>
                  <a:cubicBezTo>
                    <a:pt x="364" y="92"/>
                    <a:pt x="364" y="92"/>
                    <a:pt x="364" y="92"/>
                  </a:cubicBezTo>
                  <a:cubicBezTo>
                    <a:pt x="364" y="92"/>
                    <a:pt x="337" y="75"/>
                    <a:pt x="328" y="70"/>
                  </a:cubicBezTo>
                  <a:cubicBezTo>
                    <a:pt x="319" y="65"/>
                    <a:pt x="303" y="36"/>
                    <a:pt x="303" y="36"/>
                  </a:cubicBezTo>
                  <a:cubicBezTo>
                    <a:pt x="290" y="24"/>
                    <a:pt x="290" y="24"/>
                    <a:pt x="290" y="24"/>
                  </a:cubicBezTo>
                  <a:cubicBezTo>
                    <a:pt x="267" y="7"/>
                    <a:pt x="267" y="7"/>
                    <a:pt x="267" y="7"/>
                  </a:cubicBezTo>
                  <a:cubicBezTo>
                    <a:pt x="216" y="13"/>
                    <a:pt x="216" y="13"/>
                    <a:pt x="216" y="13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47" y="17"/>
                    <a:pt x="134" y="13"/>
                  </a:cubicBezTo>
                  <a:cubicBezTo>
                    <a:pt x="120" y="9"/>
                    <a:pt x="115" y="0"/>
                    <a:pt x="115" y="0"/>
                  </a:cubicBezTo>
                  <a:cubicBezTo>
                    <a:pt x="107" y="17"/>
                    <a:pt x="107" y="17"/>
                    <a:pt x="107" y="17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1" y="51"/>
                    <a:pt x="78" y="52"/>
                    <a:pt x="74" y="52"/>
                  </a:cubicBezTo>
                  <a:cubicBezTo>
                    <a:pt x="74" y="52"/>
                    <a:pt x="75" y="52"/>
                    <a:pt x="75" y="52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76" y="119"/>
                    <a:pt x="76" y="119"/>
                    <a:pt x="76" y="119"/>
                  </a:cubicBezTo>
                  <a:cubicBezTo>
                    <a:pt x="76" y="119"/>
                    <a:pt x="21" y="143"/>
                    <a:pt x="22" y="157"/>
                  </a:cubicBezTo>
                  <a:cubicBezTo>
                    <a:pt x="23" y="171"/>
                    <a:pt x="50" y="165"/>
                    <a:pt x="41" y="174"/>
                  </a:cubicBezTo>
                  <a:cubicBezTo>
                    <a:pt x="32" y="183"/>
                    <a:pt x="22" y="192"/>
                    <a:pt x="27" y="199"/>
                  </a:cubicBezTo>
                  <a:cubicBezTo>
                    <a:pt x="32" y="206"/>
                    <a:pt x="51" y="214"/>
                    <a:pt x="50" y="224"/>
                  </a:cubicBezTo>
                  <a:cubicBezTo>
                    <a:pt x="49" y="234"/>
                    <a:pt x="32" y="246"/>
                    <a:pt x="32" y="246"/>
                  </a:cubicBezTo>
                  <a:cubicBezTo>
                    <a:pt x="32" y="246"/>
                    <a:pt x="63" y="257"/>
                    <a:pt x="60" y="268"/>
                  </a:cubicBezTo>
                  <a:cubicBezTo>
                    <a:pt x="57" y="279"/>
                    <a:pt x="35" y="280"/>
                    <a:pt x="35" y="280"/>
                  </a:cubicBezTo>
                  <a:cubicBezTo>
                    <a:pt x="35" y="280"/>
                    <a:pt x="29" y="318"/>
                    <a:pt x="28" y="323"/>
                  </a:cubicBezTo>
                  <a:cubicBezTo>
                    <a:pt x="27" y="328"/>
                    <a:pt x="9" y="336"/>
                    <a:pt x="9" y="346"/>
                  </a:cubicBezTo>
                  <a:cubicBezTo>
                    <a:pt x="9" y="356"/>
                    <a:pt x="14" y="381"/>
                    <a:pt x="12" y="385"/>
                  </a:cubicBezTo>
                  <a:cubicBezTo>
                    <a:pt x="10" y="389"/>
                    <a:pt x="1" y="397"/>
                    <a:pt x="2" y="401"/>
                  </a:cubicBezTo>
                  <a:cubicBezTo>
                    <a:pt x="3" y="405"/>
                    <a:pt x="26" y="450"/>
                    <a:pt x="21" y="455"/>
                  </a:cubicBezTo>
                  <a:cubicBezTo>
                    <a:pt x="16" y="460"/>
                    <a:pt x="7" y="455"/>
                    <a:pt x="7" y="455"/>
                  </a:cubicBezTo>
                  <a:cubicBezTo>
                    <a:pt x="10" y="494"/>
                    <a:pt x="10" y="494"/>
                    <a:pt x="10" y="494"/>
                  </a:cubicBezTo>
                  <a:cubicBezTo>
                    <a:pt x="10" y="494"/>
                    <a:pt x="0" y="495"/>
                    <a:pt x="0" y="500"/>
                  </a:cubicBezTo>
                  <a:cubicBezTo>
                    <a:pt x="0" y="505"/>
                    <a:pt x="2" y="522"/>
                    <a:pt x="2" y="522"/>
                  </a:cubicBezTo>
                  <a:cubicBezTo>
                    <a:pt x="2" y="522"/>
                    <a:pt x="25" y="537"/>
                    <a:pt x="23" y="541"/>
                  </a:cubicBezTo>
                  <a:cubicBezTo>
                    <a:pt x="21" y="545"/>
                    <a:pt x="19" y="554"/>
                    <a:pt x="19" y="554"/>
                  </a:cubicBezTo>
                  <a:cubicBezTo>
                    <a:pt x="32" y="564"/>
                    <a:pt x="32" y="564"/>
                    <a:pt x="32" y="564"/>
                  </a:cubicBezTo>
                  <a:cubicBezTo>
                    <a:pt x="40" y="585"/>
                    <a:pt x="40" y="585"/>
                    <a:pt x="40" y="585"/>
                  </a:cubicBezTo>
                  <a:cubicBezTo>
                    <a:pt x="43" y="591"/>
                    <a:pt x="43" y="591"/>
                    <a:pt x="43" y="591"/>
                  </a:cubicBezTo>
                  <a:cubicBezTo>
                    <a:pt x="43" y="591"/>
                    <a:pt x="35" y="610"/>
                    <a:pt x="47" y="613"/>
                  </a:cubicBezTo>
                  <a:cubicBezTo>
                    <a:pt x="59" y="616"/>
                    <a:pt x="63" y="614"/>
                    <a:pt x="63" y="614"/>
                  </a:cubicBezTo>
                  <a:cubicBezTo>
                    <a:pt x="65" y="639"/>
                    <a:pt x="65" y="639"/>
                    <a:pt x="65" y="639"/>
                  </a:cubicBezTo>
                  <a:cubicBezTo>
                    <a:pt x="65" y="639"/>
                    <a:pt x="80" y="658"/>
                    <a:pt x="77" y="664"/>
                  </a:cubicBezTo>
                  <a:cubicBezTo>
                    <a:pt x="74" y="670"/>
                    <a:pt x="65" y="677"/>
                    <a:pt x="65" y="681"/>
                  </a:cubicBezTo>
                  <a:cubicBezTo>
                    <a:pt x="65" y="685"/>
                    <a:pt x="64" y="724"/>
                    <a:pt x="64" y="724"/>
                  </a:cubicBezTo>
                  <a:cubicBezTo>
                    <a:pt x="55" y="725"/>
                    <a:pt x="55" y="725"/>
                    <a:pt x="55" y="725"/>
                  </a:cubicBezTo>
                  <a:cubicBezTo>
                    <a:pt x="55" y="725"/>
                    <a:pt x="72" y="743"/>
                    <a:pt x="73" y="753"/>
                  </a:cubicBezTo>
                  <a:cubicBezTo>
                    <a:pt x="74" y="763"/>
                    <a:pt x="70" y="774"/>
                    <a:pt x="70" y="774"/>
                  </a:cubicBezTo>
                  <a:cubicBezTo>
                    <a:pt x="68" y="786"/>
                    <a:pt x="68" y="786"/>
                    <a:pt x="68" y="786"/>
                  </a:cubicBezTo>
                  <a:cubicBezTo>
                    <a:pt x="51" y="787"/>
                    <a:pt x="51" y="787"/>
                    <a:pt x="51" y="787"/>
                  </a:cubicBezTo>
                  <a:cubicBezTo>
                    <a:pt x="51" y="787"/>
                    <a:pt x="63" y="820"/>
                    <a:pt x="63" y="827"/>
                  </a:cubicBezTo>
                  <a:cubicBezTo>
                    <a:pt x="63" y="834"/>
                    <a:pt x="63" y="855"/>
                    <a:pt x="63" y="855"/>
                  </a:cubicBezTo>
                  <a:cubicBezTo>
                    <a:pt x="83" y="872"/>
                    <a:pt x="83" y="872"/>
                    <a:pt x="83" y="872"/>
                  </a:cubicBezTo>
                  <a:cubicBezTo>
                    <a:pt x="84" y="884"/>
                    <a:pt x="84" y="884"/>
                    <a:pt x="84" y="884"/>
                  </a:cubicBezTo>
                  <a:cubicBezTo>
                    <a:pt x="84" y="884"/>
                    <a:pt x="103" y="893"/>
                    <a:pt x="98" y="902"/>
                  </a:cubicBezTo>
                  <a:cubicBezTo>
                    <a:pt x="93" y="911"/>
                    <a:pt x="79" y="916"/>
                    <a:pt x="79" y="916"/>
                  </a:cubicBezTo>
                  <a:cubicBezTo>
                    <a:pt x="87" y="944"/>
                    <a:pt x="87" y="944"/>
                    <a:pt x="87" y="944"/>
                  </a:cubicBezTo>
                  <a:cubicBezTo>
                    <a:pt x="74" y="953"/>
                    <a:pt x="74" y="953"/>
                    <a:pt x="74" y="953"/>
                  </a:cubicBezTo>
                  <a:cubicBezTo>
                    <a:pt x="74" y="953"/>
                    <a:pt x="84" y="958"/>
                    <a:pt x="85" y="966"/>
                  </a:cubicBezTo>
                  <a:cubicBezTo>
                    <a:pt x="86" y="974"/>
                    <a:pt x="81" y="982"/>
                    <a:pt x="81" y="982"/>
                  </a:cubicBezTo>
                  <a:cubicBezTo>
                    <a:pt x="95" y="990"/>
                    <a:pt x="95" y="990"/>
                    <a:pt x="95" y="990"/>
                  </a:cubicBezTo>
                  <a:cubicBezTo>
                    <a:pt x="95" y="990"/>
                    <a:pt x="90" y="1008"/>
                    <a:pt x="91" y="1014"/>
                  </a:cubicBezTo>
                  <a:cubicBezTo>
                    <a:pt x="92" y="1020"/>
                    <a:pt x="99" y="1031"/>
                    <a:pt x="99" y="1031"/>
                  </a:cubicBezTo>
                  <a:cubicBezTo>
                    <a:pt x="99" y="1031"/>
                    <a:pt x="99" y="1050"/>
                    <a:pt x="102" y="1056"/>
                  </a:cubicBezTo>
                  <a:cubicBezTo>
                    <a:pt x="105" y="1062"/>
                    <a:pt x="134" y="1083"/>
                    <a:pt x="129" y="1082"/>
                  </a:cubicBezTo>
                  <a:cubicBezTo>
                    <a:pt x="124" y="1081"/>
                    <a:pt x="113" y="1090"/>
                    <a:pt x="113" y="1090"/>
                  </a:cubicBezTo>
                  <a:cubicBezTo>
                    <a:pt x="113" y="1090"/>
                    <a:pt x="118" y="1120"/>
                    <a:pt x="121" y="1128"/>
                  </a:cubicBezTo>
                  <a:cubicBezTo>
                    <a:pt x="124" y="1136"/>
                    <a:pt x="133" y="1140"/>
                    <a:pt x="133" y="1140"/>
                  </a:cubicBezTo>
                  <a:cubicBezTo>
                    <a:pt x="143" y="1145"/>
                    <a:pt x="143" y="1145"/>
                    <a:pt x="143" y="1145"/>
                  </a:cubicBezTo>
                  <a:cubicBezTo>
                    <a:pt x="139" y="1163"/>
                    <a:pt x="139" y="1163"/>
                    <a:pt x="139" y="1163"/>
                  </a:cubicBezTo>
                  <a:cubicBezTo>
                    <a:pt x="139" y="1163"/>
                    <a:pt x="155" y="1164"/>
                    <a:pt x="156" y="1175"/>
                  </a:cubicBezTo>
                  <a:cubicBezTo>
                    <a:pt x="157" y="1186"/>
                    <a:pt x="158" y="1203"/>
                    <a:pt x="158" y="1203"/>
                  </a:cubicBezTo>
                  <a:cubicBezTo>
                    <a:pt x="158" y="1203"/>
                    <a:pt x="163" y="1213"/>
                    <a:pt x="170" y="1213"/>
                  </a:cubicBezTo>
                  <a:cubicBezTo>
                    <a:pt x="177" y="1213"/>
                    <a:pt x="196" y="1208"/>
                    <a:pt x="194" y="1219"/>
                  </a:cubicBezTo>
                  <a:cubicBezTo>
                    <a:pt x="192" y="1230"/>
                    <a:pt x="160" y="1227"/>
                    <a:pt x="161" y="1230"/>
                  </a:cubicBezTo>
                  <a:cubicBezTo>
                    <a:pt x="162" y="1233"/>
                    <a:pt x="185" y="1240"/>
                    <a:pt x="185" y="1240"/>
                  </a:cubicBezTo>
                  <a:cubicBezTo>
                    <a:pt x="185" y="1240"/>
                    <a:pt x="208" y="1249"/>
                    <a:pt x="205" y="1257"/>
                  </a:cubicBezTo>
                  <a:cubicBezTo>
                    <a:pt x="202" y="1265"/>
                    <a:pt x="189" y="1276"/>
                    <a:pt x="189" y="1276"/>
                  </a:cubicBezTo>
                  <a:cubicBezTo>
                    <a:pt x="205" y="1288"/>
                    <a:pt x="205" y="1288"/>
                    <a:pt x="205" y="1288"/>
                  </a:cubicBezTo>
                  <a:cubicBezTo>
                    <a:pt x="202" y="1303"/>
                    <a:pt x="202" y="1303"/>
                    <a:pt x="202" y="1303"/>
                  </a:cubicBezTo>
                  <a:cubicBezTo>
                    <a:pt x="217" y="1321"/>
                    <a:pt x="217" y="1321"/>
                    <a:pt x="217" y="1321"/>
                  </a:cubicBezTo>
                  <a:cubicBezTo>
                    <a:pt x="214" y="1343"/>
                    <a:pt x="214" y="1343"/>
                    <a:pt x="214" y="1343"/>
                  </a:cubicBezTo>
                  <a:cubicBezTo>
                    <a:pt x="224" y="1360"/>
                    <a:pt x="224" y="1360"/>
                    <a:pt x="224" y="1360"/>
                  </a:cubicBezTo>
                  <a:cubicBezTo>
                    <a:pt x="213" y="1364"/>
                    <a:pt x="213" y="1364"/>
                    <a:pt x="213" y="1364"/>
                  </a:cubicBezTo>
                  <a:cubicBezTo>
                    <a:pt x="210" y="1394"/>
                    <a:pt x="210" y="1394"/>
                    <a:pt x="210" y="1394"/>
                  </a:cubicBezTo>
                  <a:cubicBezTo>
                    <a:pt x="210" y="1394"/>
                    <a:pt x="229" y="1405"/>
                    <a:pt x="230" y="1408"/>
                  </a:cubicBezTo>
                  <a:cubicBezTo>
                    <a:pt x="231" y="1411"/>
                    <a:pt x="215" y="1420"/>
                    <a:pt x="215" y="1420"/>
                  </a:cubicBezTo>
                  <a:cubicBezTo>
                    <a:pt x="215" y="1420"/>
                    <a:pt x="235" y="1435"/>
                    <a:pt x="232" y="1440"/>
                  </a:cubicBezTo>
                  <a:cubicBezTo>
                    <a:pt x="229" y="1445"/>
                    <a:pt x="214" y="1450"/>
                    <a:pt x="214" y="1450"/>
                  </a:cubicBezTo>
                  <a:cubicBezTo>
                    <a:pt x="213" y="1463"/>
                    <a:pt x="213" y="1463"/>
                    <a:pt x="213" y="1463"/>
                  </a:cubicBezTo>
                  <a:cubicBezTo>
                    <a:pt x="206" y="1467"/>
                    <a:pt x="206" y="1467"/>
                    <a:pt x="206" y="1467"/>
                  </a:cubicBezTo>
                  <a:cubicBezTo>
                    <a:pt x="206" y="1467"/>
                    <a:pt x="208" y="1483"/>
                    <a:pt x="213" y="1488"/>
                  </a:cubicBezTo>
                  <a:cubicBezTo>
                    <a:pt x="218" y="1493"/>
                    <a:pt x="216" y="1513"/>
                    <a:pt x="216" y="1513"/>
                  </a:cubicBezTo>
                  <a:cubicBezTo>
                    <a:pt x="236" y="1517"/>
                    <a:pt x="236" y="1517"/>
                    <a:pt x="236" y="1517"/>
                  </a:cubicBezTo>
                  <a:cubicBezTo>
                    <a:pt x="236" y="1517"/>
                    <a:pt x="240" y="1542"/>
                    <a:pt x="250" y="1542"/>
                  </a:cubicBezTo>
                  <a:cubicBezTo>
                    <a:pt x="260" y="1542"/>
                    <a:pt x="266" y="1524"/>
                    <a:pt x="281" y="1537"/>
                  </a:cubicBezTo>
                  <a:cubicBezTo>
                    <a:pt x="296" y="1550"/>
                    <a:pt x="290" y="1562"/>
                    <a:pt x="290" y="1562"/>
                  </a:cubicBezTo>
                  <a:cubicBezTo>
                    <a:pt x="304" y="1578"/>
                    <a:pt x="304" y="1578"/>
                    <a:pt x="304" y="1578"/>
                  </a:cubicBezTo>
                  <a:cubicBezTo>
                    <a:pt x="311" y="1589"/>
                    <a:pt x="311" y="1589"/>
                    <a:pt x="311" y="1589"/>
                  </a:cubicBezTo>
                  <a:cubicBezTo>
                    <a:pt x="335" y="1600"/>
                    <a:pt x="335" y="1600"/>
                    <a:pt x="335" y="1600"/>
                  </a:cubicBezTo>
                  <a:cubicBezTo>
                    <a:pt x="347" y="1612"/>
                    <a:pt x="347" y="1612"/>
                    <a:pt x="347" y="1612"/>
                  </a:cubicBezTo>
                  <a:cubicBezTo>
                    <a:pt x="347" y="1612"/>
                    <a:pt x="373" y="1605"/>
                    <a:pt x="389" y="1607"/>
                  </a:cubicBezTo>
                  <a:cubicBezTo>
                    <a:pt x="405" y="1609"/>
                    <a:pt x="425" y="1608"/>
                    <a:pt x="425" y="1608"/>
                  </a:cubicBezTo>
                  <a:cubicBezTo>
                    <a:pt x="440" y="1620"/>
                    <a:pt x="440" y="1620"/>
                    <a:pt x="440" y="1620"/>
                  </a:cubicBezTo>
                  <a:cubicBezTo>
                    <a:pt x="437" y="1628"/>
                    <a:pt x="437" y="1628"/>
                    <a:pt x="437" y="1628"/>
                  </a:cubicBezTo>
                  <a:cubicBezTo>
                    <a:pt x="442" y="1616"/>
                    <a:pt x="442" y="1616"/>
                    <a:pt x="442" y="1616"/>
                  </a:cubicBezTo>
                  <a:cubicBezTo>
                    <a:pt x="449" y="1606"/>
                    <a:pt x="478" y="1625"/>
                    <a:pt x="478" y="1625"/>
                  </a:cubicBezTo>
                  <a:cubicBezTo>
                    <a:pt x="451" y="1588"/>
                    <a:pt x="451" y="1588"/>
                    <a:pt x="451" y="1588"/>
                  </a:cubicBezTo>
                  <a:cubicBezTo>
                    <a:pt x="438" y="1589"/>
                    <a:pt x="438" y="1589"/>
                    <a:pt x="438" y="1589"/>
                  </a:cubicBezTo>
                  <a:cubicBezTo>
                    <a:pt x="441" y="1579"/>
                    <a:pt x="441" y="1579"/>
                    <a:pt x="441" y="1579"/>
                  </a:cubicBezTo>
                  <a:cubicBezTo>
                    <a:pt x="417" y="1562"/>
                    <a:pt x="417" y="1562"/>
                    <a:pt x="417" y="1562"/>
                  </a:cubicBezTo>
                  <a:cubicBezTo>
                    <a:pt x="418" y="1538"/>
                    <a:pt x="418" y="1538"/>
                    <a:pt x="418" y="1538"/>
                  </a:cubicBezTo>
                  <a:cubicBezTo>
                    <a:pt x="409" y="1534"/>
                    <a:pt x="409" y="1534"/>
                    <a:pt x="409" y="1534"/>
                  </a:cubicBezTo>
                  <a:cubicBezTo>
                    <a:pt x="414" y="1522"/>
                    <a:pt x="414" y="1522"/>
                    <a:pt x="414" y="1522"/>
                  </a:cubicBezTo>
                  <a:cubicBezTo>
                    <a:pt x="414" y="1522"/>
                    <a:pt x="423" y="1522"/>
                    <a:pt x="426" y="1514"/>
                  </a:cubicBezTo>
                  <a:cubicBezTo>
                    <a:pt x="430" y="1506"/>
                    <a:pt x="400" y="1506"/>
                    <a:pt x="400" y="1506"/>
                  </a:cubicBezTo>
                  <a:cubicBezTo>
                    <a:pt x="412" y="1501"/>
                    <a:pt x="412" y="1501"/>
                    <a:pt x="412" y="1501"/>
                  </a:cubicBezTo>
                  <a:cubicBezTo>
                    <a:pt x="408" y="1488"/>
                    <a:pt x="408" y="1488"/>
                    <a:pt x="408" y="1488"/>
                  </a:cubicBezTo>
                  <a:cubicBezTo>
                    <a:pt x="424" y="1505"/>
                    <a:pt x="424" y="1505"/>
                    <a:pt x="424" y="1505"/>
                  </a:cubicBezTo>
                  <a:cubicBezTo>
                    <a:pt x="424" y="1505"/>
                    <a:pt x="438" y="1515"/>
                    <a:pt x="448" y="1503"/>
                  </a:cubicBezTo>
                  <a:cubicBezTo>
                    <a:pt x="458" y="1491"/>
                    <a:pt x="440" y="1465"/>
                    <a:pt x="441" y="1451"/>
                  </a:cubicBezTo>
                  <a:cubicBezTo>
                    <a:pt x="442" y="1438"/>
                    <a:pt x="485" y="1409"/>
                    <a:pt x="488" y="1400"/>
                  </a:cubicBezTo>
                  <a:cubicBezTo>
                    <a:pt x="492" y="1391"/>
                    <a:pt x="467" y="1391"/>
                    <a:pt x="467" y="1391"/>
                  </a:cubicBezTo>
                  <a:cubicBezTo>
                    <a:pt x="483" y="1389"/>
                    <a:pt x="483" y="1389"/>
                    <a:pt x="483" y="1389"/>
                  </a:cubicBezTo>
                  <a:cubicBezTo>
                    <a:pt x="483" y="1389"/>
                    <a:pt x="484" y="1369"/>
                    <a:pt x="476" y="1359"/>
                  </a:cubicBezTo>
                  <a:cubicBezTo>
                    <a:pt x="468" y="1349"/>
                    <a:pt x="456" y="1354"/>
                    <a:pt x="456" y="1354"/>
                  </a:cubicBezTo>
                  <a:cubicBezTo>
                    <a:pt x="444" y="1345"/>
                    <a:pt x="444" y="1345"/>
                    <a:pt x="444" y="1345"/>
                  </a:cubicBezTo>
                  <a:cubicBezTo>
                    <a:pt x="431" y="1345"/>
                    <a:pt x="431" y="1345"/>
                    <a:pt x="431" y="1345"/>
                  </a:cubicBezTo>
                  <a:cubicBezTo>
                    <a:pt x="431" y="1345"/>
                    <a:pt x="391" y="1328"/>
                    <a:pt x="379" y="1301"/>
                  </a:cubicBezTo>
                  <a:cubicBezTo>
                    <a:pt x="366" y="1274"/>
                    <a:pt x="386" y="1269"/>
                    <a:pt x="386" y="1269"/>
                  </a:cubicBezTo>
                  <a:cubicBezTo>
                    <a:pt x="392" y="1252"/>
                    <a:pt x="392" y="1252"/>
                    <a:pt x="392" y="1252"/>
                  </a:cubicBezTo>
                  <a:cubicBezTo>
                    <a:pt x="401" y="1252"/>
                    <a:pt x="401" y="1252"/>
                    <a:pt x="401" y="1252"/>
                  </a:cubicBezTo>
                  <a:cubicBezTo>
                    <a:pt x="407" y="1240"/>
                    <a:pt x="407" y="1240"/>
                    <a:pt x="407" y="1240"/>
                  </a:cubicBezTo>
                  <a:cubicBezTo>
                    <a:pt x="443" y="1239"/>
                    <a:pt x="443" y="1239"/>
                    <a:pt x="443" y="1239"/>
                  </a:cubicBezTo>
                  <a:cubicBezTo>
                    <a:pt x="435" y="1232"/>
                    <a:pt x="435" y="1232"/>
                    <a:pt x="435" y="1232"/>
                  </a:cubicBezTo>
                  <a:cubicBezTo>
                    <a:pt x="434" y="1218"/>
                    <a:pt x="434" y="1218"/>
                    <a:pt x="434" y="1218"/>
                  </a:cubicBezTo>
                  <a:cubicBezTo>
                    <a:pt x="443" y="1217"/>
                    <a:pt x="443" y="1217"/>
                    <a:pt x="443" y="1217"/>
                  </a:cubicBezTo>
                  <a:cubicBezTo>
                    <a:pt x="443" y="1217"/>
                    <a:pt x="448" y="1198"/>
                    <a:pt x="440" y="1191"/>
                  </a:cubicBezTo>
                  <a:cubicBezTo>
                    <a:pt x="432" y="1184"/>
                    <a:pt x="423" y="1168"/>
                    <a:pt x="430" y="1152"/>
                  </a:cubicBezTo>
                  <a:cubicBezTo>
                    <a:pt x="436" y="1137"/>
                    <a:pt x="456" y="1137"/>
                    <a:pt x="456" y="1137"/>
                  </a:cubicBezTo>
                  <a:cubicBezTo>
                    <a:pt x="456" y="1130"/>
                    <a:pt x="456" y="1130"/>
                    <a:pt x="456" y="1130"/>
                  </a:cubicBezTo>
                  <a:cubicBezTo>
                    <a:pt x="456" y="1130"/>
                    <a:pt x="439" y="1130"/>
                    <a:pt x="431" y="1125"/>
                  </a:cubicBezTo>
                  <a:cubicBezTo>
                    <a:pt x="423" y="1121"/>
                    <a:pt x="432" y="1112"/>
                    <a:pt x="440" y="1111"/>
                  </a:cubicBezTo>
                  <a:cubicBezTo>
                    <a:pt x="448" y="1110"/>
                    <a:pt x="462" y="1127"/>
                    <a:pt x="469" y="1127"/>
                  </a:cubicBezTo>
                  <a:cubicBezTo>
                    <a:pt x="476" y="1127"/>
                    <a:pt x="485" y="1123"/>
                    <a:pt x="486" y="1113"/>
                  </a:cubicBezTo>
                  <a:cubicBezTo>
                    <a:pt x="487" y="1103"/>
                    <a:pt x="474" y="1080"/>
                    <a:pt x="461" y="1085"/>
                  </a:cubicBezTo>
                  <a:cubicBezTo>
                    <a:pt x="449" y="1089"/>
                    <a:pt x="468" y="1099"/>
                    <a:pt x="456" y="1105"/>
                  </a:cubicBezTo>
                  <a:cubicBezTo>
                    <a:pt x="443" y="1111"/>
                    <a:pt x="431" y="1094"/>
                    <a:pt x="431" y="1094"/>
                  </a:cubicBezTo>
                  <a:cubicBezTo>
                    <a:pt x="431" y="1094"/>
                    <a:pt x="407" y="1096"/>
                    <a:pt x="404" y="1089"/>
                  </a:cubicBezTo>
                  <a:cubicBezTo>
                    <a:pt x="400" y="1083"/>
                    <a:pt x="404" y="1055"/>
                    <a:pt x="404" y="1052"/>
                  </a:cubicBezTo>
                  <a:cubicBezTo>
                    <a:pt x="404" y="1049"/>
                    <a:pt x="387" y="1032"/>
                    <a:pt x="391" y="1017"/>
                  </a:cubicBezTo>
                  <a:cubicBezTo>
                    <a:pt x="396" y="1003"/>
                    <a:pt x="409" y="1019"/>
                    <a:pt x="424" y="1023"/>
                  </a:cubicBezTo>
                  <a:cubicBezTo>
                    <a:pt x="439" y="1026"/>
                    <a:pt x="456" y="1039"/>
                    <a:pt x="465" y="1039"/>
                  </a:cubicBezTo>
                  <a:cubicBezTo>
                    <a:pt x="474" y="1039"/>
                    <a:pt x="507" y="1021"/>
                    <a:pt x="515" y="1015"/>
                  </a:cubicBezTo>
                  <a:cubicBezTo>
                    <a:pt x="523" y="1009"/>
                    <a:pt x="490" y="991"/>
                    <a:pt x="490" y="991"/>
                  </a:cubicBezTo>
                  <a:cubicBezTo>
                    <a:pt x="489" y="975"/>
                    <a:pt x="489" y="975"/>
                    <a:pt x="489" y="975"/>
                  </a:cubicBezTo>
                  <a:cubicBezTo>
                    <a:pt x="489" y="975"/>
                    <a:pt x="498" y="959"/>
                    <a:pt x="501" y="948"/>
                  </a:cubicBezTo>
                  <a:cubicBezTo>
                    <a:pt x="503" y="938"/>
                    <a:pt x="480" y="938"/>
                    <a:pt x="480" y="938"/>
                  </a:cubicBezTo>
                  <a:cubicBezTo>
                    <a:pt x="478" y="924"/>
                    <a:pt x="478" y="924"/>
                    <a:pt x="478" y="924"/>
                  </a:cubicBezTo>
                  <a:cubicBezTo>
                    <a:pt x="478" y="924"/>
                    <a:pt x="470" y="915"/>
                    <a:pt x="477" y="907"/>
                  </a:cubicBezTo>
                  <a:cubicBezTo>
                    <a:pt x="484" y="899"/>
                    <a:pt x="494" y="934"/>
                    <a:pt x="494" y="934"/>
                  </a:cubicBezTo>
                  <a:cubicBezTo>
                    <a:pt x="502" y="933"/>
                    <a:pt x="502" y="933"/>
                    <a:pt x="502" y="933"/>
                  </a:cubicBezTo>
                  <a:cubicBezTo>
                    <a:pt x="497" y="919"/>
                    <a:pt x="497" y="919"/>
                    <a:pt x="497" y="919"/>
                  </a:cubicBezTo>
                  <a:cubicBezTo>
                    <a:pt x="551" y="926"/>
                    <a:pt x="551" y="926"/>
                    <a:pt x="551" y="926"/>
                  </a:cubicBezTo>
                  <a:cubicBezTo>
                    <a:pt x="554" y="920"/>
                    <a:pt x="554" y="920"/>
                    <a:pt x="554" y="920"/>
                  </a:cubicBezTo>
                  <a:cubicBezTo>
                    <a:pt x="554" y="920"/>
                    <a:pt x="567" y="912"/>
                    <a:pt x="595" y="909"/>
                  </a:cubicBezTo>
                  <a:cubicBezTo>
                    <a:pt x="624" y="906"/>
                    <a:pt x="676" y="881"/>
                    <a:pt x="676" y="881"/>
                  </a:cubicBezTo>
                  <a:cubicBezTo>
                    <a:pt x="673" y="855"/>
                    <a:pt x="673" y="855"/>
                    <a:pt x="673" y="855"/>
                  </a:cubicBezTo>
                  <a:cubicBezTo>
                    <a:pt x="688" y="847"/>
                    <a:pt x="688" y="847"/>
                    <a:pt x="688" y="847"/>
                  </a:cubicBezTo>
                  <a:cubicBezTo>
                    <a:pt x="696" y="814"/>
                    <a:pt x="696" y="814"/>
                    <a:pt x="696" y="814"/>
                  </a:cubicBezTo>
                  <a:cubicBezTo>
                    <a:pt x="689" y="797"/>
                    <a:pt x="689" y="797"/>
                    <a:pt x="689" y="797"/>
                  </a:cubicBezTo>
                  <a:cubicBezTo>
                    <a:pt x="689" y="779"/>
                    <a:pt x="689" y="779"/>
                    <a:pt x="689" y="779"/>
                  </a:cubicBezTo>
                  <a:cubicBezTo>
                    <a:pt x="689" y="779"/>
                    <a:pt x="678" y="770"/>
                    <a:pt x="667" y="766"/>
                  </a:cubicBezTo>
                  <a:cubicBezTo>
                    <a:pt x="661" y="764"/>
                    <a:pt x="654" y="769"/>
                    <a:pt x="649" y="765"/>
                  </a:cubicBezTo>
                  <a:cubicBezTo>
                    <a:pt x="641" y="759"/>
                    <a:pt x="655" y="753"/>
                    <a:pt x="658" y="748"/>
                  </a:cubicBezTo>
                  <a:cubicBezTo>
                    <a:pt x="662" y="741"/>
                    <a:pt x="657" y="735"/>
                    <a:pt x="657" y="727"/>
                  </a:cubicBezTo>
                  <a:cubicBezTo>
                    <a:pt x="657" y="712"/>
                    <a:pt x="624" y="707"/>
                    <a:pt x="601" y="696"/>
                  </a:cubicBezTo>
                  <a:cubicBezTo>
                    <a:pt x="578" y="685"/>
                    <a:pt x="578" y="674"/>
                    <a:pt x="588" y="660"/>
                  </a:cubicBezTo>
                  <a:cubicBezTo>
                    <a:pt x="589" y="659"/>
                    <a:pt x="589" y="658"/>
                    <a:pt x="590" y="658"/>
                  </a:cubicBezTo>
                  <a:cubicBezTo>
                    <a:pt x="570" y="633"/>
                    <a:pt x="570" y="633"/>
                    <a:pt x="570" y="633"/>
                  </a:cubicBezTo>
                  <a:cubicBezTo>
                    <a:pt x="570" y="601"/>
                    <a:pt x="570" y="601"/>
                    <a:pt x="570" y="601"/>
                  </a:cubicBezTo>
                  <a:cubicBezTo>
                    <a:pt x="570" y="601"/>
                    <a:pt x="593" y="600"/>
                    <a:pt x="594" y="595"/>
                  </a:cubicBezTo>
                  <a:cubicBezTo>
                    <a:pt x="595" y="590"/>
                    <a:pt x="575" y="567"/>
                    <a:pt x="575" y="567"/>
                  </a:cubicBezTo>
                  <a:cubicBezTo>
                    <a:pt x="582" y="557"/>
                    <a:pt x="582" y="557"/>
                    <a:pt x="582" y="557"/>
                  </a:cubicBezTo>
                  <a:cubicBezTo>
                    <a:pt x="582" y="557"/>
                    <a:pt x="569" y="545"/>
                    <a:pt x="568" y="536"/>
                  </a:cubicBezTo>
                  <a:cubicBezTo>
                    <a:pt x="567" y="527"/>
                    <a:pt x="586" y="528"/>
                    <a:pt x="586" y="528"/>
                  </a:cubicBezTo>
                  <a:cubicBezTo>
                    <a:pt x="569" y="518"/>
                    <a:pt x="569" y="518"/>
                    <a:pt x="569" y="518"/>
                  </a:cubicBezTo>
                  <a:cubicBezTo>
                    <a:pt x="569" y="491"/>
                    <a:pt x="569" y="491"/>
                    <a:pt x="569" y="491"/>
                  </a:cubicBezTo>
                  <a:cubicBezTo>
                    <a:pt x="587" y="484"/>
                    <a:pt x="587" y="484"/>
                    <a:pt x="587" y="484"/>
                  </a:cubicBezTo>
                  <a:cubicBezTo>
                    <a:pt x="587" y="484"/>
                    <a:pt x="566" y="471"/>
                    <a:pt x="566" y="467"/>
                  </a:cubicBezTo>
                  <a:cubicBezTo>
                    <a:pt x="566" y="463"/>
                    <a:pt x="580" y="452"/>
                    <a:pt x="580" y="452"/>
                  </a:cubicBezTo>
                  <a:cubicBezTo>
                    <a:pt x="580" y="452"/>
                    <a:pt x="584" y="435"/>
                    <a:pt x="584" y="429"/>
                  </a:cubicBezTo>
                  <a:cubicBezTo>
                    <a:pt x="584" y="423"/>
                    <a:pt x="599" y="424"/>
                    <a:pt x="604" y="419"/>
                  </a:cubicBezTo>
                  <a:cubicBezTo>
                    <a:pt x="609" y="414"/>
                    <a:pt x="612" y="399"/>
                    <a:pt x="612" y="396"/>
                  </a:cubicBezTo>
                  <a:cubicBezTo>
                    <a:pt x="612" y="393"/>
                    <a:pt x="621" y="388"/>
                    <a:pt x="626" y="383"/>
                  </a:cubicBezTo>
                  <a:cubicBezTo>
                    <a:pt x="631" y="378"/>
                    <a:pt x="634" y="355"/>
                    <a:pt x="634" y="355"/>
                  </a:cubicBezTo>
                  <a:close/>
                  <a:moveTo>
                    <a:pt x="619" y="681"/>
                  </a:moveTo>
                  <a:cubicBezTo>
                    <a:pt x="624" y="681"/>
                    <a:pt x="624" y="681"/>
                    <a:pt x="624" y="681"/>
                  </a:cubicBezTo>
                  <a:cubicBezTo>
                    <a:pt x="617" y="677"/>
                    <a:pt x="617" y="677"/>
                    <a:pt x="617" y="677"/>
                  </a:cubicBezTo>
                  <a:cubicBezTo>
                    <a:pt x="617" y="677"/>
                    <a:pt x="617" y="677"/>
                    <a:pt x="617" y="677"/>
                  </a:cubicBezTo>
                  <a:cubicBezTo>
                    <a:pt x="618" y="679"/>
                    <a:pt x="619" y="681"/>
                    <a:pt x="619" y="681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206">
              <a:extLst>
                <a:ext uri="{FF2B5EF4-FFF2-40B4-BE49-F238E27FC236}">
                  <a16:creationId xmlns:a16="http://schemas.microsoft.com/office/drawing/2014/main" id="{8C7DC305-B249-288E-F120-AF4718E1661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5560" y="-10185"/>
              <a:ext cx="661" cy="834"/>
            </a:xfrm>
            <a:custGeom>
              <a:avLst/>
              <a:gdLst>
                <a:gd name="T0" fmla="*/ 42 w 280"/>
                <a:gd name="T1" fmla="*/ 249 h 353"/>
                <a:gd name="T2" fmla="*/ 49 w 280"/>
                <a:gd name="T3" fmla="*/ 229 h 353"/>
                <a:gd name="T4" fmla="*/ 42 w 280"/>
                <a:gd name="T5" fmla="*/ 249 h 353"/>
                <a:gd name="T6" fmla="*/ 277 w 280"/>
                <a:gd name="T7" fmla="*/ 114 h 353"/>
                <a:gd name="T8" fmla="*/ 261 w 280"/>
                <a:gd name="T9" fmla="*/ 102 h 353"/>
                <a:gd name="T10" fmla="*/ 271 w 280"/>
                <a:gd name="T11" fmla="*/ 84 h 353"/>
                <a:gd name="T12" fmla="*/ 252 w 280"/>
                <a:gd name="T13" fmla="*/ 83 h 353"/>
                <a:gd name="T14" fmla="*/ 230 w 280"/>
                <a:gd name="T15" fmla="*/ 61 h 353"/>
                <a:gd name="T16" fmla="*/ 218 w 280"/>
                <a:gd name="T17" fmla="*/ 73 h 353"/>
                <a:gd name="T18" fmla="*/ 195 w 280"/>
                <a:gd name="T19" fmla="*/ 65 h 353"/>
                <a:gd name="T20" fmla="*/ 175 w 280"/>
                <a:gd name="T21" fmla="*/ 64 h 353"/>
                <a:gd name="T22" fmla="*/ 163 w 280"/>
                <a:gd name="T23" fmla="*/ 43 h 353"/>
                <a:gd name="T24" fmla="*/ 140 w 280"/>
                <a:gd name="T25" fmla="*/ 40 h 353"/>
                <a:gd name="T26" fmla="*/ 121 w 280"/>
                <a:gd name="T27" fmla="*/ 22 h 353"/>
                <a:gd name="T28" fmla="*/ 98 w 280"/>
                <a:gd name="T29" fmla="*/ 0 h 353"/>
                <a:gd name="T30" fmla="*/ 101 w 280"/>
                <a:gd name="T31" fmla="*/ 23 h 353"/>
                <a:gd name="T32" fmla="*/ 68 w 280"/>
                <a:gd name="T33" fmla="*/ 37 h 353"/>
                <a:gd name="T34" fmla="*/ 66 w 280"/>
                <a:gd name="T35" fmla="*/ 27 h 353"/>
                <a:gd name="T36" fmla="*/ 44 w 280"/>
                <a:gd name="T37" fmla="*/ 46 h 353"/>
                <a:gd name="T38" fmla="*/ 49 w 280"/>
                <a:gd name="T39" fmla="*/ 77 h 353"/>
                <a:gd name="T40" fmla="*/ 31 w 280"/>
                <a:gd name="T41" fmla="*/ 97 h 353"/>
                <a:gd name="T42" fmla="*/ 39 w 280"/>
                <a:gd name="T43" fmla="*/ 119 h 353"/>
                <a:gd name="T44" fmla="*/ 27 w 280"/>
                <a:gd name="T45" fmla="*/ 119 h 353"/>
                <a:gd name="T46" fmla="*/ 26 w 280"/>
                <a:gd name="T47" fmla="*/ 130 h 353"/>
                <a:gd name="T48" fmla="*/ 3 w 280"/>
                <a:gd name="T49" fmla="*/ 144 h 353"/>
                <a:gd name="T50" fmla="*/ 19 w 280"/>
                <a:gd name="T51" fmla="*/ 154 h 353"/>
                <a:gd name="T52" fmla="*/ 8 w 280"/>
                <a:gd name="T53" fmla="*/ 173 h 353"/>
                <a:gd name="T54" fmla="*/ 18 w 280"/>
                <a:gd name="T55" fmla="*/ 187 h 353"/>
                <a:gd name="T56" fmla="*/ 3 w 280"/>
                <a:gd name="T57" fmla="*/ 201 h 353"/>
                <a:gd name="T58" fmla="*/ 12 w 280"/>
                <a:gd name="T59" fmla="*/ 207 h 353"/>
                <a:gd name="T60" fmla="*/ 22 w 280"/>
                <a:gd name="T61" fmla="*/ 228 h 353"/>
                <a:gd name="T62" fmla="*/ 48 w 280"/>
                <a:gd name="T63" fmla="*/ 214 h 353"/>
                <a:gd name="T64" fmla="*/ 65 w 280"/>
                <a:gd name="T65" fmla="*/ 219 h 353"/>
                <a:gd name="T66" fmla="*/ 61 w 280"/>
                <a:gd name="T67" fmla="*/ 258 h 353"/>
                <a:gd name="T68" fmla="*/ 36 w 280"/>
                <a:gd name="T69" fmla="*/ 271 h 353"/>
                <a:gd name="T70" fmla="*/ 51 w 280"/>
                <a:gd name="T71" fmla="*/ 286 h 353"/>
                <a:gd name="T72" fmla="*/ 30 w 280"/>
                <a:gd name="T73" fmla="*/ 307 h 353"/>
                <a:gd name="T74" fmla="*/ 40 w 280"/>
                <a:gd name="T75" fmla="*/ 315 h 353"/>
                <a:gd name="T76" fmla="*/ 33 w 280"/>
                <a:gd name="T77" fmla="*/ 329 h 353"/>
                <a:gd name="T78" fmla="*/ 53 w 280"/>
                <a:gd name="T79" fmla="*/ 315 h 353"/>
                <a:gd name="T80" fmla="*/ 62 w 280"/>
                <a:gd name="T81" fmla="*/ 326 h 353"/>
                <a:gd name="T82" fmla="*/ 81 w 280"/>
                <a:gd name="T83" fmla="*/ 324 h 353"/>
                <a:gd name="T84" fmla="*/ 96 w 280"/>
                <a:gd name="T85" fmla="*/ 353 h 353"/>
                <a:gd name="T86" fmla="*/ 108 w 280"/>
                <a:gd name="T87" fmla="*/ 339 h 353"/>
                <a:gd name="T88" fmla="*/ 121 w 280"/>
                <a:gd name="T89" fmla="*/ 335 h 353"/>
                <a:gd name="T90" fmla="*/ 125 w 280"/>
                <a:gd name="T91" fmla="*/ 299 h 353"/>
                <a:gd name="T92" fmla="*/ 135 w 280"/>
                <a:gd name="T93" fmla="*/ 284 h 353"/>
                <a:gd name="T94" fmla="*/ 132 w 280"/>
                <a:gd name="T95" fmla="*/ 272 h 353"/>
                <a:gd name="T96" fmla="*/ 140 w 280"/>
                <a:gd name="T97" fmla="*/ 269 h 353"/>
                <a:gd name="T98" fmla="*/ 154 w 280"/>
                <a:gd name="T99" fmla="*/ 251 h 353"/>
                <a:gd name="T100" fmla="*/ 211 w 280"/>
                <a:gd name="T101" fmla="*/ 226 h 353"/>
                <a:gd name="T102" fmla="*/ 262 w 280"/>
                <a:gd name="T103" fmla="*/ 170 h 353"/>
                <a:gd name="T104" fmla="*/ 270 w 280"/>
                <a:gd name="T105" fmla="*/ 141 h 353"/>
                <a:gd name="T106" fmla="*/ 280 w 280"/>
                <a:gd name="T107" fmla="*/ 136 h 353"/>
                <a:gd name="T108" fmla="*/ 277 w 280"/>
                <a:gd name="T109" fmla="*/ 114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0" h="353">
                  <a:moveTo>
                    <a:pt x="42" y="249"/>
                  </a:moveTo>
                  <a:cubicBezTo>
                    <a:pt x="57" y="245"/>
                    <a:pt x="59" y="225"/>
                    <a:pt x="49" y="229"/>
                  </a:cubicBezTo>
                  <a:cubicBezTo>
                    <a:pt x="40" y="233"/>
                    <a:pt x="34" y="250"/>
                    <a:pt x="42" y="249"/>
                  </a:cubicBezTo>
                  <a:close/>
                  <a:moveTo>
                    <a:pt x="277" y="114"/>
                  </a:moveTo>
                  <a:cubicBezTo>
                    <a:pt x="261" y="102"/>
                    <a:pt x="261" y="102"/>
                    <a:pt x="261" y="102"/>
                  </a:cubicBezTo>
                  <a:cubicBezTo>
                    <a:pt x="261" y="102"/>
                    <a:pt x="272" y="102"/>
                    <a:pt x="271" y="84"/>
                  </a:cubicBezTo>
                  <a:cubicBezTo>
                    <a:pt x="265" y="83"/>
                    <a:pt x="258" y="83"/>
                    <a:pt x="252" y="83"/>
                  </a:cubicBezTo>
                  <a:cubicBezTo>
                    <a:pt x="239" y="82"/>
                    <a:pt x="247" y="64"/>
                    <a:pt x="230" y="61"/>
                  </a:cubicBezTo>
                  <a:cubicBezTo>
                    <a:pt x="213" y="58"/>
                    <a:pt x="225" y="71"/>
                    <a:pt x="218" y="73"/>
                  </a:cubicBezTo>
                  <a:cubicBezTo>
                    <a:pt x="211" y="75"/>
                    <a:pt x="195" y="65"/>
                    <a:pt x="195" y="65"/>
                  </a:cubicBezTo>
                  <a:cubicBezTo>
                    <a:pt x="195" y="65"/>
                    <a:pt x="184" y="70"/>
                    <a:pt x="175" y="64"/>
                  </a:cubicBezTo>
                  <a:cubicBezTo>
                    <a:pt x="166" y="58"/>
                    <a:pt x="173" y="51"/>
                    <a:pt x="163" y="43"/>
                  </a:cubicBezTo>
                  <a:cubicBezTo>
                    <a:pt x="153" y="35"/>
                    <a:pt x="140" y="40"/>
                    <a:pt x="140" y="40"/>
                  </a:cubicBezTo>
                  <a:cubicBezTo>
                    <a:pt x="140" y="40"/>
                    <a:pt x="132" y="28"/>
                    <a:pt x="121" y="22"/>
                  </a:cubicBezTo>
                  <a:cubicBezTo>
                    <a:pt x="113" y="19"/>
                    <a:pt x="103" y="6"/>
                    <a:pt x="98" y="0"/>
                  </a:cubicBezTo>
                  <a:cubicBezTo>
                    <a:pt x="99" y="10"/>
                    <a:pt x="105" y="14"/>
                    <a:pt x="101" y="23"/>
                  </a:cubicBezTo>
                  <a:cubicBezTo>
                    <a:pt x="98" y="32"/>
                    <a:pt x="68" y="37"/>
                    <a:pt x="68" y="3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7"/>
                    <a:pt x="46" y="38"/>
                    <a:pt x="44" y="46"/>
                  </a:cubicBezTo>
                  <a:cubicBezTo>
                    <a:pt x="41" y="54"/>
                    <a:pt x="51" y="64"/>
                    <a:pt x="49" y="77"/>
                  </a:cubicBezTo>
                  <a:cubicBezTo>
                    <a:pt x="48" y="90"/>
                    <a:pt x="35" y="89"/>
                    <a:pt x="31" y="97"/>
                  </a:cubicBezTo>
                  <a:cubicBezTo>
                    <a:pt x="26" y="105"/>
                    <a:pt x="39" y="119"/>
                    <a:pt x="39" y="119"/>
                  </a:cubicBezTo>
                  <a:cubicBezTo>
                    <a:pt x="27" y="119"/>
                    <a:pt x="27" y="119"/>
                    <a:pt x="27" y="119"/>
                  </a:cubicBezTo>
                  <a:cubicBezTo>
                    <a:pt x="26" y="130"/>
                    <a:pt x="26" y="130"/>
                    <a:pt x="26" y="130"/>
                  </a:cubicBezTo>
                  <a:cubicBezTo>
                    <a:pt x="3" y="144"/>
                    <a:pt x="3" y="144"/>
                    <a:pt x="3" y="144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3"/>
                    <a:pt x="19" y="176"/>
                    <a:pt x="18" y="187"/>
                  </a:cubicBezTo>
                  <a:cubicBezTo>
                    <a:pt x="16" y="198"/>
                    <a:pt x="3" y="201"/>
                    <a:pt x="3" y="201"/>
                  </a:cubicBezTo>
                  <a:cubicBezTo>
                    <a:pt x="12" y="207"/>
                    <a:pt x="12" y="207"/>
                    <a:pt x="12" y="207"/>
                  </a:cubicBezTo>
                  <a:cubicBezTo>
                    <a:pt x="12" y="207"/>
                    <a:pt x="0" y="221"/>
                    <a:pt x="22" y="228"/>
                  </a:cubicBezTo>
                  <a:cubicBezTo>
                    <a:pt x="45" y="235"/>
                    <a:pt x="48" y="214"/>
                    <a:pt x="48" y="214"/>
                  </a:cubicBezTo>
                  <a:cubicBezTo>
                    <a:pt x="65" y="219"/>
                    <a:pt x="65" y="219"/>
                    <a:pt x="65" y="219"/>
                  </a:cubicBezTo>
                  <a:cubicBezTo>
                    <a:pt x="73" y="227"/>
                    <a:pt x="64" y="246"/>
                    <a:pt x="61" y="258"/>
                  </a:cubicBezTo>
                  <a:cubicBezTo>
                    <a:pt x="59" y="270"/>
                    <a:pt x="36" y="271"/>
                    <a:pt x="36" y="271"/>
                  </a:cubicBezTo>
                  <a:cubicBezTo>
                    <a:pt x="36" y="271"/>
                    <a:pt x="60" y="277"/>
                    <a:pt x="51" y="286"/>
                  </a:cubicBezTo>
                  <a:cubicBezTo>
                    <a:pt x="43" y="295"/>
                    <a:pt x="30" y="307"/>
                    <a:pt x="30" y="307"/>
                  </a:cubicBezTo>
                  <a:cubicBezTo>
                    <a:pt x="40" y="315"/>
                    <a:pt x="40" y="315"/>
                    <a:pt x="40" y="315"/>
                  </a:cubicBezTo>
                  <a:cubicBezTo>
                    <a:pt x="40" y="315"/>
                    <a:pt x="24" y="324"/>
                    <a:pt x="33" y="329"/>
                  </a:cubicBezTo>
                  <a:cubicBezTo>
                    <a:pt x="43" y="333"/>
                    <a:pt x="53" y="315"/>
                    <a:pt x="53" y="315"/>
                  </a:cubicBezTo>
                  <a:cubicBezTo>
                    <a:pt x="62" y="326"/>
                    <a:pt x="62" y="326"/>
                    <a:pt x="62" y="326"/>
                  </a:cubicBezTo>
                  <a:cubicBezTo>
                    <a:pt x="62" y="326"/>
                    <a:pt x="75" y="320"/>
                    <a:pt x="81" y="324"/>
                  </a:cubicBezTo>
                  <a:cubicBezTo>
                    <a:pt x="86" y="329"/>
                    <a:pt x="82" y="353"/>
                    <a:pt x="96" y="353"/>
                  </a:cubicBezTo>
                  <a:cubicBezTo>
                    <a:pt x="109" y="353"/>
                    <a:pt x="104" y="342"/>
                    <a:pt x="108" y="339"/>
                  </a:cubicBezTo>
                  <a:cubicBezTo>
                    <a:pt x="112" y="337"/>
                    <a:pt x="121" y="335"/>
                    <a:pt x="121" y="335"/>
                  </a:cubicBezTo>
                  <a:cubicBezTo>
                    <a:pt x="121" y="335"/>
                    <a:pt x="124" y="308"/>
                    <a:pt x="125" y="299"/>
                  </a:cubicBezTo>
                  <a:cubicBezTo>
                    <a:pt x="127" y="289"/>
                    <a:pt x="135" y="284"/>
                    <a:pt x="135" y="284"/>
                  </a:cubicBezTo>
                  <a:cubicBezTo>
                    <a:pt x="132" y="272"/>
                    <a:pt x="132" y="272"/>
                    <a:pt x="132" y="272"/>
                  </a:cubicBezTo>
                  <a:cubicBezTo>
                    <a:pt x="140" y="269"/>
                    <a:pt x="140" y="269"/>
                    <a:pt x="140" y="269"/>
                  </a:cubicBezTo>
                  <a:cubicBezTo>
                    <a:pt x="140" y="269"/>
                    <a:pt x="140" y="262"/>
                    <a:pt x="154" y="251"/>
                  </a:cubicBezTo>
                  <a:cubicBezTo>
                    <a:pt x="167" y="240"/>
                    <a:pt x="188" y="240"/>
                    <a:pt x="211" y="226"/>
                  </a:cubicBezTo>
                  <a:cubicBezTo>
                    <a:pt x="234" y="211"/>
                    <a:pt x="262" y="170"/>
                    <a:pt x="262" y="170"/>
                  </a:cubicBezTo>
                  <a:cubicBezTo>
                    <a:pt x="270" y="141"/>
                    <a:pt x="270" y="141"/>
                    <a:pt x="270" y="141"/>
                  </a:cubicBezTo>
                  <a:cubicBezTo>
                    <a:pt x="280" y="136"/>
                    <a:pt x="280" y="136"/>
                    <a:pt x="280" y="136"/>
                  </a:cubicBezTo>
                  <a:lnTo>
                    <a:pt x="277" y="114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207">
              <a:extLst>
                <a:ext uri="{FF2B5EF4-FFF2-40B4-BE49-F238E27FC236}">
                  <a16:creationId xmlns:a16="http://schemas.microsoft.com/office/drawing/2014/main" id="{0523E6B6-3A4E-CBAE-BA93-FAD607A3843B}"/>
                </a:ext>
              </a:extLst>
            </p:cNvPr>
            <p:cNvSpPr>
              <a:spLocks/>
            </p:cNvSpPr>
            <p:nvPr/>
          </p:nvSpPr>
          <p:spPr bwMode="gray">
            <a:xfrm>
              <a:off x="2437" y="-11222"/>
              <a:ext cx="322" cy="538"/>
            </a:xfrm>
            <a:custGeom>
              <a:avLst/>
              <a:gdLst>
                <a:gd name="T0" fmla="*/ 19 w 136"/>
                <a:gd name="T1" fmla="*/ 9 h 228"/>
                <a:gd name="T2" fmla="*/ 62 w 136"/>
                <a:gd name="T3" fmla="*/ 29 h 228"/>
                <a:gd name="T4" fmla="*/ 91 w 136"/>
                <a:gd name="T5" fmla="*/ 65 h 228"/>
                <a:gd name="T6" fmla="*/ 87 w 136"/>
                <a:gd name="T7" fmla="*/ 86 h 228"/>
                <a:gd name="T8" fmla="*/ 104 w 136"/>
                <a:gd name="T9" fmla="*/ 82 h 228"/>
                <a:gd name="T10" fmla="*/ 105 w 136"/>
                <a:gd name="T11" fmla="*/ 120 h 228"/>
                <a:gd name="T12" fmla="*/ 105 w 136"/>
                <a:gd name="T13" fmla="*/ 190 h 228"/>
                <a:gd name="T14" fmla="*/ 19 w 136"/>
                <a:gd name="T15" fmla="*/ 194 h 228"/>
                <a:gd name="T16" fmla="*/ 10 w 136"/>
                <a:gd name="T17" fmla="*/ 99 h 228"/>
                <a:gd name="T18" fmla="*/ 25 w 136"/>
                <a:gd name="T19" fmla="*/ 59 h 228"/>
                <a:gd name="T20" fmla="*/ 5 w 136"/>
                <a:gd name="T21" fmla="*/ 32 h 228"/>
                <a:gd name="T22" fmla="*/ 18 w 136"/>
                <a:gd name="T23" fmla="*/ 32 h 228"/>
                <a:gd name="T24" fmla="*/ 19 w 136"/>
                <a:gd name="T25" fmla="*/ 9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228">
                  <a:moveTo>
                    <a:pt x="19" y="9"/>
                  </a:moveTo>
                  <a:cubicBezTo>
                    <a:pt x="35" y="0"/>
                    <a:pt x="46" y="7"/>
                    <a:pt x="62" y="29"/>
                  </a:cubicBezTo>
                  <a:cubicBezTo>
                    <a:pt x="78" y="50"/>
                    <a:pt x="91" y="65"/>
                    <a:pt x="91" y="6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105" y="120"/>
                    <a:pt x="136" y="176"/>
                    <a:pt x="105" y="190"/>
                  </a:cubicBezTo>
                  <a:cubicBezTo>
                    <a:pt x="75" y="204"/>
                    <a:pt x="37" y="228"/>
                    <a:pt x="19" y="194"/>
                  </a:cubicBezTo>
                  <a:cubicBezTo>
                    <a:pt x="1" y="160"/>
                    <a:pt x="0" y="106"/>
                    <a:pt x="10" y="99"/>
                  </a:cubicBezTo>
                  <a:cubicBezTo>
                    <a:pt x="21" y="91"/>
                    <a:pt x="25" y="59"/>
                    <a:pt x="25" y="59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18" y="32"/>
                    <a:pt x="18" y="32"/>
                    <a:pt x="18" y="32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208">
              <a:extLst>
                <a:ext uri="{FF2B5EF4-FFF2-40B4-BE49-F238E27FC236}">
                  <a16:creationId xmlns:a16="http://schemas.microsoft.com/office/drawing/2014/main" id="{76340BF4-B417-005D-FC88-00F26BF106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16" y="-12361"/>
              <a:ext cx="1151" cy="1892"/>
            </a:xfrm>
            <a:custGeom>
              <a:avLst/>
              <a:gdLst>
                <a:gd name="T0" fmla="*/ 475 w 487"/>
                <a:gd name="T1" fmla="*/ 801 h 801"/>
                <a:gd name="T2" fmla="*/ 476 w 487"/>
                <a:gd name="T3" fmla="*/ 763 h 801"/>
                <a:gd name="T4" fmla="*/ 395 w 487"/>
                <a:gd name="T5" fmla="*/ 758 h 801"/>
                <a:gd name="T6" fmla="*/ 187 w 487"/>
                <a:gd name="T7" fmla="*/ 700 h 801"/>
                <a:gd name="T8" fmla="*/ 175 w 487"/>
                <a:gd name="T9" fmla="*/ 693 h 801"/>
                <a:gd name="T10" fmla="*/ 346 w 487"/>
                <a:gd name="T11" fmla="*/ 393 h 801"/>
                <a:gd name="T12" fmla="*/ 408 w 487"/>
                <a:gd name="T13" fmla="*/ 418 h 801"/>
                <a:gd name="T14" fmla="*/ 321 w 487"/>
                <a:gd name="T15" fmla="*/ 337 h 801"/>
                <a:gd name="T16" fmla="*/ 325 w 487"/>
                <a:gd name="T17" fmla="*/ 499 h 801"/>
                <a:gd name="T18" fmla="*/ 301 w 487"/>
                <a:gd name="T19" fmla="*/ 414 h 801"/>
                <a:gd name="T20" fmla="*/ 358 w 487"/>
                <a:gd name="T21" fmla="*/ 492 h 801"/>
                <a:gd name="T22" fmla="*/ 337 w 487"/>
                <a:gd name="T23" fmla="*/ 494 h 801"/>
                <a:gd name="T24" fmla="*/ 360 w 487"/>
                <a:gd name="T25" fmla="*/ 416 h 801"/>
                <a:gd name="T26" fmla="*/ 352 w 487"/>
                <a:gd name="T27" fmla="*/ 436 h 801"/>
                <a:gd name="T28" fmla="*/ 391 w 487"/>
                <a:gd name="T29" fmla="*/ 441 h 801"/>
                <a:gd name="T30" fmla="*/ 103 w 487"/>
                <a:gd name="T31" fmla="*/ 405 h 801"/>
                <a:gd name="T32" fmla="*/ 79 w 487"/>
                <a:gd name="T33" fmla="*/ 472 h 801"/>
                <a:gd name="T34" fmla="*/ 55 w 487"/>
                <a:gd name="T35" fmla="*/ 514 h 801"/>
                <a:gd name="T36" fmla="*/ 31 w 487"/>
                <a:gd name="T37" fmla="*/ 557 h 801"/>
                <a:gd name="T38" fmla="*/ 71 w 487"/>
                <a:gd name="T39" fmla="*/ 503 h 801"/>
                <a:gd name="T40" fmla="*/ 117 w 487"/>
                <a:gd name="T41" fmla="*/ 403 h 801"/>
                <a:gd name="T42" fmla="*/ 259 w 487"/>
                <a:gd name="T43" fmla="*/ 679 h 801"/>
                <a:gd name="T44" fmla="*/ 451 w 487"/>
                <a:gd name="T45" fmla="*/ 560 h 801"/>
                <a:gd name="T46" fmla="*/ 413 w 487"/>
                <a:gd name="T47" fmla="*/ 526 h 801"/>
                <a:gd name="T48" fmla="*/ 362 w 487"/>
                <a:gd name="T49" fmla="*/ 552 h 801"/>
                <a:gd name="T50" fmla="*/ 307 w 487"/>
                <a:gd name="T51" fmla="*/ 568 h 801"/>
                <a:gd name="T52" fmla="*/ 251 w 487"/>
                <a:gd name="T53" fmla="*/ 627 h 801"/>
                <a:gd name="T54" fmla="*/ 287 w 487"/>
                <a:gd name="T55" fmla="*/ 643 h 801"/>
                <a:gd name="T56" fmla="*/ 340 w 487"/>
                <a:gd name="T57" fmla="*/ 657 h 801"/>
                <a:gd name="T58" fmla="*/ 413 w 487"/>
                <a:gd name="T59" fmla="*/ 701 h 801"/>
                <a:gd name="T60" fmla="*/ 430 w 487"/>
                <a:gd name="T61" fmla="*/ 693 h 801"/>
                <a:gd name="T62" fmla="*/ 444 w 487"/>
                <a:gd name="T63" fmla="*/ 676 h 801"/>
                <a:gd name="T64" fmla="*/ 451 w 487"/>
                <a:gd name="T65" fmla="*/ 560 h 801"/>
                <a:gd name="T66" fmla="*/ 286 w 487"/>
                <a:gd name="T67" fmla="*/ 309 h 801"/>
                <a:gd name="T68" fmla="*/ 259 w 487"/>
                <a:gd name="T69" fmla="*/ 240 h 801"/>
                <a:gd name="T70" fmla="*/ 184 w 487"/>
                <a:gd name="T71" fmla="*/ 201 h 801"/>
                <a:gd name="T72" fmla="*/ 193 w 487"/>
                <a:gd name="T73" fmla="*/ 93 h 801"/>
                <a:gd name="T74" fmla="*/ 184 w 487"/>
                <a:gd name="T75" fmla="*/ 16 h 801"/>
                <a:gd name="T76" fmla="*/ 126 w 487"/>
                <a:gd name="T77" fmla="*/ 10 h 801"/>
                <a:gd name="T78" fmla="*/ 100 w 487"/>
                <a:gd name="T79" fmla="*/ 53 h 801"/>
                <a:gd name="T80" fmla="*/ 112 w 487"/>
                <a:gd name="T81" fmla="*/ 109 h 801"/>
                <a:gd name="T82" fmla="*/ 92 w 487"/>
                <a:gd name="T83" fmla="*/ 152 h 801"/>
                <a:gd name="T84" fmla="*/ 135 w 487"/>
                <a:gd name="T85" fmla="*/ 233 h 801"/>
                <a:gd name="T86" fmla="*/ 219 w 487"/>
                <a:gd name="T87" fmla="*/ 274 h 801"/>
                <a:gd name="T88" fmla="*/ 146 w 487"/>
                <a:gd name="T89" fmla="*/ 285 h 801"/>
                <a:gd name="T90" fmla="*/ 197 w 487"/>
                <a:gd name="T91" fmla="*/ 339 h 801"/>
                <a:gd name="T92" fmla="*/ 232 w 487"/>
                <a:gd name="T93" fmla="*/ 434 h 801"/>
                <a:gd name="T94" fmla="*/ 271 w 487"/>
                <a:gd name="T95" fmla="*/ 463 h 801"/>
                <a:gd name="T96" fmla="*/ 273 w 487"/>
                <a:gd name="T97" fmla="*/ 535 h 801"/>
                <a:gd name="T98" fmla="*/ 295 w 487"/>
                <a:gd name="T99" fmla="*/ 431 h 801"/>
                <a:gd name="T100" fmla="*/ 249 w 487"/>
                <a:gd name="T101" fmla="*/ 378 h 801"/>
                <a:gd name="T102" fmla="*/ 232 w 487"/>
                <a:gd name="T103" fmla="*/ 434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87" h="801">
                  <a:moveTo>
                    <a:pt x="476" y="763"/>
                  </a:moveTo>
                  <a:cubicBezTo>
                    <a:pt x="472" y="782"/>
                    <a:pt x="472" y="782"/>
                    <a:pt x="472" y="782"/>
                  </a:cubicBezTo>
                  <a:cubicBezTo>
                    <a:pt x="475" y="801"/>
                    <a:pt x="475" y="801"/>
                    <a:pt x="475" y="801"/>
                  </a:cubicBezTo>
                  <a:cubicBezTo>
                    <a:pt x="487" y="791"/>
                    <a:pt x="487" y="791"/>
                    <a:pt x="487" y="791"/>
                  </a:cubicBezTo>
                  <a:cubicBezTo>
                    <a:pt x="487" y="763"/>
                    <a:pt x="487" y="763"/>
                    <a:pt x="487" y="763"/>
                  </a:cubicBezTo>
                  <a:lnTo>
                    <a:pt x="476" y="763"/>
                  </a:lnTo>
                  <a:close/>
                  <a:moveTo>
                    <a:pt x="399" y="785"/>
                  </a:moveTo>
                  <a:cubicBezTo>
                    <a:pt x="410" y="763"/>
                    <a:pt x="410" y="763"/>
                    <a:pt x="410" y="763"/>
                  </a:cubicBezTo>
                  <a:cubicBezTo>
                    <a:pt x="395" y="758"/>
                    <a:pt x="395" y="758"/>
                    <a:pt x="395" y="758"/>
                  </a:cubicBezTo>
                  <a:lnTo>
                    <a:pt x="399" y="785"/>
                  </a:lnTo>
                  <a:close/>
                  <a:moveTo>
                    <a:pt x="175" y="693"/>
                  </a:moveTo>
                  <a:cubicBezTo>
                    <a:pt x="187" y="700"/>
                    <a:pt x="187" y="700"/>
                    <a:pt x="187" y="700"/>
                  </a:cubicBezTo>
                  <a:cubicBezTo>
                    <a:pt x="199" y="682"/>
                    <a:pt x="199" y="682"/>
                    <a:pt x="199" y="682"/>
                  </a:cubicBezTo>
                  <a:cubicBezTo>
                    <a:pt x="182" y="672"/>
                    <a:pt x="182" y="672"/>
                    <a:pt x="182" y="672"/>
                  </a:cubicBezTo>
                  <a:lnTo>
                    <a:pt x="175" y="693"/>
                  </a:lnTo>
                  <a:close/>
                  <a:moveTo>
                    <a:pt x="345" y="372"/>
                  </a:moveTo>
                  <a:cubicBezTo>
                    <a:pt x="370" y="385"/>
                    <a:pt x="370" y="385"/>
                    <a:pt x="370" y="385"/>
                  </a:cubicBezTo>
                  <a:cubicBezTo>
                    <a:pt x="370" y="401"/>
                    <a:pt x="346" y="393"/>
                    <a:pt x="346" y="393"/>
                  </a:cubicBezTo>
                  <a:cubicBezTo>
                    <a:pt x="389" y="427"/>
                    <a:pt x="389" y="427"/>
                    <a:pt x="389" y="427"/>
                  </a:cubicBezTo>
                  <a:cubicBezTo>
                    <a:pt x="391" y="413"/>
                    <a:pt x="391" y="413"/>
                    <a:pt x="391" y="413"/>
                  </a:cubicBezTo>
                  <a:cubicBezTo>
                    <a:pt x="408" y="418"/>
                    <a:pt x="408" y="418"/>
                    <a:pt x="408" y="418"/>
                  </a:cubicBezTo>
                  <a:cubicBezTo>
                    <a:pt x="394" y="395"/>
                    <a:pt x="394" y="395"/>
                    <a:pt x="394" y="395"/>
                  </a:cubicBezTo>
                  <a:cubicBezTo>
                    <a:pt x="394" y="395"/>
                    <a:pt x="391" y="370"/>
                    <a:pt x="379" y="357"/>
                  </a:cubicBezTo>
                  <a:cubicBezTo>
                    <a:pt x="367" y="344"/>
                    <a:pt x="328" y="321"/>
                    <a:pt x="321" y="337"/>
                  </a:cubicBezTo>
                  <a:cubicBezTo>
                    <a:pt x="312" y="357"/>
                    <a:pt x="345" y="372"/>
                    <a:pt x="345" y="372"/>
                  </a:cubicBezTo>
                  <a:close/>
                  <a:moveTo>
                    <a:pt x="318" y="445"/>
                  </a:moveTo>
                  <a:cubicBezTo>
                    <a:pt x="325" y="499"/>
                    <a:pt x="325" y="499"/>
                    <a:pt x="325" y="499"/>
                  </a:cubicBezTo>
                  <a:cubicBezTo>
                    <a:pt x="333" y="449"/>
                    <a:pt x="333" y="449"/>
                    <a:pt x="333" y="449"/>
                  </a:cubicBezTo>
                  <a:cubicBezTo>
                    <a:pt x="316" y="414"/>
                    <a:pt x="316" y="414"/>
                    <a:pt x="316" y="414"/>
                  </a:cubicBezTo>
                  <a:cubicBezTo>
                    <a:pt x="301" y="414"/>
                    <a:pt x="301" y="414"/>
                    <a:pt x="301" y="414"/>
                  </a:cubicBezTo>
                  <a:lnTo>
                    <a:pt x="318" y="445"/>
                  </a:lnTo>
                  <a:close/>
                  <a:moveTo>
                    <a:pt x="337" y="494"/>
                  </a:moveTo>
                  <a:cubicBezTo>
                    <a:pt x="358" y="492"/>
                    <a:pt x="358" y="492"/>
                    <a:pt x="358" y="492"/>
                  </a:cubicBezTo>
                  <a:cubicBezTo>
                    <a:pt x="361" y="475"/>
                    <a:pt x="361" y="475"/>
                    <a:pt x="361" y="475"/>
                  </a:cubicBezTo>
                  <a:cubicBezTo>
                    <a:pt x="343" y="469"/>
                    <a:pt x="343" y="469"/>
                    <a:pt x="343" y="469"/>
                  </a:cubicBezTo>
                  <a:lnTo>
                    <a:pt x="337" y="494"/>
                  </a:lnTo>
                  <a:close/>
                  <a:moveTo>
                    <a:pt x="391" y="441"/>
                  </a:moveTo>
                  <a:cubicBezTo>
                    <a:pt x="372" y="434"/>
                    <a:pt x="372" y="434"/>
                    <a:pt x="372" y="434"/>
                  </a:cubicBezTo>
                  <a:cubicBezTo>
                    <a:pt x="372" y="434"/>
                    <a:pt x="364" y="424"/>
                    <a:pt x="360" y="416"/>
                  </a:cubicBezTo>
                  <a:cubicBezTo>
                    <a:pt x="357" y="408"/>
                    <a:pt x="333" y="413"/>
                    <a:pt x="333" y="413"/>
                  </a:cubicBezTo>
                  <a:cubicBezTo>
                    <a:pt x="336" y="442"/>
                    <a:pt x="336" y="442"/>
                    <a:pt x="336" y="442"/>
                  </a:cubicBezTo>
                  <a:cubicBezTo>
                    <a:pt x="352" y="436"/>
                    <a:pt x="352" y="436"/>
                    <a:pt x="352" y="436"/>
                  </a:cubicBezTo>
                  <a:cubicBezTo>
                    <a:pt x="358" y="452"/>
                    <a:pt x="358" y="452"/>
                    <a:pt x="358" y="452"/>
                  </a:cubicBezTo>
                  <a:cubicBezTo>
                    <a:pt x="391" y="477"/>
                    <a:pt x="391" y="477"/>
                    <a:pt x="391" y="477"/>
                  </a:cubicBezTo>
                  <a:lnTo>
                    <a:pt x="391" y="441"/>
                  </a:lnTo>
                  <a:close/>
                  <a:moveTo>
                    <a:pt x="117" y="403"/>
                  </a:moveTo>
                  <a:cubicBezTo>
                    <a:pt x="107" y="388"/>
                    <a:pt x="107" y="388"/>
                    <a:pt x="107" y="388"/>
                  </a:cubicBezTo>
                  <a:cubicBezTo>
                    <a:pt x="103" y="405"/>
                    <a:pt x="103" y="405"/>
                    <a:pt x="103" y="405"/>
                  </a:cubicBezTo>
                  <a:cubicBezTo>
                    <a:pt x="103" y="405"/>
                    <a:pt x="84" y="421"/>
                    <a:pt x="91" y="436"/>
                  </a:cubicBezTo>
                  <a:cubicBezTo>
                    <a:pt x="98" y="450"/>
                    <a:pt x="115" y="450"/>
                    <a:pt x="105" y="457"/>
                  </a:cubicBezTo>
                  <a:cubicBezTo>
                    <a:pt x="95" y="463"/>
                    <a:pt x="79" y="472"/>
                    <a:pt x="79" y="472"/>
                  </a:cubicBezTo>
                  <a:cubicBezTo>
                    <a:pt x="72" y="490"/>
                    <a:pt x="72" y="490"/>
                    <a:pt x="72" y="490"/>
                  </a:cubicBezTo>
                  <a:cubicBezTo>
                    <a:pt x="57" y="499"/>
                    <a:pt x="57" y="499"/>
                    <a:pt x="57" y="499"/>
                  </a:cubicBezTo>
                  <a:cubicBezTo>
                    <a:pt x="57" y="499"/>
                    <a:pt x="62" y="508"/>
                    <a:pt x="55" y="514"/>
                  </a:cubicBezTo>
                  <a:cubicBezTo>
                    <a:pt x="48" y="521"/>
                    <a:pt x="23" y="532"/>
                    <a:pt x="23" y="532"/>
                  </a:cubicBezTo>
                  <a:cubicBezTo>
                    <a:pt x="23" y="532"/>
                    <a:pt x="0" y="568"/>
                    <a:pt x="11" y="576"/>
                  </a:cubicBezTo>
                  <a:cubicBezTo>
                    <a:pt x="31" y="557"/>
                    <a:pt x="31" y="557"/>
                    <a:pt x="31" y="557"/>
                  </a:cubicBezTo>
                  <a:cubicBezTo>
                    <a:pt x="31" y="557"/>
                    <a:pt x="28" y="542"/>
                    <a:pt x="36" y="542"/>
                  </a:cubicBezTo>
                  <a:cubicBezTo>
                    <a:pt x="45" y="542"/>
                    <a:pt x="55" y="539"/>
                    <a:pt x="62" y="534"/>
                  </a:cubicBezTo>
                  <a:cubicBezTo>
                    <a:pt x="69" y="529"/>
                    <a:pt x="62" y="513"/>
                    <a:pt x="71" y="503"/>
                  </a:cubicBezTo>
                  <a:cubicBezTo>
                    <a:pt x="79" y="493"/>
                    <a:pt x="127" y="478"/>
                    <a:pt x="127" y="467"/>
                  </a:cubicBezTo>
                  <a:cubicBezTo>
                    <a:pt x="127" y="455"/>
                    <a:pt x="117" y="444"/>
                    <a:pt x="115" y="434"/>
                  </a:cubicBezTo>
                  <a:cubicBezTo>
                    <a:pt x="114" y="424"/>
                    <a:pt x="117" y="403"/>
                    <a:pt x="117" y="403"/>
                  </a:cubicBezTo>
                  <a:close/>
                  <a:moveTo>
                    <a:pt x="232" y="684"/>
                  </a:moveTo>
                  <a:cubicBezTo>
                    <a:pt x="257" y="706"/>
                    <a:pt x="257" y="706"/>
                    <a:pt x="257" y="706"/>
                  </a:cubicBezTo>
                  <a:cubicBezTo>
                    <a:pt x="259" y="679"/>
                    <a:pt x="259" y="679"/>
                    <a:pt x="259" y="679"/>
                  </a:cubicBezTo>
                  <a:cubicBezTo>
                    <a:pt x="244" y="668"/>
                    <a:pt x="244" y="668"/>
                    <a:pt x="244" y="668"/>
                  </a:cubicBezTo>
                  <a:lnTo>
                    <a:pt x="232" y="684"/>
                  </a:lnTo>
                  <a:close/>
                  <a:moveTo>
                    <a:pt x="451" y="560"/>
                  </a:moveTo>
                  <a:cubicBezTo>
                    <a:pt x="451" y="560"/>
                    <a:pt x="451" y="529"/>
                    <a:pt x="441" y="524"/>
                  </a:cubicBezTo>
                  <a:cubicBezTo>
                    <a:pt x="430" y="519"/>
                    <a:pt x="405" y="483"/>
                    <a:pt x="396" y="491"/>
                  </a:cubicBezTo>
                  <a:cubicBezTo>
                    <a:pt x="388" y="499"/>
                    <a:pt x="420" y="522"/>
                    <a:pt x="413" y="526"/>
                  </a:cubicBezTo>
                  <a:cubicBezTo>
                    <a:pt x="406" y="529"/>
                    <a:pt x="376" y="532"/>
                    <a:pt x="376" y="532"/>
                  </a:cubicBezTo>
                  <a:cubicBezTo>
                    <a:pt x="376" y="553"/>
                    <a:pt x="376" y="553"/>
                    <a:pt x="376" y="553"/>
                  </a:cubicBezTo>
                  <a:cubicBezTo>
                    <a:pt x="362" y="552"/>
                    <a:pt x="362" y="552"/>
                    <a:pt x="362" y="552"/>
                  </a:cubicBezTo>
                  <a:cubicBezTo>
                    <a:pt x="358" y="567"/>
                    <a:pt x="358" y="567"/>
                    <a:pt x="358" y="567"/>
                  </a:cubicBezTo>
                  <a:cubicBezTo>
                    <a:pt x="341" y="576"/>
                    <a:pt x="341" y="576"/>
                    <a:pt x="341" y="576"/>
                  </a:cubicBezTo>
                  <a:cubicBezTo>
                    <a:pt x="341" y="576"/>
                    <a:pt x="316" y="560"/>
                    <a:pt x="307" y="568"/>
                  </a:cubicBezTo>
                  <a:cubicBezTo>
                    <a:pt x="299" y="576"/>
                    <a:pt x="283" y="604"/>
                    <a:pt x="283" y="604"/>
                  </a:cubicBezTo>
                  <a:cubicBezTo>
                    <a:pt x="283" y="604"/>
                    <a:pt x="273" y="585"/>
                    <a:pt x="268" y="594"/>
                  </a:cubicBezTo>
                  <a:cubicBezTo>
                    <a:pt x="263" y="604"/>
                    <a:pt x="251" y="627"/>
                    <a:pt x="251" y="627"/>
                  </a:cubicBezTo>
                  <a:cubicBezTo>
                    <a:pt x="264" y="640"/>
                    <a:pt x="264" y="640"/>
                    <a:pt x="264" y="640"/>
                  </a:cubicBezTo>
                  <a:cubicBezTo>
                    <a:pt x="278" y="627"/>
                    <a:pt x="278" y="627"/>
                    <a:pt x="278" y="627"/>
                  </a:cubicBezTo>
                  <a:cubicBezTo>
                    <a:pt x="287" y="643"/>
                    <a:pt x="287" y="643"/>
                    <a:pt x="287" y="643"/>
                  </a:cubicBezTo>
                  <a:cubicBezTo>
                    <a:pt x="287" y="643"/>
                    <a:pt x="314" y="621"/>
                    <a:pt x="321" y="621"/>
                  </a:cubicBezTo>
                  <a:cubicBezTo>
                    <a:pt x="328" y="621"/>
                    <a:pt x="350" y="642"/>
                    <a:pt x="350" y="642"/>
                  </a:cubicBezTo>
                  <a:cubicBezTo>
                    <a:pt x="350" y="642"/>
                    <a:pt x="340" y="648"/>
                    <a:pt x="340" y="657"/>
                  </a:cubicBezTo>
                  <a:cubicBezTo>
                    <a:pt x="340" y="665"/>
                    <a:pt x="358" y="701"/>
                    <a:pt x="367" y="704"/>
                  </a:cubicBezTo>
                  <a:cubicBezTo>
                    <a:pt x="376" y="707"/>
                    <a:pt x="400" y="714"/>
                    <a:pt x="400" y="714"/>
                  </a:cubicBezTo>
                  <a:cubicBezTo>
                    <a:pt x="413" y="701"/>
                    <a:pt x="413" y="701"/>
                    <a:pt x="413" y="701"/>
                  </a:cubicBezTo>
                  <a:cubicBezTo>
                    <a:pt x="415" y="717"/>
                    <a:pt x="415" y="717"/>
                    <a:pt x="415" y="717"/>
                  </a:cubicBezTo>
                  <a:cubicBezTo>
                    <a:pt x="429" y="719"/>
                    <a:pt x="429" y="719"/>
                    <a:pt x="429" y="719"/>
                  </a:cubicBezTo>
                  <a:cubicBezTo>
                    <a:pt x="430" y="693"/>
                    <a:pt x="430" y="693"/>
                    <a:pt x="430" y="693"/>
                  </a:cubicBezTo>
                  <a:cubicBezTo>
                    <a:pt x="430" y="693"/>
                    <a:pt x="410" y="671"/>
                    <a:pt x="415" y="658"/>
                  </a:cubicBezTo>
                  <a:cubicBezTo>
                    <a:pt x="420" y="645"/>
                    <a:pt x="427" y="642"/>
                    <a:pt x="427" y="642"/>
                  </a:cubicBezTo>
                  <a:cubicBezTo>
                    <a:pt x="444" y="676"/>
                    <a:pt x="444" y="676"/>
                    <a:pt x="444" y="676"/>
                  </a:cubicBezTo>
                  <a:cubicBezTo>
                    <a:pt x="444" y="676"/>
                    <a:pt x="463" y="650"/>
                    <a:pt x="463" y="634"/>
                  </a:cubicBezTo>
                  <a:cubicBezTo>
                    <a:pt x="463" y="617"/>
                    <a:pt x="451" y="599"/>
                    <a:pt x="451" y="599"/>
                  </a:cubicBezTo>
                  <a:lnTo>
                    <a:pt x="451" y="560"/>
                  </a:lnTo>
                  <a:close/>
                  <a:moveTo>
                    <a:pt x="230" y="258"/>
                  </a:moveTo>
                  <a:cubicBezTo>
                    <a:pt x="248" y="256"/>
                    <a:pt x="255" y="265"/>
                    <a:pt x="259" y="279"/>
                  </a:cubicBezTo>
                  <a:cubicBezTo>
                    <a:pt x="262" y="291"/>
                    <a:pt x="272" y="303"/>
                    <a:pt x="286" y="309"/>
                  </a:cubicBezTo>
                  <a:cubicBezTo>
                    <a:pt x="311" y="322"/>
                    <a:pt x="313" y="261"/>
                    <a:pt x="282" y="264"/>
                  </a:cubicBezTo>
                  <a:cubicBezTo>
                    <a:pt x="281" y="258"/>
                    <a:pt x="286" y="256"/>
                    <a:pt x="288" y="251"/>
                  </a:cubicBezTo>
                  <a:cubicBezTo>
                    <a:pt x="276" y="250"/>
                    <a:pt x="272" y="236"/>
                    <a:pt x="259" y="240"/>
                  </a:cubicBezTo>
                  <a:cubicBezTo>
                    <a:pt x="251" y="257"/>
                    <a:pt x="236" y="236"/>
                    <a:pt x="224" y="236"/>
                  </a:cubicBezTo>
                  <a:cubicBezTo>
                    <a:pt x="208" y="235"/>
                    <a:pt x="201" y="259"/>
                    <a:pt x="188" y="239"/>
                  </a:cubicBezTo>
                  <a:cubicBezTo>
                    <a:pt x="181" y="228"/>
                    <a:pt x="184" y="213"/>
                    <a:pt x="184" y="201"/>
                  </a:cubicBezTo>
                  <a:cubicBezTo>
                    <a:pt x="184" y="189"/>
                    <a:pt x="180" y="170"/>
                    <a:pt x="185" y="159"/>
                  </a:cubicBezTo>
                  <a:cubicBezTo>
                    <a:pt x="192" y="143"/>
                    <a:pt x="203" y="148"/>
                    <a:pt x="202" y="128"/>
                  </a:cubicBezTo>
                  <a:cubicBezTo>
                    <a:pt x="202" y="114"/>
                    <a:pt x="191" y="105"/>
                    <a:pt x="193" y="93"/>
                  </a:cubicBezTo>
                  <a:cubicBezTo>
                    <a:pt x="194" y="80"/>
                    <a:pt x="202" y="64"/>
                    <a:pt x="198" y="50"/>
                  </a:cubicBezTo>
                  <a:cubicBezTo>
                    <a:pt x="195" y="44"/>
                    <a:pt x="188" y="41"/>
                    <a:pt x="185" y="35"/>
                  </a:cubicBezTo>
                  <a:cubicBezTo>
                    <a:pt x="182" y="29"/>
                    <a:pt x="185" y="22"/>
                    <a:pt x="184" y="16"/>
                  </a:cubicBezTo>
                  <a:cubicBezTo>
                    <a:pt x="183" y="11"/>
                    <a:pt x="181" y="0"/>
                    <a:pt x="172" y="0"/>
                  </a:cubicBezTo>
                  <a:cubicBezTo>
                    <a:pt x="167" y="1"/>
                    <a:pt x="165" y="9"/>
                    <a:pt x="162" y="12"/>
                  </a:cubicBezTo>
                  <a:cubicBezTo>
                    <a:pt x="145" y="26"/>
                    <a:pt x="142" y="9"/>
                    <a:pt x="126" y="10"/>
                  </a:cubicBezTo>
                  <a:cubicBezTo>
                    <a:pt x="117" y="13"/>
                    <a:pt x="117" y="13"/>
                    <a:pt x="117" y="13"/>
                  </a:cubicBezTo>
                  <a:cubicBezTo>
                    <a:pt x="114" y="20"/>
                    <a:pt x="117" y="27"/>
                    <a:pt x="115" y="34"/>
                  </a:cubicBezTo>
                  <a:cubicBezTo>
                    <a:pt x="113" y="41"/>
                    <a:pt x="104" y="47"/>
                    <a:pt x="100" y="53"/>
                  </a:cubicBezTo>
                  <a:cubicBezTo>
                    <a:pt x="92" y="65"/>
                    <a:pt x="94" y="57"/>
                    <a:pt x="101" y="69"/>
                  </a:cubicBezTo>
                  <a:cubicBezTo>
                    <a:pt x="104" y="74"/>
                    <a:pt x="108" y="83"/>
                    <a:pt x="110" y="89"/>
                  </a:cubicBezTo>
                  <a:cubicBezTo>
                    <a:pt x="112" y="95"/>
                    <a:pt x="113" y="102"/>
                    <a:pt x="112" y="109"/>
                  </a:cubicBezTo>
                  <a:cubicBezTo>
                    <a:pt x="111" y="116"/>
                    <a:pt x="103" y="122"/>
                    <a:pt x="103" y="127"/>
                  </a:cubicBezTo>
                  <a:cubicBezTo>
                    <a:pt x="103" y="135"/>
                    <a:pt x="114" y="137"/>
                    <a:pt x="110" y="145"/>
                  </a:cubicBezTo>
                  <a:cubicBezTo>
                    <a:pt x="108" y="150"/>
                    <a:pt x="96" y="153"/>
                    <a:pt x="92" y="152"/>
                  </a:cubicBezTo>
                  <a:cubicBezTo>
                    <a:pt x="92" y="146"/>
                    <a:pt x="90" y="140"/>
                    <a:pt x="85" y="138"/>
                  </a:cubicBezTo>
                  <a:cubicBezTo>
                    <a:pt x="84" y="161"/>
                    <a:pt x="87" y="175"/>
                    <a:pt x="103" y="194"/>
                  </a:cubicBezTo>
                  <a:cubicBezTo>
                    <a:pt x="115" y="207"/>
                    <a:pt x="127" y="217"/>
                    <a:pt x="135" y="233"/>
                  </a:cubicBezTo>
                  <a:cubicBezTo>
                    <a:pt x="140" y="245"/>
                    <a:pt x="156" y="275"/>
                    <a:pt x="171" y="274"/>
                  </a:cubicBezTo>
                  <a:cubicBezTo>
                    <a:pt x="181" y="273"/>
                    <a:pt x="185" y="260"/>
                    <a:pt x="196" y="259"/>
                  </a:cubicBezTo>
                  <a:cubicBezTo>
                    <a:pt x="207" y="258"/>
                    <a:pt x="212" y="268"/>
                    <a:pt x="219" y="274"/>
                  </a:cubicBezTo>
                  <a:cubicBezTo>
                    <a:pt x="241" y="293"/>
                    <a:pt x="240" y="275"/>
                    <a:pt x="230" y="258"/>
                  </a:cubicBezTo>
                  <a:close/>
                  <a:moveTo>
                    <a:pt x="182" y="288"/>
                  </a:moveTo>
                  <a:cubicBezTo>
                    <a:pt x="175" y="282"/>
                    <a:pt x="146" y="285"/>
                    <a:pt x="146" y="285"/>
                  </a:cubicBezTo>
                  <a:cubicBezTo>
                    <a:pt x="167" y="313"/>
                    <a:pt x="167" y="313"/>
                    <a:pt x="167" y="313"/>
                  </a:cubicBezTo>
                  <a:cubicBezTo>
                    <a:pt x="180" y="357"/>
                    <a:pt x="180" y="357"/>
                    <a:pt x="180" y="357"/>
                  </a:cubicBezTo>
                  <a:cubicBezTo>
                    <a:pt x="180" y="357"/>
                    <a:pt x="192" y="347"/>
                    <a:pt x="197" y="339"/>
                  </a:cubicBezTo>
                  <a:cubicBezTo>
                    <a:pt x="203" y="331"/>
                    <a:pt x="191" y="315"/>
                    <a:pt x="191" y="315"/>
                  </a:cubicBezTo>
                  <a:cubicBezTo>
                    <a:pt x="191" y="315"/>
                    <a:pt x="189" y="295"/>
                    <a:pt x="182" y="288"/>
                  </a:cubicBezTo>
                  <a:close/>
                  <a:moveTo>
                    <a:pt x="232" y="434"/>
                  </a:moveTo>
                  <a:cubicBezTo>
                    <a:pt x="237" y="444"/>
                    <a:pt x="245" y="454"/>
                    <a:pt x="245" y="454"/>
                  </a:cubicBezTo>
                  <a:cubicBezTo>
                    <a:pt x="245" y="454"/>
                    <a:pt x="261" y="437"/>
                    <a:pt x="266" y="441"/>
                  </a:cubicBezTo>
                  <a:cubicBezTo>
                    <a:pt x="271" y="444"/>
                    <a:pt x="271" y="463"/>
                    <a:pt x="271" y="463"/>
                  </a:cubicBezTo>
                  <a:cubicBezTo>
                    <a:pt x="280" y="472"/>
                    <a:pt x="280" y="472"/>
                    <a:pt x="280" y="472"/>
                  </a:cubicBezTo>
                  <a:cubicBezTo>
                    <a:pt x="280" y="472"/>
                    <a:pt x="257" y="506"/>
                    <a:pt x="257" y="513"/>
                  </a:cubicBezTo>
                  <a:cubicBezTo>
                    <a:pt x="257" y="519"/>
                    <a:pt x="257" y="539"/>
                    <a:pt x="273" y="535"/>
                  </a:cubicBezTo>
                  <a:cubicBezTo>
                    <a:pt x="288" y="532"/>
                    <a:pt x="311" y="527"/>
                    <a:pt x="302" y="513"/>
                  </a:cubicBezTo>
                  <a:cubicBezTo>
                    <a:pt x="293" y="498"/>
                    <a:pt x="292" y="486"/>
                    <a:pt x="300" y="463"/>
                  </a:cubicBezTo>
                  <a:cubicBezTo>
                    <a:pt x="309" y="441"/>
                    <a:pt x="302" y="424"/>
                    <a:pt x="295" y="431"/>
                  </a:cubicBezTo>
                  <a:cubicBezTo>
                    <a:pt x="288" y="437"/>
                    <a:pt x="275" y="445"/>
                    <a:pt x="275" y="437"/>
                  </a:cubicBezTo>
                  <a:cubicBezTo>
                    <a:pt x="275" y="429"/>
                    <a:pt x="295" y="398"/>
                    <a:pt x="283" y="395"/>
                  </a:cubicBezTo>
                  <a:cubicBezTo>
                    <a:pt x="271" y="391"/>
                    <a:pt x="249" y="378"/>
                    <a:pt x="249" y="378"/>
                  </a:cubicBezTo>
                  <a:cubicBezTo>
                    <a:pt x="249" y="378"/>
                    <a:pt x="228" y="373"/>
                    <a:pt x="227" y="380"/>
                  </a:cubicBezTo>
                  <a:cubicBezTo>
                    <a:pt x="225" y="387"/>
                    <a:pt x="239" y="398"/>
                    <a:pt x="239" y="398"/>
                  </a:cubicBezTo>
                  <a:cubicBezTo>
                    <a:pt x="239" y="398"/>
                    <a:pt x="227" y="424"/>
                    <a:pt x="232" y="434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209">
              <a:extLst>
                <a:ext uri="{FF2B5EF4-FFF2-40B4-BE49-F238E27FC236}">
                  <a16:creationId xmlns:a16="http://schemas.microsoft.com/office/drawing/2014/main" id="{0E463801-2FE9-BE65-F6B5-4B8617FBC2E6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0" y="-13199"/>
              <a:ext cx="201" cy="427"/>
            </a:xfrm>
            <a:custGeom>
              <a:avLst/>
              <a:gdLst>
                <a:gd name="T0" fmla="*/ 62 w 85"/>
                <a:gd name="T1" fmla="*/ 181 h 181"/>
                <a:gd name="T2" fmla="*/ 62 w 85"/>
                <a:gd name="T3" fmla="*/ 148 h 181"/>
                <a:gd name="T4" fmla="*/ 75 w 85"/>
                <a:gd name="T5" fmla="*/ 118 h 181"/>
                <a:gd name="T6" fmla="*/ 75 w 85"/>
                <a:gd name="T7" fmla="*/ 68 h 181"/>
                <a:gd name="T8" fmla="*/ 84 w 85"/>
                <a:gd name="T9" fmla="*/ 43 h 181"/>
                <a:gd name="T10" fmla="*/ 85 w 85"/>
                <a:gd name="T11" fmla="*/ 17 h 181"/>
                <a:gd name="T12" fmla="*/ 56 w 85"/>
                <a:gd name="T13" fmla="*/ 0 h 181"/>
                <a:gd name="T14" fmla="*/ 39 w 85"/>
                <a:gd name="T15" fmla="*/ 20 h 181"/>
                <a:gd name="T16" fmla="*/ 8 w 85"/>
                <a:gd name="T17" fmla="*/ 114 h 181"/>
                <a:gd name="T18" fmla="*/ 34 w 85"/>
                <a:gd name="T19" fmla="*/ 147 h 181"/>
                <a:gd name="T20" fmla="*/ 62 w 85"/>
                <a:gd name="T21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181">
                  <a:moveTo>
                    <a:pt x="62" y="181"/>
                  </a:moveTo>
                  <a:cubicBezTo>
                    <a:pt x="62" y="148"/>
                    <a:pt x="62" y="148"/>
                    <a:pt x="62" y="148"/>
                  </a:cubicBezTo>
                  <a:cubicBezTo>
                    <a:pt x="62" y="148"/>
                    <a:pt x="75" y="139"/>
                    <a:pt x="75" y="118"/>
                  </a:cubicBezTo>
                  <a:cubicBezTo>
                    <a:pt x="75" y="97"/>
                    <a:pt x="75" y="68"/>
                    <a:pt x="75" y="68"/>
                  </a:cubicBezTo>
                  <a:cubicBezTo>
                    <a:pt x="75" y="68"/>
                    <a:pt x="85" y="55"/>
                    <a:pt x="84" y="43"/>
                  </a:cubicBezTo>
                  <a:cubicBezTo>
                    <a:pt x="83" y="31"/>
                    <a:pt x="85" y="17"/>
                    <a:pt x="85" y="17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0" y="102"/>
                    <a:pt x="8" y="114"/>
                  </a:cubicBezTo>
                  <a:cubicBezTo>
                    <a:pt x="16" y="126"/>
                    <a:pt x="34" y="147"/>
                    <a:pt x="34" y="147"/>
                  </a:cubicBezTo>
                  <a:cubicBezTo>
                    <a:pt x="34" y="147"/>
                    <a:pt x="47" y="181"/>
                    <a:pt x="62" y="181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chemeClr val="tx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210">
              <a:extLst>
                <a:ext uri="{FF2B5EF4-FFF2-40B4-BE49-F238E27FC236}">
                  <a16:creationId xmlns:a16="http://schemas.microsoft.com/office/drawing/2014/main" id="{44DDB9B9-D0F5-6402-5460-A3BA925AB02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064" y="-9139"/>
              <a:ext cx="584" cy="555"/>
            </a:xfrm>
            <a:custGeom>
              <a:avLst/>
              <a:gdLst>
                <a:gd name="T0" fmla="*/ 21 w 247"/>
                <a:gd name="T1" fmla="*/ 14 h 235"/>
                <a:gd name="T2" fmla="*/ 9 w 247"/>
                <a:gd name="T3" fmla="*/ 0 h 235"/>
                <a:gd name="T4" fmla="*/ 2 w 247"/>
                <a:gd name="T5" fmla="*/ 16 h 235"/>
                <a:gd name="T6" fmla="*/ 15 w 247"/>
                <a:gd name="T7" fmla="*/ 32 h 235"/>
                <a:gd name="T8" fmla="*/ 21 w 247"/>
                <a:gd name="T9" fmla="*/ 14 h 235"/>
                <a:gd name="T10" fmla="*/ 0 w 247"/>
                <a:gd name="T11" fmla="*/ 84 h 235"/>
                <a:gd name="T12" fmla="*/ 13 w 247"/>
                <a:gd name="T13" fmla="*/ 89 h 235"/>
                <a:gd name="T14" fmla="*/ 22 w 247"/>
                <a:gd name="T15" fmla="*/ 67 h 235"/>
                <a:gd name="T16" fmla="*/ 0 w 247"/>
                <a:gd name="T17" fmla="*/ 70 h 235"/>
                <a:gd name="T18" fmla="*/ 0 w 247"/>
                <a:gd name="T19" fmla="*/ 84 h 235"/>
                <a:gd name="T20" fmla="*/ 51 w 247"/>
                <a:gd name="T21" fmla="*/ 81 h 235"/>
                <a:gd name="T22" fmla="*/ 25 w 247"/>
                <a:gd name="T23" fmla="*/ 81 h 235"/>
                <a:gd name="T24" fmla="*/ 26 w 247"/>
                <a:gd name="T25" fmla="*/ 97 h 235"/>
                <a:gd name="T26" fmla="*/ 53 w 247"/>
                <a:gd name="T27" fmla="*/ 91 h 235"/>
                <a:gd name="T28" fmla="*/ 51 w 247"/>
                <a:gd name="T29" fmla="*/ 81 h 235"/>
                <a:gd name="T30" fmla="*/ 39 w 247"/>
                <a:gd name="T31" fmla="*/ 126 h 235"/>
                <a:gd name="T32" fmla="*/ 64 w 247"/>
                <a:gd name="T33" fmla="*/ 123 h 235"/>
                <a:gd name="T34" fmla="*/ 32 w 247"/>
                <a:gd name="T35" fmla="*/ 103 h 235"/>
                <a:gd name="T36" fmla="*/ 39 w 247"/>
                <a:gd name="T37" fmla="*/ 126 h 235"/>
                <a:gd name="T38" fmla="*/ 163 w 247"/>
                <a:gd name="T39" fmla="*/ 149 h 235"/>
                <a:gd name="T40" fmla="*/ 128 w 247"/>
                <a:gd name="T41" fmla="*/ 142 h 235"/>
                <a:gd name="T42" fmla="*/ 142 w 247"/>
                <a:gd name="T43" fmla="*/ 169 h 235"/>
                <a:gd name="T44" fmla="*/ 183 w 247"/>
                <a:gd name="T45" fmla="*/ 172 h 235"/>
                <a:gd name="T46" fmla="*/ 163 w 247"/>
                <a:gd name="T47" fmla="*/ 149 h 235"/>
                <a:gd name="T48" fmla="*/ 205 w 247"/>
                <a:gd name="T49" fmla="*/ 193 h 235"/>
                <a:gd name="T50" fmla="*/ 238 w 247"/>
                <a:gd name="T51" fmla="*/ 235 h 235"/>
                <a:gd name="T52" fmla="*/ 247 w 247"/>
                <a:gd name="T53" fmla="*/ 215 h 235"/>
                <a:gd name="T54" fmla="*/ 205 w 247"/>
                <a:gd name="T55" fmla="*/ 193 h 235"/>
                <a:gd name="T56" fmla="*/ 189 w 247"/>
                <a:gd name="T57" fmla="*/ 84 h 235"/>
                <a:gd name="T58" fmla="*/ 184 w 247"/>
                <a:gd name="T59" fmla="*/ 130 h 235"/>
                <a:gd name="T60" fmla="*/ 218 w 247"/>
                <a:gd name="T61" fmla="*/ 160 h 235"/>
                <a:gd name="T62" fmla="*/ 189 w 247"/>
                <a:gd name="T63" fmla="*/ 84 h 235"/>
                <a:gd name="T64" fmla="*/ 81 w 247"/>
                <a:gd name="T65" fmla="*/ 41 h 235"/>
                <a:gd name="T66" fmla="*/ 138 w 247"/>
                <a:gd name="T67" fmla="*/ 102 h 235"/>
                <a:gd name="T68" fmla="*/ 81 w 247"/>
                <a:gd name="T69" fmla="*/ 4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7" h="235">
                  <a:moveTo>
                    <a:pt x="21" y="14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5" y="32"/>
                    <a:pt x="15" y="32"/>
                    <a:pt x="15" y="32"/>
                  </a:cubicBezTo>
                  <a:lnTo>
                    <a:pt x="21" y="14"/>
                  </a:lnTo>
                  <a:close/>
                  <a:moveTo>
                    <a:pt x="0" y="84"/>
                  </a:moveTo>
                  <a:cubicBezTo>
                    <a:pt x="13" y="89"/>
                    <a:pt x="13" y="89"/>
                    <a:pt x="13" y="89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0" y="70"/>
                    <a:pt x="0" y="70"/>
                    <a:pt x="0" y="70"/>
                  </a:cubicBezTo>
                  <a:lnTo>
                    <a:pt x="0" y="84"/>
                  </a:lnTo>
                  <a:close/>
                  <a:moveTo>
                    <a:pt x="51" y="81"/>
                  </a:moveTo>
                  <a:cubicBezTo>
                    <a:pt x="25" y="81"/>
                    <a:pt x="25" y="81"/>
                    <a:pt x="25" y="81"/>
                  </a:cubicBezTo>
                  <a:cubicBezTo>
                    <a:pt x="26" y="97"/>
                    <a:pt x="26" y="97"/>
                    <a:pt x="26" y="97"/>
                  </a:cubicBezTo>
                  <a:cubicBezTo>
                    <a:pt x="53" y="91"/>
                    <a:pt x="53" y="91"/>
                    <a:pt x="53" y="91"/>
                  </a:cubicBezTo>
                  <a:lnTo>
                    <a:pt x="51" y="81"/>
                  </a:lnTo>
                  <a:close/>
                  <a:moveTo>
                    <a:pt x="39" y="126"/>
                  </a:moveTo>
                  <a:cubicBezTo>
                    <a:pt x="64" y="123"/>
                    <a:pt x="64" y="123"/>
                    <a:pt x="64" y="123"/>
                  </a:cubicBezTo>
                  <a:cubicBezTo>
                    <a:pt x="32" y="103"/>
                    <a:pt x="32" y="103"/>
                    <a:pt x="32" y="103"/>
                  </a:cubicBezTo>
                  <a:lnTo>
                    <a:pt x="39" y="126"/>
                  </a:lnTo>
                  <a:close/>
                  <a:moveTo>
                    <a:pt x="163" y="149"/>
                  </a:moveTo>
                  <a:cubicBezTo>
                    <a:pt x="145" y="139"/>
                    <a:pt x="128" y="142"/>
                    <a:pt x="128" y="142"/>
                  </a:cubicBezTo>
                  <a:cubicBezTo>
                    <a:pt x="128" y="142"/>
                    <a:pt x="124" y="161"/>
                    <a:pt x="142" y="169"/>
                  </a:cubicBezTo>
                  <a:cubicBezTo>
                    <a:pt x="168" y="180"/>
                    <a:pt x="183" y="172"/>
                    <a:pt x="183" y="172"/>
                  </a:cubicBezTo>
                  <a:cubicBezTo>
                    <a:pt x="183" y="172"/>
                    <a:pt x="182" y="160"/>
                    <a:pt x="163" y="149"/>
                  </a:cubicBezTo>
                  <a:close/>
                  <a:moveTo>
                    <a:pt x="205" y="193"/>
                  </a:moveTo>
                  <a:cubicBezTo>
                    <a:pt x="238" y="235"/>
                    <a:pt x="238" y="235"/>
                    <a:pt x="238" y="235"/>
                  </a:cubicBezTo>
                  <a:cubicBezTo>
                    <a:pt x="247" y="215"/>
                    <a:pt x="247" y="215"/>
                    <a:pt x="247" y="215"/>
                  </a:cubicBezTo>
                  <a:lnTo>
                    <a:pt x="205" y="193"/>
                  </a:lnTo>
                  <a:close/>
                  <a:moveTo>
                    <a:pt x="189" y="84"/>
                  </a:moveTo>
                  <a:cubicBezTo>
                    <a:pt x="189" y="84"/>
                    <a:pt x="178" y="119"/>
                    <a:pt x="184" y="130"/>
                  </a:cubicBezTo>
                  <a:cubicBezTo>
                    <a:pt x="191" y="140"/>
                    <a:pt x="218" y="160"/>
                    <a:pt x="218" y="160"/>
                  </a:cubicBezTo>
                  <a:lnTo>
                    <a:pt x="189" y="84"/>
                  </a:lnTo>
                  <a:close/>
                  <a:moveTo>
                    <a:pt x="81" y="41"/>
                  </a:moveTo>
                  <a:cubicBezTo>
                    <a:pt x="75" y="51"/>
                    <a:pt x="130" y="104"/>
                    <a:pt x="138" y="102"/>
                  </a:cubicBezTo>
                  <a:cubicBezTo>
                    <a:pt x="154" y="100"/>
                    <a:pt x="86" y="30"/>
                    <a:pt x="81" y="41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211">
              <a:extLst>
                <a:ext uri="{FF2B5EF4-FFF2-40B4-BE49-F238E27FC236}">
                  <a16:creationId xmlns:a16="http://schemas.microsoft.com/office/drawing/2014/main" id="{653D2EE8-76B8-43E0-D133-601E7B088B38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9" y="-10840"/>
              <a:ext cx="489" cy="693"/>
            </a:xfrm>
            <a:custGeom>
              <a:avLst/>
              <a:gdLst>
                <a:gd name="T0" fmla="*/ 1 w 207"/>
                <a:gd name="T1" fmla="*/ 30 h 293"/>
                <a:gd name="T2" fmla="*/ 6 w 207"/>
                <a:gd name="T3" fmla="*/ 91 h 293"/>
                <a:gd name="T4" fmla="*/ 38 w 207"/>
                <a:gd name="T5" fmla="*/ 99 h 293"/>
                <a:gd name="T6" fmla="*/ 39 w 207"/>
                <a:gd name="T7" fmla="*/ 153 h 293"/>
                <a:gd name="T8" fmla="*/ 62 w 207"/>
                <a:gd name="T9" fmla="*/ 153 h 293"/>
                <a:gd name="T10" fmla="*/ 65 w 207"/>
                <a:gd name="T11" fmla="*/ 203 h 293"/>
                <a:gd name="T12" fmla="*/ 114 w 207"/>
                <a:gd name="T13" fmla="*/ 236 h 293"/>
                <a:gd name="T14" fmla="*/ 121 w 207"/>
                <a:gd name="T15" fmla="*/ 258 h 293"/>
                <a:gd name="T16" fmla="*/ 153 w 207"/>
                <a:gd name="T17" fmla="*/ 271 h 293"/>
                <a:gd name="T18" fmla="*/ 169 w 207"/>
                <a:gd name="T19" fmla="*/ 293 h 293"/>
                <a:gd name="T20" fmla="*/ 202 w 207"/>
                <a:gd name="T21" fmla="*/ 290 h 293"/>
                <a:gd name="T22" fmla="*/ 205 w 207"/>
                <a:gd name="T23" fmla="*/ 252 h 293"/>
                <a:gd name="T24" fmla="*/ 172 w 207"/>
                <a:gd name="T25" fmla="*/ 210 h 293"/>
                <a:gd name="T26" fmla="*/ 170 w 207"/>
                <a:gd name="T27" fmla="*/ 184 h 293"/>
                <a:gd name="T28" fmla="*/ 168 w 207"/>
                <a:gd name="T29" fmla="*/ 160 h 293"/>
                <a:gd name="T30" fmla="*/ 167 w 207"/>
                <a:gd name="T31" fmla="*/ 87 h 293"/>
                <a:gd name="T32" fmla="*/ 115 w 207"/>
                <a:gd name="T33" fmla="*/ 41 h 293"/>
                <a:gd name="T34" fmla="*/ 103 w 207"/>
                <a:gd name="T35" fmla="*/ 31 h 293"/>
                <a:gd name="T36" fmla="*/ 91 w 207"/>
                <a:gd name="T37" fmla="*/ 55 h 293"/>
                <a:gd name="T38" fmla="*/ 72 w 207"/>
                <a:gd name="T39" fmla="*/ 47 h 293"/>
                <a:gd name="T40" fmla="*/ 49 w 207"/>
                <a:gd name="T41" fmla="*/ 54 h 293"/>
                <a:gd name="T42" fmla="*/ 52 w 207"/>
                <a:gd name="T43" fmla="*/ 32 h 293"/>
                <a:gd name="T44" fmla="*/ 45 w 207"/>
                <a:gd name="T45" fmla="*/ 28 h 293"/>
                <a:gd name="T46" fmla="*/ 39 w 207"/>
                <a:gd name="T47" fmla="*/ 16 h 293"/>
                <a:gd name="T48" fmla="*/ 21 w 207"/>
                <a:gd name="T49" fmla="*/ 12 h 293"/>
                <a:gd name="T50" fmla="*/ 12 w 207"/>
                <a:gd name="T51" fmla="*/ 1 h 293"/>
                <a:gd name="T52" fmla="*/ 7 w 207"/>
                <a:gd name="T53" fmla="*/ 17 h 293"/>
                <a:gd name="T54" fmla="*/ 0 w 207"/>
                <a:gd name="T55" fmla="*/ 29 h 293"/>
                <a:gd name="T56" fmla="*/ 1 w 207"/>
                <a:gd name="T57" fmla="*/ 3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7" h="293">
                  <a:moveTo>
                    <a:pt x="1" y="30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38" y="79"/>
                    <a:pt x="38" y="99"/>
                  </a:cubicBezTo>
                  <a:cubicBezTo>
                    <a:pt x="37" y="119"/>
                    <a:pt x="28" y="141"/>
                    <a:pt x="39" y="153"/>
                  </a:cubicBezTo>
                  <a:cubicBezTo>
                    <a:pt x="50" y="166"/>
                    <a:pt x="62" y="153"/>
                    <a:pt x="62" y="153"/>
                  </a:cubicBezTo>
                  <a:cubicBezTo>
                    <a:pt x="62" y="153"/>
                    <a:pt x="55" y="194"/>
                    <a:pt x="65" y="203"/>
                  </a:cubicBezTo>
                  <a:cubicBezTo>
                    <a:pt x="75" y="212"/>
                    <a:pt x="114" y="236"/>
                    <a:pt x="114" y="236"/>
                  </a:cubicBezTo>
                  <a:cubicBezTo>
                    <a:pt x="114" y="236"/>
                    <a:pt x="116" y="256"/>
                    <a:pt x="121" y="258"/>
                  </a:cubicBezTo>
                  <a:cubicBezTo>
                    <a:pt x="126" y="259"/>
                    <a:pt x="153" y="271"/>
                    <a:pt x="153" y="271"/>
                  </a:cubicBezTo>
                  <a:cubicBezTo>
                    <a:pt x="169" y="293"/>
                    <a:pt x="169" y="293"/>
                    <a:pt x="169" y="293"/>
                  </a:cubicBezTo>
                  <a:cubicBezTo>
                    <a:pt x="202" y="290"/>
                    <a:pt x="202" y="290"/>
                    <a:pt x="202" y="290"/>
                  </a:cubicBezTo>
                  <a:cubicBezTo>
                    <a:pt x="202" y="290"/>
                    <a:pt x="207" y="270"/>
                    <a:pt x="205" y="252"/>
                  </a:cubicBezTo>
                  <a:cubicBezTo>
                    <a:pt x="203" y="235"/>
                    <a:pt x="173" y="215"/>
                    <a:pt x="172" y="210"/>
                  </a:cubicBezTo>
                  <a:cubicBezTo>
                    <a:pt x="171" y="205"/>
                    <a:pt x="177" y="193"/>
                    <a:pt x="170" y="184"/>
                  </a:cubicBezTo>
                  <a:cubicBezTo>
                    <a:pt x="162" y="175"/>
                    <a:pt x="168" y="173"/>
                    <a:pt x="168" y="160"/>
                  </a:cubicBezTo>
                  <a:cubicBezTo>
                    <a:pt x="169" y="148"/>
                    <a:pt x="172" y="109"/>
                    <a:pt x="167" y="87"/>
                  </a:cubicBezTo>
                  <a:cubicBezTo>
                    <a:pt x="163" y="65"/>
                    <a:pt x="121" y="50"/>
                    <a:pt x="115" y="41"/>
                  </a:cubicBezTo>
                  <a:cubicBezTo>
                    <a:pt x="113" y="38"/>
                    <a:pt x="108" y="34"/>
                    <a:pt x="103" y="31"/>
                  </a:cubicBezTo>
                  <a:cubicBezTo>
                    <a:pt x="100" y="39"/>
                    <a:pt x="95" y="50"/>
                    <a:pt x="91" y="55"/>
                  </a:cubicBezTo>
                  <a:cubicBezTo>
                    <a:pt x="85" y="63"/>
                    <a:pt x="83" y="46"/>
                    <a:pt x="72" y="47"/>
                  </a:cubicBezTo>
                  <a:cubicBezTo>
                    <a:pt x="61" y="48"/>
                    <a:pt x="62" y="58"/>
                    <a:pt x="49" y="54"/>
                  </a:cubicBezTo>
                  <a:cubicBezTo>
                    <a:pt x="36" y="50"/>
                    <a:pt x="52" y="38"/>
                    <a:pt x="52" y="32"/>
                  </a:cubicBezTo>
                  <a:cubicBezTo>
                    <a:pt x="52" y="26"/>
                    <a:pt x="45" y="28"/>
                    <a:pt x="45" y="28"/>
                  </a:cubicBezTo>
                  <a:cubicBezTo>
                    <a:pt x="45" y="28"/>
                    <a:pt x="46" y="20"/>
                    <a:pt x="39" y="16"/>
                  </a:cubicBezTo>
                  <a:cubicBezTo>
                    <a:pt x="32" y="12"/>
                    <a:pt x="21" y="12"/>
                    <a:pt x="21" y="12"/>
                  </a:cubicBezTo>
                  <a:cubicBezTo>
                    <a:pt x="21" y="12"/>
                    <a:pt x="19" y="0"/>
                    <a:pt x="12" y="1"/>
                  </a:cubicBezTo>
                  <a:cubicBezTo>
                    <a:pt x="5" y="2"/>
                    <a:pt x="6" y="8"/>
                    <a:pt x="7" y="17"/>
                  </a:cubicBezTo>
                  <a:cubicBezTo>
                    <a:pt x="7" y="21"/>
                    <a:pt x="4" y="25"/>
                    <a:pt x="0" y="29"/>
                  </a:cubicBezTo>
                  <a:cubicBezTo>
                    <a:pt x="1" y="29"/>
                    <a:pt x="1" y="30"/>
                    <a:pt x="1" y="30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212">
              <a:extLst>
                <a:ext uri="{FF2B5EF4-FFF2-40B4-BE49-F238E27FC236}">
                  <a16:creationId xmlns:a16="http://schemas.microsoft.com/office/drawing/2014/main" id="{98FE0440-6EE8-6189-4314-1CDCB4291C30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1" y="-11832"/>
              <a:ext cx="596" cy="529"/>
            </a:xfrm>
            <a:custGeom>
              <a:avLst/>
              <a:gdLst>
                <a:gd name="T0" fmla="*/ 214 w 252"/>
                <a:gd name="T1" fmla="*/ 0 h 224"/>
                <a:gd name="T2" fmla="*/ 206 w 252"/>
                <a:gd name="T3" fmla="*/ 9 h 224"/>
                <a:gd name="T4" fmla="*/ 184 w 252"/>
                <a:gd name="T5" fmla="*/ 0 h 224"/>
                <a:gd name="T6" fmla="*/ 175 w 252"/>
                <a:gd name="T7" fmla="*/ 8 h 224"/>
                <a:gd name="T8" fmla="*/ 164 w 252"/>
                <a:gd name="T9" fmla="*/ 16 h 224"/>
                <a:gd name="T10" fmla="*/ 168 w 252"/>
                <a:gd name="T11" fmla="*/ 36 h 224"/>
                <a:gd name="T12" fmla="*/ 151 w 252"/>
                <a:gd name="T13" fmla="*/ 24 h 224"/>
                <a:gd name="T14" fmla="*/ 131 w 252"/>
                <a:gd name="T15" fmla="*/ 22 h 224"/>
                <a:gd name="T16" fmla="*/ 128 w 252"/>
                <a:gd name="T17" fmla="*/ 13 h 224"/>
                <a:gd name="T18" fmla="*/ 123 w 252"/>
                <a:gd name="T19" fmla="*/ 16 h 224"/>
                <a:gd name="T20" fmla="*/ 101 w 252"/>
                <a:gd name="T21" fmla="*/ 8 h 224"/>
                <a:gd name="T22" fmla="*/ 74 w 252"/>
                <a:gd name="T23" fmla="*/ 15 h 224"/>
                <a:gd name="T24" fmla="*/ 46 w 252"/>
                <a:gd name="T25" fmla="*/ 10 h 224"/>
                <a:gd name="T26" fmla="*/ 19 w 252"/>
                <a:gd name="T27" fmla="*/ 34 h 224"/>
                <a:gd name="T28" fmla="*/ 0 w 252"/>
                <a:gd name="T29" fmla="*/ 54 h 224"/>
                <a:gd name="T30" fmla="*/ 2 w 252"/>
                <a:gd name="T31" fmla="*/ 79 h 224"/>
                <a:gd name="T32" fmla="*/ 9 w 252"/>
                <a:gd name="T33" fmla="*/ 85 h 224"/>
                <a:gd name="T34" fmla="*/ 9 w 252"/>
                <a:gd name="T35" fmla="*/ 104 h 224"/>
                <a:gd name="T36" fmla="*/ 20 w 252"/>
                <a:gd name="T37" fmla="*/ 114 h 224"/>
                <a:gd name="T38" fmla="*/ 17 w 252"/>
                <a:gd name="T39" fmla="*/ 133 h 224"/>
                <a:gd name="T40" fmla="*/ 26 w 252"/>
                <a:gd name="T41" fmla="*/ 139 h 224"/>
                <a:gd name="T42" fmla="*/ 27 w 252"/>
                <a:gd name="T43" fmla="*/ 168 h 224"/>
                <a:gd name="T44" fmla="*/ 46 w 252"/>
                <a:gd name="T45" fmla="*/ 191 h 224"/>
                <a:gd name="T46" fmla="*/ 59 w 252"/>
                <a:gd name="T47" fmla="*/ 178 h 224"/>
                <a:gd name="T48" fmla="*/ 68 w 252"/>
                <a:gd name="T49" fmla="*/ 204 h 224"/>
                <a:gd name="T50" fmla="*/ 91 w 252"/>
                <a:gd name="T51" fmla="*/ 208 h 224"/>
                <a:gd name="T52" fmla="*/ 97 w 252"/>
                <a:gd name="T53" fmla="*/ 223 h 224"/>
                <a:gd name="T54" fmla="*/ 110 w 252"/>
                <a:gd name="T55" fmla="*/ 224 h 224"/>
                <a:gd name="T56" fmla="*/ 139 w 252"/>
                <a:gd name="T57" fmla="*/ 213 h 224"/>
                <a:gd name="T58" fmla="*/ 135 w 252"/>
                <a:gd name="T59" fmla="*/ 197 h 224"/>
                <a:gd name="T60" fmla="*/ 153 w 252"/>
                <a:gd name="T61" fmla="*/ 197 h 224"/>
                <a:gd name="T62" fmla="*/ 169 w 252"/>
                <a:gd name="T63" fmla="*/ 190 h 224"/>
                <a:gd name="T64" fmla="*/ 193 w 252"/>
                <a:gd name="T65" fmla="*/ 205 h 224"/>
                <a:gd name="T66" fmla="*/ 183 w 252"/>
                <a:gd name="T67" fmla="*/ 186 h 224"/>
                <a:gd name="T68" fmla="*/ 175 w 252"/>
                <a:gd name="T69" fmla="*/ 154 h 224"/>
                <a:gd name="T70" fmla="*/ 204 w 252"/>
                <a:gd name="T71" fmla="*/ 152 h 224"/>
                <a:gd name="T72" fmla="*/ 201 w 252"/>
                <a:gd name="T73" fmla="*/ 138 h 224"/>
                <a:gd name="T74" fmla="*/ 222 w 252"/>
                <a:gd name="T75" fmla="*/ 137 h 224"/>
                <a:gd name="T76" fmla="*/ 228 w 252"/>
                <a:gd name="T77" fmla="*/ 123 h 224"/>
                <a:gd name="T78" fmla="*/ 245 w 252"/>
                <a:gd name="T79" fmla="*/ 125 h 224"/>
                <a:gd name="T80" fmla="*/ 248 w 252"/>
                <a:gd name="T81" fmla="*/ 111 h 224"/>
                <a:gd name="T82" fmla="*/ 237 w 252"/>
                <a:gd name="T83" fmla="*/ 72 h 224"/>
                <a:gd name="T84" fmla="*/ 252 w 252"/>
                <a:gd name="T85" fmla="*/ 56 h 224"/>
                <a:gd name="T86" fmla="*/ 231 w 252"/>
                <a:gd name="T87" fmla="*/ 32 h 224"/>
                <a:gd name="T88" fmla="*/ 231 w 252"/>
                <a:gd name="T89" fmla="*/ 4 h 224"/>
                <a:gd name="T90" fmla="*/ 214 w 252"/>
                <a:gd name="T91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52" h="224">
                  <a:moveTo>
                    <a:pt x="214" y="0"/>
                  </a:moveTo>
                  <a:cubicBezTo>
                    <a:pt x="206" y="9"/>
                    <a:pt x="206" y="9"/>
                    <a:pt x="206" y="9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75" y="8"/>
                    <a:pt x="175" y="8"/>
                    <a:pt x="175" y="8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64" y="16"/>
                    <a:pt x="176" y="28"/>
                    <a:pt x="168" y="36"/>
                  </a:cubicBezTo>
                  <a:cubicBezTo>
                    <a:pt x="160" y="44"/>
                    <a:pt x="151" y="24"/>
                    <a:pt x="151" y="24"/>
                  </a:cubicBezTo>
                  <a:cubicBezTo>
                    <a:pt x="151" y="24"/>
                    <a:pt x="135" y="23"/>
                    <a:pt x="131" y="22"/>
                  </a:cubicBezTo>
                  <a:cubicBezTo>
                    <a:pt x="128" y="21"/>
                    <a:pt x="128" y="16"/>
                    <a:pt x="128" y="13"/>
                  </a:cubicBezTo>
                  <a:cubicBezTo>
                    <a:pt x="125" y="15"/>
                    <a:pt x="123" y="16"/>
                    <a:pt x="123" y="16"/>
                  </a:cubicBezTo>
                  <a:cubicBezTo>
                    <a:pt x="123" y="16"/>
                    <a:pt x="106" y="7"/>
                    <a:pt x="101" y="8"/>
                  </a:cubicBezTo>
                  <a:cubicBezTo>
                    <a:pt x="96" y="9"/>
                    <a:pt x="74" y="15"/>
                    <a:pt x="74" y="15"/>
                  </a:cubicBezTo>
                  <a:cubicBezTo>
                    <a:pt x="74" y="15"/>
                    <a:pt x="73" y="5"/>
                    <a:pt x="46" y="10"/>
                  </a:cubicBezTo>
                  <a:cubicBezTo>
                    <a:pt x="19" y="15"/>
                    <a:pt x="19" y="34"/>
                    <a:pt x="19" y="3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20" y="114"/>
                    <a:pt x="20" y="114"/>
                    <a:pt x="20" y="114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20" y="134"/>
                    <a:pt x="23" y="136"/>
                    <a:pt x="26" y="139"/>
                  </a:cubicBezTo>
                  <a:cubicBezTo>
                    <a:pt x="41" y="156"/>
                    <a:pt x="27" y="168"/>
                    <a:pt x="27" y="168"/>
                  </a:cubicBezTo>
                  <a:cubicBezTo>
                    <a:pt x="27" y="168"/>
                    <a:pt x="36" y="190"/>
                    <a:pt x="46" y="191"/>
                  </a:cubicBezTo>
                  <a:cubicBezTo>
                    <a:pt x="56" y="191"/>
                    <a:pt x="59" y="178"/>
                    <a:pt x="59" y="178"/>
                  </a:cubicBezTo>
                  <a:cubicBezTo>
                    <a:pt x="59" y="178"/>
                    <a:pt x="58" y="202"/>
                    <a:pt x="68" y="204"/>
                  </a:cubicBezTo>
                  <a:cubicBezTo>
                    <a:pt x="79" y="206"/>
                    <a:pt x="89" y="198"/>
                    <a:pt x="91" y="208"/>
                  </a:cubicBezTo>
                  <a:cubicBezTo>
                    <a:pt x="92" y="212"/>
                    <a:pt x="95" y="218"/>
                    <a:pt x="97" y="223"/>
                  </a:cubicBezTo>
                  <a:cubicBezTo>
                    <a:pt x="110" y="224"/>
                    <a:pt x="110" y="224"/>
                    <a:pt x="110" y="224"/>
                  </a:cubicBezTo>
                  <a:cubicBezTo>
                    <a:pt x="112" y="219"/>
                    <a:pt x="124" y="214"/>
                    <a:pt x="139" y="213"/>
                  </a:cubicBezTo>
                  <a:cubicBezTo>
                    <a:pt x="159" y="211"/>
                    <a:pt x="135" y="197"/>
                    <a:pt x="135" y="197"/>
                  </a:cubicBezTo>
                  <a:cubicBezTo>
                    <a:pt x="135" y="197"/>
                    <a:pt x="149" y="197"/>
                    <a:pt x="153" y="197"/>
                  </a:cubicBezTo>
                  <a:cubicBezTo>
                    <a:pt x="157" y="197"/>
                    <a:pt x="159" y="190"/>
                    <a:pt x="169" y="190"/>
                  </a:cubicBezTo>
                  <a:cubicBezTo>
                    <a:pt x="179" y="190"/>
                    <a:pt x="186" y="206"/>
                    <a:pt x="193" y="205"/>
                  </a:cubicBezTo>
                  <a:cubicBezTo>
                    <a:pt x="200" y="204"/>
                    <a:pt x="193" y="194"/>
                    <a:pt x="183" y="186"/>
                  </a:cubicBezTo>
                  <a:cubicBezTo>
                    <a:pt x="173" y="178"/>
                    <a:pt x="173" y="160"/>
                    <a:pt x="175" y="154"/>
                  </a:cubicBezTo>
                  <a:cubicBezTo>
                    <a:pt x="177" y="148"/>
                    <a:pt x="204" y="152"/>
                    <a:pt x="204" y="152"/>
                  </a:cubicBezTo>
                  <a:cubicBezTo>
                    <a:pt x="201" y="138"/>
                    <a:pt x="201" y="138"/>
                    <a:pt x="201" y="138"/>
                  </a:cubicBezTo>
                  <a:cubicBezTo>
                    <a:pt x="222" y="137"/>
                    <a:pt x="222" y="137"/>
                    <a:pt x="222" y="137"/>
                  </a:cubicBezTo>
                  <a:cubicBezTo>
                    <a:pt x="222" y="137"/>
                    <a:pt x="223" y="126"/>
                    <a:pt x="228" y="123"/>
                  </a:cubicBezTo>
                  <a:cubicBezTo>
                    <a:pt x="233" y="120"/>
                    <a:pt x="245" y="125"/>
                    <a:pt x="245" y="125"/>
                  </a:cubicBezTo>
                  <a:cubicBezTo>
                    <a:pt x="248" y="111"/>
                    <a:pt x="248" y="111"/>
                    <a:pt x="248" y="111"/>
                  </a:cubicBezTo>
                  <a:cubicBezTo>
                    <a:pt x="248" y="111"/>
                    <a:pt x="238" y="75"/>
                    <a:pt x="237" y="72"/>
                  </a:cubicBezTo>
                  <a:cubicBezTo>
                    <a:pt x="236" y="69"/>
                    <a:pt x="252" y="69"/>
                    <a:pt x="252" y="56"/>
                  </a:cubicBezTo>
                  <a:cubicBezTo>
                    <a:pt x="252" y="43"/>
                    <a:pt x="231" y="32"/>
                    <a:pt x="231" y="32"/>
                  </a:cubicBezTo>
                  <a:cubicBezTo>
                    <a:pt x="231" y="4"/>
                    <a:pt x="231" y="4"/>
                    <a:pt x="231" y="4"/>
                  </a:cubicBezTo>
                  <a:lnTo>
                    <a:pt x="214" y="0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213">
              <a:extLst>
                <a:ext uri="{FF2B5EF4-FFF2-40B4-BE49-F238E27FC236}">
                  <a16:creationId xmlns:a16="http://schemas.microsoft.com/office/drawing/2014/main" id="{944299AD-3163-438F-A895-A5E5683B15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26" y="-14872"/>
              <a:ext cx="452" cy="671"/>
            </a:xfrm>
            <a:custGeom>
              <a:avLst/>
              <a:gdLst>
                <a:gd name="T0" fmla="*/ 100 w 191"/>
                <a:gd name="T1" fmla="*/ 267 h 284"/>
                <a:gd name="T2" fmla="*/ 101 w 191"/>
                <a:gd name="T3" fmla="*/ 284 h 284"/>
                <a:gd name="T4" fmla="*/ 100 w 191"/>
                <a:gd name="T5" fmla="*/ 267 h 284"/>
                <a:gd name="T6" fmla="*/ 185 w 191"/>
                <a:gd name="T7" fmla="*/ 165 h 284"/>
                <a:gd name="T8" fmla="*/ 166 w 191"/>
                <a:gd name="T9" fmla="*/ 132 h 284"/>
                <a:gd name="T10" fmla="*/ 162 w 191"/>
                <a:gd name="T11" fmla="*/ 101 h 284"/>
                <a:gd name="T12" fmla="*/ 111 w 191"/>
                <a:gd name="T13" fmla="*/ 50 h 284"/>
                <a:gd name="T14" fmla="*/ 98 w 191"/>
                <a:gd name="T15" fmla="*/ 45 h 284"/>
                <a:gd name="T16" fmla="*/ 82 w 191"/>
                <a:gd name="T17" fmla="*/ 21 h 284"/>
                <a:gd name="T18" fmla="*/ 64 w 191"/>
                <a:gd name="T19" fmla="*/ 0 h 284"/>
                <a:gd name="T20" fmla="*/ 54 w 191"/>
                <a:gd name="T21" fmla="*/ 10 h 284"/>
                <a:gd name="T22" fmla="*/ 16 w 191"/>
                <a:gd name="T23" fmla="*/ 16 h 284"/>
                <a:gd name="T24" fmla="*/ 13 w 191"/>
                <a:gd name="T25" fmla="*/ 29 h 284"/>
                <a:gd name="T26" fmla="*/ 0 w 191"/>
                <a:gd name="T27" fmla="*/ 39 h 284"/>
                <a:gd name="T28" fmla="*/ 8 w 191"/>
                <a:gd name="T29" fmla="*/ 56 h 284"/>
                <a:gd name="T30" fmla="*/ 30 w 191"/>
                <a:gd name="T31" fmla="*/ 64 h 284"/>
                <a:gd name="T32" fmla="*/ 41 w 191"/>
                <a:gd name="T33" fmla="*/ 89 h 284"/>
                <a:gd name="T34" fmla="*/ 6 w 191"/>
                <a:gd name="T35" fmla="*/ 82 h 284"/>
                <a:gd name="T36" fmla="*/ 27 w 191"/>
                <a:gd name="T37" fmla="*/ 102 h 284"/>
                <a:gd name="T38" fmla="*/ 37 w 191"/>
                <a:gd name="T39" fmla="*/ 130 h 284"/>
                <a:gd name="T40" fmla="*/ 60 w 191"/>
                <a:gd name="T41" fmla="*/ 134 h 284"/>
                <a:gd name="T42" fmla="*/ 60 w 191"/>
                <a:gd name="T43" fmla="*/ 153 h 284"/>
                <a:gd name="T44" fmla="*/ 54 w 191"/>
                <a:gd name="T45" fmla="*/ 180 h 284"/>
                <a:gd name="T46" fmla="*/ 74 w 191"/>
                <a:gd name="T47" fmla="*/ 199 h 284"/>
                <a:gd name="T48" fmla="*/ 80 w 191"/>
                <a:gd name="T49" fmla="*/ 222 h 284"/>
                <a:gd name="T50" fmla="*/ 100 w 191"/>
                <a:gd name="T51" fmla="*/ 203 h 284"/>
                <a:gd name="T52" fmla="*/ 133 w 191"/>
                <a:gd name="T53" fmla="*/ 188 h 284"/>
                <a:gd name="T54" fmla="*/ 150 w 191"/>
                <a:gd name="T55" fmla="*/ 193 h 284"/>
                <a:gd name="T56" fmla="*/ 155 w 191"/>
                <a:gd name="T57" fmla="*/ 181 h 284"/>
                <a:gd name="T58" fmla="*/ 185 w 191"/>
                <a:gd name="T59" fmla="*/ 165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91" h="284">
                  <a:moveTo>
                    <a:pt x="100" y="267"/>
                  </a:moveTo>
                  <a:cubicBezTo>
                    <a:pt x="76" y="275"/>
                    <a:pt x="86" y="284"/>
                    <a:pt x="101" y="284"/>
                  </a:cubicBezTo>
                  <a:cubicBezTo>
                    <a:pt x="120" y="284"/>
                    <a:pt x="124" y="259"/>
                    <a:pt x="100" y="267"/>
                  </a:cubicBezTo>
                  <a:close/>
                  <a:moveTo>
                    <a:pt x="185" y="165"/>
                  </a:moveTo>
                  <a:cubicBezTo>
                    <a:pt x="179" y="146"/>
                    <a:pt x="166" y="132"/>
                    <a:pt x="166" y="132"/>
                  </a:cubicBezTo>
                  <a:cubicBezTo>
                    <a:pt x="166" y="132"/>
                    <a:pt x="171" y="115"/>
                    <a:pt x="162" y="101"/>
                  </a:cubicBezTo>
                  <a:cubicBezTo>
                    <a:pt x="153" y="87"/>
                    <a:pt x="111" y="50"/>
                    <a:pt x="111" y="50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8" y="45"/>
                    <a:pt x="94" y="34"/>
                    <a:pt x="82" y="21"/>
                  </a:cubicBezTo>
                  <a:cubicBezTo>
                    <a:pt x="76" y="14"/>
                    <a:pt x="69" y="6"/>
                    <a:pt x="64" y="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4" y="10"/>
                    <a:pt x="30" y="9"/>
                    <a:pt x="16" y="16"/>
                  </a:cubicBezTo>
                  <a:cubicBezTo>
                    <a:pt x="2" y="24"/>
                    <a:pt x="14" y="26"/>
                    <a:pt x="13" y="29"/>
                  </a:cubicBezTo>
                  <a:cubicBezTo>
                    <a:pt x="12" y="32"/>
                    <a:pt x="0" y="39"/>
                    <a:pt x="0" y="39"/>
                  </a:cubicBezTo>
                  <a:cubicBezTo>
                    <a:pt x="0" y="39"/>
                    <a:pt x="1" y="50"/>
                    <a:pt x="8" y="56"/>
                  </a:cubicBezTo>
                  <a:cubicBezTo>
                    <a:pt x="15" y="62"/>
                    <a:pt x="30" y="64"/>
                    <a:pt x="30" y="64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9"/>
                    <a:pt x="7" y="75"/>
                    <a:pt x="6" y="82"/>
                  </a:cubicBezTo>
                  <a:cubicBezTo>
                    <a:pt x="5" y="89"/>
                    <a:pt x="27" y="102"/>
                    <a:pt x="27" y="102"/>
                  </a:cubicBezTo>
                  <a:cubicBezTo>
                    <a:pt x="37" y="130"/>
                    <a:pt x="37" y="130"/>
                    <a:pt x="37" y="130"/>
                  </a:cubicBezTo>
                  <a:cubicBezTo>
                    <a:pt x="60" y="134"/>
                    <a:pt x="60" y="134"/>
                    <a:pt x="60" y="134"/>
                  </a:cubicBezTo>
                  <a:cubicBezTo>
                    <a:pt x="60" y="153"/>
                    <a:pt x="60" y="153"/>
                    <a:pt x="60" y="153"/>
                  </a:cubicBezTo>
                  <a:cubicBezTo>
                    <a:pt x="60" y="153"/>
                    <a:pt x="49" y="161"/>
                    <a:pt x="54" y="180"/>
                  </a:cubicBezTo>
                  <a:cubicBezTo>
                    <a:pt x="59" y="199"/>
                    <a:pt x="74" y="199"/>
                    <a:pt x="74" y="199"/>
                  </a:cubicBezTo>
                  <a:cubicBezTo>
                    <a:pt x="74" y="199"/>
                    <a:pt x="61" y="225"/>
                    <a:pt x="80" y="222"/>
                  </a:cubicBezTo>
                  <a:cubicBezTo>
                    <a:pt x="99" y="219"/>
                    <a:pt x="100" y="203"/>
                    <a:pt x="100" y="203"/>
                  </a:cubicBezTo>
                  <a:cubicBezTo>
                    <a:pt x="133" y="188"/>
                    <a:pt x="133" y="188"/>
                    <a:pt x="133" y="188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5" y="181"/>
                    <a:pt x="155" y="181"/>
                    <a:pt x="155" y="181"/>
                  </a:cubicBezTo>
                  <a:cubicBezTo>
                    <a:pt x="155" y="181"/>
                    <a:pt x="191" y="184"/>
                    <a:pt x="185" y="165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214">
              <a:extLst>
                <a:ext uri="{FF2B5EF4-FFF2-40B4-BE49-F238E27FC236}">
                  <a16:creationId xmlns:a16="http://schemas.microsoft.com/office/drawing/2014/main" id="{70B40C5B-0CA5-7BC6-B2A1-9A31D2148A9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6" y="-12838"/>
              <a:ext cx="954" cy="1110"/>
            </a:xfrm>
            <a:custGeom>
              <a:avLst/>
              <a:gdLst>
                <a:gd name="T0" fmla="*/ 28 w 404"/>
                <a:gd name="T1" fmla="*/ 124 h 470"/>
                <a:gd name="T2" fmla="*/ 47 w 404"/>
                <a:gd name="T3" fmla="*/ 163 h 470"/>
                <a:gd name="T4" fmla="*/ 68 w 404"/>
                <a:gd name="T5" fmla="*/ 160 h 470"/>
                <a:gd name="T6" fmla="*/ 74 w 404"/>
                <a:gd name="T7" fmla="*/ 196 h 470"/>
                <a:gd name="T8" fmla="*/ 73 w 404"/>
                <a:gd name="T9" fmla="*/ 224 h 470"/>
                <a:gd name="T10" fmla="*/ 88 w 404"/>
                <a:gd name="T11" fmla="*/ 254 h 470"/>
                <a:gd name="T12" fmla="*/ 143 w 404"/>
                <a:gd name="T13" fmla="*/ 245 h 470"/>
                <a:gd name="T14" fmla="*/ 187 w 404"/>
                <a:gd name="T15" fmla="*/ 228 h 470"/>
                <a:gd name="T16" fmla="*/ 215 w 404"/>
                <a:gd name="T17" fmla="*/ 247 h 470"/>
                <a:gd name="T18" fmla="*/ 248 w 404"/>
                <a:gd name="T19" fmla="*/ 298 h 470"/>
                <a:gd name="T20" fmla="*/ 283 w 404"/>
                <a:gd name="T21" fmla="*/ 347 h 470"/>
                <a:gd name="T22" fmla="*/ 294 w 404"/>
                <a:gd name="T23" fmla="*/ 367 h 470"/>
                <a:gd name="T24" fmla="*/ 302 w 404"/>
                <a:gd name="T25" fmla="*/ 425 h 470"/>
                <a:gd name="T26" fmla="*/ 290 w 404"/>
                <a:gd name="T27" fmla="*/ 448 h 470"/>
                <a:gd name="T28" fmla="*/ 327 w 404"/>
                <a:gd name="T29" fmla="*/ 462 h 470"/>
                <a:gd name="T30" fmla="*/ 334 w 404"/>
                <a:gd name="T31" fmla="*/ 434 h 470"/>
                <a:gd name="T32" fmla="*/ 365 w 404"/>
                <a:gd name="T33" fmla="*/ 435 h 470"/>
                <a:gd name="T34" fmla="*/ 390 w 404"/>
                <a:gd name="T35" fmla="*/ 430 h 470"/>
                <a:gd name="T36" fmla="*/ 391 w 404"/>
                <a:gd name="T37" fmla="*/ 410 h 470"/>
                <a:gd name="T38" fmla="*/ 369 w 404"/>
                <a:gd name="T39" fmla="*/ 369 h 470"/>
                <a:gd name="T40" fmla="*/ 361 w 404"/>
                <a:gd name="T41" fmla="*/ 331 h 470"/>
                <a:gd name="T42" fmla="*/ 334 w 404"/>
                <a:gd name="T43" fmla="*/ 299 h 470"/>
                <a:gd name="T44" fmla="*/ 319 w 404"/>
                <a:gd name="T45" fmla="*/ 289 h 470"/>
                <a:gd name="T46" fmla="*/ 285 w 404"/>
                <a:gd name="T47" fmla="*/ 236 h 470"/>
                <a:gd name="T48" fmla="*/ 256 w 404"/>
                <a:gd name="T49" fmla="*/ 203 h 470"/>
                <a:gd name="T50" fmla="*/ 193 w 404"/>
                <a:gd name="T51" fmla="*/ 168 h 470"/>
                <a:gd name="T52" fmla="*/ 218 w 404"/>
                <a:gd name="T53" fmla="*/ 156 h 470"/>
                <a:gd name="T54" fmla="*/ 212 w 404"/>
                <a:gd name="T55" fmla="*/ 112 h 470"/>
                <a:gd name="T56" fmla="*/ 184 w 404"/>
                <a:gd name="T57" fmla="*/ 79 h 470"/>
                <a:gd name="T58" fmla="*/ 160 w 404"/>
                <a:gd name="T59" fmla="*/ 90 h 470"/>
                <a:gd name="T60" fmla="*/ 128 w 404"/>
                <a:gd name="T61" fmla="*/ 63 h 470"/>
                <a:gd name="T62" fmla="*/ 118 w 404"/>
                <a:gd name="T63" fmla="*/ 40 h 470"/>
                <a:gd name="T64" fmla="*/ 91 w 404"/>
                <a:gd name="T65" fmla="*/ 2 h 470"/>
                <a:gd name="T66" fmla="*/ 60 w 404"/>
                <a:gd name="T67" fmla="*/ 22 h 470"/>
                <a:gd name="T68" fmla="*/ 79 w 404"/>
                <a:gd name="T69" fmla="*/ 72 h 470"/>
                <a:gd name="T70" fmla="*/ 48 w 404"/>
                <a:gd name="T71" fmla="*/ 57 h 470"/>
                <a:gd name="T72" fmla="*/ 26 w 404"/>
                <a:gd name="T73" fmla="*/ 74 h 470"/>
                <a:gd name="T74" fmla="*/ 26 w 404"/>
                <a:gd name="T75" fmla="*/ 89 h 470"/>
                <a:gd name="T76" fmla="*/ 2 w 404"/>
                <a:gd name="T77" fmla="*/ 11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04" h="470">
                  <a:moveTo>
                    <a:pt x="17" y="121"/>
                  </a:moveTo>
                  <a:cubicBezTo>
                    <a:pt x="17" y="121"/>
                    <a:pt x="27" y="116"/>
                    <a:pt x="28" y="124"/>
                  </a:cubicBezTo>
                  <a:cubicBezTo>
                    <a:pt x="29" y="132"/>
                    <a:pt x="22" y="153"/>
                    <a:pt x="28" y="158"/>
                  </a:cubicBezTo>
                  <a:cubicBezTo>
                    <a:pt x="34" y="163"/>
                    <a:pt x="47" y="163"/>
                    <a:pt x="47" y="163"/>
                  </a:cubicBezTo>
                  <a:cubicBezTo>
                    <a:pt x="45" y="155"/>
                    <a:pt x="45" y="155"/>
                    <a:pt x="45" y="155"/>
                  </a:cubicBezTo>
                  <a:cubicBezTo>
                    <a:pt x="45" y="155"/>
                    <a:pt x="68" y="146"/>
                    <a:pt x="68" y="160"/>
                  </a:cubicBezTo>
                  <a:cubicBezTo>
                    <a:pt x="68" y="174"/>
                    <a:pt x="66" y="180"/>
                    <a:pt x="66" y="180"/>
                  </a:cubicBezTo>
                  <a:cubicBezTo>
                    <a:pt x="66" y="180"/>
                    <a:pt x="74" y="187"/>
                    <a:pt x="74" y="196"/>
                  </a:cubicBezTo>
                  <a:cubicBezTo>
                    <a:pt x="74" y="205"/>
                    <a:pt x="60" y="216"/>
                    <a:pt x="60" y="216"/>
                  </a:cubicBezTo>
                  <a:cubicBezTo>
                    <a:pt x="60" y="216"/>
                    <a:pt x="73" y="215"/>
                    <a:pt x="73" y="224"/>
                  </a:cubicBezTo>
                  <a:cubicBezTo>
                    <a:pt x="73" y="233"/>
                    <a:pt x="49" y="264"/>
                    <a:pt x="59" y="267"/>
                  </a:cubicBezTo>
                  <a:cubicBezTo>
                    <a:pt x="69" y="270"/>
                    <a:pt x="88" y="254"/>
                    <a:pt x="88" y="254"/>
                  </a:cubicBezTo>
                  <a:cubicBezTo>
                    <a:pt x="88" y="254"/>
                    <a:pt x="101" y="229"/>
                    <a:pt x="108" y="231"/>
                  </a:cubicBezTo>
                  <a:cubicBezTo>
                    <a:pt x="115" y="233"/>
                    <a:pt x="129" y="244"/>
                    <a:pt x="143" y="245"/>
                  </a:cubicBezTo>
                  <a:cubicBezTo>
                    <a:pt x="157" y="246"/>
                    <a:pt x="154" y="221"/>
                    <a:pt x="164" y="220"/>
                  </a:cubicBezTo>
                  <a:cubicBezTo>
                    <a:pt x="174" y="219"/>
                    <a:pt x="187" y="228"/>
                    <a:pt x="187" y="228"/>
                  </a:cubicBezTo>
                  <a:cubicBezTo>
                    <a:pt x="187" y="228"/>
                    <a:pt x="194" y="226"/>
                    <a:pt x="202" y="228"/>
                  </a:cubicBezTo>
                  <a:cubicBezTo>
                    <a:pt x="210" y="230"/>
                    <a:pt x="197" y="236"/>
                    <a:pt x="215" y="247"/>
                  </a:cubicBezTo>
                  <a:cubicBezTo>
                    <a:pt x="233" y="258"/>
                    <a:pt x="247" y="270"/>
                    <a:pt x="247" y="270"/>
                  </a:cubicBezTo>
                  <a:cubicBezTo>
                    <a:pt x="248" y="298"/>
                    <a:pt x="248" y="298"/>
                    <a:pt x="248" y="298"/>
                  </a:cubicBezTo>
                  <a:cubicBezTo>
                    <a:pt x="248" y="298"/>
                    <a:pt x="255" y="318"/>
                    <a:pt x="260" y="327"/>
                  </a:cubicBezTo>
                  <a:cubicBezTo>
                    <a:pt x="265" y="336"/>
                    <a:pt x="283" y="343"/>
                    <a:pt x="283" y="347"/>
                  </a:cubicBezTo>
                  <a:cubicBezTo>
                    <a:pt x="283" y="351"/>
                    <a:pt x="285" y="364"/>
                    <a:pt x="285" y="364"/>
                  </a:cubicBezTo>
                  <a:cubicBezTo>
                    <a:pt x="285" y="364"/>
                    <a:pt x="288" y="357"/>
                    <a:pt x="294" y="367"/>
                  </a:cubicBezTo>
                  <a:cubicBezTo>
                    <a:pt x="300" y="377"/>
                    <a:pt x="285" y="390"/>
                    <a:pt x="287" y="394"/>
                  </a:cubicBezTo>
                  <a:cubicBezTo>
                    <a:pt x="289" y="398"/>
                    <a:pt x="312" y="413"/>
                    <a:pt x="302" y="425"/>
                  </a:cubicBezTo>
                  <a:cubicBezTo>
                    <a:pt x="296" y="432"/>
                    <a:pt x="291" y="436"/>
                    <a:pt x="287" y="439"/>
                  </a:cubicBezTo>
                  <a:cubicBezTo>
                    <a:pt x="287" y="442"/>
                    <a:pt x="287" y="447"/>
                    <a:pt x="290" y="448"/>
                  </a:cubicBezTo>
                  <a:cubicBezTo>
                    <a:pt x="294" y="449"/>
                    <a:pt x="310" y="450"/>
                    <a:pt x="310" y="450"/>
                  </a:cubicBezTo>
                  <a:cubicBezTo>
                    <a:pt x="310" y="450"/>
                    <a:pt x="319" y="470"/>
                    <a:pt x="327" y="462"/>
                  </a:cubicBezTo>
                  <a:cubicBezTo>
                    <a:pt x="335" y="454"/>
                    <a:pt x="323" y="442"/>
                    <a:pt x="323" y="442"/>
                  </a:cubicBezTo>
                  <a:cubicBezTo>
                    <a:pt x="334" y="434"/>
                    <a:pt x="334" y="434"/>
                    <a:pt x="334" y="434"/>
                  </a:cubicBezTo>
                  <a:cubicBezTo>
                    <a:pt x="343" y="426"/>
                    <a:pt x="343" y="426"/>
                    <a:pt x="343" y="426"/>
                  </a:cubicBezTo>
                  <a:cubicBezTo>
                    <a:pt x="365" y="435"/>
                    <a:pt x="365" y="435"/>
                    <a:pt x="365" y="435"/>
                  </a:cubicBezTo>
                  <a:cubicBezTo>
                    <a:pt x="373" y="426"/>
                    <a:pt x="373" y="426"/>
                    <a:pt x="373" y="426"/>
                  </a:cubicBezTo>
                  <a:cubicBezTo>
                    <a:pt x="390" y="430"/>
                    <a:pt x="390" y="430"/>
                    <a:pt x="390" y="430"/>
                  </a:cubicBezTo>
                  <a:cubicBezTo>
                    <a:pt x="390" y="430"/>
                    <a:pt x="396" y="431"/>
                    <a:pt x="400" y="423"/>
                  </a:cubicBezTo>
                  <a:cubicBezTo>
                    <a:pt x="404" y="415"/>
                    <a:pt x="391" y="410"/>
                    <a:pt x="391" y="410"/>
                  </a:cubicBezTo>
                  <a:cubicBezTo>
                    <a:pt x="402" y="389"/>
                    <a:pt x="402" y="389"/>
                    <a:pt x="402" y="389"/>
                  </a:cubicBezTo>
                  <a:cubicBezTo>
                    <a:pt x="402" y="389"/>
                    <a:pt x="383" y="380"/>
                    <a:pt x="369" y="369"/>
                  </a:cubicBezTo>
                  <a:cubicBezTo>
                    <a:pt x="355" y="358"/>
                    <a:pt x="369" y="355"/>
                    <a:pt x="377" y="350"/>
                  </a:cubicBezTo>
                  <a:cubicBezTo>
                    <a:pt x="385" y="345"/>
                    <a:pt x="361" y="331"/>
                    <a:pt x="361" y="331"/>
                  </a:cubicBezTo>
                  <a:cubicBezTo>
                    <a:pt x="361" y="331"/>
                    <a:pt x="351" y="330"/>
                    <a:pt x="344" y="323"/>
                  </a:cubicBezTo>
                  <a:cubicBezTo>
                    <a:pt x="337" y="316"/>
                    <a:pt x="334" y="299"/>
                    <a:pt x="334" y="299"/>
                  </a:cubicBezTo>
                  <a:cubicBezTo>
                    <a:pt x="320" y="300"/>
                    <a:pt x="320" y="300"/>
                    <a:pt x="320" y="300"/>
                  </a:cubicBezTo>
                  <a:cubicBezTo>
                    <a:pt x="319" y="289"/>
                    <a:pt x="319" y="289"/>
                    <a:pt x="319" y="289"/>
                  </a:cubicBezTo>
                  <a:cubicBezTo>
                    <a:pt x="319" y="289"/>
                    <a:pt x="308" y="278"/>
                    <a:pt x="295" y="267"/>
                  </a:cubicBezTo>
                  <a:cubicBezTo>
                    <a:pt x="282" y="256"/>
                    <a:pt x="285" y="236"/>
                    <a:pt x="285" y="236"/>
                  </a:cubicBezTo>
                  <a:cubicBezTo>
                    <a:pt x="285" y="236"/>
                    <a:pt x="263" y="228"/>
                    <a:pt x="259" y="224"/>
                  </a:cubicBezTo>
                  <a:cubicBezTo>
                    <a:pt x="255" y="220"/>
                    <a:pt x="256" y="203"/>
                    <a:pt x="256" y="203"/>
                  </a:cubicBezTo>
                  <a:cubicBezTo>
                    <a:pt x="256" y="203"/>
                    <a:pt x="238" y="198"/>
                    <a:pt x="232" y="193"/>
                  </a:cubicBezTo>
                  <a:cubicBezTo>
                    <a:pt x="226" y="188"/>
                    <a:pt x="193" y="168"/>
                    <a:pt x="193" y="168"/>
                  </a:cubicBezTo>
                  <a:cubicBezTo>
                    <a:pt x="193" y="168"/>
                    <a:pt x="193" y="156"/>
                    <a:pt x="191" y="152"/>
                  </a:cubicBezTo>
                  <a:cubicBezTo>
                    <a:pt x="189" y="148"/>
                    <a:pt x="218" y="156"/>
                    <a:pt x="218" y="156"/>
                  </a:cubicBezTo>
                  <a:cubicBezTo>
                    <a:pt x="218" y="156"/>
                    <a:pt x="237" y="142"/>
                    <a:pt x="243" y="132"/>
                  </a:cubicBezTo>
                  <a:cubicBezTo>
                    <a:pt x="249" y="122"/>
                    <a:pt x="230" y="120"/>
                    <a:pt x="212" y="112"/>
                  </a:cubicBezTo>
                  <a:cubicBezTo>
                    <a:pt x="194" y="104"/>
                    <a:pt x="214" y="98"/>
                    <a:pt x="214" y="98"/>
                  </a:cubicBezTo>
                  <a:cubicBezTo>
                    <a:pt x="214" y="98"/>
                    <a:pt x="192" y="80"/>
                    <a:pt x="184" y="79"/>
                  </a:cubicBezTo>
                  <a:cubicBezTo>
                    <a:pt x="176" y="78"/>
                    <a:pt x="179" y="90"/>
                    <a:pt x="172" y="98"/>
                  </a:cubicBezTo>
                  <a:cubicBezTo>
                    <a:pt x="165" y="106"/>
                    <a:pt x="160" y="90"/>
                    <a:pt x="160" y="90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1" y="90"/>
                    <a:pt x="138" y="76"/>
                    <a:pt x="128" y="63"/>
                  </a:cubicBezTo>
                  <a:cubicBezTo>
                    <a:pt x="118" y="50"/>
                    <a:pt x="131" y="41"/>
                    <a:pt x="127" y="37"/>
                  </a:cubicBezTo>
                  <a:cubicBezTo>
                    <a:pt x="123" y="33"/>
                    <a:pt x="118" y="40"/>
                    <a:pt x="118" y="40"/>
                  </a:cubicBezTo>
                  <a:cubicBezTo>
                    <a:pt x="118" y="40"/>
                    <a:pt x="102" y="22"/>
                    <a:pt x="96" y="15"/>
                  </a:cubicBezTo>
                  <a:cubicBezTo>
                    <a:pt x="93" y="12"/>
                    <a:pt x="92" y="7"/>
                    <a:pt x="91" y="2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59" y="9"/>
                    <a:pt x="60" y="22"/>
                  </a:cubicBezTo>
                  <a:cubicBezTo>
                    <a:pt x="61" y="35"/>
                    <a:pt x="79" y="47"/>
                    <a:pt x="79" y="47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26" y="89"/>
                    <a:pt x="18" y="92"/>
                    <a:pt x="9" y="95"/>
                  </a:cubicBezTo>
                  <a:cubicBezTo>
                    <a:pt x="0" y="98"/>
                    <a:pt x="2" y="110"/>
                    <a:pt x="2" y="110"/>
                  </a:cubicBezTo>
                  <a:cubicBezTo>
                    <a:pt x="6" y="111"/>
                    <a:pt x="17" y="121"/>
                    <a:pt x="17" y="121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215">
              <a:extLst>
                <a:ext uri="{FF2B5EF4-FFF2-40B4-BE49-F238E27FC236}">
                  <a16:creationId xmlns:a16="http://schemas.microsoft.com/office/drawing/2014/main" id="{424D6FC8-FC35-50D9-AB82-88EA2E487444}"/>
                </a:ext>
              </a:extLst>
            </p:cNvPr>
            <p:cNvSpPr>
              <a:spLocks/>
            </p:cNvSpPr>
            <p:nvPr/>
          </p:nvSpPr>
          <p:spPr bwMode="gray">
            <a:xfrm>
              <a:off x="4311" y="-12581"/>
              <a:ext cx="992" cy="1890"/>
            </a:xfrm>
            <a:custGeom>
              <a:avLst/>
              <a:gdLst>
                <a:gd name="T0" fmla="*/ 402 w 420"/>
                <a:gd name="T1" fmla="*/ 258 h 800"/>
                <a:gd name="T2" fmla="*/ 391 w 420"/>
                <a:gd name="T3" fmla="*/ 238 h 800"/>
                <a:gd name="T4" fmla="*/ 356 w 420"/>
                <a:gd name="T5" fmla="*/ 189 h 800"/>
                <a:gd name="T6" fmla="*/ 323 w 420"/>
                <a:gd name="T7" fmla="*/ 138 h 800"/>
                <a:gd name="T8" fmla="*/ 295 w 420"/>
                <a:gd name="T9" fmla="*/ 119 h 800"/>
                <a:gd name="T10" fmla="*/ 251 w 420"/>
                <a:gd name="T11" fmla="*/ 136 h 800"/>
                <a:gd name="T12" fmla="*/ 196 w 420"/>
                <a:gd name="T13" fmla="*/ 145 h 800"/>
                <a:gd name="T14" fmla="*/ 181 w 420"/>
                <a:gd name="T15" fmla="*/ 115 h 800"/>
                <a:gd name="T16" fmla="*/ 182 w 420"/>
                <a:gd name="T17" fmla="*/ 87 h 800"/>
                <a:gd name="T18" fmla="*/ 176 w 420"/>
                <a:gd name="T19" fmla="*/ 51 h 800"/>
                <a:gd name="T20" fmla="*/ 155 w 420"/>
                <a:gd name="T21" fmla="*/ 54 h 800"/>
                <a:gd name="T22" fmla="*/ 136 w 420"/>
                <a:gd name="T23" fmla="*/ 15 h 800"/>
                <a:gd name="T24" fmla="*/ 110 w 420"/>
                <a:gd name="T25" fmla="*/ 1 h 800"/>
                <a:gd name="T26" fmla="*/ 82 w 420"/>
                <a:gd name="T27" fmla="*/ 21 h 800"/>
                <a:gd name="T28" fmla="*/ 53 w 420"/>
                <a:gd name="T29" fmla="*/ 43 h 800"/>
                <a:gd name="T30" fmla="*/ 19 w 420"/>
                <a:gd name="T31" fmla="*/ 64 h 800"/>
                <a:gd name="T32" fmla="*/ 17 w 420"/>
                <a:gd name="T33" fmla="*/ 102 h 800"/>
                <a:gd name="T34" fmla="*/ 8 w 420"/>
                <a:gd name="T35" fmla="*/ 120 h 800"/>
                <a:gd name="T36" fmla="*/ 22 w 420"/>
                <a:gd name="T37" fmla="*/ 145 h 800"/>
                <a:gd name="T38" fmla="*/ 67 w 420"/>
                <a:gd name="T39" fmla="*/ 188 h 800"/>
                <a:gd name="T40" fmla="*/ 79 w 420"/>
                <a:gd name="T41" fmla="*/ 219 h 800"/>
                <a:gd name="T42" fmla="*/ 73 w 420"/>
                <a:gd name="T43" fmla="*/ 236 h 800"/>
                <a:gd name="T44" fmla="*/ 65 w 420"/>
                <a:gd name="T45" fmla="*/ 279 h 800"/>
                <a:gd name="T46" fmla="*/ 79 w 420"/>
                <a:gd name="T47" fmla="*/ 326 h 800"/>
                <a:gd name="T48" fmla="*/ 112 w 420"/>
                <a:gd name="T49" fmla="*/ 409 h 800"/>
                <a:gd name="T50" fmla="*/ 133 w 420"/>
                <a:gd name="T51" fmla="*/ 450 h 800"/>
                <a:gd name="T52" fmla="*/ 110 w 420"/>
                <a:gd name="T53" fmla="*/ 522 h 800"/>
                <a:gd name="T54" fmla="*/ 98 w 420"/>
                <a:gd name="T55" fmla="*/ 567 h 800"/>
                <a:gd name="T56" fmla="*/ 84 w 420"/>
                <a:gd name="T57" fmla="*/ 676 h 800"/>
                <a:gd name="T58" fmla="*/ 101 w 420"/>
                <a:gd name="T59" fmla="*/ 653 h 800"/>
                <a:gd name="T60" fmla="*/ 132 w 420"/>
                <a:gd name="T61" fmla="*/ 698 h 800"/>
                <a:gd name="T62" fmla="*/ 159 w 420"/>
                <a:gd name="T63" fmla="*/ 743 h 800"/>
                <a:gd name="T64" fmla="*/ 184 w 420"/>
                <a:gd name="T65" fmla="*/ 754 h 800"/>
                <a:gd name="T66" fmla="*/ 198 w 420"/>
                <a:gd name="T67" fmla="*/ 749 h 800"/>
                <a:gd name="T68" fmla="*/ 222 w 420"/>
                <a:gd name="T69" fmla="*/ 765 h 800"/>
                <a:gd name="T70" fmla="*/ 226 w 420"/>
                <a:gd name="T71" fmla="*/ 791 h 800"/>
                <a:gd name="T72" fmla="*/ 268 w 420"/>
                <a:gd name="T73" fmla="*/ 792 h 800"/>
                <a:gd name="T74" fmla="*/ 261 w 420"/>
                <a:gd name="T75" fmla="*/ 755 h 800"/>
                <a:gd name="T76" fmla="*/ 215 w 420"/>
                <a:gd name="T77" fmla="*/ 727 h 800"/>
                <a:gd name="T78" fmla="*/ 190 w 420"/>
                <a:gd name="T79" fmla="*/ 705 h 800"/>
                <a:gd name="T80" fmla="*/ 190 w 420"/>
                <a:gd name="T81" fmla="*/ 679 h 800"/>
                <a:gd name="T82" fmla="*/ 165 w 420"/>
                <a:gd name="T83" fmla="*/ 635 h 800"/>
                <a:gd name="T84" fmla="*/ 131 w 420"/>
                <a:gd name="T85" fmla="*/ 608 h 800"/>
                <a:gd name="T86" fmla="*/ 120 w 420"/>
                <a:gd name="T87" fmla="*/ 524 h 800"/>
                <a:gd name="T88" fmla="*/ 138 w 420"/>
                <a:gd name="T89" fmla="*/ 456 h 800"/>
                <a:gd name="T90" fmla="*/ 147 w 420"/>
                <a:gd name="T91" fmla="*/ 396 h 800"/>
                <a:gd name="T92" fmla="*/ 158 w 420"/>
                <a:gd name="T93" fmla="*/ 374 h 800"/>
                <a:gd name="T94" fmla="*/ 201 w 420"/>
                <a:gd name="T95" fmla="*/ 381 h 800"/>
                <a:gd name="T96" fmla="*/ 199 w 420"/>
                <a:gd name="T97" fmla="*/ 419 h 800"/>
                <a:gd name="T98" fmla="*/ 265 w 420"/>
                <a:gd name="T99" fmla="*/ 457 h 800"/>
                <a:gd name="T100" fmla="*/ 287 w 420"/>
                <a:gd name="T101" fmla="*/ 431 h 800"/>
                <a:gd name="T102" fmla="*/ 276 w 420"/>
                <a:gd name="T103" fmla="*/ 402 h 800"/>
                <a:gd name="T104" fmla="*/ 267 w 420"/>
                <a:gd name="T105" fmla="*/ 371 h 800"/>
                <a:gd name="T106" fmla="*/ 313 w 420"/>
                <a:gd name="T107" fmla="*/ 327 h 800"/>
                <a:gd name="T108" fmla="*/ 368 w 420"/>
                <a:gd name="T109" fmla="*/ 325 h 800"/>
                <a:gd name="T110" fmla="*/ 410 w 420"/>
                <a:gd name="T111" fmla="*/ 31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20" h="800">
                  <a:moveTo>
                    <a:pt x="395" y="285"/>
                  </a:moveTo>
                  <a:cubicBezTo>
                    <a:pt x="393" y="281"/>
                    <a:pt x="408" y="268"/>
                    <a:pt x="402" y="258"/>
                  </a:cubicBezTo>
                  <a:cubicBezTo>
                    <a:pt x="396" y="248"/>
                    <a:pt x="393" y="255"/>
                    <a:pt x="393" y="255"/>
                  </a:cubicBezTo>
                  <a:cubicBezTo>
                    <a:pt x="393" y="255"/>
                    <a:pt x="391" y="242"/>
                    <a:pt x="391" y="238"/>
                  </a:cubicBezTo>
                  <a:cubicBezTo>
                    <a:pt x="391" y="234"/>
                    <a:pt x="373" y="227"/>
                    <a:pt x="368" y="218"/>
                  </a:cubicBezTo>
                  <a:cubicBezTo>
                    <a:pt x="363" y="209"/>
                    <a:pt x="356" y="189"/>
                    <a:pt x="356" y="189"/>
                  </a:cubicBezTo>
                  <a:cubicBezTo>
                    <a:pt x="355" y="161"/>
                    <a:pt x="355" y="161"/>
                    <a:pt x="355" y="161"/>
                  </a:cubicBezTo>
                  <a:cubicBezTo>
                    <a:pt x="355" y="161"/>
                    <a:pt x="341" y="149"/>
                    <a:pt x="323" y="138"/>
                  </a:cubicBezTo>
                  <a:cubicBezTo>
                    <a:pt x="305" y="127"/>
                    <a:pt x="318" y="121"/>
                    <a:pt x="310" y="119"/>
                  </a:cubicBezTo>
                  <a:cubicBezTo>
                    <a:pt x="302" y="117"/>
                    <a:pt x="295" y="119"/>
                    <a:pt x="295" y="119"/>
                  </a:cubicBezTo>
                  <a:cubicBezTo>
                    <a:pt x="295" y="119"/>
                    <a:pt x="282" y="110"/>
                    <a:pt x="272" y="111"/>
                  </a:cubicBezTo>
                  <a:cubicBezTo>
                    <a:pt x="262" y="112"/>
                    <a:pt x="265" y="137"/>
                    <a:pt x="251" y="136"/>
                  </a:cubicBezTo>
                  <a:cubicBezTo>
                    <a:pt x="237" y="135"/>
                    <a:pt x="223" y="124"/>
                    <a:pt x="216" y="122"/>
                  </a:cubicBezTo>
                  <a:cubicBezTo>
                    <a:pt x="209" y="120"/>
                    <a:pt x="196" y="145"/>
                    <a:pt x="196" y="145"/>
                  </a:cubicBezTo>
                  <a:cubicBezTo>
                    <a:pt x="196" y="145"/>
                    <a:pt x="177" y="161"/>
                    <a:pt x="167" y="158"/>
                  </a:cubicBezTo>
                  <a:cubicBezTo>
                    <a:pt x="157" y="155"/>
                    <a:pt x="181" y="124"/>
                    <a:pt x="181" y="115"/>
                  </a:cubicBezTo>
                  <a:cubicBezTo>
                    <a:pt x="181" y="106"/>
                    <a:pt x="168" y="107"/>
                    <a:pt x="168" y="107"/>
                  </a:cubicBezTo>
                  <a:cubicBezTo>
                    <a:pt x="168" y="107"/>
                    <a:pt x="182" y="96"/>
                    <a:pt x="182" y="87"/>
                  </a:cubicBezTo>
                  <a:cubicBezTo>
                    <a:pt x="182" y="78"/>
                    <a:pt x="174" y="71"/>
                    <a:pt x="174" y="71"/>
                  </a:cubicBezTo>
                  <a:cubicBezTo>
                    <a:pt x="174" y="71"/>
                    <a:pt x="176" y="65"/>
                    <a:pt x="176" y="51"/>
                  </a:cubicBezTo>
                  <a:cubicBezTo>
                    <a:pt x="176" y="37"/>
                    <a:pt x="153" y="46"/>
                    <a:pt x="153" y="46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2" y="54"/>
                    <a:pt x="136" y="49"/>
                  </a:cubicBezTo>
                  <a:cubicBezTo>
                    <a:pt x="130" y="44"/>
                    <a:pt x="137" y="23"/>
                    <a:pt x="136" y="15"/>
                  </a:cubicBezTo>
                  <a:cubicBezTo>
                    <a:pt x="135" y="7"/>
                    <a:pt x="125" y="12"/>
                    <a:pt x="125" y="12"/>
                  </a:cubicBezTo>
                  <a:cubicBezTo>
                    <a:pt x="125" y="12"/>
                    <a:pt x="114" y="2"/>
                    <a:pt x="110" y="1"/>
                  </a:cubicBezTo>
                  <a:cubicBezTo>
                    <a:pt x="106" y="0"/>
                    <a:pt x="87" y="6"/>
                    <a:pt x="87" y="6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3" y="40"/>
                    <a:pt x="53" y="43"/>
                  </a:cubicBezTo>
                  <a:cubicBezTo>
                    <a:pt x="43" y="46"/>
                    <a:pt x="34" y="35"/>
                    <a:pt x="23" y="37"/>
                  </a:cubicBezTo>
                  <a:cubicBezTo>
                    <a:pt x="12" y="39"/>
                    <a:pt x="20" y="55"/>
                    <a:pt x="19" y="64"/>
                  </a:cubicBezTo>
                  <a:cubicBezTo>
                    <a:pt x="18" y="73"/>
                    <a:pt x="8" y="74"/>
                    <a:pt x="7" y="78"/>
                  </a:cubicBezTo>
                  <a:cubicBezTo>
                    <a:pt x="6" y="82"/>
                    <a:pt x="17" y="93"/>
                    <a:pt x="17" y="102"/>
                  </a:cubicBezTo>
                  <a:cubicBezTo>
                    <a:pt x="17" y="111"/>
                    <a:pt x="6" y="105"/>
                    <a:pt x="3" y="108"/>
                  </a:cubicBezTo>
                  <a:cubicBezTo>
                    <a:pt x="0" y="111"/>
                    <a:pt x="3" y="116"/>
                    <a:pt x="8" y="120"/>
                  </a:cubicBezTo>
                  <a:cubicBezTo>
                    <a:pt x="13" y="124"/>
                    <a:pt x="26" y="130"/>
                    <a:pt x="26" y="130"/>
                  </a:cubicBezTo>
                  <a:cubicBezTo>
                    <a:pt x="22" y="145"/>
                    <a:pt x="22" y="145"/>
                    <a:pt x="22" y="145"/>
                  </a:cubicBezTo>
                  <a:cubicBezTo>
                    <a:pt x="22" y="145"/>
                    <a:pt x="27" y="148"/>
                    <a:pt x="30" y="158"/>
                  </a:cubicBezTo>
                  <a:cubicBezTo>
                    <a:pt x="33" y="168"/>
                    <a:pt x="59" y="177"/>
                    <a:pt x="67" y="188"/>
                  </a:cubicBezTo>
                  <a:cubicBezTo>
                    <a:pt x="75" y="199"/>
                    <a:pt x="61" y="194"/>
                    <a:pt x="66" y="206"/>
                  </a:cubicBezTo>
                  <a:cubicBezTo>
                    <a:pt x="71" y="218"/>
                    <a:pt x="79" y="219"/>
                    <a:pt x="79" y="219"/>
                  </a:cubicBezTo>
                  <a:cubicBezTo>
                    <a:pt x="79" y="219"/>
                    <a:pt x="85" y="211"/>
                    <a:pt x="85" y="224"/>
                  </a:cubicBezTo>
                  <a:cubicBezTo>
                    <a:pt x="85" y="237"/>
                    <a:pt x="73" y="236"/>
                    <a:pt x="73" y="236"/>
                  </a:cubicBezTo>
                  <a:cubicBezTo>
                    <a:pt x="73" y="236"/>
                    <a:pt x="76" y="247"/>
                    <a:pt x="76" y="253"/>
                  </a:cubicBezTo>
                  <a:cubicBezTo>
                    <a:pt x="76" y="259"/>
                    <a:pt x="75" y="269"/>
                    <a:pt x="65" y="279"/>
                  </a:cubicBezTo>
                  <a:cubicBezTo>
                    <a:pt x="55" y="289"/>
                    <a:pt x="63" y="302"/>
                    <a:pt x="63" y="302"/>
                  </a:cubicBezTo>
                  <a:cubicBezTo>
                    <a:pt x="63" y="302"/>
                    <a:pt x="75" y="316"/>
                    <a:pt x="79" y="326"/>
                  </a:cubicBezTo>
                  <a:cubicBezTo>
                    <a:pt x="83" y="336"/>
                    <a:pt x="105" y="349"/>
                    <a:pt x="109" y="364"/>
                  </a:cubicBezTo>
                  <a:cubicBezTo>
                    <a:pt x="113" y="379"/>
                    <a:pt x="108" y="403"/>
                    <a:pt x="112" y="409"/>
                  </a:cubicBezTo>
                  <a:cubicBezTo>
                    <a:pt x="116" y="415"/>
                    <a:pt x="131" y="427"/>
                    <a:pt x="131" y="427"/>
                  </a:cubicBezTo>
                  <a:cubicBezTo>
                    <a:pt x="131" y="427"/>
                    <a:pt x="129" y="437"/>
                    <a:pt x="133" y="450"/>
                  </a:cubicBezTo>
                  <a:cubicBezTo>
                    <a:pt x="137" y="463"/>
                    <a:pt x="130" y="488"/>
                    <a:pt x="127" y="498"/>
                  </a:cubicBezTo>
                  <a:cubicBezTo>
                    <a:pt x="124" y="508"/>
                    <a:pt x="119" y="515"/>
                    <a:pt x="110" y="522"/>
                  </a:cubicBezTo>
                  <a:cubicBezTo>
                    <a:pt x="101" y="529"/>
                    <a:pt x="109" y="536"/>
                    <a:pt x="108" y="545"/>
                  </a:cubicBezTo>
                  <a:cubicBezTo>
                    <a:pt x="107" y="554"/>
                    <a:pt x="98" y="567"/>
                    <a:pt x="98" y="567"/>
                  </a:cubicBezTo>
                  <a:cubicBezTo>
                    <a:pt x="98" y="567"/>
                    <a:pt x="86" y="599"/>
                    <a:pt x="84" y="615"/>
                  </a:cubicBezTo>
                  <a:cubicBezTo>
                    <a:pt x="82" y="631"/>
                    <a:pt x="84" y="676"/>
                    <a:pt x="84" y="676"/>
                  </a:cubicBezTo>
                  <a:cubicBezTo>
                    <a:pt x="84" y="676"/>
                    <a:pt x="94" y="686"/>
                    <a:pt x="96" y="676"/>
                  </a:cubicBezTo>
                  <a:cubicBezTo>
                    <a:pt x="97" y="666"/>
                    <a:pt x="97" y="642"/>
                    <a:pt x="101" y="653"/>
                  </a:cubicBezTo>
                  <a:cubicBezTo>
                    <a:pt x="104" y="665"/>
                    <a:pt x="96" y="665"/>
                    <a:pt x="110" y="667"/>
                  </a:cubicBezTo>
                  <a:cubicBezTo>
                    <a:pt x="124" y="668"/>
                    <a:pt x="132" y="698"/>
                    <a:pt x="132" y="698"/>
                  </a:cubicBezTo>
                  <a:cubicBezTo>
                    <a:pt x="155" y="718"/>
                    <a:pt x="155" y="718"/>
                    <a:pt x="155" y="718"/>
                  </a:cubicBezTo>
                  <a:cubicBezTo>
                    <a:pt x="155" y="718"/>
                    <a:pt x="150" y="729"/>
                    <a:pt x="159" y="743"/>
                  </a:cubicBezTo>
                  <a:cubicBezTo>
                    <a:pt x="165" y="754"/>
                    <a:pt x="173" y="762"/>
                    <a:pt x="177" y="766"/>
                  </a:cubicBezTo>
                  <a:cubicBezTo>
                    <a:pt x="181" y="762"/>
                    <a:pt x="184" y="758"/>
                    <a:pt x="184" y="754"/>
                  </a:cubicBezTo>
                  <a:cubicBezTo>
                    <a:pt x="183" y="745"/>
                    <a:pt x="182" y="739"/>
                    <a:pt x="189" y="738"/>
                  </a:cubicBezTo>
                  <a:cubicBezTo>
                    <a:pt x="196" y="737"/>
                    <a:pt x="198" y="749"/>
                    <a:pt x="198" y="749"/>
                  </a:cubicBezTo>
                  <a:cubicBezTo>
                    <a:pt x="198" y="749"/>
                    <a:pt x="209" y="749"/>
                    <a:pt x="216" y="753"/>
                  </a:cubicBezTo>
                  <a:cubicBezTo>
                    <a:pt x="223" y="757"/>
                    <a:pt x="222" y="765"/>
                    <a:pt x="222" y="765"/>
                  </a:cubicBezTo>
                  <a:cubicBezTo>
                    <a:pt x="222" y="765"/>
                    <a:pt x="229" y="763"/>
                    <a:pt x="229" y="769"/>
                  </a:cubicBezTo>
                  <a:cubicBezTo>
                    <a:pt x="229" y="775"/>
                    <a:pt x="213" y="787"/>
                    <a:pt x="226" y="791"/>
                  </a:cubicBezTo>
                  <a:cubicBezTo>
                    <a:pt x="239" y="795"/>
                    <a:pt x="238" y="785"/>
                    <a:pt x="249" y="784"/>
                  </a:cubicBezTo>
                  <a:cubicBezTo>
                    <a:pt x="260" y="783"/>
                    <a:pt x="262" y="800"/>
                    <a:pt x="268" y="792"/>
                  </a:cubicBezTo>
                  <a:cubicBezTo>
                    <a:pt x="272" y="787"/>
                    <a:pt x="277" y="776"/>
                    <a:pt x="280" y="768"/>
                  </a:cubicBezTo>
                  <a:cubicBezTo>
                    <a:pt x="271" y="761"/>
                    <a:pt x="261" y="755"/>
                    <a:pt x="261" y="755"/>
                  </a:cubicBezTo>
                  <a:cubicBezTo>
                    <a:pt x="261" y="755"/>
                    <a:pt x="256" y="731"/>
                    <a:pt x="253" y="721"/>
                  </a:cubicBezTo>
                  <a:cubicBezTo>
                    <a:pt x="250" y="711"/>
                    <a:pt x="223" y="731"/>
                    <a:pt x="215" y="727"/>
                  </a:cubicBezTo>
                  <a:cubicBezTo>
                    <a:pt x="208" y="723"/>
                    <a:pt x="201" y="686"/>
                    <a:pt x="196" y="689"/>
                  </a:cubicBezTo>
                  <a:cubicBezTo>
                    <a:pt x="191" y="693"/>
                    <a:pt x="196" y="704"/>
                    <a:pt x="190" y="705"/>
                  </a:cubicBezTo>
                  <a:cubicBezTo>
                    <a:pt x="184" y="706"/>
                    <a:pt x="169" y="683"/>
                    <a:pt x="177" y="675"/>
                  </a:cubicBezTo>
                  <a:cubicBezTo>
                    <a:pt x="185" y="667"/>
                    <a:pt x="182" y="682"/>
                    <a:pt x="190" y="679"/>
                  </a:cubicBezTo>
                  <a:cubicBezTo>
                    <a:pt x="198" y="676"/>
                    <a:pt x="180" y="645"/>
                    <a:pt x="178" y="639"/>
                  </a:cubicBezTo>
                  <a:cubicBezTo>
                    <a:pt x="176" y="633"/>
                    <a:pt x="165" y="635"/>
                    <a:pt x="165" y="635"/>
                  </a:cubicBezTo>
                  <a:cubicBezTo>
                    <a:pt x="166" y="598"/>
                    <a:pt x="166" y="598"/>
                    <a:pt x="166" y="598"/>
                  </a:cubicBezTo>
                  <a:cubicBezTo>
                    <a:pt x="131" y="608"/>
                    <a:pt x="131" y="608"/>
                    <a:pt x="131" y="608"/>
                  </a:cubicBezTo>
                  <a:cubicBezTo>
                    <a:pt x="131" y="608"/>
                    <a:pt x="127" y="549"/>
                    <a:pt x="126" y="542"/>
                  </a:cubicBezTo>
                  <a:cubicBezTo>
                    <a:pt x="125" y="534"/>
                    <a:pt x="120" y="524"/>
                    <a:pt x="120" y="524"/>
                  </a:cubicBezTo>
                  <a:cubicBezTo>
                    <a:pt x="120" y="524"/>
                    <a:pt x="136" y="516"/>
                    <a:pt x="137" y="498"/>
                  </a:cubicBezTo>
                  <a:cubicBezTo>
                    <a:pt x="138" y="479"/>
                    <a:pt x="138" y="456"/>
                    <a:pt x="138" y="456"/>
                  </a:cubicBezTo>
                  <a:cubicBezTo>
                    <a:pt x="138" y="456"/>
                    <a:pt x="152" y="449"/>
                    <a:pt x="153" y="425"/>
                  </a:cubicBezTo>
                  <a:cubicBezTo>
                    <a:pt x="154" y="400"/>
                    <a:pt x="147" y="396"/>
                    <a:pt x="147" y="396"/>
                  </a:cubicBezTo>
                  <a:cubicBezTo>
                    <a:pt x="151" y="374"/>
                    <a:pt x="151" y="374"/>
                    <a:pt x="151" y="374"/>
                  </a:cubicBezTo>
                  <a:cubicBezTo>
                    <a:pt x="158" y="374"/>
                    <a:pt x="158" y="374"/>
                    <a:pt x="158" y="374"/>
                  </a:cubicBezTo>
                  <a:cubicBezTo>
                    <a:pt x="158" y="374"/>
                    <a:pt x="159" y="366"/>
                    <a:pt x="171" y="367"/>
                  </a:cubicBezTo>
                  <a:cubicBezTo>
                    <a:pt x="182" y="367"/>
                    <a:pt x="201" y="381"/>
                    <a:pt x="201" y="381"/>
                  </a:cubicBezTo>
                  <a:cubicBezTo>
                    <a:pt x="193" y="387"/>
                    <a:pt x="193" y="387"/>
                    <a:pt x="193" y="387"/>
                  </a:cubicBezTo>
                  <a:cubicBezTo>
                    <a:pt x="193" y="387"/>
                    <a:pt x="188" y="419"/>
                    <a:pt x="199" y="419"/>
                  </a:cubicBezTo>
                  <a:cubicBezTo>
                    <a:pt x="211" y="420"/>
                    <a:pt x="247" y="403"/>
                    <a:pt x="247" y="403"/>
                  </a:cubicBezTo>
                  <a:cubicBezTo>
                    <a:pt x="265" y="457"/>
                    <a:pt x="265" y="457"/>
                    <a:pt x="265" y="457"/>
                  </a:cubicBezTo>
                  <a:cubicBezTo>
                    <a:pt x="265" y="457"/>
                    <a:pt x="273" y="445"/>
                    <a:pt x="284" y="450"/>
                  </a:cubicBezTo>
                  <a:cubicBezTo>
                    <a:pt x="287" y="431"/>
                    <a:pt x="287" y="431"/>
                    <a:pt x="287" y="431"/>
                  </a:cubicBezTo>
                  <a:cubicBezTo>
                    <a:pt x="276" y="421"/>
                    <a:pt x="276" y="421"/>
                    <a:pt x="276" y="421"/>
                  </a:cubicBezTo>
                  <a:cubicBezTo>
                    <a:pt x="276" y="402"/>
                    <a:pt x="276" y="402"/>
                    <a:pt x="276" y="402"/>
                  </a:cubicBezTo>
                  <a:cubicBezTo>
                    <a:pt x="269" y="396"/>
                    <a:pt x="269" y="396"/>
                    <a:pt x="269" y="396"/>
                  </a:cubicBezTo>
                  <a:cubicBezTo>
                    <a:pt x="267" y="371"/>
                    <a:pt x="267" y="371"/>
                    <a:pt x="267" y="371"/>
                  </a:cubicBezTo>
                  <a:cubicBezTo>
                    <a:pt x="286" y="351"/>
                    <a:pt x="286" y="351"/>
                    <a:pt x="286" y="351"/>
                  </a:cubicBezTo>
                  <a:cubicBezTo>
                    <a:pt x="286" y="351"/>
                    <a:pt x="286" y="332"/>
                    <a:pt x="313" y="327"/>
                  </a:cubicBezTo>
                  <a:cubicBezTo>
                    <a:pt x="340" y="322"/>
                    <a:pt x="341" y="332"/>
                    <a:pt x="341" y="332"/>
                  </a:cubicBezTo>
                  <a:cubicBezTo>
                    <a:pt x="341" y="332"/>
                    <a:pt x="363" y="326"/>
                    <a:pt x="368" y="325"/>
                  </a:cubicBezTo>
                  <a:cubicBezTo>
                    <a:pt x="373" y="324"/>
                    <a:pt x="390" y="333"/>
                    <a:pt x="390" y="333"/>
                  </a:cubicBezTo>
                  <a:cubicBezTo>
                    <a:pt x="390" y="333"/>
                    <a:pt x="400" y="328"/>
                    <a:pt x="410" y="316"/>
                  </a:cubicBezTo>
                  <a:cubicBezTo>
                    <a:pt x="420" y="304"/>
                    <a:pt x="397" y="289"/>
                    <a:pt x="395" y="285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chemeClr val="tx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216">
              <a:extLst>
                <a:ext uri="{FF2B5EF4-FFF2-40B4-BE49-F238E27FC236}">
                  <a16:creationId xmlns:a16="http://schemas.microsoft.com/office/drawing/2014/main" id="{CEE25BB5-6C7F-B069-050C-F8E26F87981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" y="-12949"/>
              <a:ext cx="962" cy="1878"/>
            </a:xfrm>
            <a:custGeom>
              <a:avLst/>
              <a:gdLst>
                <a:gd name="T0" fmla="*/ 6 w 407"/>
                <a:gd name="T1" fmla="*/ 62 h 795"/>
                <a:gd name="T2" fmla="*/ 37 w 407"/>
                <a:gd name="T3" fmla="*/ 84 h 795"/>
                <a:gd name="T4" fmla="*/ 61 w 407"/>
                <a:gd name="T5" fmla="*/ 137 h 795"/>
                <a:gd name="T6" fmla="*/ 82 w 407"/>
                <a:gd name="T7" fmla="*/ 145 h 795"/>
                <a:gd name="T8" fmla="*/ 124 w 407"/>
                <a:gd name="T9" fmla="*/ 145 h 795"/>
                <a:gd name="T10" fmla="*/ 153 w 407"/>
                <a:gd name="T11" fmla="*/ 179 h 795"/>
                <a:gd name="T12" fmla="*/ 101 w 407"/>
                <a:gd name="T13" fmla="*/ 199 h 795"/>
                <a:gd name="T14" fmla="*/ 142 w 407"/>
                <a:gd name="T15" fmla="*/ 240 h 795"/>
                <a:gd name="T16" fmla="*/ 169 w 407"/>
                <a:gd name="T17" fmla="*/ 271 h 795"/>
                <a:gd name="T18" fmla="*/ 205 w 407"/>
                <a:gd name="T19" fmla="*/ 314 h 795"/>
                <a:gd name="T20" fmla="*/ 230 w 407"/>
                <a:gd name="T21" fmla="*/ 347 h 795"/>
                <a:gd name="T22" fmla="*/ 254 w 407"/>
                <a:gd name="T23" fmla="*/ 370 h 795"/>
                <a:gd name="T24" fmla="*/ 287 w 407"/>
                <a:gd name="T25" fmla="*/ 397 h 795"/>
                <a:gd name="T26" fmla="*/ 312 w 407"/>
                <a:gd name="T27" fmla="*/ 436 h 795"/>
                <a:gd name="T28" fmla="*/ 310 w 407"/>
                <a:gd name="T29" fmla="*/ 470 h 795"/>
                <a:gd name="T30" fmla="*/ 300 w 407"/>
                <a:gd name="T31" fmla="*/ 505 h 795"/>
                <a:gd name="T32" fmla="*/ 306 w 407"/>
                <a:gd name="T33" fmla="*/ 545 h 795"/>
                <a:gd name="T34" fmla="*/ 314 w 407"/>
                <a:gd name="T35" fmla="*/ 598 h 795"/>
                <a:gd name="T36" fmla="*/ 291 w 407"/>
                <a:gd name="T37" fmla="*/ 610 h 795"/>
                <a:gd name="T38" fmla="*/ 273 w 407"/>
                <a:gd name="T39" fmla="*/ 625 h 795"/>
                <a:gd name="T40" fmla="*/ 252 w 407"/>
                <a:gd name="T41" fmla="*/ 659 h 795"/>
                <a:gd name="T42" fmla="*/ 238 w 407"/>
                <a:gd name="T43" fmla="*/ 663 h 795"/>
                <a:gd name="T44" fmla="*/ 204 w 407"/>
                <a:gd name="T45" fmla="*/ 670 h 795"/>
                <a:gd name="T46" fmla="*/ 180 w 407"/>
                <a:gd name="T47" fmla="*/ 703 h 795"/>
                <a:gd name="T48" fmla="*/ 196 w 407"/>
                <a:gd name="T49" fmla="*/ 734 h 795"/>
                <a:gd name="T50" fmla="*/ 194 w 407"/>
                <a:gd name="T51" fmla="*/ 789 h 795"/>
                <a:gd name="T52" fmla="*/ 228 w 407"/>
                <a:gd name="T53" fmla="*/ 783 h 795"/>
                <a:gd name="T54" fmla="*/ 255 w 407"/>
                <a:gd name="T55" fmla="*/ 752 h 795"/>
                <a:gd name="T56" fmla="*/ 285 w 407"/>
                <a:gd name="T57" fmla="*/ 735 h 795"/>
                <a:gd name="T58" fmla="*/ 300 w 407"/>
                <a:gd name="T59" fmla="*/ 693 h 795"/>
                <a:gd name="T60" fmla="*/ 391 w 407"/>
                <a:gd name="T61" fmla="*/ 639 h 795"/>
                <a:gd name="T62" fmla="*/ 385 w 407"/>
                <a:gd name="T63" fmla="*/ 539 h 795"/>
                <a:gd name="T64" fmla="*/ 390 w 407"/>
                <a:gd name="T65" fmla="*/ 485 h 795"/>
                <a:gd name="T66" fmla="*/ 363 w 407"/>
                <a:gd name="T67" fmla="*/ 418 h 795"/>
                <a:gd name="T68" fmla="*/ 256 w 407"/>
                <a:gd name="T69" fmla="*/ 332 h 795"/>
                <a:gd name="T70" fmla="*/ 193 w 407"/>
                <a:gd name="T71" fmla="*/ 235 h 795"/>
                <a:gd name="T72" fmla="*/ 197 w 407"/>
                <a:gd name="T73" fmla="*/ 160 h 795"/>
                <a:gd name="T74" fmla="*/ 229 w 407"/>
                <a:gd name="T75" fmla="*/ 129 h 795"/>
                <a:gd name="T76" fmla="*/ 259 w 407"/>
                <a:gd name="T77" fmla="*/ 100 h 795"/>
                <a:gd name="T78" fmla="*/ 257 w 407"/>
                <a:gd name="T79" fmla="*/ 92 h 795"/>
                <a:gd name="T80" fmla="*/ 218 w 407"/>
                <a:gd name="T81" fmla="*/ 75 h 795"/>
                <a:gd name="T82" fmla="*/ 207 w 407"/>
                <a:gd name="T83" fmla="*/ 61 h 795"/>
                <a:gd name="T84" fmla="*/ 196 w 407"/>
                <a:gd name="T85" fmla="*/ 47 h 795"/>
                <a:gd name="T86" fmla="*/ 182 w 407"/>
                <a:gd name="T87" fmla="*/ 25 h 795"/>
                <a:gd name="T88" fmla="*/ 156 w 407"/>
                <a:gd name="T89" fmla="*/ 22 h 795"/>
                <a:gd name="T90" fmla="*/ 115 w 407"/>
                <a:gd name="T91" fmla="*/ 9 h 795"/>
                <a:gd name="T92" fmla="*/ 95 w 407"/>
                <a:gd name="T93" fmla="*/ 36 h 795"/>
                <a:gd name="T94" fmla="*/ 80 w 407"/>
                <a:gd name="T95" fmla="*/ 29 h 795"/>
                <a:gd name="T96" fmla="*/ 72 w 407"/>
                <a:gd name="T97" fmla="*/ 42 h 795"/>
                <a:gd name="T98" fmla="*/ 58 w 407"/>
                <a:gd name="T99" fmla="*/ 30 h 795"/>
                <a:gd name="T100" fmla="*/ 48 w 407"/>
                <a:gd name="T101" fmla="*/ 31 h 795"/>
                <a:gd name="T102" fmla="*/ 4 w 407"/>
                <a:gd name="T103" fmla="*/ 32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7" h="795">
                  <a:moveTo>
                    <a:pt x="4" y="32"/>
                  </a:moveTo>
                  <a:cubicBezTo>
                    <a:pt x="0" y="40"/>
                    <a:pt x="0" y="55"/>
                    <a:pt x="6" y="62"/>
                  </a:cubicBezTo>
                  <a:cubicBezTo>
                    <a:pt x="12" y="69"/>
                    <a:pt x="28" y="87"/>
                    <a:pt x="28" y="87"/>
                  </a:cubicBezTo>
                  <a:cubicBezTo>
                    <a:pt x="28" y="87"/>
                    <a:pt x="33" y="80"/>
                    <a:pt x="37" y="84"/>
                  </a:cubicBezTo>
                  <a:cubicBezTo>
                    <a:pt x="41" y="88"/>
                    <a:pt x="28" y="97"/>
                    <a:pt x="38" y="110"/>
                  </a:cubicBezTo>
                  <a:cubicBezTo>
                    <a:pt x="48" y="123"/>
                    <a:pt x="61" y="137"/>
                    <a:pt x="61" y="137"/>
                  </a:cubicBezTo>
                  <a:cubicBezTo>
                    <a:pt x="70" y="137"/>
                    <a:pt x="70" y="137"/>
                    <a:pt x="70" y="137"/>
                  </a:cubicBezTo>
                  <a:cubicBezTo>
                    <a:pt x="70" y="137"/>
                    <a:pt x="75" y="153"/>
                    <a:pt x="82" y="145"/>
                  </a:cubicBezTo>
                  <a:cubicBezTo>
                    <a:pt x="89" y="137"/>
                    <a:pt x="86" y="125"/>
                    <a:pt x="94" y="126"/>
                  </a:cubicBezTo>
                  <a:cubicBezTo>
                    <a:pt x="102" y="127"/>
                    <a:pt x="124" y="145"/>
                    <a:pt x="124" y="145"/>
                  </a:cubicBezTo>
                  <a:cubicBezTo>
                    <a:pt x="124" y="145"/>
                    <a:pt x="104" y="151"/>
                    <a:pt x="122" y="159"/>
                  </a:cubicBezTo>
                  <a:cubicBezTo>
                    <a:pt x="140" y="167"/>
                    <a:pt x="159" y="169"/>
                    <a:pt x="153" y="179"/>
                  </a:cubicBezTo>
                  <a:cubicBezTo>
                    <a:pt x="147" y="189"/>
                    <a:pt x="128" y="203"/>
                    <a:pt x="128" y="203"/>
                  </a:cubicBezTo>
                  <a:cubicBezTo>
                    <a:pt x="128" y="203"/>
                    <a:pt x="99" y="195"/>
                    <a:pt x="101" y="199"/>
                  </a:cubicBezTo>
                  <a:cubicBezTo>
                    <a:pt x="103" y="203"/>
                    <a:pt x="103" y="215"/>
                    <a:pt x="103" y="215"/>
                  </a:cubicBezTo>
                  <a:cubicBezTo>
                    <a:pt x="103" y="215"/>
                    <a:pt x="136" y="235"/>
                    <a:pt x="142" y="240"/>
                  </a:cubicBezTo>
                  <a:cubicBezTo>
                    <a:pt x="148" y="245"/>
                    <a:pt x="166" y="250"/>
                    <a:pt x="166" y="250"/>
                  </a:cubicBezTo>
                  <a:cubicBezTo>
                    <a:pt x="166" y="250"/>
                    <a:pt x="165" y="267"/>
                    <a:pt x="169" y="271"/>
                  </a:cubicBezTo>
                  <a:cubicBezTo>
                    <a:pt x="173" y="275"/>
                    <a:pt x="195" y="283"/>
                    <a:pt x="195" y="283"/>
                  </a:cubicBezTo>
                  <a:cubicBezTo>
                    <a:pt x="195" y="283"/>
                    <a:pt x="192" y="303"/>
                    <a:pt x="205" y="314"/>
                  </a:cubicBezTo>
                  <a:cubicBezTo>
                    <a:pt x="218" y="325"/>
                    <a:pt x="229" y="336"/>
                    <a:pt x="229" y="336"/>
                  </a:cubicBezTo>
                  <a:cubicBezTo>
                    <a:pt x="230" y="347"/>
                    <a:pt x="230" y="347"/>
                    <a:pt x="230" y="347"/>
                  </a:cubicBezTo>
                  <a:cubicBezTo>
                    <a:pt x="244" y="346"/>
                    <a:pt x="244" y="346"/>
                    <a:pt x="244" y="346"/>
                  </a:cubicBezTo>
                  <a:cubicBezTo>
                    <a:pt x="244" y="346"/>
                    <a:pt x="247" y="363"/>
                    <a:pt x="254" y="370"/>
                  </a:cubicBezTo>
                  <a:cubicBezTo>
                    <a:pt x="261" y="377"/>
                    <a:pt x="271" y="378"/>
                    <a:pt x="271" y="378"/>
                  </a:cubicBezTo>
                  <a:cubicBezTo>
                    <a:pt x="271" y="378"/>
                    <a:pt x="295" y="392"/>
                    <a:pt x="287" y="397"/>
                  </a:cubicBezTo>
                  <a:cubicBezTo>
                    <a:pt x="279" y="402"/>
                    <a:pt x="265" y="405"/>
                    <a:pt x="279" y="416"/>
                  </a:cubicBezTo>
                  <a:cubicBezTo>
                    <a:pt x="293" y="427"/>
                    <a:pt x="312" y="436"/>
                    <a:pt x="312" y="436"/>
                  </a:cubicBezTo>
                  <a:cubicBezTo>
                    <a:pt x="301" y="457"/>
                    <a:pt x="301" y="457"/>
                    <a:pt x="301" y="457"/>
                  </a:cubicBezTo>
                  <a:cubicBezTo>
                    <a:pt x="301" y="457"/>
                    <a:pt x="314" y="462"/>
                    <a:pt x="310" y="470"/>
                  </a:cubicBezTo>
                  <a:cubicBezTo>
                    <a:pt x="306" y="478"/>
                    <a:pt x="300" y="477"/>
                    <a:pt x="300" y="477"/>
                  </a:cubicBezTo>
                  <a:cubicBezTo>
                    <a:pt x="300" y="505"/>
                    <a:pt x="300" y="505"/>
                    <a:pt x="300" y="505"/>
                  </a:cubicBezTo>
                  <a:cubicBezTo>
                    <a:pt x="300" y="505"/>
                    <a:pt x="321" y="516"/>
                    <a:pt x="321" y="529"/>
                  </a:cubicBezTo>
                  <a:cubicBezTo>
                    <a:pt x="321" y="542"/>
                    <a:pt x="305" y="542"/>
                    <a:pt x="306" y="545"/>
                  </a:cubicBezTo>
                  <a:cubicBezTo>
                    <a:pt x="307" y="548"/>
                    <a:pt x="317" y="584"/>
                    <a:pt x="317" y="584"/>
                  </a:cubicBezTo>
                  <a:cubicBezTo>
                    <a:pt x="314" y="598"/>
                    <a:pt x="314" y="598"/>
                    <a:pt x="314" y="598"/>
                  </a:cubicBezTo>
                  <a:cubicBezTo>
                    <a:pt x="314" y="598"/>
                    <a:pt x="302" y="593"/>
                    <a:pt x="297" y="596"/>
                  </a:cubicBezTo>
                  <a:cubicBezTo>
                    <a:pt x="292" y="599"/>
                    <a:pt x="291" y="610"/>
                    <a:pt x="291" y="610"/>
                  </a:cubicBezTo>
                  <a:cubicBezTo>
                    <a:pt x="270" y="611"/>
                    <a:pt x="270" y="611"/>
                    <a:pt x="270" y="611"/>
                  </a:cubicBezTo>
                  <a:cubicBezTo>
                    <a:pt x="273" y="625"/>
                    <a:pt x="273" y="625"/>
                    <a:pt x="273" y="625"/>
                  </a:cubicBezTo>
                  <a:cubicBezTo>
                    <a:pt x="273" y="625"/>
                    <a:pt x="246" y="621"/>
                    <a:pt x="244" y="627"/>
                  </a:cubicBezTo>
                  <a:cubicBezTo>
                    <a:pt x="242" y="633"/>
                    <a:pt x="242" y="651"/>
                    <a:pt x="252" y="659"/>
                  </a:cubicBezTo>
                  <a:cubicBezTo>
                    <a:pt x="262" y="667"/>
                    <a:pt x="269" y="677"/>
                    <a:pt x="262" y="678"/>
                  </a:cubicBezTo>
                  <a:cubicBezTo>
                    <a:pt x="255" y="679"/>
                    <a:pt x="248" y="663"/>
                    <a:pt x="238" y="663"/>
                  </a:cubicBezTo>
                  <a:cubicBezTo>
                    <a:pt x="228" y="663"/>
                    <a:pt x="226" y="670"/>
                    <a:pt x="222" y="670"/>
                  </a:cubicBezTo>
                  <a:cubicBezTo>
                    <a:pt x="218" y="670"/>
                    <a:pt x="204" y="670"/>
                    <a:pt x="204" y="670"/>
                  </a:cubicBezTo>
                  <a:cubicBezTo>
                    <a:pt x="204" y="670"/>
                    <a:pt x="228" y="684"/>
                    <a:pt x="208" y="686"/>
                  </a:cubicBezTo>
                  <a:cubicBezTo>
                    <a:pt x="188" y="688"/>
                    <a:pt x="174" y="695"/>
                    <a:pt x="180" y="703"/>
                  </a:cubicBezTo>
                  <a:cubicBezTo>
                    <a:pt x="186" y="711"/>
                    <a:pt x="209" y="723"/>
                    <a:pt x="209" y="723"/>
                  </a:cubicBezTo>
                  <a:cubicBezTo>
                    <a:pt x="196" y="734"/>
                    <a:pt x="196" y="734"/>
                    <a:pt x="196" y="734"/>
                  </a:cubicBezTo>
                  <a:cubicBezTo>
                    <a:pt x="196" y="734"/>
                    <a:pt x="210" y="769"/>
                    <a:pt x="203" y="775"/>
                  </a:cubicBezTo>
                  <a:cubicBezTo>
                    <a:pt x="199" y="778"/>
                    <a:pt x="196" y="784"/>
                    <a:pt x="194" y="789"/>
                  </a:cubicBezTo>
                  <a:cubicBezTo>
                    <a:pt x="195" y="789"/>
                    <a:pt x="195" y="789"/>
                    <a:pt x="195" y="789"/>
                  </a:cubicBezTo>
                  <a:cubicBezTo>
                    <a:pt x="204" y="795"/>
                    <a:pt x="218" y="795"/>
                    <a:pt x="228" y="783"/>
                  </a:cubicBezTo>
                  <a:cubicBezTo>
                    <a:pt x="239" y="772"/>
                    <a:pt x="252" y="768"/>
                    <a:pt x="252" y="768"/>
                  </a:cubicBezTo>
                  <a:cubicBezTo>
                    <a:pt x="255" y="752"/>
                    <a:pt x="255" y="752"/>
                    <a:pt x="255" y="752"/>
                  </a:cubicBezTo>
                  <a:cubicBezTo>
                    <a:pt x="255" y="736"/>
                    <a:pt x="255" y="736"/>
                    <a:pt x="255" y="736"/>
                  </a:cubicBezTo>
                  <a:cubicBezTo>
                    <a:pt x="255" y="736"/>
                    <a:pt x="280" y="747"/>
                    <a:pt x="285" y="735"/>
                  </a:cubicBezTo>
                  <a:cubicBezTo>
                    <a:pt x="289" y="723"/>
                    <a:pt x="269" y="711"/>
                    <a:pt x="273" y="708"/>
                  </a:cubicBezTo>
                  <a:cubicBezTo>
                    <a:pt x="277" y="704"/>
                    <a:pt x="300" y="693"/>
                    <a:pt x="300" y="693"/>
                  </a:cubicBezTo>
                  <a:cubicBezTo>
                    <a:pt x="300" y="693"/>
                    <a:pt x="311" y="702"/>
                    <a:pt x="334" y="690"/>
                  </a:cubicBezTo>
                  <a:cubicBezTo>
                    <a:pt x="356" y="679"/>
                    <a:pt x="387" y="656"/>
                    <a:pt x="391" y="639"/>
                  </a:cubicBezTo>
                  <a:cubicBezTo>
                    <a:pt x="394" y="622"/>
                    <a:pt x="407" y="577"/>
                    <a:pt x="405" y="567"/>
                  </a:cubicBezTo>
                  <a:cubicBezTo>
                    <a:pt x="403" y="557"/>
                    <a:pt x="385" y="539"/>
                    <a:pt x="385" y="539"/>
                  </a:cubicBezTo>
                  <a:cubicBezTo>
                    <a:pt x="395" y="535"/>
                    <a:pt x="395" y="535"/>
                    <a:pt x="395" y="535"/>
                  </a:cubicBezTo>
                  <a:cubicBezTo>
                    <a:pt x="395" y="535"/>
                    <a:pt x="395" y="498"/>
                    <a:pt x="390" y="485"/>
                  </a:cubicBezTo>
                  <a:cubicBezTo>
                    <a:pt x="384" y="471"/>
                    <a:pt x="368" y="448"/>
                    <a:pt x="368" y="448"/>
                  </a:cubicBezTo>
                  <a:cubicBezTo>
                    <a:pt x="368" y="448"/>
                    <a:pt x="379" y="434"/>
                    <a:pt x="363" y="418"/>
                  </a:cubicBezTo>
                  <a:cubicBezTo>
                    <a:pt x="347" y="403"/>
                    <a:pt x="302" y="361"/>
                    <a:pt x="288" y="354"/>
                  </a:cubicBezTo>
                  <a:cubicBezTo>
                    <a:pt x="274" y="348"/>
                    <a:pt x="259" y="340"/>
                    <a:pt x="256" y="332"/>
                  </a:cubicBezTo>
                  <a:cubicBezTo>
                    <a:pt x="252" y="325"/>
                    <a:pt x="260" y="319"/>
                    <a:pt x="254" y="309"/>
                  </a:cubicBezTo>
                  <a:cubicBezTo>
                    <a:pt x="248" y="299"/>
                    <a:pt x="200" y="258"/>
                    <a:pt x="193" y="235"/>
                  </a:cubicBezTo>
                  <a:cubicBezTo>
                    <a:pt x="187" y="211"/>
                    <a:pt x="182" y="185"/>
                    <a:pt x="188" y="180"/>
                  </a:cubicBezTo>
                  <a:cubicBezTo>
                    <a:pt x="195" y="176"/>
                    <a:pt x="197" y="160"/>
                    <a:pt x="197" y="160"/>
                  </a:cubicBezTo>
                  <a:cubicBezTo>
                    <a:pt x="197" y="160"/>
                    <a:pt x="215" y="147"/>
                    <a:pt x="220" y="143"/>
                  </a:cubicBezTo>
                  <a:cubicBezTo>
                    <a:pt x="226" y="140"/>
                    <a:pt x="229" y="129"/>
                    <a:pt x="229" y="129"/>
                  </a:cubicBezTo>
                  <a:cubicBezTo>
                    <a:pt x="229" y="129"/>
                    <a:pt x="248" y="132"/>
                    <a:pt x="254" y="127"/>
                  </a:cubicBezTo>
                  <a:cubicBezTo>
                    <a:pt x="259" y="122"/>
                    <a:pt x="259" y="100"/>
                    <a:pt x="259" y="100"/>
                  </a:cubicBezTo>
                  <a:cubicBezTo>
                    <a:pt x="266" y="95"/>
                    <a:pt x="266" y="95"/>
                    <a:pt x="266" y="95"/>
                  </a:cubicBezTo>
                  <a:cubicBezTo>
                    <a:pt x="264" y="94"/>
                    <a:pt x="261" y="92"/>
                    <a:pt x="257" y="92"/>
                  </a:cubicBezTo>
                  <a:cubicBezTo>
                    <a:pt x="249" y="91"/>
                    <a:pt x="236" y="94"/>
                    <a:pt x="229" y="87"/>
                  </a:cubicBezTo>
                  <a:cubicBezTo>
                    <a:pt x="222" y="80"/>
                    <a:pt x="218" y="75"/>
                    <a:pt x="218" y="75"/>
                  </a:cubicBezTo>
                  <a:cubicBezTo>
                    <a:pt x="207" y="74"/>
                    <a:pt x="207" y="74"/>
                    <a:pt x="207" y="74"/>
                  </a:cubicBezTo>
                  <a:cubicBezTo>
                    <a:pt x="207" y="61"/>
                    <a:pt x="207" y="61"/>
                    <a:pt x="207" y="61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96" y="47"/>
                    <a:pt x="196" y="47"/>
                    <a:pt x="196" y="47"/>
                  </a:cubicBezTo>
                  <a:cubicBezTo>
                    <a:pt x="196" y="47"/>
                    <a:pt x="212" y="40"/>
                    <a:pt x="207" y="32"/>
                  </a:cubicBezTo>
                  <a:cubicBezTo>
                    <a:pt x="202" y="24"/>
                    <a:pt x="182" y="25"/>
                    <a:pt x="182" y="25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4" y="0"/>
                    <a:pt x="119" y="4"/>
                    <a:pt x="115" y="9"/>
                  </a:cubicBezTo>
                  <a:cubicBezTo>
                    <a:pt x="111" y="14"/>
                    <a:pt x="117" y="28"/>
                    <a:pt x="110" y="30"/>
                  </a:cubicBezTo>
                  <a:cubicBezTo>
                    <a:pt x="103" y="32"/>
                    <a:pt x="95" y="36"/>
                    <a:pt x="95" y="36"/>
                  </a:cubicBezTo>
                  <a:cubicBezTo>
                    <a:pt x="91" y="29"/>
                    <a:pt x="91" y="29"/>
                    <a:pt x="91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97" y="45"/>
                    <a:pt x="84" y="46"/>
                  </a:cubicBezTo>
                  <a:cubicBezTo>
                    <a:pt x="71" y="47"/>
                    <a:pt x="72" y="42"/>
                    <a:pt x="72" y="42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39" y="47"/>
                    <a:pt x="33" y="47"/>
                  </a:cubicBezTo>
                  <a:cubicBezTo>
                    <a:pt x="27" y="47"/>
                    <a:pt x="8" y="24"/>
                    <a:pt x="4" y="32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217">
              <a:extLst>
                <a:ext uri="{FF2B5EF4-FFF2-40B4-BE49-F238E27FC236}">
                  <a16:creationId xmlns:a16="http://schemas.microsoft.com/office/drawing/2014/main" id="{92C6D2B4-39AE-E28B-C7A1-C92ADD0964DE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8" y="-13873"/>
              <a:ext cx="945" cy="551"/>
            </a:xfrm>
            <a:custGeom>
              <a:avLst/>
              <a:gdLst>
                <a:gd name="T0" fmla="*/ 203 w 400"/>
                <a:gd name="T1" fmla="*/ 166 h 233"/>
                <a:gd name="T2" fmla="*/ 213 w 400"/>
                <a:gd name="T3" fmla="*/ 179 h 233"/>
                <a:gd name="T4" fmla="*/ 227 w 400"/>
                <a:gd name="T5" fmla="*/ 176 h 233"/>
                <a:gd name="T6" fmla="*/ 244 w 400"/>
                <a:gd name="T7" fmla="*/ 194 h 233"/>
                <a:gd name="T8" fmla="*/ 262 w 400"/>
                <a:gd name="T9" fmla="*/ 213 h 233"/>
                <a:gd name="T10" fmla="*/ 274 w 400"/>
                <a:gd name="T11" fmla="*/ 204 h 233"/>
                <a:gd name="T12" fmla="*/ 296 w 400"/>
                <a:gd name="T13" fmla="*/ 218 h 233"/>
                <a:gd name="T14" fmla="*/ 313 w 400"/>
                <a:gd name="T15" fmla="*/ 213 h 233"/>
                <a:gd name="T16" fmla="*/ 337 w 400"/>
                <a:gd name="T17" fmla="*/ 230 h 233"/>
                <a:gd name="T18" fmla="*/ 351 w 400"/>
                <a:gd name="T19" fmla="*/ 219 h 233"/>
                <a:gd name="T20" fmla="*/ 361 w 400"/>
                <a:gd name="T21" fmla="*/ 229 h 233"/>
                <a:gd name="T22" fmla="*/ 377 w 400"/>
                <a:gd name="T23" fmla="*/ 230 h 233"/>
                <a:gd name="T24" fmla="*/ 399 w 400"/>
                <a:gd name="T25" fmla="*/ 224 h 233"/>
                <a:gd name="T26" fmla="*/ 400 w 400"/>
                <a:gd name="T27" fmla="*/ 206 h 233"/>
                <a:gd name="T28" fmla="*/ 390 w 400"/>
                <a:gd name="T29" fmla="*/ 191 h 233"/>
                <a:gd name="T30" fmla="*/ 390 w 400"/>
                <a:gd name="T31" fmla="*/ 159 h 233"/>
                <a:gd name="T32" fmla="*/ 384 w 400"/>
                <a:gd name="T33" fmla="*/ 144 h 233"/>
                <a:gd name="T34" fmla="*/ 363 w 400"/>
                <a:gd name="T35" fmla="*/ 153 h 233"/>
                <a:gd name="T36" fmla="*/ 316 w 400"/>
                <a:gd name="T37" fmla="*/ 134 h 233"/>
                <a:gd name="T38" fmla="*/ 304 w 400"/>
                <a:gd name="T39" fmla="*/ 143 h 233"/>
                <a:gd name="T40" fmla="*/ 295 w 400"/>
                <a:gd name="T41" fmla="*/ 130 h 233"/>
                <a:gd name="T42" fmla="*/ 284 w 400"/>
                <a:gd name="T43" fmla="*/ 143 h 233"/>
                <a:gd name="T44" fmla="*/ 275 w 400"/>
                <a:gd name="T45" fmla="*/ 124 h 233"/>
                <a:gd name="T46" fmla="*/ 247 w 400"/>
                <a:gd name="T47" fmla="*/ 126 h 233"/>
                <a:gd name="T48" fmla="*/ 243 w 400"/>
                <a:gd name="T49" fmla="*/ 109 h 233"/>
                <a:gd name="T50" fmla="*/ 223 w 400"/>
                <a:gd name="T51" fmla="*/ 113 h 233"/>
                <a:gd name="T52" fmla="*/ 201 w 400"/>
                <a:gd name="T53" fmla="*/ 95 h 233"/>
                <a:gd name="T54" fmla="*/ 187 w 400"/>
                <a:gd name="T55" fmla="*/ 66 h 233"/>
                <a:gd name="T56" fmla="*/ 168 w 400"/>
                <a:gd name="T57" fmla="*/ 83 h 233"/>
                <a:gd name="T58" fmla="*/ 149 w 400"/>
                <a:gd name="T59" fmla="*/ 50 h 233"/>
                <a:gd name="T60" fmla="*/ 118 w 400"/>
                <a:gd name="T61" fmla="*/ 44 h 233"/>
                <a:gd name="T62" fmla="*/ 86 w 400"/>
                <a:gd name="T63" fmla="*/ 15 h 233"/>
                <a:gd name="T64" fmla="*/ 59 w 400"/>
                <a:gd name="T65" fmla="*/ 17 h 233"/>
                <a:gd name="T66" fmla="*/ 44 w 400"/>
                <a:gd name="T67" fmla="*/ 30 h 233"/>
                <a:gd name="T68" fmla="*/ 32 w 400"/>
                <a:gd name="T69" fmla="*/ 19 h 233"/>
                <a:gd name="T70" fmla="*/ 26 w 400"/>
                <a:gd name="T71" fmla="*/ 32 h 233"/>
                <a:gd name="T72" fmla="*/ 11 w 400"/>
                <a:gd name="T73" fmla="*/ 50 h 233"/>
                <a:gd name="T74" fmla="*/ 17 w 400"/>
                <a:gd name="T75" fmla="*/ 59 h 233"/>
                <a:gd name="T76" fmla="*/ 10 w 400"/>
                <a:gd name="T77" fmla="*/ 67 h 233"/>
                <a:gd name="T78" fmla="*/ 19 w 400"/>
                <a:gd name="T79" fmla="*/ 73 h 233"/>
                <a:gd name="T80" fmla="*/ 7 w 400"/>
                <a:gd name="T81" fmla="*/ 91 h 233"/>
                <a:gd name="T82" fmla="*/ 26 w 400"/>
                <a:gd name="T83" fmla="*/ 110 h 233"/>
                <a:gd name="T84" fmla="*/ 36 w 400"/>
                <a:gd name="T85" fmla="*/ 104 h 233"/>
                <a:gd name="T86" fmla="*/ 47 w 400"/>
                <a:gd name="T87" fmla="*/ 122 h 233"/>
                <a:gd name="T88" fmla="*/ 65 w 400"/>
                <a:gd name="T89" fmla="*/ 122 h 233"/>
                <a:gd name="T90" fmla="*/ 72 w 400"/>
                <a:gd name="T91" fmla="*/ 132 h 233"/>
                <a:gd name="T92" fmla="*/ 100 w 400"/>
                <a:gd name="T93" fmla="*/ 147 h 233"/>
                <a:gd name="T94" fmla="*/ 109 w 400"/>
                <a:gd name="T95" fmla="*/ 146 h 233"/>
                <a:gd name="T96" fmla="*/ 124 w 400"/>
                <a:gd name="T97" fmla="*/ 160 h 233"/>
                <a:gd name="T98" fmla="*/ 142 w 400"/>
                <a:gd name="T99" fmla="*/ 159 h 233"/>
                <a:gd name="T100" fmla="*/ 148 w 400"/>
                <a:gd name="T101" fmla="*/ 168 h 233"/>
                <a:gd name="T102" fmla="*/ 168 w 400"/>
                <a:gd name="T103" fmla="*/ 174 h 233"/>
                <a:gd name="T104" fmla="*/ 171 w 400"/>
                <a:gd name="T105" fmla="*/ 181 h 233"/>
                <a:gd name="T106" fmla="*/ 185 w 400"/>
                <a:gd name="T107" fmla="*/ 173 h 233"/>
                <a:gd name="T108" fmla="*/ 195 w 400"/>
                <a:gd name="T109" fmla="*/ 180 h 233"/>
                <a:gd name="T110" fmla="*/ 203 w 400"/>
                <a:gd name="T111" fmla="*/ 16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0" h="233">
                  <a:moveTo>
                    <a:pt x="203" y="166"/>
                  </a:moveTo>
                  <a:cubicBezTo>
                    <a:pt x="212" y="171"/>
                    <a:pt x="213" y="179"/>
                    <a:pt x="213" y="179"/>
                  </a:cubicBezTo>
                  <a:cubicBezTo>
                    <a:pt x="227" y="176"/>
                    <a:pt x="227" y="176"/>
                    <a:pt x="227" y="176"/>
                  </a:cubicBezTo>
                  <a:cubicBezTo>
                    <a:pt x="227" y="176"/>
                    <a:pt x="235" y="186"/>
                    <a:pt x="244" y="194"/>
                  </a:cubicBezTo>
                  <a:cubicBezTo>
                    <a:pt x="253" y="202"/>
                    <a:pt x="262" y="213"/>
                    <a:pt x="262" y="213"/>
                  </a:cubicBezTo>
                  <a:cubicBezTo>
                    <a:pt x="274" y="204"/>
                    <a:pt x="274" y="204"/>
                    <a:pt x="274" y="204"/>
                  </a:cubicBezTo>
                  <a:cubicBezTo>
                    <a:pt x="296" y="218"/>
                    <a:pt x="296" y="218"/>
                    <a:pt x="296" y="218"/>
                  </a:cubicBezTo>
                  <a:cubicBezTo>
                    <a:pt x="296" y="218"/>
                    <a:pt x="300" y="209"/>
                    <a:pt x="313" y="213"/>
                  </a:cubicBezTo>
                  <a:cubicBezTo>
                    <a:pt x="326" y="217"/>
                    <a:pt x="337" y="230"/>
                    <a:pt x="337" y="230"/>
                  </a:cubicBezTo>
                  <a:cubicBezTo>
                    <a:pt x="337" y="230"/>
                    <a:pt x="345" y="219"/>
                    <a:pt x="351" y="219"/>
                  </a:cubicBezTo>
                  <a:cubicBezTo>
                    <a:pt x="357" y="219"/>
                    <a:pt x="352" y="229"/>
                    <a:pt x="361" y="229"/>
                  </a:cubicBezTo>
                  <a:cubicBezTo>
                    <a:pt x="370" y="229"/>
                    <a:pt x="377" y="230"/>
                    <a:pt x="377" y="230"/>
                  </a:cubicBezTo>
                  <a:cubicBezTo>
                    <a:pt x="377" y="230"/>
                    <a:pt x="398" y="233"/>
                    <a:pt x="399" y="224"/>
                  </a:cubicBezTo>
                  <a:cubicBezTo>
                    <a:pt x="400" y="215"/>
                    <a:pt x="400" y="206"/>
                    <a:pt x="400" y="206"/>
                  </a:cubicBezTo>
                  <a:cubicBezTo>
                    <a:pt x="390" y="191"/>
                    <a:pt x="390" y="191"/>
                    <a:pt x="390" y="191"/>
                  </a:cubicBezTo>
                  <a:cubicBezTo>
                    <a:pt x="390" y="159"/>
                    <a:pt x="390" y="159"/>
                    <a:pt x="390" y="159"/>
                  </a:cubicBezTo>
                  <a:cubicBezTo>
                    <a:pt x="384" y="144"/>
                    <a:pt x="384" y="144"/>
                    <a:pt x="384" y="144"/>
                  </a:cubicBezTo>
                  <a:cubicBezTo>
                    <a:pt x="376" y="148"/>
                    <a:pt x="369" y="152"/>
                    <a:pt x="363" y="153"/>
                  </a:cubicBezTo>
                  <a:cubicBezTo>
                    <a:pt x="349" y="154"/>
                    <a:pt x="316" y="134"/>
                    <a:pt x="316" y="134"/>
                  </a:cubicBezTo>
                  <a:cubicBezTo>
                    <a:pt x="316" y="134"/>
                    <a:pt x="314" y="142"/>
                    <a:pt x="304" y="143"/>
                  </a:cubicBezTo>
                  <a:cubicBezTo>
                    <a:pt x="294" y="144"/>
                    <a:pt x="295" y="130"/>
                    <a:pt x="295" y="130"/>
                  </a:cubicBezTo>
                  <a:cubicBezTo>
                    <a:pt x="295" y="130"/>
                    <a:pt x="293" y="144"/>
                    <a:pt x="284" y="143"/>
                  </a:cubicBezTo>
                  <a:cubicBezTo>
                    <a:pt x="275" y="142"/>
                    <a:pt x="275" y="124"/>
                    <a:pt x="275" y="124"/>
                  </a:cubicBezTo>
                  <a:cubicBezTo>
                    <a:pt x="275" y="124"/>
                    <a:pt x="263" y="133"/>
                    <a:pt x="247" y="126"/>
                  </a:cubicBezTo>
                  <a:cubicBezTo>
                    <a:pt x="231" y="119"/>
                    <a:pt x="248" y="116"/>
                    <a:pt x="243" y="109"/>
                  </a:cubicBezTo>
                  <a:cubicBezTo>
                    <a:pt x="238" y="102"/>
                    <a:pt x="223" y="113"/>
                    <a:pt x="223" y="113"/>
                  </a:cubicBezTo>
                  <a:cubicBezTo>
                    <a:pt x="223" y="113"/>
                    <a:pt x="209" y="101"/>
                    <a:pt x="201" y="95"/>
                  </a:cubicBezTo>
                  <a:cubicBezTo>
                    <a:pt x="193" y="89"/>
                    <a:pt x="198" y="73"/>
                    <a:pt x="187" y="66"/>
                  </a:cubicBezTo>
                  <a:cubicBezTo>
                    <a:pt x="176" y="59"/>
                    <a:pt x="172" y="84"/>
                    <a:pt x="168" y="83"/>
                  </a:cubicBezTo>
                  <a:cubicBezTo>
                    <a:pt x="164" y="82"/>
                    <a:pt x="149" y="50"/>
                    <a:pt x="149" y="50"/>
                  </a:cubicBezTo>
                  <a:cubicBezTo>
                    <a:pt x="118" y="44"/>
                    <a:pt x="118" y="44"/>
                    <a:pt x="118" y="44"/>
                  </a:cubicBezTo>
                  <a:cubicBezTo>
                    <a:pt x="118" y="44"/>
                    <a:pt x="100" y="30"/>
                    <a:pt x="86" y="15"/>
                  </a:cubicBezTo>
                  <a:cubicBezTo>
                    <a:pt x="72" y="0"/>
                    <a:pt x="59" y="17"/>
                    <a:pt x="59" y="17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6" y="61"/>
                    <a:pt x="10" y="67"/>
                  </a:cubicBezTo>
                  <a:cubicBezTo>
                    <a:pt x="14" y="73"/>
                    <a:pt x="19" y="73"/>
                    <a:pt x="19" y="73"/>
                  </a:cubicBezTo>
                  <a:cubicBezTo>
                    <a:pt x="19" y="73"/>
                    <a:pt x="0" y="83"/>
                    <a:pt x="7" y="91"/>
                  </a:cubicBezTo>
                  <a:cubicBezTo>
                    <a:pt x="14" y="99"/>
                    <a:pt x="26" y="110"/>
                    <a:pt x="26" y="110"/>
                  </a:cubicBezTo>
                  <a:cubicBezTo>
                    <a:pt x="36" y="104"/>
                    <a:pt x="36" y="104"/>
                    <a:pt x="36" y="104"/>
                  </a:cubicBezTo>
                  <a:cubicBezTo>
                    <a:pt x="47" y="122"/>
                    <a:pt x="47" y="122"/>
                    <a:pt x="47" y="122"/>
                  </a:cubicBezTo>
                  <a:cubicBezTo>
                    <a:pt x="65" y="122"/>
                    <a:pt x="65" y="122"/>
                    <a:pt x="65" y="122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100" y="147"/>
                    <a:pt x="100" y="147"/>
                    <a:pt x="100" y="147"/>
                  </a:cubicBezTo>
                  <a:cubicBezTo>
                    <a:pt x="109" y="146"/>
                    <a:pt x="109" y="146"/>
                    <a:pt x="109" y="146"/>
                  </a:cubicBezTo>
                  <a:cubicBezTo>
                    <a:pt x="109" y="146"/>
                    <a:pt x="116" y="160"/>
                    <a:pt x="124" y="160"/>
                  </a:cubicBezTo>
                  <a:cubicBezTo>
                    <a:pt x="132" y="160"/>
                    <a:pt x="137" y="157"/>
                    <a:pt x="142" y="159"/>
                  </a:cubicBezTo>
                  <a:cubicBezTo>
                    <a:pt x="147" y="161"/>
                    <a:pt x="135" y="166"/>
                    <a:pt x="148" y="168"/>
                  </a:cubicBezTo>
                  <a:cubicBezTo>
                    <a:pt x="161" y="170"/>
                    <a:pt x="168" y="174"/>
                    <a:pt x="168" y="174"/>
                  </a:cubicBezTo>
                  <a:cubicBezTo>
                    <a:pt x="171" y="181"/>
                    <a:pt x="171" y="181"/>
                    <a:pt x="171" y="181"/>
                  </a:cubicBezTo>
                  <a:cubicBezTo>
                    <a:pt x="171" y="181"/>
                    <a:pt x="176" y="173"/>
                    <a:pt x="185" y="173"/>
                  </a:cubicBezTo>
                  <a:cubicBezTo>
                    <a:pt x="194" y="173"/>
                    <a:pt x="195" y="180"/>
                    <a:pt x="195" y="180"/>
                  </a:cubicBezTo>
                  <a:cubicBezTo>
                    <a:pt x="195" y="180"/>
                    <a:pt x="194" y="161"/>
                    <a:pt x="203" y="166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218">
              <a:extLst>
                <a:ext uri="{FF2B5EF4-FFF2-40B4-BE49-F238E27FC236}">
                  <a16:creationId xmlns:a16="http://schemas.microsoft.com/office/drawing/2014/main" id="{F180F194-D167-C89F-D6F6-9062BBC578F3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9" y="-13589"/>
              <a:ext cx="416" cy="219"/>
            </a:xfrm>
            <a:custGeom>
              <a:avLst/>
              <a:gdLst>
                <a:gd name="T0" fmla="*/ 66 w 176"/>
                <a:gd name="T1" fmla="*/ 92 h 93"/>
                <a:gd name="T2" fmla="*/ 88 w 176"/>
                <a:gd name="T3" fmla="*/ 84 h 93"/>
                <a:gd name="T4" fmla="*/ 113 w 176"/>
                <a:gd name="T5" fmla="*/ 90 h 93"/>
                <a:gd name="T6" fmla="*/ 139 w 176"/>
                <a:gd name="T7" fmla="*/ 86 h 93"/>
                <a:gd name="T8" fmla="*/ 162 w 176"/>
                <a:gd name="T9" fmla="*/ 86 h 93"/>
                <a:gd name="T10" fmla="*/ 161 w 176"/>
                <a:gd name="T11" fmla="*/ 68 h 93"/>
                <a:gd name="T12" fmla="*/ 161 w 176"/>
                <a:gd name="T13" fmla="*/ 54 h 93"/>
                <a:gd name="T14" fmla="*/ 140 w 176"/>
                <a:gd name="T15" fmla="*/ 48 h 93"/>
                <a:gd name="T16" fmla="*/ 142 w 176"/>
                <a:gd name="T17" fmla="*/ 39 h 93"/>
                <a:gd name="T18" fmla="*/ 129 w 176"/>
                <a:gd name="T19" fmla="*/ 18 h 93"/>
                <a:gd name="T20" fmla="*/ 80 w 176"/>
                <a:gd name="T21" fmla="*/ 25 h 93"/>
                <a:gd name="T22" fmla="*/ 80 w 176"/>
                <a:gd name="T23" fmla="*/ 11 h 93"/>
                <a:gd name="T24" fmla="*/ 56 w 176"/>
                <a:gd name="T25" fmla="*/ 5 h 93"/>
                <a:gd name="T26" fmla="*/ 18 w 176"/>
                <a:gd name="T27" fmla="*/ 56 h 93"/>
                <a:gd name="T28" fmla="*/ 23 w 176"/>
                <a:gd name="T29" fmla="*/ 76 h 93"/>
                <a:gd name="T30" fmla="*/ 50 w 176"/>
                <a:gd name="T31" fmla="*/ 81 h 93"/>
                <a:gd name="T32" fmla="*/ 66 w 176"/>
                <a:gd name="T33" fmla="*/ 9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" h="93">
                  <a:moveTo>
                    <a:pt x="66" y="92"/>
                  </a:moveTo>
                  <a:cubicBezTo>
                    <a:pt x="85" y="92"/>
                    <a:pt x="79" y="84"/>
                    <a:pt x="88" y="84"/>
                  </a:cubicBezTo>
                  <a:cubicBezTo>
                    <a:pt x="97" y="84"/>
                    <a:pt x="95" y="90"/>
                    <a:pt x="113" y="90"/>
                  </a:cubicBezTo>
                  <a:cubicBezTo>
                    <a:pt x="131" y="90"/>
                    <a:pt x="139" y="86"/>
                    <a:pt x="139" y="86"/>
                  </a:cubicBezTo>
                  <a:cubicBezTo>
                    <a:pt x="139" y="86"/>
                    <a:pt x="148" y="93"/>
                    <a:pt x="162" y="86"/>
                  </a:cubicBezTo>
                  <a:cubicBezTo>
                    <a:pt x="176" y="79"/>
                    <a:pt x="161" y="68"/>
                    <a:pt x="161" y="68"/>
                  </a:cubicBezTo>
                  <a:cubicBezTo>
                    <a:pt x="161" y="54"/>
                    <a:pt x="161" y="54"/>
                    <a:pt x="161" y="54"/>
                  </a:cubicBezTo>
                  <a:cubicBezTo>
                    <a:pt x="161" y="54"/>
                    <a:pt x="144" y="55"/>
                    <a:pt x="140" y="48"/>
                  </a:cubicBezTo>
                  <a:cubicBezTo>
                    <a:pt x="136" y="41"/>
                    <a:pt x="142" y="39"/>
                    <a:pt x="142" y="39"/>
                  </a:cubicBezTo>
                  <a:cubicBezTo>
                    <a:pt x="142" y="39"/>
                    <a:pt x="142" y="29"/>
                    <a:pt x="129" y="18"/>
                  </a:cubicBezTo>
                  <a:cubicBezTo>
                    <a:pt x="116" y="7"/>
                    <a:pt x="80" y="25"/>
                    <a:pt x="80" y="25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80" y="11"/>
                    <a:pt x="70" y="10"/>
                    <a:pt x="56" y="5"/>
                  </a:cubicBezTo>
                  <a:cubicBezTo>
                    <a:pt x="42" y="0"/>
                    <a:pt x="18" y="56"/>
                    <a:pt x="18" y="56"/>
                  </a:cubicBezTo>
                  <a:cubicBezTo>
                    <a:pt x="18" y="56"/>
                    <a:pt x="0" y="60"/>
                    <a:pt x="23" y="76"/>
                  </a:cubicBezTo>
                  <a:cubicBezTo>
                    <a:pt x="46" y="92"/>
                    <a:pt x="50" y="81"/>
                    <a:pt x="50" y="81"/>
                  </a:cubicBezTo>
                  <a:cubicBezTo>
                    <a:pt x="50" y="81"/>
                    <a:pt x="47" y="92"/>
                    <a:pt x="66" y="92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219">
              <a:extLst>
                <a:ext uri="{FF2B5EF4-FFF2-40B4-BE49-F238E27FC236}">
                  <a16:creationId xmlns:a16="http://schemas.microsoft.com/office/drawing/2014/main" id="{34BA4AA6-4435-31B0-9283-FC8FBDCFE52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60" y="-13353"/>
              <a:ext cx="584" cy="671"/>
            </a:xfrm>
            <a:custGeom>
              <a:avLst/>
              <a:gdLst>
                <a:gd name="T0" fmla="*/ 90 w 247"/>
                <a:gd name="T1" fmla="*/ 275 h 284"/>
                <a:gd name="T2" fmla="*/ 92 w 247"/>
                <a:gd name="T3" fmla="*/ 236 h 284"/>
                <a:gd name="T4" fmla="*/ 142 w 247"/>
                <a:gd name="T5" fmla="*/ 250 h 284"/>
                <a:gd name="T6" fmla="*/ 143 w 247"/>
                <a:gd name="T7" fmla="*/ 227 h 284"/>
                <a:gd name="T8" fmla="*/ 182 w 247"/>
                <a:gd name="T9" fmla="*/ 240 h 284"/>
                <a:gd name="T10" fmla="*/ 190 w 247"/>
                <a:gd name="T11" fmla="*/ 223 h 284"/>
                <a:gd name="T12" fmla="*/ 182 w 247"/>
                <a:gd name="T13" fmla="*/ 202 h 284"/>
                <a:gd name="T14" fmla="*/ 213 w 247"/>
                <a:gd name="T15" fmla="*/ 235 h 284"/>
                <a:gd name="T16" fmla="*/ 210 w 247"/>
                <a:gd name="T17" fmla="*/ 280 h 284"/>
                <a:gd name="T18" fmla="*/ 222 w 247"/>
                <a:gd name="T19" fmla="*/ 284 h 284"/>
                <a:gd name="T20" fmla="*/ 226 w 247"/>
                <a:gd name="T21" fmla="*/ 273 h 284"/>
                <a:gd name="T22" fmla="*/ 247 w 247"/>
                <a:gd name="T23" fmla="*/ 276 h 284"/>
                <a:gd name="T24" fmla="*/ 240 w 247"/>
                <a:gd name="T25" fmla="*/ 237 h 284"/>
                <a:gd name="T26" fmla="*/ 220 w 247"/>
                <a:gd name="T27" fmla="*/ 187 h 284"/>
                <a:gd name="T28" fmla="*/ 204 w 247"/>
                <a:gd name="T29" fmla="*/ 153 h 284"/>
                <a:gd name="T30" fmla="*/ 194 w 247"/>
                <a:gd name="T31" fmla="*/ 170 h 284"/>
                <a:gd name="T32" fmla="*/ 187 w 247"/>
                <a:gd name="T33" fmla="*/ 193 h 284"/>
                <a:gd name="T34" fmla="*/ 178 w 247"/>
                <a:gd name="T35" fmla="*/ 178 h 284"/>
                <a:gd name="T36" fmla="*/ 158 w 247"/>
                <a:gd name="T37" fmla="*/ 159 h 284"/>
                <a:gd name="T38" fmla="*/ 168 w 247"/>
                <a:gd name="T39" fmla="*/ 130 h 284"/>
                <a:gd name="T40" fmla="*/ 193 w 247"/>
                <a:gd name="T41" fmla="*/ 115 h 284"/>
                <a:gd name="T42" fmla="*/ 196 w 247"/>
                <a:gd name="T43" fmla="*/ 92 h 284"/>
                <a:gd name="T44" fmla="*/ 206 w 247"/>
                <a:gd name="T45" fmla="*/ 86 h 284"/>
                <a:gd name="T46" fmla="*/ 184 w 247"/>
                <a:gd name="T47" fmla="*/ 68 h 284"/>
                <a:gd name="T48" fmla="*/ 154 w 247"/>
                <a:gd name="T49" fmla="*/ 79 h 284"/>
                <a:gd name="T50" fmla="*/ 113 w 247"/>
                <a:gd name="T51" fmla="*/ 75 h 284"/>
                <a:gd name="T52" fmla="*/ 86 w 247"/>
                <a:gd name="T53" fmla="*/ 69 h 284"/>
                <a:gd name="T54" fmla="*/ 85 w 247"/>
                <a:gd name="T55" fmla="*/ 46 h 284"/>
                <a:gd name="T56" fmla="*/ 81 w 247"/>
                <a:gd name="T57" fmla="*/ 44 h 284"/>
                <a:gd name="T58" fmla="*/ 77 w 247"/>
                <a:gd name="T59" fmla="*/ 23 h 284"/>
                <a:gd name="T60" fmla="*/ 67 w 247"/>
                <a:gd name="T61" fmla="*/ 17 h 284"/>
                <a:gd name="T62" fmla="*/ 66 w 247"/>
                <a:gd name="T63" fmla="*/ 29 h 284"/>
                <a:gd name="T64" fmla="*/ 50 w 247"/>
                <a:gd name="T65" fmla="*/ 21 h 284"/>
                <a:gd name="T66" fmla="*/ 41 w 247"/>
                <a:gd name="T67" fmla="*/ 3 h 284"/>
                <a:gd name="T68" fmla="*/ 30 w 247"/>
                <a:gd name="T69" fmla="*/ 4 h 284"/>
                <a:gd name="T70" fmla="*/ 33 w 247"/>
                <a:gd name="T71" fmla="*/ 11 h 284"/>
                <a:gd name="T72" fmla="*/ 17 w 247"/>
                <a:gd name="T73" fmla="*/ 3 h 284"/>
                <a:gd name="T74" fmla="*/ 6 w 247"/>
                <a:gd name="T75" fmla="*/ 0 h 284"/>
                <a:gd name="T76" fmla="*/ 11 w 247"/>
                <a:gd name="T77" fmla="*/ 12 h 284"/>
                <a:gd name="T78" fmla="*/ 2 w 247"/>
                <a:gd name="T79" fmla="*/ 35 h 284"/>
                <a:gd name="T80" fmla="*/ 26 w 247"/>
                <a:gd name="T81" fmla="*/ 54 h 284"/>
                <a:gd name="T82" fmla="*/ 43 w 247"/>
                <a:gd name="T83" fmla="*/ 65 h 284"/>
                <a:gd name="T84" fmla="*/ 44 w 247"/>
                <a:gd name="T85" fmla="*/ 73 h 284"/>
                <a:gd name="T86" fmla="*/ 22 w 247"/>
                <a:gd name="T87" fmla="*/ 74 h 284"/>
                <a:gd name="T88" fmla="*/ 22 w 247"/>
                <a:gd name="T89" fmla="*/ 93 h 284"/>
                <a:gd name="T90" fmla="*/ 13 w 247"/>
                <a:gd name="T91" fmla="*/ 106 h 284"/>
                <a:gd name="T92" fmla="*/ 47 w 247"/>
                <a:gd name="T93" fmla="*/ 126 h 284"/>
                <a:gd name="T94" fmla="*/ 35 w 247"/>
                <a:gd name="T95" fmla="*/ 150 h 284"/>
                <a:gd name="T96" fmla="*/ 44 w 247"/>
                <a:gd name="T97" fmla="*/ 170 h 284"/>
                <a:gd name="T98" fmla="*/ 64 w 247"/>
                <a:gd name="T99" fmla="*/ 186 h 284"/>
                <a:gd name="T100" fmla="*/ 63 w 247"/>
                <a:gd name="T101" fmla="*/ 206 h 284"/>
                <a:gd name="T102" fmla="*/ 75 w 247"/>
                <a:gd name="T103" fmla="*/ 234 h 284"/>
                <a:gd name="T104" fmla="*/ 73 w 247"/>
                <a:gd name="T105" fmla="*/ 252 h 284"/>
                <a:gd name="T106" fmla="*/ 90 w 247"/>
                <a:gd name="T107" fmla="*/ 275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7" h="284">
                  <a:moveTo>
                    <a:pt x="90" y="275"/>
                  </a:moveTo>
                  <a:cubicBezTo>
                    <a:pt x="92" y="236"/>
                    <a:pt x="92" y="236"/>
                    <a:pt x="92" y="236"/>
                  </a:cubicBezTo>
                  <a:cubicBezTo>
                    <a:pt x="92" y="236"/>
                    <a:pt x="134" y="252"/>
                    <a:pt x="142" y="250"/>
                  </a:cubicBezTo>
                  <a:cubicBezTo>
                    <a:pt x="150" y="247"/>
                    <a:pt x="134" y="229"/>
                    <a:pt x="143" y="227"/>
                  </a:cubicBezTo>
                  <a:cubicBezTo>
                    <a:pt x="152" y="225"/>
                    <a:pt x="169" y="245"/>
                    <a:pt x="182" y="240"/>
                  </a:cubicBezTo>
                  <a:cubicBezTo>
                    <a:pt x="195" y="236"/>
                    <a:pt x="190" y="223"/>
                    <a:pt x="190" y="223"/>
                  </a:cubicBezTo>
                  <a:cubicBezTo>
                    <a:pt x="182" y="202"/>
                    <a:pt x="182" y="202"/>
                    <a:pt x="182" y="202"/>
                  </a:cubicBezTo>
                  <a:cubicBezTo>
                    <a:pt x="213" y="235"/>
                    <a:pt x="213" y="235"/>
                    <a:pt x="213" y="235"/>
                  </a:cubicBezTo>
                  <a:cubicBezTo>
                    <a:pt x="213" y="235"/>
                    <a:pt x="201" y="274"/>
                    <a:pt x="210" y="280"/>
                  </a:cubicBezTo>
                  <a:cubicBezTo>
                    <a:pt x="213" y="282"/>
                    <a:pt x="218" y="283"/>
                    <a:pt x="222" y="284"/>
                  </a:cubicBezTo>
                  <a:cubicBezTo>
                    <a:pt x="224" y="277"/>
                    <a:pt x="226" y="273"/>
                    <a:pt x="226" y="273"/>
                  </a:cubicBezTo>
                  <a:cubicBezTo>
                    <a:pt x="247" y="276"/>
                    <a:pt x="247" y="276"/>
                    <a:pt x="247" y="276"/>
                  </a:cubicBezTo>
                  <a:cubicBezTo>
                    <a:pt x="240" y="237"/>
                    <a:pt x="240" y="237"/>
                    <a:pt x="240" y="237"/>
                  </a:cubicBezTo>
                  <a:cubicBezTo>
                    <a:pt x="240" y="237"/>
                    <a:pt x="224" y="198"/>
                    <a:pt x="220" y="187"/>
                  </a:cubicBezTo>
                  <a:cubicBezTo>
                    <a:pt x="216" y="176"/>
                    <a:pt x="222" y="157"/>
                    <a:pt x="204" y="153"/>
                  </a:cubicBezTo>
                  <a:cubicBezTo>
                    <a:pt x="186" y="149"/>
                    <a:pt x="194" y="170"/>
                    <a:pt x="194" y="170"/>
                  </a:cubicBezTo>
                  <a:cubicBezTo>
                    <a:pt x="187" y="193"/>
                    <a:pt x="187" y="193"/>
                    <a:pt x="187" y="193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58" y="175"/>
                    <a:pt x="158" y="159"/>
                  </a:cubicBezTo>
                  <a:cubicBezTo>
                    <a:pt x="158" y="143"/>
                    <a:pt x="160" y="133"/>
                    <a:pt x="168" y="130"/>
                  </a:cubicBezTo>
                  <a:cubicBezTo>
                    <a:pt x="176" y="127"/>
                    <a:pt x="190" y="129"/>
                    <a:pt x="193" y="115"/>
                  </a:cubicBezTo>
                  <a:cubicBezTo>
                    <a:pt x="196" y="101"/>
                    <a:pt x="196" y="92"/>
                    <a:pt x="196" y="92"/>
                  </a:cubicBezTo>
                  <a:cubicBezTo>
                    <a:pt x="196" y="92"/>
                    <a:pt x="206" y="96"/>
                    <a:pt x="206" y="86"/>
                  </a:cubicBezTo>
                  <a:cubicBezTo>
                    <a:pt x="206" y="76"/>
                    <a:pt x="184" y="68"/>
                    <a:pt x="184" y="68"/>
                  </a:cubicBezTo>
                  <a:cubicBezTo>
                    <a:pt x="154" y="79"/>
                    <a:pt x="154" y="79"/>
                    <a:pt x="154" y="79"/>
                  </a:cubicBezTo>
                  <a:cubicBezTo>
                    <a:pt x="154" y="79"/>
                    <a:pt x="123" y="75"/>
                    <a:pt x="113" y="75"/>
                  </a:cubicBezTo>
                  <a:cubicBezTo>
                    <a:pt x="103" y="75"/>
                    <a:pt x="86" y="72"/>
                    <a:pt x="86" y="69"/>
                  </a:cubicBezTo>
                  <a:cubicBezTo>
                    <a:pt x="86" y="66"/>
                    <a:pt x="85" y="46"/>
                    <a:pt x="85" y="46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26"/>
                    <a:pt x="77" y="23"/>
                  </a:cubicBezTo>
                  <a:cubicBezTo>
                    <a:pt x="73" y="20"/>
                    <a:pt x="67" y="17"/>
                    <a:pt x="67" y="1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56" y="27"/>
                    <a:pt x="50" y="21"/>
                  </a:cubicBezTo>
                  <a:cubicBezTo>
                    <a:pt x="44" y="15"/>
                    <a:pt x="41" y="3"/>
                    <a:pt x="41" y="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0" y="24"/>
                    <a:pt x="2" y="35"/>
                  </a:cubicBezTo>
                  <a:cubicBezTo>
                    <a:pt x="4" y="46"/>
                    <a:pt x="26" y="54"/>
                    <a:pt x="26" y="54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44" y="73"/>
                    <a:pt x="44" y="73"/>
                    <a:pt x="44" y="73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93"/>
                    <a:pt x="22" y="93"/>
                    <a:pt x="22" y="93"/>
                  </a:cubicBezTo>
                  <a:cubicBezTo>
                    <a:pt x="22" y="93"/>
                    <a:pt x="3" y="96"/>
                    <a:pt x="13" y="106"/>
                  </a:cubicBezTo>
                  <a:cubicBezTo>
                    <a:pt x="23" y="116"/>
                    <a:pt x="50" y="110"/>
                    <a:pt x="47" y="126"/>
                  </a:cubicBezTo>
                  <a:cubicBezTo>
                    <a:pt x="44" y="142"/>
                    <a:pt x="35" y="150"/>
                    <a:pt x="35" y="150"/>
                  </a:cubicBezTo>
                  <a:cubicBezTo>
                    <a:pt x="44" y="170"/>
                    <a:pt x="44" y="170"/>
                    <a:pt x="44" y="170"/>
                  </a:cubicBezTo>
                  <a:cubicBezTo>
                    <a:pt x="64" y="186"/>
                    <a:pt x="64" y="186"/>
                    <a:pt x="64" y="186"/>
                  </a:cubicBezTo>
                  <a:cubicBezTo>
                    <a:pt x="63" y="206"/>
                    <a:pt x="63" y="206"/>
                    <a:pt x="63" y="206"/>
                  </a:cubicBezTo>
                  <a:cubicBezTo>
                    <a:pt x="75" y="234"/>
                    <a:pt x="75" y="234"/>
                    <a:pt x="75" y="234"/>
                  </a:cubicBezTo>
                  <a:cubicBezTo>
                    <a:pt x="73" y="252"/>
                    <a:pt x="73" y="252"/>
                    <a:pt x="73" y="252"/>
                  </a:cubicBezTo>
                  <a:lnTo>
                    <a:pt x="90" y="275"/>
                  </a:ln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220">
              <a:extLst>
                <a:ext uri="{FF2B5EF4-FFF2-40B4-BE49-F238E27FC236}">
                  <a16:creationId xmlns:a16="http://schemas.microsoft.com/office/drawing/2014/main" id="{CB32D580-B989-D3DB-D6BA-89617B3501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46" y="-14560"/>
              <a:ext cx="3080" cy="3728"/>
            </a:xfrm>
            <a:custGeom>
              <a:avLst/>
              <a:gdLst>
                <a:gd name="T0" fmla="*/ 1202 w 1304"/>
                <a:gd name="T1" fmla="*/ 1237 h 1578"/>
                <a:gd name="T2" fmla="*/ 1259 w 1304"/>
                <a:gd name="T3" fmla="*/ 1543 h 1578"/>
                <a:gd name="T4" fmla="*/ 1302 w 1304"/>
                <a:gd name="T5" fmla="*/ 417 h 1578"/>
                <a:gd name="T6" fmla="*/ 1231 w 1304"/>
                <a:gd name="T7" fmla="*/ 379 h 1578"/>
                <a:gd name="T8" fmla="*/ 1133 w 1304"/>
                <a:gd name="T9" fmla="*/ 390 h 1578"/>
                <a:gd name="T10" fmla="*/ 1045 w 1304"/>
                <a:gd name="T11" fmla="*/ 450 h 1578"/>
                <a:gd name="T12" fmla="*/ 1042 w 1304"/>
                <a:gd name="T13" fmla="*/ 497 h 1578"/>
                <a:gd name="T14" fmla="*/ 926 w 1304"/>
                <a:gd name="T15" fmla="*/ 487 h 1578"/>
                <a:gd name="T16" fmla="*/ 882 w 1304"/>
                <a:gd name="T17" fmla="*/ 450 h 1578"/>
                <a:gd name="T18" fmla="*/ 853 w 1304"/>
                <a:gd name="T19" fmla="*/ 520 h 1578"/>
                <a:gd name="T20" fmla="*/ 766 w 1304"/>
                <a:gd name="T21" fmla="*/ 495 h 1578"/>
                <a:gd name="T22" fmla="*/ 695 w 1304"/>
                <a:gd name="T23" fmla="*/ 457 h 1578"/>
                <a:gd name="T24" fmla="*/ 640 w 1304"/>
                <a:gd name="T25" fmla="*/ 459 h 1578"/>
                <a:gd name="T26" fmla="*/ 564 w 1304"/>
                <a:gd name="T27" fmla="*/ 423 h 1578"/>
                <a:gd name="T28" fmla="*/ 499 w 1304"/>
                <a:gd name="T29" fmla="*/ 382 h 1578"/>
                <a:gd name="T30" fmla="*/ 518 w 1304"/>
                <a:gd name="T31" fmla="*/ 323 h 1578"/>
                <a:gd name="T32" fmla="*/ 481 w 1304"/>
                <a:gd name="T33" fmla="*/ 283 h 1578"/>
                <a:gd name="T34" fmla="*/ 412 w 1304"/>
                <a:gd name="T35" fmla="*/ 221 h 1578"/>
                <a:gd name="T36" fmla="*/ 423 w 1304"/>
                <a:gd name="T37" fmla="*/ 194 h 1578"/>
                <a:gd name="T38" fmla="*/ 395 w 1304"/>
                <a:gd name="T39" fmla="*/ 129 h 1578"/>
                <a:gd name="T40" fmla="*/ 438 w 1304"/>
                <a:gd name="T41" fmla="*/ 69 h 1578"/>
                <a:gd name="T42" fmla="*/ 319 w 1304"/>
                <a:gd name="T43" fmla="*/ 29 h 1578"/>
                <a:gd name="T44" fmla="*/ 266 w 1304"/>
                <a:gd name="T45" fmla="*/ 74 h 1578"/>
                <a:gd name="T46" fmla="*/ 156 w 1304"/>
                <a:gd name="T47" fmla="*/ 89 h 1578"/>
                <a:gd name="T48" fmla="*/ 186 w 1304"/>
                <a:gd name="T49" fmla="*/ 141 h 1578"/>
                <a:gd name="T50" fmla="*/ 219 w 1304"/>
                <a:gd name="T51" fmla="*/ 196 h 1578"/>
                <a:gd name="T52" fmla="*/ 235 w 1304"/>
                <a:gd name="T53" fmla="*/ 268 h 1578"/>
                <a:gd name="T54" fmla="*/ 179 w 1304"/>
                <a:gd name="T55" fmla="*/ 372 h 1578"/>
                <a:gd name="T56" fmla="*/ 107 w 1304"/>
                <a:gd name="T57" fmla="*/ 437 h 1578"/>
                <a:gd name="T58" fmla="*/ 33 w 1304"/>
                <a:gd name="T59" fmla="*/ 493 h 1578"/>
                <a:gd name="T60" fmla="*/ 74 w 1304"/>
                <a:gd name="T61" fmla="*/ 551 h 1578"/>
                <a:gd name="T62" fmla="*/ 98 w 1304"/>
                <a:gd name="T63" fmla="*/ 635 h 1578"/>
                <a:gd name="T64" fmla="*/ 15 w 1304"/>
                <a:gd name="T65" fmla="*/ 630 h 1578"/>
                <a:gd name="T66" fmla="*/ 78 w 1304"/>
                <a:gd name="T67" fmla="*/ 697 h 1578"/>
                <a:gd name="T68" fmla="*/ 70 w 1304"/>
                <a:gd name="T69" fmla="*/ 779 h 1578"/>
                <a:gd name="T70" fmla="*/ 213 w 1304"/>
                <a:gd name="T71" fmla="*/ 781 h 1578"/>
                <a:gd name="T72" fmla="*/ 267 w 1304"/>
                <a:gd name="T73" fmla="*/ 1062 h 1578"/>
                <a:gd name="T74" fmla="*/ 407 w 1304"/>
                <a:gd name="T75" fmla="*/ 1335 h 1578"/>
                <a:gd name="T76" fmla="*/ 550 w 1304"/>
                <a:gd name="T77" fmla="*/ 1443 h 1578"/>
                <a:gd name="T78" fmla="*/ 601 w 1304"/>
                <a:gd name="T79" fmla="*/ 1311 h 1578"/>
                <a:gd name="T80" fmla="*/ 594 w 1304"/>
                <a:gd name="T81" fmla="*/ 1107 h 1578"/>
                <a:gd name="T82" fmla="*/ 688 w 1304"/>
                <a:gd name="T83" fmla="*/ 1044 h 1578"/>
                <a:gd name="T84" fmla="*/ 820 w 1304"/>
                <a:gd name="T85" fmla="*/ 866 h 1578"/>
                <a:gd name="T86" fmla="*/ 873 w 1304"/>
                <a:gd name="T87" fmla="*/ 795 h 1578"/>
                <a:gd name="T88" fmla="*/ 942 w 1304"/>
                <a:gd name="T89" fmla="*/ 744 h 1578"/>
                <a:gd name="T90" fmla="*/ 959 w 1304"/>
                <a:gd name="T91" fmla="*/ 697 h 1578"/>
                <a:gd name="T92" fmla="*/ 917 w 1304"/>
                <a:gd name="T93" fmla="*/ 604 h 1578"/>
                <a:gd name="T94" fmla="*/ 897 w 1304"/>
                <a:gd name="T95" fmla="*/ 546 h 1578"/>
                <a:gd name="T96" fmla="*/ 925 w 1304"/>
                <a:gd name="T97" fmla="*/ 515 h 1578"/>
                <a:gd name="T98" fmla="*/ 972 w 1304"/>
                <a:gd name="T99" fmla="*/ 534 h 1578"/>
                <a:gd name="T100" fmla="*/ 1049 w 1304"/>
                <a:gd name="T101" fmla="*/ 590 h 1578"/>
                <a:gd name="T102" fmla="*/ 1063 w 1304"/>
                <a:gd name="T103" fmla="*/ 641 h 1578"/>
                <a:gd name="T104" fmla="*/ 1099 w 1304"/>
                <a:gd name="T105" fmla="*/ 664 h 1578"/>
                <a:gd name="T106" fmla="*/ 1161 w 1304"/>
                <a:gd name="T107" fmla="*/ 750 h 1578"/>
                <a:gd name="T108" fmla="*/ 1143 w 1304"/>
                <a:gd name="T109" fmla="*/ 648 h 1578"/>
                <a:gd name="T110" fmla="*/ 1199 w 1304"/>
                <a:gd name="T111" fmla="*/ 576 h 1578"/>
                <a:gd name="T112" fmla="*/ 1238 w 1304"/>
                <a:gd name="T113" fmla="*/ 497 h 1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04" h="1578">
                  <a:moveTo>
                    <a:pt x="1204" y="1196"/>
                  </a:moveTo>
                  <a:cubicBezTo>
                    <a:pt x="1184" y="1198"/>
                    <a:pt x="1188" y="1259"/>
                    <a:pt x="1188" y="1259"/>
                  </a:cubicBezTo>
                  <a:cubicBezTo>
                    <a:pt x="1191" y="1325"/>
                    <a:pt x="1191" y="1325"/>
                    <a:pt x="1191" y="1325"/>
                  </a:cubicBezTo>
                  <a:cubicBezTo>
                    <a:pt x="1202" y="1305"/>
                    <a:pt x="1202" y="1305"/>
                    <a:pt x="1202" y="1305"/>
                  </a:cubicBezTo>
                  <a:cubicBezTo>
                    <a:pt x="1202" y="1237"/>
                    <a:pt x="1202" y="1237"/>
                    <a:pt x="1202" y="1237"/>
                  </a:cubicBezTo>
                  <a:cubicBezTo>
                    <a:pt x="1202" y="1237"/>
                    <a:pt x="1220" y="1194"/>
                    <a:pt x="1204" y="1196"/>
                  </a:cubicBezTo>
                  <a:close/>
                  <a:moveTo>
                    <a:pt x="1195" y="1357"/>
                  </a:moveTo>
                  <a:cubicBezTo>
                    <a:pt x="1180" y="1357"/>
                    <a:pt x="1196" y="1389"/>
                    <a:pt x="1196" y="1389"/>
                  </a:cubicBezTo>
                  <a:cubicBezTo>
                    <a:pt x="1196" y="1389"/>
                    <a:pt x="1209" y="1357"/>
                    <a:pt x="1195" y="1357"/>
                  </a:cubicBezTo>
                  <a:close/>
                  <a:moveTo>
                    <a:pt x="1259" y="1543"/>
                  </a:moveTo>
                  <a:cubicBezTo>
                    <a:pt x="1251" y="1544"/>
                    <a:pt x="1255" y="1578"/>
                    <a:pt x="1270" y="1578"/>
                  </a:cubicBezTo>
                  <a:cubicBezTo>
                    <a:pt x="1270" y="1578"/>
                    <a:pt x="1267" y="1542"/>
                    <a:pt x="1259" y="1543"/>
                  </a:cubicBezTo>
                  <a:close/>
                  <a:moveTo>
                    <a:pt x="1280" y="454"/>
                  </a:moveTo>
                  <a:cubicBezTo>
                    <a:pt x="1280" y="445"/>
                    <a:pt x="1304" y="436"/>
                    <a:pt x="1304" y="436"/>
                  </a:cubicBezTo>
                  <a:cubicBezTo>
                    <a:pt x="1302" y="417"/>
                    <a:pt x="1302" y="417"/>
                    <a:pt x="1302" y="417"/>
                  </a:cubicBezTo>
                  <a:cubicBezTo>
                    <a:pt x="1302" y="417"/>
                    <a:pt x="1287" y="413"/>
                    <a:pt x="1280" y="413"/>
                  </a:cubicBezTo>
                  <a:cubicBezTo>
                    <a:pt x="1273" y="413"/>
                    <a:pt x="1258" y="413"/>
                    <a:pt x="1250" y="411"/>
                  </a:cubicBezTo>
                  <a:cubicBezTo>
                    <a:pt x="1242" y="409"/>
                    <a:pt x="1262" y="400"/>
                    <a:pt x="1262" y="400"/>
                  </a:cubicBezTo>
                  <a:cubicBezTo>
                    <a:pt x="1251" y="380"/>
                    <a:pt x="1251" y="380"/>
                    <a:pt x="1251" y="380"/>
                  </a:cubicBezTo>
                  <a:cubicBezTo>
                    <a:pt x="1251" y="380"/>
                    <a:pt x="1240" y="381"/>
                    <a:pt x="1231" y="379"/>
                  </a:cubicBezTo>
                  <a:cubicBezTo>
                    <a:pt x="1222" y="377"/>
                    <a:pt x="1238" y="369"/>
                    <a:pt x="1238" y="369"/>
                  </a:cubicBezTo>
                  <a:cubicBezTo>
                    <a:pt x="1238" y="369"/>
                    <a:pt x="1237" y="364"/>
                    <a:pt x="1219" y="355"/>
                  </a:cubicBezTo>
                  <a:cubicBezTo>
                    <a:pt x="1201" y="346"/>
                    <a:pt x="1209" y="377"/>
                    <a:pt x="1198" y="377"/>
                  </a:cubicBezTo>
                  <a:cubicBezTo>
                    <a:pt x="1187" y="377"/>
                    <a:pt x="1173" y="363"/>
                    <a:pt x="1165" y="363"/>
                  </a:cubicBezTo>
                  <a:cubicBezTo>
                    <a:pt x="1157" y="363"/>
                    <a:pt x="1140" y="382"/>
                    <a:pt x="1133" y="390"/>
                  </a:cubicBezTo>
                  <a:cubicBezTo>
                    <a:pt x="1126" y="398"/>
                    <a:pt x="1102" y="394"/>
                    <a:pt x="1102" y="394"/>
                  </a:cubicBezTo>
                  <a:cubicBezTo>
                    <a:pt x="1102" y="394"/>
                    <a:pt x="1109" y="410"/>
                    <a:pt x="1107" y="415"/>
                  </a:cubicBezTo>
                  <a:cubicBezTo>
                    <a:pt x="1105" y="420"/>
                    <a:pt x="1084" y="422"/>
                    <a:pt x="1084" y="422"/>
                  </a:cubicBezTo>
                  <a:cubicBezTo>
                    <a:pt x="1084" y="422"/>
                    <a:pt x="1092" y="438"/>
                    <a:pt x="1084" y="445"/>
                  </a:cubicBezTo>
                  <a:cubicBezTo>
                    <a:pt x="1076" y="452"/>
                    <a:pt x="1045" y="450"/>
                    <a:pt x="1045" y="450"/>
                  </a:cubicBezTo>
                  <a:cubicBezTo>
                    <a:pt x="1045" y="450"/>
                    <a:pt x="1039" y="452"/>
                    <a:pt x="1043" y="459"/>
                  </a:cubicBezTo>
                  <a:cubicBezTo>
                    <a:pt x="1047" y="466"/>
                    <a:pt x="1064" y="465"/>
                    <a:pt x="1064" y="465"/>
                  </a:cubicBezTo>
                  <a:cubicBezTo>
                    <a:pt x="1064" y="479"/>
                    <a:pt x="1064" y="479"/>
                    <a:pt x="1064" y="479"/>
                  </a:cubicBezTo>
                  <a:cubicBezTo>
                    <a:pt x="1064" y="479"/>
                    <a:pt x="1079" y="490"/>
                    <a:pt x="1065" y="497"/>
                  </a:cubicBezTo>
                  <a:cubicBezTo>
                    <a:pt x="1051" y="504"/>
                    <a:pt x="1042" y="497"/>
                    <a:pt x="1042" y="497"/>
                  </a:cubicBezTo>
                  <a:cubicBezTo>
                    <a:pt x="1042" y="497"/>
                    <a:pt x="1034" y="501"/>
                    <a:pt x="1016" y="501"/>
                  </a:cubicBezTo>
                  <a:cubicBezTo>
                    <a:pt x="998" y="501"/>
                    <a:pt x="1000" y="495"/>
                    <a:pt x="991" y="495"/>
                  </a:cubicBezTo>
                  <a:cubicBezTo>
                    <a:pt x="982" y="495"/>
                    <a:pt x="988" y="503"/>
                    <a:pt x="969" y="503"/>
                  </a:cubicBezTo>
                  <a:cubicBezTo>
                    <a:pt x="950" y="503"/>
                    <a:pt x="953" y="492"/>
                    <a:pt x="953" y="492"/>
                  </a:cubicBezTo>
                  <a:cubicBezTo>
                    <a:pt x="953" y="492"/>
                    <a:pt x="949" y="503"/>
                    <a:pt x="926" y="487"/>
                  </a:cubicBezTo>
                  <a:cubicBezTo>
                    <a:pt x="903" y="471"/>
                    <a:pt x="921" y="467"/>
                    <a:pt x="921" y="467"/>
                  </a:cubicBezTo>
                  <a:cubicBezTo>
                    <a:pt x="921" y="467"/>
                    <a:pt x="916" y="468"/>
                    <a:pt x="911" y="466"/>
                  </a:cubicBezTo>
                  <a:cubicBezTo>
                    <a:pt x="906" y="464"/>
                    <a:pt x="917" y="436"/>
                    <a:pt x="906" y="427"/>
                  </a:cubicBezTo>
                  <a:cubicBezTo>
                    <a:pt x="899" y="422"/>
                    <a:pt x="888" y="428"/>
                    <a:pt x="876" y="435"/>
                  </a:cubicBezTo>
                  <a:cubicBezTo>
                    <a:pt x="882" y="450"/>
                    <a:pt x="882" y="450"/>
                    <a:pt x="882" y="450"/>
                  </a:cubicBezTo>
                  <a:cubicBezTo>
                    <a:pt x="882" y="482"/>
                    <a:pt x="882" y="482"/>
                    <a:pt x="882" y="482"/>
                  </a:cubicBezTo>
                  <a:cubicBezTo>
                    <a:pt x="892" y="497"/>
                    <a:pt x="892" y="497"/>
                    <a:pt x="892" y="497"/>
                  </a:cubicBezTo>
                  <a:cubicBezTo>
                    <a:pt x="892" y="497"/>
                    <a:pt x="892" y="506"/>
                    <a:pt x="891" y="515"/>
                  </a:cubicBezTo>
                  <a:cubicBezTo>
                    <a:pt x="890" y="524"/>
                    <a:pt x="869" y="521"/>
                    <a:pt x="869" y="521"/>
                  </a:cubicBezTo>
                  <a:cubicBezTo>
                    <a:pt x="869" y="521"/>
                    <a:pt x="862" y="520"/>
                    <a:pt x="853" y="520"/>
                  </a:cubicBezTo>
                  <a:cubicBezTo>
                    <a:pt x="844" y="520"/>
                    <a:pt x="849" y="510"/>
                    <a:pt x="843" y="510"/>
                  </a:cubicBezTo>
                  <a:cubicBezTo>
                    <a:pt x="837" y="510"/>
                    <a:pt x="829" y="521"/>
                    <a:pt x="829" y="521"/>
                  </a:cubicBezTo>
                  <a:cubicBezTo>
                    <a:pt x="829" y="521"/>
                    <a:pt x="818" y="508"/>
                    <a:pt x="805" y="504"/>
                  </a:cubicBezTo>
                  <a:cubicBezTo>
                    <a:pt x="792" y="500"/>
                    <a:pt x="788" y="509"/>
                    <a:pt x="788" y="509"/>
                  </a:cubicBezTo>
                  <a:cubicBezTo>
                    <a:pt x="766" y="495"/>
                    <a:pt x="766" y="495"/>
                    <a:pt x="766" y="495"/>
                  </a:cubicBezTo>
                  <a:cubicBezTo>
                    <a:pt x="754" y="504"/>
                    <a:pt x="754" y="504"/>
                    <a:pt x="754" y="504"/>
                  </a:cubicBezTo>
                  <a:cubicBezTo>
                    <a:pt x="754" y="504"/>
                    <a:pt x="745" y="493"/>
                    <a:pt x="736" y="485"/>
                  </a:cubicBezTo>
                  <a:cubicBezTo>
                    <a:pt x="727" y="477"/>
                    <a:pt x="719" y="467"/>
                    <a:pt x="719" y="467"/>
                  </a:cubicBezTo>
                  <a:cubicBezTo>
                    <a:pt x="705" y="470"/>
                    <a:pt x="705" y="470"/>
                    <a:pt x="705" y="470"/>
                  </a:cubicBezTo>
                  <a:cubicBezTo>
                    <a:pt x="705" y="470"/>
                    <a:pt x="704" y="462"/>
                    <a:pt x="695" y="457"/>
                  </a:cubicBezTo>
                  <a:cubicBezTo>
                    <a:pt x="686" y="452"/>
                    <a:pt x="687" y="471"/>
                    <a:pt x="687" y="471"/>
                  </a:cubicBezTo>
                  <a:cubicBezTo>
                    <a:pt x="687" y="471"/>
                    <a:pt x="686" y="464"/>
                    <a:pt x="677" y="464"/>
                  </a:cubicBezTo>
                  <a:cubicBezTo>
                    <a:pt x="668" y="464"/>
                    <a:pt x="663" y="472"/>
                    <a:pt x="663" y="472"/>
                  </a:cubicBezTo>
                  <a:cubicBezTo>
                    <a:pt x="660" y="465"/>
                    <a:pt x="660" y="465"/>
                    <a:pt x="660" y="465"/>
                  </a:cubicBezTo>
                  <a:cubicBezTo>
                    <a:pt x="660" y="465"/>
                    <a:pt x="653" y="461"/>
                    <a:pt x="640" y="459"/>
                  </a:cubicBezTo>
                  <a:cubicBezTo>
                    <a:pt x="627" y="457"/>
                    <a:pt x="639" y="452"/>
                    <a:pt x="634" y="450"/>
                  </a:cubicBezTo>
                  <a:cubicBezTo>
                    <a:pt x="629" y="448"/>
                    <a:pt x="624" y="451"/>
                    <a:pt x="616" y="451"/>
                  </a:cubicBezTo>
                  <a:cubicBezTo>
                    <a:pt x="608" y="451"/>
                    <a:pt x="601" y="437"/>
                    <a:pt x="601" y="437"/>
                  </a:cubicBezTo>
                  <a:cubicBezTo>
                    <a:pt x="592" y="438"/>
                    <a:pt x="592" y="438"/>
                    <a:pt x="592" y="438"/>
                  </a:cubicBezTo>
                  <a:cubicBezTo>
                    <a:pt x="564" y="423"/>
                    <a:pt x="564" y="423"/>
                    <a:pt x="564" y="423"/>
                  </a:cubicBezTo>
                  <a:cubicBezTo>
                    <a:pt x="557" y="413"/>
                    <a:pt x="557" y="413"/>
                    <a:pt x="557" y="413"/>
                  </a:cubicBezTo>
                  <a:cubicBezTo>
                    <a:pt x="539" y="413"/>
                    <a:pt x="539" y="413"/>
                    <a:pt x="539" y="413"/>
                  </a:cubicBezTo>
                  <a:cubicBezTo>
                    <a:pt x="528" y="395"/>
                    <a:pt x="528" y="395"/>
                    <a:pt x="528" y="395"/>
                  </a:cubicBezTo>
                  <a:cubicBezTo>
                    <a:pt x="518" y="401"/>
                    <a:pt x="518" y="401"/>
                    <a:pt x="518" y="401"/>
                  </a:cubicBezTo>
                  <a:cubicBezTo>
                    <a:pt x="518" y="401"/>
                    <a:pt x="506" y="390"/>
                    <a:pt x="499" y="382"/>
                  </a:cubicBezTo>
                  <a:cubicBezTo>
                    <a:pt x="492" y="374"/>
                    <a:pt x="511" y="364"/>
                    <a:pt x="511" y="364"/>
                  </a:cubicBezTo>
                  <a:cubicBezTo>
                    <a:pt x="511" y="364"/>
                    <a:pt x="506" y="364"/>
                    <a:pt x="502" y="358"/>
                  </a:cubicBezTo>
                  <a:cubicBezTo>
                    <a:pt x="498" y="352"/>
                    <a:pt x="509" y="350"/>
                    <a:pt x="509" y="350"/>
                  </a:cubicBezTo>
                  <a:cubicBezTo>
                    <a:pt x="503" y="341"/>
                    <a:pt x="503" y="341"/>
                    <a:pt x="503" y="341"/>
                  </a:cubicBezTo>
                  <a:cubicBezTo>
                    <a:pt x="518" y="323"/>
                    <a:pt x="518" y="323"/>
                    <a:pt x="518" y="323"/>
                  </a:cubicBezTo>
                  <a:cubicBezTo>
                    <a:pt x="524" y="310"/>
                    <a:pt x="524" y="310"/>
                    <a:pt x="524" y="310"/>
                  </a:cubicBezTo>
                  <a:cubicBezTo>
                    <a:pt x="509" y="296"/>
                    <a:pt x="509" y="296"/>
                    <a:pt x="509" y="296"/>
                  </a:cubicBezTo>
                  <a:cubicBezTo>
                    <a:pt x="509" y="296"/>
                    <a:pt x="498" y="296"/>
                    <a:pt x="492" y="293"/>
                  </a:cubicBezTo>
                  <a:cubicBezTo>
                    <a:pt x="486" y="290"/>
                    <a:pt x="492" y="282"/>
                    <a:pt x="492" y="282"/>
                  </a:cubicBezTo>
                  <a:cubicBezTo>
                    <a:pt x="481" y="283"/>
                    <a:pt x="481" y="283"/>
                    <a:pt x="481" y="283"/>
                  </a:cubicBezTo>
                  <a:cubicBezTo>
                    <a:pt x="466" y="272"/>
                    <a:pt x="466" y="272"/>
                    <a:pt x="466" y="272"/>
                  </a:cubicBezTo>
                  <a:cubicBezTo>
                    <a:pt x="466" y="272"/>
                    <a:pt x="456" y="270"/>
                    <a:pt x="445" y="266"/>
                  </a:cubicBezTo>
                  <a:cubicBezTo>
                    <a:pt x="434" y="262"/>
                    <a:pt x="430" y="247"/>
                    <a:pt x="430" y="247"/>
                  </a:cubicBezTo>
                  <a:cubicBezTo>
                    <a:pt x="430" y="247"/>
                    <a:pt x="419" y="252"/>
                    <a:pt x="412" y="249"/>
                  </a:cubicBezTo>
                  <a:cubicBezTo>
                    <a:pt x="405" y="246"/>
                    <a:pt x="412" y="221"/>
                    <a:pt x="412" y="221"/>
                  </a:cubicBezTo>
                  <a:cubicBezTo>
                    <a:pt x="412" y="221"/>
                    <a:pt x="392" y="210"/>
                    <a:pt x="390" y="200"/>
                  </a:cubicBezTo>
                  <a:cubicBezTo>
                    <a:pt x="388" y="190"/>
                    <a:pt x="401" y="185"/>
                    <a:pt x="405" y="185"/>
                  </a:cubicBezTo>
                  <a:cubicBezTo>
                    <a:pt x="409" y="185"/>
                    <a:pt x="407" y="195"/>
                    <a:pt x="407" y="195"/>
                  </a:cubicBezTo>
                  <a:cubicBezTo>
                    <a:pt x="417" y="203"/>
                    <a:pt x="417" y="203"/>
                    <a:pt x="417" y="203"/>
                  </a:cubicBezTo>
                  <a:cubicBezTo>
                    <a:pt x="423" y="194"/>
                    <a:pt x="423" y="194"/>
                    <a:pt x="423" y="194"/>
                  </a:cubicBezTo>
                  <a:cubicBezTo>
                    <a:pt x="423" y="194"/>
                    <a:pt x="432" y="191"/>
                    <a:pt x="440" y="186"/>
                  </a:cubicBezTo>
                  <a:cubicBezTo>
                    <a:pt x="448" y="181"/>
                    <a:pt x="429" y="166"/>
                    <a:pt x="429" y="166"/>
                  </a:cubicBezTo>
                  <a:cubicBezTo>
                    <a:pt x="424" y="157"/>
                    <a:pt x="424" y="157"/>
                    <a:pt x="424" y="157"/>
                  </a:cubicBezTo>
                  <a:cubicBezTo>
                    <a:pt x="424" y="157"/>
                    <a:pt x="419" y="154"/>
                    <a:pt x="404" y="147"/>
                  </a:cubicBezTo>
                  <a:cubicBezTo>
                    <a:pt x="389" y="140"/>
                    <a:pt x="395" y="129"/>
                    <a:pt x="395" y="129"/>
                  </a:cubicBezTo>
                  <a:cubicBezTo>
                    <a:pt x="406" y="123"/>
                    <a:pt x="406" y="123"/>
                    <a:pt x="406" y="123"/>
                  </a:cubicBezTo>
                  <a:cubicBezTo>
                    <a:pt x="394" y="107"/>
                    <a:pt x="394" y="107"/>
                    <a:pt x="394" y="107"/>
                  </a:cubicBezTo>
                  <a:cubicBezTo>
                    <a:pt x="394" y="107"/>
                    <a:pt x="413" y="108"/>
                    <a:pt x="422" y="103"/>
                  </a:cubicBezTo>
                  <a:cubicBezTo>
                    <a:pt x="431" y="98"/>
                    <a:pt x="425" y="74"/>
                    <a:pt x="425" y="74"/>
                  </a:cubicBezTo>
                  <a:cubicBezTo>
                    <a:pt x="425" y="74"/>
                    <a:pt x="434" y="74"/>
                    <a:pt x="438" y="69"/>
                  </a:cubicBezTo>
                  <a:cubicBezTo>
                    <a:pt x="442" y="64"/>
                    <a:pt x="438" y="28"/>
                    <a:pt x="438" y="28"/>
                  </a:cubicBezTo>
                  <a:cubicBezTo>
                    <a:pt x="438" y="28"/>
                    <a:pt x="424" y="30"/>
                    <a:pt x="413" y="28"/>
                  </a:cubicBezTo>
                  <a:cubicBezTo>
                    <a:pt x="402" y="26"/>
                    <a:pt x="400" y="12"/>
                    <a:pt x="383" y="6"/>
                  </a:cubicBezTo>
                  <a:cubicBezTo>
                    <a:pt x="366" y="0"/>
                    <a:pt x="335" y="29"/>
                    <a:pt x="335" y="29"/>
                  </a:cubicBezTo>
                  <a:cubicBezTo>
                    <a:pt x="335" y="29"/>
                    <a:pt x="328" y="29"/>
                    <a:pt x="319" y="29"/>
                  </a:cubicBezTo>
                  <a:cubicBezTo>
                    <a:pt x="304" y="51"/>
                    <a:pt x="304" y="51"/>
                    <a:pt x="304" y="51"/>
                  </a:cubicBezTo>
                  <a:cubicBezTo>
                    <a:pt x="289" y="57"/>
                    <a:pt x="289" y="57"/>
                    <a:pt x="289" y="57"/>
                  </a:cubicBezTo>
                  <a:cubicBezTo>
                    <a:pt x="289" y="57"/>
                    <a:pt x="289" y="68"/>
                    <a:pt x="286" y="69"/>
                  </a:cubicBezTo>
                  <a:cubicBezTo>
                    <a:pt x="283" y="70"/>
                    <a:pt x="272" y="69"/>
                    <a:pt x="272" y="69"/>
                  </a:cubicBezTo>
                  <a:cubicBezTo>
                    <a:pt x="266" y="74"/>
                    <a:pt x="266" y="74"/>
                    <a:pt x="266" y="74"/>
                  </a:cubicBezTo>
                  <a:cubicBezTo>
                    <a:pt x="262" y="70"/>
                    <a:pt x="262" y="70"/>
                    <a:pt x="262" y="70"/>
                  </a:cubicBezTo>
                  <a:cubicBezTo>
                    <a:pt x="262" y="70"/>
                    <a:pt x="244" y="83"/>
                    <a:pt x="237" y="84"/>
                  </a:cubicBezTo>
                  <a:cubicBezTo>
                    <a:pt x="230" y="85"/>
                    <a:pt x="227" y="73"/>
                    <a:pt x="227" y="73"/>
                  </a:cubicBezTo>
                  <a:cubicBezTo>
                    <a:pt x="227" y="73"/>
                    <a:pt x="198" y="67"/>
                    <a:pt x="176" y="70"/>
                  </a:cubicBezTo>
                  <a:cubicBezTo>
                    <a:pt x="154" y="73"/>
                    <a:pt x="156" y="89"/>
                    <a:pt x="156" y="89"/>
                  </a:cubicBezTo>
                  <a:cubicBezTo>
                    <a:pt x="171" y="99"/>
                    <a:pt x="171" y="99"/>
                    <a:pt x="171" y="99"/>
                  </a:cubicBezTo>
                  <a:cubicBezTo>
                    <a:pt x="167" y="108"/>
                    <a:pt x="167" y="108"/>
                    <a:pt x="167" y="108"/>
                  </a:cubicBezTo>
                  <a:cubicBezTo>
                    <a:pt x="187" y="112"/>
                    <a:pt x="187" y="112"/>
                    <a:pt x="187" y="112"/>
                  </a:cubicBezTo>
                  <a:cubicBezTo>
                    <a:pt x="187" y="112"/>
                    <a:pt x="178" y="120"/>
                    <a:pt x="175" y="130"/>
                  </a:cubicBezTo>
                  <a:cubicBezTo>
                    <a:pt x="172" y="140"/>
                    <a:pt x="186" y="141"/>
                    <a:pt x="186" y="141"/>
                  </a:cubicBezTo>
                  <a:cubicBezTo>
                    <a:pt x="186" y="141"/>
                    <a:pt x="185" y="149"/>
                    <a:pt x="184" y="157"/>
                  </a:cubicBezTo>
                  <a:cubicBezTo>
                    <a:pt x="183" y="165"/>
                    <a:pt x="194" y="162"/>
                    <a:pt x="194" y="162"/>
                  </a:cubicBezTo>
                  <a:cubicBezTo>
                    <a:pt x="202" y="172"/>
                    <a:pt x="202" y="172"/>
                    <a:pt x="202" y="172"/>
                  </a:cubicBezTo>
                  <a:cubicBezTo>
                    <a:pt x="216" y="173"/>
                    <a:pt x="216" y="173"/>
                    <a:pt x="216" y="173"/>
                  </a:cubicBezTo>
                  <a:cubicBezTo>
                    <a:pt x="219" y="196"/>
                    <a:pt x="219" y="196"/>
                    <a:pt x="219" y="196"/>
                  </a:cubicBezTo>
                  <a:cubicBezTo>
                    <a:pt x="243" y="195"/>
                    <a:pt x="243" y="195"/>
                    <a:pt x="243" y="195"/>
                  </a:cubicBezTo>
                  <a:cubicBezTo>
                    <a:pt x="243" y="195"/>
                    <a:pt x="255" y="200"/>
                    <a:pt x="256" y="209"/>
                  </a:cubicBezTo>
                  <a:cubicBezTo>
                    <a:pt x="257" y="218"/>
                    <a:pt x="228" y="222"/>
                    <a:pt x="224" y="224"/>
                  </a:cubicBezTo>
                  <a:cubicBezTo>
                    <a:pt x="220" y="226"/>
                    <a:pt x="223" y="240"/>
                    <a:pt x="223" y="244"/>
                  </a:cubicBezTo>
                  <a:cubicBezTo>
                    <a:pt x="223" y="248"/>
                    <a:pt x="235" y="268"/>
                    <a:pt x="235" y="268"/>
                  </a:cubicBezTo>
                  <a:cubicBezTo>
                    <a:pt x="217" y="281"/>
                    <a:pt x="217" y="281"/>
                    <a:pt x="217" y="281"/>
                  </a:cubicBezTo>
                  <a:cubicBezTo>
                    <a:pt x="200" y="305"/>
                    <a:pt x="200" y="305"/>
                    <a:pt x="200" y="305"/>
                  </a:cubicBezTo>
                  <a:cubicBezTo>
                    <a:pt x="211" y="322"/>
                    <a:pt x="211" y="322"/>
                    <a:pt x="211" y="322"/>
                  </a:cubicBezTo>
                  <a:cubicBezTo>
                    <a:pt x="211" y="322"/>
                    <a:pt x="192" y="323"/>
                    <a:pt x="188" y="332"/>
                  </a:cubicBezTo>
                  <a:cubicBezTo>
                    <a:pt x="184" y="341"/>
                    <a:pt x="187" y="359"/>
                    <a:pt x="179" y="372"/>
                  </a:cubicBezTo>
                  <a:cubicBezTo>
                    <a:pt x="171" y="385"/>
                    <a:pt x="155" y="388"/>
                    <a:pt x="151" y="391"/>
                  </a:cubicBezTo>
                  <a:cubicBezTo>
                    <a:pt x="147" y="394"/>
                    <a:pt x="146" y="414"/>
                    <a:pt x="146" y="414"/>
                  </a:cubicBezTo>
                  <a:cubicBezTo>
                    <a:pt x="137" y="419"/>
                    <a:pt x="137" y="419"/>
                    <a:pt x="137" y="419"/>
                  </a:cubicBezTo>
                  <a:cubicBezTo>
                    <a:pt x="137" y="419"/>
                    <a:pt x="136" y="429"/>
                    <a:pt x="129" y="437"/>
                  </a:cubicBezTo>
                  <a:cubicBezTo>
                    <a:pt x="122" y="445"/>
                    <a:pt x="107" y="437"/>
                    <a:pt x="107" y="437"/>
                  </a:cubicBezTo>
                  <a:cubicBezTo>
                    <a:pt x="107" y="437"/>
                    <a:pt x="102" y="445"/>
                    <a:pt x="89" y="447"/>
                  </a:cubicBezTo>
                  <a:cubicBezTo>
                    <a:pt x="76" y="449"/>
                    <a:pt x="84" y="432"/>
                    <a:pt x="70" y="434"/>
                  </a:cubicBezTo>
                  <a:cubicBezTo>
                    <a:pt x="56" y="436"/>
                    <a:pt x="57" y="450"/>
                    <a:pt x="57" y="450"/>
                  </a:cubicBezTo>
                  <a:cubicBezTo>
                    <a:pt x="57" y="450"/>
                    <a:pt x="50" y="462"/>
                    <a:pt x="42" y="469"/>
                  </a:cubicBezTo>
                  <a:cubicBezTo>
                    <a:pt x="34" y="476"/>
                    <a:pt x="33" y="476"/>
                    <a:pt x="33" y="493"/>
                  </a:cubicBezTo>
                  <a:cubicBezTo>
                    <a:pt x="33" y="510"/>
                    <a:pt x="48" y="508"/>
                    <a:pt x="48" y="508"/>
                  </a:cubicBezTo>
                  <a:cubicBezTo>
                    <a:pt x="66" y="506"/>
                    <a:pt x="66" y="506"/>
                    <a:pt x="66" y="506"/>
                  </a:cubicBezTo>
                  <a:cubicBezTo>
                    <a:pt x="67" y="516"/>
                    <a:pt x="67" y="516"/>
                    <a:pt x="67" y="516"/>
                  </a:cubicBezTo>
                  <a:cubicBezTo>
                    <a:pt x="65" y="536"/>
                    <a:pt x="65" y="536"/>
                    <a:pt x="65" y="536"/>
                  </a:cubicBezTo>
                  <a:cubicBezTo>
                    <a:pt x="65" y="536"/>
                    <a:pt x="67" y="544"/>
                    <a:pt x="74" y="551"/>
                  </a:cubicBezTo>
                  <a:cubicBezTo>
                    <a:pt x="81" y="558"/>
                    <a:pt x="97" y="558"/>
                    <a:pt x="97" y="558"/>
                  </a:cubicBezTo>
                  <a:cubicBezTo>
                    <a:pt x="97" y="573"/>
                    <a:pt x="97" y="573"/>
                    <a:pt x="97" y="573"/>
                  </a:cubicBezTo>
                  <a:cubicBezTo>
                    <a:pt x="111" y="601"/>
                    <a:pt x="111" y="601"/>
                    <a:pt x="111" y="601"/>
                  </a:cubicBezTo>
                  <a:cubicBezTo>
                    <a:pt x="111" y="601"/>
                    <a:pt x="122" y="616"/>
                    <a:pt x="120" y="625"/>
                  </a:cubicBezTo>
                  <a:cubicBezTo>
                    <a:pt x="118" y="634"/>
                    <a:pt x="109" y="635"/>
                    <a:pt x="98" y="635"/>
                  </a:cubicBezTo>
                  <a:cubicBezTo>
                    <a:pt x="87" y="635"/>
                    <a:pt x="97" y="624"/>
                    <a:pt x="86" y="626"/>
                  </a:cubicBezTo>
                  <a:cubicBezTo>
                    <a:pt x="75" y="628"/>
                    <a:pt x="77" y="638"/>
                    <a:pt x="63" y="638"/>
                  </a:cubicBezTo>
                  <a:cubicBezTo>
                    <a:pt x="49" y="638"/>
                    <a:pt x="52" y="630"/>
                    <a:pt x="52" y="630"/>
                  </a:cubicBezTo>
                  <a:cubicBezTo>
                    <a:pt x="35" y="636"/>
                    <a:pt x="35" y="636"/>
                    <a:pt x="35" y="636"/>
                  </a:cubicBezTo>
                  <a:cubicBezTo>
                    <a:pt x="35" y="636"/>
                    <a:pt x="26" y="629"/>
                    <a:pt x="15" y="630"/>
                  </a:cubicBezTo>
                  <a:cubicBezTo>
                    <a:pt x="4" y="631"/>
                    <a:pt x="13" y="647"/>
                    <a:pt x="13" y="647"/>
                  </a:cubicBezTo>
                  <a:cubicBezTo>
                    <a:pt x="0" y="652"/>
                    <a:pt x="0" y="652"/>
                    <a:pt x="0" y="652"/>
                  </a:cubicBezTo>
                  <a:cubicBezTo>
                    <a:pt x="11" y="653"/>
                    <a:pt x="23" y="653"/>
                    <a:pt x="23" y="653"/>
                  </a:cubicBezTo>
                  <a:cubicBezTo>
                    <a:pt x="23" y="653"/>
                    <a:pt x="13" y="677"/>
                    <a:pt x="26" y="686"/>
                  </a:cubicBezTo>
                  <a:cubicBezTo>
                    <a:pt x="38" y="696"/>
                    <a:pt x="71" y="699"/>
                    <a:pt x="78" y="697"/>
                  </a:cubicBezTo>
                  <a:cubicBezTo>
                    <a:pt x="84" y="695"/>
                    <a:pt x="108" y="678"/>
                    <a:pt x="108" y="678"/>
                  </a:cubicBezTo>
                  <a:cubicBezTo>
                    <a:pt x="108" y="678"/>
                    <a:pt x="118" y="690"/>
                    <a:pt x="106" y="701"/>
                  </a:cubicBezTo>
                  <a:cubicBezTo>
                    <a:pt x="94" y="712"/>
                    <a:pt x="70" y="719"/>
                    <a:pt x="70" y="719"/>
                  </a:cubicBezTo>
                  <a:cubicBezTo>
                    <a:pt x="70" y="719"/>
                    <a:pt x="32" y="724"/>
                    <a:pt x="30" y="735"/>
                  </a:cubicBezTo>
                  <a:cubicBezTo>
                    <a:pt x="28" y="746"/>
                    <a:pt x="58" y="770"/>
                    <a:pt x="70" y="779"/>
                  </a:cubicBezTo>
                  <a:cubicBezTo>
                    <a:pt x="83" y="788"/>
                    <a:pt x="106" y="816"/>
                    <a:pt x="136" y="818"/>
                  </a:cubicBezTo>
                  <a:cubicBezTo>
                    <a:pt x="167" y="821"/>
                    <a:pt x="205" y="794"/>
                    <a:pt x="201" y="775"/>
                  </a:cubicBezTo>
                  <a:cubicBezTo>
                    <a:pt x="197" y="757"/>
                    <a:pt x="207" y="742"/>
                    <a:pt x="217" y="733"/>
                  </a:cubicBezTo>
                  <a:cubicBezTo>
                    <a:pt x="226" y="723"/>
                    <a:pt x="248" y="718"/>
                    <a:pt x="238" y="735"/>
                  </a:cubicBezTo>
                  <a:cubicBezTo>
                    <a:pt x="229" y="752"/>
                    <a:pt x="206" y="767"/>
                    <a:pt x="213" y="781"/>
                  </a:cubicBezTo>
                  <a:cubicBezTo>
                    <a:pt x="220" y="795"/>
                    <a:pt x="238" y="793"/>
                    <a:pt x="238" y="808"/>
                  </a:cubicBezTo>
                  <a:cubicBezTo>
                    <a:pt x="237" y="822"/>
                    <a:pt x="233" y="838"/>
                    <a:pt x="227" y="861"/>
                  </a:cubicBezTo>
                  <a:cubicBezTo>
                    <a:pt x="220" y="885"/>
                    <a:pt x="220" y="907"/>
                    <a:pt x="227" y="936"/>
                  </a:cubicBezTo>
                  <a:cubicBezTo>
                    <a:pt x="235" y="964"/>
                    <a:pt x="247" y="1014"/>
                    <a:pt x="258" y="1029"/>
                  </a:cubicBezTo>
                  <a:cubicBezTo>
                    <a:pt x="269" y="1045"/>
                    <a:pt x="272" y="1039"/>
                    <a:pt x="267" y="1062"/>
                  </a:cubicBezTo>
                  <a:cubicBezTo>
                    <a:pt x="262" y="1085"/>
                    <a:pt x="299" y="1092"/>
                    <a:pt x="299" y="1092"/>
                  </a:cubicBezTo>
                  <a:cubicBezTo>
                    <a:pt x="299" y="1092"/>
                    <a:pt x="304" y="1124"/>
                    <a:pt x="312" y="1135"/>
                  </a:cubicBezTo>
                  <a:cubicBezTo>
                    <a:pt x="321" y="1147"/>
                    <a:pt x="339" y="1156"/>
                    <a:pt x="339" y="1156"/>
                  </a:cubicBezTo>
                  <a:cubicBezTo>
                    <a:pt x="339" y="1156"/>
                    <a:pt x="344" y="1222"/>
                    <a:pt x="354" y="1252"/>
                  </a:cubicBezTo>
                  <a:cubicBezTo>
                    <a:pt x="365" y="1282"/>
                    <a:pt x="402" y="1323"/>
                    <a:pt x="407" y="1335"/>
                  </a:cubicBezTo>
                  <a:cubicBezTo>
                    <a:pt x="412" y="1348"/>
                    <a:pt x="414" y="1374"/>
                    <a:pt x="413" y="1386"/>
                  </a:cubicBezTo>
                  <a:cubicBezTo>
                    <a:pt x="411" y="1398"/>
                    <a:pt x="479" y="1502"/>
                    <a:pt x="479" y="1502"/>
                  </a:cubicBezTo>
                  <a:cubicBezTo>
                    <a:pt x="479" y="1502"/>
                    <a:pt x="512" y="1493"/>
                    <a:pt x="518" y="1484"/>
                  </a:cubicBezTo>
                  <a:cubicBezTo>
                    <a:pt x="523" y="1474"/>
                    <a:pt x="515" y="1452"/>
                    <a:pt x="526" y="1445"/>
                  </a:cubicBezTo>
                  <a:cubicBezTo>
                    <a:pt x="536" y="1438"/>
                    <a:pt x="540" y="1446"/>
                    <a:pt x="550" y="1443"/>
                  </a:cubicBezTo>
                  <a:cubicBezTo>
                    <a:pt x="561" y="1440"/>
                    <a:pt x="578" y="1427"/>
                    <a:pt x="578" y="1427"/>
                  </a:cubicBezTo>
                  <a:cubicBezTo>
                    <a:pt x="578" y="1427"/>
                    <a:pt x="563" y="1431"/>
                    <a:pt x="566" y="1414"/>
                  </a:cubicBezTo>
                  <a:cubicBezTo>
                    <a:pt x="568" y="1397"/>
                    <a:pt x="575" y="1394"/>
                    <a:pt x="587" y="1388"/>
                  </a:cubicBezTo>
                  <a:cubicBezTo>
                    <a:pt x="599" y="1382"/>
                    <a:pt x="613" y="1379"/>
                    <a:pt x="613" y="1371"/>
                  </a:cubicBezTo>
                  <a:cubicBezTo>
                    <a:pt x="614" y="1362"/>
                    <a:pt x="601" y="1330"/>
                    <a:pt x="601" y="1311"/>
                  </a:cubicBezTo>
                  <a:cubicBezTo>
                    <a:pt x="600" y="1293"/>
                    <a:pt x="599" y="1264"/>
                    <a:pt x="605" y="1261"/>
                  </a:cubicBezTo>
                  <a:cubicBezTo>
                    <a:pt x="612" y="1257"/>
                    <a:pt x="609" y="1249"/>
                    <a:pt x="610" y="1217"/>
                  </a:cubicBezTo>
                  <a:cubicBezTo>
                    <a:pt x="612" y="1185"/>
                    <a:pt x="592" y="1185"/>
                    <a:pt x="590" y="1172"/>
                  </a:cubicBezTo>
                  <a:cubicBezTo>
                    <a:pt x="588" y="1160"/>
                    <a:pt x="598" y="1154"/>
                    <a:pt x="599" y="1142"/>
                  </a:cubicBezTo>
                  <a:cubicBezTo>
                    <a:pt x="601" y="1130"/>
                    <a:pt x="594" y="1123"/>
                    <a:pt x="594" y="1107"/>
                  </a:cubicBezTo>
                  <a:cubicBezTo>
                    <a:pt x="595" y="1091"/>
                    <a:pt x="631" y="1089"/>
                    <a:pt x="631" y="1082"/>
                  </a:cubicBezTo>
                  <a:cubicBezTo>
                    <a:pt x="631" y="1075"/>
                    <a:pt x="631" y="1059"/>
                    <a:pt x="638" y="1054"/>
                  </a:cubicBezTo>
                  <a:cubicBezTo>
                    <a:pt x="646" y="1049"/>
                    <a:pt x="660" y="1050"/>
                    <a:pt x="660" y="1050"/>
                  </a:cubicBezTo>
                  <a:cubicBezTo>
                    <a:pt x="663" y="1044"/>
                    <a:pt x="663" y="1044"/>
                    <a:pt x="663" y="1044"/>
                  </a:cubicBezTo>
                  <a:cubicBezTo>
                    <a:pt x="663" y="1044"/>
                    <a:pt x="686" y="1055"/>
                    <a:pt x="688" y="1044"/>
                  </a:cubicBezTo>
                  <a:cubicBezTo>
                    <a:pt x="690" y="1033"/>
                    <a:pt x="709" y="998"/>
                    <a:pt x="715" y="988"/>
                  </a:cubicBezTo>
                  <a:cubicBezTo>
                    <a:pt x="722" y="979"/>
                    <a:pt x="744" y="980"/>
                    <a:pt x="751" y="966"/>
                  </a:cubicBezTo>
                  <a:cubicBezTo>
                    <a:pt x="758" y="953"/>
                    <a:pt x="769" y="925"/>
                    <a:pt x="779" y="916"/>
                  </a:cubicBezTo>
                  <a:cubicBezTo>
                    <a:pt x="788" y="906"/>
                    <a:pt x="827" y="886"/>
                    <a:pt x="827" y="886"/>
                  </a:cubicBezTo>
                  <a:cubicBezTo>
                    <a:pt x="820" y="866"/>
                    <a:pt x="820" y="866"/>
                    <a:pt x="820" y="866"/>
                  </a:cubicBezTo>
                  <a:cubicBezTo>
                    <a:pt x="826" y="861"/>
                    <a:pt x="826" y="861"/>
                    <a:pt x="826" y="861"/>
                  </a:cubicBezTo>
                  <a:cubicBezTo>
                    <a:pt x="839" y="880"/>
                    <a:pt x="839" y="880"/>
                    <a:pt x="839" y="880"/>
                  </a:cubicBezTo>
                  <a:cubicBezTo>
                    <a:pt x="880" y="841"/>
                    <a:pt x="880" y="841"/>
                    <a:pt x="880" y="841"/>
                  </a:cubicBezTo>
                  <a:cubicBezTo>
                    <a:pt x="887" y="823"/>
                    <a:pt x="887" y="823"/>
                    <a:pt x="887" y="823"/>
                  </a:cubicBezTo>
                  <a:cubicBezTo>
                    <a:pt x="887" y="823"/>
                    <a:pt x="873" y="806"/>
                    <a:pt x="873" y="795"/>
                  </a:cubicBezTo>
                  <a:cubicBezTo>
                    <a:pt x="874" y="784"/>
                    <a:pt x="897" y="788"/>
                    <a:pt x="909" y="773"/>
                  </a:cubicBezTo>
                  <a:cubicBezTo>
                    <a:pt x="921" y="757"/>
                    <a:pt x="917" y="744"/>
                    <a:pt x="917" y="744"/>
                  </a:cubicBezTo>
                  <a:cubicBezTo>
                    <a:pt x="928" y="749"/>
                    <a:pt x="928" y="749"/>
                    <a:pt x="928" y="749"/>
                  </a:cubicBezTo>
                  <a:cubicBezTo>
                    <a:pt x="934" y="767"/>
                    <a:pt x="934" y="767"/>
                    <a:pt x="934" y="767"/>
                  </a:cubicBezTo>
                  <a:cubicBezTo>
                    <a:pt x="942" y="744"/>
                    <a:pt x="942" y="744"/>
                    <a:pt x="942" y="744"/>
                  </a:cubicBezTo>
                  <a:cubicBezTo>
                    <a:pt x="942" y="744"/>
                    <a:pt x="950" y="786"/>
                    <a:pt x="957" y="789"/>
                  </a:cubicBezTo>
                  <a:cubicBezTo>
                    <a:pt x="965" y="791"/>
                    <a:pt x="968" y="763"/>
                    <a:pt x="968" y="763"/>
                  </a:cubicBezTo>
                  <a:cubicBezTo>
                    <a:pt x="970" y="745"/>
                    <a:pt x="970" y="745"/>
                    <a:pt x="970" y="745"/>
                  </a:cubicBezTo>
                  <a:cubicBezTo>
                    <a:pt x="958" y="717"/>
                    <a:pt x="958" y="717"/>
                    <a:pt x="958" y="717"/>
                  </a:cubicBezTo>
                  <a:cubicBezTo>
                    <a:pt x="959" y="697"/>
                    <a:pt x="959" y="697"/>
                    <a:pt x="959" y="697"/>
                  </a:cubicBezTo>
                  <a:cubicBezTo>
                    <a:pt x="939" y="681"/>
                    <a:pt x="939" y="681"/>
                    <a:pt x="939" y="681"/>
                  </a:cubicBezTo>
                  <a:cubicBezTo>
                    <a:pt x="930" y="661"/>
                    <a:pt x="930" y="661"/>
                    <a:pt x="930" y="661"/>
                  </a:cubicBezTo>
                  <a:cubicBezTo>
                    <a:pt x="930" y="661"/>
                    <a:pt x="939" y="653"/>
                    <a:pt x="942" y="637"/>
                  </a:cubicBezTo>
                  <a:cubicBezTo>
                    <a:pt x="945" y="621"/>
                    <a:pt x="918" y="627"/>
                    <a:pt x="908" y="617"/>
                  </a:cubicBezTo>
                  <a:cubicBezTo>
                    <a:pt x="898" y="607"/>
                    <a:pt x="917" y="604"/>
                    <a:pt x="917" y="604"/>
                  </a:cubicBezTo>
                  <a:cubicBezTo>
                    <a:pt x="917" y="585"/>
                    <a:pt x="917" y="585"/>
                    <a:pt x="917" y="585"/>
                  </a:cubicBezTo>
                  <a:cubicBezTo>
                    <a:pt x="939" y="584"/>
                    <a:pt x="939" y="584"/>
                    <a:pt x="939" y="584"/>
                  </a:cubicBezTo>
                  <a:cubicBezTo>
                    <a:pt x="938" y="576"/>
                    <a:pt x="938" y="576"/>
                    <a:pt x="938" y="576"/>
                  </a:cubicBezTo>
                  <a:cubicBezTo>
                    <a:pt x="921" y="565"/>
                    <a:pt x="921" y="565"/>
                    <a:pt x="921" y="565"/>
                  </a:cubicBezTo>
                  <a:cubicBezTo>
                    <a:pt x="921" y="565"/>
                    <a:pt x="899" y="557"/>
                    <a:pt x="897" y="546"/>
                  </a:cubicBezTo>
                  <a:cubicBezTo>
                    <a:pt x="895" y="535"/>
                    <a:pt x="906" y="523"/>
                    <a:pt x="906" y="523"/>
                  </a:cubicBezTo>
                  <a:cubicBezTo>
                    <a:pt x="901" y="511"/>
                    <a:pt x="901" y="511"/>
                    <a:pt x="901" y="511"/>
                  </a:cubicBezTo>
                  <a:cubicBezTo>
                    <a:pt x="912" y="514"/>
                    <a:pt x="912" y="514"/>
                    <a:pt x="912" y="514"/>
                  </a:cubicBezTo>
                  <a:cubicBezTo>
                    <a:pt x="928" y="522"/>
                    <a:pt x="928" y="522"/>
                    <a:pt x="928" y="522"/>
                  </a:cubicBezTo>
                  <a:cubicBezTo>
                    <a:pt x="925" y="515"/>
                    <a:pt x="925" y="515"/>
                    <a:pt x="925" y="515"/>
                  </a:cubicBezTo>
                  <a:cubicBezTo>
                    <a:pt x="936" y="514"/>
                    <a:pt x="936" y="514"/>
                    <a:pt x="936" y="514"/>
                  </a:cubicBezTo>
                  <a:cubicBezTo>
                    <a:pt x="936" y="514"/>
                    <a:pt x="939" y="526"/>
                    <a:pt x="945" y="532"/>
                  </a:cubicBezTo>
                  <a:cubicBezTo>
                    <a:pt x="951" y="538"/>
                    <a:pt x="961" y="540"/>
                    <a:pt x="961" y="540"/>
                  </a:cubicBezTo>
                  <a:cubicBezTo>
                    <a:pt x="962" y="528"/>
                    <a:pt x="962" y="528"/>
                    <a:pt x="962" y="528"/>
                  </a:cubicBezTo>
                  <a:cubicBezTo>
                    <a:pt x="962" y="528"/>
                    <a:pt x="968" y="531"/>
                    <a:pt x="972" y="534"/>
                  </a:cubicBezTo>
                  <a:cubicBezTo>
                    <a:pt x="976" y="537"/>
                    <a:pt x="976" y="555"/>
                    <a:pt x="976" y="555"/>
                  </a:cubicBezTo>
                  <a:cubicBezTo>
                    <a:pt x="980" y="557"/>
                    <a:pt x="980" y="557"/>
                    <a:pt x="980" y="557"/>
                  </a:cubicBezTo>
                  <a:cubicBezTo>
                    <a:pt x="980" y="557"/>
                    <a:pt x="981" y="577"/>
                    <a:pt x="981" y="580"/>
                  </a:cubicBezTo>
                  <a:cubicBezTo>
                    <a:pt x="981" y="583"/>
                    <a:pt x="998" y="586"/>
                    <a:pt x="1008" y="586"/>
                  </a:cubicBezTo>
                  <a:cubicBezTo>
                    <a:pt x="1018" y="586"/>
                    <a:pt x="1049" y="590"/>
                    <a:pt x="1049" y="590"/>
                  </a:cubicBezTo>
                  <a:cubicBezTo>
                    <a:pt x="1079" y="579"/>
                    <a:pt x="1079" y="579"/>
                    <a:pt x="1079" y="579"/>
                  </a:cubicBezTo>
                  <a:cubicBezTo>
                    <a:pt x="1079" y="579"/>
                    <a:pt x="1101" y="587"/>
                    <a:pt x="1101" y="597"/>
                  </a:cubicBezTo>
                  <a:cubicBezTo>
                    <a:pt x="1101" y="607"/>
                    <a:pt x="1091" y="603"/>
                    <a:pt x="1091" y="603"/>
                  </a:cubicBezTo>
                  <a:cubicBezTo>
                    <a:pt x="1091" y="603"/>
                    <a:pt x="1091" y="612"/>
                    <a:pt x="1088" y="626"/>
                  </a:cubicBezTo>
                  <a:cubicBezTo>
                    <a:pt x="1085" y="640"/>
                    <a:pt x="1071" y="638"/>
                    <a:pt x="1063" y="641"/>
                  </a:cubicBezTo>
                  <a:cubicBezTo>
                    <a:pt x="1055" y="644"/>
                    <a:pt x="1053" y="654"/>
                    <a:pt x="1053" y="670"/>
                  </a:cubicBezTo>
                  <a:cubicBezTo>
                    <a:pt x="1053" y="686"/>
                    <a:pt x="1073" y="689"/>
                    <a:pt x="1073" y="689"/>
                  </a:cubicBezTo>
                  <a:cubicBezTo>
                    <a:pt x="1082" y="704"/>
                    <a:pt x="1082" y="704"/>
                    <a:pt x="1082" y="704"/>
                  </a:cubicBezTo>
                  <a:cubicBezTo>
                    <a:pt x="1089" y="681"/>
                    <a:pt x="1089" y="681"/>
                    <a:pt x="1089" y="681"/>
                  </a:cubicBezTo>
                  <a:cubicBezTo>
                    <a:pt x="1089" y="681"/>
                    <a:pt x="1081" y="660"/>
                    <a:pt x="1099" y="664"/>
                  </a:cubicBezTo>
                  <a:cubicBezTo>
                    <a:pt x="1117" y="668"/>
                    <a:pt x="1111" y="687"/>
                    <a:pt x="1115" y="698"/>
                  </a:cubicBezTo>
                  <a:cubicBezTo>
                    <a:pt x="1119" y="709"/>
                    <a:pt x="1135" y="748"/>
                    <a:pt x="1135" y="748"/>
                  </a:cubicBezTo>
                  <a:cubicBezTo>
                    <a:pt x="1149" y="760"/>
                    <a:pt x="1149" y="760"/>
                    <a:pt x="1149" y="760"/>
                  </a:cubicBezTo>
                  <a:cubicBezTo>
                    <a:pt x="1149" y="760"/>
                    <a:pt x="1148" y="752"/>
                    <a:pt x="1148" y="746"/>
                  </a:cubicBezTo>
                  <a:cubicBezTo>
                    <a:pt x="1148" y="740"/>
                    <a:pt x="1152" y="752"/>
                    <a:pt x="1161" y="750"/>
                  </a:cubicBezTo>
                  <a:cubicBezTo>
                    <a:pt x="1170" y="748"/>
                    <a:pt x="1160" y="736"/>
                    <a:pt x="1156" y="732"/>
                  </a:cubicBezTo>
                  <a:cubicBezTo>
                    <a:pt x="1152" y="728"/>
                    <a:pt x="1152" y="714"/>
                    <a:pt x="1149" y="705"/>
                  </a:cubicBezTo>
                  <a:cubicBezTo>
                    <a:pt x="1146" y="696"/>
                    <a:pt x="1163" y="694"/>
                    <a:pt x="1163" y="694"/>
                  </a:cubicBezTo>
                  <a:cubicBezTo>
                    <a:pt x="1161" y="661"/>
                    <a:pt x="1161" y="661"/>
                    <a:pt x="1161" y="661"/>
                  </a:cubicBezTo>
                  <a:cubicBezTo>
                    <a:pt x="1161" y="661"/>
                    <a:pt x="1147" y="650"/>
                    <a:pt x="1143" y="648"/>
                  </a:cubicBezTo>
                  <a:cubicBezTo>
                    <a:pt x="1139" y="646"/>
                    <a:pt x="1164" y="647"/>
                    <a:pt x="1168" y="648"/>
                  </a:cubicBezTo>
                  <a:cubicBezTo>
                    <a:pt x="1172" y="649"/>
                    <a:pt x="1197" y="653"/>
                    <a:pt x="1197" y="653"/>
                  </a:cubicBezTo>
                  <a:cubicBezTo>
                    <a:pt x="1197" y="629"/>
                    <a:pt x="1197" y="629"/>
                    <a:pt x="1197" y="629"/>
                  </a:cubicBezTo>
                  <a:cubicBezTo>
                    <a:pt x="1209" y="594"/>
                    <a:pt x="1209" y="594"/>
                    <a:pt x="1209" y="594"/>
                  </a:cubicBezTo>
                  <a:cubicBezTo>
                    <a:pt x="1209" y="594"/>
                    <a:pt x="1199" y="586"/>
                    <a:pt x="1199" y="576"/>
                  </a:cubicBezTo>
                  <a:cubicBezTo>
                    <a:pt x="1199" y="566"/>
                    <a:pt x="1213" y="562"/>
                    <a:pt x="1213" y="562"/>
                  </a:cubicBezTo>
                  <a:cubicBezTo>
                    <a:pt x="1225" y="541"/>
                    <a:pt x="1225" y="541"/>
                    <a:pt x="1225" y="541"/>
                  </a:cubicBezTo>
                  <a:cubicBezTo>
                    <a:pt x="1225" y="541"/>
                    <a:pt x="1219" y="530"/>
                    <a:pt x="1218" y="525"/>
                  </a:cubicBezTo>
                  <a:cubicBezTo>
                    <a:pt x="1217" y="520"/>
                    <a:pt x="1215" y="506"/>
                    <a:pt x="1215" y="506"/>
                  </a:cubicBezTo>
                  <a:cubicBezTo>
                    <a:pt x="1215" y="506"/>
                    <a:pt x="1226" y="501"/>
                    <a:pt x="1238" y="497"/>
                  </a:cubicBezTo>
                  <a:cubicBezTo>
                    <a:pt x="1250" y="493"/>
                    <a:pt x="1245" y="478"/>
                    <a:pt x="1253" y="476"/>
                  </a:cubicBezTo>
                  <a:cubicBezTo>
                    <a:pt x="1261" y="474"/>
                    <a:pt x="1276" y="473"/>
                    <a:pt x="1276" y="473"/>
                  </a:cubicBezTo>
                  <a:cubicBezTo>
                    <a:pt x="1276" y="473"/>
                    <a:pt x="1299" y="481"/>
                    <a:pt x="1301" y="477"/>
                  </a:cubicBezTo>
                  <a:cubicBezTo>
                    <a:pt x="1303" y="473"/>
                    <a:pt x="1280" y="463"/>
                    <a:pt x="1280" y="454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221">
              <a:extLst>
                <a:ext uri="{FF2B5EF4-FFF2-40B4-BE49-F238E27FC236}">
                  <a16:creationId xmlns:a16="http://schemas.microsoft.com/office/drawing/2014/main" id="{F3E57A24-8B53-3B35-4016-A58D05C906A8}"/>
                </a:ext>
              </a:extLst>
            </p:cNvPr>
            <p:cNvSpPr>
              <a:spLocks/>
            </p:cNvSpPr>
            <p:nvPr/>
          </p:nvSpPr>
          <p:spPr bwMode="gray">
            <a:xfrm>
              <a:off x="3685" y="-13606"/>
              <a:ext cx="1006" cy="2365"/>
            </a:xfrm>
            <a:custGeom>
              <a:avLst/>
              <a:gdLst>
                <a:gd name="T0" fmla="*/ 9 w 426"/>
                <a:gd name="T1" fmla="*/ 422 h 1001"/>
                <a:gd name="T2" fmla="*/ 81 w 426"/>
                <a:gd name="T3" fmla="*/ 465 h 1001"/>
                <a:gd name="T4" fmla="*/ 132 w 426"/>
                <a:gd name="T5" fmla="*/ 562 h 1001"/>
                <a:gd name="T6" fmla="*/ 145 w 426"/>
                <a:gd name="T7" fmla="*/ 654 h 1001"/>
                <a:gd name="T8" fmla="*/ 168 w 426"/>
                <a:gd name="T9" fmla="*/ 671 h 1001"/>
                <a:gd name="T10" fmla="*/ 240 w 426"/>
                <a:gd name="T11" fmla="*/ 641 h 1001"/>
                <a:gd name="T12" fmla="*/ 267 w 426"/>
                <a:gd name="T13" fmla="*/ 638 h 1001"/>
                <a:gd name="T14" fmla="*/ 303 w 426"/>
                <a:gd name="T15" fmla="*/ 745 h 1001"/>
                <a:gd name="T16" fmla="*/ 350 w 426"/>
                <a:gd name="T17" fmla="*/ 849 h 1001"/>
                <a:gd name="T18" fmla="*/ 337 w 426"/>
                <a:gd name="T19" fmla="*/ 918 h 1001"/>
                <a:gd name="T20" fmla="*/ 355 w 426"/>
                <a:gd name="T21" fmla="*/ 970 h 1001"/>
                <a:gd name="T22" fmla="*/ 375 w 426"/>
                <a:gd name="T23" fmla="*/ 956 h 1001"/>
                <a:gd name="T24" fmla="*/ 396 w 426"/>
                <a:gd name="T25" fmla="*/ 861 h 1001"/>
                <a:gd name="T26" fmla="*/ 344 w 426"/>
                <a:gd name="T27" fmla="*/ 760 h 1001"/>
                <a:gd name="T28" fmla="*/ 341 w 426"/>
                <a:gd name="T29" fmla="*/ 687 h 1001"/>
                <a:gd name="T30" fmla="*/ 344 w 426"/>
                <a:gd name="T31" fmla="*/ 653 h 1001"/>
                <a:gd name="T32" fmla="*/ 295 w 426"/>
                <a:gd name="T33" fmla="*/ 592 h 1001"/>
                <a:gd name="T34" fmla="*/ 273 w 426"/>
                <a:gd name="T35" fmla="*/ 554 h 1001"/>
                <a:gd name="T36" fmla="*/ 272 w 426"/>
                <a:gd name="T37" fmla="*/ 512 h 1001"/>
                <a:gd name="T38" fmla="*/ 318 w 426"/>
                <a:gd name="T39" fmla="*/ 477 h 1001"/>
                <a:gd name="T40" fmla="*/ 352 w 426"/>
                <a:gd name="T41" fmla="*/ 440 h 1001"/>
                <a:gd name="T42" fmla="*/ 399 w 426"/>
                <a:gd name="T43" fmla="*/ 414 h 1001"/>
                <a:gd name="T44" fmla="*/ 399 w 426"/>
                <a:gd name="T45" fmla="*/ 392 h 1001"/>
                <a:gd name="T46" fmla="*/ 397 w 426"/>
                <a:gd name="T47" fmla="*/ 380 h 1001"/>
                <a:gd name="T48" fmla="*/ 361 w 426"/>
                <a:gd name="T49" fmla="*/ 370 h 1001"/>
                <a:gd name="T50" fmla="*/ 326 w 426"/>
                <a:gd name="T51" fmla="*/ 329 h 1001"/>
                <a:gd name="T52" fmla="*/ 301 w 426"/>
                <a:gd name="T53" fmla="*/ 292 h 1001"/>
                <a:gd name="T54" fmla="*/ 297 w 426"/>
                <a:gd name="T55" fmla="*/ 237 h 1001"/>
                <a:gd name="T56" fmla="*/ 242 w 426"/>
                <a:gd name="T57" fmla="*/ 235 h 1001"/>
                <a:gd name="T58" fmla="*/ 233 w 426"/>
                <a:gd name="T59" fmla="*/ 203 h 1001"/>
                <a:gd name="T60" fmla="*/ 243 w 426"/>
                <a:gd name="T61" fmla="*/ 156 h 1001"/>
                <a:gd name="T62" fmla="*/ 253 w 426"/>
                <a:gd name="T63" fmla="*/ 133 h 1001"/>
                <a:gd name="T64" fmla="*/ 255 w 426"/>
                <a:gd name="T65" fmla="*/ 74 h 1001"/>
                <a:gd name="T66" fmla="*/ 211 w 426"/>
                <a:gd name="T67" fmla="*/ 15 h 1001"/>
                <a:gd name="T68" fmla="*/ 187 w 426"/>
                <a:gd name="T69" fmla="*/ 32 h 1001"/>
                <a:gd name="T70" fmla="*/ 159 w 426"/>
                <a:gd name="T71" fmla="*/ 69 h 1001"/>
                <a:gd name="T72" fmla="*/ 98 w 426"/>
                <a:gd name="T73" fmla="*/ 102 h 1001"/>
                <a:gd name="T74" fmla="*/ 96 w 426"/>
                <a:gd name="T75" fmla="*/ 158 h 1001"/>
                <a:gd name="T76" fmla="*/ 80 w 426"/>
                <a:gd name="T77" fmla="*/ 225 h 1001"/>
                <a:gd name="T78" fmla="*/ 26 w 426"/>
                <a:gd name="T79" fmla="*/ 244 h 1001"/>
                <a:gd name="T80" fmla="*/ 32 w 426"/>
                <a:gd name="T81" fmla="*/ 301 h 1001"/>
                <a:gd name="T82" fmla="*/ 31 w 426"/>
                <a:gd name="T83" fmla="*/ 342 h 1001"/>
                <a:gd name="T84" fmla="*/ 25 w 426"/>
                <a:gd name="T85" fmla="*/ 383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6" h="1001">
                  <a:moveTo>
                    <a:pt x="0" y="391"/>
                  </a:moveTo>
                  <a:cubicBezTo>
                    <a:pt x="5" y="391"/>
                    <a:pt x="9" y="391"/>
                    <a:pt x="9" y="391"/>
                  </a:cubicBezTo>
                  <a:cubicBezTo>
                    <a:pt x="9" y="422"/>
                    <a:pt x="9" y="422"/>
                    <a:pt x="9" y="422"/>
                  </a:cubicBezTo>
                  <a:cubicBezTo>
                    <a:pt x="9" y="422"/>
                    <a:pt x="32" y="428"/>
                    <a:pt x="41" y="438"/>
                  </a:cubicBezTo>
                  <a:cubicBezTo>
                    <a:pt x="51" y="448"/>
                    <a:pt x="59" y="470"/>
                    <a:pt x="59" y="470"/>
                  </a:cubicBezTo>
                  <a:cubicBezTo>
                    <a:pt x="81" y="465"/>
                    <a:pt x="81" y="465"/>
                    <a:pt x="81" y="465"/>
                  </a:cubicBezTo>
                  <a:cubicBezTo>
                    <a:pt x="67" y="494"/>
                    <a:pt x="67" y="494"/>
                    <a:pt x="67" y="494"/>
                  </a:cubicBezTo>
                  <a:cubicBezTo>
                    <a:pt x="67" y="494"/>
                    <a:pt x="98" y="501"/>
                    <a:pt x="110" y="510"/>
                  </a:cubicBezTo>
                  <a:cubicBezTo>
                    <a:pt x="122" y="519"/>
                    <a:pt x="130" y="555"/>
                    <a:pt x="132" y="562"/>
                  </a:cubicBezTo>
                  <a:cubicBezTo>
                    <a:pt x="134" y="568"/>
                    <a:pt x="148" y="581"/>
                    <a:pt x="148" y="581"/>
                  </a:cubicBezTo>
                  <a:cubicBezTo>
                    <a:pt x="137" y="593"/>
                    <a:pt x="137" y="593"/>
                    <a:pt x="137" y="593"/>
                  </a:cubicBezTo>
                  <a:cubicBezTo>
                    <a:pt x="145" y="654"/>
                    <a:pt x="145" y="654"/>
                    <a:pt x="145" y="654"/>
                  </a:cubicBezTo>
                  <a:cubicBezTo>
                    <a:pt x="134" y="662"/>
                    <a:pt x="134" y="662"/>
                    <a:pt x="134" y="662"/>
                  </a:cubicBezTo>
                  <a:cubicBezTo>
                    <a:pt x="134" y="662"/>
                    <a:pt x="140" y="681"/>
                    <a:pt x="149" y="680"/>
                  </a:cubicBezTo>
                  <a:cubicBezTo>
                    <a:pt x="158" y="679"/>
                    <a:pt x="168" y="671"/>
                    <a:pt x="168" y="671"/>
                  </a:cubicBezTo>
                  <a:cubicBezTo>
                    <a:pt x="168" y="671"/>
                    <a:pt x="172" y="686"/>
                    <a:pt x="183" y="681"/>
                  </a:cubicBezTo>
                  <a:cubicBezTo>
                    <a:pt x="195" y="677"/>
                    <a:pt x="206" y="654"/>
                    <a:pt x="206" y="654"/>
                  </a:cubicBezTo>
                  <a:cubicBezTo>
                    <a:pt x="206" y="654"/>
                    <a:pt x="228" y="650"/>
                    <a:pt x="240" y="641"/>
                  </a:cubicBezTo>
                  <a:cubicBezTo>
                    <a:pt x="252" y="631"/>
                    <a:pt x="238" y="602"/>
                    <a:pt x="245" y="596"/>
                  </a:cubicBezTo>
                  <a:cubicBezTo>
                    <a:pt x="253" y="590"/>
                    <a:pt x="268" y="617"/>
                    <a:pt x="268" y="617"/>
                  </a:cubicBezTo>
                  <a:cubicBezTo>
                    <a:pt x="267" y="638"/>
                    <a:pt x="267" y="638"/>
                    <a:pt x="267" y="638"/>
                  </a:cubicBezTo>
                  <a:cubicBezTo>
                    <a:pt x="267" y="638"/>
                    <a:pt x="288" y="639"/>
                    <a:pt x="289" y="656"/>
                  </a:cubicBezTo>
                  <a:cubicBezTo>
                    <a:pt x="289" y="673"/>
                    <a:pt x="296" y="685"/>
                    <a:pt x="298" y="698"/>
                  </a:cubicBezTo>
                  <a:cubicBezTo>
                    <a:pt x="300" y="712"/>
                    <a:pt x="303" y="745"/>
                    <a:pt x="303" y="745"/>
                  </a:cubicBezTo>
                  <a:cubicBezTo>
                    <a:pt x="303" y="745"/>
                    <a:pt x="304" y="757"/>
                    <a:pt x="311" y="766"/>
                  </a:cubicBezTo>
                  <a:cubicBezTo>
                    <a:pt x="319" y="775"/>
                    <a:pt x="322" y="788"/>
                    <a:pt x="322" y="788"/>
                  </a:cubicBezTo>
                  <a:cubicBezTo>
                    <a:pt x="350" y="849"/>
                    <a:pt x="350" y="849"/>
                    <a:pt x="350" y="849"/>
                  </a:cubicBezTo>
                  <a:cubicBezTo>
                    <a:pt x="360" y="879"/>
                    <a:pt x="360" y="879"/>
                    <a:pt x="360" y="879"/>
                  </a:cubicBezTo>
                  <a:cubicBezTo>
                    <a:pt x="360" y="879"/>
                    <a:pt x="346" y="876"/>
                    <a:pt x="345" y="884"/>
                  </a:cubicBezTo>
                  <a:cubicBezTo>
                    <a:pt x="343" y="893"/>
                    <a:pt x="337" y="918"/>
                    <a:pt x="337" y="918"/>
                  </a:cubicBezTo>
                  <a:cubicBezTo>
                    <a:pt x="366" y="908"/>
                    <a:pt x="366" y="908"/>
                    <a:pt x="366" y="908"/>
                  </a:cubicBezTo>
                  <a:cubicBezTo>
                    <a:pt x="358" y="945"/>
                    <a:pt x="358" y="945"/>
                    <a:pt x="358" y="945"/>
                  </a:cubicBezTo>
                  <a:cubicBezTo>
                    <a:pt x="358" y="945"/>
                    <a:pt x="354" y="957"/>
                    <a:pt x="355" y="970"/>
                  </a:cubicBezTo>
                  <a:cubicBezTo>
                    <a:pt x="356" y="982"/>
                    <a:pt x="363" y="1001"/>
                    <a:pt x="363" y="1001"/>
                  </a:cubicBezTo>
                  <a:cubicBezTo>
                    <a:pt x="363" y="1001"/>
                    <a:pt x="372" y="988"/>
                    <a:pt x="373" y="979"/>
                  </a:cubicBezTo>
                  <a:cubicBezTo>
                    <a:pt x="374" y="970"/>
                    <a:pt x="366" y="963"/>
                    <a:pt x="375" y="956"/>
                  </a:cubicBezTo>
                  <a:cubicBezTo>
                    <a:pt x="384" y="949"/>
                    <a:pt x="389" y="942"/>
                    <a:pt x="392" y="932"/>
                  </a:cubicBezTo>
                  <a:cubicBezTo>
                    <a:pt x="395" y="922"/>
                    <a:pt x="402" y="897"/>
                    <a:pt x="398" y="884"/>
                  </a:cubicBezTo>
                  <a:cubicBezTo>
                    <a:pt x="394" y="871"/>
                    <a:pt x="396" y="861"/>
                    <a:pt x="396" y="861"/>
                  </a:cubicBezTo>
                  <a:cubicBezTo>
                    <a:pt x="396" y="861"/>
                    <a:pt x="381" y="849"/>
                    <a:pt x="377" y="843"/>
                  </a:cubicBezTo>
                  <a:cubicBezTo>
                    <a:pt x="373" y="837"/>
                    <a:pt x="378" y="813"/>
                    <a:pt x="374" y="798"/>
                  </a:cubicBezTo>
                  <a:cubicBezTo>
                    <a:pt x="370" y="783"/>
                    <a:pt x="348" y="770"/>
                    <a:pt x="344" y="760"/>
                  </a:cubicBezTo>
                  <a:cubicBezTo>
                    <a:pt x="340" y="750"/>
                    <a:pt x="328" y="736"/>
                    <a:pt x="328" y="736"/>
                  </a:cubicBezTo>
                  <a:cubicBezTo>
                    <a:pt x="328" y="736"/>
                    <a:pt x="320" y="723"/>
                    <a:pt x="330" y="713"/>
                  </a:cubicBezTo>
                  <a:cubicBezTo>
                    <a:pt x="340" y="703"/>
                    <a:pt x="341" y="693"/>
                    <a:pt x="341" y="687"/>
                  </a:cubicBezTo>
                  <a:cubicBezTo>
                    <a:pt x="341" y="681"/>
                    <a:pt x="338" y="670"/>
                    <a:pt x="338" y="670"/>
                  </a:cubicBezTo>
                  <a:cubicBezTo>
                    <a:pt x="338" y="670"/>
                    <a:pt x="350" y="671"/>
                    <a:pt x="350" y="658"/>
                  </a:cubicBezTo>
                  <a:cubicBezTo>
                    <a:pt x="350" y="645"/>
                    <a:pt x="344" y="653"/>
                    <a:pt x="344" y="653"/>
                  </a:cubicBezTo>
                  <a:cubicBezTo>
                    <a:pt x="344" y="653"/>
                    <a:pt x="336" y="652"/>
                    <a:pt x="331" y="640"/>
                  </a:cubicBezTo>
                  <a:cubicBezTo>
                    <a:pt x="326" y="628"/>
                    <a:pt x="340" y="633"/>
                    <a:pt x="332" y="622"/>
                  </a:cubicBezTo>
                  <a:cubicBezTo>
                    <a:pt x="324" y="611"/>
                    <a:pt x="298" y="602"/>
                    <a:pt x="295" y="592"/>
                  </a:cubicBezTo>
                  <a:cubicBezTo>
                    <a:pt x="292" y="582"/>
                    <a:pt x="287" y="579"/>
                    <a:pt x="287" y="579"/>
                  </a:cubicBezTo>
                  <a:cubicBezTo>
                    <a:pt x="291" y="564"/>
                    <a:pt x="291" y="564"/>
                    <a:pt x="291" y="564"/>
                  </a:cubicBezTo>
                  <a:cubicBezTo>
                    <a:pt x="291" y="564"/>
                    <a:pt x="278" y="558"/>
                    <a:pt x="273" y="554"/>
                  </a:cubicBezTo>
                  <a:cubicBezTo>
                    <a:pt x="268" y="550"/>
                    <a:pt x="265" y="545"/>
                    <a:pt x="268" y="542"/>
                  </a:cubicBezTo>
                  <a:cubicBezTo>
                    <a:pt x="271" y="539"/>
                    <a:pt x="282" y="545"/>
                    <a:pt x="282" y="536"/>
                  </a:cubicBezTo>
                  <a:cubicBezTo>
                    <a:pt x="282" y="527"/>
                    <a:pt x="271" y="516"/>
                    <a:pt x="272" y="512"/>
                  </a:cubicBezTo>
                  <a:cubicBezTo>
                    <a:pt x="273" y="508"/>
                    <a:pt x="283" y="507"/>
                    <a:pt x="284" y="498"/>
                  </a:cubicBezTo>
                  <a:cubicBezTo>
                    <a:pt x="285" y="489"/>
                    <a:pt x="277" y="473"/>
                    <a:pt x="288" y="471"/>
                  </a:cubicBezTo>
                  <a:cubicBezTo>
                    <a:pt x="299" y="469"/>
                    <a:pt x="308" y="480"/>
                    <a:pt x="318" y="477"/>
                  </a:cubicBezTo>
                  <a:cubicBezTo>
                    <a:pt x="328" y="474"/>
                    <a:pt x="330" y="456"/>
                    <a:pt x="330" y="456"/>
                  </a:cubicBezTo>
                  <a:cubicBezTo>
                    <a:pt x="347" y="455"/>
                    <a:pt x="347" y="455"/>
                    <a:pt x="347" y="455"/>
                  </a:cubicBezTo>
                  <a:cubicBezTo>
                    <a:pt x="352" y="440"/>
                    <a:pt x="352" y="440"/>
                    <a:pt x="352" y="440"/>
                  </a:cubicBezTo>
                  <a:cubicBezTo>
                    <a:pt x="352" y="440"/>
                    <a:pt x="371" y="434"/>
                    <a:pt x="375" y="435"/>
                  </a:cubicBezTo>
                  <a:cubicBezTo>
                    <a:pt x="375" y="435"/>
                    <a:pt x="373" y="423"/>
                    <a:pt x="382" y="420"/>
                  </a:cubicBezTo>
                  <a:cubicBezTo>
                    <a:pt x="391" y="417"/>
                    <a:pt x="399" y="414"/>
                    <a:pt x="399" y="414"/>
                  </a:cubicBezTo>
                  <a:cubicBezTo>
                    <a:pt x="394" y="407"/>
                    <a:pt x="394" y="407"/>
                    <a:pt x="394" y="407"/>
                  </a:cubicBezTo>
                  <a:cubicBezTo>
                    <a:pt x="399" y="399"/>
                    <a:pt x="399" y="399"/>
                    <a:pt x="399" y="399"/>
                  </a:cubicBezTo>
                  <a:cubicBezTo>
                    <a:pt x="399" y="392"/>
                    <a:pt x="399" y="392"/>
                    <a:pt x="399" y="392"/>
                  </a:cubicBezTo>
                  <a:cubicBezTo>
                    <a:pt x="421" y="382"/>
                    <a:pt x="421" y="382"/>
                    <a:pt x="421" y="382"/>
                  </a:cubicBezTo>
                  <a:cubicBezTo>
                    <a:pt x="421" y="382"/>
                    <a:pt x="426" y="364"/>
                    <a:pt x="416" y="363"/>
                  </a:cubicBezTo>
                  <a:cubicBezTo>
                    <a:pt x="406" y="362"/>
                    <a:pt x="397" y="380"/>
                    <a:pt x="397" y="380"/>
                  </a:cubicBezTo>
                  <a:cubicBezTo>
                    <a:pt x="397" y="380"/>
                    <a:pt x="378" y="381"/>
                    <a:pt x="375" y="381"/>
                  </a:cubicBezTo>
                  <a:cubicBezTo>
                    <a:pt x="372" y="381"/>
                    <a:pt x="372" y="369"/>
                    <a:pt x="372" y="369"/>
                  </a:cubicBezTo>
                  <a:cubicBezTo>
                    <a:pt x="361" y="370"/>
                    <a:pt x="361" y="370"/>
                    <a:pt x="361" y="370"/>
                  </a:cubicBezTo>
                  <a:cubicBezTo>
                    <a:pt x="356" y="350"/>
                    <a:pt x="356" y="350"/>
                    <a:pt x="356" y="350"/>
                  </a:cubicBezTo>
                  <a:cubicBezTo>
                    <a:pt x="317" y="346"/>
                    <a:pt x="317" y="346"/>
                    <a:pt x="317" y="346"/>
                  </a:cubicBezTo>
                  <a:cubicBezTo>
                    <a:pt x="317" y="346"/>
                    <a:pt x="323" y="332"/>
                    <a:pt x="326" y="329"/>
                  </a:cubicBezTo>
                  <a:cubicBezTo>
                    <a:pt x="329" y="326"/>
                    <a:pt x="320" y="314"/>
                    <a:pt x="320" y="314"/>
                  </a:cubicBezTo>
                  <a:cubicBezTo>
                    <a:pt x="320" y="314"/>
                    <a:pt x="343" y="305"/>
                    <a:pt x="336" y="299"/>
                  </a:cubicBezTo>
                  <a:cubicBezTo>
                    <a:pt x="329" y="293"/>
                    <a:pt x="301" y="292"/>
                    <a:pt x="301" y="292"/>
                  </a:cubicBezTo>
                  <a:cubicBezTo>
                    <a:pt x="296" y="265"/>
                    <a:pt x="296" y="265"/>
                    <a:pt x="296" y="265"/>
                  </a:cubicBezTo>
                  <a:cubicBezTo>
                    <a:pt x="280" y="252"/>
                    <a:pt x="280" y="252"/>
                    <a:pt x="280" y="252"/>
                  </a:cubicBezTo>
                  <a:cubicBezTo>
                    <a:pt x="297" y="237"/>
                    <a:pt x="297" y="237"/>
                    <a:pt x="297" y="237"/>
                  </a:cubicBezTo>
                  <a:cubicBezTo>
                    <a:pt x="297" y="237"/>
                    <a:pt x="268" y="237"/>
                    <a:pt x="260" y="238"/>
                  </a:cubicBezTo>
                  <a:cubicBezTo>
                    <a:pt x="252" y="239"/>
                    <a:pt x="236" y="249"/>
                    <a:pt x="236" y="249"/>
                  </a:cubicBezTo>
                  <a:cubicBezTo>
                    <a:pt x="242" y="235"/>
                    <a:pt x="242" y="235"/>
                    <a:pt x="242" y="235"/>
                  </a:cubicBezTo>
                  <a:cubicBezTo>
                    <a:pt x="242" y="235"/>
                    <a:pt x="237" y="225"/>
                    <a:pt x="232" y="220"/>
                  </a:cubicBezTo>
                  <a:cubicBezTo>
                    <a:pt x="227" y="215"/>
                    <a:pt x="226" y="206"/>
                    <a:pt x="226" y="206"/>
                  </a:cubicBezTo>
                  <a:cubicBezTo>
                    <a:pt x="233" y="203"/>
                    <a:pt x="233" y="203"/>
                    <a:pt x="233" y="203"/>
                  </a:cubicBezTo>
                  <a:cubicBezTo>
                    <a:pt x="231" y="183"/>
                    <a:pt x="231" y="183"/>
                    <a:pt x="231" y="183"/>
                  </a:cubicBezTo>
                  <a:cubicBezTo>
                    <a:pt x="231" y="183"/>
                    <a:pt x="242" y="187"/>
                    <a:pt x="243" y="176"/>
                  </a:cubicBezTo>
                  <a:cubicBezTo>
                    <a:pt x="244" y="165"/>
                    <a:pt x="243" y="156"/>
                    <a:pt x="243" y="156"/>
                  </a:cubicBezTo>
                  <a:cubicBezTo>
                    <a:pt x="243" y="156"/>
                    <a:pt x="255" y="164"/>
                    <a:pt x="258" y="157"/>
                  </a:cubicBezTo>
                  <a:cubicBezTo>
                    <a:pt x="261" y="150"/>
                    <a:pt x="262" y="144"/>
                    <a:pt x="262" y="144"/>
                  </a:cubicBezTo>
                  <a:cubicBezTo>
                    <a:pt x="262" y="144"/>
                    <a:pt x="246" y="133"/>
                    <a:pt x="253" y="133"/>
                  </a:cubicBezTo>
                  <a:cubicBezTo>
                    <a:pt x="260" y="133"/>
                    <a:pt x="270" y="127"/>
                    <a:pt x="270" y="127"/>
                  </a:cubicBezTo>
                  <a:cubicBezTo>
                    <a:pt x="263" y="90"/>
                    <a:pt x="263" y="90"/>
                    <a:pt x="263" y="90"/>
                  </a:cubicBezTo>
                  <a:cubicBezTo>
                    <a:pt x="255" y="74"/>
                    <a:pt x="255" y="74"/>
                    <a:pt x="255" y="74"/>
                  </a:cubicBezTo>
                  <a:cubicBezTo>
                    <a:pt x="255" y="74"/>
                    <a:pt x="257" y="52"/>
                    <a:pt x="250" y="50"/>
                  </a:cubicBezTo>
                  <a:cubicBezTo>
                    <a:pt x="243" y="48"/>
                    <a:pt x="228" y="50"/>
                    <a:pt x="228" y="50"/>
                  </a:cubicBezTo>
                  <a:cubicBezTo>
                    <a:pt x="228" y="50"/>
                    <a:pt x="219" y="23"/>
                    <a:pt x="211" y="15"/>
                  </a:cubicBezTo>
                  <a:cubicBezTo>
                    <a:pt x="203" y="7"/>
                    <a:pt x="189" y="0"/>
                    <a:pt x="189" y="0"/>
                  </a:cubicBezTo>
                  <a:cubicBezTo>
                    <a:pt x="185" y="13"/>
                    <a:pt x="185" y="13"/>
                    <a:pt x="185" y="13"/>
                  </a:cubicBezTo>
                  <a:cubicBezTo>
                    <a:pt x="187" y="32"/>
                    <a:pt x="187" y="32"/>
                    <a:pt x="187" y="32"/>
                  </a:cubicBezTo>
                  <a:cubicBezTo>
                    <a:pt x="187" y="32"/>
                    <a:pt x="163" y="41"/>
                    <a:pt x="163" y="50"/>
                  </a:cubicBezTo>
                  <a:cubicBezTo>
                    <a:pt x="163" y="59"/>
                    <a:pt x="186" y="69"/>
                    <a:pt x="184" y="73"/>
                  </a:cubicBezTo>
                  <a:cubicBezTo>
                    <a:pt x="182" y="77"/>
                    <a:pt x="159" y="69"/>
                    <a:pt x="159" y="69"/>
                  </a:cubicBezTo>
                  <a:cubicBezTo>
                    <a:pt x="159" y="69"/>
                    <a:pt x="144" y="70"/>
                    <a:pt x="136" y="72"/>
                  </a:cubicBezTo>
                  <a:cubicBezTo>
                    <a:pt x="128" y="74"/>
                    <a:pt x="133" y="89"/>
                    <a:pt x="121" y="93"/>
                  </a:cubicBezTo>
                  <a:cubicBezTo>
                    <a:pt x="109" y="97"/>
                    <a:pt x="98" y="102"/>
                    <a:pt x="98" y="102"/>
                  </a:cubicBezTo>
                  <a:cubicBezTo>
                    <a:pt x="98" y="102"/>
                    <a:pt x="100" y="116"/>
                    <a:pt x="101" y="121"/>
                  </a:cubicBezTo>
                  <a:cubicBezTo>
                    <a:pt x="102" y="126"/>
                    <a:pt x="108" y="137"/>
                    <a:pt x="108" y="137"/>
                  </a:cubicBezTo>
                  <a:cubicBezTo>
                    <a:pt x="96" y="158"/>
                    <a:pt x="96" y="158"/>
                    <a:pt x="96" y="158"/>
                  </a:cubicBezTo>
                  <a:cubicBezTo>
                    <a:pt x="96" y="158"/>
                    <a:pt x="82" y="162"/>
                    <a:pt x="82" y="172"/>
                  </a:cubicBezTo>
                  <a:cubicBezTo>
                    <a:pt x="82" y="182"/>
                    <a:pt x="92" y="190"/>
                    <a:pt x="92" y="190"/>
                  </a:cubicBezTo>
                  <a:cubicBezTo>
                    <a:pt x="80" y="225"/>
                    <a:pt x="80" y="225"/>
                    <a:pt x="80" y="225"/>
                  </a:cubicBezTo>
                  <a:cubicBezTo>
                    <a:pt x="80" y="249"/>
                    <a:pt x="80" y="249"/>
                    <a:pt x="80" y="249"/>
                  </a:cubicBezTo>
                  <a:cubicBezTo>
                    <a:pt x="80" y="249"/>
                    <a:pt x="55" y="245"/>
                    <a:pt x="51" y="244"/>
                  </a:cubicBezTo>
                  <a:cubicBezTo>
                    <a:pt x="47" y="243"/>
                    <a:pt x="22" y="242"/>
                    <a:pt x="26" y="244"/>
                  </a:cubicBezTo>
                  <a:cubicBezTo>
                    <a:pt x="30" y="246"/>
                    <a:pt x="44" y="257"/>
                    <a:pt x="44" y="257"/>
                  </a:cubicBezTo>
                  <a:cubicBezTo>
                    <a:pt x="46" y="290"/>
                    <a:pt x="46" y="290"/>
                    <a:pt x="46" y="290"/>
                  </a:cubicBezTo>
                  <a:cubicBezTo>
                    <a:pt x="46" y="290"/>
                    <a:pt x="29" y="292"/>
                    <a:pt x="32" y="301"/>
                  </a:cubicBezTo>
                  <a:cubicBezTo>
                    <a:pt x="35" y="310"/>
                    <a:pt x="35" y="324"/>
                    <a:pt x="39" y="328"/>
                  </a:cubicBezTo>
                  <a:cubicBezTo>
                    <a:pt x="43" y="332"/>
                    <a:pt x="53" y="344"/>
                    <a:pt x="44" y="346"/>
                  </a:cubicBezTo>
                  <a:cubicBezTo>
                    <a:pt x="35" y="348"/>
                    <a:pt x="31" y="336"/>
                    <a:pt x="31" y="342"/>
                  </a:cubicBezTo>
                  <a:cubicBezTo>
                    <a:pt x="31" y="348"/>
                    <a:pt x="32" y="356"/>
                    <a:pt x="32" y="356"/>
                  </a:cubicBezTo>
                  <a:cubicBezTo>
                    <a:pt x="18" y="344"/>
                    <a:pt x="18" y="344"/>
                    <a:pt x="18" y="344"/>
                  </a:cubicBezTo>
                  <a:cubicBezTo>
                    <a:pt x="25" y="383"/>
                    <a:pt x="25" y="383"/>
                    <a:pt x="25" y="383"/>
                  </a:cubicBezTo>
                  <a:cubicBezTo>
                    <a:pt x="4" y="380"/>
                    <a:pt x="4" y="380"/>
                    <a:pt x="4" y="380"/>
                  </a:cubicBezTo>
                  <a:cubicBezTo>
                    <a:pt x="4" y="380"/>
                    <a:pt x="2" y="384"/>
                    <a:pt x="0" y="391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222">
              <a:extLst>
                <a:ext uri="{FF2B5EF4-FFF2-40B4-BE49-F238E27FC236}">
                  <a16:creationId xmlns:a16="http://schemas.microsoft.com/office/drawing/2014/main" id="{79078BB7-06A2-CA21-4560-1152A667D8F2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5" y="-15429"/>
              <a:ext cx="520" cy="661"/>
            </a:xfrm>
            <a:custGeom>
              <a:avLst/>
              <a:gdLst>
                <a:gd name="T0" fmla="*/ 182 w 220"/>
                <a:gd name="T1" fmla="*/ 0 h 280"/>
                <a:gd name="T2" fmla="*/ 160 w 220"/>
                <a:gd name="T3" fmla="*/ 0 h 280"/>
                <a:gd name="T4" fmla="*/ 171 w 220"/>
                <a:gd name="T5" fmla="*/ 27 h 280"/>
                <a:gd name="T6" fmla="*/ 153 w 220"/>
                <a:gd name="T7" fmla="*/ 28 h 280"/>
                <a:gd name="T8" fmla="*/ 153 w 220"/>
                <a:gd name="T9" fmla="*/ 49 h 280"/>
                <a:gd name="T10" fmla="*/ 113 w 220"/>
                <a:gd name="T11" fmla="*/ 50 h 280"/>
                <a:gd name="T12" fmla="*/ 135 w 220"/>
                <a:gd name="T13" fmla="*/ 71 h 280"/>
                <a:gd name="T14" fmla="*/ 134 w 220"/>
                <a:gd name="T15" fmla="*/ 81 h 280"/>
                <a:gd name="T16" fmla="*/ 87 w 220"/>
                <a:gd name="T17" fmla="*/ 77 h 280"/>
                <a:gd name="T18" fmla="*/ 61 w 220"/>
                <a:gd name="T19" fmla="*/ 63 h 280"/>
                <a:gd name="T20" fmla="*/ 47 w 220"/>
                <a:gd name="T21" fmla="*/ 115 h 280"/>
                <a:gd name="T22" fmla="*/ 13 w 220"/>
                <a:gd name="T23" fmla="*/ 138 h 280"/>
                <a:gd name="T24" fmla="*/ 7 w 220"/>
                <a:gd name="T25" fmla="*/ 154 h 280"/>
                <a:gd name="T26" fmla="*/ 0 w 220"/>
                <a:gd name="T27" fmla="*/ 165 h 280"/>
                <a:gd name="T28" fmla="*/ 8 w 220"/>
                <a:gd name="T29" fmla="*/ 152 h 280"/>
                <a:gd name="T30" fmla="*/ 14 w 220"/>
                <a:gd name="T31" fmla="*/ 166 h 280"/>
                <a:gd name="T32" fmla="*/ 26 w 220"/>
                <a:gd name="T33" fmla="*/ 180 h 280"/>
                <a:gd name="T34" fmla="*/ 33 w 220"/>
                <a:gd name="T35" fmla="*/ 168 h 280"/>
                <a:gd name="T36" fmla="*/ 47 w 220"/>
                <a:gd name="T37" fmla="*/ 181 h 280"/>
                <a:gd name="T38" fmla="*/ 64 w 220"/>
                <a:gd name="T39" fmla="*/ 182 h 280"/>
                <a:gd name="T40" fmla="*/ 68 w 220"/>
                <a:gd name="T41" fmla="*/ 223 h 280"/>
                <a:gd name="T42" fmla="*/ 93 w 220"/>
                <a:gd name="T43" fmla="*/ 223 h 280"/>
                <a:gd name="T44" fmla="*/ 96 w 220"/>
                <a:gd name="T45" fmla="*/ 233 h 280"/>
                <a:gd name="T46" fmla="*/ 69 w 220"/>
                <a:gd name="T47" fmla="*/ 234 h 280"/>
                <a:gd name="T48" fmla="*/ 80 w 220"/>
                <a:gd name="T49" fmla="*/ 263 h 280"/>
                <a:gd name="T50" fmla="*/ 87 w 220"/>
                <a:gd name="T51" fmla="*/ 274 h 280"/>
                <a:gd name="T52" fmla="*/ 106 w 220"/>
                <a:gd name="T53" fmla="*/ 266 h 280"/>
                <a:gd name="T54" fmla="*/ 135 w 220"/>
                <a:gd name="T55" fmla="*/ 279 h 280"/>
                <a:gd name="T56" fmla="*/ 153 w 220"/>
                <a:gd name="T57" fmla="*/ 275 h 280"/>
                <a:gd name="T58" fmla="*/ 166 w 220"/>
                <a:gd name="T59" fmla="*/ 265 h 280"/>
                <a:gd name="T60" fmla="*/ 169 w 220"/>
                <a:gd name="T61" fmla="*/ 252 h 280"/>
                <a:gd name="T62" fmla="*/ 207 w 220"/>
                <a:gd name="T63" fmla="*/ 246 h 280"/>
                <a:gd name="T64" fmla="*/ 217 w 220"/>
                <a:gd name="T65" fmla="*/ 236 h 280"/>
                <a:gd name="T66" fmla="*/ 208 w 220"/>
                <a:gd name="T67" fmla="*/ 224 h 280"/>
                <a:gd name="T68" fmla="*/ 177 w 220"/>
                <a:gd name="T69" fmla="*/ 207 h 280"/>
                <a:gd name="T70" fmla="*/ 162 w 220"/>
                <a:gd name="T71" fmla="*/ 202 h 280"/>
                <a:gd name="T72" fmla="*/ 169 w 220"/>
                <a:gd name="T73" fmla="*/ 189 h 280"/>
                <a:gd name="T74" fmla="*/ 154 w 220"/>
                <a:gd name="T75" fmla="*/ 167 h 280"/>
                <a:gd name="T76" fmla="*/ 190 w 220"/>
                <a:gd name="T77" fmla="*/ 146 h 280"/>
                <a:gd name="T78" fmla="*/ 200 w 220"/>
                <a:gd name="T79" fmla="*/ 117 h 280"/>
                <a:gd name="T80" fmla="*/ 216 w 220"/>
                <a:gd name="T81" fmla="*/ 109 h 280"/>
                <a:gd name="T82" fmla="*/ 211 w 220"/>
                <a:gd name="T83" fmla="*/ 88 h 280"/>
                <a:gd name="T84" fmla="*/ 196 w 220"/>
                <a:gd name="T85" fmla="*/ 60 h 280"/>
                <a:gd name="T86" fmla="*/ 220 w 220"/>
                <a:gd name="T87" fmla="*/ 38 h 280"/>
                <a:gd name="T88" fmla="*/ 211 w 220"/>
                <a:gd name="T89" fmla="*/ 23 h 280"/>
                <a:gd name="T90" fmla="*/ 192 w 220"/>
                <a:gd name="T91" fmla="*/ 17 h 280"/>
                <a:gd name="T92" fmla="*/ 182 w 220"/>
                <a:gd name="T93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0" h="280">
                  <a:moveTo>
                    <a:pt x="182" y="0"/>
                  </a:moveTo>
                  <a:cubicBezTo>
                    <a:pt x="160" y="0"/>
                    <a:pt x="160" y="0"/>
                    <a:pt x="160" y="0"/>
                  </a:cubicBezTo>
                  <a:cubicBezTo>
                    <a:pt x="160" y="0"/>
                    <a:pt x="173" y="22"/>
                    <a:pt x="171" y="27"/>
                  </a:cubicBezTo>
                  <a:cubicBezTo>
                    <a:pt x="169" y="32"/>
                    <a:pt x="153" y="28"/>
                    <a:pt x="153" y="28"/>
                  </a:cubicBezTo>
                  <a:cubicBezTo>
                    <a:pt x="153" y="28"/>
                    <a:pt x="163" y="40"/>
                    <a:pt x="153" y="49"/>
                  </a:cubicBezTo>
                  <a:cubicBezTo>
                    <a:pt x="143" y="58"/>
                    <a:pt x="119" y="42"/>
                    <a:pt x="113" y="50"/>
                  </a:cubicBezTo>
                  <a:cubicBezTo>
                    <a:pt x="107" y="58"/>
                    <a:pt x="135" y="71"/>
                    <a:pt x="135" y="71"/>
                  </a:cubicBezTo>
                  <a:cubicBezTo>
                    <a:pt x="134" y="81"/>
                    <a:pt x="134" y="81"/>
                    <a:pt x="134" y="81"/>
                  </a:cubicBezTo>
                  <a:cubicBezTo>
                    <a:pt x="134" y="81"/>
                    <a:pt x="94" y="82"/>
                    <a:pt x="87" y="77"/>
                  </a:cubicBezTo>
                  <a:cubicBezTo>
                    <a:pt x="80" y="72"/>
                    <a:pt x="65" y="61"/>
                    <a:pt x="61" y="63"/>
                  </a:cubicBezTo>
                  <a:cubicBezTo>
                    <a:pt x="57" y="65"/>
                    <a:pt x="62" y="103"/>
                    <a:pt x="47" y="115"/>
                  </a:cubicBezTo>
                  <a:cubicBezTo>
                    <a:pt x="32" y="127"/>
                    <a:pt x="25" y="128"/>
                    <a:pt x="13" y="138"/>
                  </a:cubicBezTo>
                  <a:cubicBezTo>
                    <a:pt x="3" y="146"/>
                    <a:pt x="5" y="152"/>
                    <a:pt x="7" y="154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14" y="166"/>
                    <a:pt x="14" y="166"/>
                    <a:pt x="14" y="166"/>
                  </a:cubicBezTo>
                  <a:cubicBezTo>
                    <a:pt x="26" y="180"/>
                    <a:pt x="26" y="180"/>
                    <a:pt x="26" y="180"/>
                  </a:cubicBezTo>
                  <a:cubicBezTo>
                    <a:pt x="33" y="168"/>
                    <a:pt x="33" y="168"/>
                    <a:pt x="33" y="168"/>
                  </a:cubicBezTo>
                  <a:cubicBezTo>
                    <a:pt x="33" y="168"/>
                    <a:pt x="42" y="181"/>
                    <a:pt x="47" y="181"/>
                  </a:cubicBezTo>
                  <a:cubicBezTo>
                    <a:pt x="52" y="181"/>
                    <a:pt x="60" y="175"/>
                    <a:pt x="64" y="182"/>
                  </a:cubicBezTo>
                  <a:cubicBezTo>
                    <a:pt x="68" y="189"/>
                    <a:pt x="68" y="223"/>
                    <a:pt x="68" y="223"/>
                  </a:cubicBezTo>
                  <a:cubicBezTo>
                    <a:pt x="93" y="223"/>
                    <a:pt x="93" y="223"/>
                    <a:pt x="93" y="223"/>
                  </a:cubicBezTo>
                  <a:cubicBezTo>
                    <a:pt x="96" y="233"/>
                    <a:pt x="96" y="233"/>
                    <a:pt x="96" y="233"/>
                  </a:cubicBezTo>
                  <a:cubicBezTo>
                    <a:pt x="96" y="233"/>
                    <a:pt x="73" y="221"/>
                    <a:pt x="69" y="234"/>
                  </a:cubicBezTo>
                  <a:cubicBezTo>
                    <a:pt x="65" y="247"/>
                    <a:pt x="80" y="263"/>
                    <a:pt x="80" y="263"/>
                  </a:cubicBezTo>
                  <a:cubicBezTo>
                    <a:pt x="87" y="274"/>
                    <a:pt x="87" y="274"/>
                    <a:pt x="87" y="274"/>
                  </a:cubicBezTo>
                  <a:cubicBezTo>
                    <a:pt x="106" y="266"/>
                    <a:pt x="106" y="266"/>
                    <a:pt x="106" y="266"/>
                  </a:cubicBezTo>
                  <a:cubicBezTo>
                    <a:pt x="106" y="266"/>
                    <a:pt x="126" y="280"/>
                    <a:pt x="135" y="279"/>
                  </a:cubicBezTo>
                  <a:cubicBezTo>
                    <a:pt x="144" y="278"/>
                    <a:pt x="153" y="275"/>
                    <a:pt x="153" y="275"/>
                  </a:cubicBezTo>
                  <a:cubicBezTo>
                    <a:pt x="153" y="275"/>
                    <a:pt x="165" y="268"/>
                    <a:pt x="166" y="265"/>
                  </a:cubicBezTo>
                  <a:cubicBezTo>
                    <a:pt x="167" y="262"/>
                    <a:pt x="155" y="260"/>
                    <a:pt x="169" y="252"/>
                  </a:cubicBezTo>
                  <a:cubicBezTo>
                    <a:pt x="183" y="245"/>
                    <a:pt x="207" y="246"/>
                    <a:pt x="207" y="246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2" y="229"/>
                    <a:pt x="208" y="224"/>
                    <a:pt x="208" y="224"/>
                  </a:cubicBezTo>
                  <a:cubicBezTo>
                    <a:pt x="177" y="207"/>
                    <a:pt x="177" y="207"/>
                    <a:pt x="177" y="207"/>
                  </a:cubicBezTo>
                  <a:cubicBezTo>
                    <a:pt x="177" y="207"/>
                    <a:pt x="155" y="215"/>
                    <a:pt x="162" y="202"/>
                  </a:cubicBezTo>
                  <a:cubicBezTo>
                    <a:pt x="169" y="189"/>
                    <a:pt x="169" y="189"/>
                    <a:pt x="169" y="189"/>
                  </a:cubicBezTo>
                  <a:cubicBezTo>
                    <a:pt x="169" y="189"/>
                    <a:pt x="144" y="178"/>
                    <a:pt x="154" y="167"/>
                  </a:cubicBezTo>
                  <a:cubicBezTo>
                    <a:pt x="164" y="156"/>
                    <a:pt x="185" y="160"/>
                    <a:pt x="190" y="146"/>
                  </a:cubicBezTo>
                  <a:cubicBezTo>
                    <a:pt x="195" y="132"/>
                    <a:pt x="200" y="117"/>
                    <a:pt x="200" y="117"/>
                  </a:cubicBezTo>
                  <a:cubicBezTo>
                    <a:pt x="216" y="109"/>
                    <a:pt x="216" y="109"/>
                    <a:pt x="216" y="109"/>
                  </a:cubicBezTo>
                  <a:cubicBezTo>
                    <a:pt x="211" y="88"/>
                    <a:pt x="211" y="88"/>
                    <a:pt x="211" y="88"/>
                  </a:cubicBezTo>
                  <a:cubicBezTo>
                    <a:pt x="211" y="88"/>
                    <a:pt x="195" y="77"/>
                    <a:pt x="196" y="60"/>
                  </a:cubicBezTo>
                  <a:cubicBezTo>
                    <a:pt x="197" y="43"/>
                    <a:pt x="220" y="38"/>
                    <a:pt x="220" y="38"/>
                  </a:cubicBezTo>
                  <a:cubicBezTo>
                    <a:pt x="211" y="23"/>
                    <a:pt x="211" y="23"/>
                    <a:pt x="211" y="23"/>
                  </a:cubicBezTo>
                  <a:cubicBezTo>
                    <a:pt x="192" y="17"/>
                    <a:pt x="192" y="17"/>
                    <a:pt x="192" y="17"/>
                  </a:cubicBezTo>
                  <a:lnTo>
                    <a:pt x="182" y="0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223">
              <a:extLst>
                <a:ext uri="{FF2B5EF4-FFF2-40B4-BE49-F238E27FC236}">
                  <a16:creationId xmlns:a16="http://schemas.microsoft.com/office/drawing/2014/main" id="{497110F1-D633-A56B-8CB9-3A9BA71550B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56" y="-16752"/>
              <a:ext cx="5766" cy="4445"/>
            </a:xfrm>
            <a:custGeom>
              <a:avLst/>
              <a:gdLst>
                <a:gd name="T0" fmla="*/ 1905 w 2441"/>
                <a:gd name="T1" fmla="*/ 1857 h 1882"/>
                <a:gd name="T2" fmla="*/ 2423 w 2441"/>
                <a:gd name="T3" fmla="*/ 352 h 1882"/>
                <a:gd name="T4" fmla="*/ 2365 w 2441"/>
                <a:gd name="T5" fmla="*/ 288 h 1882"/>
                <a:gd name="T6" fmla="*/ 2248 w 2441"/>
                <a:gd name="T7" fmla="*/ 288 h 1882"/>
                <a:gd name="T8" fmla="*/ 2077 w 2441"/>
                <a:gd name="T9" fmla="*/ 209 h 1882"/>
                <a:gd name="T10" fmla="*/ 1934 w 2441"/>
                <a:gd name="T11" fmla="*/ 76 h 1882"/>
                <a:gd name="T12" fmla="*/ 1769 w 2441"/>
                <a:gd name="T13" fmla="*/ 0 h 1882"/>
                <a:gd name="T14" fmla="*/ 1704 w 2441"/>
                <a:gd name="T15" fmla="*/ 80 h 1882"/>
                <a:gd name="T16" fmla="*/ 1653 w 2441"/>
                <a:gd name="T17" fmla="*/ 209 h 1882"/>
                <a:gd name="T18" fmla="*/ 1639 w 2441"/>
                <a:gd name="T19" fmla="*/ 310 h 1882"/>
                <a:gd name="T20" fmla="*/ 1786 w 2441"/>
                <a:gd name="T21" fmla="*/ 322 h 1882"/>
                <a:gd name="T22" fmla="*/ 1753 w 2441"/>
                <a:gd name="T23" fmla="*/ 371 h 1882"/>
                <a:gd name="T24" fmla="*/ 1627 w 2441"/>
                <a:gd name="T25" fmla="*/ 462 h 1882"/>
                <a:gd name="T26" fmla="*/ 1536 w 2441"/>
                <a:gd name="T27" fmla="*/ 569 h 1882"/>
                <a:gd name="T28" fmla="*/ 1228 w 2441"/>
                <a:gd name="T29" fmla="*/ 608 h 1882"/>
                <a:gd name="T30" fmla="*/ 973 w 2441"/>
                <a:gd name="T31" fmla="*/ 571 h 1882"/>
                <a:gd name="T32" fmla="*/ 775 w 2441"/>
                <a:gd name="T33" fmla="*/ 459 h 1882"/>
                <a:gd name="T34" fmla="*/ 612 w 2441"/>
                <a:gd name="T35" fmla="*/ 353 h 1882"/>
                <a:gd name="T36" fmla="*/ 452 w 2441"/>
                <a:gd name="T37" fmla="*/ 264 h 1882"/>
                <a:gd name="T38" fmla="*/ 373 w 2441"/>
                <a:gd name="T39" fmla="*/ 309 h 1882"/>
                <a:gd name="T40" fmla="*/ 273 w 2441"/>
                <a:gd name="T41" fmla="*/ 425 h 1882"/>
                <a:gd name="T42" fmla="*/ 216 w 2441"/>
                <a:gd name="T43" fmla="*/ 499 h 1882"/>
                <a:gd name="T44" fmla="*/ 199 w 2441"/>
                <a:gd name="T45" fmla="*/ 625 h 1882"/>
                <a:gd name="T46" fmla="*/ 63 w 2441"/>
                <a:gd name="T47" fmla="*/ 683 h 1882"/>
                <a:gd name="T48" fmla="*/ 15 w 2441"/>
                <a:gd name="T49" fmla="*/ 765 h 1882"/>
                <a:gd name="T50" fmla="*/ 111 w 2441"/>
                <a:gd name="T51" fmla="*/ 880 h 1882"/>
                <a:gd name="T52" fmla="*/ 294 w 2441"/>
                <a:gd name="T53" fmla="*/ 934 h 1882"/>
                <a:gd name="T54" fmla="*/ 306 w 2441"/>
                <a:gd name="T55" fmla="*/ 1057 h 1882"/>
                <a:gd name="T56" fmla="*/ 316 w 2441"/>
                <a:gd name="T57" fmla="*/ 1113 h 1882"/>
                <a:gd name="T58" fmla="*/ 403 w 2441"/>
                <a:gd name="T59" fmla="*/ 1210 h 1882"/>
                <a:gd name="T60" fmla="*/ 571 w 2441"/>
                <a:gd name="T61" fmla="*/ 1302 h 1882"/>
                <a:gd name="T62" fmla="*/ 698 w 2441"/>
                <a:gd name="T63" fmla="*/ 1349 h 1882"/>
                <a:gd name="T64" fmla="*/ 894 w 2441"/>
                <a:gd name="T65" fmla="*/ 1350 h 1882"/>
                <a:gd name="T66" fmla="*/ 1044 w 2441"/>
                <a:gd name="T67" fmla="*/ 1318 h 1882"/>
                <a:gd name="T68" fmla="*/ 1161 w 2441"/>
                <a:gd name="T69" fmla="*/ 1339 h 1882"/>
                <a:gd name="T70" fmla="*/ 1291 w 2441"/>
                <a:gd name="T71" fmla="*/ 1422 h 1882"/>
                <a:gd name="T72" fmla="*/ 1261 w 2441"/>
                <a:gd name="T73" fmla="*/ 1535 h 1882"/>
                <a:gd name="T74" fmla="*/ 1324 w 2441"/>
                <a:gd name="T75" fmla="*/ 1597 h 1882"/>
                <a:gd name="T76" fmla="*/ 1400 w 2441"/>
                <a:gd name="T77" fmla="*/ 1701 h 1882"/>
                <a:gd name="T78" fmla="*/ 1461 w 2441"/>
                <a:gd name="T79" fmla="*/ 1679 h 1882"/>
                <a:gd name="T80" fmla="*/ 1554 w 2441"/>
                <a:gd name="T81" fmla="*/ 1639 h 1882"/>
                <a:gd name="T82" fmla="*/ 1625 w 2441"/>
                <a:gd name="T83" fmla="*/ 1610 h 1882"/>
                <a:gd name="T84" fmla="*/ 1698 w 2441"/>
                <a:gd name="T85" fmla="*/ 1684 h 1882"/>
                <a:gd name="T86" fmla="*/ 1846 w 2441"/>
                <a:gd name="T87" fmla="*/ 1750 h 1882"/>
                <a:gd name="T88" fmla="*/ 2036 w 2441"/>
                <a:gd name="T89" fmla="*/ 1660 h 1882"/>
                <a:gd name="T90" fmla="*/ 2205 w 2441"/>
                <a:gd name="T91" fmla="*/ 1544 h 1882"/>
                <a:gd name="T92" fmla="*/ 2274 w 2441"/>
                <a:gd name="T93" fmla="*/ 1405 h 1882"/>
                <a:gd name="T94" fmla="*/ 2335 w 2441"/>
                <a:gd name="T95" fmla="*/ 1231 h 1882"/>
                <a:gd name="T96" fmla="*/ 2240 w 2441"/>
                <a:gd name="T97" fmla="*/ 1164 h 1882"/>
                <a:gd name="T98" fmla="*/ 2236 w 2441"/>
                <a:gd name="T99" fmla="*/ 1155 h 1882"/>
                <a:gd name="T100" fmla="*/ 2157 w 2441"/>
                <a:gd name="T101" fmla="*/ 1022 h 1882"/>
                <a:gd name="T102" fmla="*/ 2131 w 2441"/>
                <a:gd name="T103" fmla="*/ 897 h 1882"/>
                <a:gd name="T104" fmla="*/ 2161 w 2441"/>
                <a:gd name="T105" fmla="*/ 854 h 1882"/>
                <a:gd name="T106" fmla="*/ 2004 w 2441"/>
                <a:gd name="T107" fmla="*/ 828 h 1882"/>
                <a:gd name="T108" fmla="*/ 1997 w 2441"/>
                <a:gd name="T109" fmla="*/ 758 h 1882"/>
                <a:gd name="T110" fmla="*/ 2079 w 2441"/>
                <a:gd name="T111" fmla="*/ 665 h 1882"/>
                <a:gd name="T112" fmla="*/ 2131 w 2441"/>
                <a:gd name="T113" fmla="*/ 770 h 1882"/>
                <a:gd name="T114" fmla="*/ 2292 w 2441"/>
                <a:gd name="T115" fmla="*/ 637 h 1882"/>
                <a:gd name="T116" fmla="*/ 2387 w 2441"/>
                <a:gd name="T117" fmla="*/ 560 h 1882"/>
                <a:gd name="T118" fmla="*/ 2379 w 2441"/>
                <a:gd name="T119" fmla="*/ 455 h 1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41" h="1882">
                  <a:moveTo>
                    <a:pt x="1912" y="1793"/>
                  </a:moveTo>
                  <a:cubicBezTo>
                    <a:pt x="1898" y="1783"/>
                    <a:pt x="1850" y="1789"/>
                    <a:pt x="1850" y="1789"/>
                  </a:cubicBezTo>
                  <a:cubicBezTo>
                    <a:pt x="1846" y="1801"/>
                    <a:pt x="1846" y="1801"/>
                    <a:pt x="1846" y="1801"/>
                  </a:cubicBezTo>
                  <a:cubicBezTo>
                    <a:pt x="1835" y="1795"/>
                    <a:pt x="1835" y="1795"/>
                    <a:pt x="1835" y="1795"/>
                  </a:cubicBezTo>
                  <a:cubicBezTo>
                    <a:pt x="1829" y="1812"/>
                    <a:pt x="1829" y="1812"/>
                    <a:pt x="1829" y="1812"/>
                  </a:cubicBezTo>
                  <a:cubicBezTo>
                    <a:pt x="1829" y="1812"/>
                    <a:pt x="1799" y="1835"/>
                    <a:pt x="1818" y="1859"/>
                  </a:cubicBezTo>
                  <a:cubicBezTo>
                    <a:pt x="1838" y="1882"/>
                    <a:pt x="1851" y="1882"/>
                    <a:pt x="1851" y="1882"/>
                  </a:cubicBezTo>
                  <a:cubicBezTo>
                    <a:pt x="1907" y="1881"/>
                    <a:pt x="1903" y="1864"/>
                    <a:pt x="1905" y="1857"/>
                  </a:cubicBezTo>
                  <a:cubicBezTo>
                    <a:pt x="1906" y="1851"/>
                    <a:pt x="1902" y="1836"/>
                    <a:pt x="1902" y="1836"/>
                  </a:cubicBezTo>
                  <a:cubicBezTo>
                    <a:pt x="1902" y="1836"/>
                    <a:pt x="1927" y="1804"/>
                    <a:pt x="1912" y="1793"/>
                  </a:cubicBezTo>
                  <a:close/>
                  <a:moveTo>
                    <a:pt x="2441" y="416"/>
                  </a:moveTo>
                  <a:cubicBezTo>
                    <a:pt x="2438" y="399"/>
                    <a:pt x="2438" y="399"/>
                    <a:pt x="2438" y="399"/>
                  </a:cubicBezTo>
                  <a:cubicBezTo>
                    <a:pt x="2441" y="382"/>
                    <a:pt x="2441" y="382"/>
                    <a:pt x="2441" y="382"/>
                  </a:cubicBezTo>
                  <a:cubicBezTo>
                    <a:pt x="2430" y="375"/>
                    <a:pt x="2430" y="375"/>
                    <a:pt x="2430" y="375"/>
                  </a:cubicBezTo>
                  <a:cubicBezTo>
                    <a:pt x="2430" y="362"/>
                    <a:pt x="2430" y="362"/>
                    <a:pt x="2430" y="362"/>
                  </a:cubicBezTo>
                  <a:cubicBezTo>
                    <a:pt x="2423" y="352"/>
                    <a:pt x="2423" y="352"/>
                    <a:pt x="2423" y="352"/>
                  </a:cubicBezTo>
                  <a:cubicBezTo>
                    <a:pt x="2423" y="340"/>
                    <a:pt x="2423" y="340"/>
                    <a:pt x="2423" y="340"/>
                  </a:cubicBezTo>
                  <a:cubicBezTo>
                    <a:pt x="2415" y="330"/>
                    <a:pt x="2415" y="330"/>
                    <a:pt x="2415" y="330"/>
                  </a:cubicBezTo>
                  <a:cubicBezTo>
                    <a:pt x="2427" y="325"/>
                    <a:pt x="2427" y="325"/>
                    <a:pt x="2427" y="325"/>
                  </a:cubicBezTo>
                  <a:cubicBezTo>
                    <a:pt x="2427" y="305"/>
                    <a:pt x="2427" y="305"/>
                    <a:pt x="2427" y="305"/>
                  </a:cubicBezTo>
                  <a:cubicBezTo>
                    <a:pt x="2409" y="297"/>
                    <a:pt x="2409" y="297"/>
                    <a:pt x="2409" y="297"/>
                  </a:cubicBezTo>
                  <a:cubicBezTo>
                    <a:pt x="2409" y="297"/>
                    <a:pt x="2415" y="284"/>
                    <a:pt x="2405" y="276"/>
                  </a:cubicBezTo>
                  <a:cubicBezTo>
                    <a:pt x="2395" y="268"/>
                    <a:pt x="2370" y="274"/>
                    <a:pt x="2370" y="274"/>
                  </a:cubicBezTo>
                  <a:cubicBezTo>
                    <a:pt x="2365" y="288"/>
                    <a:pt x="2365" y="288"/>
                    <a:pt x="2365" y="288"/>
                  </a:cubicBezTo>
                  <a:cubicBezTo>
                    <a:pt x="2365" y="288"/>
                    <a:pt x="2337" y="287"/>
                    <a:pt x="2334" y="292"/>
                  </a:cubicBezTo>
                  <a:cubicBezTo>
                    <a:pt x="2331" y="297"/>
                    <a:pt x="2330" y="308"/>
                    <a:pt x="2330" y="308"/>
                  </a:cubicBezTo>
                  <a:cubicBezTo>
                    <a:pt x="2311" y="306"/>
                    <a:pt x="2311" y="306"/>
                    <a:pt x="2311" y="306"/>
                  </a:cubicBezTo>
                  <a:cubicBezTo>
                    <a:pt x="2311" y="313"/>
                    <a:pt x="2311" y="313"/>
                    <a:pt x="2311" y="313"/>
                  </a:cubicBezTo>
                  <a:cubicBezTo>
                    <a:pt x="2298" y="314"/>
                    <a:pt x="2298" y="314"/>
                    <a:pt x="2298" y="314"/>
                  </a:cubicBezTo>
                  <a:cubicBezTo>
                    <a:pt x="2290" y="304"/>
                    <a:pt x="2290" y="304"/>
                    <a:pt x="2290" y="304"/>
                  </a:cubicBezTo>
                  <a:cubicBezTo>
                    <a:pt x="2273" y="308"/>
                    <a:pt x="2273" y="308"/>
                    <a:pt x="2273" y="308"/>
                  </a:cubicBezTo>
                  <a:cubicBezTo>
                    <a:pt x="2248" y="288"/>
                    <a:pt x="2248" y="288"/>
                    <a:pt x="2248" y="288"/>
                  </a:cubicBezTo>
                  <a:cubicBezTo>
                    <a:pt x="2248" y="288"/>
                    <a:pt x="2247" y="280"/>
                    <a:pt x="2244" y="273"/>
                  </a:cubicBezTo>
                  <a:cubicBezTo>
                    <a:pt x="2241" y="266"/>
                    <a:pt x="2225" y="265"/>
                    <a:pt x="2225" y="265"/>
                  </a:cubicBezTo>
                  <a:cubicBezTo>
                    <a:pt x="2216" y="246"/>
                    <a:pt x="2216" y="246"/>
                    <a:pt x="2216" y="246"/>
                  </a:cubicBezTo>
                  <a:cubicBezTo>
                    <a:pt x="2192" y="246"/>
                    <a:pt x="2192" y="246"/>
                    <a:pt x="2192" y="246"/>
                  </a:cubicBezTo>
                  <a:cubicBezTo>
                    <a:pt x="2192" y="246"/>
                    <a:pt x="2154" y="218"/>
                    <a:pt x="2150" y="218"/>
                  </a:cubicBezTo>
                  <a:cubicBezTo>
                    <a:pt x="2146" y="218"/>
                    <a:pt x="2138" y="225"/>
                    <a:pt x="2138" y="225"/>
                  </a:cubicBezTo>
                  <a:cubicBezTo>
                    <a:pt x="2138" y="225"/>
                    <a:pt x="2122" y="209"/>
                    <a:pt x="2112" y="211"/>
                  </a:cubicBezTo>
                  <a:cubicBezTo>
                    <a:pt x="2102" y="213"/>
                    <a:pt x="2085" y="214"/>
                    <a:pt x="2077" y="209"/>
                  </a:cubicBezTo>
                  <a:cubicBezTo>
                    <a:pt x="2069" y="204"/>
                    <a:pt x="2050" y="194"/>
                    <a:pt x="2050" y="194"/>
                  </a:cubicBezTo>
                  <a:cubicBezTo>
                    <a:pt x="2046" y="178"/>
                    <a:pt x="2046" y="178"/>
                    <a:pt x="2046" y="178"/>
                  </a:cubicBezTo>
                  <a:cubicBezTo>
                    <a:pt x="2039" y="178"/>
                    <a:pt x="2039" y="178"/>
                    <a:pt x="2039" y="178"/>
                  </a:cubicBezTo>
                  <a:cubicBezTo>
                    <a:pt x="2039" y="178"/>
                    <a:pt x="2021" y="154"/>
                    <a:pt x="2011" y="145"/>
                  </a:cubicBezTo>
                  <a:cubicBezTo>
                    <a:pt x="2001" y="136"/>
                    <a:pt x="1980" y="134"/>
                    <a:pt x="1980" y="134"/>
                  </a:cubicBezTo>
                  <a:cubicBezTo>
                    <a:pt x="1969" y="112"/>
                    <a:pt x="1969" y="112"/>
                    <a:pt x="1969" y="112"/>
                  </a:cubicBezTo>
                  <a:cubicBezTo>
                    <a:pt x="1937" y="95"/>
                    <a:pt x="1937" y="95"/>
                    <a:pt x="1937" y="95"/>
                  </a:cubicBezTo>
                  <a:cubicBezTo>
                    <a:pt x="1934" y="76"/>
                    <a:pt x="1934" y="76"/>
                    <a:pt x="1934" y="76"/>
                  </a:cubicBezTo>
                  <a:cubicBezTo>
                    <a:pt x="1934" y="76"/>
                    <a:pt x="1919" y="71"/>
                    <a:pt x="1914" y="67"/>
                  </a:cubicBezTo>
                  <a:cubicBezTo>
                    <a:pt x="1909" y="63"/>
                    <a:pt x="1891" y="53"/>
                    <a:pt x="1891" y="53"/>
                  </a:cubicBezTo>
                  <a:cubicBezTo>
                    <a:pt x="1889" y="44"/>
                    <a:pt x="1889" y="44"/>
                    <a:pt x="1889" y="44"/>
                  </a:cubicBezTo>
                  <a:cubicBezTo>
                    <a:pt x="1889" y="44"/>
                    <a:pt x="1868" y="30"/>
                    <a:pt x="1861" y="29"/>
                  </a:cubicBezTo>
                  <a:cubicBezTo>
                    <a:pt x="1854" y="28"/>
                    <a:pt x="1835" y="27"/>
                    <a:pt x="1835" y="27"/>
                  </a:cubicBezTo>
                  <a:cubicBezTo>
                    <a:pt x="1820" y="30"/>
                    <a:pt x="1820" y="30"/>
                    <a:pt x="1820" y="30"/>
                  </a:cubicBezTo>
                  <a:cubicBezTo>
                    <a:pt x="1794" y="13"/>
                    <a:pt x="1794" y="13"/>
                    <a:pt x="1794" y="13"/>
                  </a:cubicBezTo>
                  <a:cubicBezTo>
                    <a:pt x="1769" y="0"/>
                    <a:pt x="1769" y="0"/>
                    <a:pt x="1769" y="0"/>
                  </a:cubicBezTo>
                  <a:cubicBezTo>
                    <a:pt x="1734" y="7"/>
                    <a:pt x="1734" y="7"/>
                    <a:pt x="1734" y="7"/>
                  </a:cubicBezTo>
                  <a:cubicBezTo>
                    <a:pt x="1706" y="5"/>
                    <a:pt x="1706" y="5"/>
                    <a:pt x="1706" y="5"/>
                  </a:cubicBezTo>
                  <a:cubicBezTo>
                    <a:pt x="1702" y="13"/>
                    <a:pt x="1702" y="13"/>
                    <a:pt x="1702" y="13"/>
                  </a:cubicBezTo>
                  <a:cubicBezTo>
                    <a:pt x="1678" y="16"/>
                    <a:pt x="1678" y="16"/>
                    <a:pt x="1678" y="16"/>
                  </a:cubicBezTo>
                  <a:cubicBezTo>
                    <a:pt x="1658" y="36"/>
                    <a:pt x="1658" y="36"/>
                    <a:pt x="1658" y="36"/>
                  </a:cubicBezTo>
                  <a:cubicBezTo>
                    <a:pt x="1658" y="36"/>
                    <a:pt x="1636" y="51"/>
                    <a:pt x="1651" y="54"/>
                  </a:cubicBezTo>
                  <a:cubicBezTo>
                    <a:pt x="1666" y="57"/>
                    <a:pt x="1678" y="59"/>
                    <a:pt x="1678" y="59"/>
                  </a:cubicBezTo>
                  <a:cubicBezTo>
                    <a:pt x="1678" y="59"/>
                    <a:pt x="1705" y="74"/>
                    <a:pt x="1704" y="80"/>
                  </a:cubicBezTo>
                  <a:cubicBezTo>
                    <a:pt x="1703" y="86"/>
                    <a:pt x="1691" y="91"/>
                    <a:pt x="1689" y="100"/>
                  </a:cubicBezTo>
                  <a:cubicBezTo>
                    <a:pt x="1687" y="109"/>
                    <a:pt x="1692" y="127"/>
                    <a:pt x="1692" y="127"/>
                  </a:cubicBezTo>
                  <a:cubicBezTo>
                    <a:pt x="1692" y="146"/>
                    <a:pt x="1692" y="146"/>
                    <a:pt x="1692" y="146"/>
                  </a:cubicBezTo>
                  <a:cubicBezTo>
                    <a:pt x="1693" y="171"/>
                    <a:pt x="1693" y="171"/>
                    <a:pt x="1693" y="171"/>
                  </a:cubicBezTo>
                  <a:cubicBezTo>
                    <a:pt x="1693" y="171"/>
                    <a:pt x="1717" y="181"/>
                    <a:pt x="1704" y="189"/>
                  </a:cubicBezTo>
                  <a:cubicBezTo>
                    <a:pt x="1691" y="197"/>
                    <a:pt x="1680" y="192"/>
                    <a:pt x="1680" y="192"/>
                  </a:cubicBezTo>
                  <a:cubicBezTo>
                    <a:pt x="1680" y="192"/>
                    <a:pt x="1676" y="214"/>
                    <a:pt x="1666" y="214"/>
                  </a:cubicBezTo>
                  <a:cubicBezTo>
                    <a:pt x="1656" y="214"/>
                    <a:pt x="1653" y="209"/>
                    <a:pt x="1653" y="209"/>
                  </a:cubicBezTo>
                  <a:cubicBezTo>
                    <a:pt x="1629" y="208"/>
                    <a:pt x="1629" y="208"/>
                    <a:pt x="1629" y="208"/>
                  </a:cubicBezTo>
                  <a:cubicBezTo>
                    <a:pt x="1606" y="194"/>
                    <a:pt x="1606" y="194"/>
                    <a:pt x="1606" y="194"/>
                  </a:cubicBezTo>
                  <a:cubicBezTo>
                    <a:pt x="1607" y="249"/>
                    <a:pt x="1607" y="249"/>
                    <a:pt x="1607" y="249"/>
                  </a:cubicBezTo>
                  <a:cubicBezTo>
                    <a:pt x="1612" y="255"/>
                    <a:pt x="1612" y="255"/>
                    <a:pt x="1612" y="255"/>
                  </a:cubicBezTo>
                  <a:cubicBezTo>
                    <a:pt x="1613" y="273"/>
                    <a:pt x="1613" y="273"/>
                    <a:pt x="1613" y="273"/>
                  </a:cubicBezTo>
                  <a:cubicBezTo>
                    <a:pt x="1617" y="279"/>
                    <a:pt x="1617" y="279"/>
                    <a:pt x="1617" y="279"/>
                  </a:cubicBezTo>
                  <a:cubicBezTo>
                    <a:pt x="1617" y="279"/>
                    <a:pt x="1612" y="282"/>
                    <a:pt x="1615" y="292"/>
                  </a:cubicBezTo>
                  <a:cubicBezTo>
                    <a:pt x="1618" y="302"/>
                    <a:pt x="1630" y="313"/>
                    <a:pt x="1639" y="310"/>
                  </a:cubicBezTo>
                  <a:cubicBezTo>
                    <a:pt x="1648" y="307"/>
                    <a:pt x="1632" y="300"/>
                    <a:pt x="1651" y="299"/>
                  </a:cubicBezTo>
                  <a:cubicBezTo>
                    <a:pt x="1670" y="298"/>
                    <a:pt x="1680" y="302"/>
                    <a:pt x="1680" y="302"/>
                  </a:cubicBezTo>
                  <a:cubicBezTo>
                    <a:pt x="1680" y="302"/>
                    <a:pt x="1691" y="313"/>
                    <a:pt x="1697" y="311"/>
                  </a:cubicBezTo>
                  <a:cubicBezTo>
                    <a:pt x="1703" y="309"/>
                    <a:pt x="1704" y="291"/>
                    <a:pt x="1704" y="291"/>
                  </a:cubicBezTo>
                  <a:cubicBezTo>
                    <a:pt x="1745" y="291"/>
                    <a:pt x="1745" y="291"/>
                    <a:pt x="1745" y="291"/>
                  </a:cubicBezTo>
                  <a:cubicBezTo>
                    <a:pt x="1745" y="291"/>
                    <a:pt x="1748" y="306"/>
                    <a:pt x="1757" y="307"/>
                  </a:cubicBezTo>
                  <a:cubicBezTo>
                    <a:pt x="1766" y="308"/>
                    <a:pt x="1769" y="308"/>
                    <a:pt x="1769" y="308"/>
                  </a:cubicBezTo>
                  <a:cubicBezTo>
                    <a:pt x="1769" y="308"/>
                    <a:pt x="1777" y="315"/>
                    <a:pt x="1786" y="322"/>
                  </a:cubicBezTo>
                  <a:cubicBezTo>
                    <a:pt x="1795" y="329"/>
                    <a:pt x="1813" y="333"/>
                    <a:pt x="1813" y="333"/>
                  </a:cubicBezTo>
                  <a:cubicBezTo>
                    <a:pt x="1813" y="333"/>
                    <a:pt x="1818" y="344"/>
                    <a:pt x="1827" y="350"/>
                  </a:cubicBezTo>
                  <a:cubicBezTo>
                    <a:pt x="1836" y="356"/>
                    <a:pt x="1839" y="362"/>
                    <a:pt x="1831" y="363"/>
                  </a:cubicBezTo>
                  <a:cubicBezTo>
                    <a:pt x="1823" y="364"/>
                    <a:pt x="1805" y="365"/>
                    <a:pt x="1805" y="365"/>
                  </a:cubicBezTo>
                  <a:cubicBezTo>
                    <a:pt x="1805" y="365"/>
                    <a:pt x="1797" y="356"/>
                    <a:pt x="1788" y="356"/>
                  </a:cubicBezTo>
                  <a:cubicBezTo>
                    <a:pt x="1779" y="356"/>
                    <a:pt x="1768" y="359"/>
                    <a:pt x="1768" y="359"/>
                  </a:cubicBezTo>
                  <a:cubicBezTo>
                    <a:pt x="1759" y="368"/>
                    <a:pt x="1759" y="368"/>
                    <a:pt x="1759" y="368"/>
                  </a:cubicBezTo>
                  <a:cubicBezTo>
                    <a:pt x="1753" y="371"/>
                    <a:pt x="1753" y="371"/>
                    <a:pt x="1753" y="371"/>
                  </a:cubicBezTo>
                  <a:cubicBezTo>
                    <a:pt x="1735" y="368"/>
                    <a:pt x="1735" y="368"/>
                    <a:pt x="1735" y="368"/>
                  </a:cubicBezTo>
                  <a:cubicBezTo>
                    <a:pt x="1735" y="379"/>
                    <a:pt x="1735" y="379"/>
                    <a:pt x="1735" y="379"/>
                  </a:cubicBezTo>
                  <a:cubicBezTo>
                    <a:pt x="1735" y="379"/>
                    <a:pt x="1710" y="380"/>
                    <a:pt x="1703" y="391"/>
                  </a:cubicBezTo>
                  <a:cubicBezTo>
                    <a:pt x="1696" y="402"/>
                    <a:pt x="1711" y="413"/>
                    <a:pt x="1711" y="413"/>
                  </a:cubicBezTo>
                  <a:cubicBezTo>
                    <a:pt x="1695" y="427"/>
                    <a:pt x="1695" y="427"/>
                    <a:pt x="1695" y="427"/>
                  </a:cubicBezTo>
                  <a:cubicBezTo>
                    <a:pt x="1695" y="427"/>
                    <a:pt x="1649" y="424"/>
                    <a:pt x="1646" y="427"/>
                  </a:cubicBezTo>
                  <a:cubicBezTo>
                    <a:pt x="1643" y="430"/>
                    <a:pt x="1645" y="446"/>
                    <a:pt x="1645" y="446"/>
                  </a:cubicBezTo>
                  <a:cubicBezTo>
                    <a:pt x="1645" y="446"/>
                    <a:pt x="1634" y="460"/>
                    <a:pt x="1627" y="462"/>
                  </a:cubicBezTo>
                  <a:cubicBezTo>
                    <a:pt x="1620" y="464"/>
                    <a:pt x="1593" y="465"/>
                    <a:pt x="1593" y="465"/>
                  </a:cubicBezTo>
                  <a:cubicBezTo>
                    <a:pt x="1593" y="465"/>
                    <a:pt x="1571" y="448"/>
                    <a:pt x="1567" y="447"/>
                  </a:cubicBezTo>
                  <a:cubicBezTo>
                    <a:pt x="1563" y="446"/>
                    <a:pt x="1545" y="440"/>
                    <a:pt x="1539" y="450"/>
                  </a:cubicBezTo>
                  <a:cubicBezTo>
                    <a:pt x="1533" y="460"/>
                    <a:pt x="1535" y="480"/>
                    <a:pt x="1541" y="484"/>
                  </a:cubicBezTo>
                  <a:cubicBezTo>
                    <a:pt x="1547" y="488"/>
                    <a:pt x="1578" y="511"/>
                    <a:pt x="1577" y="516"/>
                  </a:cubicBezTo>
                  <a:cubicBezTo>
                    <a:pt x="1576" y="521"/>
                    <a:pt x="1566" y="536"/>
                    <a:pt x="1562" y="536"/>
                  </a:cubicBezTo>
                  <a:cubicBezTo>
                    <a:pt x="1558" y="536"/>
                    <a:pt x="1548" y="533"/>
                    <a:pt x="1545" y="540"/>
                  </a:cubicBezTo>
                  <a:cubicBezTo>
                    <a:pt x="1542" y="547"/>
                    <a:pt x="1544" y="562"/>
                    <a:pt x="1536" y="569"/>
                  </a:cubicBezTo>
                  <a:cubicBezTo>
                    <a:pt x="1528" y="576"/>
                    <a:pt x="1511" y="574"/>
                    <a:pt x="1511" y="574"/>
                  </a:cubicBezTo>
                  <a:cubicBezTo>
                    <a:pt x="1499" y="587"/>
                    <a:pt x="1499" y="587"/>
                    <a:pt x="1499" y="587"/>
                  </a:cubicBezTo>
                  <a:cubicBezTo>
                    <a:pt x="1499" y="587"/>
                    <a:pt x="1409" y="584"/>
                    <a:pt x="1395" y="590"/>
                  </a:cubicBezTo>
                  <a:cubicBezTo>
                    <a:pt x="1381" y="596"/>
                    <a:pt x="1338" y="625"/>
                    <a:pt x="1332" y="630"/>
                  </a:cubicBezTo>
                  <a:cubicBezTo>
                    <a:pt x="1326" y="635"/>
                    <a:pt x="1306" y="627"/>
                    <a:pt x="1306" y="627"/>
                  </a:cubicBezTo>
                  <a:cubicBezTo>
                    <a:pt x="1306" y="627"/>
                    <a:pt x="1303" y="615"/>
                    <a:pt x="1297" y="615"/>
                  </a:cubicBezTo>
                  <a:cubicBezTo>
                    <a:pt x="1291" y="615"/>
                    <a:pt x="1270" y="624"/>
                    <a:pt x="1270" y="624"/>
                  </a:cubicBezTo>
                  <a:cubicBezTo>
                    <a:pt x="1270" y="624"/>
                    <a:pt x="1242" y="609"/>
                    <a:pt x="1228" y="608"/>
                  </a:cubicBezTo>
                  <a:cubicBezTo>
                    <a:pt x="1214" y="607"/>
                    <a:pt x="1203" y="609"/>
                    <a:pt x="1188" y="604"/>
                  </a:cubicBezTo>
                  <a:cubicBezTo>
                    <a:pt x="1173" y="599"/>
                    <a:pt x="1171" y="584"/>
                    <a:pt x="1161" y="581"/>
                  </a:cubicBezTo>
                  <a:cubicBezTo>
                    <a:pt x="1151" y="578"/>
                    <a:pt x="1112" y="578"/>
                    <a:pt x="1112" y="578"/>
                  </a:cubicBezTo>
                  <a:cubicBezTo>
                    <a:pt x="1112" y="578"/>
                    <a:pt x="1092" y="570"/>
                    <a:pt x="1087" y="570"/>
                  </a:cubicBezTo>
                  <a:cubicBezTo>
                    <a:pt x="1082" y="570"/>
                    <a:pt x="1068" y="581"/>
                    <a:pt x="1068" y="581"/>
                  </a:cubicBezTo>
                  <a:cubicBezTo>
                    <a:pt x="1043" y="576"/>
                    <a:pt x="1043" y="576"/>
                    <a:pt x="1043" y="576"/>
                  </a:cubicBezTo>
                  <a:cubicBezTo>
                    <a:pt x="1012" y="576"/>
                    <a:pt x="1012" y="576"/>
                    <a:pt x="1012" y="576"/>
                  </a:cubicBezTo>
                  <a:cubicBezTo>
                    <a:pt x="973" y="571"/>
                    <a:pt x="973" y="571"/>
                    <a:pt x="973" y="571"/>
                  </a:cubicBezTo>
                  <a:cubicBezTo>
                    <a:pt x="935" y="575"/>
                    <a:pt x="935" y="575"/>
                    <a:pt x="935" y="575"/>
                  </a:cubicBezTo>
                  <a:cubicBezTo>
                    <a:pt x="935" y="575"/>
                    <a:pt x="902" y="550"/>
                    <a:pt x="898" y="544"/>
                  </a:cubicBezTo>
                  <a:cubicBezTo>
                    <a:pt x="894" y="538"/>
                    <a:pt x="880" y="519"/>
                    <a:pt x="876" y="515"/>
                  </a:cubicBezTo>
                  <a:cubicBezTo>
                    <a:pt x="872" y="511"/>
                    <a:pt x="863" y="506"/>
                    <a:pt x="863" y="506"/>
                  </a:cubicBezTo>
                  <a:cubicBezTo>
                    <a:pt x="856" y="490"/>
                    <a:pt x="856" y="490"/>
                    <a:pt x="856" y="490"/>
                  </a:cubicBezTo>
                  <a:cubicBezTo>
                    <a:pt x="834" y="487"/>
                    <a:pt x="834" y="487"/>
                    <a:pt x="834" y="487"/>
                  </a:cubicBezTo>
                  <a:cubicBezTo>
                    <a:pt x="834" y="487"/>
                    <a:pt x="797" y="475"/>
                    <a:pt x="794" y="474"/>
                  </a:cubicBezTo>
                  <a:cubicBezTo>
                    <a:pt x="791" y="473"/>
                    <a:pt x="784" y="461"/>
                    <a:pt x="775" y="459"/>
                  </a:cubicBezTo>
                  <a:cubicBezTo>
                    <a:pt x="766" y="457"/>
                    <a:pt x="755" y="452"/>
                    <a:pt x="755" y="452"/>
                  </a:cubicBezTo>
                  <a:cubicBezTo>
                    <a:pt x="755" y="452"/>
                    <a:pt x="721" y="450"/>
                    <a:pt x="707" y="451"/>
                  </a:cubicBezTo>
                  <a:cubicBezTo>
                    <a:pt x="693" y="452"/>
                    <a:pt x="679" y="449"/>
                    <a:pt x="668" y="445"/>
                  </a:cubicBezTo>
                  <a:cubicBezTo>
                    <a:pt x="657" y="441"/>
                    <a:pt x="636" y="439"/>
                    <a:pt x="631" y="426"/>
                  </a:cubicBezTo>
                  <a:cubicBezTo>
                    <a:pt x="626" y="413"/>
                    <a:pt x="625" y="403"/>
                    <a:pt x="625" y="403"/>
                  </a:cubicBezTo>
                  <a:cubicBezTo>
                    <a:pt x="625" y="403"/>
                    <a:pt x="635" y="399"/>
                    <a:pt x="633" y="392"/>
                  </a:cubicBezTo>
                  <a:cubicBezTo>
                    <a:pt x="631" y="385"/>
                    <a:pt x="621" y="377"/>
                    <a:pt x="621" y="377"/>
                  </a:cubicBezTo>
                  <a:cubicBezTo>
                    <a:pt x="621" y="377"/>
                    <a:pt x="624" y="361"/>
                    <a:pt x="612" y="353"/>
                  </a:cubicBezTo>
                  <a:cubicBezTo>
                    <a:pt x="600" y="345"/>
                    <a:pt x="591" y="336"/>
                    <a:pt x="586" y="329"/>
                  </a:cubicBezTo>
                  <a:cubicBezTo>
                    <a:pt x="581" y="322"/>
                    <a:pt x="574" y="308"/>
                    <a:pt x="560" y="304"/>
                  </a:cubicBezTo>
                  <a:cubicBezTo>
                    <a:pt x="546" y="300"/>
                    <a:pt x="540" y="298"/>
                    <a:pt x="540" y="298"/>
                  </a:cubicBezTo>
                  <a:cubicBezTo>
                    <a:pt x="525" y="290"/>
                    <a:pt x="525" y="290"/>
                    <a:pt x="525" y="290"/>
                  </a:cubicBezTo>
                  <a:cubicBezTo>
                    <a:pt x="504" y="296"/>
                    <a:pt x="504" y="296"/>
                    <a:pt x="504" y="296"/>
                  </a:cubicBezTo>
                  <a:cubicBezTo>
                    <a:pt x="487" y="280"/>
                    <a:pt x="487" y="280"/>
                    <a:pt x="487" y="280"/>
                  </a:cubicBezTo>
                  <a:cubicBezTo>
                    <a:pt x="481" y="272"/>
                    <a:pt x="481" y="272"/>
                    <a:pt x="481" y="272"/>
                  </a:cubicBezTo>
                  <a:cubicBezTo>
                    <a:pt x="481" y="272"/>
                    <a:pt x="457" y="269"/>
                    <a:pt x="452" y="264"/>
                  </a:cubicBezTo>
                  <a:cubicBezTo>
                    <a:pt x="447" y="259"/>
                    <a:pt x="451" y="251"/>
                    <a:pt x="451" y="251"/>
                  </a:cubicBezTo>
                  <a:cubicBezTo>
                    <a:pt x="433" y="251"/>
                    <a:pt x="433" y="251"/>
                    <a:pt x="433" y="251"/>
                  </a:cubicBezTo>
                  <a:cubicBezTo>
                    <a:pt x="433" y="251"/>
                    <a:pt x="443" y="239"/>
                    <a:pt x="435" y="235"/>
                  </a:cubicBezTo>
                  <a:cubicBezTo>
                    <a:pt x="427" y="231"/>
                    <a:pt x="414" y="238"/>
                    <a:pt x="414" y="238"/>
                  </a:cubicBezTo>
                  <a:cubicBezTo>
                    <a:pt x="414" y="238"/>
                    <a:pt x="388" y="230"/>
                    <a:pt x="387" y="239"/>
                  </a:cubicBezTo>
                  <a:cubicBezTo>
                    <a:pt x="386" y="248"/>
                    <a:pt x="405" y="251"/>
                    <a:pt x="399" y="260"/>
                  </a:cubicBezTo>
                  <a:cubicBezTo>
                    <a:pt x="393" y="269"/>
                    <a:pt x="364" y="259"/>
                    <a:pt x="359" y="273"/>
                  </a:cubicBezTo>
                  <a:cubicBezTo>
                    <a:pt x="354" y="287"/>
                    <a:pt x="364" y="296"/>
                    <a:pt x="373" y="309"/>
                  </a:cubicBezTo>
                  <a:cubicBezTo>
                    <a:pt x="382" y="322"/>
                    <a:pt x="388" y="333"/>
                    <a:pt x="381" y="338"/>
                  </a:cubicBezTo>
                  <a:cubicBezTo>
                    <a:pt x="374" y="343"/>
                    <a:pt x="366" y="342"/>
                    <a:pt x="366" y="342"/>
                  </a:cubicBezTo>
                  <a:cubicBezTo>
                    <a:pt x="355" y="354"/>
                    <a:pt x="355" y="354"/>
                    <a:pt x="355" y="354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346"/>
                    <a:pt x="325" y="348"/>
                    <a:pt x="317" y="346"/>
                  </a:cubicBezTo>
                  <a:cubicBezTo>
                    <a:pt x="309" y="344"/>
                    <a:pt x="284" y="332"/>
                    <a:pt x="278" y="332"/>
                  </a:cubicBezTo>
                  <a:cubicBezTo>
                    <a:pt x="272" y="332"/>
                    <a:pt x="273" y="347"/>
                    <a:pt x="273" y="359"/>
                  </a:cubicBezTo>
                  <a:cubicBezTo>
                    <a:pt x="273" y="371"/>
                    <a:pt x="269" y="423"/>
                    <a:pt x="273" y="425"/>
                  </a:cubicBezTo>
                  <a:cubicBezTo>
                    <a:pt x="277" y="427"/>
                    <a:pt x="300" y="429"/>
                    <a:pt x="291" y="440"/>
                  </a:cubicBezTo>
                  <a:cubicBezTo>
                    <a:pt x="282" y="451"/>
                    <a:pt x="275" y="437"/>
                    <a:pt x="275" y="437"/>
                  </a:cubicBezTo>
                  <a:cubicBezTo>
                    <a:pt x="262" y="444"/>
                    <a:pt x="262" y="444"/>
                    <a:pt x="262" y="444"/>
                  </a:cubicBezTo>
                  <a:cubicBezTo>
                    <a:pt x="262" y="444"/>
                    <a:pt x="253" y="430"/>
                    <a:pt x="248" y="430"/>
                  </a:cubicBezTo>
                  <a:cubicBezTo>
                    <a:pt x="243" y="430"/>
                    <a:pt x="219" y="440"/>
                    <a:pt x="213" y="441"/>
                  </a:cubicBezTo>
                  <a:cubicBezTo>
                    <a:pt x="207" y="442"/>
                    <a:pt x="176" y="449"/>
                    <a:pt x="183" y="458"/>
                  </a:cubicBezTo>
                  <a:cubicBezTo>
                    <a:pt x="190" y="467"/>
                    <a:pt x="208" y="464"/>
                    <a:pt x="208" y="464"/>
                  </a:cubicBezTo>
                  <a:cubicBezTo>
                    <a:pt x="208" y="464"/>
                    <a:pt x="208" y="490"/>
                    <a:pt x="216" y="499"/>
                  </a:cubicBezTo>
                  <a:cubicBezTo>
                    <a:pt x="224" y="508"/>
                    <a:pt x="254" y="539"/>
                    <a:pt x="254" y="546"/>
                  </a:cubicBezTo>
                  <a:cubicBezTo>
                    <a:pt x="254" y="553"/>
                    <a:pt x="238" y="550"/>
                    <a:pt x="238" y="553"/>
                  </a:cubicBezTo>
                  <a:cubicBezTo>
                    <a:pt x="238" y="556"/>
                    <a:pt x="249" y="568"/>
                    <a:pt x="249" y="568"/>
                  </a:cubicBezTo>
                  <a:cubicBezTo>
                    <a:pt x="249" y="568"/>
                    <a:pt x="235" y="566"/>
                    <a:pt x="235" y="571"/>
                  </a:cubicBezTo>
                  <a:cubicBezTo>
                    <a:pt x="235" y="576"/>
                    <a:pt x="239" y="587"/>
                    <a:pt x="244" y="592"/>
                  </a:cubicBezTo>
                  <a:cubicBezTo>
                    <a:pt x="249" y="597"/>
                    <a:pt x="251" y="610"/>
                    <a:pt x="248" y="611"/>
                  </a:cubicBezTo>
                  <a:cubicBezTo>
                    <a:pt x="245" y="612"/>
                    <a:pt x="231" y="612"/>
                    <a:pt x="231" y="612"/>
                  </a:cubicBezTo>
                  <a:cubicBezTo>
                    <a:pt x="199" y="625"/>
                    <a:pt x="199" y="625"/>
                    <a:pt x="199" y="625"/>
                  </a:cubicBezTo>
                  <a:cubicBezTo>
                    <a:pt x="199" y="625"/>
                    <a:pt x="180" y="642"/>
                    <a:pt x="180" y="645"/>
                  </a:cubicBezTo>
                  <a:cubicBezTo>
                    <a:pt x="180" y="648"/>
                    <a:pt x="180" y="666"/>
                    <a:pt x="168" y="666"/>
                  </a:cubicBezTo>
                  <a:cubicBezTo>
                    <a:pt x="156" y="666"/>
                    <a:pt x="137" y="658"/>
                    <a:pt x="129" y="659"/>
                  </a:cubicBezTo>
                  <a:cubicBezTo>
                    <a:pt x="121" y="660"/>
                    <a:pt x="113" y="673"/>
                    <a:pt x="112" y="682"/>
                  </a:cubicBezTo>
                  <a:cubicBezTo>
                    <a:pt x="111" y="691"/>
                    <a:pt x="106" y="700"/>
                    <a:pt x="106" y="700"/>
                  </a:cubicBezTo>
                  <a:cubicBezTo>
                    <a:pt x="87" y="695"/>
                    <a:pt x="87" y="695"/>
                    <a:pt x="87" y="695"/>
                  </a:cubicBezTo>
                  <a:cubicBezTo>
                    <a:pt x="80" y="702"/>
                    <a:pt x="80" y="702"/>
                    <a:pt x="80" y="702"/>
                  </a:cubicBezTo>
                  <a:cubicBezTo>
                    <a:pt x="80" y="702"/>
                    <a:pt x="69" y="683"/>
                    <a:pt x="63" y="683"/>
                  </a:cubicBezTo>
                  <a:cubicBezTo>
                    <a:pt x="57" y="683"/>
                    <a:pt x="52" y="692"/>
                    <a:pt x="52" y="692"/>
                  </a:cubicBezTo>
                  <a:cubicBezTo>
                    <a:pt x="33" y="694"/>
                    <a:pt x="33" y="694"/>
                    <a:pt x="33" y="694"/>
                  </a:cubicBezTo>
                  <a:cubicBezTo>
                    <a:pt x="33" y="704"/>
                    <a:pt x="33" y="704"/>
                    <a:pt x="33" y="704"/>
                  </a:cubicBezTo>
                  <a:cubicBezTo>
                    <a:pt x="33" y="704"/>
                    <a:pt x="0" y="719"/>
                    <a:pt x="1" y="722"/>
                  </a:cubicBezTo>
                  <a:cubicBezTo>
                    <a:pt x="2" y="725"/>
                    <a:pt x="13" y="738"/>
                    <a:pt x="13" y="742"/>
                  </a:cubicBezTo>
                  <a:cubicBezTo>
                    <a:pt x="13" y="746"/>
                    <a:pt x="1" y="744"/>
                    <a:pt x="1" y="744"/>
                  </a:cubicBezTo>
                  <a:cubicBezTo>
                    <a:pt x="1" y="761"/>
                    <a:pt x="1" y="761"/>
                    <a:pt x="1" y="761"/>
                  </a:cubicBezTo>
                  <a:cubicBezTo>
                    <a:pt x="1" y="761"/>
                    <a:pt x="15" y="758"/>
                    <a:pt x="15" y="765"/>
                  </a:cubicBezTo>
                  <a:cubicBezTo>
                    <a:pt x="15" y="772"/>
                    <a:pt x="7" y="790"/>
                    <a:pt x="17" y="794"/>
                  </a:cubicBezTo>
                  <a:cubicBezTo>
                    <a:pt x="27" y="798"/>
                    <a:pt x="31" y="783"/>
                    <a:pt x="45" y="787"/>
                  </a:cubicBezTo>
                  <a:cubicBezTo>
                    <a:pt x="59" y="791"/>
                    <a:pt x="71" y="794"/>
                    <a:pt x="71" y="804"/>
                  </a:cubicBezTo>
                  <a:cubicBezTo>
                    <a:pt x="71" y="814"/>
                    <a:pt x="72" y="836"/>
                    <a:pt x="79" y="843"/>
                  </a:cubicBezTo>
                  <a:cubicBezTo>
                    <a:pt x="86" y="850"/>
                    <a:pt x="98" y="853"/>
                    <a:pt x="90" y="859"/>
                  </a:cubicBezTo>
                  <a:cubicBezTo>
                    <a:pt x="82" y="865"/>
                    <a:pt x="62" y="857"/>
                    <a:pt x="65" y="868"/>
                  </a:cubicBezTo>
                  <a:cubicBezTo>
                    <a:pt x="68" y="879"/>
                    <a:pt x="90" y="880"/>
                    <a:pt x="90" y="880"/>
                  </a:cubicBezTo>
                  <a:cubicBezTo>
                    <a:pt x="111" y="880"/>
                    <a:pt x="111" y="880"/>
                    <a:pt x="111" y="880"/>
                  </a:cubicBezTo>
                  <a:cubicBezTo>
                    <a:pt x="114" y="889"/>
                    <a:pt x="114" y="889"/>
                    <a:pt x="114" y="889"/>
                  </a:cubicBezTo>
                  <a:cubicBezTo>
                    <a:pt x="114" y="889"/>
                    <a:pt x="129" y="890"/>
                    <a:pt x="138" y="900"/>
                  </a:cubicBezTo>
                  <a:cubicBezTo>
                    <a:pt x="147" y="910"/>
                    <a:pt x="148" y="931"/>
                    <a:pt x="148" y="931"/>
                  </a:cubicBezTo>
                  <a:cubicBezTo>
                    <a:pt x="169" y="939"/>
                    <a:pt x="169" y="939"/>
                    <a:pt x="169" y="939"/>
                  </a:cubicBezTo>
                  <a:cubicBezTo>
                    <a:pt x="177" y="935"/>
                    <a:pt x="177" y="935"/>
                    <a:pt x="177" y="935"/>
                  </a:cubicBezTo>
                  <a:cubicBezTo>
                    <a:pt x="177" y="935"/>
                    <a:pt x="182" y="955"/>
                    <a:pt x="201" y="956"/>
                  </a:cubicBezTo>
                  <a:cubicBezTo>
                    <a:pt x="220" y="957"/>
                    <a:pt x="246" y="957"/>
                    <a:pt x="246" y="957"/>
                  </a:cubicBezTo>
                  <a:cubicBezTo>
                    <a:pt x="246" y="957"/>
                    <a:pt x="277" y="928"/>
                    <a:pt x="294" y="934"/>
                  </a:cubicBezTo>
                  <a:cubicBezTo>
                    <a:pt x="311" y="940"/>
                    <a:pt x="313" y="954"/>
                    <a:pt x="324" y="956"/>
                  </a:cubicBezTo>
                  <a:cubicBezTo>
                    <a:pt x="335" y="958"/>
                    <a:pt x="349" y="956"/>
                    <a:pt x="349" y="956"/>
                  </a:cubicBezTo>
                  <a:cubicBezTo>
                    <a:pt x="349" y="956"/>
                    <a:pt x="353" y="992"/>
                    <a:pt x="349" y="997"/>
                  </a:cubicBezTo>
                  <a:cubicBezTo>
                    <a:pt x="345" y="1002"/>
                    <a:pt x="336" y="1002"/>
                    <a:pt x="336" y="1002"/>
                  </a:cubicBezTo>
                  <a:cubicBezTo>
                    <a:pt x="336" y="1002"/>
                    <a:pt x="342" y="1026"/>
                    <a:pt x="333" y="1031"/>
                  </a:cubicBezTo>
                  <a:cubicBezTo>
                    <a:pt x="324" y="1036"/>
                    <a:pt x="305" y="1035"/>
                    <a:pt x="305" y="1035"/>
                  </a:cubicBezTo>
                  <a:cubicBezTo>
                    <a:pt x="317" y="1051"/>
                    <a:pt x="317" y="1051"/>
                    <a:pt x="317" y="1051"/>
                  </a:cubicBezTo>
                  <a:cubicBezTo>
                    <a:pt x="306" y="1057"/>
                    <a:pt x="306" y="1057"/>
                    <a:pt x="306" y="1057"/>
                  </a:cubicBezTo>
                  <a:cubicBezTo>
                    <a:pt x="306" y="1057"/>
                    <a:pt x="300" y="1068"/>
                    <a:pt x="315" y="1075"/>
                  </a:cubicBezTo>
                  <a:cubicBezTo>
                    <a:pt x="330" y="1082"/>
                    <a:pt x="335" y="1085"/>
                    <a:pt x="335" y="1085"/>
                  </a:cubicBezTo>
                  <a:cubicBezTo>
                    <a:pt x="340" y="1094"/>
                    <a:pt x="340" y="1094"/>
                    <a:pt x="340" y="1094"/>
                  </a:cubicBezTo>
                  <a:cubicBezTo>
                    <a:pt x="340" y="1094"/>
                    <a:pt x="359" y="1109"/>
                    <a:pt x="351" y="1114"/>
                  </a:cubicBezTo>
                  <a:cubicBezTo>
                    <a:pt x="343" y="1119"/>
                    <a:pt x="334" y="1122"/>
                    <a:pt x="334" y="1122"/>
                  </a:cubicBezTo>
                  <a:cubicBezTo>
                    <a:pt x="328" y="1131"/>
                    <a:pt x="328" y="1131"/>
                    <a:pt x="328" y="1131"/>
                  </a:cubicBezTo>
                  <a:cubicBezTo>
                    <a:pt x="318" y="1123"/>
                    <a:pt x="318" y="1123"/>
                    <a:pt x="318" y="1123"/>
                  </a:cubicBezTo>
                  <a:cubicBezTo>
                    <a:pt x="318" y="1123"/>
                    <a:pt x="320" y="1113"/>
                    <a:pt x="316" y="1113"/>
                  </a:cubicBezTo>
                  <a:cubicBezTo>
                    <a:pt x="312" y="1113"/>
                    <a:pt x="299" y="1118"/>
                    <a:pt x="301" y="1128"/>
                  </a:cubicBezTo>
                  <a:cubicBezTo>
                    <a:pt x="303" y="1138"/>
                    <a:pt x="323" y="1149"/>
                    <a:pt x="323" y="1149"/>
                  </a:cubicBezTo>
                  <a:cubicBezTo>
                    <a:pt x="323" y="1149"/>
                    <a:pt x="316" y="1174"/>
                    <a:pt x="323" y="1177"/>
                  </a:cubicBezTo>
                  <a:cubicBezTo>
                    <a:pt x="330" y="1180"/>
                    <a:pt x="341" y="1175"/>
                    <a:pt x="341" y="1175"/>
                  </a:cubicBezTo>
                  <a:cubicBezTo>
                    <a:pt x="341" y="1175"/>
                    <a:pt x="345" y="1190"/>
                    <a:pt x="356" y="1194"/>
                  </a:cubicBezTo>
                  <a:cubicBezTo>
                    <a:pt x="367" y="1198"/>
                    <a:pt x="377" y="1200"/>
                    <a:pt x="377" y="1200"/>
                  </a:cubicBezTo>
                  <a:cubicBezTo>
                    <a:pt x="392" y="1211"/>
                    <a:pt x="392" y="1211"/>
                    <a:pt x="392" y="1211"/>
                  </a:cubicBezTo>
                  <a:cubicBezTo>
                    <a:pt x="403" y="1210"/>
                    <a:pt x="403" y="1210"/>
                    <a:pt x="403" y="1210"/>
                  </a:cubicBezTo>
                  <a:cubicBezTo>
                    <a:pt x="403" y="1210"/>
                    <a:pt x="397" y="1218"/>
                    <a:pt x="403" y="1221"/>
                  </a:cubicBezTo>
                  <a:cubicBezTo>
                    <a:pt x="409" y="1224"/>
                    <a:pt x="420" y="1224"/>
                    <a:pt x="420" y="1224"/>
                  </a:cubicBezTo>
                  <a:cubicBezTo>
                    <a:pt x="447" y="1249"/>
                    <a:pt x="447" y="1249"/>
                    <a:pt x="447" y="1249"/>
                  </a:cubicBezTo>
                  <a:cubicBezTo>
                    <a:pt x="462" y="1236"/>
                    <a:pt x="462" y="1236"/>
                    <a:pt x="462" y="1236"/>
                  </a:cubicBezTo>
                  <a:cubicBezTo>
                    <a:pt x="462" y="1236"/>
                    <a:pt x="475" y="1219"/>
                    <a:pt x="489" y="1234"/>
                  </a:cubicBezTo>
                  <a:cubicBezTo>
                    <a:pt x="503" y="1249"/>
                    <a:pt x="521" y="1263"/>
                    <a:pt x="521" y="1263"/>
                  </a:cubicBezTo>
                  <a:cubicBezTo>
                    <a:pt x="552" y="1269"/>
                    <a:pt x="552" y="1269"/>
                    <a:pt x="552" y="1269"/>
                  </a:cubicBezTo>
                  <a:cubicBezTo>
                    <a:pt x="552" y="1269"/>
                    <a:pt x="567" y="1301"/>
                    <a:pt x="571" y="1302"/>
                  </a:cubicBezTo>
                  <a:cubicBezTo>
                    <a:pt x="575" y="1303"/>
                    <a:pt x="579" y="1278"/>
                    <a:pt x="590" y="1285"/>
                  </a:cubicBezTo>
                  <a:cubicBezTo>
                    <a:pt x="601" y="1292"/>
                    <a:pt x="596" y="1308"/>
                    <a:pt x="604" y="1314"/>
                  </a:cubicBezTo>
                  <a:cubicBezTo>
                    <a:pt x="612" y="1320"/>
                    <a:pt x="626" y="1332"/>
                    <a:pt x="626" y="1332"/>
                  </a:cubicBezTo>
                  <a:cubicBezTo>
                    <a:pt x="626" y="1332"/>
                    <a:pt x="641" y="1321"/>
                    <a:pt x="646" y="1328"/>
                  </a:cubicBezTo>
                  <a:cubicBezTo>
                    <a:pt x="651" y="1335"/>
                    <a:pt x="634" y="1338"/>
                    <a:pt x="650" y="1345"/>
                  </a:cubicBezTo>
                  <a:cubicBezTo>
                    <a:pt x="666" y="1352"/>
                    <a:pt x="678" y="1343"/>
                    <a:pt x="678" y="1343"/>
                  </a:cubicBezTo>
                  <a:cubicBezTo>
                    <a:pt x="678" y="1343"/>
                    <a:pt x="678" y="1361"/>
                    <a:pt x="687" y="1362"/>
                  </a:cubicBezTo>
                  <a:cubicBezTo>
                    <a:pt x="696" y="1363"/>
                    <a:pt x="698" y="1349"/>
                    <a:pt x="698" y="1349"/>
                  </a:cubicBezTo>
                  <a:cubicBezTo>
                    <a:pt x="698" y="1349"/>
                    <a:pt x="697" y="1363"/>
                    <a:pt x="707" y="1362"/>
                  </a:cubicBezTo>
                  <a:cubicBezTo>
                    <a:pt x="717" y="1361"/>
                    <a:pt x="719" y="1353"/>
                    <a:pt x="719" y="1353"/>
                  </a:cubicBezTo>
                  <a:cubicBezTo>
                    <a:pt x="719" y="1353"/>
                    <a:pt x="752" y="1373"/>
                    <a:pt x="766" y="1372"/>
                  </a:cubicBezTo>
                  <a:cubicBezTo>
                    <a:pt x="780" y="1371"/>
                    <a:pt x="806" y="1346"/>
                    <a:pt x="817" y="1355"/>
                  </a:cubicBezTo>
                  <a:cubicBezTo>
                    <a:pt x="828" y="1364"/>
                    <a:pt x="817" y="1392"/>
                    <a:pt x="822" y="1394"/>
                  </a:cubicBezTo>
                  <a:cubicBezTo>
                    <a:pt x="827" y="1396"/>
                    <a:pt x="832" y="1395"/>
                    <a:pt x="832" y="1395"/>
                  </a:cubicBezTo>
                  <a:cubicBezTo>
                    <a:pt x="832" y="1395"/>
                    <a:pt x="856" y="1339"/>
                    <a:pt x="870" y="1344"/>
                  </a:cubicBezTo>
                  <a:cubicBezTo>
                    <a:pt x="884" y="1349"/>
                    <a:pt x="894" y="1350"/>
                    <a:pt x="894" y="1350"/>
                  </a:cubicBezTo>
                  <a:cubicBezTo>
                    <a:pt x="894" y="1364"/>
                    <a:pt x="894" y="1364"/>
                    <a:pt x="894" y="1364"/>
                  </a:cubicBezTo>
                  <a:cubicBezTo>
                    <a:pt x="894" y="1364"/>
                    <a:pt x="930" y="1346"/>
                    <a:pt x="943" y="1357"/>
                  </a:cubicBezTo>
                  <a:cubicBezTo>
                    <a:pt x="956" y="1368"/>
                    <a:pt x="956" y="1378"/>
                    <a:pt x="956" y="1378"/>
                  </a:cubicBezTo>
                  <a:cubicBezTo>
                    <a:pt x="956" y="1378"/>
                    <a:pt x="987" y="1380"/>
                    <a:pt x="995" y="1373"/>
                  </a:cubicBezTo>
                  <a:cubicBezTo>
                    <a:pt x="1003" y="1366"/>
                    <a:pt x="995" y="1350"/>
                    <a:pt x="995" y="1350"/>
                  </a:cubicBezTo>
                  <a:cubicBezTo>
                    <a:pt x="995" y="1350"/>
                    <a:pt x="1016" y="1348"/>
                    <a:pt x="1018" y="1343"/>
                  </a:cubicBezTo>
                  <a:cubicBezTo>
                    <a:pt x="1020" y="1338"/>
                    <a:pt x="1013" y="1322"/>
                    <a:pt x="1013" y="1322"/>
                  </a:cubicBezTo>
                  <a:cubicBezTo>
                    <a:pt x="1013" y="1322"/>
                    <a:pt x="1037" y="1326"/>
                    <a:pt x="1044" y="1318"/>
                  </a:cubicBezTo>
                  <a:cubicBezTo>
                    <a:pt x="1051" y="1310"/>
                    <a:pt x="1068" y="1291"/>
                    <a:pt x="1076" y="1291"/>
                  </a:cubicBezTo>
                  <a:cubicBezTo>
                    <a:pt x="1084" y="1291"/>
                    <a:pt x="1098" y="1305"/>
                    <a:pt x="1109" y="1305"/>
                  </a:cubicBezTo>
                  <a:cubicBezTo>
                    <a:pt x="1120" y="1305"/>
                    <a:pt x="1112" y="1274"/>
                    <a:pt x="1130" y="1283"/>
                  </a:cubicBezTo>
                  <a:cubicBezTo>
                    <a:pt x="1148" y="1292"/>
                    <a:pt x="1149" y="1297"/>
                    <a:pt x="1149" y="1297"/>
                  </a:cubicBezTo>
                  <a:cubicBezTo>
                    <a:pt x="1149" y="1297"/>
                    <a:pt x="1133" y="1305"/>
                    <a:pt x="1142" y="1307"/>
                  </a:cubicBezTo>
                  <a:cubicBezTo>
                    <a:pt x="1151" y="1309"/>
                    <a:pt x="1162" y="1308"/>
                    <a:pt x="1162" y="1308"/>
                  </a:cubicBezTo>
                  <a:cubicBezTo>
                    <a:pt x="1173" y="1328"/>
                    <a:pt x="1173" y="1328"/>
                    <a:pt x="1173" y="1328"/>
                  </a:cubicBezTo>
                  <a:cubicBezTo>
                    <a:pt x="1173" y="1328"/>
                    <a:pt x="1153" y="1337"/>
                    <a:pt x="1161" y="1339"/>
                  </a:cubicBezTo>
                  <a:cubicBezTo>
                    <a:pt x="1169" y="1341"/>
                    <a:pt x="1184" y="1341"/>
                    <a:pt x="1191" y="1341"/>
                  </a:cubicBezTo>
                  <a:cubicBezTo>
                    <a:pt x="1198" y="1341"/>
                    <a:pt x="1213" y="1345"/>
                    <a:pt x="1213" y="1345"/>
                  </a:cubicBezTo>
                  <a:cubicBezTo>
                    <a:pt x="1217" y="1332"/>
                    <a:pt x="1217" y="1332"/>
                    <a:pt x="1217" y="1332"/>
                  </a:cubicBezTo>
                  <a:cubicBezTo>
                    <a:pt x="1217" y="1332"/>
                    <a:pt x="1231" y="1339"/>
                    <a:pt x="1239" y="1347"/>
                  </a:cubicBezTo>
                  <a:cubicBezTo>
                    <a:pt x="1247" y="1355"/>
                    <a:pt x="1256" y="1382"/>
                    <a:pt x="1256" y="1382"/>
                  </a:cubicBezTo>
                  <a:cubicBezTo>
                    <a:pt x="1256" y="1382"/>
                    <a:pt x="1271" y="1380"/>
                    <a:pt x="1278" y="1382"/>
                  </a:cubicBezTo>
                  <a:cubicBezTo>
                    <a:pt x="1285" y="1384"/>
                    <a:pt x="1283" y="1406"/>
                    <a:pt x="1283" y="1406"/>
                  </a:cubicBezTo>
                  <a:cubicBezTo>
                    <a:pt x="1291" y="1422"/>
                    <a:pt x="1291" y="1422"/>
                    <a:pt x="1291" y="1422"/>
                  </a:cubicBezTo>
                  <a:cubicBezTo>
                    <a:pt x="1298" y="1459"/>
                    <a:pt x="1298" y="1459"/>
                    <a:pt x="1298" y="1459"/>
                  </a:cubicBezTo>
                  <a:cubicBezTo>
                    <a:pt x="1298" y="1459"/>
                    <a:pt x="1288" y="1465"/>
                    <a:pt x="1281" y="1465"/>
                  </a:cubicBezTo>
                  <a:cubicBezTo>
                    <a:pt x="1274" y="1465"/>
                    <a:pt x="1290" y="1476"/>
                    <a:pt x="1290" y="1476"/>
                  </a:cubicBezTo>
                  <a:cubicBezTo>
                    <a:pt x="1290" y="1476"/>
                    <a:pt x="1289" y="1482"/>
                    <a:pt x="1286" y="1489"/>
                  </a:cubicBezTo>
                  <a:cubicBezTo>
                    <a:pt x="1283" y="1496"/>
                    <a:pt x="1271" y="1488"/>
                    <a:pt x="1271" y="1488"/>
                  </a:cubicBezTo>
                  <a:cubicBezTo>
                    <a:pt x="1271" y="1488"/>
                    <a:pt x="1272" y="1497"/>
                    <a:pt x="1271" y="1508"/>
                  </a:cubicBezTo>
                  <a:cubicBezTo>
                    <a:pt x="1270" y="1519"/>
                    <a:pt x="1259" y="1515"/>
                    <a:pt x="1259" y="1515"/>
                  </a:cubicBezTo>
                  <a:cubicBezTo>
                    <a:pt x="1261" y="1535"/>
                    <a:pt x="1261" y="1535"/>
                    <a:pt x="1261" y="1535"/>
                  </a:cubicBezTo>
                  <a:cubicBezTo>
                    <a:pt x="1254" y="1538"/>
                    <a:pt x="1254" y="1538"/>
                    <a:pt x="1254" y="1538"/>
                  </a:cubicBezTo>
                  <a:cubicBezTo>
                    <a:pt x="1254" y="1538"/>
                    <a:pt x="1255" y="1547"/>
                    <a:pt x="1260" y="1552"/>
                  </a:cubicBezTo>
                  <a:cubicBezTo>
                    <a:pt x="1265" y="1557"/>
                    <a:pt x="1270" y="1567"/>
                    <a:pt x="1270" y="1567"/>
                  </a:cubicBezTo>
                  <a:cubicBezTo>
                    <a:pt x="1264" y="1581"/>
                    <a:pt x="1264" y="1581"/>
                    <a:pt x="1264" y="1581"/>
                  </a:cubicBezTo>
                  <a:cubicBezTo>
                    <a:pt x="1264" y="1581"/>
                    <a:pt x="1280" y="1571"/>
                    <a:pt x="1288" y="1570"/>
                  </a:cubicBezTo>
                  <a:cubicBezTo>
                    <a:pt x="1296" y="1569"/>
                    <a:pt x="1325" y="1569"/>
                    <a:pt x="1325" y="1569"/>
                  </a:cubicBezTo>
                  <a:cubicBezTo>
                    <a:pt x="1308" y="1584"/>
                    <a:pt x="1308" y="1584"/>
                    <a:pt x="1308" y="1584"/>
                  </a:cubicBezTo>
                  <a:cubicBezTo>
                    <a:pt x="1324" y="1597"/>
                    <a:pt x="1324" y="1597"/>
                    <a:pt x="1324" y="1597"/>
                  </a:cubicBezTo>
                  <a:cubicBezTo>
                    <a:pt x="1329" y="1624"/>
                    <a:pt x="1329" y="1624"/>
                    <a:pt x="1329" y="1624"/>
                  </a:cubicBezTo>
                  <a:cubicBezTo>
                    <a:pt x="1329" y="1624"/>
                    <a:pt x="1357" y="1625"/>
                    <a:pt x="1364" y="1631"/>
                  </a:cubicBezTo>
                  <a:cubicBezTo>
                    <a:pt x="1371" y="1637"/>
                    <a:pt x="1348" y="1646"/>
                    <a:pt x="1348" y="1646"/>
                  </a:cubicBezTo>
                  <a:cubicBezTo>
                    <a:pt x="1348" y="1646"/>
                    <a:pt x="1357" y="1658"/>
                    <a:pt x="1354" y="1661"/>
                  </a:cubicBezTo>
                  <a:cubicBezTo>
                    <a:pt x="1351" y="1664"/>
                    <a:pt x="1345" y="1678"/>
                    <a:pt x="1345" y="1678"/>
                  </a:cubicBezTo>
                  <a:cubicBezTo>
                    <a:pt x="1384" y="1682"/>
                    <a:pt x="1384" y="1682"/>
                    <a:pt x="1384" y="1682"/>
                  </a:cubicBezTo>
                  <a:cubicBezTo>
                    <a:pt x="1389" y="1702"/>
                    <a:pt x="1389" y="1702"/>
                    <a:pt x="1389" y="1702"/>
                  </a:cubicBezTo>
                  <a:cubicBezTo>
                    <a:pt x="1400" y="1701"/>
                    <a:pt x="1400" y="1701"/>
                    <a:pt x="1400" y="1701"/>
                  </a:cubicBezTo>
                  <a:cubicBezTo>
                    <a:pt x="1400" y="1701"/>
                    <a:pt x="1400" y="1713"/>
                    <a:pt x="1403" y="1713"/>
                  </a:cubicBezTo>
                  <a:cubicBezTo>
                    <a:pt x="1406" y="1713"/>
                    <a:pt x="1425" y="1712"/>
                    <a:pt x="1425" y="1712"/>
                  </a:cubicBezTo>
                  <a:cubicBezTo>
                    <a:pt x="1425" y="1712"/>
                    <a:pt x="1434" y="1694"/>
                    <a:pt x="1444" y="1695"/>
                  </a:cubicBezTo>
                  <a:cubicBezTo>
                    <a:pt x="1454" y="1696"/>
                    <a:pt x="1449" y="1714"/>
                    <a:pt x="1449" y="1714"/>
                  </a:cubicBezTo>
                  <a:cubicBezTo>
                    <a:pt x="1451" y="1727"/>
                    <a:pt x="1451" y="1727"/>
                    <a:pt x="1451" y="1727"/>
                  </a:cubicBezTo>
                  <a:cubicBezTo>
                    <a:pt x="1480" y="1729"/>
                    <a:pt x="1480" y="1729"/>
                    <a:pt x="1480" y="1729"/>
                  </a:cubicBezTo>
                  <a:cubicBezTo>
                    <a:pt x="1480" y="1704"/>
                    <a:pt x="1480" y="1704"/>
                    <a:pt x="1480" y="1704"/>
                  </a:cubicBezTo>
                  <a:cubicBezTo>
                    <a:pt x="1480" y="1704"/>
                    <a:pt x="1462" y="1692"/>
                    <a:pt x="1461" y="1679"/>
                  </a:cubicBezTo>
                  <a:cubicBezTo>
                    <a:pt x="1460" y="1666"/>
                    <a:pt x="1468" y="1657"/>
                    <a:pt x="1468" y="1657"/>
                  </a:cubicBezTo>
                  <a:cubicBezTo>
                    <a:pt x="1492" y="1659"/>
                    <a:pt x="1492" y="1659"/>
                    <a:pt x="1492" y="1659"/>
                  </a:cubicBezTo>
                  <a:cubicBezTo>
                    <a:pt x="1492" y="1653"/>
                    <a:pt x="1493" y="1646"/>
                    <a:pt x="1495" y="1642"/>
                  </a:cubicBezTo>
                  <a:cubicBezTo>
                    <a:pt x="1499" y="1634"/>
                    <a:pt x="1518" y="1657"/>
                    <a:pt x="1524" y="1657"/>
                  </a:cubicBezTo>
                  <a:cubicBezTo>
                    <a:pt x="1530" y="1657"/>
                    <a:pt x="1539" y="1641"/>
                    <a:pt x="1539" y="1641"/>
                  </a:cubicBezTo>
                  <a:cubicBezTo>
                    <a:pt x="1550" y="1653"/>
                    <a:pt x="1550" y="1653"/>
                    <a:pt x="1550" y="1653"/>
                  </a:cubicBezTo>
                  <a:cubicBezTo>
                    <a:pt x="1549" y="1640"/>
                    <a:pt x="1549" y="1640"/>
                    <a:pt x="1549" y="1640"/>
                  </a:cubicBezTo>
                  <a:cubicBezTo>
                    <a:pt x="1554" y="1639"/>
                    <a:pt x="1554" y="1639"/>
                    <a:pt x="1554" y="1639"/>
                  </a:cubicBezTo>
                  <a:cubicBezTo>
                    <a:pt x="1563" y="1652"/>
                    <a:pt x="1563" y="1652"/>
                    <a:pt x="1563" y="1652"/>
                  </a:cubicBezTo>
                  <a:cubicBezTo>
                    <a:pt x="1563" y="1652"/>
                    <a:pt x="1562" y="1657"/>
                    <a:pt x="1575" y="1656"/>
                  </a:cubicBezTo>
                  <a:cubicBezTo>
                    <a:pt x="1588" y="1655"/>
                    <a:pt x="1571" y="1639"/>
                    <a:pt x="1571" y="1639"/>
                  </a:cubicBezTo>
                  <a:cubicBezTo>
                    <a:pt x="1582" y="1639"/>
                    <a:pt x="1582" y="1639"/>
                    <a:pt x="1582" y="1639"/>
                  </a:cubicBezTo>
                  <a:cubicBezTo>
                    <a:pt x="1586" y="1646"/>
                    <a:pt x="1586" y="1646"/>
                    <a:pt x="1586" y="1646"/>
                  </a:cubicBezTo>
                  <a:cubicBezTo>
                    <a:pt x="1586" y="1646"/>
                    <a:pt x="1594" y="1642"/>
                    <a:pt x="1601" y="1640"/>
                  </a:cubicBezTo>
                  <a:cubicBezTo>
                    <a:pt x="1608" y="1638"/>
                    <a:pt x="1602" y="1624"/>
                    <a:pt x="1606" y="1619"/>
                  </a:cubicBezTo>
                  <a:cubicBezTo>
                    <a:pt x="1610" y="1614"/>
                    <a:pt x="1625" y="1610"/>
                    <a:pt x="1625" y="1610"/>
                  </a:cubicBezTo>
                  <a:cubicBezTo>
                    <a:pt x="1647" y="1632"/>
                    <a:pt x="1647" y="1632"/>
                    <a:pt x="1647" y="1632"/>
                  </a:cubicBezTo>
                  <a:cubicBezTo>
                    <a:pt x="1668" y="1627"/>
                    <a:pt x="1668" y="1627"/>
                    <a:pt x="1668" y="1627"/>
                  </a:cubicBezTo>
                  <a:cubicBezTo>
                    <a:pt x="1673" y="1635"/>
                    <a:pt x="1673" y="1635"/>
                    <a:pt x="1673" y="1635"/>
                  </a:cubicBezTo>
                  <a:cubicBezTo>
                    <a:pt x="1673" y="1635"/>
                    <a:pt x="1693" y="1634"/>
                    <a:pt x="1698" y="1642"/>
                  </a:cubicBezTo>
                  <a:cubicBezTo>
                    <a:pt x="1703" y="1650"/>
                    <a:pt x="1687" y="1657"/>
                    <a:pt x="1687" y="1657"/>
                  </a:cubicBezTo>
                  <a:cubicBezTo>
                    <a:pt x="1691" y="1667"/>
                    <a:pt x="1691" y="1667"/>
                    <a:pt x="1691" y="1667"/>
                  </a:cubicBezTo>
                  <a:cubicBezTo>
                    <a:pt x="1698" y="1671"/>
                    <a:pt x="1698" y="1671"/>
                    <a:pt x="1698" y="1671"/>
                  </a:cubicBezTo>
                  <a:cubicBezTo>
                    <a:pt x="1698" y="1684"/>
                    <a:pt x="1698" y="1684"/>
                    <a:pt x="1698" y="1684"/>
                  </a:cubicBezTo>
                  <a:cubicBezTo>
                    <a:pt x="1709" y="1685"/>
                    <a:pt x="1709" y="1685"/>
                    <a:pt x="1709" y="1685"/>
                  </a:cubicBezTo>
                  <a:cubicBezTo>
                    <a:pt x="1709" y="1685"/>
                    <a:pt x="1713" y="1690"/>
                    <a:pt x="1720" y="1697"/>
                  </a:cubicBezTo>
                  <a:cubicBezTo>
                    <a:pt x="1727" y="1704"/>
                    <a:pt x="1740" y="1701"/>
                    <a:pt x="1748" y="1702"/>
                  </a:cubicBezTo>
                  <a:cubicBezTo>
                    <a:pt x="1752" y="1702"/>
                    <a:pt x="1755" y="1704"/>
                    <a:pt x="1757" y="1705"/>
                  </a:cubicBezTo>
                  <a:cubicBezTo>
                    <a:pt x="1786" y="1686"/>
                    <a:pt x="1786" y="1686"/>
                    <a:pt x="1786" y="1686"/>
                  </a:cubicBezTo>
                  <a:cubicBezTo>
                    <a:pt x="1798" y="1694"/>
                    <a:pt x="1798" y="1694"/>
                    <a:pt x="1798" y="1694"/>
                  </a:cubicBezTo>
                  <a:cubicBezTo>
                    <a:pt x="1798" y="1694"/>
                    <a:pt x="1843" y="1694"/>
                    <a:pt x="1849" y="1705"/>
                  </a:cubicBezTo>
                  <a:cubicBezTo>
                    <a:pt x="1854" y="1717"/>
                    <a:pt x="1839" y="1739"/>
                    <a:pt x="1846" y="1750"/>
                  </a:cubicBezTo>
                  <a:cubicBezTo>
                    <a:pt x="1854" y="1761"/>
                    <a:pt x="1875" y="1776"/>
                    <a:pt x="1875" y="1776"/>
                  </a:cubicBezTo>
                  <a:cubicBezTo>
                    <a:pt x="1889" y="1774"/>
                    <a:pt x="1889" y="1774"/>
                    <a:pt x="1889" y="1774"/>
                  </a:cubicBezTo>
                  <a:cubicBezTo>
                    <a:pt x="1889" y="1762"/>
                    <a:pt x="1889" y="1762"/>
                    <a:pt x="1889" y="1762"/>
                  </a:cubicBezTo>
                  <a:cubicBezTo>
                    <a:pt x="1889" y="1762"/>
                    <a:pt x="1880" y="1730"/>
                    <a:pt x="1892" y="1713"/>
                  </a:cubicBezTo>
                  <a:cubicBezTo>
                    <a:pt x="1904" y="1697"/>
                    <a:pt x="1931" y="1699"/>
                    <a:pt x="1945" y="1696"/>
                  </a:cubicBezTo>
                  <a:cubicBezTo>
                    <a:pt x="1958" y="1693"/>
                    <a:pt x="2001" y="1684"/>
                    <a:pt x="2001" y="1674"/>
                  </a:cubicBezTo>
                  <a:cubicBezTo>
                    <a:pt x="2002" y="1664"/>
                    <a:pt x="2002" y="1634"/>
                    <a:pt x="2011" y="1632"/>
                  </a:cubicBezTo>
                  <a:cubicBezTo>
                    <a:pt x="2020" y="1630"/>
                    <a:pt x="2027" y="1664"/>
                    <a:pt x="2036" y="1660"/>
                  </a:cubicBezTo>
                  <a:cubicBezTo>
                    <a:pt x="2046" y="1657"/>
                    <a:pt x="2066" y="1626"/>
                    <a:pt x="2066" y="1626"/>
                  </a:cubicBezTo>
                  <a:cubicBezTo>
                    <a:pt x="2077" y="1636"/>
                    <a:pt x="2077" y="1636"/>
                    <a:pt x="2077" y="1636"/>
                  </a:cubicBezTo>
                  <a:cubicBezTo>
                    <a:pt x="2099" y="1629"/>
                    <a:pt x="2099" y="1629"/>
                    <a:pt x="2099" y="1629"/>
                  </a:cubicBezTo>
                  <a:cubicBezTo>
                    <a:pt x="2099" y="1629"/>
                    <a:pt x="2124" y="1636"/>
                    <a:pt x="2136" y="1629"/>
                  </a:cubicBezTo>
                  <a:cubicBezTo>
                    <a:pt x="2149" y="1622"/>
                    <a:pt x="2154" y="1619"/>
                    <a:pt x="2161" y="1614"/>
                  </a:cubicBezTo>
                  <a:cubicBezTo>
                    <a:pt x="2167" y="1609"/>
                    <a:pt x="2196" y="1584"/>
                    <a:pt x="2201" y="1574"/>
                  </a:cubicBezTo>
                  <a:cubicBezTo>
                    <a:pt x="2205" y="1564"/>
                    <a:pt x="2192" y="1544"/>
                    <a:pt x="2192" y="1544"/>
                  </a:cubicBezTo>
                  <a:cubicBezTo>
                    <a:pt x="2205" y="1544"/>
                    <a:pt x="2205" y="1544"/>
                    <a:pt x="2205" y="1544"/>
                  </a:cubicBezTo>
                  <a:cubicBezTo>
                    <a:pt x="2211" y="1524"/>
                    <a:pt x="2211" y="1524"/>
                    <a:pt x="2211" y="1524"/>
                  </a:cubicBezTo>
                  <a:cubicBezTo>
                    <a:pt x="2226" y="1525"/>
                    <a:pt x="2226" y="1525"/>
                    <a:pt x="2226" y="1525"/>
                  </a:cubicBezTo>
                  <a:cubicBezTo>
                    <a:pt x="2233" y="1500"/>
                    <a:pt x="2233" y="1500"/>
                    <a:pt x="2233" y="1500"/>
                  </a:cubicBezTo>
                  <a:cubicBezTo>
                    <a:pt x="2241" y="1500"/>
                    <a:pt x="2241" y="1500"/>
                    <a:pt x="2241" y="1500"/>
                  </a:cubicBezTo>
                  <a:cubicBezTo>
                    <a:pt x="2245" y="1473"/>
                    <a:pt x="2245" y="1473"/>
                    <a:pt x="2245" y="1473"/>
                  </a:cubicBezTo>
                  <a:cubicBezTo>
                    <a:pt x="2245" y="1473"/>
                    <a:pt x="2259" y="1478"/>
                    <a:pt x="2259" y="1456"/>
                  </a:cubicBezTo>
                  <a:cubicBezTo>
                    <a:pt x="2259" y="1434"/>
                    <a:pt x="2246" y="1437"/>
                    <a:pt x="2251" y="1429"/>
                  </a:cubicBezTo>
                  <a:cubicBezTo>
                    <a:pt x="2255" y="1420"/>
                    <a:pt x="2274" y="1423"/>
                    <a:pt x="2274" y="1405"/>
                  </a:cubicBezTo>
                  <a:cubicBezTo>
                    <a:pt x="2275" y="1388"/>
                    <a:pt x="2263" y="1388"/>
                    <a:pt x="2264" y="1381"/>
                  </a:cubicBezTo>
                  <a:cubicBezTo>
                    <a:pt x="2264" y="1373"/>
                    <a:pt x="2275" y="1370"/>
                    <a:pt x="2275" y="1370"/>
                  </a:cubicBezTo>
                  <a:cubicBezTo>
                    <a:pt x="2276" y="1344"/>
                    <a:pt x="2276" y="1344"/>
                    <a:pt x="2276" y="1344"/>
                  </a:cubicBezTo>
                  <a:cubicBezTo>
                    <a:pt x="2276" y="1344"/>
                    <a:pt x="2303" y="1336"/>
                    <a:pt x="2310" y="1320"/>
                  </a:cubicBezTo>
                  <a:cubicBezTo>
                    <a:pt x="2317" y="1304"/>
                    <a:pt x="2300" y="1303"/>
                    <a:pt x="2300" y="1303"/>
                  </a:cubicBezTo>
                  <a:cubicBezTo>
                    <a:pt x="2300" y="1303"/>
                    <a:pt x="2332" y="1298"/>
                    <a:pt x="2332" y="1289"/>
                  </a:cubicBezTo>
                  <a:cubicBezTo>
                    <a:pt x="2333" y="1280"/>
                    <a:pt x="2314" y="1275"/>
                    <a:pt x="2314" y="1275"/>
                  </a:cubicBezTo>
                  <a:cubicBezTo>
                    <a:pt x="2314" y="1275"/>
                    <a:pt x="2352" y="1241"/>
                    <a:pt x="2335" y="1231"/>
                  </a:cubicBezTo>
                  <a:cubicBezTo>
                    <a:pt x="2318" y="1222"/>
                    <a:pt x="2238" y="1244"/>
                    <a:pt x="2238" y="1244"/>
                  </a:cubicBezTo>
                  <a:cubicBezTo>
                    <a:pt x="2228" y="1233"/>
                    <a:pt x="2228" y="1233"/>
                    <a:pt x="2228" y="1233"/>
                  </a:cubicBezTo>
                  <a:cubicBezTo>
                    <a:pt x="2253" y="1232"/>
                    <a:pt x="2253" y="1232"/>
                    <a:pt x="2253" y="1232"/>
                  </a:cubicBezTo>
                  <a:cubicBezTo>
                    <a:pt x="2253" y="1232"/>
                    <a:pt x="2253" y="1217"/>
                    <a:pt x="2263" y="1213"/>
                  </a:cubicBezTo>
                  <a:cubicBezTo>
                    <a:pt x="2273" y="1209"/>
                    <a:pt x="2292" y="1207"/>
                    <a:pt x="2292" y="1207"/>
                  </a:cubicBezTo>
                  <a:cubicBezTo>
                    <a:pt x="2292" y="1207"/>
                    <a:pt x="2279" y="1183"/>
                    <a:pt x="2275" y="1182"/>
                  </a:cubicBezTo>
                  <a:cubicBezTo>
                    <a:pt x="2271" y="1181"/>
                    <a:pt x="2248" y="1175"/>
                    <a:pt x="2248" y="1175"/>
                  </a:cubicBezTo>
                  <a:cubicBezTo>
                    <a:pt x="2240" y="1164"/>
                    <a:pt x="2240" y="1164"/>
                    <a:pt x="2240" y="1164"/>
                  </a:cubicBezTo>
                  <a:cubicBezTo>
                    <a:pt x="2231" y="1165"/>
                    <a:pt x="2231" y="1165"/>
                    <a:pt x="2231" y="1165"/>
                  </a:cubicBezTo>
                  <a:cubicBezTo>
                    <a:pt x="2231" y="1165"/>
                    <a:pt x="2222" y="1153"/>
                    <a:pt x="2215" y="1152"/>
                  </a:cubicBezTo>
                  <a:cubicBezTo>
                    <a:pt x="2208" y="1151"/>
                    <a:pt x="2190" y="1157"/>
                    <a:pt x="2190" y="1157"/>
                  </a:cubicBezTo>
                  <a:cubicBezTo>
                    <a:pt x="2167" y="1126"/>
                    <a:pt x="2167" y="1126"/>
                    <a:pt x="2167" y="1126"/>
                  </a:cubicBezTo>
                  <a:cubicBezTo>
                    <a:pt x="2167" y="1126"/>
                    <a:pt x="2188" y="1147"/>
                    <a:pt x="2194" y="1145"/>
                  </a:cubicBezTo>
                  <a:cubicBezTo>
                    <a:pt x="2200" y="1143"/>
                    <a:pt x="2207" y="1139"/>
                    <a:pt x="2207" y="1139"/>
                  </a:cubicBezTo>
                  <a:cubicBezTo>
                    <a:pt x="2226" y="1144"/>
                    <a:pt x="2226" y="1144"/>
                    <a:pt x="2226" y="1144"/>
                  </a:cubicBezTo>
                  <a:cubicBezTo>
                    <a:pt x="2236" y="1155"/>
                    <a:pt x="2236" y="1155"/>
                    <a:pt x="2236" y="1155"/>
                  </a:cubicBezTo>
                  <a:cubicBezTo>
                    <a:pt x="2245" y="1151"/>
                    <a:pt x="2245" y="1151"/>
                    <a:pt x="2245" y="1151"/>
                  </a:cubicBezTo>
                  <a:cubicBezTo>
                    <a:pt x="2276" y="1161"/>
                    <a:pt x="2276" y="1161"/>
                    <a:pt x="2276" y="1161"/>
                  </a:cubicBezTo>
                  <a:cubicBezTo>
                    <a:pt x="2263" y="1144"/>
                    <a:pt x="2263" y="1144"/>
                    <a:pt x="2263" y="1144"/>
                  </a:cubicBezTo>
                  <a:cubicBezTo>
                    <a:pt x="2252" y="1142"/>
                    <a:pt x="2252" y="1142"/>
                    <a:pt x="2252" y="1142"/>
                  </a:cubicBezTo>
                  <a:cubicBezTo>
                    <a:pt x="2252" y="1142"/>
                    <a:pt x="2251" y="1120"/>
                    <a:pt x="2243" y="1119"/>
                  </a:cubicBezTo>
                  <a:cubicBezTo>
                    <a:pt x="2235" y="1118"/>
                    <a:pt x="2223" y="1115"/>
                    <a:pt x="2218" y="1111"/>
                  </a:cubicBezTo>
                  <a:cubicBezTo>
                    <a:pt x="2213" y="1107"/>
                    <a:pt x="2211" y="1088"/>
                    <a:pt x="2211" y="1088"/>
                  </a:cubicBezTo>
                  <a:cubicBezTo>
                    <a:pt x="2157" y="1022"/>
                    <a:pt x="2157" y="1022"/>
                    <a:pt x="2157" y="1022"/>
                  </a:cubicBezTo>
                  <a:cubicBezTo>
                    <a:pt x="2135" y="1016"/>
                    <a:pt x="2135" y="1016"/>
                    <a:pt x="2135" y="1016"/>
                  </a:cubicBezTo>
                  <a:cubicBezTo>
                    <a:pt x="2112" y="998"/>
                    <a:pt x="2112" y="998"/>
                    <a:pt x="2112" y="998"/>
                  </a:cubicBezTo>
                  <a:cubicBezTo>
                    <a:pt x="2097" y="1000"/>
                    <a:pt x="2097" y="1000"/>
                    <a:pt x="2097" y="1000"/>
                  </a:cubicBezTo>
                  <a:cubicBezTo>
                    <a:pt x="2097" y="1000"/>
                    <a:pt x="2084" y="975"/>
                    <a:pt x="2090" y="971"/>
                  </a:cubicBezTo>
                  <a:cubicBezTo>
                    <a:pt x="2096" y="967"/>
                    <a:pt x="2114" y="955"/>
                    <a:pt x="2114" y="946"/>
                  </a:cubicBezTo>
                  <a:cubicBezTo>
                    <a:pt x="2114" y="937"/>
                    <a:pt x="2107" y="919"/>
                    <a:pt x="2107" y="919"/>
                  </a:cubicBezTo>
                  <a:cubicBezTo>
                    <a:pt x="2107" y="919"/>
                    <a:pt x="2124" y="936"/>
                    <a:pt x="2132" y="930"/>
                  </a:cubicBezTo>
                  <a:cubicBezTo>
                    <a:pt x="2140" y="924"/>
                    <a:pt x="2131" y="897"/>
                    <a:pt x="2131" y="897"/>
                  </a:cubicBezTo>
                  <a:cubicBezTo>
                    <a:pt x="2146" y="898"/>
                    <a:pt x="2146" y="898"/>
                    <a:pt x="2146" y="898"/>
                  </a:cubicBezTo>
                  <a:cubicBezTo>
                    <a:pt x="2171" y="879"/>
                    <a:pt x="2171" y="879"/>
                    <a:pt x="2171" y="879"/>
                  </a:cubicBezTo>
                  <a:cubicBezTo>
                    <a:pt x="2171" y="879"/>
                    <a:pt x="2191" y="885"/>
                    <a:pt x="2196" y="884"/>
                  </a:cubicBezTo>
                  <a:cubicBezTo>
                    <a:pt x="2201" y="883"/>
                    <a:pt x="2192" y="869"/>
                    <a:pt x="2192" y="869"/>
                  </a:cubicBezTo>
                  <a:cubicBezTo>
                    <a:pt x="2196" y="853"/>
                    <a:pt x="2196" y="853"/>
                    <a:pt x="2196" y="853"/>
                  </a:cubicBezTo>
                  <a:cubicBezTo>
                    <a:pt x="2174" y="853"/>
                    <a:pt x="2174" y="853"/>
                    <a:pt x="2174" y="853"/>
                  </a:cubicBezTo>
                  <a:cubicBezTo>
                    <a:pt x="2166" y="846"/>
                    <a:pt x="2166" y="846"/>
                    <a:pt x="2166" y="846"/>
                  </a:cubicBezTo>
                  <a:cubicBezTo>
                    <a:pt x="2161" y="854"/>
                    <a:pt x="2161" y="854"/>
                    <a:pt x="2161" y="854"/>
                  </a:cubicBezTo>
                  <a:cubicBezTo>
                    <a:pt x="2140" y="851"/>
                    <a:pt x="2140" y="851"/>
                    <a:pt x="2140" y="851"/>
                  </a:cubicBezTo>
                  <a:cubicBezTo>
                    <a:pt x="2140" y="851"/>
                    <a:pt x="2124" y="833"/>
                    <a:pt x="2111" y="833"/>
                  </a:cubicBezTo>
                  <a:cubicBezTo>
                    <a:pt x="2098" y="833"/>
                    <a:pt x="2080" y="856"/>
                    <a:pt x="2079" y="861"/>
                  </a:cubicBezTo>
                  <a:cubicBezTo>
                    <a:pt x="2078" y="866"/>
                    <a:pt x="2074" y="875"/>
                    <a:pt x="2064" y="873"/>
                  </a:cubicBezTo>
                  <a:cubicBezTo>
                    <a:pt x="2054" y="871"/>
                    <a:pt x="2032" y="865"/>
                    <a:pt x="2030" y="851"/>
                  </a:cubicBezTo>
                  <a:cubicBezTo>
                    <a:pt x="2028" y="837"/>
                    <a:pt x="2020" y="820"/>
                    <a:pt x="2014" y="816"/>
                  </a:cubicBezTo>
                  <a:cubicBezTo>
                    <a:pt x="2008" y="812"/>
                    <a:pt x="2004" y="819"/>
                    <a:pt x="2004" y="819"/>
                  </a:cubicBezTo>
                  <a:cubicBezTo>
                    <a:pt x="2004" y="828"/>
                    <a:pt x="2004" y="828"/>
                    <a:pt x="2004" y="828"/>
                  </a:cubicBezTo>
                  <a:cubicBezTo>
                    <a:pt x="1996" y="816"/>
                    <a:pt x="1996" y="816"/>
                    <a:pt x="1996" y="816"/>
                  </a:cubicBezTo>
                  <a:cubicBezTo>
                    <a:pt x="1996" y="816"/>
                    <a:pt x="1968" y="819"/>
                    <a:pt x="1959" y="810"/>
                  </a:cubicBezTo>
                  <a:cubicBezTo>
                    <a:pt x="1950" y="801"/>
                    <a:pt x="1939" y="782"/>
                    <a:pt x="1942" y="776"/>
                  </a:cubicBezTo>
                  <a:cubicBezTo>
                    <a:pt x="1945" y="770"/>
                    <a:pt x="1944" y="760"/>
                    <a:pt x="1944" y="760"/>
                  </a:cubicBezTo>
                  <a:cubicBezTo>
                    <a:pt x="1955" y="759"/>
                    <a:pt x="1955" y="759"/>
                    <a:pt x="1955" y="759"/>
                  </a:cubicBezTo>
                  <a:cubicBezTo>
                    <a:pt x="1955" y="759"/>
                    <a:pt x="1961" y="768"/>
                    <a:pt x="1965" y="767"/>
                  </a:cubicBezTo>
                  <a:cubicBezTo>
                    <a:pt x="1969" y="766"/>
                    <a:pt x="1975" y="758"/>
                    <a:pt x="1975" y="758"/>
                  </a:cubicBezTo>
                  <a:cubicBezTo>
                    <a:pt x="1975" y="758"/>
                    <a:pt x="1988" y="766"/>
                    <a:pt x="1997" y="758"/>
                  </a:cubicBezTo>
                  <a:cubicBezTo>
                    <a:pt x="2006" y="750"/>
                    <a:pt x="1998" y="742"/>
                    <a:pt x="1998" y="742"/>
                  </a:cubicBezTo>
                  <a:cubicBezTo>
                    <a:pt x="1998" y="742"/>
                    <a:pt x="1997" y="718"/>
                    <a:pt x="2003" y="714"/>
                  </a:cubicBezTo>
                  <a:cubicBezTo>
                    <a:pt x="2009" y="710"/>
                    <a:pt x="2028" y="718"/>
                    <a:pt x="2032" y="707"/>
                  </a:cubicBezTo>
                  <a:cubicBezTo>
                    <a:pt x="2036" y="696"/>
                    <a:pt x="2037" y="683"/>
                    <a:pt x="2037" y="683"/>
                  </a:cubicBezTo>
                  <a:cubicBezTo>
                    <a:pt x="2049" y="676"/>
                    <a:pt x="2049" y="676"/>
                    <a:pt x="2049" y="676"/>
                  </a:cubicBezTo>
                  <a:cubicBezTo>
                    <a:pt x="2043" y="668"/>
                    <a:pt x="2043" y="668"/>
                    <a:pt x="2043" y="668"/>
                  </a:cubicBezTo>
                  <a:cubicBezTo>
                    <a:pt x="2068" y="675"/>
                    <a:pt x="2068" y="675"/>
                    <a:pt x="2068" y="675"/>
                  </a:cubicBezTo>
                  <a:cubicBezTo>
                    <a:pt x="2079" y="665"/>
                    <a:pt x="2079" y="665"/>
                    <a:pt x="2079" y="665"/>
                  </a:cubicBezTo>
                  <a:cubicBezTo>
                    <a:pt x="2079" y="665"/>
                    <a:pt x="2110" y="688"/>
                    <a:pt x="2108" y="702"/>
                  </a:cubicBezTo>
                  <a:cubicBezTo>
                    <a:pt x="2106" y="716"/>
                    <a:pt x="2088" y="719"/>
                    <a:pt x="2087" y="728"/>
                  </a:cubicBezTo>
                  <a:cubicBezTo>
                    <a:pt x="2086" y="737"/>
                    <a:pt x="2091" y="752"/>
                    <a:pt x="2098" y="752"/>
                  </a:cubicBezTo>
                  <a:cubicBezTo>
                    <a:pt x="2105" y="752"/>
                    <a:pt x="2114" y="749"/>
                    <a:pt x="2114" y="749"/>
                  </a:cubicBezTo>
                  <a:cubicBezTo>
                    <a:pt x="2109" y="767"/>
                    <a:pt x="2109" y="767"/>
                    <a:pt x="2109" y="767"/>
                  </a:cubicBezTo>
                  <a:cubicBezTo>
                    <a:pt x="2109" y="767"/>
                    <a:pt x="2090" y="784"/>
                    <a:pt x="2099" y="786"/>
                  </a:cubicBezTo>
                  <a:cubicBezTo>
                    <a:pt x="2108" y="788"/>
                    <a:pt x="2122" y="774"/>
                    <a:pt x="2122" y="774"/>
                  </a:cubicBezTo>
                  <a:cubicBezTo>
                    <a:pt x="2122" y="774"/>
                    <a:pt x="2126" y="775"/>
                    <a:pt x="2131" y="770"/>
                  </a:cubicBezTo>
                  <a:cubicBezTo>
                    <a:pt x="2136" y="765"/>
                    <a:pt x="2135" y="750"/>
                    <a:pt x="2135" y="750"/>
                  </a:cubicBezTo>
                  <a:cubicBezTo>
                    <a:pt x="2135" y="750"/>
                    <a:pt x="2176" y="729"/>
                    <a:pt x="2180" y="726"/>
                  </a:cubicBezTo>
                  <a:cubicBezTo>
                    <a:pt x="2184" y="723"/>
                    <a:pt x="2205" y="725"/>
                    <a:pt x="2205" y="725"/>
                  </a:cubicBezTo>
                  <a:cubicBezTo>
                    <a:pt x="2212" y="714"/>
                    <a:pt x="2212" y="714"/>
                    <a:pt x="2212" y="714"/>
                  </a:cubicBezTo>
                  <a:cubicBezTo>
                    <a:pt x="2210" y="712"/>
                    <a:pt x="2208" y="706"/>
                    <a:pt x="2218" y="698"/>
                  </a:cubicBezTo>
                  <a:cubicBezTo>
                    <a:pt x="2230" y="688"/>
                    <a:pt x="2237" y="687"/>
                    <a:pt x="2252" y="675"/>
                  </a:cubicBezTo>
                  <a:cubicBezTo>
                    <a:pt x="2267" y="663"/>
                    <a:pt x="2262" y="625"/>
                    <a:pt x="2266" y="623"/>
                  </a:cubicBezTo>
                  <a:cubicBezTo>
                    <a:pt x="2270" y="621"/>
                    <a:pt x="2285" y="632"/>
                    <a:pt x="2292" y="637"/>
                  </a:cubicBezTo>
                  <a:cubicBezTo>
                    <a:pt x="2299" y="642"/>
                    <a:pt x="2339" y="641"/>
                    <a:pt x="2339" y="641"/>
                  </a:cubicBezTo>
                  <a:cubicBezTo>
                    <a:pt x="2340" y="631"/>
                    <a:pt x="2340" y="631"/>
                    <a:pt x="2340" y="631"/>
                  </a:cubicBezTo>
                  <a:cubicBezTo>
                    <a:pt x="2340" y="631"/>
                    <a:pt x="2312" y="618"/>
                    <a:pt x="2318" y="610"/>
                  </a:cubicBezTo>
                  <a:cubicBezTo>
                    <a:pt x="2324" y="602"/>
                    <a:pt x="2348" y="618"/>
                    <a:pt x="2358" y="609"/>
                  </a:cubicBezTo>
                  <a:cubicBezTo>
                    <a:pt x="2368" y="600"/>
                    <a:pt x="2358" y="588"/>
                    <a:pt x="2358" y="588"/>
                  </a:cubicBezTo>
                  <a:cubicBezTo>
                    <a:pt x="2358" y="588"/>
                    <a:pt x="2374" y="592"/>
                    <a:pt x="2376" y="587"/>
                  </a:cubicBezTo>
                  <a:cubicBezTo>
                    <a:pt x="2378" y="582"/>
                    <a:pt x="2365" y="560"/>
                    <a:pt x="2365" y="560"/>
                  </a:cubicBezTo>
                  <a:cubicBezTo>
                    <a:pt x="2387" y="560"/>
                    <a:pt x="2387" y="560"/>
                    <a:pt x="2387" y="560"/>
                  </a:cubicBezTo>
                  <a:cubicBezTo>
                    <a:pt x="2397" y="577"/>
                    <a:pt x="2397" y="577"/>
                    <a:pt x="2397" y="577"/>
                  </a:cubicBezTo>
                  <a:cubicBezTo>
                    <a:pt x="2404" y="559"/>
                    <a:pt x="2404" y="559"/>
                    <a:pt x="2404" y="559"/>
                  </a:cubicBezTo>
                  <a:cubicBezTo>
                    <a:pt x="2421" y="563"/>
                    <a:pt x="2421" y="563"/>
                    <a:pt x="2421" y="563"/>
                  </a:cubicBezTo>
                  <a:cubicBezTo>
                    <a:pt x="2420" y="540"/>
                    <a:pt x="2420" y="540"/>
                    <a:pt x="2420" y="540"/>
                  </a:cubicBezTo>
                  <a:cubicBezTo>
                    <a:pt x="2420" y="540"/>
                    <a:pt x="2409" y="529"/>
                    <a:pt x="2407" y="523"/>
                  </a:cubicBezTo>
                  <a:cubicBezTo>
                    <a:pt x="2405" y="517"/>
                    <a:pt x="2401" y="498"/>
                    <a:pt x="2387" y="485"/>
                  </a:cubicBezTo>
                  <a:cubicBezTo>
                    <a:pt x="2373" y="472"/>
                    <a:pt x="2358" y="471"/>
                    <a:pt x="2361" y="461"/>
                  </a:cubicBezTo>
                  <a:cubicBezTo>
                    <a:pt x="2364" y="451"/>
                    <a:pt x="2377" y="460"/>
                    <a:pt x="2379" y="455"/>
                  </a:cubicBezTo>
                  <a:cubicBezTo>
                    <a:pt x="2381" y="450"/>
                    <a:pt x="2369" y="444"/>
                    <a:pt x="2380" y="439"/>
                  </a:cubicBezTo>
                  <a:cubicBezTo>
                    <a:pt x="2391" y="434"/>
                    <a:pt x="2427" y="457"/>
                    <a:pt x="2434" y="451"/>
                  </a:cubicBezTo>
                  <a:cubicBezTo>
                    <a:pt x="2441" y="445"/>
                    <a:pt x="2439" y="444"/>
                    <a:pt x="2434" y="432"/>
                  </a:cubicBezTo>
                  <a:cubicBezTo>
                    <a:pt x="2429" y="420"/>
                    <a:pt x="2441" y="416"/>
                    <a:pt x="2441" y="416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224">
              <a:extLst>
                <a:ext uri="{FF2B5EF4-FFF2-40B4-BE49-F238E27FC236}">
                  <a16:creationId xmlns:a16="http://schemas.microsoft.com/office/drawing/2014/main" id="{C08ED625-5AA7-5A54-8881-0B09448533DF}"/>
                </a:ext>
              </a:extLst>
            </p:cNvPr>
            <p:cNvSpPr>
              <a:spLocks/>
            </p:cNvSpPr>
            <p:nvPr/>
          </p:nvSpPr>
          <p:spPr bwMode="gray">
            <a:xfrm>
              <a:off x="-4923" y="-14605"/>
              <a:ext cx="80" cy="78"/>
            </a:xfrm>
            <a:custGeom>
              <a:avLst/>
              <a:gdLst>
                <a:gd name="T0" fmla="*/ 23 w 34"/>
                <a:gd name="T1" fmla="*/ 33 h 33"/>
                <a:gd name="T2" fmla="*/ 8 w 34"/>
                <a:gd name="T3" fmla="*/ 14 h 33"/>
                <a:gd name="T4" fmla="*/ 23 w 34"/>
                <a:gd name="T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33">
                  <a:moveTo>
                    <a:pt x="23" y="33"/>
                  </a:moveTo>
                  <a:cubicBezTo>
                    <a:pt x="34" y="20"/>
                    <a:pt x="16" y="0"/>
                    <a:pt x="8" y="14"/>
                  </a:cubicBezTo>
                  <a:cubicBezTo>
                    <a:pt x="0" y="28"/>
                    <a:pt x="23" y="33"/>
                    <a:pt x="23" y="33"/>
                  </a:cubicBezTo>
                  <a:close/>
                </a:path>
              </a:pathLst>
            </a:custGeom>
            <a:grpFill/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225">
              <a:extLst>
                <a:ext uri="{FF2B5EF4-FFF2-40B4-BE49-F238E27FC236}">
                  <a16:creationId xmlns:a16="http://schemas.microsoft.com/office/drawing/2014/main" id="{06B6ABD3-A58E-D425-E96B-64D4EDDBEC44}"/>
                </a:ext>
              </a:extLst>
            </p:cNvPr>
            <p:cNvSpPr>
              <a:spLocks/>
            </p:cNvSpPr>
            <p:nvPr/>
          </p:nvSpPr>
          <p:spPr bwMode="gray">
            <a:xfrm>
              <a:off x="-2996" y="-14506"/>
              <a:ext cx="232" cy="142"/>
            </a:xfrm>
            <a:custGeom>
              <a:avLst/>
              <a:gdLst>
                <a:gd name="T0" fmla="*/ 1 w 98"/>
                <a:gd name="T1" fmla="*/ 31 h 60"/>
                <a:gd name="T2" fmla="*/ 36 w 98"/>
                <a:gd name="T3" fmla="*/ 57 h 60"/>
                <a:gd name="T4" fmla="*/ 61 w 98"/>
                <a:gd name="T5" fmla="*/ 38 h 60"/>
                <a:gd name="T6" fmla="*/ 80 w 98"/>
                <a:gd name="T7" fmla="*/ 39 h 60"/>
                <a:gd name="T8" fmla="*/ 77 w 98"/>
                <a:gd name="T9" fmla="*/ 24 h 60"/>
                <a:gd name="T10" fmla="*/ 98 w 98"/>
                <a:gd name="T11" fmla="*/ 0 h 60"/>
                <a:gd name="T12" fmla="*/ 71 w 98"/>
                <a:gd name="T13" fmla="*/ 17 h 60"/>
                <a:gd name="T14" fmla="*/ 38 w 98"/>
                <a:gd name="T15" fmla="*/ 15 h 60"/>
                <a:gd name="T16" fmla="*/ 32 w 98"/>
                <a:gd name="T17" fmla="*/ 26 h 60"/>
                <a:gd name="T18" fmla="*/ 1 w 98"/>
                <a:gd name="T19" fmla="*/ 3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" h="60">
                  <a:moveTo>
                    <a:pt x="1" y="31"/>
                  </a:moveTo>
                  <a:cubicBezTo>
                    <a:pt x="2" y="45"/>
                    <a:pt x="29" y="60"/>
                    <a:pt x="36" y="57"/>
                  </a:cubicBezTo>
                  <a:cubicBezTo>
                    <a:pt x="43" y="54"/>
                    <a:pt x="61" y="38"/>
                    <a:pt x="61" y="38"/>
                  </a:cubicBezTo>
                  <a:cubicBezTo>
                    <a:pt x="61" y="38"/>
                    <a:pt x="77" y="45"/>
                    <a:pt x="80" y="39"/>
                  </a:cubicBezTo>
                  <a:cubicBezTo>
                    <a:pt x="84" y="33"/>
                    <a:pt x="77" y="24"/>
                    <a:pt x="77" y="24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1" y="17"/>
                    <a:pt x="47" y="13"/>
                    <a:pt x="38" y="15"/>
                  </a:cubicBezTo>
                  <a:cubicBezTo>
                    <a:pt x="29" y="17"/>
                    <a:pt x="32" y="26"/>
                    <a:pt x="32" y="26"/>
                  </a:cubicBezTo>
                  <a:cubicBezTo>
                    <a:pt x="32" y="26"/>
                    <a:pt x="0" y="20"/>
                    <a:pt x="1" y="31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226">
              <a:extLst>
                <a:ext uri="{FF2B5EF4-FFF2-40B4-BE49-F238E27FC236}">
                  <a16:creationId xmlns:a16="http://schemas.microsoft.com/office/drawing/2014/main" id="{B7CE65EB-11E4-0ACF-6884-60961D1B0A7A}"/>
                </a:ext>
              </a:extLst>
            </p:cNvPr>
            <p:cNvSpPr>
              <a:spLocks/>
            </p:cNvSpPr>
            <p:nvPr/>
          </p:nvSpPr>
          <p:spPr bwMode="gray">
            <a:xfrm>
              <a:off x="-8252" y="-18248"/>
              <a:ext cx="936" cy="359"/>
            </a:xfrm>
            <a:custGeom>
              <a:avLst/>
              <a:gdLst>
                <a:gd name="T0" fmla="*/ 207 w 396"/>
                <a:gd name="T1" fmla="*/ 144 h 152"/>
                <a:gd name="T2" fmla="*/ 238 w 396"/>
                <a:gd name="T3" fmla="*/ 136 h 152"/>
                <a:gd name="T4" fmla="*/ 262 w 396"/>
                <a:gd name="T5" fmla="*/ 130 h 152"/>
                <a:gd name="T6" fmla="*/ 339 w 396"/>
                <a:gd name="T7" fmla="*/ 105 h 152"/>
                <a:gd name="T8" fmla="*/ 363 w 396"/>
                <a:gd name="T9" fmla="*/ 83 h 152"/>
                <a:gd name="T10" fmla="*/ 373 w 396"/>
                <a:gd name="T11" fmla="*/ 68 h 152"/>
                <a:gd name="T12" fmla="*/ 356 w 396"/>
                <a:gd name="T13" fmla="*/ 50 h 152"/>
                <a:gd name="T14" fmla="*/ 341 w 396"/>
                <a:gd name="T15" fmla="*/ 41 h 152"/>
                <a:gd name="T16" fmla="*/ 342 w 396"/>
                <a:gd name="T17" fmla="*/ 24 h 152"/>
                <a:gd name="T18" fmla="*/ 325 w 396"/>
                <a:gd name="T19" fmla="*/ 17 h 152"/>
                <a:gd name="T20" fmla="*/ 294 w 396"/>
                <a:gd name="T21" fmla="*/ 16 h 152"/>
                <a:gd name="T22" fmla="*/ 262 w 396"/>
                <a:gd name="T23" fmla="*/ 19 h 152"/>
                <a:gd name="T24" fmla="*/ 227 w 396"/>
                <a:gd name="T25" fmla="*/ 19 h 152"/>
                <a:gd name="T26" fmla="*/ 201 w 396"/>
                <a:gd name="T27" fmla="*/ 16 h 152"/>
                <a:gd name="T28" fmla="*/ 182 w 396"/>
                <a:gd name="T29" fmla="*/ 26 h 152"/>
                <a:gd name="T30" fmla="*/ 171 w 396"/>
                <a:gd name="T31" fmla="*/ 39 h 152"/>
                <a:gd name="T32" fmla="*/ 145 w 396"/>
                <a:gd name="T33" fmla="*/ 50 h 152"/>
                <a:gd name="T34" fmla="*/ 112 w 396"/>
                <a:gd name="T35" fmla="*/ 63 h 152"/>
                <a:gd name="T36" fmla="*/ 102 w 396"/>
                <a:gd name="T37" fmla="*/ 40 h 152"/>
                <a:gd name="T38" fmla="*/ 68 w 396"/>
                <a:gd name="T39" fmla="*/ 7 h 152"/>
                <a:gd name="T40" fmla="*/ 43 w 396"/>
                <a:gd name="T41" fmla="*/ 19 h 152"/>
                <a:gd name="T42" fmla="*/ 35 w 396"/>
                <a:gd name="T43" fmla="*/ 37 h 152"/>
                <a:gd name="T44" fmla="*/ 4 w 396"/>
                <a:gd name="T45" fmla="*/ 47 h 152"/>
                <a:gd name="T46" fmla="*/ 55 w 396"/>
                <a:gd name="T47" fmla="*/ 43 h 152"/>
                <a:gd name="T48" fmla="*/ 64 w 396"/>
                <a:gd name="T49" fmla="*/ 61 h 152"/>
                <a:gd name="T50" fmla="*/ 35 w 396"/>
                <a:gd name="T51" fmla="*/ 73 h 152"/>
                <a:gd name="T52" fmla="*/ 38 w 396"/>
                <a:gd name="T53" fmla="*/ 82 h 152"/>
                <a:gd name="T54" fmla="*/ 88 w 396"/>
                <a:gd name="T55" fmla="*/ 91 h 152"/>
                <a:gd name="T56" fmla="*/ 85 w 396"/>
                <a:gd name="T57" fmla="*/ 105 h 152"/>
                <a:gd name="T58" fmla="*/ 41 w 396"/>
                <a:gd name="T59" fmla="*/ 125 h 152"/>
                <a:gd name="T60" fmla="*/ 98 w 396"/>
                <a:gd name="T61" fmla="*/ 123 h 152"/>
                <a:gd name="T62" fmla="*/ 124 w 396"/>
                <a:gd name="T63" fmla="*/ 127 h 152"/>
                <a:gd name="T64" fmla="*/ 172 w 396"/>
                <a:gd name="T65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96" h="152">
                  <a:moveTo>
                    <a:pt x="172" y="150"/>
                  </a:moveTo>
                  <a:cubicBezTo>
                    <a:pt x="200" y="143"/>
                    <a:pt x="200" y="149"/>
                    <a:pt x="207" y="144"/>
                  </a:cubicBezTo>
                  <a:cubicBezTo>
                    <a:pt x="214" y="139"/>
                    <a:pt x="211" y="131"/>
                    <a:pt x="211" y="131"/>
                  </a:cubicBezTo>
                  <a:cubicBezTo>
                    <a:pt x="211" y="131"/>
                    <a:pt x="230" y="139"/>
                    <a:pt x="238" y="136"/>
                  </a:cubicBezTo>
                  <a:cubicBezTo>
                    <a:pt x="246" y="133"/>
                    <a:pt x="246" y="126"/>
                    <a:pt x="246" y="126"/>
                  </a:cubicBezTo>
                  <a:cubicBezTo>
                    <a:pt x="246" y="126"/>
                    <a:pt x="257" y="130"/>
                    <a:pt x="262" y="130"/>
                  </a:cubicBezTo>
                  <a:cubicBezTo>
                    <a:pt x="267" y="130"/>
                    <a:pt x="305" y="107"/>
                    <a:pt x="313" y="106"/>
                  </a:cubicBezTo>
                  <a:cubicBezTo>
                    <a:pt x="321" y="105"/>
                    <a:pt x="332" y="112"/>
                    <a:pt x="339" y="105"/>
                  </a:cubicBezTo>
                  <a:cubicBezTo>
                    <a:pt x="346" y="98"/>
                    <a:pt x="347" y="87"/>
                    <a:pt x="347" y="87"/>
                  </a:cubicBezTo>
                  <a:cubicBezTo>
                    <a:pt x="347" y="87"/>
                    <a:pt x="354" y="87"/>
                    <a:pt x="363" y="83"/>
                  </a:cubicBezTo>
                  <a:cubicBezTo>
                    <a:pt x="372" y="79"/>
                    <a:pt x="383" y="69"/>
                    <a:pt x="383" y="69"/>
                  </a:cubicBezTo>
                  <a:cubicBezTo>
                    <a:pt x="373" y="68"/>
                    <a:pt x="373" y="68"/>
                    <a:pt x="373" y="68"/>
                  </a:cubicBezTo>
                  <a:cubicBezTo>
                    <a:pt x="373" y="68"/>
                    <a:pt x="396" y="57"/>
                    <a:pt x="382" y="50"/>
                  </a:cubicBezTo>
                  <a:cubicBezTo>
                    <a:pt x="368" y="43"/>
                    <a:pt x="356" y="50"/>
                    <a:pt x="356" y="50"/>
                  </a:cubicBezTo>
                  <a:cubicBezTo>
                    <a:pt x="359" y="40"/>
                    <a:pt x="359" y="40"/>
                    <a:pt x="359" y="40"/>
                  </a:cubicBezTo>
                  <a:cubicBezTo>
                    <a:pt x="341" y="41"/>
                    <a:pt x="341" y="41"/>
                    <a:pt x="341" y="41"/>
                  </a:cubicBezTo>
                  <a:cubicBezTo>
                    <a:pt x="351" y="26"/>
                    <a:pt x="351" y="26"/>
                    <a:pt x="351" y="26"/>
                  </a:cubicBezTo>
                  <a:cubicBezTo>
                    <a:pt x="342" y="24"/>
                    <a:pt x="342" y="24"/>
                    <a:pt x="342" y="24"/>
                  </a:cubicBezTo>
                  <a:cubicBezTo>
                    <a:pt x="346" y="12"/>
                    <a:pt x="346" y="12"/>
                    <a:pt x="346" y="12"/>
                  </a:cubicBezTo>
                  <a:cubicBezTo>
                    <a:pt x="325" y="17"/>
                    <a:pt x="325" y="17"/>
                    <a:pt x="325" y="17"/>
                  </a:cubicBezTo>
                  <a:cubicBezTo>
                    <a:pt x="325" y="17"/>
                    <a:pt x="304" y="0"/>
                    <a:pt x="297" y="0"/>
                  </a:cubicBezTo>
                  <a:cubicBezTo>
                    <a:pt x="290" y="0"/>
                    <a:pt x="294" y="16"/>
                    <a:pt x="294" y="16"/>
                  </a:cubicBezTo>
                  <a:cubicBezTo>
                    <a:pt x="280" y="22"/>
                    <a:pt x="280" y="22"/>
                    <a:pt x="280" y="22"/>
                  </a:cubicBezTo>
                  <a:cubicBezTo>
                    <a:pt x="280" y="22"/>
                    <a:pt x="268" y="19"/>
                    <a:pt x="262" y="19"/>
                  </a:cubicBezTo>
                  <a:cubicBezTo>
                    <a:pt x="256" y="19"/>
                    <a:pt x="249" y="29"/>
                    <a:pt x="249" y="29"/>
                  </a:cubicBezTo>
                  <a:cubicBezTo>
                    <a:pt x="249" y="29"/>
                    <a:pt x="233" y="17"/>
                    <a:pt x="227" y="19"/>
                  </a:cubicBezTo>
                  <a:cubicBezTo>
                    <a:pt x="221" y="21"/>
                    <a:pt x="226" y="41"/>
                    <a:pt x="226" y="41"/>
                  </a:cubicBezTo>
                  <a:cubicBezTo>
                    <a:pt x="226" y="41"/>
                    <a:pt x="208" y="16"/>
                    <a:pt x="201" y="16"/>
                  </a:cubicBezTo>
                  <a:cubicBezTo>
                    <a:pt x="194" y="16"/>
                    <a:pt x="198" y="23"/>
                    <a:pt x="198" y="23"/>
                  </a:cubicBezTo>
                  <a:cubicBezTo>
                    <a:pt x="198" y="23"/>
                    <a:pt x="183" y="23"/>
                    <a:pt x="182" y="26"/>
                  </a:cubicBezTo>
                  <a:cubicBezTo>
                    <a:pt x="181" y="29"/>
                    <a:pt x="181" y="38"/>
                    <a:pt x="181" y="38"/>
                  </a:cubicBezTo>
                  <a:cubicBezTo>
                    <a:pt x="171" y="39"/>
                    <a:pt x="171" y="39"/>
                    <a:pt x="171" y="39"/>
                  </a:cubicBezTo>
                  <a:cubicBezTo>
                    <a:pt x="171" y="39"/>
                    <a:pt x="155" y="18"/>
                    <a:pt x="150" y="22"/>
                  </a:cubicBezTo>
                  <a:cubicBezTo>
                    <a:pt x="145" y="26"/>
                    <a:pt x="150" y="49"/>
                    <a:pt x="145" y="50"/>
                  </a:cubicBezTo>
                  <a:cubicBezTo>
                    <a:pt x="140" y="51"/>
                    <a:pt x="133" y="42"/>
                    <a:pt x="129" y="42"/>
                  </a:cubicBezTo>
                  <a:cubicBezTo>
                    <a:pt x="125" y="42"/>
                    <a:pt x="112" y="63"/>
                    <a:pt x="112" y="63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18" y="35"/>
                    <a:pt x="112" y="26"/>
                  </a:cubicBezTo>
                  <a:cubicBezTo>
                    <a:pt x="106" y="17"/>
                    <a:pt x="73" y="3"/>
                    <a:pt x="68" y="7"/>
                  </a:cubicBezTo>
                  <a:cubicBezTo>
                    <a:pt x="63" y="11"/>
                    <a:pt x="69" y="26"/>
                    <a:pt x="69" y="26"/>
                  </a:cubicBezTo>
                  <a:cubicBezTo>
                    <a:pt x="69" y="26"/>
                    <a:pt x="49" y="19"/>
                    <a:pt x="43" y="19"/>
                  </a:cubicBezTo>
                  <a:cubicBezTo>
                    <a:pt x="37" y="19"/>
                    <a:pt x="25" y="31"/>
                    <a:pt x="25" y="31"/>
                  </a:cubicBezTo>
                  <a:cubicBezTo>
                    <a:pt x="35" y="37"/>
                    <a:pt x="35" y="37"/>
                    <a:pt x="35" y="37"/>
                  </a:cubicBezTo>
                  <a:cubicBezTo>
                    <a:pt x="35" y="37"/>
                    <a:pt x="23" y="35"/>
                    <a:pt x="17" y="41"/>
                  </a:cubicBezTo>
                  <a:cubicBezTo>
                    <a:pt x="11" y="47"/>
                    <a:pt x="4" y="47"/>
                    <a:pt x="4" y="47"/>
                  </a:cubicBezTo>
                  <a:cubicBezTo>
                    <a:pt x="4" y="47"/>
                    <a:pt x="12" y="54"/>
                    <a:pt x="20" y="54"/>
                  </a:cubicBezTo>
                  <a:cubicBezTo>
                    <a:pt x="28" y="54"/>
                    <a:pt x="55" y="43"/>
                    <a:pt x="55" y="43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4" y="61"/>
                    <a:pt x="84" y="64"/>
                    <a:pt x="84" y="68"/>
                  </a:cubicBezTo>
                  <a:cubicBezTo>
                    <a:pt x="84" y="72"/>
                    <a:pt x="39" y="72"/>
                    <a:pt x="35" y="73"/>
                  </a:cubicBezTo>
                  <a:cubicBezTo>
                    <a:pt x="31" y="74"/>
                    <a:pt x="0" y="72"/>
                    <a:pt x="6" y="79"/>
                  </a:cubicBezTo>
                  <a:cubicBezTo>
                    <a:pt x="12" y="86"/>
                    <a:pt x="25" y="81"/>
                    <a:pt x="38" y="82"/>
                  </a:cubicBezTo>
                  <a:cubicBezTo>
                    <a:pt x="51" y="83"/>
                    <a:pt x="65" y="95"/>
                    <a:pt x="65" y="95"/>
                  </a:cubicBezTo>
                  <a:cubicBezTo>
                    <a:pt x="88" y="91"/>
                    <a:pt x="88" y="91"/>
                    <a:pt x="88" y="91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85" y="105"/>
                    <a:pt x="85" y="105"/>
                    <a:pt x="85" y="105"/>
                  </a:cubicBezTo>
                  <a:cubicBezTo>
                    <a:pt x="85" y="105"/>
                    <a:pt x="82" y="114"/>
                    <a:pt x="75" y="118"/>
                  </a:cubicBezTo>
                  <a:cubicBezTo>
                    <a:pt x="68" y="122"/>
                    <a:pt x="35" y="116"/>
                    <a:pt x="41" y="125"/>
                  </a:cubicBezTo>
                  <a:cubicBezTo>
                    <a:pt x="47" y="134"/>
                    <a:pt x="75" y="130"/>
                    <a:pt x="82" y="130"/>
                  </a:cubicBezTo>
                  <a:cubicBezTo>
                    <a:pt x="89" y="130"/>
                    <a:pt x="98" y="123"/>
                    <a:pt x="98" y="123"/>
                  </a:cubicBezTo>
                  <a:cubicBezTo>
                    <a:pt x="116" y="134"/>
                    <a:pt x="116" y="134"/>
                    <a:pt x="116" y="134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4" y="127"/>
                    <a:pt x="121" y="133"/>
                    <a:pt x="131" y="138"/>
                  </a:cubicBezTo>
                  <a:cubicBezTo>
                    <a:pt x="141" y="143"/>
                    <a:pt x="164" y="152"/>
                    <a:pt x="172" y="150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227">
              <a:extLst>
                <a:ext uri="{FF2B5EF4-FFF2-40B4-BE49-F238E27FC236}">
                  <a16:creationId xmlns:a16="http://schemas.microsoft.com/office/drawing/2014/main" id="{54AC016D-716B-FBC6-9246-9F12970DD434}"/>
                </a:ext>
              </a:extLst>
            </p:cNvPr>
            <p:cNvSpPr>
              <a:spLocks/>
            </p:cNvSpPr>
            <p:nvPr/>
          </p:nvSpPr>
          <p:spPr bwMode="gray">
            <a:xfrm>
              <a:off x="-794" y="-13358"/>
              <a:ext cx="529" cy="508"/>
            </a:xfrm>
            <a:custGeom>
              <a:avLst/>
              <a:gdLst>
                <a:gd name="T0" fmla="*/ 198 w 224"/>
                <a:gd name="T1" fmla="*/ 84 h 215"/>
                <a:gd name="T2" fmla="*/ 208 w 224"/>
                <a:gd name="T3" fmla="*/ 97 h 215"/>
                <a:gd name="T4" fmla="*/ 224 w 224"/>
                <a:gd name="T5" fmla="*/ 91 h 215"/>
                <a:gd name="T6" fmla="*/ 214 w 224"/>
                <a:gd name="T7" fmla="*/ 51 h 215"/>
                <a:gd name="T8" fmla="*/ 215 w 224"/>
                <a:gd name="T9" fmla="*/ 3 h 215"/>
                <a:gd name="T10" fmla="*/ 186 w 224"/>
                <a:gd name="T11" fmla="*/ 51 h 215"/>
                <a:gd name="T12" fmla="*/ 166 w 224"/>
                <a:gd name="T13" fmla="*/ 61 h 215"/>
                <a:gd name="T14" fmla="*/ 131 w 224"/>
                <a:gd name="T15" fmla="*/ 102 h 215"/>
                <a:gd name="T16" fmla="*/ 122 w 224"/>
                <a:gd name="T17" fmla="*/ 131 h 215"/>
                <a:gd name="T18" fmla="*/ 62 w 224"/>
                <a:gd name="T19" fmla="*/ 127 h 215"/>
                <a:gd name="T20" fmla="*/ 16 w 224"/>
                <a:gd name="T21" fmla="*/ 140 h 215"/>
                <a:gd name="T22" fmla="*/ 1 w 224"/>
                <a:gd name="T23" fmla="*/ 127 h 215"/>
                <a:gd name="T24" fmla="*/ 5 w 224"/>
                <a:gd name="T25" fmla="*/ 145 h 215"/>
                <a:gd name="T26" fmla="*/ 52 w 224"/>
                <a:gd name="T27" fmla="*/ 200 h 215"/>
                <a:gd name="T28" fmla="*/ 177 w 224"/>
                <a:gd name="T29" fmla="*/ 215 h 215"/>
                <a:gd name="T30" fmla="*/ 168 w 224"/>
                <a:gd name="T31" fmla="*/ 192 h 215"/>
                <a:gd name="T32" fmla="*/ 181 w 224"/>
                <a:gd name="T33" fmla="*/ 163 h 215"/>
                <a:gd name="T34" fmla="*/ 189 w 224"/>
                <a:gd name="T35" fmla="*/ 136 h 215"/>
                <a:gd name="T36" fmla="*/ 201 w 224"/>
                <a:gd name="T37" fmla="*/ 135 h 215"/>
                <a:gd name="T38" fmla="*/ 191 w 224"/>
                <a:gd name="T39" fmla="*/ 118 h 215"/>
                <a:gd name="T40" fmla="*/ 198 w 224"/>
                <a:gd name="T41" fmla="*/ 84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4" h="215">
                  <a:moveTo>
                    <a:pt x="198" y="84"/>
                  </a:moveTo>
                  <a:cubicBezTo>
                    <a:pt x="202" y="84"/>
                    <a:pt x="208" y="97"/>
                    <a:pt x="208" y="97"/>
                  </a:cubicBezTo>
                  <a:cubicBezTo>
                    <a:pt x="224" y="91"/>
                    <a:pt x="224" y="91"/>
                    <a:pt x="224" y="91"/>
                  </a:cubicBezTo>
                  <a:cubicBezTo>
                    <a:pt x="219" y="78"/>
                    <a:pt x="212" y="63"/>
                    <a:pt x="214" y="51"/>
                  </a:cubicBezTo>
                  <a:cubicBezTo>
                    <a:pt x="217" y="34"/>
                    <a:pt x="222" y="6"/>
                    <a:pt x="215" y="3"/>
                  </a:cubicBezTo>
                  <a:cubicBezTo>
                    <a:pt x="207" y="0"/>
                    <a:pt x="186" y="51"/>
                    <a:pt x="186" y="51"/>
                  </a:cubicBezTo>
                  <a:cubicBezTo>
                    <a:pt x="186" y="51"/>
                    <a:pt x="172" y="53"/>
                    <a:pt x="166" y="61"/>
                  </a:cubicBezTo>
                  <a:cubicBezTo>
                    <a:pt x="161" y="70"/>
                    <a:pt x="131" y="102"/>
                    <a:pt x="131" y="102"/>
                  </a:cubicBezTo>
                  <a:cubicBezTo>
                    <a:pt x="131" y="102"/>
                    <a:pt x="131" y="130"/>
                    <a:pt x="122" y="131"/>
                  </a:cubicBezTo>
                  <a:cubicBezTo>
                    <a:pt x="113" y="132"/>
                    <a:pt x="69" y="127"/>
                    <a:pt x="62" y="127"/>
                  </a:cubicBezTo>
                  <a:cubicBezTo>
                    <a:pt x="56" y="127"/>
                    <a:pt x="25" y="144"/>
                    <a:pt x="16" y="140"/>
                  </a:cubicBezTo>
                  <a:cubicBezTo>
                    <a:pt x="11" y="138"/>
                    <a:pt x="5" y="132"/>
                    <a:pt x="1" y="127"/>
                  </a:cubicBezTo>
                  <a:cubicBezTo>
                    <a:pt x="0" y="132"/>
                    <a:pt x="0" y="140"/>
                    <a:pt x="5" y="145"/>
                  </a:cubicBezTo>
                  <a:cubicBezTo>
                    <a:pt x="12" y="152"/>
                    <a:pt x="49" y="200"/>
                    <a:pt x="52" y="200"/>
                  </a:cubicBezTo>
                  <a:cubicBezTo>
                    <a:pt x="54" y="200"/>
                    <a:pt x="143" y="211"/>
                    <a:pt x="177" y="215"/>
                  </a:cubicBezTo>
                  <a:cubicBezTo>
                    <a:pt x="173" y="207"/>
                    <a:pt x="168" y="196"/>
                    <a:pt x="168" y="192"/>
                  </a:cubicBezTo>
                  <a:cubicBezTo>
                    <a:pt x="168" y="186"/>
                    <a:pt x="181" y="163"/>
                    <a:pt x="181" y="163"/>
                  </a:cubicBezTo>
                  <a:cubicBezTo>
                    <a:pt x="181" y="163"/>
                    <a:pt x="187" y="143"/>
                    <a:pt x="189" y="136"/>
                  </a:cubicBezTo>
                  <a:cubicBezTo>
                    <a:pt x="191" y="129"/>
                    <a:pt x="197" y="137"/>
                    <a:pt x="201" y="135"/>
                  </a:cubicBezTo>
                  <a:cubicBezTo>
                    <a:pt x="205" y="133"/>
                    <a:pt x="195" y="122"/>
                    <a:pt x="191" y="118"/>
                  </a:cubicBezTo>
                  <a:cubicBezTo>
                    <a:pt x="187" y="114"/>
                    <a:pt x="194" y="84"/>
                    <a:pt x="198" y="84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228">
              <a:extLst>
                <a:ext uri="{FF2B5EF4-FFF2-40B4-BE49-F238E27FC236}">
                  <a16:creationId xmlns:a16="http://schemas.microsoft.com/office/drawing/2014/main" id="{9C8F5018-B068-4830-95FA-7755C4B164CB}"/>
                </a:ext>
              </a:extLst>
            </p:cNvPr>
            <p:cNvSpPr>
              <a:spLocks/>
            </p:cNvSpPr>
            <p:nvPr/>
          </p:nvSpPr>
          <p:spPr bwMode="gray">
            <a:xfrm>
              <a:off x="-700" y="-13159"/>
              <a:ext cx="860" cy="1051"/>
            </a:xfrm>
            <a:custGeom>
              <a:avLst/>
              <a:gdLst>
                <a:gd name="T0" fmla="*/ 169 w 364"/>
                <a:gd name="T1" fmla="*/ 375 h 445"/>
                <a:gd name="T2" fmla="*/ 220 w 364"/>
                <a:gd name="T3" fmla="*/ 358 h 445"/>
                <a:gd name="T4" fmla="*/ 228 w 364"/>
                <a:gd name="T5" fmla="*/ 330 h 445"/>
                <a:gd name="T6" fmla="*/ 269 w 364"/>
                <a:gd name="T7" fmla="*/ 304 h 445"/>
                <a:gd name="T8" fmla="*/ 283 w 364"/>
                <a:gd name="T9" fmla="*/ 249 h 445"/>
                <a:gd name="T10" fmla="*/ 312 w 364"/>
                <a:gd name="T11" fmla="*/ 249 h 445"/>
                <a:gd name="T12" fmla="*/ 318 w 364"/>
                <a:gd name="T13" fmla="*/ 218 h 445"/>
                <a:gd name="T14" fmla="*/ 355 w 364"/>
                <a:gd name="T15" fmla="*/ 184 h 445"/>
                <a:gd name="T16" fmla="*/ 359 w 364"/>
                <a:gd name="T17" fmla="*/ 134 h 445"/>
                <a:gd name="T18" fmla="*/ 339 w 364"/>
                <a:gd name="T19" fmla="*/ 127 h 445"/>
                <a:gd name="T20" fmla="*/ 302 w 364"/>
                <a:gd name="T21" fmla="*/ 74 h 445"/>
                <a:gd name="T22" fmla="*/ 237 w 364"/>
                <a:gd name="T23" fmla="*/ 52 h 445"/>
                <a:gd name="T24" fmla="*/ 191 w 364"/>
                <a:gd name="T25" fmla="*/ 23 h 445"/>
                <a:gd name="T26" fmla="*/ 184 w 364"/>
                <a:gd name="T27" fmla="*/ 7 h 445"/>
                <a:gd name="T28" fmla="*/ 168 w 364"/>
                <a:gd name="T29" fmla="*/ 13 h 445"/>
                <a:gd name="T30" fmla="*/ 158 w 364"/>
                <a:gd name="T31" fmla="*/ 0 h 445"/>
                <a:gd name="T32" fmla="*/ 151 w 364"/>
                <a:gd name="T33" fmla="*/ 34 h 445"/>
                <a:gd name="T34" fmla="*/ 161 w 364"/>
                <a:gd name="T35" fmla="*/ 51 h 445"/>
                <a:gd name="T36" fmla="*/ 149 w 364"/>
                <a:gd name="T37" fmla="*/ 52 h 445"/>
                <a:gd name="T38" fmla="*/ 141 w 364"/>
                <a:gd name="T39" fmla="*/ 79 h 445"/>
                <a:gd name="T40" fmla="*/ 128 w 364"/>
                <a:gd name="T41" fmla="*/ 108 h 445"/>
                <a:gd name="T42" fmla="*/ 141 w 364"/>
                <a:gd name="T43" fmla="*/ 142 h 445"/>
                <a:gd name="T44" fmla="*/ 159 w 364"/>
                <a:gd name="T45" fmla="*/ 161 h 445"/>
                <a:gd name="T46" fmla="*/ 133 w 364"/>
                <a:gd name="T47" fmla="*/ 276 h 445"/>
                <a:gd name="T48" fmla="*/ 0 w 364"/>
                <a:gd name="T49" fmla="*/ 325 h 445"/>
                <a:gd name="T50" fmla="*/ 54 w 364"/>
                <a:gd name="T51" fmla="*/ 445 h 445"/>
                <a:gd name="T52" fmla="*/ 162 w 364"/>
                <a:gd name="T53" fmla="*/ 410 h 445"/>
                <a:gd name="T54" fmla="*/ 169 w 364"/>
                <a:gd name="T55" fmla="*/ 375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4" h="445">
                  <a:moveTo>
                    <a:pt x="169" y="375"/>
                  </a:moveTo>
                  <a:cubicBezTo>
                    <a:pt x="169" y="375"/>
                    <a:pt x="211" y="369"/>
                    <a:pt x="220" y="358"/>
                  </a:cubicBezTo>
                  <a:cubicBezTo>
                    <a:pt x="228" y="348"/>
                    <a:pt x="228" y="330"/>
                    <a:pt x="228" y="330"/>
                  </a:cubicBezTo>
                  <a:cubicBezTo>
                    <a:pt x="228" y="330"/>
                    <a:pt x="260" y="319"/>
                    <a:pt x="269" y="304"/>
                  </a:cubicBezTo>
                  <a:cubicBezTo>
                    <a:pt x="279" y="288"/>
                    <a:pt x="274" y="250"/>
                    <a:pt x="283" y="249"/>
                  </a:cubicBezTo>
                  <a:cubicBezTo>
                    <a:pt x="292" y="248"/>
                    <a:pt x="302" y="260"/>
                    <a:pt x="312" y="249"/>
                  </a:cubicBezTo>
                  <a:cubicBezTo>
                    <a:pt x="323" y="238"/>
                    <a:pt x="318" y="218"/>
                    <a:pt x="318" y="218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5" y="184"/>
                    <a:pt x="364" y="144"/>
                    <a:pt x="359" y="134"/>
                  </a:cubicBezTo>
                  <a:cubicBezTo>
                    <a:pt x="355" y="124"/>
                    <a:pt x="339" y="127"/>
                    <a:pt x="339" y="127"/>
                  </a:cubicBezTo>
                  <a:cubicBezTo>
                    <a:pt x="339" y="127"/>
                    <a:pt x="317" y="87"/>
                    <a:pt x="302" y="74"/>
                  </a:cubicBezTo>
                  <a:cubicBezTo>
                    <a:pt x="287" y="61"/>
                    <a:pt x="237" y="52"/>
                    <a:pt x="237" y="52"/>
                  </a:cubicBezTo>
                  <a:cubicBezTo>
                    <a:pt x="237" y="52"/>
                    <a:pt x="194" y="38"/>
                    <a:pt x="191" y="23"/>
                  </a:cubicBezTo>
                  <a:cubicBezTo>
                    <a:pt x="190" y="18"/>
                    <a:pt x="187" y="13"/>
                    <a:pt x="184" y="7"/>
                  </a:cubicBezTo>
                  <a:cubicBezTo>
                    <a:pt x="168" y="13"/>
                    <a:pt x="168" y="13"/>
                    <a:pt x="168" y="13"/>
                  </a:cubicBezTo>
                  <a:cubicBezTo>
                    <a:pt x="168" y="13"/>
                    <a:pt x="162" y="0"/>
                    <a:pt x="158" y="0"/>
                  </a:cubicBezTo>
                  <a:cubicBezTo>
                    <a:pt x="154" y="0"/>
                    <a:pt x="147" y="30"/>
                    <a:pt x="151" y="34"/>
                  </a:cubicBezTo>
                  <a:cubicBezTo>
                    <a:pt x="155" y="38"/>
                    <a:pt x="165" y="49"/>
                    <a:pt x="161" y="51"/>
                  </a:cubicBezTo>
                  <a:cubicBezTo>
                    <a:pt x="157" y="53"/>
                    <a:pt x="151" y="45"/>
                    <a:pt x="149" y="52"/>
                  </a:cubicBezTo>
                  <a:cubicBezTo>
                    <a:pt x="147" y="59"/>
                    <a:pt x="141" y="79"/>
                    <a:pt x="141" y="79"/>
                  </a:cubicBezTo>
                  <a:cubicBezTo>
                    <a:pt x="141" y="79"/>
                    <a:pt x="128" y="102"/>
                    <a:pt x="128" y="108"/>
                  </a:cubicBezTo>
                  <a:cubicBezTo>
                    <a:pt x="128" y="114"/>
                    <a:pt x="141" y="138"/>
                    <a:pt x="141" y="142"/>
                  </a:cubicBezTo>
                  <a:cubicBezTo>
                    <a:pt x="141" y="146"/>
                    <a:pt x="159" y="161"/>
                    <a:pt x="159" y="161"/>
                  </a:cubicBezTo>
                  <a:cubicBezTo>
                    <a:pt x="133" y="276"/>
                    <a:pt x="133" y="276"/>
                    <a:pt x="133" y="276"/>
                  </a:cubicBezTo>
                  <a:cubicBezTo>
                    <a:pt x="0" y="325"/>
                    <a:pt x="0" y="325"/>
                    <a:pt x="0" y="325"/>
                  </a:cubicBezTo>
                  <a:cubicBezTo>
                    <a:pt x="54" y="445"/>
                    <a:pt x="54" y="445"/>
                    <a:pt x="54" y="445"/>
                  </a:cubicBezTo>
                  <a:cubicBezTo>
                    <a:pt x="81" y="434"/>
                    <a:pt x="159" y="415"/>
                    <a:pt x="162" y="410"/>
                  </a:cubicBezTo>
                  <a:cubicBezTo>
                    <a:pt x="167" y="404"/>
                    <a:pt x="169" y="375"/>
                    <a:pt x="169" y="375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229">
              <a:extLst>
                <a:ext uri="{FF2B5EF4-FFF2-40B4-BE49-F238E27FC236}">
                  <a16:creationId xmlns:a16="http://schemas.microsoft.com/office/drawing/2014/main" id="{042C119B-92A8-9B96-742E-2FAB89FFB77C}"/>
                </a:ext>
              </a:extLst>
            </p:cNvPr>
            <p:cNvSpPr>
              <a:spLocks/>
            </p:cNvSpPr>
            <p:nvPr/>
          </p:nvSpPr>
          <p:spPr bwMode="gray">
            <a:xfrm>
              <a:off x="-877" y="-13320"/>
              <a:ext cx="116" cy="232"/>
            </a:xfrm>
            <a:custGeom>
              <a:avLst/>
              <a:gdLst>
                <a:gd name="T0" fmla="*/ 16 w 49"/>
                <a:gd name="T1" fmla="*/ 90 h 98"/>
                <a:gd name="T2" fmla="*/ 24 w 49"/>
                <a:gd name="T3" fmla="*/ 98 h 98"/>
                <a:gd name="T4" fmla="*/ 30 w 49"/>
                <a:gd name="T5" fmla="*/ 96 h 98"/>
                <a:gd name="T6" fmla="*/ 30 w 49"/>
                <a:gd name="T7" fmla="*/ 95 h 98"/>
                <a:gd name="T8" fmla="*/ 47 w 49"/>
                <a:gd name="T9" fmla="*/ 35 h 98"/>
                <a:gd name="T10" fmla="*/ 22 w 49"/>
                <a:gd name="T11" fmla="*/ 3 h 98"/>
                <a:gd name="T12" fmla="*/ 9 w 49"/>
                <a:gd name="T13" fmla="*/ 47 h 98"/>
                <a:gd name="T14" fmla="*/ 1 w 49"/>
                <a:gd name="T15" fmla="*/ 84 h 98"/>
                <a:gd name="T16" fmla="*/ 0 w 49"/>
                <a:gd name="T17" fmla="*/ 83 h 98"/>
                <a:gd name="T18" fmla="*/ 6 w 49"/>
                <a:gd name="T19" fmla="*/ 93 h 98"/>
                <a:gd name="T20" fmla="*/ 16 w 49"/>
                <a:gd name="T21" fmla="*/ 9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98">
                  <a:moveTo>
                    <a:pt x="16" y="90"/>
                  </a:moveTo>
                  <a:cubicBezTo>
                    <a:pt x="24" y="98"/>
                    <a:pt x="24" y="98"/>
                    <a:pt x="24" y="98"/>
                  </a:cubicBezTo>
                  <a:cubicBezTo>
                    <a:pt x="30" y="96"/>
                    <a:pt x="30" y="96"/>
                    <a:pt x="30" y="96"/>
                  </a:cubicBezTo>
                  <a:cubicBezTo>
                    <a:pt x="30" y="96"/>
                    <a:pt x="30" y="95"/>
                    <a:pt x="30" y="95"/>
                  </a:cubicBezTo>
                  <a:cubicBezTo>
                    <a:pt x="35" y="86"/>
                    <a:pt x="49" y="56"/>
                    <a:pt x="47" y="35"/>
                  </a:cubicBezTo>
                  <a:cubicBezTo>
                    <a:pt x="45" y="14"/>
                    <a:pt x="31" y="0"/>
                    <a:pt x="22" y="3"/>
                  </a:cubicBezTo>
                  <a:cubicBezTo>
                    <a:pt x="12" y="6"/>
                    <a:pt x="10" y="32"/>
                    <a:pt x="9" y="47"/>
                  </a:cubicBezTo>
                  <a:cubicBezTo>
                    <a:pt x="9" y="62"/>
                    <a:pt x="9" y="83"/>
                    <a:pt x="1" y="84"/>
                  </a:cubicBezTo>
                  <a:cubicBezTo>
                    <a:pt x="1" y="84"/>
                    <a:pt x="1" y="84"/>
                    <a:pt x="0" y="83"/>
                  </a:cubicBezTo>
                  <a:cubicBezTo>
                    <a:pt x="6" y="93"/>
                    <a:pt x="6" y="93"/>
                    <a:pt x="6" y="93"/>
                  </a:cubicBezTo>
                  <a:lnTo>
                    <a:pt x="16" y="90"/>
                  </a:ln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chemeClr val="tx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230">
              <a:extLst>
                <a:ext uri="{FF2B5EF4-FFF2-40B4-BE49-F238E27FC236}">
                  <a16:creationId xmlns:a16="http://schemas.microsoft.com/office/drawing/2014/main" id="{3497FA3E-1808-A5AE-B100-92594D8411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46" y="-14685"/>
              <a:ext cx="1656" cy="1665"/>
            </a:xfrm>
            <a:custGeom>
              <a:avLst/>
              <a:gdLst>
                <a:gd name="T0" fmla="*/ 639 w 701"/>
                <a:gd name="T1" fmla="*/ 64 h 705"/>
                <a:gd name="T2" fmla="*/ 584 w 701"/>
                <a:gd name="T3" fmla="*/ 14 h 705"/>
                <a:gd name="T4" fmla="*/ 541 w 701"/>
                <a:gd name="T5" fmla="*/ 0 h 705"/>
                <a:gd name="T6" fmla="*/ 479 w 701"/>
                <a:gd name="T7" fmla="*/ 10 h 705"/>
                <a:gd name="T8" fmla="*/ 408 w 701"/>
                <a:gd name="T9" fmla="*/ 46 h 705"/>
                <a:gd name="T10" fmla="*/ 433 w 701"/>
                <a:gd name="T11" fmla="*/ 110 h 705"/>
                <a:gd name="T12" fmla="*/ 418 w 701"/>
                <a:gd name="T13" fmla="*/ 160 h 705"/>
                <a:gd name="T14" fmla="*/ 395 w 701"/>
                <a:gd name="T15" fmla="*/ 168 h 705"/>
                <a:gd name="T16" fmla="*/ 370 w 701"/>
                <a:gd name="T17" fmla="*/ 171 h 705"/>
                <a:gd name="T18" fmla="*/ 401 w 701"/>
                <a:gd name="T19" fmla="*/ 197 h 705"/>
                <a:gd name="T20" fmla="*/ 363 w 701"/>
                <a:gd name="T21" fmla="*/ 238 h 705"/>
                <a:gd name="T22" fmla="*/ 348 w 701"/>
                <a:gd name="T23" fmla="*/ 293 h 705"/>
                <a:gd name="T24" fmla="*/ 305 w 701"/>
                <a:gd name="T25" fmla="*/ 289 h 705"/>
                <a:gd name="T26" fmla="*/ 266 w 701"/>
                <a:gd name="T27" fmla="*/ 312 h 705"/>
                <a:gd name="T28" fmla="*/ 242 w 701"/>
                <a:gd name="T29" fmla="*/ 355 h 705"/>
                <a:gd name="T30" fmla="*/ 157 w 701"/>
                <a:gd name="T31" fmla="*/ 404 h 705"/>
                <a:gd name="T32" fmla="*/ 100 w 701"/>
                <a:gd name="T33" fmla="*/ 405 h 705"/>
                <a:gd name="T34" fmla="*/ 0 w 701"/>
                <a:gd name="T35" fmla="*/ 389 h 705"/>
                <a:gd name="T36" fmla="*/ 77 w 701"/>
                <a:gd name="T37" fmla="*/ 462 h 705"/>
                <a:gd name="T38" fmla="*/ 98 w 701"/>
                <a:gd name="T39" fmla="*/ 492 h 705"/>
                <a:gd name="T40" fmla="*/ 120 w 701"/>
                <a:gd name="T41" fmla="*/ 529 h 705"/>
                <a:gd name="T42" fmla="*/ 85 w 701"/>
                <a:gd name="T43" fmla="*/ 575 h 705"/>
                <a:gd name="T44" fmla="*/ 60 w 701"/>
                <a:gd name="T45" fmla="*/ 600 h 705"/>
                <a:gd name="T46" fmla="*/ 110 w 701"/>
                <a:gd name="T47" fmla="*/ 635 h 705"/>
                <a:gd name="T48" fmla="*/ 208 w 701"/>
                <a:gd name="T49" fmla="*/ 615 h 705"/>
                <a:gd name="T50" fmla="*/ 299 w 701"/>
                <a:gd name="T51" fmla="*/ 662 h 705"/>
                <a:gd name="T52" fmla="*/ 381 w 701"/>
                <a:gd name="T53" fmla="*/ 705 h 705"/>
                <a:gd name="T54" fmla="*/ 416 w 701"/>
                <a:gd name="T55" fmla="*/ 689 h 705"/>
                <a:gd name="T56" fmla="*/ 467 w 701"/>
                <a:gd name="T57" fmla="*/ 679 h 705"/>
                <a:gd name="T58" fmla="*/ 492 w 701"/>
                <a:gd name="T59" fmla="*/ 654 h 705"/>
                <a:gd name="T60" fmla="*/ 455 w 701"/>
                <a:gd name="T61" fmla="*/ 604 h 705"/>
                <a:gd name="T62" fmla="*/ 447 w 701"/>
                <a:gd name="T63" fmla="*/ 559 h 705"/>
                <a:gd name="T64" fmla="*/ 423 w 701"/>
                <a:gd name="T65" fmla="*/ 522 h 705"/>
                <a:gd name="T66" fmla="*/ 470 w 701"/>
                <a:gd name="T67" fmla="*/ 500 h 705"/>
                <a:gd name="T68" fmla="*/ 518 w 701"/>
                <a:gd name="T69" fmla="*/ 472 h 705"/>
                <a:gd name="T70" fmla="*/ 560 w 701"/>
                <a:gd name="T71" fmla="*/ 425 h 705"/>
                <a:gd name="T72" fmla="*/ 581 w 701"/>
                <a:gd name="T73" fmla="*/ 358 h 705"/>
                <a:gd name="T74" fmla="*/ 604 w 701"/>
                <a:gd name="T75" fmla="*/ 297 h 705"/>
                <a:gd name="T76" fmla="*/ 624 w 701"/>
                <a:gd name="T77" fmla="*/ 248 h 705"/>
                <a:gd name="T78" fmla="*/ 583 w 701"/>
                <a:gd name="T79" fmla="*/ 225 h 705"/>
                <a:gd name="T80" fmla="*/ 567 w 701"/>
                <a:gd name="T81" fmla="*/ 194 h 705"/>
                <a:gd name="T82" fmla="*/ 548 w 701"/>
                <a:gd name="T83" fmla="*/ 161 h 705"/>
                <a:gd name="T84" fmla="*/ 557 w 701"/>
                <a:gd name="T85" fmla="*/ 123 h 705"/>
                <a:gd name="T86" fmla="*/ 643 w 701"/>
                <a:gd name="T87" fmla="*/ 123 h 705"/>
                <a:gd name="T88" fmla="*/ 667 w 701"/>
                <a:gd name="T89" fmla="*/ 122 h 705"/>
                <a:gd name="T90" fmla="*/ 700 w 701"/>
                <a:gd name="T91" fmla="*/ 82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1" h="705">
                  <a:moveTo>
                    <a:pt x="671" y="81"/>
                  </a:moveTo>
                  <a:cubicBezTo>
                    <a:pt x="652" y="80"/>
                    <a:pt x="647" y="60"/>
                    <a:pt x="647" y="60"/>
                  </a:cubicBezTo>
                  <a:cubicBezTo>
                    <a:pt x="639" y="64"/>
                    <a:pt x="639" y="64"/>
                    <a:pt x="639" y="64"/>
                  </a:cubicBezTo>
                  <a:cubicBezTo>
                    <a:pt x="618" y="56"/>
                    <a:pt x="618" y="56"/>
                    <a:pt x="618" y="56"/>
                  </a:cubicBezTo>
                  <a:cubicBezTo>
                    <a:pt x="618" y="56"/>
                    <a:pt x="617" y="35"/>
                    <a:pt x="608" y="25"/>
                  </a:cubicBezTo>
                  <a:cubicBezTo>
                    <a:pt x="599" y="15"/>
                    <a:pt x="584" y="14"/>
                    <a:pt x="584" y="14"/>
                  </a:cubicBezTo>
                  <a:cubicBezTo>
                    <a:pt x="581" y="5"/>
                    <a:pt x="581" y="5"/>
                    <a:pt x="581" y="5"/>
                  </a:cubicBezTo>
                  <a:cubicBezTo>
                    <a:pt x="560" y="5"/>
                    <a:pt x="560" y="5"/>
                    <a:pt x="560" y="5"/>
                  </a:cubicBezTo>
                  <a:cubicBezTo>
                    <a:pt x="560" y="5"/>
                    <a:pt x="549" y="4"/>
                    <a:pt x="541" y="0"/>
                  </a:cubicBezTo>
                  <a:cubicBezTo>
                    <a:pt x="535" y="4"/>
                    <a:pt x="526" y="9"/>
                    <a:pt x="523" y="10"/>
                  </a:cubicBezTo>
                  <a:cubicBezTo>
                    <a:pt x="518" y="11"/>
                    <a:pt x="508" y="5"/>
                    <a:pt x="505" y="5"/>
                  </a:cubicBezTo>
                  <a:cubicBezTo>
                    <a:pt x="502" y="5"/>
                    <a:pt x="479" y="10"/>
                    <a:pt x="479" y="10"/>
                  </a:cubicBezTo>
                  <a:cubicBezTo>
                    <a:pt x="479" y="10"/>
                    <a:pt x="462" y="9"/>
                    <a:pt x="455" y="12"/>
                  </a:cubicBezTo>
                  <a:cubicBezTo>
                    <a:pt x="448" y="15"/>
                    <a:pt x="425" y="31"/>
                    <a:pt x="425" y="31"/>
                  </a:cubicBezTo>
                  <a:cubicBezTo>
                    <a:pt x="425" y="31"/>
                    <a:pt x="414" y="34"/>
                    <a:pt x="408" y="46"/>
                  </a:cubicBezTo>
                  <a:cubicBezTo>
                    <a:pt x="402" y="58"/>
                    <a:pt x="407" y="54"/>
                    <a:pt x="418" y="66"/>
                  </a:cubicBezTo>
                  <a:cubicBezTo>
                    <a:pt x="429" y="78"/>
                    <a:pt x="426" y="95"/>
                    <a:pt x="426" y="95"/>
                  </a:cubicBezTo>
                  <a:cubicBezTo>
                    <a:pt x="426" y="95"/>
                    <a:pt x="436" y="103"/>
                    <a:pt x="433" y="110"/>
                  </a:cubicBezTo>
                  <a:cubicBezTo>
                    <a:pt x="430" y="117"/>
                    <a:pt x="413" y="125"/>
                    <a:pt x="412" y="134"/>
                  </a:cubicBezTo>
                  <a:cubicBezTo>
                    <a:pt x="411" y="143"/>
                    <a:pt x="418" y="144"/>
                    <a:pt x="418" y="144"/>
                  </a:cubicBezTo>
                  <a:cubicBezTo>
                    <a:pt x="418" y="144"/>
                    <a:pt x="419" y="153"/>
                    <a:pt x="418" y="160"/>
                  </a:cubicBezTo>
                  <a:cubicBezTo>
                    <a:pt x="417" y="167"/>
                    <a:pt x="406" y="164"/>
                    <a:pt x="406" y="164"/>
                  </a:cubicBezTo>
                  <a:cubicBezTo>
                    <a:pt x="402" y="171"/>
                    <a:pt x="402" y="171"/>
                    <a:pt x="402" y="171"/>
                  </a:cubicBezTo>
                  <a:cubicBezTo>
                    <a:pt x="395" y="168"/>
                    <a:pt x="395" y="168"/>
                    <a:pt x="395" y="168"/>
                  </a:cubicBezTo>
                  <a:cubicBezTo>
                    <a:pt x="384" y="167"/>
                    <a:pt x="384" y="167"/>
                    <a:pt x="384" y="167"/>
                  </a:cubicBezTo>
                  <a:cubicBezTo>
                    <a:pt x="384" y="167"/>
                    <a:pt x="377" y="159"/>
                    <a:pt x="373" y="160"/>
                  </a:cubicBezTo>
                  <a:cubicBezTo>
                    <a:pt x="369" y="161"/>
                    <a:pt x="369" y="166"/>
                    <a:pt x="370" y="171"/>
                  </a:cubicBezTo>
                  <a:cubicBezTo>
                    <a:pt x="371" y="176"/>
                    <a:pt x="386" y="180"/>
                    <a:pt x="386" y="180"/>
                  </a:cubicBezTo>
                  <a:cubicBezTo>
                    <a:pt x="386" y="180"/>
                    <a:pt x="386" y="184"/>
                    <a:pt x="388" y="191"/>
                  </a:cubicBezTo>
                  <a:cubicBezTo>
                    <a:pt x="390" y="198"/>
                    <a:pt x="401" y="197"/>
                    <a:pt x="401" y="197"/>
                  </a:cubicBezTo>
                  <a:cubicBezTo>
                    <a:pt x="381" y="211"/>
                    <a:pt x="381" y="211"/>
                    <a:pt x="381" y="211"/>
                  </a:cubicBezTo>
                  <a:cubicBezTo>
                    <a:pt x="381" y="211"/>
                    <a:pt x="368" y="210"/>
                    <a:pt x="364" y="213"/>
                  </a:cubicBezTo>
                  <a:cubicBezTo>
                    <a:pt x="360" y="216"/>
                    <a:pt x="363" y="238"/>
                    <a:pt x="363" y="238"/>
                  </a:cubicBezTo>
                  <a:cubicBezTo>
                    <a:pt x="363" y="238"/>
                    <a:pt x="357" y="235"/>
                    <a:pt x="356" y="247"/>
                  </a:cubicBezTo>
                  <a:cubicBezTo>
                    <a:pt x="355" y="259"/>
                    <a:pt x="364" y="277"/>
                    <a:pt x="364" y="277"/>
                  </a:cubicBezTo>
                  <a:cubicBezTo>
                    <a:pt x="364" y="277"/>
                    <a:pt x="361" y="286"/>
                    <a:pt x="348" y="293"/>
                  </a:cubicBezTo>
                  <a:cubicBezTo>
                    <a:pt x="335" y="300"/>
                    <a:pt x="338" y="281"/>
                    <a:pt x="338" y="281"/>
                  </a:cubicBezTo>
                  <a:cubicBezTo>
                    <a:pt x="338" y="281"/>
                    <a:pt x="328" y="283"/>
                    <a:pt x="320" y="283"/>
                  </a:cubicBezTo>
                  <a:cubicBezTo>
                    <a:pt x="312" y="283"/>
                    <a:pt x="305" y="289"/>
                    <a:pt x="305" y="289"/>
                  </a:cubicBezTo>
                  <a:cubicBezTo>
                    <a:pt x="305" y="289"/>
                    <a:pt x="291" y="293"/>
                    <a:pt x="287" y="298"/>
                  </a:cubicBezTo>
                  <a:cubicBezTo>
                    <a:pt x="283" y="303"/>
                    <a:pt x="300" y="305"/>
                    <a:pt x="298" y="311"/>
                  </a:cubicBezTo>
                  <a:cubicBezTo>
                    <a:pt x="296" y="317"/>
                    <a:pt x="266" y="312"/>
                    <a:pt x="266" y="312"/>
                  </a:cubicBezTo>
                  <a:cubicBezTo>
                    <a:pt x="266" y="312"/>
                    <a:pt x="270" y="306"/>
                    <a:pt x="262" y="306"/>
                  </a:cubicBezTo>
                  <a:cubicBezTo>
                    <a:pt x="254" y="306"/>
                    <a:pt x="239" y="319"/>
                    <a:pt x="237" y="325"/>
                  </a:cubicBezTo>
                  <a:cubicBezTo>
                    <a:pt x="235" y="331"/>
                    <a:pt x="242" y="355"/>
                    <a:pt x="242" y="355"/>
                  </a:cubicBezTo>
                  <a:cubicBezTo>
                    <a:pt x="242" y="355"/>
                    <a:pt x="248" y="375"/>
                    <a:pt x="246" y="381"/>
                  </a:cubicBezTo>
                  <a:cubicBezTo>
                    <a:pt x="244" y="387"/>
                    <a:pt x="205" y="400"/>
                    <a:pt x="202" y="401"/>
                  </a:cubicBezTo>
                  <a:cubicBezTo>
                    <a:pt x="199" y="402"/>
                    <a:pt x="157" y="404"/>
                    <a:pt x="157" y="404"/>
                  </a:cubicBezTo>
                  <a:cubicBezTo>
                    <a:pt x="157" y="404"/>
                    <a:pt x="156" y="410"/>
                    <a:pt x="144" y="410"/>
                  </a:cubicBezTo>
                  <a:cubicBezTo>
                    <a:pt x="132" y="410"/>
                    <a:pt x="135" y="406"/>
                    <a:pt x="135" y="406"/>
                  </a:cubicBezTo>
                  <a:cubicBezTo>
                    <a:pt x="100" y="405"/>
                    <a:pt x="100" y="405"/>
                    <a:pt x="100" y="405"/>
                  </a:cubicBezTo>
                  <a:cubicBezTo>
                    <a:pt x="100" y="405"/>
                    <a:pt x="102" y="410"/>
                    <a:pt x="81" y="412"/>
                  </a:cubicBezTo>
                  <a:cubicBezTo>
                    <a:pt x="60" y="414"/>
                    <a:pt x="30" y="396"/>
                    <a:pt x="21" y="391"/>
                  </a:cubicBezTo>
                  <a:cubicBezTo>
                    <a:pt x="12" y="386"/>
                    <a:pt x="0" y="389"/>
                    <a:pt x="0" y="389"/>
                  </a:cubicBezTo>
                  <a:cubicBezTo>
                    <a:pt x="0" y="389"/>
                    <a:pt x="20" y="408"/>
                    <a:pt x="26" y="419"/>
                  </a:cubicBezTo>
                  <a:cubicBezTo>
                    <a:pt x="32" y="430"/>
                    <a:pt x="46" y="450"/>
                    <a:pt x="54" y="460"/>
                  </a:cubicBezTo>
                  <a:cubicBezTo>
                    <a:pt x="62" y="470"/>
                    <a:pt x="77" y="462"/>
                    <a:pt x="77" y="462"/>
                  </a:cubicBezTo>
                  <a:cubicBezTo>
                    <a:pt x="86" y="473"/>
                    <a:pt x="86" y="473"/>
                    <a:pt x="86" y="473"/>
                  </a:cubicBezTo>
                  <a:cubicBezTo>
                    <a:pt x="99" y="472"/>
                    <a:pt x="99" y="472"/>
                    <a:pt x="99" y="472"/>
                  </a:cubicBezTo>
                  <a:cubicBezTo>
                    <a:pt x="98" y="492"/>
                    <a:pt x="98" y="492"/>
                    <a:pt x="98" y="492"/>
                  </a:cubicBezTo>
                  <a:cubicBezTo>
                    <a:pt x="101" y="494"/>
                    <a:pt x="101" y="494"/>
                    <a:pt x="101" y="494"/>
                  </a:cubicBezTo>
                  <a:cubicBezTo>
                    <a:pt x="101" y="494"/>
                    <a:pt x="100" y="517"/>
                    <a:pt x="103" y="524"/>
                  </a:cubicBezTo>
                  <a:cubicBezTo>
                    <a:pt x="106" y="531"/>
                    <a:pt x="112" y="518"/>
                    <a:pt x="120" y="529"/>
                  </a:cubicBezTo>
                  <a:cubicBezTo>
                    <a:pt x="128" y="540"/>
                    <a:pt x="129" y="556"/>
                    <a:pt x="125" y="561"/>
                  </a:cubicBezTo>
                  <a:cubicBezTo>
                    <a:pt x="121" y="566"/>
                    <a:pt x="119" y="553"/>
                    <a:pt x="101" y="559"/>
                  </a:cubicBezTo>
                  <a:cubicBezTo>
                    <a:pt x="83" y="565"/>
                    <a:pt x="89" y="569"/>
                    <a:pt x="85" y="575"/>
                  </a:cubicBezTo>
                  <a:cubicBezTo>
                    <a:pt x="81" y="581"/>
                    <a:pt x="72" y="579"/>
                    <a:pt x="72" y="579"/>
                  </a:cubicBezTo>
                  <a:cubicBezTo>
                    <a:pt x="70" y="590"/>
                    <a:pt x="70" y="590"/>
                    <a:pt x="70" y="590"/>
                  </a:cubicBezTo>
                  <a:cubicBezTo>
                    <a:pt x="70" y="590"/>
                    <a:pt x="66" y="597"/>
                    <a:pt x="60" y="600"/>
                  </a:cubicBezTo>
                  <a:cubicBezTo>
                    <a:pt x="55" y="602"/>
                    <a:pt x="59" y="630"/>
                    <a:pt x="60" y="637"/>
                  </a:cubicBezTo>
                  <a:cubicBezTo>
                    <a:pt x="70" y="633"/>
                    <a:pt x="78" y="628"/>
                    <a:pt x="78" y="628"/>
                  </a:cubicBezTo>
                  <a:cubicBezTo>
                    <a:pt x="78" y="628"/>
                    <a:pt x="100" y="635"/>
                    <a:pt x="110" y="635"/>
                  </a:cubicBezTo>
                  <a:cubicBezTo>
                    <a:pt x="120" y="636"/>
                    <a:pt x="149" y="620"/>
                    <a:pt x="149" y="620"/>
                  </a:cubicBezTo>
                  <a:cubicBezTo>
                    <a:pt x="149" y="620"/>
                    <a:pt x="165" y="628"/>
                    <a:pt x="175" y="626"/>
                  </a:cubicBezTo>
                  <a:cubicBezTo>
                    <a:pt x="186" y="624"/>
                    <a:pt x="208" y="615"/>
                    <a:pt x="208" y="615"/>
                  </a:cubicBezTo>
                  <a:cubicBezTo>
                    <a:pt x="234" y="622"/>
                    <a:pt x="234" y="622"/>
                    <a:pt x="234" y="622"/>
                  </a:cubicBezTo>
                  <a:cubicBezTo>
                    <a:pt x="234" y="622"/>
                    <a:pt x="249" y="601"/>
                    <a:pt x="267" y="613"/>
                  </a:cubicBezTo>
                  <a:cubicBezTo>
                    <a:pt x="284" y="624"/>
                    <a:pt x="285" y="659"/>
                    <a:pt x="299" y="662"/>
                  </a:cubicBezTo>
                  <a:cubicBezTo>
                    <a:pt x="313" y="665"/>
                    <a:pt x="339" y="665"/>
                    <a:pt x="348" y="674"/>
                  </a:cubicBezTo>
                  <a:cubicBezTo>
                    <a:pt x="358" y="683"/>
                    <a:pt x="359" y="704"/>
                    <a:pt x="370" y="705"/>
                  </a:cubicBezTo>
                  <a:cubicBezTo>
                    <a:pt x="373" y="705"/>
                    <a:pt x="377" y="705"/>
                    <a:pt x="381" y="705"/>
                  </a:cubicBezTo>
                  <a:cubicBezTo>
                    <a:pt x="394" y="700"/>
                    <a:pt x="394" y="700"/>
                    <a:pt x="394" y="700"/>
                  </a:cubicBezTo>
                  <a:cubicBezTo>
                    <a:pt x="394" y="700"/>
                    <a:pt x="385" y="684"/>
                    <a:pt x="396" y="683"/>
                  </a:cubicBezTo>
                  <a:cubicBezTo>
                    <a:pt x="407" y="682"/>
                    <a:pt x="416" y="689"/>
                    <a:pt x="416" y="689"/>
                  </a:cubicBezTo>
                  <a:cubicBezTo>
                    <a:pt x="433" y="683"/>
                    <a:pt x="433" y="683"/>
                    <a:pt x="433" y="683"/>
                  </a:cubicBezTo>
                  <a:cubicBezTo>
                    <a:pt x="433" y="683"/>
                    <a:pt x="430" y="691"/>
                    <a:pt x="444" y="691"/>
                  </a:cubicBezTo>
                  <a:cubicBezTo>
                    <a:pt x="458" y="691"/>
                    <a:pt x="456" y="681"/>
                    <a:pt x="467" y="679"/>
                  </a:cubicBezTo>
                  <a:cubicBezTo>
                    <a:pt x="478" y="677"/>
                    <a:pt x="468" y="688"/>
                    <a:pt x="479" y="688"/>
                  </a:cubicBezTo>
                  <a:cubicBezTo>
                    <a:pt x="490" y="688"/>
                    <a:pt x="499" y="687"/>
                    <a:pt x="501" y="678"/>
                  </a:cubicBezTo>
                  <a:cubicBezTo>
                    <a:pt x="503" y="669"/>
                    <a:pt x="492" y="654"/>
                    <a:pt x="492" y="654"/>
                  </a:cubicBezTo>
                  <a:cubicBezTo>
                    <a:pt x="478" y="626"/>
                    <a:pt x="478" y="626"/>
                    <a:pt x="478" y="626"/>
                  </a:cubicBezTo>
                  <a:cubicBezTo>
                    <a:pt x="478" y="611"/>
                    <a:pt x="478" y="611"/>
                    <a:pt x="478" y="611"/>
                  </a:cubicBezTo>
                  <a:cubicBezTo>
                    <a:pt x="478" y="611"/>
                    <a:pt x="462" y="611"/>
                    <a:pt x="455" y="604"/>
                  </a:cubicBezTo>
                  <a:cubicBezTo>
                    <a:pt x="448" y="597"/>
                    <a:pt x="446" y="589"/>
                    <a:pt x="446" y="589"/>
                  </a:cubicBezTo>
                  <a:cubicBezTo>
                    <a:pt x="448" y="569"/>
                    <a:pt x="448" y="569"/>
                    <a:pt x="448" y="569"/>
                  </a:cubicBezTo>
                  <a:cubicBezTo>
                    <a:pt x="447" y="559"/>
                    <a:pt x="447" y="559"/>
                    <a:pt x="447" y="559"/>
                  </a:cubicBezTo>
                  <a:cubicBezTo>
                    <a:pt x="429" y="561"/>
                    <a:pt x="429" y="561"/>
                    <a:pt x="429" y="561"/>
                  </a:cubicBezTo>
                  <a:cubicBezTo>
                    <a:pt x="429" y="561"/>
                    <a:pt x="414" y="563"/>
                    <a:pt x="414" y="546"/>
                  </a:cubicBezTo>
                  <a:cubicBezTo>
                    <a:pt x="414" y="529"/>
                    <a:pt x="415" y="529"/>
                    <a:pt x="423" y="522"/>
                  </a:cubicBezTo>
                  <a:cubicBezTo>
                    <a:pt x="431" y="515"/>
                    <a:pt x="438" y="503"/>
                    <a:pt x="438" y="503"/>
                  </a:cubicBezTo>
                  <a:cubicBezTo>
                    <a:pt x="438" y="503"/>
                    <a:pt x="437" y="489"/>
                    <a:pt x="451" y="487"/>
                  </a:cubicBezTo>
                  <a:cubicBezTo>
                    <a:pt x="465" y="485"/>
                    <a:pt x="457" y="502"/>
                    <a:pt x="470" y="500"/>
                  </a:cubicBezTo>
                  <a:cubicBezTo>
                    <a:pt x="483" y="498"/>
                    <a:pt x="488" y="490"/>
                    <a:pt x="488" y="490"/>
                  </a:cubicBezTo>
                  <a:cubicBezTo>
                    <a:pt x="488" y="490"/>
                    <a:pt x="503" y="498"/>
                    <a:pt x="510" y="490"/>
                  </a:cubicBezTo>
                  <a:cubicBezTo>
                    <a:pt x="517" y="482"/>
                    <a:pt x="518" y="472"/>
                    <a:pt x="518" y="472"/>
                  </a:cubicBezTo>
                  <a:cubicBezTo>
                    <a:pt x="527" y="467"/>
                    <a:pt x="527" y="467"/>
                    <a:pt x="527" y="467"/>
                  </a:cubicBezTo>
                  <a:cubicBezTo>
                    <a:pt x="527" y="467"/>
                    <a:pt x="528" y="447"/>
                    <a:pt x="532" y="444"/>
                  </a:cubicBezTo>
                  <a:cubicBezTo>
                    <a:pt x="536" y="441"/>
                    <a:pt x="552" y="438"/>
                    <a:pt x="560" y="425"/>
                  </a:cubicBezTo>
                  <a:cubicBezTo>
                    <a:pt x="568" y="412"/>
                    <a:pt x="565" y="394"/>
                    <a:pt x="569" y="385"/>
                  </a:cubicBezTo>
                  <a:cubicBezTo>
                    <a:pt x="573" y="376"/>
                    <a:pt x="592" y="375"/>
                    <a:pt x="592" y="375"/>
                  </a:cubicBezTo>
                  <a:cubicBezTo>
                    <a:pt x="581" y="358"/>
                    <a:pt x="581" y="358"/>
                    <a:pt x="581" y="358"/>
                  </a:cubicBezTo>
                  <a:cubicBezTo>
                    <a:pt x="598" y="334"/>
                    <a:pt x="598" y="334"/>
                    <a:pt x="598" y="334"/>
                  </a:cubicBezTo>
                  <a:cubicBezTo>
                    <a:pt x="616" y="321"/>
                    <a:pt x="616" y="321"/>
                    <a:pt x="616" y="321"/>
                  </a:cubicBezTo>
                  <a:cubicBezTo>
                    <a:pt x="616" y="321"/>
                    <a:pt x="604" y="301"/>
                    <a:pt x="604" y="297"/>
                  </a:cubicBezTo>
                  <a:cubicBezTo>
                    <a:pt x="604" y="293"/>
                    <a:pt x="601" y="279"/>
                    <a:pt x="605" y="277"/>
                  </a:cubicBezTo>
                  <a:cubicBezTo>
                    <a:pt x="609" y="275"/>
                    <a:pt x="638" y="271"/>
                    <a:pt x="637" y="262"/>
                  </a:cubicBezTo>
                  <a:cubicBezTo>
                    <a:pt x="636" y="253"/>
                    <a:pt x="624" y="248"/>
                    <a:pt x="624" y="248"/>
                  </a:cubicBezTo>
                  <a:cubicBezTo>
                    <a:pt x="600" y="249"/>
                    <a:pt x="600" y="249"/>
                    <a:pt x="600" y="249"/>
                  </a:cubicBezTo>
                  <a:cubicBezTo>
                    <a:pt x="597" y="226"/>
                    <a:pt x="597" y="226"/>
                    <a:pt x="597" y="226"/>
                  </a:cubicBezTo>
                  <a:cubicBezTo>
                    <a:pt x="583" y="225"/>
                    <a:pt x="583" y="225"/>
                    <a:pt x="583" y="225"/>
                  </a:cubicBezTo>
                  <a:cubicBezTo>
                    <a:pt x="575" y="215"/>
                    <a:pt x="575" y="215"/>
                    <a:pt x="575" y="215"/>
                  </a:cubicBezTo>
                  <a:cubicBezTo>
                    <a:pt x="575" y="215"/>
                    <a:pt x="564" y="218"/>
                    <a:pt x="565" y="210"/>
                  </a:cubicBezTo>
                  <a:cubicBezTo>
                    <a:pt x="566" y="202"/>
                    <a:pt x="567" y="194"/>
                    <a:pt x="567" y="194"/>
                  </a:cubicBezTo>
                  <a:cubicBezTo>
                    <a:pt x="567" y="194"/>
                    <a:pt x="553" y="193"/>
                    <a:pt x="556" y="183"/>
                  </a:cubicBezTo>
                  <a:cubicBezTo>
                    <a:pt x="559" y="173"/>
                    <a:pt x="568" y="165"/>
                    <a:pt x="568" y="165"/>
                  </a:cubicBezTo>
                  <a:cubicBezTo>
                    <a:pt x="548" y="161"/>
                    <a:pt x="548" y="161"/>
                    <a:pt x="548" y="161"/>
                  </a:cubicBezTo>
                  <a:cubicBezTo>
                    <a:pt x="552" y="152"/>
                    <a:pt x="552" y="152"/>
                    <a:pt x="552" y="152"/>
                  </a:cubicBezTo>
                  <a:cubicBezTo>
                    <a:pt x="537" y="142"/>
                    <a:pt x="537" y="142"/>
                    <a:pt x="537" y="142"/>
                  </a:cubicBezTo>
                  <a:cubicBezTo>
                    <a:pt x="537" y="142"/>
                    <a:pt x="535" y="126"/>
                    <a:pt x="557" y="123"/>
                  </a:cubicBezTo>
                  <a:cubicBezTo>
                    <a:pt x="579" y="120"/>
                    <a:pt x="608" y="126"/>
                    <a:pt x="608" y="126"/>
                  </a:cubicBezTo>
                  <a:cubicBezTo>
                    <a:pt x="608" y="126"/>
                    <a:pt x="611" y="138"/>
                    <a:pt x="618" y="137"/>
                  </a:cubicBezTo>
                  <a:cubicBezTo>
                    <a:pt x="625" y="136"/>
                    <a:pt x="643" y="123"/>
                    <a:pt x="643" y="123"/>
                  </a:cubicBezTo>
                  <a:cubicBezTo>
                    <a:pt x="647" y="127"/>
                    <a:pt x="647" y="127"/>
                    <a:pt x="647" y="127"/>
                  </a:cubicBezTo>
                  <a:cubicBezTo>
                    <a:pt x="653" y="122"/>
                    <a:pt x="653" y="122"/>
                    <a:pt x="653" y="122"/>
                  </a:cubicBezTo>
                  <a:cubicBezTo>
                    <a:pt x="653" y="122"/>
                    <a:pt x="664" y="123"/>
                    <a:pt x="667" y="122"/>
                  </a:cubicBezTo>
                  <a:cubicBezTo>
                    <a:pt x="670" y="121"/>
                    <a:pt x="670" y="110"/>
                    <a:pt x="670" y="110"/>
                  </a:cubicBezTo>
                  <a:cubicBezTo>
                    <a:pt x="685" y="104"/>
                    <a:pt x="685" y="104"/>
                    <a:pt x="685" y="104"/>
                  </a:cubicBezTo>
                  <a:cubicBezTo>
                    <a:pt x="700" y="82"/>
                    <a:pt x="700" y="82"/>
                    <a:pt x="700" y="82"/>
                  </a:cubicBezTo>
                  <a:cubicBezTo>
                    <a:pt x="701" y="82"/>
                    <a:pt x="701" y="82"/>
                    <a:pt x="701" y="82"/>
                  </a:cubicBezTo>
                  <a:cubicBezTo>
                    <a:pt x="692" y="82"/>
                    <a:pt x="680" y="81"/>
                    <a:pt x="671" y="81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 231">
              <a:extLst>
                <a:ext uri="{FF2B5EF4-FFF2-40B4-BE49-F238E27FC236}">
                  <a16:creationId xmlns:a16="http://schemas.microsoft.com/office/drawing/2014/main" id="{2AEDF69C-0304-55F2-8A7A-B291E56394B5}"/>
                </a:ext>
              </a:extLst>
            </p:cNvPr>
            <p:cNvSpPr>
              <a:spLocks/>
            </p:cNvSpPr>
            <p:nvPr/>
          </p:nvSpPr>
          <p:spPr bwMode="gray">
            <a:xfrm>
              <a:off x="-2275" y="-14726"/>
              <a:ext cx="1072" cy="1045"/>
            </a:xfrm>
            <a:custGeom>
              <a:avLst/>
              <a:gdLst>
                <a:gd name="T0" fmla="*/ 448 w 454"/>
                <a:gd name="T1" fmla="*/ 378 h 442"/>
                <a:gd name="T2" fmla="*/ 432 w 454"/>
                <a:gd name="T3" fmla="*/ 365 h 442"/>
                <a:gd name="T4" fmla="*/ 428 w 454"/>
                <a:gd name="T5" fmla="*/ 346 h 442"/>
                <a:gd name="T6" fmla="*/ 415 w 454"/>
                <a:gd name="T7" fmla="*/ 340 h 442"/>
                <a:gd name="T8" fmla="*/ 415 w 454"/>
                <a:gd name="T9" fmla="*/ 295 h 442"/>
                <a:gd name="T10" fmla="*/ 393 w 454"/>
                <a:gd name="T11" fmla="*/ 270 h 442"/>
                <a:gd name="T12" fmla="*/ 380 w 454"/>
                <a:gd name="T13" fmla="*/ 258 h 442"/>
                <a:gd name="T14" fmla="*/ 348 w 454"/>
                <a:gd name="T15" fmla="*/ 240 h 442"/>
                <a:gd name="T16" fmla="*/ 335 w 454"/>
                <a:gd name="T17" fmla="*/ 239 h 442"/>
                <a:gd name="T18" fmla="*/ 335 w 454"/>
                <a:gd name="T19" fmla="*/ 212 h 442"/>
                <a:gd name="T20" fmla="*/ 291 w 454"/>
                <a:gd name="T21" fmla="*/ 182 h 442"/>
                <a:gd name="T22" fmla="*/ 299 w 454"/>
                <a:gd name="T23" fmla="*/ 168 h 442"/>
                <a:gd name="T24" fmla="*/ 291 w 454"/>
                <a:gd name="T25" fmla="*/ 154 h 442"/>
                <a:gd name="T26" fmla="*/ 305 w 454"/>
                <a:gd name="T27" fmla="*/ 148 h 442"/>
                <a:gd name="T28" fmla="*/ 304 w 454"/>
                <a:gd name="T29" fmla="*/ 135 h 442"/>
                <a:gd name="T30" fmla="*/ 305 w 454"/>
                <a:gd name="T31" fmla="*/ 126 h 442"/>
                <a:gd name="T32" fmla="*/ 318 w 454"/>
                <a:gd name="T33" fmla="*/ 118 h 442"/>
                <a:gd name="T34" fmla="*/ 307 w 454"/>
                <a:gd name="T35" fmla="*/ 97 h 442"/>
                <a:gd name="T36" fmla="*/ 318 w 454"/>
                <a:gd name="T37" fmla="*/ 80 h 442"/>
                <a:gd name="T38" fmla="*/ 299 w 454"/>
                <a:gd name="T39" fmla="*/ 85 h 442"/>
                <a:gd name="T40" fmla="*/ 288 w 454"/>
                <a:gd name="T41" fmla="*/ 73 h 442"/>
                <a:gd name="T42" fmla="*/ 274 w 454"/>
                <a:gd name="T43" fmla="*/ 71 h 442"/>
                <a:gd name="T44" fmla="*/ 265 w 454"/>
                <a:gd name="T45" fmla="*/ 50 h 442"/>
                <a:gd name="T46" fmla="*/ 249 w 454"/>
                <a:gd name="T47" fmla="*/ 8 h 442"/>
                <a:gd name="T48" fmla="*/ 222 w 454"/>
                <a:gd name="T49" fmla="*/ 19 h 442"/>
                <a:gd name="T50" fmla="*/ 210 w 454"/>
                <a:gd name="T51" fmla="*/ 1 h 442"/>
                <a:gd name="T52" fmla="*/ 196 w 454"/>
                <a:gd name="T53" fmla="*/ 10 h 442"/>
                <a:gd name="T54" fmla="*/ 179 w 454"/>
                <a:gd name="T55" fmla="*/ 1 h 442"/>
                <a:gd name="T56" fmla="*/ 153 w 454"/>
                <a:gd name="T57" fmla="*/ 1 h 442"/>
                <a:gd name="T58" fmla="*/ 142 w 454"/>
                <a:gd name="T59" fmla="*/ 17 h 442"/>
                <a:gd name="T60" fmla="*/ 140 w 454"/>
                <a:gd name="T61" fmla="*/ 17 h 442"/>
                <a:gd name="T62" fmla="*/ 124 w 454"/>
                <a:gd name="T63" fmla="*/ 37 h 442"/>
                <a:gd name="T64" fmla="*/ 92 w 454"/>
                <a:gd name="T65" fmla="*/ 53 h 442"/>
                <a:gd name="T66" fmla="*/ 103 w 454"/>
                <a:gd name="T67" fmla="*/ 75 h 442"/>
                <a:gd name="T68" fmla="*/ 107 w 454"/>
                <a:gd name="T69" fmla="*/ 110 h 442"/>
                <a:gd name="T70" fmla="*/ 98 w 454"/>
                <a:gd name="T71" fmla="*/ 129 h 442"/>
                <a:gd name="T72" fmla="*/ 104 w 454"/>
                <a:gd name="T73" fmla="*/ 154 h 442"/>
                <a:gd name="T74" fmla="*/ 43 w 454"/>
                <a:gd name="T75" fmla="*/ 181 h 442"/>
                <a:gd name="T76" fmla="*/ 0 w 454"/>
                <a:gd name="T77" fmla="*/ 216 h 442"/>
                <a:gd name="T78" fmla="*/ 0 w 454"/>
                <a:gd name="T79" fmla="*/ 216 h 442"/>
                <a:gd name="T80" fmla="*/ 12 w 454"/>
                <a:gd name="T81" fmla="*/ 246 h 442"/>
                <a:gd name="T82" fmla="*/ 12 w 454"/>
                <a:gd name="T83" fmla="*/ 260 h 442"/>
                <a:gd name="T84" fmla="*/ 29 w 454"/>
                <a:gd name="T85" fmla="*/ 269 h 442"/>
                <a:gd name="T86" fmla="*/ 28 w 454"/>
                <a:gd name="T87" fmla="*/ 278 h 442"/>
                <a:gd name="T88" fmla="*/ 44 w 454"/>
                <a:gd name="T89" fmla="*/ 287 h 442"/>
                <a:gd name="T90" fmla="*/ 78 w 454"/>
                <a:gd name="T91" fmla="*/ 287 h 442"/>
                <a:gd name="T92" fmla="*/ 127 w 454"/>
                <a:gd name="T93" fmla="*/ 321 h 442"/>
                <a:gd name="T94" fmla="*/ 160 w 454"/>
                <a:gd name="T95" fmla="*/ 341 h 442"/>
                <a:gd name="T96" fmla="*/ 288 w 454"/>
                <a:gd name="T97" fmla="*/ 438 h 442"/>
                <a:gd name="T98" fmla="*/ 376 w 454"/>
                <a:gd name="T99" fmla="*/ 442 h 442"/>
                <a:gd name="T100" fmla="*/ 376 w 454"/>
                <a:gd name="T101" fmla="*/ 442 h 442"/>
                <a:gd name="T102" fmla="*/ 387 w 454"/>
                <a:gd name="T103" fmla="*/ 422 h 442"/>
                <a:gd name="T104" fmla="*/ 396 w 454"/>
                <a:gd name="T105" fmla="*/ 395 h 442"/>
                <a:gd name="T106" fmla="*/ 411 w 454"/>
                <a:gd name="T107" fmla="*/ 393 h 442"/>
                <a:gd name="T108" fmla="*/ 431 w 454"/>
                <a:gd name="T109" fmla="*/ 393 h 442"/>
                <a:gd name="T110" fmla="*/ 433 w 454"/>
                <a:gd name="T111" fmla="*/ 398 h 442"/>
                <a:gd name="T112" fmla="*/ 451 w 454"/>
                <a:gd name="T113" fmla="*/ 392 h 442"/>
                <a:gd name="T114" fmla="*/ 454 w 454"/>
                <a:gd name="T115" fmla="*/ 387 h 442"/>
                <a:gd name="T116" fmla="*/ 448 w 454"/>
                <a:gd name="T117" fmla="*/ 378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54" h="442">
                  <a:moveTo>
                    <a:pt x="448" y="378"/>
                  </a:moveTo>
                  <a:cubicBezTo>
                    <a:pt x="447" y="369"/>
                    <a:pt x="432" y="365"/>
                    <a:pt x="432" y="365"/>
                  </a:cubicBezTo>
                  <a:cubicBezTo>
                    <a:pt x="428" y="346"/>
                    <a:pt x="428" y="346"/>
                    <a:pt x="428" y="346"/>
                  </a:cubicBezTo>
                  <a:cubicBezTo>
                    <a:pt x="428" y="346"/>
                    <a:pt x="423" y="346"/>
                    <a:pt x="415" y="340"/>
                  </a:cubicBezTo>
                  <a:cubicBezTo>
                    <a:pt x="407" y="334"/>
                    <a:pt x="415" y="295"/>
                    <a:pt x="415" y="295"/>
                  </a:cubicBezTo>
                  <a:cubicBezTo>
                    <a:pt x="393" y="270"/>
                    <a:pt x="393" y="270"/>
                    <a:pt x="393" y="270"/>
                  </a:cubicBezTo>
                  <a:cubicBezTo>
                    <a:pt x="393" y="270"/>
                    <a:pt x="391" y="258"/>
                    <a:pt x="380" y="258"/>
                  </a:cubicBezTo>
                  <a:cubicBezTo>
                    <a:pt x="369" y="258"/>
                    <a:pt x="348" y="240"/>
                    <a:pt x="348" y="240"/>
                  </a:cubicBezTo>
                  <a:cubicBezTo>
                    <a:pt x="335" y="239"/>
                    <a:pt x="335" y="239"/>
                    <a:pt x="335" y="239"/>
                  </a:cubicBezTo>
                  <a:cubicBezTo>
                    <a:pt x="335" y="212"/>
                    <a:pt x="335" y="212"/>
                    <a:pt x="335" y="212"/>
                  </a:cubicBezTo>
                  <a:cubicBezTo>
                    <a:pt x="335" y="212"/>
                    <a:pt x="293" y="191"/>
                    <a:pt x="291" y="182"/>
                  </a:cubicBezTo>
                  <a:cubicBezTo>
                    <a:pt x="289" y="173"/>
                    <a:pt x="299" y="168"/>
                    <a:pt x="299" y="168"/>
                  </a:cubicBezTo>
                  <a:cubicBezTo>
                    <a:pt x="299" y="168"/>
                    <a:pt x="290" y="161"/>
                    <a:pt x="291" y="154"/>
                  </a:cubicBezTo>
                  <a:cubicBezTo>
                    <a:pt x="292" y="147"/>
                    <a:pt x="305" y="148"/>
                    <a:pt x="305" y="148"/>
                  </a:cubicBezTo>
                  <a:cubicBezTo>
                    <a:pt x="304" y="135"/>
                    <a:pt x="304" y="135"/>
                    <a:pt x="304" y="135"/>
                  </a:cubicBezTo>
                  <a:cubicBezTo>
                    <a:pt x="305" y="126"/>
                    <a:pt x="305" y="126"/>
                    <a:pt x="305" y="126"/>
                  </a:cubicBezTo>
                  <a:cubicBezTo>
                    <a:pt x="305" y="126"/>
                    <a:pt x="315" y="126"/>
                    <a:pt x="318" y="118"/>
                  </a:cubicBezTo>
                  <a:cubicBezTo>
                    <a:pt x="321" y="110"/>
                    <a:pt x="307" y="101"/>
                    <a:pt x="307" y="97"/>
                  </a:cubicBezTo>
                  <a:cubicBezTo>
                    <a:pt x="307" y="93"/>
                    <a:pt x="323" y="84"/>
                    <a:pt x="318" y="80"/>
                  </a:cubicBezTo>
                  <a:cubicBezTo>
                    <a:pt x="313" y="76"/>
                    <a:pt x="299" y="85"/>
                    <a:pt x="299" y="85"/>
                  </a:cubicBezTo>
                  <a:cubicBezTo>
                    <a:pt x="288" y="73"/>
                    <a:pt x="288" y="73"/>
                    <a:pt x="288" y="73"/>
                  </a:cubicBezTo>
                  <a:cubicBezTo>
                    <a:pt x="274" y="71"/>
                    <a:pt x="274" y="71"/>
                    <a:pt x="274" y="71"/>
                  </a:cubicBezTo>
                  <a:cubicBezTo>
                    <a:pt x="274" y="71"/>
                    <a:pt x="277" y="61"/>
                    <a:pt x="265" y="50"/>
                  </a:cubicBezTo>
                  <a:cubicBezTo>
                    <a:pt x="256" y="42"/>
                    <a:pt x="251" y="19"/>
                    <a:pt x="249" y="8"/>
                  </a:cubicBezTo>
                  <a:cubicBezTo>
                    <a:pt x="222" y="19"/>
                    <a:pt x="222" y="19"/>
                    <a:pt x="222" y="19"/>
                  </a:cubicBezTo>
                  <a:cubicBezTo>
                    <a:pt x="222" y="19"/>
                    <a:pt x="224" y="2"/>
                    <a:pt x="210" y="1"/>
                  </a:cubicBezTo>
                  <a:cubicBezTo>
                    <a:pt x="196" y="0"/>
                    <a:pt x="204" y="8"/>
                    <a:pt x="196" y="10"/>
                  </a:cubicBezTo>
                  <a:cubicBezTo>
                    <a:pt x="188" y="12"/>
                    <a:pt x="179" y="1"/>
                    <a:pt x="179" y="1"/>
                  </a:cubicBezTo>
                  <a:cubicBezTo>
                    <a:pt x="153" y="1"/>
                    <a:pt x="153" y="1"/>
                    <a:pt x="153" y="1"/>
                  </a:cubicBezTo>
                  <a:cubicBezTo>
                    <a:pt x="153" y="1"/>
                    <a:pt x="154" y="14"/>
                    <a:pt x="142" y="17"/>
                  </a:cubicBezTo>
                  <a:cubicBezTo>
                    <a:pt x="141" y="17"/>
                    <a:pt x="141" y="17"/>
                    <a:pt x="140" y="17"/>
                  </a:cubicBezTo>
                  <a:cubicBezTo>
                    <a:pt x="138" y="24"/>
                    <a:pt x="133" y="33"/>
                    <a:pt x="124" y="37"/>
                  </a:cubicBezTo>
                  <a:cubicBezTo>
                    <a:pt x="108" y="44"/>
                    <a:pt x="96" y="39"/>
                    <a:pt x="92" y="53"/>
                  </a:cubicBezTo>
                  <a:cubicBezTo>
                    <a:pt x="88" y="67"/>
                    <a:pt x="103" y="75"/>
                    <a:pt x="103" y="75"/>
                  </a:cubicBezTo>
                  <a:cubicBezTo>
                    <a:pt x="103" y="75"/>
                    <a:pt x="111" y="105"/>
                    <a:pt x="107" y="110"/>
                  </a:cubicBezTo>
                  <a:cubicBezTo>
                    <a:pt x="103" y="115"/>
                    <a:pt x="97" y="122"/>
                    <a:pt x="98" y="129"/>
                  </a:cubicBezTo>
                  <a:cubicBezTo>
                    <a:pt x="99" y="136"/>
                    <a:pt x="116" y="145"/>
                    <a:pt x="104" y="154"/>
                  </a:cubicBezTo>
                  <a:cubicBezTo>
                    <a:pt x="92" y="163"/>
                    <a:pt x="43" y="181"/>
                    <a:pt x="43" y="181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12" y="246"/>
                    <a:pt x="12" y="246"/>
                    <a:pt x="12" y="246"/>
                  </a:cubicBezTo>
                  <a:cubicBezTo>
                    <a:pt x="12" y="260"/>
                    <a:pt x="12" y="260"/>
                    <a:pt x="12" y="260"/>
                  </a:cubicBezTo>
                  <a:cubicBezTo>
                    <a:pt x="29" y="269"/>
                    <a:pt x="29" y="269"/>
                    <a:pt x="29" y="269"/>
                  </a:cubicBezTo>
                  <a:cubicBezTo>
                    <a:pt x="28" y="278"/>
                    <a:pt x="28" y="278"/>
                    <a:pt x="28" y="278"/>
                  </a:cubicBezTo>
                  <a:cubicBezTo>
                    <a:pt x="28" y="278"/>
                    <a:pt x="35" y="288"/>
                    <a:pt x="44" y="287"/>
                  </a:cubicBezTo>
                  <a:cubicBezTo>
                    <a:pt x="53" y="286"/>
                    <a:pt x="78" y="287"/>
                    <a:pt x="78" y="287"/>
                  </a:cubicBezTo>
                  <a:cubicBezTo>
                    <a:pt x="78" y="287"/>
                    <a:pt x="115" y="315"/>
                    <a:pt x="127" y="321"/>
                  </a:cubicBezTo>
                  <a:cubicBezTo>
                    <a:pt x="139" y="327"/>
                    <a:pt x="160" y="341"/>
                    <a:pt x="160" y="341"/>
                  </a:cubicBezTo>
                  <a:cubicBezTo>
                    <a:pt x="288" y="438"/>
                    <a:pt x="288" y="438"/>
                    <a:pt x="288" y="438"/>
                  </a:cubicBezTo>
                  <a:cubicBezTo>
                    <a:pt x="288" y="438"/>
                    <a:pt x="339" y="439"/>
                    <a:pt x="376" y="442"/>
                  </a:cubicBezTo>
                  <a:cubicBezTo>
                    <a:pt x="376" y="442"/>
                    <a:pt x="376" y="442"/>
                    <a:pt x="376" y="442"/>
                  </a:cubicBezTo>
                  <a:cubicBezTo>
                    <a:pt x="379" y="438"/>
                    <a:pt x="386" y="431"/>
                    <a:pt x="387" y="422"/>
                  </a:cubicBezTo>
                  <a:cubicBezTo>
                    <a:pt x="389" y="410"/>
                    <a:pt x="396" y="395"/>
                    <a:pt x="396" y="395"/>
                  </a:cubicBezTo>
                  <a:cubicBezTo>
                    <a:pt x="411" y="393"/>
                    <a:pt x="411" y="393"/>
                    <a:pt x="411" y="393"/>
                  </a:cubicBezTo>
                  <a:cubicBezTo>
                    <a:pt x="431" y="393"/>
                    <a:pt x="431" y="393"/>
                    <a:pt x="431" y="393"/>
                  </a:cubicBezTo>
                  <a:cubicBezTo>
                    <a:pt x="433" y="398"/>
                    <a:pt x="433" y="398"/>
                    <a:pt x="433" y="398"/>
                  </a:cubicBezTo>
                  <a:cubicBezTo>
                    <a:pt x="451" y="392"/>
                    <a:pt x="451" y="392"/>
                    <a:pt x="451" y="392"/>
                  </a:cubicBezTo>
                  <a:cubicBezTo>
                    <a:pt x="454" y="387"/>
                    <a:pt x="454" y="387"/>
                    <a:pt x="454" y="387"/>
                  </a:cubicBezTo>
                  <a:cubicBezTo>
                    <a:pt x="451" y="384"/>
                    <a:pt x="448" y="381"/>
                    <a:pt x="448" y="378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 232">
              <a:extLst>
                <a:ext uri="{FF2B5EF4-FFF2-40B4-BE49-F238E27FC236}">
                  <a16:creationId xmlns:a16="http://schemas.microsoft.com/office/drawing/2014/main" id="{BDC90F89-1368-27C5-E538-29D6028F5E14}"/>
                </a:ext>
              </a:extLst>
            </p:cNvPr>
            <p:cNvSpPr>
              <a:spLocks/>
            </p:cNvSpPr>
            <p:nvPr/>
          </p:nvSpPr>
          <p:spPr bwMode="gray">
            <a:xfrm>
              <a:off x="-1387" y="-13797"/>
              <a:ext cx="210" cy="191"/>
            </a:xfrm>
            <a:custGeom>
              <a:avLst/>
              <a:gdLst>
                <a:gd name="T0" fmla="*/ 35 w 89"/>
                <a:gd name="T1" fmla="*/ 0 h 81"/>
                <a:gd name="T2" fmla="*/ 20 w 89"/>
                <a:gd name="T3" fmla="*/ 2 h 81"/>
                <a:gd name="T4" fmla="*/ 11 w 89"/>
                <a:gd name="T5" fmla="*/ 29 h 81"/>
                <a:gd name="T6" fmla="*/ 0 w 89"/>
                <a:gd name="T7" fmla="*/ 49 h 81"/>
                <a:gd name="T8" fmla="*/ 40 w 89"/>
                <a:gd name="T9" fmla="*/ 55 h 81"/>
                <a:gd name="T10" fmla="*/ 50 w 89"/>
                <a:gd name="T11" fmla="*/ 81 h 81"/>
                <a:gd name="T12" fmla="*/ 89 w 89"/>
                <a:gd name="T13" fmla="*/ 80 h 81"/>
                <a:gd name="T14" fmla="*/ 64 w 89"/>
                <a:gd name="T15" fmla="*/ 47 h 81"/>
                <a:gd name="T16" fmla="*/ 64 w 89"/>
                <a:gd name="T17" fmla="*/ 46 h 81"/>
                <a:gd name="T18" fmla="*/ 56 w 89"/>
                <a:gd name="T19" fmla="*/ 41 h 81"/>
                <a:gd name="T20" fmla="*/ 55 w 89"/>
                <a:gd name="T21" fmla="*/ 27 h 81"/>
                <a:gd name="T22" fmla="*/ 73 w 89"/>
                <a:gd name="T23" fmla="*/ 25 h 81"/>
                <a:gd name="T24" fmla="*/ 77 w 89"/>
                <a:gd name="T25" fmla="*/ 16 h 81"/>
                <a:gd name="T26" fmla="*/ 68 w 89"/>
                <a:gd name="T27" fmla="*/ 8 h 81"/>
                <a:gd name="T28" fmla="*/ 59 w 89"/>
                <a:gd name="T29" fmla="*/ 13 h 81"/>
                <a:gd name="T30" fmla="*/ 55 w 89"/>
                <a:gd name="T31" fmla="*/ 0 h 81"/>
                <a:gd name="T32" fmla="*/ 35 w 89"/>
                <a:gd name="T33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81">
                  <a:moveTo>
                    <a:pt x="35" y="0"/>
                  </a:move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13" y="17"/>
                    <a:pt x="11" y="29"/>
                  </a:cubicBezTo>
                  <a:cubicBezTo>
                    <a:pt x="10" y="38"/>
                    <a:pt x="3" y="45"/>
                    <a:pt x="0" y="49"/>
                  </a:cubicBezTo>
                  <a:cubicBezTo>
                    <a:pt x="21" y="50"/>
                    <a:pt x="38" y="52"/>
                    <a:pt x="40" y="55"/>
                  </a:cubicBezTo>
                  <a:cubicBezTo>
                    <a:pt x="46" y="62"/>
                    <a:pt x="36" y="80"/>
                    <a:pt x="50" y="81"/>
                  </a:cubicBezTo>
                  <a:cubicBezTo>
                    <a:pt x="58" y="81"/>
                    <a:pt x="76" y="81"/>
                    <a:pt x="89" y="80"/>
                  </a:cubicBezTo>
                  <a:cubicBezTo>
                    <a:pt x="79" y="72"/>
                    <a:pt x="63" y="58"/>
                    <a:pt x="64" y="47"/>
                  </a:cubicBezTo>
                  <a:cubicBezTo>
                    <a:pt x="64" y="47"/>
                    <a:pt x="64" y="47"/>
                    <a:pt x="64" y="46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69" y="25"/>
                    <a:pt x="73" y="25"/>
                  </a:cubicBezTo>
                  <a:cubicBezTo>
                    <a:pt x="77" y="25"/>
                    <a:pt x="77" y="16"/>
                    <a:pt x="77" y="16"/>
                  </a:cubicBezTo>
                  <a:cubicBezTo>
                    <a:pt x="77" y="16"/>
                    <a:pt x="77" y="8"/>
                    <a:pt x="68" y="8"/>
                  </a:cubicBezTo>
                  <a:cubicBezTo>
                    <a:pt x="59" y="8"/>
                    <a:pt x="59" y="13"/>
                    <a:pt x="59" y="13"/>
                  </a:cubicBezTo>
                  <a:cubicBezTo>
                    <a:pt x="55" y="0"/>
                    <a:pt x="55" y="0"/>
                    <a:pt x="55" y="0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 233">
              <a:extLst>
                <a:ext uri="{FF2B5EF4-FFF2-40B4-BE49-F238E27FC236}">
                  <a16:creationId xmlns:a16="http://schemas.microsoft.com/office/drawing/2014/main" id="{3DB5B3BE-8424-FE90-281D-C5404EEE084A}"/>
                </a:ext>
              </a:extLst>
            </p:cNvPr>
            <p:cNvSpPr>
              <a:spLocks/>
            </p:cNvSpPr>
            <p:nvPr/>
          </p:nvSpPr>
          <p:spPr bwMode="gray">
            <a:xfrm>
              <a:off x="-1815" y="-15037"/>
              <a:ext cx="2266" cy="1864"/>
            </a:xfrm>
            <a:custGeom>
              <a:avLst/>
              <a:gdLst>
                <a:gd name="T0" fmla="*/ 900 w 959"/>
                <a:gd name="T1" fmla="*/ 739 h 789"/>
                <a:gd name="T2" fmla="*/ 931 w 959"/>
                <a:gd name="T3" fmla="*/ 708 h 789"/>
                <a:gd name="T4" fmla="*/ 933 w 959"/>
                <a:gd name="T5" fmla="*/ 673 h 789"/>
                <a:gd name="T6" fmla="*/ 929 w 959"/>
                <a:gd name="T7" fmla="*/ 621 h 789"/>
                <a:gd name="T8" fmla="*/ 884 w 959"/>
                <a:gd name="T9" fmla="*/ 609 h 789"/>
                <a:gd name="T10" fmla="*/ 825 w 959"/>
                <a:gd name="T11" fmla="*/ 533 h 789"/>
                <a:gd name="T12" fmla="*/ 839 w 959"/>
                <a:gd name="T13" fmla="*/ 453 h 789"/>
                <a:gd name="T14" fmla="*/ 784 w 959"/>
                <a:gd name="T15" fmla="*/ 364 h 789"/>
                <a:gd name="T16" fmla="*/ 780 w 959"/>
                <a:gd name="T17" fmla="*/ 315 h 789"/>
                <a:gd name="T18" fmla="*/ 784 w 959"/>
                <a:gd name="T19" fmla="*/ 280 h 789"/>
                <a:gd name="T20" fmla="*/ 799 w 959"/>
                <a:gd name="T21" fmla="*/ 225 h 789"/>
                <a:gd name="T22" fmla="*/ 786 w 959"/>
                <a:gd name="T23" fmla="*/ 189 h 789"/>
                <a:gd name="T24" fmla="*/ 723 w 959"/>
                <a:gd name="T25" fmla="*/ 149 h 789"/>
                <a:gd name="T26" fmla="*/ 648 w 959"/>
                <a:gd name="T27" fmla="*/ 116 h 789"/>
                <a:gd name="T28" fmla="*/ 602 w 959"/>
                <a:gd name="T29" fmla="*/ 103 h 789"/>
                <a:gd name="T30" fmla="*/ 556 w 959"/>
                <a:gd name="T31" fmla="*/ 85 h 789"/>
                <a:gd name="T32" fmla="*/ 487 w 959"/>
                <a:gd name="T33" fmla="*/ 115 h 789"/>
                <a:gd name="T34" fmla="*/ 452 w 959"/>
                <a:gd name="T35" fmla="*/ 133 h 789"/>
                <a:gd name="T36" fmla="*/ 399 w 959"/>
                <a:gd name="T37" fmla="*/ 164 h 789"/>
                <a:gd name="T38" fmla="*/ 309 w 959"/>
                <a:gd name="T39" fmla="*/ 155 h 789"/>
                <a:gd name="T40" fmla="*/ 233 w 959"/>
                <a:gd name="T41" fmla="*/ 110 h 789"/>
                <a:gd name="T42" fmla="*/ 199 w 959"/>
                <a:gd name="T43" fmla="*/ 69 h 789"/>
                <a:gd name="T44" fmla="*/ 181 w 959"/>
                <a:gd name="T45" fmla="*/ 33 h 789"/>
                <a:gd name="T46" fmla="*/ 128 w 959"/>
                <a:gd name="T47" fmla="*/ 35 h 789"/>
                <a:gd name="T48" fmla="*/ 45 w 959"/>
                <a:gd name="T49" fmla="*/ 30 h 789"/>
                <a:gd name="T50" fmla="*/ 0 w 959"/>
                <a:gd name="T51" fmla="*/ 24 h 789"/>
                <a:gd name="T52" fmla="*/ 24 w 959"/>
                <a:gd name="T53" fmla="*/ 78 h 789"/>
                <a:gd name="T54" fmla="*/ 37 w 959"/>
                <a:gd name="T55" fmla="*/ 129 h 789"/>
                <a:gd name="T56" fmla="*/ 79 w 959"/>
                <a:gd name="T57" fmla="*/ 203 h 789"/>
                <a:gd name="T58" fmla="*/ 123 w 959"/>
                <a:gd name="T59" fmla="*/ 212 h 789"/>
                <a:gd name="T60" fmla="*/ 110 w 959"/>
                <a:gd name="T61" fmla="*/ 258 h 789"/>
                <a:gd name="T62" fmla="*/ 96 w 959"/>
                <a:gd name="T63" fmla="*/ 286 h 789"/>
                <a:gd name="T64" fmla="*/ 140 w 959"/>
                <a:gd name="T65" fmla="*/ 344 h 789"/>
                <a:gd name="T66" fmla="*/ 185 w 959"/>
                <a:gd name="T67" fmla="*/ 390 h 789"/>
                <a:gd name="T68" fmla="*/ 220 w 959"/>
                <a:gd name="T69" fmla="*/ 472 h 789"/>
                <a:gd name="T70" fmla="*/ 253 w 959"/>
                <a:gd name="T71" fmla="*/ 510 h 789"/>
                <a:gd name="T72" fmla="*/ 298 w 959"/>
                <a:gd name="T73" fmla="*/ 516 h 789"/>
                <a:gd name="T74" fmla="*/ 316 w 959"/>
                <a:gd name="T75" fmla="*/ 524 h 789"/>
                <a:gd name="T76" fmla="*/ 338 w 959"/>
                <a:gd name="T77" fmla="*/ 541 h 789"/>
                <a:gd name="T78" fmla="*/ 371 w 959"/>
                <a:gd name="T79" fmla="*/ 583 h 789"/>
                <a:gd name="T80" fmla="*/ 387 w 959"/>
                <a:gd name="T81" fmla="*/ 600 h 789"/>
                <a:gd name="T82" fmla="*/ 431 w 959"/>
                <a:gd name="T83" fmla="*/ 644 h 789"/>
                <a:gd name="T84" fmla="*/ 526 w 959"/>
                <a:gd name="T85" fmla="*/ 703 h 789"/>
                <a:gd name="T86" fmla="*/ 565 w 959"/>
                <a:gd name="T87" fmla="*/ 715 h 789"/>
                <a:gd name="T88" fmla="*/ 606 w 959"/>
                <a:gd name="T89" fmla="*/ 691 h 789"/>
                <a:gd name="T90" fmla="*/ 641 w 959"/>
                <a:gd name="T91" fmla="*/ 682 h 789"/>
                <a:gd name="T92" fmla="*/ 718 w 959"/>
                <a:gd name="T93" fmla="*/ 752 h 789"/>
                <a:gd name="T94" fmla="*/ 805 w 959"/>
                <a:gd name="T95" fmla="*/ 781 h 789"/>
                <a:gd name="T96" fmla="*/ 889 w 959"/>
                <a:gd name="T97" fmla="*/ 786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59" h="789">
                  <a:moveTo>
                    <a:pt x="890" y="786"/>
                  </a:moveTo>
                  <a:cubicBezTo>
                    <a:pt x="889" y="779"/>
                    <a:pt x="885" y="751"/>
                    <a:pt x="890" y="749"/>
                  </a:cubicBezTo>
                  <a:cubicBezTo>
                    <a:pt x="896" y="746"/>
                    <a:pt x="900" y="739"/>
                    <a:pt x="900" y="739"/>
                  </a:cubicBezTo>
                  <a:cubicBezTo>
                    <a:pt x="902" y="728"/>
                    <a:pt x="902" y="728"/>
                    <a:pt x="902" y="728"/>
                  </a:cubicBezTo>
                  <a:cubicBezTo>
                    <a:pt x="902" y="728"/>
                    <a:pt x="911" y="730"/>
                    <a:pt x="915" y="724"/>
                  </a:cubicBezTo>
                  <a:cubicBezTo>
                    <a:pt x="919" y="718"/>
                    <a:pt x="913" y="714"/>
                    <a:pt x="931" y="708"/>
                  </a:cubicBezTo>
                  <a:cubicBezTo>
                    <a:pt x="949" y="702"/>
                    <a:pt x="951" y="715"/>
                    <a:pt x="955" y="710"/>
                  </a:cubicBezTo>
                  <a:cubicBezTo>
                    <a:pt x="959" y="705"/>
                    <a:pt x="958" y="689"/>
                    <a:pt x="950" y="678"/>
                  </a:cubicBezTo>
                  <a:cubicBezTo>
                    <a:pt x="942" y="667"/>
                    <a:pt x="936" y="680"/>
                    <a:pt x="933" y="673"/>
                  </a:cubicBezTo>
                  <a:cubicBezTo>
                    <a:pt x="930" y="666"/>
                    <a:pt x="931" y="643"/>
                    <a:pt x="931" y="643"/>
                  </a:cubicBezTo>
                  <a:cubicBezTo>
                    <a:pt x="928" y="641"/>
                    <a:pt x="928" y="641"/>
                    <a:pt x="928" y="641"/>
                  </a:cubicBezTo>
                  <a:cubicBezTo>
                    <a:pt x="929" y="621"/>
                    <a:pt x="929" y="621"/>
                    <a:pt x="929" y="621"/>
                  </a:cubicBezTo>
                  <a:cubicBezTo>
                    <a:pt x="916" y="622"/>
                    <a:pt x="916" y="622"/>
                    <a:pt x="916" y="622"/>
                  </a:cubicBezTo>
                  <a:cubicBezTo>
                    <a:pt x="907" y="611"/>
                    <a:pt x="907" y="611"/>
                    <a:pt x="907" y="611"/>
                  </a:cubicBezTo>
                  <a:cubicBezTo>
                    <a:pt x="907" y="611"/>
                    <a:pt x="892" y="619"/>
                    <a:pt x="884" y="609"/>
                  </a:cubicBezTo>
                  <a:cubicBezTo>
                    <a:pt x="876" y="599"/>
                    <a:pt x="862" y="579"/>
                    <a:pt x="856" y="568"/>
                  </a:cubicBezTo>
                  <a:cubicBezTo>
                    <a:pt x="850" y="557"/>
                    <a:pt x="830" y="538"/>
                    <a:pt x="830" y="538"/>
                  </a:cubicBezTo>
                  <a:cubicBezTo>
                    <a:pt x="830" y="538"/>
                    <a:pt x="825" y="537"/>
                    <a:pt x="825" y="533"/>
                  </a:cubicBezTo>
                  <a:cubicBezTo>
                    <a:pt x="825" y="529"/>
                    <a:pt x="841" y="515"/>
                    <a:pt x="848" y="505"/>
                  </a:cubicBezTo>
                  <a:cubicBezTo>
                    <a:pt x="855" y="495"/>
                    <a:pt x="866" y="482"/>
                    <a:pt x="860" y="465"/>
                  </a:cubicBezTo>
                  <a:cubicBezTo>
                    <a:pt x="854" y="448"/>
                    <a:pt x="839" y="453"/>
                    <a:pt x="839" y="453"/>
                  </a:cubicBezTo>
                  <a:cubicBezTo>
                    <a:pt x="839" y="453"/>
                    <a:pt x="809" y="453"/>
                    <a:pt x="809" y="445"/>
                  </a:cubicBezTo>
                  <a:cubicBezTo>
                    <a:pt x="809" y="437"/>
                    <a:pt x="809" y="423"/>
                    <a:pt x="809" y="412"/>
                  </a:cubicBezTo>
                  <a:cubicBezTo>
                    <a:pt x="809" y="401"/>
                    <a:pt x="782" y="377"/>
                    <a:pt x="784" y="364"/>
                  </a:cubicBezTo>
                  <a:cubicBezTo>
                    <a:pt x="786" y="351"/>
                    <a:pt x="801" y="343"/>
                    <a:pt x="800" y="337"/>
                  </a:cubicBezTo>
                  <a:cubicBezTo>
                    <a:pt x="799" y="331"/>
                    <a:pt x="778" y="334"/>
                    <a:pt x="778" y="334"/>
                  </a:cubicBezTo>
                  <a:cubicBezTo>
                    <a:pt x="780" y="315"/>
                    <a:pt x="780" y="315"/>
                    <a:pt x="780" y="315"/>
                  </a:cubicBezTo>
                  <a:cubicBezTo>
                    <a:pt x="780" y="315"/>
                    <a:pt x="769" y="306"/>
                    <a:pt x="772" y="301"/>
                  </a:cubicBezTo>
                  <a:cubicBezTo>
                    <a:pt x="775" y="296"/>
                    <a:pt x="789" y="291"/>
                    <a:pt x="789" y="291"/>
                  </a:cubicBezTo>
                  <a:cubicBezTo>
                    <a:pt x="784" y="280"/>
                    <a:pt x="784" y="280"/>
                    <a:pt x="784" y="280"/>
                  </a:cubicBezTo>
                  <a:cubicBezTo>
                    <a:pt x="798" y="276"/>
                    <a:pt x="798" y="276"/>
                    <a:pt x="798" y="276"/>
                  </a:cubicBezTo>
                  <a:cubicBezTo>
                    <a:pt x="798" y="276"/>
                    <a:pt x="791" y="246"/>
                    <a:pt x="792" y="239"/>
                  </a:cubicBezTo>
                  <a:cubicBezTo>
                    <a:pt x="793" y="232"/>
                    <a:pt x="799" y="225"/>
                    <a:pt x="799" y="225"/>
                  </a:cubicBezTo>
                  <a:cubicBezTo>
                    <a:pt x="792" y="207"/>
                    <a:pt x="792" y="207"/>
                    <a:pt x="792" y="207"/>
                  </a:cubicBezTo>
                  <a:cubicBezTo>
                    <a:pt x="793" y="192"/>
                    <a:pt x="793" y="192"/>
                    <a:pt x="793" y="192"/>
                  </a:cubicBezTo>
                  <a:cubicBezTo>
                    <a:pt x="786" y="189"/>
                    <a:pt x="786" y="189"/>
                    <a:pt x="786" y="189"/>
                  </a:cubicBezTo>
                  <a:cubicBezTo>
                    <a:pt x="785" y="167"/>
                    <a:pt x="785" y="167"/>
                    <a:pt x="785" y="167"/>
                  </a:cubicBezTo>
                  <a:cubicBezTo>
                    <a:pt x="743" y="169"/>
                    <a:pt x="743" y="169"/>
                    <a:pt x="743" y="169"/>
                  </a:cubicBezTo>
                  <a:cubicBezTo>
                    <a:pt x="743" y="169"/>
                    <a:pt x="729" y="153"/>
                    <a:pt x="723" y="149"/>
                  </a:cubicBezTo>
                  <a:cubicBezTo>
                    <a:pt x="717" y="145"/>
                    <a:pt x="704" y="143"/>
                    <a:pt x="704" y="143"/>
                  </a:cubicBezTo>
                  <a:cubicBezTo>
                    <a:pt x="704" y="143"/>
                    <a:pt x="696" y="125"/>
                    <a:pt x="691" y="121"/>
                  </a:cubicBezTo>
                  <a:cubicBezTo>
                    <a:pt x="686" y="117"/>
                    <a:pt x="648" y="116"/>
                    <a:pt x="648" y="116"/>
                  </a:cubicBezTo>
                  <a:cubicBezTo>
                    <a:pt x="645" y="120"/>
                    <a:pt x="645" y="120"/>
                    <a:pt x="645" y="120"/>
                  </a:cubicBezTo>
                  <a:cubicBezTo>
                    <a:pt x="645" y="120"/>
                    <a:pt x="624" y="103"/>
                    <a:pt x="619" y="103"/>
                  </a:cubicBezTo>
                  <a:cubicBezTo>
                    <a:pt x="614" y="103"/>
                    <a:pt x="602" y="103"/>
                    <a:pt x="602" y="103"/>
                  </a:cubicBezTo>
                  <a:cubicBezTo>
                    <a:pt x="602" y="103"/>
                    <a:pt x="601" y="89"/>
                    <a:pt x="595" y="85"/>
                  </a:cubicBezTo>
                  <a:cubicBezTo>
                    <a:pt x="589" y="81"/>
                    <a:pt x="580" y="86"/>
                    <a:pt x="580" y="86"/>
                  </a:cubicBezTo>
                  <a:cubicBezTo>
                    <a:pt x="580" y="86"/>
                    <a:pt x="559" y="83"/>
                    <a:pt x="556" y="85"/>
                  </a:cubicBezTo>
                  <a:cubicBezTo>
                    <a:pt x="553" y="87"/>
                    <a:pt x="551" y="93"/>
                    <a:pt x="551" y="93"/>
                  </a:cubicBezTo>
                  <a:cubicBezTo>
                    <a:pt x="551" y="93"/>
                    <a:pt x="535" y="88"/>
                    <a:pt x="524" y="90"/>
                  </a:cubicBezTo>
                  <a:cubicBezTo>
                    <a:pt x="513" y="92"/>
                    <a:pt x="487" y="115"/>
                    <a:pt x="487" y="115"/>
                  </a:cubicBezTo>
                  <a:cubicBezTo>
                    <a:pt x="487" y="123"/>
                    <a:pt x="487" y="123"/>
                    <a:pt x="487" y="123"/>
                  </a:cubicBezTo>
                  <a:cubicBezTo>
                    <a:pt x="487" y="123"/>
                    <a:pt x="476" y="132"/>
                    <a:pt x="472" y="133"/>
                  </a:cubicBezTo>
                  <a:cubicBezTo>
                    <a:pt x="468" y="134"/>
                    <a:pt x="452" y="133"/>
                    <a:pt x="452" y="133"/>
                  </a:cubicBezTo>
                  <a:cubicBezTo>
                    <a:pt x="452" y="133"/>
                    <a:pt x="472" y="159"/>
                    <a:pt x="460" y="161"/>
                  </a:cubicBezTo>
                  <a:cubicBezTo>
                    <a:pt x="448" y="163"/>
                    <a:pt x="437" y="156"/>
                    <a:pt x="437" y="156"/>
                  </a:cubicBezTo>
                  <a:cubicBezTo>
                    <a:pt x="437" y="156"/>
                    <a:pt x="412" y="161"/>
                    <a:pt x="399" y="164"/>
                  </a:cubicBezTo>
                  <a:cubicBezTo>
                    <a:pt x="386" y="167"/>
                    <a:pt x="379" y="176"/>
                    <a:pt x="371" y="175"/>
                  </a:cubicBezTo>
                  <a:cubicBezTo>
                    <a:pt x="363" y="174"/>
                    <a:pt x="355" y="165"/>
                    <a:pt x="345" y="165"/>
                  </a:cubicBezTo>
                  <a:cubicBezTo>
                    <a:pt x="335" y="165"/>
                    <a:pt x="323" y="165"/>
                    <a:pt x="309" y="155"/>
                  </a:cubicBezTo>
                  <a:cubicBezTo>
                    <a:pt x="295" y="145"/>
                    <a:pt x="287" y="128"/>
                    <a:pt x="287" y="128"/>
                  </a:cubicBezTo>
                  <a:cubicBezTo>
                    <a:pt x="287" y="128"/>
                    <a:pt x="258" y="125"/>
                    <a:pt x="255" y="125"/>
                  </a:cubicBezTo>
                  <a:cubicBezTo>
                    <a:pt x="252" y="125"/>
                    <a:pt x="240" y="118"/>
                    <a:pt x="233" y="110"/>
                  </a:cubicBezTo>
                  <a:cubicBezTo>
                    <a:pt x="226" y="102"/>
                    <a:pt x="218" y="80"/>
                    <a:pt x="218" y="80"/>
                  </a:cubicBezTo>
                  <a:cubicBezTo>
                    <a:pt x="208" y="78"/>
                    <a:pt x="208" y="78"/>
                    <a:pt x="208" y="78"/>
                  </a:cubicBezTo>
                  <a:cubicBezTo>
                    <a:pt x="208" y="78"/>
                    <a:pt x="205" y="72"/>
                    <a:pt x="199" y="69"/>
                  </a:cubicBezTo>
                  <a:cubicBezTo>
                    <a:pt x="193" y="66"/>
                    <a:pt x="180" y="58"/>
                    <a:pt x="180" y="53"/>
                  </a:cubicBezTo>
                  <a:cubicBezTo>
                    <a:pt x="180" y="48"/>
                    <a:pt x="190" y="52"/>
                    <a:pt x="190" y="46"/>
                  </a:cubicBezTo>
                  <a:cubicBezTo>
                    <a:pt x="190" y="40"/>
                    <a:pt x="181" y="38"/>
                    <a:pt x="181" y="33"/>
                  </a:cubicBezTo>
                  <a:cubicBezTo>
                    <a:pt x="181" y="28"/>
                    <a:pt x="190" y="28"/>
                    <a:pt x="188" y="22"/>
                  </a:cubicBezTo>
                  <a:cubicBezTo>
                    <a:pt x="186" y="16"/>
                    <a:pt x="179" y="4"/>
                    <a:pt x="173" y="4"/>
                  </a:cubicBezTo>
                  <a:cubicBezTo>
                    <a:pt x="167" y="4"/>
                    <a:pt x="131" y="31"/>
                    <a:pt x="128" y="35"/>
                  </a:cubicBezTo>
                  <a:cubicBezTo>
                    <a:pt x="125" y="39"/>
                    <a:pt x="117" y="50"/>
                    <a:pt x="114" y="51"/>
                  </a:cubicBezTo>
                  <a:cubicBezTo>
                    <a:pt x="111" y="52"/>
                    <a:pt x="102" y="52"/>
                    <a:pt x="87" y="52"/>
                  </a:cubicBezTo>
                  <a:cubicBezTo>
                    <a:pt x="72" y="52"/>
                    <a:pt x="55" y="38"/>
                    <a:pt x="45" y="30"/>
                  </a:cubicBezTo>
                  <a:cubicBezTo>
                    <a:pt x="35" y="22"/>
                    <a:pt x="38" y="4"/>
                    <a:pt x="29" y="2"/>
                  </a:cubicBezTo>
                  <a:cubicBezTo>
                    <a:pt x="20" y="0"/>
                    <a:pt x="16" y="22"/>
                    <a:pt x="16" y="2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9" y="76"/>
                    <a:pt x="24" y="78"/>
                  </a:cubicBezTo>
                  <a:cubicBezTo>
                    <a:pt x="29" y="80"/>
                    <a:pt x="16" y="99"/>
                    <a:pt x="16" y="99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53" y="134"/>
                    <a:pt x="53" y="134"/>
                    <a:pt x="53" y="134"/>
                  </a:cubicBezTo>
                  <a:cubicBezTo>
                    <a:pt x="53" y="134"/>
                    <a:pt x="58" y="171"/>
                    <a:pt x="70" y="182"/>
                  </a:cubicBezTo>
                  <a:cubicBezTo>
                    <a:pt x="82" y="193"/>
                    <a:pt x="79" y="203"/>
                    <a:pt x="79" y="203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104" y="217"/>
                    <a:pt x="104" y="217"/>
                    <a:pt x="104" y="217"/>
                  </a:cubicBezTo>
                  <a:cubicBezTo>
                    <a:pt x="104" y="217"/>
                    <a:pt x="118" y="208"/>
                    <a:pt x="123" y="212"/>
                  </a:cubicBezTo>
                  <a:cubicBezTo>
                    <a:pt x="128" y="216"/>
                    <a:pt x="112" y="225"/>
                    <a:pt x="112" y="229"/>
                  </a:cubicBezTo>
                  <a:cubicBezTo>
                    <a:pt x="112" y="233"/>
                    <a:pt x="126" y="242"/>
                    <a:pt x="123" y="250"/>
                  </a:cubicBezTo>
                  <a:cubicBezTo>
                    <a:pt x="120" y="258"/>
                    <a:pt x="110" y="258"/>
                    <a:pt x="110" y="258"/>
                  </a:cubicBezTo>
                  <a:cubicBezTo>
                    <a:pt x="109" y="267"/>
                    <a:pt x="109" y="267"/>
                    <a:pt x="109" y="267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10" y="280"/>
                    <a:pt x="97" y="279"/>
                    <a:pt x="96" y="286"/>
                  </a:cubicBezTo>
                  <a:cubicBezTo>
                    <a:pt x="95" y="293"/>
                    <a:pt x="104" y="300"/>
                    <a:pt x="104" y="300"/>
                  </a:cubicBezTo>
                  <a:cubicBezTo>
                    <a:pt x="104" y="300"/>
                    <a:pt x="94" y="305"/>
                    <a:pt x="96" y="314"/>
                  </a:cubicBezTo>
                  <a:cubicBezTo>
                    <a:pt x="98" y="323"/>
                    <a:pt x="140" y="344"/>
                    <a:pt x="140" y="344"/>
                  </a:cubicBezTo>
                  <a:cubicBezTo>
                    <a:pt x="140" y="371"/>
                    <a:pt x="140" y="371"/>
                    <a:pt x="140" y="371"/>
                  </a:cubicBezTo>
                  <a:cubicBezTo>
                    <a:pt x="153" y="372"/>
                    <a:pt x="153" y="372"/>
                    <a:pt x="153" y="372"/>
                  </a:cubicBezTo>
                  <a:cubicBezTo>
                    <a:pt x="153" y="372"/>
                    <a:pt x="174" y="390"/>
                    <a:pt x="185" y="390"/>
                  </a:cubicBezTo>
                  <a:cubicBezTo>
                    <a:pt x="196" y="390"/>
                    <a:pt x="198" y="402"/>
                    <a:pt x="198" y="402"/>
                  </a:cubicBezTo>
                  <a:cubicBezTo>
                    <a:pt x="220" y="427"/>
                    <a:pt x="220" y="427"/>
                    <a:pt x="220" y="427"/>
                  </a:cubicBezTo>
                  <a:cubicBezTo>
                    <a:pt x="220" y="427"/>
                    <a:pt x="212" y="466"/>
                    <a:pt x="220" y="472"/>
                  </a:cubicBezTo>
                  <a:cubicBezTo>
                    <a:pt x="228" y="478"/>
                    <a:pt x="233" y="478"/>
                    <a:pt x="233" y="478"/>
                  </a:cubicBezTo>
                  <a:cubicBezTo>
                    <a:pt x="237" y="497"/>
                    <a:pt x="237" y="497"/>
                    <a:pt x="237" y="497"/>
                  </a:cubicBezTo>
                  <a:cubicBezTo>
                    <a:pt x="237" y="497"/>
                    <a:pt x="252" y="501"/>
                    <a:pt x="253" y="510"/>
                  </a:cubicBezTo>
                  <a:cubicBezTo>
                    <a:pt x="254" y="519"/>
                    <a:pt x="275" y="533"/>
                    <a:pt x="282" y="528"/>
                  </a:cubicBezTo>
                  <a:cubicBezTo>
                    <a:pt x="289" y="523"/>
                    <a:pt x="267" y="512"/>
                    <a:pt x="283" y="505"/>
                  </a:cubicBezTo>
                  <a:cubicBezTo>
                    <a:pt x="299" y="498"/>
                    <a:pt x="298" y="516"/>
                    <a:pt x="298" y="516"/>
                  </a:cubicBezTo>
                  <a:cubicBezTo>
                    <a:pt x="305" y="522"/>
                    <a:pt x="305" y="522"/>
                    <a:pt x="305" y="522"/>
                  </a:cubicBezTo>
                  <a:cubicBezTo>
                    <a:pt x="306" y="521"/>
                    <a:pt x="308" y="521"/>
                    <a:pt x="311" y="522"/>
                  </a:cubicBezTo>
                  <a:cubicBezTo>
                    <a:pt x="313" y="523"/>
                    <a:pt x="314" y="523"/>
                    <a:pt x="316" y="524"/>
                  </a:cubicBezTo>
                  <a:cubicBezTo>
                    <a:pt x="317" y="523"/>
                    <a:pt x="318" y="521"/>
                    <a:pt x="318" y="520"/>
                  </a:cubicBezTo>
                  <a:cubicBezTo>
                    <a:pt x="319" y="516"/>
                    <a:pt x="330" y="513"/>
                    <a:pt x="333" y="515"/>
                  </a:cubicBezTo>
                  <a:cubicBezTo>
                    <a:pt x="336" y="517"/>
                    <a:pt x="331" y="538"/>
                    <a:pt x="338" y="541"/>
                  </a:cubicBezTo>
                  <a:cubicBezTo>
                    <a:pt x="345" y="544"/>
                    <a:pt x="360" y="555"/>
                    <a:pt x="360" y="555"/>
                  </a:cubicBezTo>
                  <a:cubicBezTo>
                    <a:pt x="360" y="555"/>
                    <a:pt x="358" y="560"/>
                    <a:pt x="358" y="565"/>
                  </a:cubicBezTo>
                  <a:cubicBezTo>
                    <a:pt x="363" y="571"/>
                    <a:pt x="368" y="577"/>
                    <a:pt x="371" y="583"/>
                  </a:cubicBezTo>
                  <a:cubicBezTo>
                    <a:pt x="371" y="583"/>
                    <a:pt x="371" y="583"/>
                    <a:pt x="371" y="583"/>
                  </a:cubicBezTo>
                  <a:cubicBezTo>
                    <a:pt x="375" y="585"/>
                    <a:pt x="378" y="587"/>
                    <a:pt x="378" y="587"/>
                  </a:cubicBezTo>
                  <a:cubicBezTo>
                    <a:pt x="387" y="600"/>
                    <a:pt x="387" y="600"/>
                    <a:pt x="387" y="600"/>
                  </a:cubicBezTo>
                  <a:cubicBezTo>
                    <a:pt x="387" y="600"/>
                    <a:pt x="389" y="624"/>
                    <a:pt x="399" y="626"/>
                  </a:cubicBezTo>
                  <a:cubicBezTo>
                    <a:pt x="409" y="628"/>
                    <a:pt x="409" y="644"/>
                    <a:pt x="409" y="644"/>
                  </a:cubicBezTo>
                  <a:cubicBezTo>
                    <a:pt x="431" y="644"/>
                    <a:pt x="431" y="644"/>
                    <a:pt x="431" y="644"/>
                  </a:cubicBezTo>
                  <a:cubicBezTo>
                    <a:pt x="443" y="656"/>
                    <a:pt x="443" y="656"/>
                    <a:pt x="443" y="656"/>
                  </a:cubicBezTo>
                  <a:cubicBezTo>
                    <a:pt x="451" y="654"/>
                    <a:pt x="458" y="652"/>
                    <a:pt x="465" y="656"/>
                  </a:cubicBezTo>
                  <a:cubicBezTo>
                    <a:pt x="475" y="661"/>
                    <a:pt x="504" y="686"/>
                    <a:pt x="526" y="703"/>
                  </a:cubicBezTo>
                  <a:cubicBezTo>
                    <a:pt x="527" y="704"/>
                    <a:pt x="528" y="704"/>
                    <a:pt x="529" y="704"/>
                  </a:cubicBezTo>
                  <a:cubicBezTo>
                    <a:pt x="535" y="704"/>
                    <a:pt x="546" y="706"/>
                    <a:pt x="546" y="706"/>
                  </a:cubicBezTo>
                  <a:cubicBezTo>
                    <a:pt x="546" y="706"/>
                    <a:pt x="549" y="720"/>
                    <a:pt x="565" y="715"/>
                  </a:cubicBezTo>
                  <a:cubicBezTo>
                    <a:pt x="581" y="710"/>
                    <a:pt x="584" y="703"/>
                    <a:pt x="584" y="703"/>
                  </a:cubicBezTo>
                  <a:cubicBezTo>
                    <a:pt x="600" y="705"/>
                    <a:pt x="600" y="705"/>
                    <a:pt x="600" y="705"/>
                  </a:cubicBezTo>
                  <a:cubicBezTo>
                    <a:pt x="606" y="691"/>
                    <a:pt x="606" y="691"/>
                    <a:pt x="606" y="691"/>
                  </a:cubicBezTo>
                  <a:cubicBezTo>
                    <a:pt x="620" y="689"/>
                    <a:pt x="620" y="689"/>
                    <a:pt x="620" y="689"/>
                  </a:cubicBezTo>
                  <a:cubicBezTo>
                    <a:pt x="636" y="674"/>
                    <a:pt x="636" y="674"/>
                    <a:pt x="636" y="674"/>
                  </a:cubicBezTo>
                  <a:cubicBezTo>
                    <a:pt x="641" y="682"/>
                    <a:pt x="641" y="682"/>
                    <a:pt x="641" y="682"/>
                  </a:cubicBezTo>
                  <a:cubicBezTo>
                    <a:pt x="649" y="680"/>
                    <a:pt x="656" y="679"/>
                    <a:pt x="659" y="683"/>
                  </a:cubicBezTo>
                  <a:cubicBezTo>
                    <a:pt x="672" y="694"/>
                    <a:pt x="686" y="717"/>
                    <a:pt x="688" y="735"/>
                  </a:cubicBezTo>
                  <a:cubicBezTo>
                    <a:pt x="690" y="754"/>
                    <a:pt x="718" y="752"/>
                    <a:pt x="718" y="752"/>
                  </a:cubicBezTo>
                  <a:cubicBezTo>
                    <a:pt x="718" y="752"/>
                    <a:pt x="717" y="759"/>
                    <a:pt x="730" y="762"/>
                  </a:cubicBezTo>
                  <a:cubicBezTo>
                    <a:pt x="743" y="765"/>
                    <a:pt x="774" y="761"/>
                    <a:pt x="774" y="761"/>
                  </a:cubicBezTo>
                  <a:cubicBezTo>
                    <a:pt x="774" y="761"/>
                    <a:pt x="800" y="781"/>
                    <a:pt x="805" y="781"/>
                  </a:cubicBezTo>
                  <a:cubicBezTo>
                    <a:pt x="810" y="781"/>
                    <a:pt x="828" y="772"/>
                    <a:pt x="828" y="772"/>
                  </a:cubicBezTo>
                  <a:cubicBezTo>
                    <a:pt x="828" y="772"/>
                    <a:pt x="854" y="788"/>
                    <a:pt x="872" y="789"/>
                  </a:cubicBezTo>
                  <a:cubicBezTo>
                    <a:pt x="878" y="789"/>
                    <a:pt x="884" y="788"/>
                    <a:pt x="889" y="786"/>
                  </a:cubicBezTo>
                  <a:lnTo>
                    <a:pt x="890" y="786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 234">
              <a:extLst>
                <a:ext uri="{FF2B5EF4-FFF2-40B4-BE49-F238E27FC236}">
                  <a16:creationId xmlns:a16="http://schemas.microsoft.com/office/drawing/2014/main" id="{07C1B03A-A519-56C3-3C49-1CBC83EF2B3D}"/>
                </a:ext>
              </a:extLst>
            </p:cNvPr>
            <p:cNvSpPr>
              <a:spLocks/>
            </p:cNvSpPr>
            <p:nvPr/>
          </p:nvSpPr>
          <p:spPr bwMode="gray">
            <a:xfrm>
              <a:off x="609" y="-15189"/>
              <a:ext cx="879" cy="563"/>
            </a:xfrm>
            <a:custGeom>
              <a:avLst/>
              <a:gdLst>
                <a:gd name="T0" fmla="*/ 345 w 372"/>
                <a:gd name="T1" fmla="*/ 142 h 238"/>
                <a:gd name="T2" fmla="*/ 291 w 372"/>
                <a:gd name="T3" fmla="*/ 132 h 238"/>
                <a:gd name="T4" fmla="*/ 275 w 372"/>
                <a:gd name="T5" fmla="*/ 99 h 238"/>
                <a:gd name="T6" fmla="*/ 266 w 372"/>
                <a:gd name="T7" fmla="*/ 79 h 238"/>
                <a:gd name="T8" fmla="*/ 230 w 372"/>
                <a:gd name="T9" fmla="*/ 87 h 238"/>
                <a:gd name="T10" fmla="*/ 210 w 372"/>
                <a:gd name="T11" fmla="*/ 90 h 238"/>
                <a:gd name="T12" fmla="*/ 176 w 372"/>
                <a:gd name="T13" fmla="*/ 76 h 238"/>
                <a:gd name="T14" fmla="*/ 142 w 372"/>
                <a:gd name="T15" fmla="*/ 77 h 238"/>
                <a:gd name="T16" fmla="*/ 108 w 372"/>
                <a:gd name="T17" fmla="*/ 75 h 238"/>
                <a:gd name="T18" fmla="*/ 76 w 372"/>
                <a:gd name="T19" fmla="*/ 62 h 238"/>
                <a:gd name="T20" fmla="*/ 101 w 372"/>
                <a:gd name="T21" fmla="*/ 43 h 238"/>
                <a:gd name="T22" fmla="*/ 141 w 372"/>
                <a:gd name="T23" fmla="*/ 45 h 238"/>
                <a:gd name="T24" fmla="*/ 133 w 372"/>
                <a:gd name="T25" fmla="*/ 12 h 238"/>
                <a:gd name="T26" fmla="*/ 91 w 372"/>
                <a:gd name="T27" fmla="*/ 21 h 238"/>
                <a:gd name="T28" fmla="*/ 65 w 372"/>
                <a:gd name="T29" fmla="*/ 25 h 238"/>
                <a:gd name="T30" fmla="*/ 46 w 372"/>
                <a:gd name="T31" fmla="*/ 43 h 238"/>
                <a:gd name="T32" fmla="*/ 49 w 372"/>
                <a:gd name="T33" fmla="*/ 66 h 238"/>
                <a:gd name="T34" fmla="*/ 6 w 372"/>
                <a:gd name="T35" fmla="*/ 82 h 238"/>
                <a:gd name="T36" fmla="*/ 14 w 372"/>
                <a:gd name="T37" fmla="*/ 100 h 238"/>
                <a:gd name="T38" fmla="*/ 42 w 372"/>
                <a:gd name="T39" fmla="*/ 114 h 238"/>
                <a:gd name="T40" fmla="*/ 61 w 372"/>
                <a:gd name="T41" fmla="*/ 158 h 238"/>
                <a:gd name="T42" fmla="*/ 42 w 372"/>
                <a:gd name="T43" fmla="*/ 206 h 238"/>
                <a:gd name="T44" fmla="*/ 89 w 372"/>
                <a:gd name="T45" fmla="*/ 199 h 238"/>
                <a:gd name="T46" fmla="*/ 111 w 372"/>
                <a:gd name="T47" fmla="*/ 189 h 238"/>
                <a:gd name="T48" fmla="*/ 145 w 372"/>
                <a:gd name="T49" fmla="*/ 189 h 238"/>
                <a:gd name="T50" fmla="*/ 142 w 372"/>
                <a:gd name="T51" fmla="*/ 168 h 238"/>
                <a:gd name="T52" fmla="*/ 164 w 372"/>
                <a:gd name="T53" fmla="*/ 135 h 238"/>
                <a:gd name="T54" fmla="*/ 184 w 372"/>
                <a:gd name="T55" fmla="*/ 168 h 238"/>
                <a:gd name="T56" fmla="*/ 205 w 372"/>
                <a:gd name="T57" fmla="*/ 210 h 238"/>
                <a:gd name="T58" fmla="*/ 249 w 372"/>
                <a:gd name="T59" fmla="*/ 216 h 238"/>
                <a:gd name="T60" fmla="*/ 273 w 372"/>
                <a:gd name="T61" fmla="*/ 197 h 238"/>
                <a:gd name="T62" fmla="*/ 306 w 372"/>
                <a:gd name="T63" fmla="*/ 202 h 238"/>
                <a:gd name="T64" fmla="*/ 343 w 372"/>
                <a:gd name="T65" fmla="*/ 194 h 238"/>
                <a:gd name="T66" fmla="*/ 364 w 372"/>
                <a:gd name="T67" fmla="*/ 197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72" h="238">
                  <a:moveTo>
                    <a:pt x="353" y="181"/>
                  </a:moveTo>
                  <a:cubicBezTo>
                    <a:pt x="346" y="174"/>
                    <a:pt x="345" y="152"/>
                    <a:pt x="345" y="142"/>
                  </a:cubicBezTo>
                  <a:cubicBezTo>
                    <a:pt x="345" y="132"/>
                    <a:pt x="333" y="129"/>
                    <a:pt x="319" y="125"/>
                  </a:cubicBezTo>
                  <a:cubicBezTo>
                    <a:pt x="305" y="121"/>
                    <a:pt x="301" y="136"/>
                    <a:pt x="291" y="132"/>
                  </a:cubicBezTo>
                  <a:cubicBezTo>
                    <a:pt x="281" y="128"/>
                    <a:pt x="289" y="110"/>
                    <a:pt x="289" y="103"/>
                  </a:cubicBezTo>
                  <a:cubicBezTo>
                    <a:pt x="289" y="96"/>
                    <a:pt x="275" y="99"/>
                    <a:pt x="275" y="99"/>
                  </a:cubicBezTo>
                  <a:cubicBezTo>
                    <a:pt x="275" y="82"/>
                    <a:pt x="275" y="82"/>
                    <a:pt x="275" y="82"/>
                  </a:cubicBezTo>
                  <a:cubicBezTo>
                    <a:pt x="266" y="79"/>
                    <a:pt x="266" y="79"/>
                    <a:pt x="266" y="79"/>
                  </a:cubicBezTo>
                  <a:cubicBezTo>
                    <a:pt x="258" y="88"/>
                    <a:pt x="258" y="88"/>
                    <a:pt x="258" y="88"/>
                  </a:cubicBezTo>
                  <a:cubicBezTo>
                    <a:pt x="230" y="87"/>
                    <a:pt x="230" y="87"/>
                    <a:pt x="230" y="87"/>
                  </a:cubicBezTo>
                  <a:cubicBezTo>
                    <a:pt x="230" y="87"/>
                    <a:pt x="226" y="90"/>
                    <a:pt x="216" y="93"/>
                  </a:cubicBezTo>
                  <a:cubicBezTo>
                    <a:pt x="206" y="96"/>
                    <a:pt x="210" y="90"/>
                    <a:pt x="210" y="90"/>
                  </a:cubicBezTo>
                  <a:cubicBezTo>
                    <a:pt x="210" y="90"/>
                    <a:pt x="198" y="93"/>
                    <a:pt x="195" y="93"/>
                  </a:cubicBezTo>
                  <a:cubicBezTo>
                    <a:pt x="192" y="93"/>
                    <a:pt x="181" y="75"/>
                    <a:pt x="176" y="76"/>
                  </a:cubicBezTo>
                  <a:cubicBezTo>
                    <a:pt x="171" y="77"/>
                    <a:pt x="160" y="85"/>
                    <a:pt x="154" y="86"/>
                  </a:cubicBezTo>
                  <a:cubicBezTo>
                    <a:pt x="148" y="87"/>
                    <a:pt x="142" y="77"/>
                    <a:pt x="142" y="77"/>
                  </a:cubicBezTo>
                  <a:cubicBezTo>
                    <a:pt x="142" y="77"/>
                    <a:pt x="135" y="76"/>
                    <a:pt x="130" y="78"/>
                  </a:cubicBezTo>
                  <a:cubicBezTo>
                    <a:pt x="125" y="80"/>
                    <a:pt x="108" y="75"/>
                    <a:pt x="108" y="75"/>
                  </a:cubicBezTo>
                  <a:cubicBezTo>
                    <a:pt x="108" y="75"/>
                    <a:pt x="93" y="80"/>
                    <a:pt x="86" y="81"/>
                  </a:cubicBezTo>
                  <a:cubicBezTo>
                    <a:pt x="79" y="82"/>
                    <a:pt x="76" y="62"/>
                    <a:pt x="76" y="62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8" y="44"/>
                    <a:pt x="101" y="43"/>
                  </a:cubicBezTo>
                  <a:cubicBezTo>
                    <a:pt x="114" y="42"/>
                    <a:pt x="124" y="52"/>
                    <a:pt x="131" y="56"/>
                  </a:cubicBezTo>
                  <a:cubicBezTo>
                    <a:pt x="138" y="60"/>
                    <a:pt x="140" y="49"/>
                    <a:pt x="141" y="45"/>
                  </a:cubicBezTo>
                  <a:cubicBezTo>
                    <a:pt x="142" y="41"/>
                    <a:pt x="117" y="33"/>
                    <a:pt x="117" y="33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2"/>
                    <a:pt x="118" y="0"/>
                    <a:pt x="114" y="2"/>
                  </a:cubicBezTo>
                  <a:cubicBezTo>
                    <a:pt x="110" y="4"/>
                    <a:pt x="99" y="16"/>
                    <a:pt x="91" y="21"/>
                  </a:cubicBezTo>
                  <a:cubicBezTo>
                    <a:pt x="83" y="26"/>
                    <a:pt x="80" y="12"/>
                    <a:pt x="74" y="12"/>
                  </a:cubicBezTo>
                  <a:cubicBezTo>
                    <a:pt x="68" y="12"/>
                    <a:pt x="66" y="21"/>
                    <a:pt x="65" y="25"/>
                  </a:cubicBezTo>
                  <a:cubicBezTo>
                    <a:pt x="64" y="29"/>
                    <a:pt x="77" y="36"/>
                    <a:pt x="71" y="42"/>
                  </a:cubicBezTo>
                  <a:cubicBezTo>
                    <a:pt x="65" y="48"/>
                    <a:pt x="46" y="43"/>
                    <a:pt x="46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61" y="71"/>
                    <a:pt x="46" y="80"/>
                  </a:cubicBezTo>
                  <a:cubicBezTo>
                    <a:pt x="31" y="89"/>
                    <a:pt x="12" y="77"/>
                    <a:pt x="6" y="82"/>
                  </a:cubicBezTo>
                  <a:cubicBezTo>
                    <a:pt x="0" y="87"/>
                    <a:pt x="0" y="97"/>
                    <a:pt x="0" y="97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21" y="108"/>
                    <a:pt x="21" y="108"/>
                    <a:pt x="21" y="108"/>
                  </a:cubicBezTo>
                  <a:cubicBezTo>
                    <a:pt x="21" y="108"/>
                    <a:pt x="37" y="109"/>
                    <a:pt x="42" y="114"/>
                  </a:cubicBezTo>
                  <a:cubicBezTo>
                    <a:pt x="47" y="119"/>
                    <a:pt x="36" y="128"/>
                    <a:pt x="42" y="138"/>
                  </a:cubicBezTo>
                  <a:cubicBezTo>
                    <a:pt x="48" y="148"/>
                    <a:pt x="61" y="147"/>
                    <a:pt x="61" y="158"/>
                  </a:cubicBezTo>
                  <a:cubicBezTo>
                    <a:pt x="61" y="169"/>
                    <a:pt x="51" y="179"/>
                    <a:pt x="44" y="187"/>
                  </a:cubicBezTo>
                  <a:cubicBezTo>
                    <a:pt x="40" y="191"/>
                    <a:pt x="41" y="200"/>
                    <a:pt x="42" y="206"/>
                  </a:cubicBezTo>
                  <a:cubicBezTo>
                    <a:pt x="48" y="211"/>
                    <a:pt x="56" y="217"/>
                    <a:pt x="58" y="218"/>
                  </a:cubicBezTo>
                  <a:cubicBezTo>
                    <a:pt x="61" y="219"/>
                    <a:pt x="86" y="199"/>
                    <a:pt x="89" y="199"/>
                  </a:cubicBezTo>
                  <a:cubicBezTo>
                    <a:pt x="92" y="199"/>
                    <a:pt x="103" y="216"/>
                    <a:pt x="107" y="214"/>
                  </a:cubicBezTo>
                  <a:cubicBezTo>
                    <a:pt x="111" y="212"/>
                    <a:pt x="106" y="194"/>
                    <a:pt x="111" y="189"/>
                  </a:cubicBezTo>
                  <a:cubicBezTo>
                    <a:pt x="116" y="184"/>
                    <a:pt x="138" y="183"/>
                    <a:pt x="138" y="183"/>
                  </a:cubicBezTo>
                  <a:cubicBezTo>
                    <a:pt x="145" y="189"/>
                    <a:pt x="145" y="189"/>
                    <a:pt x="145" y="189"/>
                  </a:cubicBezTo>
                  <a:cubicBezTo>
                    <a:pt x="150" y="175"/>
                    <a:pt x="150" y="175"/>
                    <a:pt x="150" y="175"/>
                  </a:cubicBezTo>
                  <a:cubicBezTo>
                    <a:pt x="150" y="175"/>
                    <a:pt x="142" y="175"/>
                    <a:pt x="142" y="168"/>
                  </a:cubicBezTo>
                  <a:cubicBezTo>
                    <a:pt x="142" y="161"/>
                    <a:pt x="156" y="158"/>
                    <a:pt x="156" y="154"/>
                  </a:cubicBezTo>
                  <a:cubicBezTo>
                    <a:pt x="156" y="150"/>
                    <a:pt x="155" y="135"/>
                    <a:pt x="164" y="135"/>
                  </a:cubicBezTo>
                  <a:cubicBezTo>
                    <a:pt x="173" y="135"/>
                    <a:pt x="184" y="144"/>
                    <a:pt x="184" y="149"/>
                  </a:cubicBezTo>
                  <a:cubicBezTo>
                    <a:pt x="184" y="154"/>
                    <a:pt x="184" y="168"/>
                    <a:pt x="184" y="168"/>
                  </a:cubicBezTo>
                  <a:cubicBezTo>
                    <a:pt x="198" y="168"/>
                    <a:pt x="198" y="168"/>
                    <a:pt x="198" y="168"/>
                  </a:cubicBezTo>
                  <a:cubicBezTo>
                    <a:pt x="205" y="210"/>
                    <a:pt x="205" y="210"/>
                    <a:pt x="205" y="210"/>
                  </a:cubicBezTo>
                  <a:cubicBezTo>
                    <a:pt x="205" y="210"/>
                    <a:pt x="221" y="238"/>
                    <a:pt x="228" y="235"/>
                  </a:cubicBezTo>
                  <a:cubicBezTo>
                    <a:pt x="235" y="232"/>
                    <a:pt x="249" y="216"/>
                    <a:pt x="249" y="216"/>
                  </a:cubicBezTo>
                  <a:cubicBezTo>
                    <a:pt x="259" y="216"/>
                    <a:pt x="259" y="216"/>
                    <a:pt x="259" y="216"/>
                  </a:cubicBezTo>
                  <a:cubicBezTo>
                    <a:pt x="259" y="216"/>
                    <a:pt x="266" y="205"/>
                    <a:pt x="273" y="197"/>
                  </a:cubicBezTo>
                  <a:cubicBezTo>
                    <a:pt x="280" y="189"/>
                    <a:pt x="304" y="192"/>
                    <a:pt x="304" y="192"/>
                  </a:cubicBezTo>
                  <a:cubicBezTo>
                    <a:pt x="306" y="202"/>
                    <a:pt x="306" y="202"/>
                    <a:pt x="306" y="202"/>
                  </a:cubicBezTo>
                  <a:cubicBezTo>
                    <a:pt x="330" y="194"/>
                    <a:pt x="330" y="194"/>
                    <a:pt x="330" y="194"/>
                  </a:cubicBezTo>
                  <a:cubicBezTo>
                    <a:pt x="343" y="194"/>
                    <a:pt x="343" y="194"/>
                    <a:pt x="343" y="194"/>
                  </a:cubicBezTo>
                  <a:cubicBezTo>
                    <a:pt x="350" y="199"/>
                    <a:pt x="350" y="199"/>
                    <a:pt x="350" y="199"/>
                  </a:cubicBezTo>
                  <a:cubicBezTo>
                    <a:pt x="355" y="199"/>
                    <a:pt x="361" y="199"/>
                    <a:pt x="364" y="197"/>
                  </a:cubicBezTo>
                  <a:cubicBezTo>
                    <a:pt x="372" y="191"/>
                    <a:pt x="360" y="188"/>
                    <a:pt x="353" y="181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eform 235">
              <a:extLst>
                <a:ext uri="{FF2B5EF4-FFF2-40B4-BE49-F238E27FC236}">
                  <a16:creationId xmlns:a16="http://schemas.microsoft.com/office/drawing/2014/main" id="{68E833C4-D7A6-E759-5359-84DF66F33E7B}"/>
                </a:ext>
              </a:extLst>
            </p:cNvPr>
            <p:cNvSpPr>
              <a:spLocks/>
            </p:cNvSpPr>
            <p:nvPr/>
          </p:nvSpPr>
          <p:spPr bwMode="gray">
            <a:xfrm>
              <a:off x="789" y="-15460"/>
              <a:ext cx="1060" cy="498"/>
            </a:xfrm>
            <a:custGeom>
              <a:avLst/>
              <a:gdLst>
                <a:gd name="T0" fmla="*/ 46 w 449"/>
                <a:gd name="T1" fmla="*/ 96 h 211"/>
                <a:gd name="T2" fmla="*/ 76 w 449"/>
                <a:gd name="T3" fmla="*/ 107 h 211"/>
                <a:gd name="T4" fmla="*/ 84 w 449"/>
                <a:gd name="T5" fmla="*/ 98 h 211"/>
                <a:gd name="T6" fmla="*/ 95 w 449"/>
                <a:gd name="T7" fmla="*/ 106 h 211"/>
                <a:gd name="T8" fmla="*/ 114 w 449"/>
                <a:gd name="T9" fmla="*/ 117 h 211"/>
                <a:gd name="T10" fmla="*/ 132 w 449"/>
                <a:gd name="T11" fmla="*/ 124 h 211"/>
                <a:gd name="T12" fmla="*/ 129 w 449"/>
                <a:gd name="T13" fmla="*/ 141 h 211"/>
                <a:gd name="T14" fmla="*/ 115 w 449"/>
                <a:gd name="T15" fmla="*/ 149 h 211"/>
                <a:gd name="T16" fmla="*/ 84 w 449"/>
                <a:gd name="T17" fmla="*/ 152 h 211"/>
                <a:gd name="T18" fmla="*/ 65 w 449"/>
                <a:gd name="T19" fmla="*/ 160 h 211"/>
                <a:gd name="T20" fmla="*/ 25 w 449"/>
                <a:gd name="T21" fmla="*/ 158 h 211"/>
                <a:gd name="T22" fmla="*/ 0 w 449"/>
                <a:gd name="T23" fmla="*/ 177 h 211"/>
                <a:gd name="T24" fmla="*/ 32 w 449"/>
                <a:gd name="T25" fmla="*/ 190 h 211"/>
                <a:gd name="T26" fmla="*/ 66 w 449"/>
                <a:gd name="T27" fmla="*/ 192 h 211"/>
                <a:gd name="T28" fmla="*/ 100 w 449"/>
                <a:gd name="T29" fmla="*/ 191 h 211"/>
                <a:gd name="T30" fmla="*/ 134 w 449"/>
                <a:gd name="T31" fmla="*/ 205 h 211"/>
                <a:gd name="T32" fmla="*/ 154 w 449"/>
                <a:gd name="T33" fmla="*/ 202 h 211"/>
                <a:gd name="T34" fmla="*/ 190 w 449"/>
                <a:gd name="T35" fmla="*/ 194 h 211"/>
                <a:gd name="T36" fmla="*/ 211 w 449"/>
                <a:gd name="T37" fmla="*/ 195 h 211"/>
                <a:gd name="T38" fmla="*/ 231 w 449"/>
                <a:gd name="T39" fmla="*/ 157 h 211"/>
                <a:gd name="T40" fmla="*/ 250 w 449"/>
                <a:gd name="T41" fmla="*/ 145 h 211"/>
                <a:gd name="T42" fmla="*/ 278 w 449"/>
                <a:gd name="T43" fmla="*/ 155 h 211"/>
                <a:gd name="T44" fmla="*/ 304 w 449"/>
                <a:gd name="T45" fmla="*/ 153 h 211"/>
                <a:gd name="T46" fmla="*/ 327 w 449"/>
                <a:gd name="T47" fmla="*/ 112 h 211"/>
                <a:gd name="T48" fmla="*/ 378 w 449"/>
                <a:gd name="T49" fmla="*/ 98 h 211"/>
                <a:gd name="T50" fmla="*/ 429 w 449"/>
                <a:gd name="T51" fmla="*/ 65 h 211"/>
                <a:gd name="T52" fmla="*/ 443 w 449"/>
                <a:gd name="T53" fmla="*/ 46 h 211"/>
                <a:gd name="T54" fmla="*/ 401 w 449"/>
                <a:gd name="T55" fmla="*/ 41 h 211"/>
                <a:gd name="T56" fmla="*/ 372 w 449"/>
                <a:gd name="T57" fmla="*/ 23 h 211"/>
                <a:gd name="T58" fmla="*/ 332 w 449"/>
                <a:gd name="T59" fmla="*/ 16 h 211"/>
                <a:gd name="T60" fmla="*/ 238 w 449"/>
                <a:gd name="T61" fmla="*/ 14 h 211"/>
                <a:gd name="T62" fmla="*/ 194 w 449"/>
                <a:gd name="T63" fmla="*/ 12 h 211"/>
                <a:gd name="T64" fmla="*/ 144 w 449"/>
                <a:gd name="T65" fmla="*/ 5 h 211"/>
                <a:gd name="T66" fmla="*/ 138 w 449"/>
                <a:gd name="T67" fmla="*/ 37 h 211"/>
                <a:gd name="T68" fmla="*/ 61 w 449"/>
                <a:gd name="T69" fmla="*/ 18 h 211"/>
                <a:gd name="T70" fmla="*/ 57 w 449"/>
                <a:gd name="T71" fmla="*/ 5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49" h="211">
                  <a:moveTo>
                    <a:pt x="23" y="88"/>
                  </a:moveTo>
                  <a:cubicBezTo>
                    <a:pt x="46" y="96"/>
                    <a:pt x="46" y="96"/>
                    <a:pt x="46" y="96"/>
                  </a:cubicBezTo>
                  <a:cubicBezTo>
                    <a:pt x="46" y="96"/>
                    <a:pt x="47" y="101"/>
                    <a:pt x="52" y="105"/>
                  </a:cubicBezTo>
                  <a:cubicBezTo>
                    <a:pt x="57" y="109"/>
                    <a:pt x="76" y="107"/>
                    <a:pt x="76" y="107"/>
                  </a:cubicBezTo>
                  <a:cubicBezTo>
                    <a:pt x="75" y="98"/>
                    <a:pt x="75" y="98"/>
                    <a:pt x="75" y="98"/>
                  </a:cubicBezTo>
                  <a:cubicBezTo>
                    <a:pt x="84" y="98"/>
                    <a:pt x="84" y="98"/>
                    <a:pt x="84" y="98"/>
                  </a:cubicBezTo>
                  <a:cubicBezTo>
                    <a:pt x="84" y="88"/>
                    <a:pt x="84" y="88"/>
                    <a:pt x="84" y="88"/>
                  </a:cubicBezTo>
                  <a:cubicBezTo>
                    <a:pt x="95" y="106"/>
                    <a:pt x="95" y="106"/>
                    <a:pt x="95" y="106"/>
                  </a:cubicBezTo>
                  <a:cubicBezTo>
                    <a:pt x="108" y="106"/>
                    <a:pt x="108" y="106"/>
                    <a:pt x="108" y="106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27" y="119"/>
                    <a:pt x="127" y="119"/>
                    <a:pt x="127" y="119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32" y="124"/>
                    <a:pt x="161" y="118"/>
                    <a:pt x="151" y="130"/>
                  </a:cubicBezTo>
                  <a:cubicBezTo>
                    <a:pt x="141" y="142"/>
                    <a:pt x="129" y="141"/>
                    <a:pt x="129" y="141"/>
                  </a:cubicBezTo>
                  <a:cubicBezTo>
                    <a:pt x="129" y="147"/>
                    <a:pt x="129" y="147"/>
                    <a:pt x="129" y="147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5" y="149"/>
                    <a:pt x="113" y="158"/>
                    <a:pt x="104" y="162"/>
                  </a:cubicBezTo>
                  <a:cubicBezTo>
                    <a:pt x="95" y="166"/>
                    <a:pt x="91" y="150"/>
                    <a:pt x="84" y="152"/>
                  </a:cubicBezTo>
                  <a:cubicBezTo>
                    <a:pt x="80" y="153"/>
                    <a:pt x="71" y="156"/>
                    <a:pt x="64" y="159"/>
                  </a:cubicBezTo>
                  <a:cubicBezTo>
                    <a:pt x="65" y="159"/>
                    <a:pt x="65" y="159"/>
                    <a:pt x="65" y="160"/>
                  </a:cubicBezTo>
                  <a:cubicBezTo>
                    <a:pt x="64" y="164"/>
                    <a:pt x="62" y="175"/>
                    <a:pt x="55" y="171"/>
                  </a:cubicBezTo>
                  <a:cubicBezTo>
                    <a:pt x="48" y="167"/>
                    <a:pt x="38" y="157"/>
                    <a:pt x="25" y="158"/>
                  </a:cubicBezTo>
                  <a:cubicBezTo>
                    <a:pt x="12" y="159"/>
                    <a:pt x="9" y="174"/>
                    <a:pt x="9" y="174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177"/>
                    <a:pt x="3" y="197"/>
                    <a:pt x="10" y="196"/>
                  </a:cubicBezTo>
                  <a:cubicBezTo>
                    <a:pt x="17" y="195"/>
                    <a:pt x="32" y="190"/>
                    <a:pt x="32" y="190"/>
                  </a:cubicBezTo>
                  <a:cubicBezTo>
                    <a:pt x="32" y="190"/>
                    <a:pt x="49" y="195"/>
                    <a:pt x="54" y="193"/>
                  </a:cubicBezTo>
                  <a:cubicBezTo>
                    <a:pt x="59" y="191"/>
                    <a:pt x="66" y="192"/>
                    <a:pt x="66" y="192"/>
                  </a:cubicBezTo>
                  <a:cubicBezTo>
                    <a:pt x="66" y="192"/>
                    <a:pt x="72" y="202"/>
                    <a:pt x="78" y="201"/>
                  </a:cubicBezTo>
                  <a:cubicBezTo>
                    <a:pt x="84" y="200"/>
                    <a:pt x="95" y="192"/>
                    <a:pt x="100" y="191"/>
                  </a:cubicBezTo>
                  <a:cubicBezTo>
                    <a:pt x="105" y="190"/>
                    <a:pt x="116" y="208"/>
                    <a:pt x="119" y="208"/>
                  </a:cubicBezTo>
                  <a:cubicBezTo>
                    <a:pt x="122" y="208"/>
                    <a:pt x="134" y="205"/>
                    <a:pt x="134" y="205"/>
                  </a:cubicBezTo>
                  <a:cubicBezTo>
                    <a:pt x="134" y="205"/>
                    <a:pt x="130" y="211"/>
                    <a:pt x="140" y="208"/>
                  </a:cubicBezTo>
                  <a:cubicBezTo>
                    <a:pt x="150" y="205"/>
                    <a:pt x="154" y="202"/>
                    <a:pt x="154" y="202"/>
                  </a:cubicBezTo>
                  <a:cubicBezTo>
                    <a:pt x="182" y="203"/>
                    <a:pt x="182" y="203"/>
                    <a:pt x="182" y="203"/>
                  </a:cubicBezTo>
                  <a:cubicBezTo>
                    <a:pt x="190" y="194"/>
                    <a:pt x="190" y="194"/>
                    <a:pt x="190" y="194"/>
                  </a:cubicBezTo>
                  <a:cubicBezTo>
                    <a:pt x="199" y="197"/>
                    <a:pt x="199" y="197"/>
                    <a:pt x="199" y="197"/>
                  </a:cubicBezTo>
                  <a:cubicBezTo>
                    <a:pt x="199" y="197"/>
                    <a:pt x="211" y="199"/>
                    <a:pt x="211" y="195"/>
                  </a:cubicBezTo>
                  <a:cubicBezTo>
                    <a:pt x="211" y="191"/>
                    <a:pt x="200" y="178"/>
                    <a:pt x="199" y="175"/>
                  </a:cubicBezTo>
                  <a:cubicBezTo>
                    <a:pt x="198" y="172"/>
                    <a:pt x="231" y="157"/>
                    <a:pt x="231" y="157"/>
                  </a:cubicBezTo>
                  <a:cubicBezTo>
                    <a:pt x="231" y="147"/>
                    <a:pt x="231" y="147"/>
                    <a:pt x="231" y="147"/>
                  </a:cubicBezTo>
                  <a:cubicBezTo>
                    <a:pt x="250" y="145"/>
                    <a:pt x="250" y="145"/>
                    <a:pt x="250" y="145"/>
                  </a:cubicBezTo>
                  <a:cubicBezTo>
                    <a:pt x="250" y="145"/>
                    <a:pt x="255" y="136"/>
                    <a:pt x="261" y="136"/>
                  </a:cubicBezTo>
                  <a:cubicBezTo>
                    <a:pt x="267" y="136"/>
                    <a:pt x="278" y="155"/>
                    <a:pt x="278" y="155"/>
                  </a:cubicBezTo>
                  <a:cubicBezTo>
                    <a:pt x="285" y="148"/>
                    <a:pt x="285" y="148"/>
                    <a:pt x="285" y="148"/>
                  </a:cubicBezTo>
                  <a:cubicBezTo>
                    <a:pt x="304" y="153"/>
                    <a:pt x="304" y="153"/>
                    <a:pt x="304" y="153"/>
                  </a:cubicBezTo>
                  <a:cubicBezTo>
                    <a:pt x="304" y="153"/>
                    <a:pt x="309" y="144"/>
                    <a:pt x="310" y="135"/>
                  </a:cubicBezTo>
                  <a:cubicBezTo>
                    <a:pt x="311" y="126"/>
                    <a:pt x="319" y="113"/>
                    <a:pt x="327" y="112"/>
                  </a:cubicBezTo>
                  <a:cubicBezTo>
                    <a:pt x="335" y="111"/>
                    <a:pt x="354" y="119"/>
                    <a:pt x="366" y="119"/>
                  </a:cubicBezTo>
                  <a:cubicBezTo>
                    <a:pt x="378" y="119"/>
                    <a:pt x="378" y="101"/>
                    <a:pt x="378" y="98"/>
                  </a:cubicBezTo>
                  <a:cubicBezTo>
                    <a:pt x="378" y="95"/>
                    <a:pt x="397" y="78"/>
                    <a:pt x="397" y="78"/>
                  </a:cubicBezTo>
                  <a:cubicBezTo>
                    <a:pt x="429" y="65"/>
                    <a:pt x="429" y="65"/>
                    <a:pt x="429" y="65"/>
                  </a:cubicBezTo>
                  <a:cubicBezTo>
                    <a:pt x="429" y="65"/>
                    <a:pt x="443" y="65"/>
                    <a:pt x="446" y="64"/>
                  </a:cubicBezTo>
                  <a:cubicBezTo>
                    <a:pt x="449" y="63"/>
                    <a:pt x="447" y="51"/>
                    <a:pt x="443" y="46"/>
                  </a:cubicBezTo>
                  <a:cubicBezTo>
                    <a:pt x="429" y="41"/>
                    <a:pt x="429" y="41"/>
                    <a:pt x="429" y="41"/>
                  </a:cubicBezTo>
                  <a:cubicBezTo>
                    <a:pt x="401" y="41"/>
                    <a:pt x="401" y="41"/>
                    <a:pt x="401" y="41"/>
                  </a:cubicBezTo>
                  <a:cubicBezTo>
                    <a:pt x="384" y="23"/>
                    <a:pt x="384" y="23"/>
                    <a:pt x="384" y="23"/>
                  </a:cubicBezTo>
                  <a:cubicBezTo>
                    <a:pt x="372" y="23"/>
                    <a:pt x="372" y="23"/>
                    <a:pt x="372" y="2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332" y="16"/>
                    <a:pt x="332" y="16"/>
                    <a:pt x="332" y="16"/>
                  </a:cubicBezTo>
                  <a:cubicBezTo>
                    <a:pt x="332" y="16"/>
                    <a:pt x="302" y="12"/>
                    <a:pt x="294" y="13"/>
                  </a:cubicBezTo>
                  <a:cubicBezTo>
                    <a:pt x="286" y="14"/>
                    <a:pt x="238" y="14"/>
                    <a:pt x="238" y="14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6" y="18"/>
                    <a:pt x="198" y="12"/>
                    <a:pt x="194" y="12"/>
                  </a:cubicBezTo>
                  <a:cubicBezTo>
                    <a:pt x="190" y="12"/>
                    <a:pt x="180" y="0"/>
                    <a:pt x="170" y="0"/>
                  </a:cubicBezTo>
                  <a:cubicBezTo>
                    <a:pt x="160" y="0"/>
                    <a:pt x="147" y="2"/>
                    <a:pt x="144" y="5"/>
                  </a:cubicBezTo>
                  <a:cubicBezTo>
                    <a:pt x="141" y="8"/>
                    <a:pt x="149" y="43"/>
                    <a:pt x="149" y="43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84" y="17"/>
                    <a:pt x="61" y="18"/>
                  </a:cubicBezTo>
                  <a:cubicBezTo>
                    <a:pt x="38" y="19"/>
                    <a:pt x="37" y="48"/>
                    <a:pt x="37" y="48"/>
                  </a:cubicBezTo>
                  <a:cubicBezTo>
                    <a:pt x="37" y="48"/>
                    <a:pt x="55" y="49"/>
                    <a:pt x="57" y="54"/>
                  </a:cubicBezTo>
                  <a:cubicBezTo>
                    <a:pt x="59" y="59"/>
                    <a:pt x="23" y="88"/>
                    <a:pt x="23" y="88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eform 236">
              <a:extLst>
                <a:ext uri="{FF2B5EF4-FFF2-40B4-BE49-F238E27FC236}">
                  <a16:creationId xmlns:a16="http://schemas.microsoft.com/office/drawing/2014/main" id="{FE4822E1-DB70-C6A5-C921-00E9C060A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-997" y="-15411"/>
              <a:ext cx="1592" cy="960"/>
            </a:xfrm>
            <a:custGeom>
              <a:avLst/>
              <a:gdLst>
                <a:gd name="T0" fmla="*/ 24 w 674"/>
                <a:gd name="T1" fmla="*/ 120 h 406"/>
                <a:gd name="T2" fmla="*/ 60 w 674"/>
                <a:gd name="T3" fmla="*/ 148 h 406"/>
                <a:gd name="T4" fmla="*/ 75 w 674"/>
                <a:gd name="T5" fmla="*/ 172 h 406"/>
                <a:gd name="T6" fmla="*/ 71 w 674"/>
                <a:gd name="T7" fmla="*/ 187 h 406"/>
                <a:gd name="T8" fmla="*/ 94 w 674"/>
                <a:gd name="T9" fmla="*/ 238 h 406"/>
                <a:gd name="T10" fmla="*/ 96 w 674"/>
                <a:gd name="T11" fmla="*/ 262 h 406"/>
                <a:gd name="T12" fmla="*/ 126 w 674"/>
                <a:gd name="T13" fmla="*/ 291 h 406"/>
                <a:gd name="T14" fmla="*/ 141 w 674"/>
                <a:gd name="T15" fmla="*/ 273 h 406"/>
                <a:gd name="T16" fmla="*/ 205 w 674"/>
                <a:gd name="T17" fmla="*/ 251 h 406"/>
                <a:gd name="T18" fmla="*/ 234 w 674"/>
                <a:gd name="T19" fmla="*/ 244 h 406"/>
                <a:gd name="T20" fmla="*/ 256 w 674"/>
                <a:gd name="T21" fmla="*/ 261 h 406"/>
                <a:gd name="T22" fmla="*/ 299 w 674"/>
                <a:gd name="T23" fmla="*/ 278 h 406"/>
                <a:gd name="T24" fmla="*/ 345 w 674"/>
                <a:gd name="T25" fmla="*/ 279 h 406"/>
                <a:gd name="T26" fmla="*/ 377 w 674"/>
                <a:gd name="T27" fmla="*/ 307 h 406"/>
                <a:gd name="T28" fmla="*/ 439 w 674"/>
                <a:gd name="T29" fmla="*/ 325 h 406"/>
                <a:gd name="T30" fmla="*/ 447 w 674"/>
                <a:gd name="T31" fmla="*/ 350 h 406"/>
                <a:gd name="T32" fmla="*/ 453 w 674"/>
                <a:gd name="T33" fmla="*/ 383 h 406"/>
                <a:gd name="T34" fmla="*/ 484 w 674"/>
                <a:gd name="T35" fmla="*/ 390 h 406"/>
                <a:gd name="T36" fmla="*/ 530 w 674"/>
                <a:gd name="T37" fmla="*/ 396 h 406"/>
                <a:gd name="T38" fmla="*/ 560 w 674"/>
                <a:gd name="T39" fmla="*/ 365 h 406"/>
                <a:gd name="T40" fmla="*/ 589 w 674"/>
                <a:gd name="T41" fmla="*/ 345 h 406"/>
                <a:gd name="T42" fmla="*/ 623 w 674"/>
                <a:gd name="T43" fmla="*/ 296 h 406"/>
                <a:gd name="T44" fmla="*/ 652 w 674"/>
                <a:gd name="T45" fmla="*/ 292 h 406"/>
                <a:gd name="T46" fmla="*/ 667 w 674"/>
                <a:gd name="T47" fmla="*/ 280 h 406"/>
                <a:gd name="T48" fmla="*/ 635 w 674"/>
                <a:gd name="T49" fmla="*/ 242 h 406"/>
                <a:gd name="T50" fmla="*/ 595 w 674"/>
                <a:gd name="T51" fmla="*/ 231 h 406"/>
                <a:gd name="T52" fmla="*/ 563 w 674"/>
                <a:gd name="T53" fmla="*/ 212 h 406"/>
                <a:gd name="T54" fmla="*/ 536 w 674"/>
                <a:gd name="T55" fmla="*/ 203 h 406"/>
                <a:gd name="T56" fmla="*/ 500 w 674"/>
                <a:gd name="T57" fmla="*/ 174 h 406"/>
                <a:gd name="T58" fmla="*/ 455 w 674"/>
                <a:gd name="T59" fmla="*/ 148 h 406"/>
                <a:gd name="T60" fmla="*/ 431 w 674"/>
                <a:gd name="T61" fmla="*/ 111 h 406"/>
                <a:gd name="T62" fmla="*/ 398 w 674"/>
                <a:gd name="T63" fmla="*/ 80 h 406"/>
                <a:gd name="T64" fmla="*/ 362 w 674"/>
                <a:gd name="T65" fmla="*/ 82 h 406"/>
                <a:gd name="T66" fmla="*/ 338 w 674"/>
                <a:gd name="T67" fmla="*/ 52 h 406"/>
                <a:gd name="T68" fmla="*/ 320 w 674"/>
                <a:gd name="T69" fmla="*/ 28 h 406"/>
                <a:gd name="T70" fmla="*/ 288 w 674"/>
                <a:gd name="T71" fmla="*/ 23 h 406"/>
                <a:gd name="T72" fmla="*/ 274 w 674"/>
                <a:gd name="T73" fmla="*/ 16 h 406"/>
                <a:gd name="T74" fmla="*/ 258 w 674"/>
                <a:gd name="T75" fmla="*/ 7 h 406"/>
                <a:gd name="T76" fmla="*/ 258 w 674"/>
                <a:gd name="T77" fmla="*/ 24 h 406"/>
                <a:gd name="T78" fmla="*/ 231 w 674"/>
                <a:gd name="T79" fmla="*/ 30 h 406"/>
                <a:gd name="T80" fmla="*/ 211 w 674"/>
                <a:gd name="T81" fmla="*/ 79 h 406"/>
                <a:gd name="T82" fmla="*/ 156 w 674"/>
                <a:gd name="T83" fmla="*/ 72 h 406"/>
                <a:gd name="T84" fmla="*/ 112 w 674"/>
                <a:gd name="T85" fmla="*/ 51 h 406"/>
                <a:gd name="T86" fmla="*/ 51 w 674"/>
                <a:gd name="T87" fmla="*/ 22 h 406"/>
                <a:gd name="T88" fmla="*/ 60 w 674"/>
                <a:gd name="T89" fmla="*/ 42 h 406"/>
                <a:gd name="T90" fmla="*/ 110 w 674"/>
                <a:gd name="T91" fmla="*/ 90 h 406"/>
                <a:gd name="T92" fmla="*/ 82 w 674"/>
                <a:gd name="T93" fmla="*/ 94 h 406"/>
                <a:gd name="T94" fmla="*/ 52 w 674"/>
                <a:gd name="T95" fmla="*/ 108 h 406"/>
                <a:gd name="T96" fmla="*/ 40 w 674"/>
                <a:gd name="T97" fmla="*/ 100 h 406"/>
                <a:gd name="T98" fmla="*/ 19 w 674"/>
                <a:gd name="T99" fmla="*/ 55 h 406"/>
                <a:gd name="T100" fmla="*/ 14 w 674"/>
                <a:gd name="T101" fmla="*/ 72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74" h="406">
                  <a:moveTo>
                    <a:pt x="34" y="100"/>
                  </a:moveTo>
                  <a:cubicBezTo>
                    <a:pt x="34" y="104"/>
                    <a:pt x="24" y="115"/>
                    <a:pt x="24" y="120"/>
                  </a:cubicBezTo>
                  <a:cubicBezTo>
                    <a:pt x="24" y="126"/>
                    <a:pt x="40" y="151"/>
                    <a:pt x="40" y="151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62" y="166"/>
                    <a:pt x="62" y="166"/>
                    <a:pt x="62" y="166"/>
                  </a:cubicBezTo>
                  <a:cubicBezTo>
                    <a:pt x="75" y="172"/>
                    <a:pt x="75" y="172"/>
                    <a:pt x="75" y="172"/>
                  </a:cubicBezTo>
                  <a:cubicBezTo>
                    <a:pt x="75" y="172"/>
                    <a:pt x="46" y="171"/>
                    <a:pt x="50" y="180"/>
                  </a:cubicBezTo>
                  <a:cubicBezTo>
                    <a:pt x="54" y="190"/>
                    <a:pt x="64" y="184"/>
                    <a:pt x="71" y="187"/>
                  </a:cubicBezTo>
                  <a:cubicBezTo>
                    <a:pt x="78" y="190"/>
                    <a:pt x="90" y="203"/>
                    <a:pt x="90" y="203"/>
                  </a:cubicBezTo>
                  <a:cubicBezTo>
                    <a:pt x="94" y="238"/>
                    <a:pt x="94" y="238"/>
                    <a:pt x="94" y="238"/>
                  </a:cubicBezTo>
                  <a:cubicBezTo>
                    <a:pt x="99" y="240"/>
                    <a:pt x="99" y="240"/>
                    <a:pt x="99" y="240"/>
                  </a:cubicBezTo>
                  <a:cubicBezTo>
                    <a:pt x="99" y="240"/>
                    <a:pt x="96" y="254"/>
                    <a:pt x="96" y="262"/>
                  </a:cubicBezTo>
                  <a:cubicBezTo>
                    <a:pt x="96" y="270"/>
                    <a:pt x="106" y="291"/>
                    <a:pt x="106" y="291"/>
                  </a:cubicBezTo>
                  <a:cubicBezTo>
                    <a:pt x="106" y="291"/>
                    <a:pt x="122" y="292"/>
                    <a:pt x="126" y="291"/>
                  </a:cubicBezTo>
                  <a:cubicBezTo>
                    <a:pt x="130" y="290"/>
                    <a:pt x="141" y="281"/>
                    <a:pt x="141" y="281"/>
                  </a:cubicBezTo>
                  <a:cubicBezTo>
                    <a:pt x="141" y="273"/>
                    <a:pt x="141" y="273"/>
                    <a:pt x="141" y="273"/>
                  </a:cubicBezTo>
                  <a:cubicBezTo>
                    <a:pt x="141" y="273"/>
                    <a:pt x="167" y="250"/>
                    <a:pt x="178" y="248"/>
                  </a:cubicBezTo>
                  <a:cubicBezTo>
                    <a:pt x="189" y="246"/>
                    <a:pt x="205" y="251"/>
                    <a:pt x="205" y="251"/>
                  </a:cubicBezTo>
                  <a:cubicBezTo>
                    <a:pt x="205" y="251"/>
                    <a:pt x="207" y="245"/>
                    <a:pt x="210" y="243"/>
                  </a:cubicBezTo>
                  <a:cubicBezTo>
                    <a:pt x="213" y="241"/>
                    <a:pt x="234" y="244"/>
                    <a:pt x="234" y="244"/>
                  </a:cubicBezTo>
                  <a:cubicBezTo>
                    <a:pt x="234" y="244"/>
                    <a:pt x="243" y="239"/>
                    <a:pt x="249" y="243"/>
                  </a:cubicBezTo>
                  <a:cubicBezTo>
                    <a:pt x="255" y="247"/>
                    <a:pt x="256" y="261"/>
                    <a:pt x="256" y="261"/>
                  </a:cubicBezTo>
                  <a:cubicBezTo>
                    <a:pt x="256" y="261"/>
                    <a:pt x="268" y="261"/>
                    <a:pt x="273" y="261"/>
                  </a:cubicBezTo>
                  <a:cubicBezTo>
                    <a:pt x="278" y="261"/>
                    <a:pt x="299" y="278"/>
                    <a:pt x="299" y="278"/>
                  </a:cubicBezTo>
                  <a:cubicBezTo>
                    <a:pt x="302" y="274"/>
                    <a:pt x="302" y="274"/>
                    <a:pt x="302" y="274"/>
                  </a:cubicBezTo>
                  <a:cubicBezTo>
                    <a:pt x="302" y="274"/>
                    <a:pt x="340" y="275"/>
                    <a:pt x="345" y="279"/>
                  </a:cubicBezTo>
                  <a:cubicBezTo>
                    <a:pt x="350" y="283"/>
                    <a:pt x="358" y="301"/>
                    <a:pt x="358" y="301"/>
                  </a:cubicBezTo>
                  <a:cubicBezTo>
                    <a:pt x="358" y="301"/>
                    <a:pt x="371" y="303"/>
                    <a:pt x="377" y="307"/>
                  </a:cubicBezTo>
                  <a:cubicBezTo>
                    <a:pt x="383" y="311"/>
                    <a:pt x="397" y="327"/>
                    <a:pt x="397" y="327"/>
                  </a:cubicBezTo>
                  <a:cubicBezTo>
                    <a:pt x="439" y="325"/>
                    <a:pt x="439" y="325"/>
                    <a:pt x="439" y="325"/>
                  </a:cubicBezTo>
                  <a:cubicBezTo>
                    <a:pt x="440" y="347"/>
                    <a:pt x="440" y="347"/>
                    <a:pt x="440" y="347"/>
                  </a:cubicBezTo>
                  <a:cubicBezTo>
                    <a:pt x="447" y="350"/>
                    <a:pt x="447" y="350"/>
                    <a:pt x="447" y="350"/>
                  </a:cubicBezTo>
                  <a:cubicBezTo>
                    <a:pt x="446" y="365"/>
                    <a:pt x="446" y="365"/>
                    <a:pt x="446" y="365"/>
                  </a:cubicBezTo>
                  <a:cubicBezTo>
                    <a:pt x="453" y="383"/>
                    <a:pt x="453" y="383"/>
                    <a:pt x="453" y="383"/>
                  </a:cubicBezTo>
                  <a:cubicBezTo>
                    <a:pt x="453" y="383"/>
                    <a:pt x="467" y="393"/>
                    <a:pt x="472" y="393"/>
                  </a:cubicBezTo>
                  <a:cubicBezTo>
                    <a:pt x="477" y="393"/>
                    <a:pt x="484" y="390"/>
                    <a:pt x="484" y="390"/>
                  </a:cubicBezTo>
                  <a:cubicBezTo>
                    <a:pt x="500" y="406"/>
                    <a:pt x="500" y="406"/>
                    <a:pt x="500" y="406"/>
                  </a:cubicBezTo>
                  <a:cubicBezTo>
                    <a:pt x="500" y="406"/>
                    <a:pt x="525" y="405"/>
                    <a:pt x="530" y="396"/>
                  </a:cubicBezTo>
                  <a:cubicBezTo>
                    <a:pt x="535" y="387"/>
                    <a:pt x="535" y="371"/>
                    <a:pt x="535" y="371"/>
                  </a:cubicBezTo>
                  <a:cubicBezTo>
                    <a:pt x="535" y="371"/>
                    <a:pt x="553" y="372"/>
                    <a:pt x="560" y="365"/>
                  </a:cubicBezTo>
                  <a:cubicBezTo>
                    <a:pt x="567" y="358"/>
                    <a:pt x="580" y="349"/>
                    <a:pt x="580" y="349"/>
                  </a:cubicBezTo>
                  <a:cubicBezTo>
                    <a:pt x="580" y="349"/>
                    <a:pt x="589" y="351"/>
                    <a:pt x="589" y="345"/>
                  </a:cubicBezTo>
                  <a:cubicBezTo>
                    <a:pt x="589" y="339"/>
                    <a:pt x="584" y="311"/>
                    <a:pt x="594" y="301"/>
                  </a:cubicBezTo>
                  <a:cubicBezTo>
                    <a:pt x="604" y="291"/>
                    <a:pt x="623" y="296"/>
                    <a:pt x="623" y="296"/>
                  </a:cubicBezTo>
                  <a:cubicBezTo>
                    <a:pt x="623" y="296"/>
                    <a:pt x="622" y="279"/>
                    <a:pt x="630" y="279"/>
                  </a:cubicBezTo>
                  <a:cubicBezTo>
                    <a:pt x="638" y="279"/>
                    <a:pt x="652" y="292"/>
                    <a:pt x="652" y="292"/>
                  </a:cubicBezTo>
                  <a:cubicBezTo>
                    <a:pt x="674" y="292"/>
                    <a:pt x="674" y="292"/>
                    <a:pt x="674" y="292"/>
                  </a:cubicBezTo>
                  <a:cubicBezTo>
                    <a:pt x="674" y="289"/>
                    <a:pt x="673" y="285"/>
                    <a:pt x="667" y="280"/>
                  </a:cubicBezTo>
                  <a:cubicBezTo>
                    <a:pt x="656" y="272"/>
                    <a:pt x="668" y="260"/>
                    <a:pt x="668" y="260"/>
                  </a:cubicBezTo>
                  <a:cubicBezTo>
                    <a:pt x="635" y="242"/>
                    <a:pt x="635" y="242"/>
                    <a:pt x="635" y="242"/>
                  </a:cubicBezTo>
                  <a:cubicBezTo>
                    <a:pt x="620" y="244"/>
                    <a:pt x="620" y="244"/>
                    <a:pt x="620" y="244"/>
                  </a:cubicBezTo>
                  <a:cubicBezTo>
                    <a:pt x="620" y="244"/>
                    <a:pt x="602" y="236"/>
                    <a:pt x="595" y="231"/>
                  </a:cubicBezTo>
                  <a:cubicBezTo>
                    <a:pt x="588" y="226"/>
                    <a:pt x="574" y="215"/>
                    <a:pt x="574" y="215"/>
                  </a:cubicBezTo>
                  <a:cubicBezTo>
                    <a:pt x="563" y="212"/>
                    <a:pt x="563" y="212"/>
                    <a:pt x="563" y="212"/>
                  </a:cubicBezTo>
                  <a:cubicBezTo>
                    <a:pt x="554" y="204"/>
                    <a:pt x="554" y="204"/>
                    <a:pt x="554" y="204"/>
                  </a:cubicBezTo>
                  <a:cubicBezTo>
                    <a:pt x="536" y="203"/>
                    <a:pt x="536" y="203"/>
                    <a:pt x="536" y="203"/>
                  </a:cubicBezTo>
                  <a:cubicBezTo>
                    <a:pt x="516" y="191"/>
                    <a:pt x="516" y="191"/>
                    <a:pt x="516" y="191"/>
                  </a:cubicBezTo>
                  <a:cubicBezTo>
                    <a:pt x="516" y="191"/>
                    <a:pt x="504" y="175"/>
                    <a:pt x="500" y="174"/>
                  </a:cubicBezTo>
                  <a:cubicBezTo>
                    <a:pt x="496" y="172"/>
                    <a:pt x="483" y="170"/>
                    <a:pt x="476" y="167"/>
                  </a:cubicBezTo>
                  <a:cubicBezTo>
                    <a:pt x="470" y="164"/>
                    <a:pt x="458" y="159"/>
                    <a:pt x="455" y="148"/>
                  </a:cubicBezTo>
                  <a:cubicBezTo>
                    <a:pt x="452" y="138"/>
                    <a:pt x="444" y="126"/>
                    <a:pt x="444" y="126"/>
                  </a:cubicBezTo>
                  <a:cubicBezTo>
                    <a:pt x="431" y="111"/>
                    <a:pt x="431" y="111"/>
                    <a:pt x="431" y="111"/>
                  </a:cubicBezTo>
                  <a:cubicBezTo>
                    <a:pt x="422" y="92"/>
                    <a:pt x="422" y="92"/>
                    <a:pt x="422" y="92"/>
                  </a:cubicBezTo>
                  <a:cubicBezTo>
                    <a:pt x="398" y="80"/>
                    <a:pt x="398" y="80"/>
                    <a:pt x="398" y="80"/>
                  </a:cubicBezTo>
                  <a:cubicBezTo>
                    <a:pt x="398" y="86"/>
                    <a:pt x="398" y="86"/>
                    <a:pt x="398" y="86"/>
                  </a:cubicBezTo>
                  <a:cubicBezTo>
                    <a:pt x="362" y="82"/>
                    <a:pt x="362" y="82"/>
                    <a:pt x="362" y="82"/>
                  </a:cubicBezTo>
                  <a:cubicBezTo>
                    <a:pt x="362" y="82"/>
                    <a:pt x="336" y="83"/>
                    <a:pt x="331" y="74"/>
                  </a:cubicBezTo>
                  <a:cubicBezTo>
                    <a:pt x="326" y="64"/>
                    <a:pt x="338" y="52"/>
                    <a:pt x="338" y="52"/>
                  </a:cubicBezTo>
                  <a:cubicBezTo>
                    <a:pt x="328" y="47"/>
                    <a:pt x="328" y="47"/>
                    <a:pt x="328" y="47"/>
                  </a:cubicBezTo>
                  <a:cubicBezTo>
                    <a:pt x="328" y="47"/>
                    <a:pt x="330" y="32"/>
                    <a:pt x="320" y="28"/>
                  </a:cubicBezTo>
                  <a:cubicBezTo>
                    <a:pt x="311" y="24"/>
                    <a:pt x="298" y="27"/>
                    <a:pt x="298" y="27"/>
                  </a:cubicBezTo>
                  <a:cubicBezTo>
                    <a:pt x="288" y="23"/>
                    <a:pt x="288" y="23"/>
                    <a:pt x="288" y="23"/>
                  </a:cubicBezTo>
                  <a:cubicBezTo>
                    <a:pt x="290" y="15"/>
                    <a:pt x="290" y="15"/>
                    <a:pt x="290" y="15"/>
                  </a:cubicBezTo>
                  <a:cubicBezTo>
                    <a:pt x="274" y="16"/>
                    <a:pt x="274" y="16"/>
                    <a:pt x="274" y="16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58" y="7"/>
                    <a:pt x="258" y="7"/>
                    <a:pt x="258" y="7"/>
                  </a:cubicBezTo>
                  <a:cubicBezTo>
                    <a:pt x="238" y="6"/>
                    <a:pt x="238" y="6"/>
                    <a:pt x="238" y="6"/>
                  </a:cubicBezTo>
                  <a:cubicBezTo>
                    <a:pt x="258" y="24"/>
                    <a:pt x="258" y="24"/>
                    <a:pt x="258" y="24"/>
                  </a:cubicBezTo>
                  <a:cubicBezTo>
                    <a:pt x="258" y="24"/>
                    <a:pt x="239" y="16"/>
                    <a:pt x="235" y="18"/>
                  </a:cubicBezTo>
                  <a:cubicBezTo>
                    <a:pt x="231" y="19"/>
                    <a:pt x="231" y="30"/>
                    <a:pt x="231" y="30"/>
                  </a:cubicBezTo>
                  <a:cubicBezTo>
                    <a:pt x="231" y="30"/>
                    <a:pt x="199" y="36"/>
                    <a:pt x="198" y="50"/>
                  </a:cubicBezTo>
                  <a:cubicBezTo>
                    <a:pt x="196" y="63"/>
                    <a:pt x="211" y="79"/>
                    <a:pt x="211" y="79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7" y="79"/>
                    <a:pt x="163" y="72"/>
                    <a:pt x="156" y="72"/>
                  </a:cubicBezTo>
                  <a:cubicBezTo>
                    <a:pt x="150" y="72"/>
                    <a:pt x="151" y="87"/>
                    <a:pt x="140" y="82"/>
                  </a:cubicBezTo>
                  <a:cubicBezTo>
                    <a:pt x="130" y="76"/>
                    <a:pt x="112" y="51"/>
                    <a:pt x="112" y="51"/>
                  </a:cubicBezTo>
                  <a:cubicBezTo>
                    <a:pt x="112" y="51"/>
                    <a:pt x="102" y="38"/>
                    <a:pt x="94" y="34"/>
                  </a:cubicBezTo>
                  <a:cubicBezTo>
                    <a:pt x="86" y="30"/>
                    <a:pt x="54" y="18"/>
                    <a:pt x="51" y="22"/>
                  </a:cubicBezTo>
                  <a:cubicBezTo>
                    <a:pt x="48" y="26"/>
                    <a:pt x="50" y="32"/>
                    <a:pt x="50" y="32"/>
                  </a:cubicBezTo>
                  <a:cubicBezTo>
                    <a:pt x="50" y="32"/>
                    <a:pt x="60" y="38"/>
                    <a:pt x="60" y="42"/>
                  </a:cubicBezTo>
                  <a:cubicBezTo>
                    <a:pt x="60" y="46"/>
                    <a:pt x="63" y="46"/>
                    <a:pt x="70" y="58"/>
                  </a:cubicBezTo>
                  <a:cubicBezTo>
                    <a:pt x="76" y="70"/>
                    <a:pt x="112" y="79"/>
                    <a:pt x="110" y="90"/>
                  </a:cubicBezTo>
                  <a:cubicBezTo>
                    <a:pt x="107" y="100"/>
                    <a:pt x="107" y="106"/>
                    <a:pt x="100" y="104"/>
                  </a:cubicBezTo>
                  <a:cubicBezTo>
                    <a:pt x="94" y="103"/>
                    <a:pt x="79" y="90"/>
                    <a:pt x="82" y="94"/>
                  </a:cubicBezTo>
                  <a:cubicBezTo>
                    <a:pt x="84" y="98"/>
                    <a:pt x="79" y="107"/>
                    <a:pt x="79" y="107"/>
                  </a:cubicBezTo>
                  <a:cubicBezTo>
                    <a:pt x="52" y="108"/>
                    <a:pt x="52" y="108"/>
                    <a:pt x="52" y="108"/>
                  </a:cubicBezTo>
                  <a:cubicBezTo>
                    <a:pt x="44" y="95"/>
                    <a:pt x="44" y="95"/>
                    <a:pt x="44" y="95"/>
                  </a:cubicBezTo>
                  <a:cubicBezTo>
                    <a:pt x="40" y="100"/>
                    <a:pt x="40" y="100"/>
                    <a:pt x="40" y="100"/>
                  </a:cubicBezTo>
                  <a:cubicBezTo>
                    <a:pt x="40" y="100"/>
                    <a:pt x="30" y="90"/>
                    <a:pt x="24" y="80"/>
                  </a:cubicBezTo>
                  <a:cubicBezTo>
                    <a:pt x="19" y="71"/>
                    <a:pt x="23" y="56"/>
                    <a:pt x="19" y="55"/>
                  </a:cubicBezTo>
                  <a:cubicBezTo>
                    <a:pt x="15" y="54"/>
                    <a:pt x="3" y="47"/>
                    <a:pt x="2" y="52"/>
                  </a:cubicBezTo>
                  <a:cubicBezTo>
                    <a:pt x="0" y="58"/>
                    <a:pt x="14" y="72"/>
                    <a:pt x="14" y="72"/>
                  </a:cubicBezTo>
                  <a:cubicBezTo>
                    <a:pt x="14" y="72"/>
                    <a:pt x="34" y="96"/>
                    <a:pt x="34" y="100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 237">
              <a:extLst>
                <a:ext uri="{FF2B5EF4-FFF2-40B4-BE49-F238E27FC236}">
                  <a16:creationId xmlns:a16="http://schemas.microsoft.com/office/drawing/2014/main" id="{0A99A1B9-6C3A-558A-0829-8FC014C9C2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" y="-14870"/>
              <a:ext cx="1434" cy="1163"/>
            </a:xfrm>
            <a:custGeom>
              <a:avLst/>
              <a:gdLst>
                <a:gd name="T0" fmla="*/ 607 w 607"/>
                <a:gd name="T1" fmla="*/ 64 h 492"/>
                <a:gd name="T2" fmla="*/ 587 w 607"/>
                <a:gd name="T3" fmla="*/ 59 h 492"/>
                <a:gd name="T4" fmla="*/ 561 w 607"/>
                <a:gd name="T5" fmla="*/ 57 h 492"/>
                <a:gd name="T6" fmla="*/ 516 w 607"/>
                <a:gd name="T7" fmla="*/ 81 h 492"/>
                <a:gd name="T8" fmla="*/ 485 w 607"/>
                <a:gd name="T9" fmla="*/ 100 h 492"/>
                <a:gd name="T10" fmla="*/ 455 w 607"/>
                <a:gd name="T11" fmla="*/ 33 h 492"/>
                <a:gd name="T12" fmla="*/ 441 w 607"/>
                <a:gd name="T13" fmla="*/ 14 h 492"/>
                <a:gd name="T14" fmla="*/ 413 w 607"/>
                <a:gd name="T15" fmla="*/ 19 h 492"/>
                <a:gd name="T16" fmla="*/ 407 w 607"/>
                <a:gd name="T17" fmla="*/ 40 h 492"/>
                <a:gd name="T18" fmla="*/ 395 w 607"/>
                <a:gd name="T19" fmla="*/ 48 h 492"/>
                <a:gd name="T20" fmla="*/ 364 w 607"/>
                <a:gd name="T21" fmla="*/ 79 h 492"/>
                <a:gd name="T22" fmla="*/ 315 w 607"/>
                <a:gd name="T23" fmla="*/ 83 h 492"/>
                <a:gd name="T24" fmla="*/ 287 w 607"/>
                <a:gd name="T25" fmla="*/ 66 h 492"/>
                <a:gd name="T26" fmla="*/ 267 w 607"/>
                <a:gd name="T27" fmla="*/ 57 h 492"/>
                <a:gd name="T28" fmla="*/ 229 w 607"/>
                <a:gd name="T29" fmla="*/ 63 h 492"/>
                <a:gd name="T30" fmla="*/ 200 w 607"/>
                <a:gd name="T31" fmla="*/ 67 h 492"/>
                <a:gd name="T32" fmla="*/ 166 w 607"/>
                <a:gd name="T33" fmla="*/ 116 h 492"/>
                <a:gd name="T34" fmla="*/ 137 w 607"/>
                <a:gd name="T35" fmla="*/ 136 h 492"/>
                <a:gd name="T36" fmla="*/ 107 w 607"/>
                <a:gd name="T37" fmla="*/ 167 h 492"/>
                <a:gd name="T38" fmla="*/ 61 w 607"/>
                <a:gd name="T39" fmla="*/ 161 h 492"/>
                <a:gd name="T40" fmla="*/ 30 w 607"/>
                <a:gd name="T41" fmla="*/ 154 h 492"/>
                <a:gd name="T42" fmla="*/ 29 w 607"/>
                <a:gd name="T43" fmla="*/ 205 h 492"/>
                <a:gd name="T44" fmla="*/ 20 w 607"/>
                <a:gd name="T45" fmla="*/ 220 h 492"/>
                <a:gd name="T46" fmla="*/ 11 w 607"/>
                <a:gd name="T47" fmla="*/ 244 h 492"/>
                <a:gd name="T48" fmla="*/ 31 w 607"/>
                <a:gd name="T49" fmla="*/ 266 h 492"/>
                <a:gd name="T50" fmla="*/ 40 w 607"/>
                <a:gd name="T51" fmla="*/ 341 h 492"/>
                <a:gd name="T52" fmla="*/ 70 w 607"/>
                <a:gd name="T53" fmla="*/ 382 h 492"/>
                <a:gd name="T54" fmla="*/ 79 w 607"/>
                <a:gd name="T55" fmla="*/ 434 h 492"/>
                <a:gd name="T56" fmla="*/ 61 w 607"/>
                <a:gd name="T57" fmla="*/ 467 h 492"/>
                <a:gd name="T58" fmla="*/ 142 w 607"/>
                <a:gd name="T59" fmla="*/ 490 h 492"/>
                <a:gd name="T60" fmla="*/ 196 w 607"/>
                <a:gd name="T61" fmla="*/ 484 h 492"/>
                <a:gd name="T62" fmla="*/ 218 w 607"/>
                <a:gd name="T63" fmla="*/ 482 h 492"/>
                <a:gd name="T64" fmla="*/ 307 w 607"/>
                <a:gd name="T65" fmla="*/ 459 h 492"/>
                <a:gd name="T66" fmla="*/ 298 w 607"/>
                <a:gd name="T67" fmla="*/ 403 h 492"/>
                <a:gd name="T68" fmla="*/ 327 w 607"/>
                <a:gd name="T69" fmla="*/ 390 h 492"/>
                <a:gd name="T70" fmla="*/ 348 w 607"/>
                <a:gd name="T71" fmla="*/ 376 h 492"/>
                <a:gd name="T72" fmla="*/ 381 w 607"/>
                <a:gd name="T73" fmla="*/ 361 h 492"/>
                <a:gd name="T74" fmla="*/ 409 w 607"/>
                <a:gd name="T75" fmla="*/ 371 h 492"/>
                <a:gd name="T76" fmla="*/ 417 w 607"/>
                <a:gd name="T77" fmla="*/ 325 h 492"/>
                <a:gd name="T78" fmla="*/ 425 w 607"/>
                <a:gd name="T79" fmla="*/ 291 h 492"/>
                <a:gd name="T80" fmla="*/ 462 w 607"/>
                <a:gd name="T81" fmla="*/ 275 h 492"/>
                <a:gd name="T82" fmla="*/ 447 w 607"/>
                <a:gd name="T83" fmla="*/ 258 h 492"/>
                <a:gd name="T84" fmla="*/ 434 w 607"/>
                <a:gd name="T85" fmla="*/ 238 h 492"/>
                <a:gd name="T86" fmla="*/ 456 w 607"/>
                <a:gd name="T87" fmla="*/ 246 h 492"/>
                <a:gd name="T88" fmla="*/ 467 w 607"/>
                <a:gd name="T89" fmla="*/ 242 h 492"/>
                <a:gd name="T90" fmla="*/ 479 w 607"/>
                <a:gd name="T91" fmla="*/ 222 h 492"/>
                <a:gd name="T92" fmla="*/ 494 w 607"/>
                <a:gd name="T93" fmla="*/ 188 h 492"/>
                <a:gd name="T94" fmla="*/ 479 w 607"/>
                <a:gd name="T95" fmla="*/ 144 h 492"/>
                <a:gd name="T96" fmla="*/ 486 w 607"/>
                <a:gd name="T97" fmla="*/ 109 h 492"/>
                <a:gd name="T98" fmla="*/ 540 w 607"/>
                <a:gd name="T99" fmla="*/ 88 h 492"/>
                <a:gd name="T100" fmla="*/ 584 w 607"/>
                <a:gd name="T101" fmla="*/ 88 h 492"/>
                <a:gd name="T102" fmla="*/ 602 w 607"/>
                <a:gd name="T103" fmla="*/ 78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07" h="492">
                  <a:moveTo>
                    <a:pt x="596" y="71"/>
                  </a:moveTo>
                  <a:cubicBezTo>
                    <a:pt x="594" y="65"/>
                    <a:pt x="600" y="65"/>
                    <a:pt x="607" y="64"/>
                  </a:cubicBezTo>
                  <a:cubicBezTo>
                    <a:pt x="600" y="59"/>
                    <a:pt x="600" y="59"/>
                    <a:pt x="600" y="59"/>
                  </a:cubicBezTo>
                  <a:cubicBezTo>
                    <a:pt x="587" y="59"/>
                    <a:pt x="587" y="59"/>
                    <a:pt x="587" y="59"/>
                  </a:cubicBezTo>
                  <a:cubicBezTo>
                    <a:pt x="563" y="67"/>
                    <a:pt x="563" y="67"/>
                    <a:pt x="563" y="67"/>
                  </a:cubicBezTo>
                  <a:cubicBezTo>
                    <a:pt x="561" y="57"/>
                    <a:pt x="561" y="57"/>
                    <a:pt x="561" y="57"/>
                  </a:cubicBezTo>
                  <a:cubicBezTo>
                    <a:pt x="561" y="57"/>
                    <a:pt x="537" y="54"/>
                    <a:pt x="530" y="62"/>
                  </a:cubicBezTo>
                  <a:cubicBezTo>
                    <a:pt x="523" y="70"/>
                    <a:pt x="516" y="81"/>
                    <a:pt x="516" y="81"/>
                  </a:cubicBezTo>
                  <a:cubicBezTo>
                    <a:pt x="506" y="81"/>
                    <a:pt x="506" y="81"/>
                    <a:pt x="506" y="81"/>
                  </a:cubicBezTo>
                  <a:cubicBezTo>
                    <a:pt x="506" y="81"/>
                    <a:pt x="492" y="97"/>
                    <a:pt x="485" y="100"/>
                  </a:cubicBezTo>
                  <a:cubicBezTo>
                    <a:pt x="478" y="103"/>
                    <a:pt x="462" y="75"/>
                    <a:pt x="462" y="75"/>
                  </a:cubicBezTo>
                  <a:cubicBezTo>
                    <a:pt x="455" y="33"/>
                    <a:pt x="455" y="33"/>
                    <a:pt x="455" y="33"/>
                  </a:cubicBezTo>
                  <a:cubicBezTo>
                    <a:pt x="441" y="33"/>
                    <a:pt x="441" y="33"/>
                    <a:pt x="441" y="33"/>
                  </a:cubicBezTo>
                  <a:cubicBezTo>
                    <a:pt x="441" y="33"/>
                    <a:pt x="441" y="19"/>
                    <a:pt x="441" y="14"/>
                  </a:cubicBezTo>
                  <a:cubicBezTo>
                    <a:pt x="441" y="9"/>
                    <a:pt x="430" y="0"/>
                    <a:pt x="421" y="0"/>
                  </a:cubicBezTo>
                  <a:cubicBezTo>
                    <a:pt x="412" y="0"/>
                    <a:pt x="413" y="15"/>
                    <a:pt x="413" y="19"/>
                  </a:cubicBezTo>
                  <a:cubicBezTo>
                    <a:pt x="413" y="23"/>
                    <a:pt x="399" y="26"/>
                    <a:pt x="399" y="33"/>
                  </a:cubicBezTo>
                  <a:cubicBezTo>
                    <a:pt x="399" y="40"/>
                    <a:pt x="407" y="40"/>
                    <a:pt x="407" y="40"/>
                  </a:cubicBezTo>
                  <a:cubicBezTo>
                    <a:pt x="402" y="54"/>
                    <a:pt x="402" y="54"/>
                    <a:pt x="402" y="54"/>
                  </a:cubicBezTo>
                  <a:cubicBezTo>
                    <a:pt x="395" y="48"/>
                    <a:pt x="395" y="48"/>
                    <a:pt x="395" y="48"/>
                  </a:cubicBezTo>
                  <a:cubicBezTo>
                    <a:pt x="395" y="48"/>
                    <a:pt x="373" y="49"/>
                    <a:pt x="368" y="54"/>
                  </a:cubicBezTo>
                  <a:cubicBezTo>
                    <a:pt x="363" y="59"/>
                    <a:pt x="368" y="77"/>
                    <a:pt x="364" y="79"/>
                  </a:cubicBezTo>
                  <a:cubicBezTo>
                    <a:pt x="360" y="81"/>
                    <a:pt x="349" y="64"/>
                    <a:pt x="346" y="64"/>
                  </a:cubicBezTo>
                  <a:cubicBezTo>
                    <a:pt x="343" y="64"/>
                    <a:pt x="318" y="84"/>
                    <a:pt x="315" y="83"/>
                  </a:cubicBezTo>
                  <a:cubicBezTo>
                    <a:pt x="312" y="82"/>
                    <a:pt x="292" y="66"/>
                    <a:pt x="292" y="66"/>
                  </a:cubicBezTo>
                  <a:cubicBezTo>
                    <a:pt x="287" y="66"/>
                    <a:pt x="287" y="66"/>
                    <a:pt x="287" y="66"/>
                  </a:cubicBezTo>
                  <a:cubicBezTo>
                    <a:pt x="276" y="71"/>
                    <a:pt x="276" y="71"/>
                    <a:pt x="276" y="71"/>
                  </a:cubicBezTo>
                  <a:cubicBezTo>
                    <a:pt x="267" y="57"/>
                    <a:pt x="267" y="57"/>
                    <a:pt x="267" y="57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29" y="63"/>
                    <a:pt x="229" y="63"/>
                    <a:pt x="229" y="63"/>
                  </a:cubicBezTo>
                  <a:cubicBezTo>
                    <a:pt x="229" y="63"/>
                    <a:pt x="215" y="50"/>
                    <a:pt x="207" y="50"/>
                  </a:cubicBezTo>
                  <a:cubicBezTo>
                    <a:pt x="199" y="50"/>
                    <a:pt x="200" y="67"/>
                    <a:pt x="200" y="67"/>
                  </a:cubicBezTo>
                  <a:cubicBezTo>
                    <a:pt x="200" y="67"/>
                    <a:pt x="181" y="62"/>
                    <a:pt x="171" y="72"/>
                  </a:cubicBezTo>
                  <a:cubicBezTo>
                    <a:pt x="161" y="82"/>
                    <a:pt x="166" y="110"/>
                    <a:pt x="166" y="116"/>
                  </a:cubicBezTo>
                  <a:cubicBezTo>
                    <a:pt x="166" y="122"/>
                    <a:pt x="157" y="120"/>
                    <a:pt x="157" y="120"/>
                  </a:cubicBezTo>
                  <a:cubicBezTo>
                    <a:pt x="157" y="120"/>
                    <a:pt x="144" y="129"/>
                    <a:pt x="137" y="136"/>
                  </a:cubicBezTo>
                  <a:cubicBezTo>
                    <a:pt x="130" y="143"/>
                    <a:pt x="112" y="142"/>
                    <a:pt x="112" y="142"/>
                  </a:cubicBezTo>
                  <a:cubicBezTo>
                    <a:pt x="112" y="142"/>
                    <a:pt x="112" y="158"/>
                    <a:pt x="107" y="167"/>
                  </a:cubicBezTo>
                  <a:cubicBezTo>
                    <a:pt x="102" y="176"/>
                    <a:pt x="77" y="177"/>
                    <a:pt x="77" y="177"/>
                  </a:cubicBezTo>
                  <a:cubicBezTo>
                    <a:pt x="61" y="161"/>
                    <a:pt x="61" y="161"/>
                    <a:pt x="61" y="161"/>
                  </a:cubicBezTo>
                  <a:cubicBezTo>
                    <a:pt x="61" y="161"/>
                    <a:pt x="54" y="164"/>
                    <a:pt x="49" y="164"/>
                  </a:cubicBezTo>
                  <a:cubicBezTo>
                    <a:pt x="44" y="164"/>
                    <a:pt x="30" y="154"/>
                    <a:pt x="30" y="154"/>
                  </a:cubicBezTo>
                  <a:cubicBezTo>
                    <a:pt x="30" y="154"/>
                    <a:pt x="24" y="161"/>
                    <a:pt x="23" y="168"/>
                  </a:cubicBezTo>
                  <a:cubicBezTo>
                    <a:pt x="22" y="175"/>
                    <a:pt x="29" y="205"/>
                    <a:pt x="29" y="205"/>
                  </a:cubicBezTo>
                  <a:cubicBezTo>
                    <a:pt x="15" y="209"/>
                    <a:pt x="15" y="209"/>
                    <a:pt x="15" y="209"/>
                  </a:cubicBezTo>
                  <a:cubicBezTo>
                    <a:pt x="20" y="220"/>
                    <a:pt x="20" y="220"/>
                    <a:pt x="20" y="220"/>
                  </a:cubicBezTo>
                  <a:cubicBezTo>
                    <a:pt x="20" y="220"/>
                    <a:pt x="6" y="225"/>
                    <a:pt x="3" y="230"/>
                  </a:cubicBezTo>
                  <a:cubicBezTo>
                    <a:pt x="0" y="235"/>
                    <a:pt x="11" y="244"/>
                    <a:pt x="11" y="244"/>
                  </a:cubicBezTo>
                  <a:cubicBezTo>
                    <a:pt x="9" y="263"/>
                    <a:pt x="9" y="263"/>
                    <a:pt x="9" y="263"/>
                  </a:cubicBezTo>
                  <a:cubicBezTo>
                    <a:pt x="9" y="263"/>
                    <a:pt x="30" y="260"/>
                    <a:pt x="31" y="266"/>
                  </a:cubicBezTo>
                  <a:cubicBezTo>
                    <a:pt x="32" y="272"/>
                    <a:pt x="17" y="280"/>
                    <a:pt x="15" y="293"/>
                  </a:cubicBezTo>
                  <a:cubicBezTo>
                    <a:pt x="13" y="306"/>
                    <a:pt x="40" y="330"/>
                    <a:pt x="40" y="341"/>
                  </a:cubicBezTo>
                  <a:cubicBezTo>
                    <a:pt x="40" y="352"/>
                    <a:pt x="40" y="366"/>
                    <a:pt x="40" y="374"/>
                  </a:cubicBezTo>
                  <a:cubicBezTo>
                    <a:pt x="40" y="382"/>
                    <a:pt x="70" y="382"/>
                    <a:pt x="70" y="382"/>
                  </a:cubicBezTo>
                  <a:cubicBezTo>
                    <a:pt x="70" y="382"/>
                    <a:pt x="85" y="377"/>
                    <a:pt x="91" y="394"/>
                  </a:cubicBezTo>
                  <a:cubicBezTo>
                    <a:pt x="97" y="411"/>
                    <a:pt x="86" y="424"/>
                    <a:pt x="79" y="434"/>
                  </a:cubicBezTo>
                  <a:cubicBezTo>
                    <a:pt x="72" y="444"/>
                    <a:pt x="56" y="458"/>
                    <a:pt x="56" y="462"/>
                  </a:cubicBezTo>
                  <a:cubicBezTo>
                    <a:pt x="56" y="466"/>
                    <a:pt x="61" y="467"/>
                    <a:pt x="61" y="467"/>
                  </a:cubicBezTo>
                  <a:cubicBezTo>
                    <a:pt x="61" y="467"/>
                    <a:pt x="73" y="464"/>
                    <a:pt x="82" y="469"/>
                  </a:cubicBezTo>
                  <a:cubicBezTo>
                    <a:pt x="91" y="474"/>
                    <a:pt x="121" y="492"/>
                    <a:pt x="142" y="490"/>
                  </a:cubicBezTo>
                  <a:cubicBezTo>
                    <a:pt x="163" y="488"/>
                    <a:pt x="161" y="483"/>
                    <a:pt x="161" y="483"/>
                  </a:cubicBezTo>
                  <a:cubicBezTo>
                    <a:pt x="196" y="484"/>
                    <a:pt x="196" y="484"/>
                    <a:pt x="196" y="484"/>
                  </a:cubicBezTo>
                  <a:cubicBezTo>
                    <a:pt x="196" y="484"/>
                    <a:pt x="193" y="488"/>
                    <a:pt x="205" y="488"/>
                  </a:cubicBezTo>
                  <a:cubicBezTo>
                    <a:pt x="217" y="488"/>
                    <a:pt x="218" y="482"/>
                    <a:pt x="218" y="482"/>
                  </a:cubicBezTo>
                  <a:cubicBezTo>
                    <a:pt x="218" y="482"/>
                    <a:pt x="260" y="480"/>
                    <a:pt x="263" y="479"/>
                  </a:cubicBezTo>
                  <a:cubicBezTo>
                    <a:pt x="266" y="478"/>
                    <a:pt x="305" y="465"/>
                    <a:pt x="307" y="459"/>
                  </a:cubicBezTo>
                  <a:cubicBezTo>
                    <a:pt x="309" y="453"/>
                    <a:pt x="303" y="433"/>
                    <a:pt x="303" y="433"/>
                  </a:cubicBezTo>
                  <a:cubicBezTo>
                    <a:pt x="303" y="433"/>
                    <a:pt x="296" y="409"/>
                    <a:pt x="298" y="403"/>
                  </a:cubicBezTo>
                  <a:cubicBezTo>
                    <a:pt x="300" y="397"/>
                    <a:pt x="315" y="384"/>
                    <a:pt x="323" y="384"/>
                  </a:cubicBezTo>
                  <a:cubicBezTo>
                    <a:pt x="331" y="384"/>
                    <a:pt x="327" y="390"/>
                    <a:pt x="327" y="390"/>
                  </a:cubicBezTo>
                  <a:cubicBezTo>
                    <a:pt x="327" y="390"/>
                    <a:pt x="357" y="395"/>
                    <a:pt x="359" y="389"/>
                  </a:cubicBezTo>
                  <a:cubicBezTo>
                    <a:pt x="361" y="383"/>
                    <a:pt x="344" y="381"/>
                    <a:pt x="348" y="376"/>
                  </a:cubicBezTo>
                  <a:cubicBezTo>
                    <a:pt x="352" y="371"/>
                    <a:pt x="366" y="367"/>
                    <a:pt x="366" y="367"/>
                  </a:cubicBezTo>
                  <a:cubicBezTo>
                    <a:pt x="366" y="367"/>
                    <a:pt x="373" y="361"/>
                    <a:pt x="381" y="361"/>
                  </a:cubicBezTo>
                  <a:cubicBezTo>
                    <a:pt x="389" y="361"/>
                    <a:pt x="399" y="359"/>
                    <a:pt x="399" y="359"/>
                  </a:cubicBezTo>
                  <a:cubicBezTo>
                    <a:pt x="399" y="359"/>
                    <a:pt x="396" y="378"/>
                    <a:pt x="409" y="371"/>
                  </a:cubicBezTo>
                  <a:cubicBezTo>
                    <a:pt x="422" y="364"/>
                    <a:pt x="425" y="355"/>
                    <a:pt x="425" y="355"/>
                  </a:cubicBezTo>
                  <a:cubicBezTo>
                    <a:pt x="425" y="355"/>
                    <a:pt x="416" y="337"/>
                    <a:pt x="417" y="325"/>
                  </a:cubicBezTo>
                  <a:cubicBezTo>
                    <a:pt x="418" y="313"/>
                    <a:pt x="424" y="316"/>
                    <a:pt x="424" y="316"/>
                  </a:cubicBezTo>
                  <a:cubicBezTo>
                    <a:pt x="424" y="316"/>
                    <a:pt x="421" y="294"/>
                    <a:pt x="425" y="291"/>
                  </a:cubicBezTo>
                  <a:cubicBezTo>
                    <a:pt x="429" y="288"/>
                    <a:pt x="442" y="289"/>
                    <a:pt x="442" y="289"/>
                  </a:cubicBezTo>
                  <a:cubicBezTo>
                    <a:pt x="462" y="275"/>
                    <a:pt x="462" y="275"/>
                    <a:pt x="462" y="275"/>
                  </a:cubicBezTo>
                  <a:cubicBezTo>
                    <a:pt x="462" y="275"/>
                    <a:pt x="451" y="276"/>
                    <a:pt x="449" y="269"/>
                  </a:cubicBezTo>
                  <a:cubicBezTo>
                    <a:pt x="447" y="262"/>
                    <a:pt x="447" y="258"/>
                    <a:pt x="447" y="258"/>
                  </a:cubicBezTo>
                  <a:cubicBezTo>
                    <a:pt x="447" y="258"/>
                    <a:pt x="432" y="254"/>
                    <a:pt x="431" y="249"/>
                  </a:cubicBezTo>
                  <a:cubicBezTo>
                    <a:pt x="430" y="244"/>
                    <a:pt x="430" y="239"/>
                    <a:pt x="434" y="238"/>
                  </a:cubicBezTo>
                  <a:cubicBezTo>
                    <a:pt x="438" y="237"/>
                    <a:pt x="445" y="245"/>
                    <a:pt x="445" y="245"/>
                  </a:cubicBezTo>
                  <a:cubicBezTo>
                    <a:pt x="456" y="246"/>
                    <a:pt x="456" y="246"/>
                    <a:pt x="456" y="246"/>
                  </a:cubicBezTo>
                  <a:cubicBezTo>
                    <a:pt x="463" y="249"/>
                    <a:pt x="463" y="249"/>
                    <a:pt x="463" y="249"/>
                  </a:cubicBezTo>
                  <a:cubicBezTo>
                    <a:pt x="467" y="242"/>
                    <a:pt x="467" y="242"/>
                    <a:pt x="467" y="242"/>
                  </a:cubicBezTo>
                  <a:cubicBezTo>
                    <a:pt x="467" y="242"/>
                    <a:pt x="478" y="245"/>
                    <a:pt x="479" y="238"/>
                  </a:cubicBezTo>
                  <a:cubicBezTo>
                    <a:pt x="480" y="231"/>
                    <a:pt x="479" y="222"/>
                    <a:pt x="479" y="222"/>
                  </a:cubicBezTo>
                  <a:cubicBezTo>
                    <a:pt x="479" y="222"/>
                    <a:pt x="472" y="221"/>
                    <a:pt x="473" y="212"/>
                  </a:cubicBezTo>
                  <a:cubicBezTo>
                    <a:pt x="474" y="203"/>
                    <a:pt x="491" y="195"/>
                    <a:pt x="494" y="188"/>
                  </a:cubicBezTo>
                  <a:cubicBezTo>
                    <a:pt x="497" y="181"/>
                    <a:pt x="487" y="173"/>
                    <a:pt x="487" y="173"/>
                  </a:cubicBezTo>
                  <a:cubicBezTo>
                    <a:pt x="487" y="173"/>
                    <a:pt x="490" y="156"/>
                    <a:pt x="479" y="144"/>
                  </a:cubicBezTo>
                  <a:cubicBezTo>
                    <a:pt x="468" y="132"/>
                    <a:pt x="463" y="136"/>
                    <a:pt x="469" y="124"/>
                  </a:cubicBezTo>
                  <a:cubicBezTo>
                    <a:pt x="475" y="112"/>
                    <a:pt x="486" y="109"/>
                    <a:pt x="486" y="109"/>
                  </a:cubicBezTo>
                  <a:cubicBezTo>
                    <a:pt x="486" y="109"/>
                    <a:pt x="509" y="93"/>
                    <a:pt x="516" y="90"/>
                  </a:cubicBezTo>
                  <a:cubicBezTo>
                    <a:pt x="523" y="87"/>
                    <a:pt x="540" y="88"/>
                    <a:pt x="540" y="88"/>
                  </a:cubicBezTo>
                  <a:cubicBezTo>
                    <a:pt x="540" y="88"/>
                    <a:pt x="563" y="83"/>
                    <a:pt x="566" y="83"/>
                  </a:cubicBezTo>
                  <a:cubicBezTo>
                    <a:pt x="569" y="83"/>
                    <a:pt x="579" y="89"/>
                    <a:pt x="584" y="88"/>
                  </a:cubicBezTo>
                  <a:cubicBezTo>
                    <a:pt x="587" y="87"/>
                    <a:pt x="596" y="82"/>
                    <a:pt x="602" y="78"/>
                  </a:cubicBezTo>
                  <a:cubicBezTo>
                    <a:pt x="602" y="78"/>
                    <a:pt x="602" y="78"/>
                    <a:pt x="602" y="78"/>
                  </a:cubicBezTo>
                  <a:cubicBezTo>
                    <a:pt x="599" y="76"/>
                    <a:pt x="597" y="74"/>
                    <a:pt x="596" y="71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 238">
              <a:extLst>
                <a:ext uri="{FF2B5EF4-FFF2-40B4-BE49-F238E27FC236}">
                  <a16:creationId xmlns:a16="http://schemas.microsoft.com/office/drawing/2014/main" id="{E894D000-5723-D7F4-4B2F-87B8CA0DFAF8}"/>
                </a:ext>
              </a:extLst>
            </p:cNvPr>
            <p:cNvSpPr>
              <a:spLocks/>
            </p:cNvSpPr>
            <p:nvPr/>
          </p:nvSpPr>
          <p:spPr bwMode="gray">
            <a:xfrm>
              <a:off x="-2682" y="-14069"/>
              <a:ext cx="2358" cy="2010"/>
            </a:xfrm>
            <a:custGeom>
              <a:avLst/>
              <a:gdLst>
                <a:gd name="T0" fmla="*/ 976 w 998"/>
                <a:gd name="T1" fmla="*/ 516 h 851"/>
                <a:gd name="T2" fmla="*/ 804 w 998"/>
                <a:gd name="T3" fmla="*/ 446 h 851"/>
                <a:gd name="T4" fmla="*/ 794 w 998"/>
                <a:gd name="T5" fmla="*/ 413 h 851"/>
                <a:gd name="T6" fmla="*/ 780 w 998"/>
                <a:gd name="T7" fmla="*/ 407 h 851"/>
                <a:gd name="T8" fmla="*/ 764 w 998"/>
                <a:gd name="T9" fmla="*/ 400 h 851"/>
                <a:gd name="T10" fmla="*/ 719 w 998"/>
                <a:gd name="T11" fmla="*/ 332 h 851"/>
                <a:gd name="T12" fmla="*/ 669 w 998"/>
                <a:gd name="T13" fmla="*/ 265 h 851"/>
                <a:gd name="T14" fmla="*/ 646 w 998"/>
                <a:gd name="T15" fmla="*/ 218 h 851"/>
                <a:gd name="T16" fmla="*/ 637 w 998"/>
                <a:gd name="T17" fmla="*/ 195 h 851"/>
                <a:gd name="T18" fmla="*/ 588 w 998"/>
                <a:gd name="T19" fmla="*/ 170 h 851"/>
                <a:gd name="T20" fmla="*/ 332 w 998"/>
                <a:gd name="T21" fmla="*/ 63 h 851"/>
                <a:gd name="T22" fmla="*/ 250 w 998"/>
                <a:gd name="T23" fmla="*/ 9 h 851"/>
                <a:gd name="T24" fmla="*/ 200 w 998"/>
                <a:gd name="T25" fmla="*/ 0 h 851"/>
                <a:gd name="T26" fmla="*/ 147 w 998"/>
                <a:gd name="T27" fmla="*/ 18 h 851"/>
                <a:gd name="T28" fmla="*/ 111 w 998"/>
                <a:gd name="T29" fmla="*/ 32 h 851"/>
                <a:gd name="T30" fmla="*/ 111 w 998"/>
                <a:gd name="T31" fmla="*/ 46 h 851"/>
                <a:gd name="T32" fmla="*/ 123 w 998"/>
                <a:gd name="T33" fmla="*/ 118 h 851"/>
                <a:gd name="T34" fmla="*/ 70 w 998"/>
                <a:gd name="T35" fmla="*/ 163 h 851"/>
                <a:gd name="T36" fmla="*/ 12 w 998"/>
                <a:gd name="T37" fmla="*/ 161 h 851"/>
                <a:gd name="T38" fmla="*/ 12 w 998"/>
                <a:gd name="T39" fmla="*/ 249 h 851"/>
                <a:gd name="T40" fmla="*/ 85 w 998"/>
                <a:gd name="T41" fmla="*/ 334 h 851"/>
                <a:gd name="T42" fmla="*/ 145 w 998"/>
                <a:gd name="T43" fmla="*/ 433 h 851"/>
                <a:gd name="T44" fmla="*/ 232 w 998"/>
                <a:gd name="T45" fmla="*/ 560 h 851"/>
                <a:gd name="T46" fmla="*/ 300 w 998"/>
                <a:gd name="T47" fmla="*/ 631 h 851"/>
                <a:gd name="T48" fmla="*/ 419 w 998"/>
                <a:gd name="T49" fmla="*/ 826 h 851"/>
                <a:gd name="T50" fmla="*/ 427 w 998"/>
                <a:gd name="T51" fmla="*/ 837 h 851"/>
                <a:gd name="T52" fmla="*/ 437 w 998"/>
                <a:gd name="T53" fmla="*/ 790 h 851"/>
                <a:gd name="T54" fmla="*/ 470 w 998"/>
                <a:gd name="T55" fmla="*/ 798 h 851"/>
                <a:gd name="T56" fmla="*/ 522 w 998"/>
                <a:gd name="T57" fmla="*/ 791 h 851"/>
                <a:gd name="T58" fmla="*/ 593 w 998"/>
                <a:gd name="T59" fmla="*/ 799 h 851"/>
                <a:gd name="T60" fmla="*/ 628 w 998"/>
                <a:gd name="T61" fmla="*/ 804 h 851"/>
                <a:gd name="T62" fmla="*/ 653 w 998"/>
                <a:gd name="T63" fmla="*/ 755 h 851"/>
                <a:gd name="T64" fmla="*/ 839 w 998"/>
                <a:gd name="T65" fmla="*/ 710 h 851"/>
                <a:gd name="T66" fmla="*/ 998 w 998"/>
                <a:gd name="T67" fmla="*/ 546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98" h="851">
                  <a:moveTo>
                    <a:pt x="980" y="527"/>
                  </a:moveTo>
                  <a:cubicBezTo>
                    <a:pt x="980" y="525"/>
                    <a:pt x="978" y="521"/>
                    <a:pt x="976" y="516"/>
                  </a:cubicBezTo>
                  <a:cubicBezTo>
                    <a:pt x="942" y="512"/>
                    <a:pt x="853" y="501"/>
                    <a:pt x="851" y="501"/>
                  </a:cubicBezTo>
                  <a:cubicBezTo>
                    <a:pt x="848" y="501"/>
                    <a:pt x="811" y="453"/>
                    <a:pt x="804" y="446"/>
                  </a:cubicBezTo>
                  <a:cubicBezTo>
                    <a:pt x="799" y="441"/>
                    <a:pt x="799" y="433"/>
                    <a:pt x="800" y="428"/>
                  </a:cubicBezTo>
                  <a:cubicBezTo>
                    <a:pt x="796" y="423"/>
                    <a:pt x="793" y="417"/>
                    <a:pt x="794" y="413"/>
                  </a:cubicBezTo>
                  <a:cubicBezTo>
                    <a:pt x="788" y="415"/>
                    <a:pt x="788" y="415"/>
                    <a:pt x="788" y="415"/>
                  </a:cubicBezTo>
                  <a:cubicBezTo>
                    <a:pt x="780" y="407"/>
                    <a:pt x="780" y="407"/>
                    <a:pt x="780" y="407"/>
                  </a:cubicBezTo>
                  <a:cubicBezTo>
                    <a:pt x="770" y="410"/>
                    <a:pt x="770" y="410"/>
                    <a:pt x="770" y="410"/>
                  </a:cubicBezTo>
                  <a:cubicBezTo>
                    <a:pt x="764" y="400"/>
                    <a:pt x="764" y="400"/>
                    <a:pt x="764" y="400"/>
                  </a:cubicBezTo>
                  <a:cubicBezTo>
                    <a:pt x="757" y="398"/>
                    <a:pt x="750" y="359"/>
                    <a:pt x="744" y="354"/>
                  </a:cubicBezTo>
                  <a:cubicBezTo>
                    <a:pt x="738" y="349"/>
                    <a:pt x="722" y="346"/>
                    <a:pt x="719" y="332"/>
                  </a:cubicBezTo>
                  <a:cubicBezTo>
                    <a:pt x="715" y="318"/>
                    <a:pt x="720" y="296"/>
                    <a:pt x="707" y="286"/>
                  </a:cubicBezTo>
                  <a:cubicBezTo>
                    <a:pt x="693" y="275"/>
                    <a:pt x="675" y="277"/>
                    <a:pt x="669" y="265"/>
                  </a:cubicBezTo>
                  <a:cubicBezTo>
                    <a:pt x="663" y="252"/>
                    <a:pt x="670" y="239"/>
                    <a:pt x="664" y="235"/>
                  </a:cubicBezTo>
                  <a:cubicBezTo>
                    <a:pt x="658" y="231"/>
                    <a:pt x="646" y="218"/>
                    <a:pt x="646" y="218"/>
                  </a:cubicBezTo>
                  <a:cubicBezTo>
                    <a:pt x="645" y="201"/>
                    <a:pt x="645" y="201"/>
                    <a:pt x="645" y="201"/>
                  </a:cubicBezTo>
                  <a:cubicBezTo>
                    <a:pt x="645" y="201"/>
                    <a:pt x="642" y="198"/>
                    <a:pt x="637" y="195"/>
                  </a:cubicBezTo>
                  <a:cubicBezTo>
                    <a:pt x="624" y="196"/>
                    <a:pt x="606" y="196"/>
                    <a:pt x="598" y="196"/>
                  </a:cubicBezTo>
                  <a:cubicBezTo>
                    <a:pt x="584" y="195"/>
                    <a:pt x="594" y="177"/>
                    <a:pt x="588" y="170"/>
                  </a:cubicBezTo>
                  <a:cubicBezTo>
                    <a:pt x="582" y="163"/>
                    <a:pt x="460" y="160"/>
                    <a:pt x="460" y="160"/>
                  </a:cubicBezTo>
                  <a:cubicBezTo>
                    <a:pt x="332" y="63"/>
                    <a:pt x="332" y="63"/>
                    <a:pt x="332" y="63"/>
                  </a:cubicBezTo>
                  <a:cubicBezTo>
                    <a:pt x="332" y="63"/>
                    <a:pt x="311" y="49"/>
                    <a:pt x="299" y="43"/>
                  </a:cubicBezTo>
                  <a:cubicBezTo>
                    <a:pt x="287" y="37"/>
                    <a:pt x="250" y="9"/>
                    <a:pt x="250" y="9"/>
                  </a:cubicBezTo>
                  <a:cubicBezTo>
                    <a:pt x="250" y="9"/>
                    <a:pt x="225" y="8"/>
                    <a:pt x="216" y="9"/>
                  </a:cubicBezTo>
                  <a:cubicBezTo>
                    <a:pt x="207" y="10"/>
                    <a:pt x="200" y="0"/>
                    <a:pt x="200" y="0"/>
                  </a:cubicBezTo>
                  <a:cubicBezTo>
                    <a:pt x="200" y="0"/>
                    <a:pt x="187" y="8"/>
                    <a:pt x="181" y="14"/>
                  </a:cubicBezTo>
                  <a:cubicBezTo>
                    <a:pt x="175" y="20"/>
                    <a:pt x="147" y="18"/>
                    <a:pt x="147" y="18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32"/>
                    <a:pt x="86" y="31"/>
                    <a:pt x="79" y="38"/>
                  </a:cubicBezTo>
                  <a:cubicBezTo>
                    <a:pt x="72" y="45"/>
                    <a:pt x="104" y="42"/>
                    <a:pt x="111" y="46"/>
                  </a:cubicBezTo>
                  <a:cubicBezTo>
                    <a:pt x="118" y="50"/>
                    <a:pt x="137" y="85"/>
                    <a:pt x="137" y="85"/>
                  </a:cubicBezTo>
                  <a:cubicBezTo>
                    <a:pt x="137" y="85"/>
                    <a:pt x="131" y="111"/>
                    <a:pt x="123" y="118"/>
                  </a:cubicBezTo>
                  <a:cubicBezTo>
                    <a:pt x="115" y="125"/>
                    <a:pt x="98" y="121"/>
                    <a:pt x="92" y="123"/>
                  </a:cubicBezTo>
                  <a:cubicBezTo>
                    <a:pt x="86" y="125"/>
                    <a:pt x="84" y="152"/>
                    <a:pt x="70" y="163"/>
                  </a:cubicBezTo>
                  <a:cubicBezTo>
                    <a:pt x="56" y="174"/>
                    <a:pt x="25" y="154"/>
                    <a:pt x="18" y="155"/>
                  </a:cubicBezTo>
                  <a:cubicBezTo>
                    <a:pt x="12" y="156"/>
                    <a:pt x="12" y="160"/>
                    <a:pt x="12" y="161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2" y="170"/>
                    <a:pt x="0" y="237"/>
                    <a:pt x="12" y="249"/>
                  </a:cubicBezTo>
                  <a:cubicBezTo>
                    <a:pt x="24" y="260"/>
                    <a:pt x="49" y="260"/>
                    <a:pt x="54" y="274"/>
                  </a:cubicBezTo>
                  <a:cubicBezTo>
                    <a:pt x="60" y="288"/>
                    <a:pt x="76" y="325"/>
                    <a:pt x="85" y="334"/>
                  </a:cubicBezTo>
                  <a:cubicBezTo>
                    <a:pt x="94" y="343"/>
                    <a:pt x="113" y="358"/>
                    <a:pt x="120" y="370"/>
                  </a:cubicBezTo>
                  <a:cubicBezTo>
                    <a:pt x="128" y="383"/>
                    <a:pt x="132" y="421"/>
                    <a:pt x="145" y="433"/>
                  </a:cubicBezTo>
                  <a:cubicBezTo>
                    <a:pt x="157" y="445"/>
                    <a:pt x="184" y="434"/>
                    <a:pt x="201" y="453"/>
                  </a:cubicBezTo>
                  <a:cubicBezTo>
                    <a:pt x="218" y="472"/>
                    <a:pt x="232" y="531"/>
                    <a:pt x="232" y="560"/>
                  </a:cubicBezTo>
                  <a:cubicBezTo>
                    <a:pt x="232" y="590"/>
                    <a:pt x="267" y="626"/>
                    <a:pt x="267" y="626"/>
                  </a:cubicBezTo>
                  <a:cubicBezTo>
                    <a:pt x="267" y="626"/>
                    <a:pt x="291" y="623"/>
                    <a:pt x="300" y="631"/>
                  </a:cubicBezTo>
                  <a:cubicBezTo>
                    <a:pt x="308" y="639"/>
                    <a:pt x="344" y="704"/>
                    <a:pt x="358" y="728"/>
                  </a:cubicBezTo>
                  <a:cubicBezTo>
                    <a:pt x="372" y="752"/>
                    <a:pt x="420" y="810"/>
                    <a:pt x="419" y="826"/>
                  </a:cubicBezTo>
                  <a:cubicBezTo>
                    <a:pt x="419" y="833"/>
                    <a:pt x="417" y="842"/>
                    <a:pt x="414" y="851"/>
                  </a:cubicBezTo>
                  <a:cubicBezTo>
                    <a:pt x="418" y="848"/>
                    <a:pt x="423" y="844"/>
                    <a:pt x="427" y="837"/>
                  </a:cubicBezTo>
                  <a:cubicBezTo>
                    <a:pt x="434" y="826"/>
                    <a:pt x="428" y="824"/>
                    <a:pt x="428" y="824"/>
                  </a:cubicBezTo>
                  <a:cubicBezTo>
                    <a:pt x="428" y="824"/>
                    <a:pt x="427" y="795"/>
                    <a:pt x="437" y="790"/>
                  </a:cubicBezTo>
                  <a:cubicBezTo>
                    <a:pt x="447" y="785"/>
                    <a:pt x="452" y="799"/>
                    <a:pt x="452" y="799"/>
                  </a:cubicBezTo>
                  <a:cubicBezTo>
                    <a:pt x="470" y="798"/>
                    <a:pt x="470" y="798"/>
                    <a:pt x="470" y="798"/>
                  </a:cubicBezTo>
                  <a:cubicBezTo>
                    <a:pt x="470" y="798"/>
                    <a:pt x="477" y="792"/>
                    <a:pt x="482" y="792"/>
                  </a:cubicBezTo>
                  <a:cubicBezTo>
                    <a:pt x="487" y="792"/>
                    <a:pt x="506" y="791"/>
                    <a:pt x="522" y="791"/>
                  </a:cubicBezTo>
                  <a:cubicBezTo>
                    <a:pt x="538" y="791"/>
                    <a:pt x="549" y="799"/>
                    <a:pt x="549" y="799"/>
                  </a:cubicBezTo>
                  <a:cubicBezTo>
                    <a:pt x="549" y="799"/>
                    <a:pt x="589" y="797"/>
                    <a:pt x="593" y="799"/>
                  </a:cubicBezTo>
                  <a:cubicBezTo>
                    <a:pt x="597" y="801"/>
                    <a:pt x="611" y="816"/>
                    <a:pt x="616" y="816"/>
                  </a:cubicBezTo>
                  <a:cubicBezTo>
                    <a:pt x="621" y="816"/>
                    <a:pt x="628" y="804"/>
                    <a:pt x="628" y="804"/>
                  </a:cubicBezTo>
                  <a:cubicBezTo>
                    <a:pt x="628" y="792"/>
                    <a:pt x="628" y="792"/>
                    <a:pt x="628" y="792"/>
                  </a:cubicBezTo>
                  <a:cubicBezTo>
                    <a:pt x="628" y="792"/>
                    <a:pt x="643" y="768"/>
                    <a:pt x="653" y="755"/>
                  </a:cubicBezTo>
                  <a:cubicBezTo>
                    <a:pt x="663" y="742"/>
                    <a:pt x="705" y="723"/>
                    <a:pt x="717" y="723"/>
                  </a:cubicBezTo>
                  <a:cubicBezTo>
                    <a:pt x="729" y="723"/>
                    <a:pt x="839" y="710"/>
                    <a:pt x="839" y="710"/>
                  </a:cubicBezTo>
                  <a:cubicBezTo>
                    <a:pt x="972" y="661"/>
                    <a:pt x="972" y="661"/>
                    <a:pt x="972" y="661"/>
                  </a:cubicBezTo>
                  <a:cubicBezTo>
                    <a:pt x="998" y="546"/>
                    <a:pt x="998" y="546"/>
                    <a:pt x="998" y="546"/>
                  </a:cubicBezTo>
                  <a:cubicBezTo>
                    <a:pt x="998" y="546"/>
                    <a:pt x="980" y="531"/>
                    <a:pt x="980" y="527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 239">
              <a:extLst>
                <a:ext uri="{FF2B5EF4-FFF2-40B4-BE49-F238E27FC236}">
                  <a16:creationId xmlns:a16="http://schemas.microsoft.com/office/drawing/2014/main" id="{DD58BF78-38A8-934B-A201-8F2A9C118671}"/>
                </a:ext>
              </a:extLst>
            </p:cNvPr>
            <p:cNvSpPr>
              <a:spLocks/>
            </p:cNvSpPr>
            <p:nvPr/>
          </p:nvSpPr>
          <p:spPr bwMode="gray">
            <a:xfrm>
              <a:off x="-2693" y="-14383"/>
              <a:ext cx="179" cy="248"/>
            </a:xfrm>
            <a:custGeom>
              <a:avLst/>
              <a:gdLst>
                <a:gd name="T0" fmla="*/ 46 w 76"/>
                <a:gd name="T1" fmla="*/ 66 h 105"/>
                <a:gd name="T2" fmla="*/ 50 w 76"/>
                <a:gd name="T3" fmla="*/ 46 h 105"/>
                <a:gd name="T4" fmla="*/ 71 w 76"/>
                <a:gd name="T5" fmla="*/ 34 h 105"/>
                <a:gd name="T6" fmla="*/ 64 w 76"/>
                <a:gd name="T7" fmla="*/ 10 h 105"/>
                <a:gd name="T8" fmla="*/ 65 w 76"/>
                <a:gd name="T9" fmla="*/ 0 h 105"/>
                <a:gd name="T10" fmla="*/ 40 w 76"/>
                <a:gd name="T11" fmla="*/ 0 h 105"/>
                <a:gd name="T12" fmla="*/ 37 w 76"/>
                <a:gd name="T13" fmla="*/ 0 h 105"/>
                <a:gd name="T14" fmla="*/ 36 w 76"/>
                <a:gd name="T15" fmla="*/ 5 h 105"/>
                <a:gd name="T16" fmla="*/ 20 w 76"/>
                <a:gd name="T17" fmla="*/ 21 h 105"/>
                <a:gd name="T18" fmla="*/ 11 w 76"/>
                <a:gd name="T19" fmla="*/ 45 h 105"/>
                <a:gd name="T20" fmla="*/ 0 w 76"/>
                <a:gd name="T21" fmla="*/ 89 h 105"/>
                <a:gd name="T22" fmla="*/ 1 w 76"/>
                <a:gd name="T23" fmla="*/ 105 h 105"/>
                <a:gd name="T24" fmla="*/ 6 w 76"/>
                <a:gd name="T25" fmla="*/ 100 h 105"/>
                <a:gd name="T26" fmla="*/ 13 w 76"/>
                <a:gd name="T27" fmla="*/ 87 h 105"/>
                <a:gd name="T28" fmla="*/ 27 w 76"/>
                <a:gd name="T29" fmla="*/ 86 h 105"/>
                <a:gd name="T30" fmla="*/ 31 w 76"/>
                <a:gd name="T31" fmla="*/ 69 h 105"/>
                <a:gd name="T32" fmla="*/ 46 w 76"/>
                <a:gd name="T33" fmla="*/ 6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6" h="105">
                  <a:moveTo>
                    <a:pt x="46" y="66"/>
                  </a:moveTo>
                  <a:cubicBezTo>
                    <a:pt x="46" y="66"/>
                    <a:pt x="41" y="49"/>
                    <a:pt x="50" y="46"/>
                  </a:cubicBezTo>
                  <a:cubicBezTo>
                    <a:pt x="59" y="43"/>
                    <a:pt x="66" y="46"/>
                    <a:pt x="71" y="34"/>
                  </a:cubicBezTo>
                  <a:cubicBezTo>
                    <a:pt x="76" y="22"/>
                    <a:pt x="64" y="10"/>
                    <a:pt x="64" y="1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"/>
                    <a:pt x="37" y="4"/>
                    <a:pt x="36" y="5"/>
                  </a:cubicBezTo>
                  <a:cubicBezTo>
                    <a:pt x="29" y="15"/>
                    <a:pt x="20" y="21"/>
                    <a:pt x="20" y="21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1" y="45"/>
                    <a:pt x="1" y="69"/>
                    <a:pt x="0" y="89"/>
                  </a:cubicBezTo>
                  <a:cubicBezTo>
                    <a:pt x="0" y="94"/>
                    <a:pt x="0" y="100"/>
                    <a:pt x="1" y="105"/>
                  </a:cubicBezTo>
                  <a:cubicBezTo>
                    <a:pt x="6" y="100"/>
                    <a:pt x="6" y="100"/>
                    <a:pt x="6" y="100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7"/>
                    <a:pt x="22" y="93"/>
                    <a:pt x="27" y="86"/>
                  </a:cubicBezTo>
                  <a:cubicBezTo>
                    <a:pt x="32" y="79"/>
                    <a:pt x="31" y="69"/>
                    <a:pt x="31" y="69"/>
                  </a:cubicBezTo>
                  <a:cubicBezTo>
                    <a:pt x="46" y="66"/>
                    <a:pt x="46" y="66"/>
                    <a:pt x="46" y="66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240">
              <a:extLst>
                <a:ext uri="{FF2B5EF4-FFF2-40B4-BE49-F238E27FC236}">
                  <a16:creationId xmlns:a16="http://schemas.microsoft.com/office/drawing/2014/main" id="{3461230D-EF0C-EB1C-7BFE-028B29E0DBE1}"/>
                </a:ext>
              </a:extLst>
            </p:cNvPr>
            <p:cNvSpPr>
              <a:spLocks/>
            </p:cNvSpPr>
            <p:nvPr/>
          </p:nvSpPr>
          <p:spPr bwMode="gray">
            <a:xfrm>
              <a:off x="-2646" y="-14730"/>
              <a:ext cx="701" cy="649"/>
            </a:xfrm>
            <a:custGeom>
              <a:avLst/>
              <a:gdLst>
                <a:gd name="T0" fmla="*/ 281 w 297"/>
                <a:gd name="T1" fmla="*/ 39 h 275"/>
                <a:gd name="T2" fmla="*/ 297 w 297"/>
                <a:gd name="T3" fmla="*/ 19 h 275"/>
                <a:gd name="T4" fmla="*/ 290 w 297"/>
                <a:gd name="T5" fmla="*/ 2 h 275"/>
                <a:gd name="T6" fmla="*/ 277 w 297"/>
                <a:gd name="T7" fmla="*/ 12 h 275"/>
                <a:gd name="T8" fmla="*/ 264 w 297"/>
                <a:gd name="T9" fmla="*/ 15 h 275"/>
                <a:gd name="T10" fmla="*/ 250 w 297"/>
                <a:gd name="T11" fmla="*/ 22 h 275"/>
                <a:gd name="T12" fmla="*/ 241 w 297"/>
                <a:gd name="T13" fmla="*/ 16 h 275"/>
                <a:gd name="T14" fmla="*/ 217 w 297"/>
                <a:gd name="T15" fmla="*/ 16 h 275"/>
                <a:gd name="T16" fmla="*/ 188 w 297"/>
                <a:gd name="T17" fmla="*/ 32 h 275"/>
                <a:gd name="T18" fmla="*/ 163 w 297"/>
                <a:gd name="T19" fmla="*/ 39 h 275"/>
                <a:gd name="T20" fmla="*/ 140 w 297"/>
                <a:gd name="T21" fmla="*/ 35 h 275"/>
                <a:gd name="T22" fmla="*/ 114 w 297"/>
                <a:gd name="T23" fmla="*/ 22 h 275"/>
                <a:gd name="T24" fmla="*/ 100 w 297"/>
                <a:gd name="T25" fmla="*/ 33 h 275"/>
                <a:gd name="T26" fmla="*/ 64 w 297"/>
                <a:gd name="T27" fmla="*/ 41 h 275"/>
                <a:gd name="T28" fmla="*/ 58 w 297"/>
                <a:gd name="T29" fmla="*/ 31 h 275"/>
                <a:gd name="T30" fmla="*/ 42 w 297"/>
                <a:gd name="T31" fmla="*/ 32 h 275"/>
                <a:gd name="T32" fmla="*/ 43 w 297"/>
                <a:gd name="T33" fmla="*/ 53 h 275"/>
                <a:gd name="T34" fmla="*/ 48 w 297"/>
                <a:gd name="T35" fmla="*/ 64 h 275"/>
                <a:gd name="T36" fmla="*/ 33 w 297"/>
                <a:gd name="T37" fmla="*/ 66 h 275"/>
                <a:gd name="T38" fmla="*/ 33 w 297"/>
                <a:gd name="T39" fmla="*/ 75 h 275"/>
                <a:gd name="T40" fmla="*/ 27 w 297"/>
                <a:gd name="T41" fmla="*/ 84 h 275"/>
                <a:gd name="T42" fmla="*/ 14 w 297"/>
                <a:gd name="T43" fmla="*/ 78 h 275"/>
                <a:gd name="T44" fmla="*/ 5 w 297"/>
                <a:gd name="T45" fmla="*/ 98 h 275"/>
                <a:gd name="T46" fmla="*/ 1 w 297"/>
                <a:gd name="T47" fmla="*/ 99 h 275"/>
                <a:gd name="T48" fmla="*/ 0 w 297"/>
                <a:gd name="T49" fmla="*/ 131 h 275"/>
                <a:gd name="T50" fmla="*/ 17 w 297"/>
                <a:gd name="T51" fmla="*/ 147 h 275"/>
                <a:gd name="T52" fmla="*/ 20 w 297"/>
                <a:gd name="T53" fmla="*/ 147 h 275"/>
                <a:gd name="T54" fmla="*/ 45 w 297"/>
                <a:gd name="T55" fmla="*/ 147 h 275"/>
                <a:gd name="T56" fmla="*/ 44 w 297"/>
                <a:gd name="T57" fmla="*/ 157 h 275"/>
                <a:gd name="T58" fmla="*/ 51 w 297"/>
                <a:gd name="T59" fmla="*/ 181 h 275"/>
                <a:gd name="T60" fmla="*/ 30 w 297"/>
                <a:gd name="T61" fmla="*/ 193 h 275"/>
                <a:gd name="T62" fmla="*/ 26 w 297"/>
                <a:gd name="T63" fmla="*/ 213 h 275"/>
                <a:gd name="T64" fmla="*/ 16 w 297"/>
                <a:gd name="T65" fmla="*/ 224 h 275"/>
                <a:gd name="T66" fmla="*/ 19 w 297"/>
                <a:gd name="T67" fmla="*/ 254 h 275"/>
                <a:gd name="T68" fmla="*/ 23 w 297"/>
                <a:gd name="T69" fmla="*/ 251 h 275"/>
                <a:gd name="T70" fmla="*/ 45 w 297"/>
                <a:gd name="T71" fmla="*/ 263 h 275"/>
                <a:gd name="T72" fmla="*/ 73 w 297"/>
                <a:gd name="T73" fmla="*/ 275 h 275"/>
                <a:gd name="T74" fmla="*/ 157 w 297"/>
                <a:gd name="T75" fmla="*/ 218 h 275"/>
                <a:gd name="T76" fmla="*/ 200 w 297"/>
                <a:gd name="T77" fmla="*/ 183 h 275"/>
                <a:gd name="T78" fmla="*/ 261 w 297"/>
                <a:gd name="T79" fmla="*/ 156 h 275"/>
                <a:gd name="T80" fmla="*/ 255 w 297"/>
                <a:gd name="T81" fmla="*/ 131 h 275"/>
                <a:gd name="T82" fmla="*/ 264 w 297"/>
                <a:gd name="T83" fmla="*/ 112 h 275"/>
                <a:gd name="T84" fmla="*/ 260 w 297"/>
                <a:gd name="T85" fmla="*/ 77 h 275"/>
                <a:gd name="T86" fmla="*/ 249 w 297"/>
                <a:gd name="T87" fmla="*/ 55 h 275"/>
                <a:gd name="T88" fmla="*/ 281 w 297"/>
                <a:gd name="T89" fmla="*/ 3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7" h="275">
                  <a:moveTo>
                    <a:pt x="281" y="39"/>
                  </a:moveTo>
                  <a:cubicBezTo>
                    <a:pt x="290" y="35"/>
                    <a:pt x="295" y="26"/>
                    <a:pt x="297" y="19"/>
                  </a:cubicBezTo>
                  <a:cubicBezTo>
                    <a:pt x="288" y="20"/>
                    <a:pt x="293" y="4"/>
                    <a:pt x="290" y="2"/>
                  </a:cubicBezTo>
                  <a:cubicBezTo>
                    <a:pt x="287" y="0"/>
                    <a:pt x="285" y="11"/>
                    <a:pt x="277" y="12"/>
                  </a:cubicBezTo>
                  <a:cubicBezTo>
                    <a:pt x="269" y="13"/>
                    <a:pt x="264" y="15"/>
                    <a:pt x="264" y="15"/>
                  </a:cubicBezTo>
                  <a:cubicBezTo>
                    <a:pt x="264" y="15"/>
                    <a:pt x="259" y="21"/>
                    <a:pt x="250" y="22"/>
                  </a:cubicBezTo>
                  <a:cubicBezTo>
                    <a:pt x="241" y="23"/>
                    <a:pt x="246" y="18"/>
                    <a:pt x="241" y="16"/>
                  </a:cubicBezTo>
                  <a:cubicBezTo>
                    <a:pt x="236" y="14"/>
                    <a:pt x="230" y="15"/>
                    <a:pt x="217" y="16"/>
                  </a:cubicBezTo>
                  <a:cubicBezTo>
                    <a:pt x="204" y="17"/>
                    <a:pt x="197" y="29"/>
                    <a:pt x="188" y="32"/>
                  </a:cubicBezTo>
                  <a:cubicBezTo>
                    <a:pt x="179" y="35"/>
                    <a:pt x="174" y="38"/>
                    <a:pt x="163" y="39"/>
                  </a:cubicBezTo>
                  <a:cubicBezTo>
                    <a:pt x="152" y="40"/>
                    <a:pt x="140" y="35"/>
                    <a:pt x="140" y="35"/>
                  </a:cubicBezTo>
                  <a:cubicBezTo>
                    <a:pt x="140" y="35"/>
                    <a:pt x="117" y="23"/>
                    <a:pt x="114" y="22"/>
                  </a:cubicBezTo>
                  <a:cubicBezTo>
                    <a:pt x="111" y="21"/>
                    <a:pt x="100" y="33"/>
                    <a:pt x="100" y="33"/>
                  </a:cubicBezTo>
                  <a:cubicBezTo>
                    <a:pt x="100" y="33"/>
                    <a:pt x="85" y="41"/>
                    <a:pt x="64" y="41"/>
                  </a:cubicBezTo>
                  <a:cubicBezTo>
                    <a:pt x="43" y="41"/>
                    <a:pt x="60" y="35"/>
                    <a:pt x="58" y="31"/>
                  </a:cubicBezTo>
                  <a:cubicBezTo>
                    <a:pt x="56" y="27"/>
                    <a:pt x="42" y="32"/>
                    <a:pt x="42" y="32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3" y="53"/>
                    <a:pt x="50" y="51"/>
                    <a:pt x="48" y="64"/>
                  </a:cubicBezTo>
                  <a:cubicBezTo>
                    <a:pt x="47" y="72"/>
                    <a:pt x="33" y="66"/>
                    <a:pt x="33" y="66"/>
                  </a:cubicBezTo>
                  <a:cubicBezTo>
                    <a:pt x="33" y="75"/>
                    <a:pt x="33" y="75"/>
                    <a:pt x="33" y="75"/>
                  </a:cubicBezTo>
                  <a:cubicBezTo>
                    <a:pt x="33" y="75"/>
                    <a:pt x="31" y="83"/>
                    <a:pt x="27" y="84"/>
                  </a:cubicBezTo>
                  <a:cubicBezTo>
                    <a:pt x="24" y="85"/>
                    <a:pt x="17" y="80"/>
                    <a:pt x="14" y="78"/>
                  </a:cubicBezTo>
                  <a:cubicBezTo>
                    <a:pt x="12" y="83"/>
                    <a:pt x="2" y="91"/>
                    <a:pt x="5" y="98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31"/>
                    <a:pt x="14" y="139"/>
                    <a:pt x="17" y="147"/>
                  </a:cubicBezTo>
                  <a:cubicBezTo>
                    <a:pt x="20" y="147"/>
                    <a:pt x="20" y="147"/>
                    <a:pt x="20" y="147"/>
                  </a:cubicBezTo>
                  <a:cubicBezTo>
                    <a:pt x="45" y="147"/>
                    <a:pt x="45" y="147"/>
                    <a:pt x="45" y="147"/>
                  </a:cubicBezTo>
                  <a:cubicBezTo>
                    <a:pt x="44" y="157"/>
                    <a:pt x="44" y="157"/>
                    <a:pt x="44" y="157"/>
                  </a:cubicBezTo>
                  <a:cubicBezTo>
                    <a:pt x="44" y="157"/>
                    <a:pt x="56" y="169"/>
                    <a:pt x="51" y="181"/>
                  </a:cubicBezTo>
                  <a:cubicBezTo>
                    <a:pt x="46" y="193"/>
                    <a:pt x="39" y="190"/>
                    <a:pt x="30" y="193"/>
                  </a:cubicBezTo>
                  <a:cubicBezTo>
                    <a:pt x="21" y="196"/>
                    <a:pt x="26" y="213"/>
                    <a:pt x="26" y="213"/>
                  </a:cubicBezTo>
                  <a:cubicBezTo>
                    <a:pt x="16" y="224"/>
                    <a:pt x="16" y="224"/>
                    <a:pt x="16" y="224"/>
                  </a:cubicBezTo>
                  <a:cubicBezTo>
                    <a:pt x="19" y="254"/>
                    <a:pt x="19" y="254"/>
                    <a:pt x="19" y="254"/>
                  </a:cubicBezTo>
                  <a:cubicBezTo>
                    <a:pt x="23" y="251"/>
                    <a:pt x="23" y="251"/>
                    <a:pt x="23" y="251"/>
                  </a:cubicBezTo>
                  <a:cubicBezTo>
                    <a:pt x="45" y="263"/>
                    <a:pt x="45" y="263"/>
                    <a:pt x="45" y="263"/>
                  </a:cubicBezTo>
                  <a:cubicBezTo>
                    <a:pt x="45" y="263"/>
                    <a:pt x="52" y="275"/>
                    <a:pt x="73" y="275"/>
                  </a:cubicBezTo>
                  <a:cubicBezTo>
                    <a:pt x="94" y="275"/>
                    <a:pt x="157" y="218"/>
                    <a:pt x="157" y="218"/>
                  </a:cubicBezTo>
                  <a:cubicBezTo>
                    <a:pt x="200" y="183"/>
                    <a:pt x="200" y="183"/>
                    <a:pt x="200" y="183"/>
                  </a:cubicBezTo>
                  <a:cubicBezTo>
                    <a:pt x="200" y="183"/>
                    <a:pt x="249" y="165"/>
                    <a:pt x="261" y="156"/>
                  </a:cubicBezTo>
                  <a:cubicBezTo>
                    <a:pt x="273" y="147"/>
                    <a:pt x="256" y="138"/>
                    <a:pt x="255" y="131"/>
                  </a:cubicBezTo>
                  <a:cubicBezTo>
                    <a:pt x="254" y="124"/>
                    <a:pt x="260" y="117"/>
                    <a:pt x="264" y="112"/>
                  </a:cubicBezTo>
                  <a:cubicBezTo>
                    <a:pt x="268" y="107"/>
                    <a:pt x="260" y="77"/>
                    <a:pt x="260" y="77"/>
                  </a:cubicBezTo>
                  <a:cubicBezTo>
                    <a:pt x="260" y="77"/>
                    <a:pt x="245" y="69"/>
                    <a:pt x="249" y="55"/>
                  </a:cubicBezTo>
                  <a:cubicBezTo>
                    <a:pt x="253" y="41"/>
                    <a:pt x="265" y="46"/>
                    <a:pt x="281" y="39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eform 241">
              <a:extLst>
                <a:ext uri="{FF2B5EF4-FFF2-40B4-BE49-F238E27FC236}">
                  <a16:creationId xmlns:a16="http://schemas.microsoft.com/office/drawing/2014/main" id="{AB963EDE-F222-AE66-1B8C-592F0D118A04}"/>
                </a:ext>
              </a:extLst>
            </p:cNvPr>
            <p:cNvSpPr>
              <a:spLocks/>
            </p:cNvSpPr>
            <p:nvPr/>
          </p:nvSpPr>
          <p:spPr bwMode="gray">
            <a:xfrm>
              <a:off x="-1904" y="-15229"/>
              <a:ext cx="359" cy="331"/>
            </a:xfrm>
            <a:custGeom>
              <a:avLst/>
              <a:gdLst>
                <a:gd name="T0" fmla="*/ 147 w 152"/>
                <a:gd name="T1" fmla="*/ 111 h 140"/>
                <a:gd name="T2" fmla="*/ 143 w 152"/>
                <a:gd name="T3" fmla="*/ 104 h 140"/>
                <a:gd name="T4" fmla="*/ 145 w 152"/>
                <a:gd name="T5" fmla="*/ 94 h 140"/>
                <a:gd name="T6" fmla="*/ 125 w 152"/>
                <a:gd name="T7" fmla="*/ 92 h 140"/>
                <a:gd name="T8" fmla="*/ 115 w 152"/>
                <a:gd name="T9" fmla="*/ 78 h 140"/>
                <a:gd name="T10" fmla="*/ 97 w 152"/>
                <a:gd name="T11" fmla="*/ 70 h 140"/>
                <a:gd name="T12" fmla="*/ 118 w 152"/>
                <a:gd name="T13" fmla="*/ 61 h 140"/>
                <a:gd name="T14" fmla="*/ 88 w 152"/>
                <a:gd name="T15" fmla="*/ 39 h 140"/>
                <a:gd name="T16" fmla="*/ 94 w 152"/>
                <a:gd name="T17" fmla="*/ 24 h 140"/>
                <a:gd name="T18" fmla="*/ 75 w 152"/>
                <a:gd name="T19" fmla="*/ 16 h 140"/>
                <a:gd name="T20" fmla="*/ 76 w 152"/>
                <a:gd name="T21" fmla="*/ 7 h 140"/>
                <a:gd name="T22" fmla="*/ 61 w 152"/>
                <a:gd name="T23" fmla="*/ 0 h 140"/>
                <a:gd name="T24" fmla="*/ 55 w 152"/>
                <a:gd name="T25" fmla="*/ 10 h 140"/>
                <a:gd name="T26" fmla="*/ 22 w 152"/>
                <a:gd name="T27" fmla="*/ 6 h 140"/>
                <a:gd name="T28" fmla="*/ 17 w 152"/>
                <a:gd name="T29" fmla="*/ 13 h 140"/>
                <a:gd name="T30" fmla="*/ 0 w 152"/>
                <a:gd name="T31" fmla="*/ 14 h 140"/>
                <a:gd name="T32" fmla="*/ 6 w 152"/>
                <a:gd name="T33" fmla="*/ 29 h 140"/>
                <a:gd name="T34" fmla="*/ 18 w 152"/>
                <a:gd name="T35" fmla="*/ 69 h 140"/>
                <a:gd name="T36" fmla="*/ 47 w 152"/>
                <a:gd name="T37" fmla="*/ 72 h 140"/>
                <a:gd name="T38" fmla="*/ 57 w 152"/>
                <a:gd name="T39" fmla="*/ 93 h 140"/>
                <a:gd name="T40" fmla="*/ 55 w 152"/>
                <a:gd name="T41" fmla="*/ 98 h 140"/>
                <a:gd name="T42" fmla="*/ 62 w 152"/>
                <a:gd name="T43" fmla="*/ 103 h 140"/>
                <a:gd name="T44" fmla="*/ 72 w 152"/>
                <a:gd name="T45" fmla="*/ 89 h 140"/>
                <a:gd name="T46" fmla="*/ 83 w 152"/>
                <a:gd name="T47" fmla="*/ 86 h 140"/>
                <a:gd name="T48" fmla="*/ 100 w 152"/>
                <a:gd name="T49" fmla="*/ 97 h 140"/>
                <a:gd name="T50" fmla="*/ 111 w 152"/>
                <a:gd name="T51" fmla="*/ 95 h 140"/>
                <a:gd name="T52" fmla="*/ 119 w 152"/>
                <a:gd name="T53" fmla="*/ 111 h 140"/>
                <a:gd name="T54" fmla="*/ 130 w 152"/>
                <a:gd name="T55" fmla="*/ 138 h 140"/>
                <a:gd name="T56" fmla="*/ 148 w 152"/>
                <a:gd name="T57" fmla="*/ 140 h 140"/>
                <a:gd name="T58" fmla="*/ 147 w 152"/>
                <a:gd name="T59" fmla="*/ 11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2" h="140">
                  <a:moveTo>
                    <a:pt x="147" y="111"/>
                  </a:moveTo>
                  <a:cubicBezTo>
                    <a:pt x="143" y="104"/>
                    <a:pt x="143" y="104"/>
                    <a:pt x="143" y="104"/>
                  </a:cubicBezTo>
                  <a:cubicBezTo>
                    <a:pt x="145" y="94"/>
                    <a:pt x="145" y="94"/>
                    <a:pt x="145" y="94"/>
                  </a:cubicBezTo>
                  <a:cubicBezTo>
                    <a:pt x="125" y="92"/>
                    <a:pt x="125" y="92"/>
                    <a:pt x="125" y="92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117" y="70"/>
                    <a:pt x="118" y="61"/>
                  </a:cubicBezTo>
                  <a:cubicBezTo>
                    <a:pt x="119" y="52"/>
                    <a:pt x="88" y="39"/>
                    <a:pt x="88" y="39"/>
                  </a:cubicBezTo>
                  <a:cubicBezTo>
                    <a:pt x="88" y="39"/>
                    <a:pt x="94" y="31"/>
                    <a:pt x="94" y="24"/>
                  </a:cubicBezTo>
                  <a:cubicBezTo>
                    <a:pt x="94" y="17"/>
                    <a:pt x="75" y="16"/>
                    <a:pt x="75" y="16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6" y="7"/>
                    <a:pt x="64" y="0"/>
                    <a:pt x="61" y="0"/>
                  </a:cubicBezTo>
                  <a:cubicBezTo>
                    <a:pt x="58" y="0"/>
                    <a:pt x="55" y="10"/>
                    <a:pt x="55" y="10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2" y="17"/>
                    <a:pt x="3" y="22"/>
                    <a:pt x="6" y="29"/>
                  </a:cubicBezTo>
                  <a:cubicBezTo>
                    <a:pt x="12" y="44"/>
                    <a:pt x="10" y="58"/>
                    <a:pt x="18" y="69"/>
                  </a:cubicBezTo>
                  <a:cubicBezTo>
                    <a:pt x="26" y="80"/>
                    <a:pt x="42" y="71"/>
                    <a:pt x="47" y="72"/>
                  </a:cubicBezTo>
                  <a:cubicBezTo>
                    <a:pt x="50" y="72"/>
                    <a:pt x="54" y="83"/>
                    <a:pt x="57" y="93"/>
                  </a:cubicBezTo>
                  <a:cubicBezTo>
                    <a:pt x="56" y="95"/>
                    <a:pt x="56" y="96"/>
                    <a:pt x="55" y="98"/>
                  </a:cubicBezTo>
                  <a:cubicBezTo>
                    <a:pt x="62" y="103"/>
                    <a:pt x="62" y="103"/>
                    <a:pt x="62" y="103"/>
                  </a:cubicBezTo>
                  <a:cubicBezTo>
                    <a:pt x="72" y="89"/>
                    <a:pt x="72" y="89"/>
                    <a:pt x="72" y="89"/>
                  </a:cubicBezTo>
                  <a:cubicBezTo>
                    <a:pt x="72" y="89"/>
                    <a:pt x="82" y="86"/>
                    <a:pt x="83" y="86"/>
                  </a:cubicBezTo>
                  <a:cubicBezTo>
                    <a:pt x="90" y="96"/>
                    <a:pt x="100" y="97"/>
                    <a:pt x="100" y="97"/>
                  </a:cubicBezTo>
                  <a:cubicBezTo>
                    <a:pt x="100" y="97"/>
                    <a:pt x="102" y="94"/>
                    <a:pt x="111" y="95"/>
                  </a:cubicBezTo>
                  <a:cubicBezTo>
                    <a:pt x="120" y="96"/>
                    <a:pt x="116" y="107"/>
                    <a:pt x="119" y="111"/>
                  </a:cubicBezTo>
                  <a:cubicBezTo>
                    <a:pt x="122" y="115"/>
                    <a:pt x="130" y="138"/>
                    <a:pt x="130" y="138"/>
                  </a:cubicBezTo>
                  <a:cubicBezTo>
                    <a:pt x="130" y="138"/>
                    <a:pt x="144" y="140"/>
                    <a:pt x="148" y="140"/>
                  </a:cubicBezTo>
                  <a:cubicBezTo>
                    <a:pt x="152" y="140"/>
                    <a:pt x="147" y="111"/>
                    <a:pt x="147" y="111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Freeform 242">
              <a:extLst>
                <a:ext uri="{FF2B5EF4-FFF2-40B4-BE49-F238E27FC236}">
                  <a16:creationId xmlns:a16="http://schemas.microsoft.com/office/drawing/2014/main" id="{0124728D-BC2C-4427-3AE8-8C00D4E8B1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3785" y="-15333"/>
              <a:ext cx="2098" cy="804"/>
            </a:xfrm>
            <a:custGeom>
              <a:avLst/>
              <a:gdLst>
                <a:gd name="T0" fmla="*/ 20 w 888"/>
                <a:gd name="T1" fmla="*/ 116 h 340"/>
                <a:gd name="T2" fmla="*/ 27 w 888"/>
                <a:gd name="T3" fmla="*/ 107 h 340"/>
                <a:gd name="T4" fmla="*/ 63 w 888"/>
                <a:gd name="T5" fmla="*/ 93 h 340"/>
                <a:gd name="T6" fmla="*/ 52 w 888"/>
                <a:gd name="T7" fmla="*/ 101 h 340"/>
                <a:gd name="T8" fmla="*/ 887 w 888"/>
                <a:gd name="T9" fmla="*/ 259 h 340"/>
                <a:gd name="T10" fmla="*/ 850 w 888"/>
                <a:gd name="T11" fmla="*/ 224 h 340"/>
                <a:gd name="T12" fmla="*/ 845 w 888"/>
                <a:gd name="T13" fmla="*/ 165 h 340"/>
                <a:gd name="T14" fmla="*/ 853 w 888"/>
                <a:gd name="T15" fmla="*/ 137 h 340"/>
                <a:gd name="T16" fmla="*/ 802 w 888"/>
                <a:gd name="T17" fmla="*/ 73 h 340"/>
                <a:gd name="T18" fmla="*/ 761 w 888"/>
                <a:gd name="T19" fmla="*/ 32 h 340"/>
                <a:gd name="T20" fmla="*/ 678 w 888"/>
                <a:gd name="T21" fmla="*/ 63 h 340"/>
                <a:gd name="T22" fmla="*/ 542 w 888"/>
                <a:gd name="T23" fmla="*/ 57 h 340"/>
                <a:gd name="T24" fmla="*/ 491 w 888"/>
                <a:gd name="T25" fmla="*/ 51 h 340"/>
                <a:gd name="T26" fmla="*/ 442 w 888"/>
                <a:gd name="T27" fmla="*/ 30 h 340"/>
                <a:gd name="T28" fmla="*/ 385 w 888"/>
                <a:gd name="T29" fmla="*/ 16 h 340"/>
                <a:gd name="T30" fmla="*/ 272 w 888"/>
                <a:gd name="T31" fmla="*/ 42 h 340"/>
                <a:gd name="T32" fmla="*/ 203 w 888"/>
                <a:gd name="T33" fmla="*/ 53 h 340"/>
                <a:gd name="T34" fmla="*/ 120 w 888"/>
                <a:gd name="T35" fmla="*/ 14 h 340"/>
                <a:gd name="T36" fmla="*/ 79 w 888"/>
                <a:gd name="T37" fmla="*/ 10 h 340"/>
                <a:gd name="T38" fmla="*/ 52 w 888"/>
                <a:gd name="T39" fmla="*/ 28 h 340"/>
                <a:gd name="T40" fmla="*/ 50 w 888"/>
                <a:gd name="T41" fmla="*/ 47 h 340"/>
                <a:gd name="T42" fmla="*/ 50 w 888"/>
                <a:gd name="T43" fmla="*/ 86 h 340"/>
                <a:gd name="T44" fmla="*/ 107 w 888"/>
                <a:gd name="T45" fmla="*/ 65 h 340"/>
                <a:gd name="T46" fmla="*/ 165 w 888"/>
                <a:gd name="T47" fmla="*/ 81 h 340"/>
                <a:gd name="T48" fmla="*/ 92 w 888"/>
                <a:gd name="T49" fmla="*/ 91 h 340"/>
                <a:gd name="T50" fmla="*/ 76 w 888"/>
                <a:gd name="T51" fmla="*/ 142 h 340"/>
                <a:gd name="T52" fmla="*/ 83 w 888"/>
                <a:gd name="T53" fmla="*/ 186 h 340"/>
                <a:gd name="T54" fmla="*/ 108 w 888"/>
                <a:gd name="T55" fmla="*/ 234 h 340"/>
                <a:gd name="T56" fmla="*/ 146 w 888"/>
                <a:gd name="T57" fmla="*/ 297 h 340"/>
                <a:gd name="T58" fmla="*/ 250 w 888"/>
                <a:gd name="T59" fmla="*/ 310 h 340"/>
                <a:gd name="T60" fmla="*/ 359 w 888"/>
                <a:gd name="T61" fmla="*/ 325 h 340"/>
                <a:gd name="T62" fmla="*/ 477 w 888"/>
                <a:gd name="T63" fmla="*/ 298 h 340"/>
                <a:gd name="T64" fmla="*/ 495 w 888"/>
                <a:gd name="T65" fmla="*/ 329 h 340"/>
                <a:gd name="T66" fmla="*/ 515 w 888"/>
                <a:gd name="T67" fmla="*/ 330 h 340"/>
                <a:gd name="T68" fmla="*/ 525 w 888"/>
                <a:gd name="T69" fmla="*/ 308 h 340"/>
                <a:gd name="T70" fmla="*/ 546 w 888"/>
                <a:gd name="T71" fmla="*/ 296 h 340"/>
                <a:gd name="T72" fmla="*/ 622 w 888"/>
                <a:gd name="T73" fmla="*/ 290 h 340"/>
                <a:gd name="T74" fmla="*/ 699 w 888"/>
                <a:gd name="T75" fmla="*/ 271 h 340"/>
                <a:gd name="T76" fmla="*/ 746 w 888"/>
                <a:gd name="T77" fmla="*/ 270 h 340"/>
                <a:gd name="T78" fmla="*/ 781 w 888"/>
                <a:gd name="T79" fmla="*/ 274 h 340"/>
                <a:gd name="T80" fmla="*/ 835 w 888"/>
                <a:gd name="T81" fmla="*/ 267 h 340"/>
                <a:gd name="T82" fmla="*/ 888 w 888"/>
                <a:gd name="T83" fmla="*/ 265 h 340"/>
                <a:gd name="T84" fmla="*/ 81 w 888"/>
                <a:gd name="T85" fmla="*/ 204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88" h="340">
                  <a:moveTo>
                    <a:pt x="3" y="126"/>
                  </a:moveTo>
                  <a:cubicBezTo>
                    <a:pt x="17" y="125"/>
                    <a:pt x="17" y="125"/>
                    <a:pt x="17" y="125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0" y="116"/>
                    <a:pt x="0" y="116"/>
                    <a:pt x="0" y="116"/>
                  </a:cubicBezTo>
                  <a:lnTo>
                    <a:pt x="3" y="126"/>
                  </a:lnTo>
                  <a:close/>
                  <a:moveTo>
                    <a:pt x="27" y="107"/>
                  </a:moveTo>
                  <a:cubicBezTo>
                    <a:pt x="30" y="116"/>
                    <a:pt x="40" y="122"/>
                    <a:pt x="39" y="106"/>
                  </a:cubicBezTo>
                  <a:cubicBezTo>
                    <a:pt x="38" y="90"/>
                    <a:pt x="27" y="107"/>
                    <a:pt x="27" y="107"/>
                  </a:cubicBezTo>
                  <a:close/>
                  <a:moveTo>
                    <a:pt x="63" y="93"/>
                  </a:moveTo>
                  <a:cubicBezTo>
                    <a:pt x="45" y="93"/>
                    <a:pt x="45" y="93"/>
                    <a:pt x="45" y="93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52" y="101"/>
                    <a:pt x="52" y="101"/>
                    <a:pt x="52" y="101"/>
                  </a:cubicBezTo>
                  <a:lnTo>
                    <a:pt x="63" y="93"/>
                  </a:lnTo>
                  <a:close/>
                  <a:moveTo>
                    <a:pt x="888" y="265"/>
                  </a:moveTo>
                  <a:cubicBezTo>
                    <a:pt x="887" y="261"/>
                    <a:pt x="887" y="259"/>
                    <a:pt x="887" y="259"/>
                  </a:cubicBezTo>
                  <a:cubicBezTo>
                    <a:pt x="871" y="254"/>
                    <a:pt x="871" y="254"/>
                    <a:pt x="871" y="254"/>
                  </a:cubicBezTo>
                  <a:cubicBezTo>
                    <a:pt x="871" y="236"/>
                    <a:pt x="871" y="236"/>
                    <a:pt x="871" y="236"/>
                  </a:cubicBezTo>
                  <a:cubicBezTo>
                    <a:pt x="850" y="224"/>
                    <a:pt x="850" y="224"/>
                    <a:pt x="850" y="224"/>
                  </a:cubicBezTo>
                  <a:cubicBezTo>
                    <a:pt x="850" y="224"/>
                    <a:pt x="863" y="205"/>
                    <a:pt x="858" y="203"/>
                  </a:cubicBezTo>
                  <a:cubicBezTo>
                    <a:pt x="853" y="201"/>
                    <a:pt x="846" y="180"/>
                    <a:pt x="846" y="180"/>
                  </a:cubicBezTo>
                  <a:cubicBezTo>
                    <a:pt x="845" y="165"/>
                    <a:pt x="845" y="165"/>
                    <a:pt x="845" y="165"/>
                  </a:cubicBezTo>
                  <a:cubicBezTo>
                    <a:pt x="834" y="149"/>
                    <a:pt x="834" y="149"/>
                    <a:pt x="834" y="149"/>
                  </a:cubicBezTo>
                  <a:cubicBezTo>
                    <a:pt x="850" y="147"/>
                    <a:pt x="850" y="147"/>
                    <a:pt x="850" y="147"/>
                  </a:cubicBezTo>
                  <a:cubicBezTo>
                    <a:pt x="850" y="147"/>
                    <a:pt x="851" y="142"/>
                    <a:pt x="853" y="137"/>
                  </a:cubicBezTo>
                  <a:cubicBezTo>
                    <a:pt x="850" y="127"/>
                    <a:pt x="846" y="116"/>
                    <a:pt x="843" y="116"/>
                  </a:cubicBezTo>
                  <a:cubicBezTo>
                    <a:pt x="838" y="115"/>
                    <a:pt x="822" y="124"/>
                    <a:pt x="814" y="113"/>
                  </a:cubicBezTo>
                  <a:cubicBezTo>
                    <a:pt x="806" y="102"/>
                    <a:pt x="808" y="88"/>
                    <a:pt x="802" y="73"/>
                  </a:cubicBezTo>
                  <a:cubicBezTo>
                    <a:pt x="796" y="58"/>
                    <a:pt x="794" y="50"/>
                    <a:pt x="794" y="50"/>
                  </a:cubicBezTo>
                  <a:cubicBezTo>
                    <a:pt x="777" y="50"/>
                    <a:pt x="777" y="50"/>
                    <a:pt x="777" y="50"/>
                  </a:cubicBezTo>
                  <a:cubicBezTo>
                    <a:pt x="777" y="50"/>
                    <a:pt x="775" y="35"/>
                    <a:pt x="761" y="32"/>
                  </a:cubicBezTo>
                  <a:cubicBezTo>
                    <a:pt x="747" y="29"/>
                    <a:pt x="741" y="39"/>
                    <a:pt x="741" y="39"/>
                  </a:cubicBezTo>
                  <a:cubicBezTo>
                    <a:pt x="715" y="34"/>
                    <a:pt x="715" y="34"/>
                    <a:pt x="715" y="34"/>
                  </a:cubicBezTo>
                  <a:cubicBezTo>
                    <a:pt x="706" y="43"/>
                    <a:pt x="688" y="59"/>
                    <a:pt x="678" y="63"/>
                  </a:cubicBezTo>
                  <a:cubicBezTo>
                    <a:pt x="665" y="68"/>
                    <a:pt x="621" y="62"/>
                    <a:pt x="621" y="62"/>
                  </a:cubicBezTo>
                  <a:cubicBezTo>
                    <a:pt x="585" y="72"/>
                    <a:pt x="585" y="72"/>
                    <a:pt x="585" y="72"/>
                  </a:cubicBezTo>
                  <a:cubicBezTo>
                    <a:pt x="542" y="57"/>
                    <a:pt x="542" y="57"/>
                    <a:pt x="542" y="57"/>
                  </a:cubicBezTo>
                  <a:cubicBezTo>
                    <a:pt x="525" y="63"/>
                    <a:pt x="525" y="63"/>
                    <a:pt x="525" y="63"/>
                  </a:cubicBezTo>
                  <a:cubicBezTo>
                    <a:pt x="525" y="63"/>
                    <a:pt x="516" y="40"/>
                    <a:pt x="508" y="42"/>
                  </a:cubicBezTo>
                  <a:cubicBezTo>
                    <a:pt x="500" y="44"/>
                    <a:pt x="491" y="51"/>
                    <a:pt x="491" y="51"/>
                  </a:cubicBezTo>
                  <a:cubicBezTo>
                    <a:pt x="475" y="40"/>
                    <a:pt x="475" y="40"/>
                    <a:pt x="475" y="40"/>
                  </a:cubicBezTo>
                  <a:cubicBezTo>
                    <a:pt x="472" y="25"/>
                    <a:pt x="472" y="25"/>
                    <a:pt x="472" y="25"/>
                  </a:cubicBezTo>
                  <a:cubicBezTo>
                    <a:pt x="442" y="30"/>
                    <a:pt x="442" y="30"/>
                    <a:pt x="442" y="30"/>
                  </a:cubicBezTo>
                  <a:cubicBezTo>
                    <a:pt x="424" y="20"/>
                    <a:pt x="424" y="20"/>
                    <a:pt x="424" y="20"/>
                  </a:cubicBezTo>
                  <a:cubicBezTo>
                    <a:pt x="421" y="6"/>
                    <a:pt x="421" y="6"/>
                    <a:pt x="421" y="6"/>
                  </a:cubicBezTo>
                  <a:cubicBezTo>
                    <a:pt x="421" y="6"/>
                    <a:pt x="398" y="16"/>
                    <a:pt x="385" y="16"/>
                  </a:cubicBezTo>
                  <a:cubicBezTo>
                    <a:pt x="373" y="16"/>
                    <a:pt x="355" y="10"/>
                    <a:pt x="343" y="11"/>
                  </a:cubicBezTo>
                  <a:cubicBezTo>
                    <a:pt x="332" y="12"/>
                    <a:pt x="297" y="26"/>
                    <a:pt x="291" y="32"/>
                  </a:cubicBezTo>
                  <a:cubicBezTo>
                    <a:pt x="286" y="39"/>
                    <a:pt x="272" y="42"/>
                    <a:pt x="272" y="42"/>
                  </a:cubicBezTo>
                  <a:cubicBezTo>
                    <a:pt x="266" y="58"/>
                    <a:pt x="266" y="58"/>
                    <a:pt x="266" y="58"/>
                  </a:cubicBezTo>
                  <a:cubicBezTo>
                    <a:pt x="266" y="58"/>
                    <a:pt x="266" y="62"/>
                    <a:pt x="252" y="59"/>
                  </a:cubicBezTo>
                  <a:cubicBezTo>
                    <a:pt x="239" y="56"/>
                    <a:pt x="216" y="53"/>
                    <a:pt x="203" y="53"/>
                  </a:cubicBezTo>
                  <a:cubicBezTo>
                    <a:pt x="191" y="53"/>
                    <a:pt x="151" y="44"/>
                    <a:pt x="151" y="44"/>
                  </a:cubicBezTo>
                  <a:cubicBezTo>
                    <a:pt x="151" y="44"/>
                    <a:pt x="127" y="47"/>
                    <a:pt x="124" y="33"/>
                  </a:cubicBezTo>
                  <a:cubicBezTo>
                    <a:pt x="122" y="26"/>
                    <a:pt x="121" y="19"/>
                    <a:pt x="120" y="14"/>
                  </a:cubicBezTo>
                  <a:cubicBezTo>
                    <a:pt x="111" y="15"/>
                    <a:pt x="97" y="13"/>
                    <a:pt x="97" y="13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9" y="27"/>
                    <a:pt x="62" y="32"/>
                  </a:cubicBezTo>
                  <a:cubicBezTo>
                    <a:pt x="65" y="37"/>
                    <a:pt x="64" y="45"/>
                    <a:pt x="64" y="45"/>
                  </a:cubicBezTo>
                  <a:cubicBezTo>
                    <a:pt x="64" y="45"/>
                    <a:pt x="51" y="41"/>
                    <a:pt x="50" y="47"/>
                  </a:cubicBezTo>
                  <a:cubicBezTo>
                    <a:pt x="49" y="53"/>
                    <a:pt x="54" y="56"/>
                    <a:pt x="52" y="63"/>
                  </a:cubicBezTo>
                  <a:cubicBezTo>
                    <a:pt x="50" y="70"/>
                    <a:pt x="47" y="75"/>
                    <a:pt x="47" y="75"/>
                  </a:cubicBezTo>
                  <a:cubicBezTo>
                    <a:pt x="47" y="75"/>
                    <a:pt x="35" y="87"/>
                    <a:pt x="50" y="86"/>
                  </a:cubicBezTo>
                  <a:cubicBezTo>
                    <a:pt x="65" y="85"/>
                    <a:pt x="76" y="80"/>
                    <a:pt x="76" y="80"/>
                  </a:cubicBezTo>
                  <a:cubicBezTo>
                    <a:pt x="76" y="80"/>
                    <a:pt x="72" y="90"/>
                    <a:pt x="80" y="87"/>
                  </a:cubicBezTo>
                  <a:cubicBezTo>
                    <a:pt x="88" y="84"/>
                    <a:pt x="107" y="65"/>
                    <a:pt x="107" y="65"/>
                  </a:cubicBezTo>
                  <a:cubicBezTo>
                    <a:pt x="107" y="65"/>
                    <a:pt x="141" y="53"/>
                    <a:pt x="152" y="61"/>
                  </a:cubicBezTo>
                  <a:cubicBezTo>
                    <a:pt x="163" y="69"/>
                    <a:pt x="197" y="74"/>
                    <a:pt x="197" y="74"/>
                  </a:cubicBezTo>
                  <a:cubicBezTo>
                    <a:pt x="197" y="74"/>
                    <a:pt x="166" y="78"/>
                    <a:pt x="165" y="81"/>
                  </a:cubicBezTo>
                  <a:cubicBezTo>
                    <a:pt x="164" y="84"/>
                    <a:pt x="159" y="93"/>
                    <a:pt x="159" y="93"/>
                  </a:cubicBezTo>
                  <a:cubicBezTo>
                    <a:pt x="126" y="94"/>
                    <a:pt x="126" y="94"/>
                    <a:pt x="126" y="94"/>
                  </a:cubicBezTo>
                  <a:cubicBezTo>
                    <a:pt x="92" y="91"/>
                    <a:pt x="92" y="91"/>
                    <a:pt x="92" y="91"/>
                  </a:cubicBezTo>
                  <a:cubicBezTo>
                    <a:pt x="92" y="91"/>
                    <a:pt x="66" y="97"/>
                    <a:pt x="62" y="105"/>
                  </a:cubicBezTo>
                  <a:cubicBezTo>
                    <a:pt x="58" y="113"/>
                    <a:pt x="49" y="143"/>
                    <a:pt x="49" y="143"/>
                  </a:cubicBezTo>
                  <a:cubicBezTo>
                    <a:pt x="76" y="142"/>
                    <a:pt x="76" y="142"/>
                    <a:pt x="76" y="142"/>
                  </a:cubicBezTo>
                  <a:cubicBezTo>
                    <a:pt x="76" y="142"/>
                    <a:pt x="72" y="151"/>
                    <a:pt x="77" y="159"/>
                  </a:cubicBezTo>
                  <a:cubicBezTo>
                    <a:pt x="82" y="167"/>
                    <a:pt x="88" y="175"/>
                    <a:pt x="88" y="175"/>
                  </a:cubicBezTo>
                  <a:cubicBezTo>
                    <a:pt x="83" y="186"/>
                    <a:pt x="83" y="186"/>
                    <a:pt x="83" y="186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108" y="234"/>
                    <a:pt x="108" y="234"/>
                    <a:pt x="108" y="234"/>
                  </a:cubicBezTo>
                  <a:cubicBezTo>
                    <a:pt x="106" y="258"/>
                    <a:pt x="106" y="258"/>
                    <a:pt x="106" y="258"/>
                  </a:cubicBezTo>
                  <a:cubicBezTo>
                    <a:pt x="140" y="275"/>
                    <a:pt x="140" y="275"/>
                    <a:pt x="140" y="275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6" y="297"/>
                    <a:pt x="143" y="285"/>
                    <a:pt x="162" y="290"/>
                  </a:cubicBezTo>
                  <a:cubicBezTo>
                    <a:pt x="181" y="295"/>
                    <a:pt x="178" y="312"/>
                    <a:pt x="208" y="315"/>
                  </a:cubicBezTo>
                  <a:cubicBezTo>
                    <a:pt x="238" y="318"/>
                    <a:pt x="250" y="317"/>
                    <a:pt x="250" y="310"/>
                  </a:cubicBezTo>
                  <a:cubicBezTo>
                    <a:pt x="250" y="303"/>
                    <a:pt x="252" y="284"/>
                    <a:pt x="262" y="283"/>
                  </a:cubicBezTo>
                  <a:cubicBezTo>
                    <a:pt x="272" y="282"/>
                    <a:pt x="299" y="289"/>
                    <a:pt x="313" y="294"/>
                  </a:cubicBezTo>
                  <a:cubicBezTo>
                    <a:pt x="327" y="299"/>
                    <a:pt x="313" y="326"/>
                    <a:pt x="359" y="325"/>
                  </a:cubicBezTo>
                  <a:cubicBezTo>
                    <a:pt x="405" y="324"/>
                    <a:pt x="406" y="299"/>
                    <a:pt x="422" y="294"/>
                  </a:cubicBezTo>
                  <a:cubicBezTo>
                    <a:pt x="438" y="289"/>
                    <a:pt x="450" y="285"/>
                    <a:pt x="457" y="291"/>
                  </a:cubicBezTo>
                  <a:cubicBezTo>
                    <a:pt x="464" y="297"/>
                    <a:pt x="466" y="303"/>
                    <a:pt x="477" y="298"/>
                  </a:cubicBezTo>
                  <a:cubicBezTo>
                    <a:pt x="488" y="293"/>
                    <a:pt x="495" y="277"/>
                    <a:pt x="502" y="284"/>
                  </a:cubicBezTo>
                  <a:cubicBezTo>
                    <a:pt x="509" y="291"/>
                    <a:pt x="501" y="300"/>
                    <a:pt x="498" y="306"/>
                  </a:cubicBezTo>
                  <a:cubicBezTo>
                    <a:pt x="495" y="312"/>
                    <a:pt x="488" y="324"/>
                    <a:pt x="495" y="329"/>
                  </a:cubicBezTo>
                  <a:cubicBezTo>
                    <a:pt x="496" y="330"/>
                    <a:pt x="497" y="331"/>
                    <a:pt x="496" y="333"/>
                  </a:cubicBezTo>
                  <a:cubicBezTo>
                    <a:pt x="499" y="335"/>
                    <a:pt x="506" y="340"/>
                    <a:pt x="509" y="339"/>
                  </a:cubicBezTo>
                  <a:cubicBezTo>
                    <a:pt x="513" y="338"/>
                    <a:pt x="515" y="330"/>
                    <a:pt x="515" y="330"/>
                  </a:cubicBezTo>
                  <a:cubicBezTo>
                    <a:pt x="515" y="321"/>
                    <a:pt x="515" y="321"/>
                    <a:pt x="515" y="321"/>
                  </a:cubicBezTo>
                  <a:cubicBezTo>
                    <a:pt x="515" y="321"/>
                    <a:pt x="529" y="327"/>
                    <a:pt x="530" y="319"/>
                  </a:cubicBezTo>
                  <a:cubicBezTo>
                    <a:pt x="532" y="306"/>
                    <a:pt x="525" y="308"/>
                    <a:pt x="525" y="308"/>
                  </a:cubicBezTo>
                  <a:cubicBezTo>
                    <a:pt x="524" y="287"/>
                    <a:pt x="524" y="287"/>
                    <a:pt x="524" y="287"/>
                  </a:cubicBezTo>
                  <a:cubicBezTo>
                    <a:pt x="524" y="287"/>
                    <a:pt x="538" y="282"/>
                    <a:pt x="540" y="286"/>
                  </a:cubicBezTo>
                  <a:cubicBezTo>
                    <a:pt x="542" y="290"/>
                    <a:pt x="525" y="296"/>
                    <a:pt x="546" y="296"/>
                  </a:cubicBezTo>
                  <a:cubicBezTo>
                    <a:pt x="567" y="296"/>
                    <a:pt x="582" y="288"/>
                    <a:pt x="582" y="288"/>
                  </a:cubicBezTo>
                  <a:cubicBezTo>
                    <a:pt x="582" y="288"/>
                    <a:pt x="593" y="276"/>
                    <a:pt x="596" y="277"/>
                  </a:cubicBezTo>
                  <a:cubicBezTo>
                    <a:pt x="599" y="278"/>
                    <a:pt x="622" y="290"/>
                    <a:pt x="622" y="290"/>
                  </a:cubicBezTo>
                  <a:cubicBezTo>
                    <a:pt x="622" y="290"/>
                    <a:pt x="634" y="295"/>
                    <a:pt x="645" y="294"/>
                  </a:cubicBezTo>
                  <a:cubicBezTo>
                    <a:pt x="656" y="293"/>
                    <a:pt x="661" y="290"/>
                    <a:pt x="670" y="287"/>
                  </a:cubicBezTo>
                  <a:cubicBezTo>
                    <a:pt x="679" y="284"/>
                    <a:pt x="686" y="272"/>
                    <a:pt x="699" y="271"/>
                  </a:cubicBezTo>
                  <a:cubicBezTo>
                    <a:pt x="712" y="270"/>
                    <a:pt x="718" y="269"/>
                    <a:pt x="723" y="271"/>
                  </a:cubicBezTo>
                  <a:cubicBezTo>
                    <a:pt x="728" y="273"/>
                    <a:pt x="723" y="278"/>
                    <a:pt x="732" y="277"/>
                  </a:cubicBezTo>
                  <a:cubicBezTo>
                    <a:pt x="741" y="276"/>
                    <a:pt x="746" y="270"/>
                    <a:pt x="746" y="270"/>
                  </a:cubicBezTo>
                  <a:cubicBezTo>
                    <a:pt x="746" y="270"/>
                    <a:pt x="751" y="268"/>
                    <a:pt x="759" y="267"/>
                  </a:cubicBezTo>
                  <a:cubicBezTo>
                    <a:pt x="767" y="266"/>
                    <a:pt x="769" y="255"/>
                    <a:pt x="772" y="257"/>
                  </a:cubicBezTo>
                  <a:cubicBezTo>
                    <a:pt x="775" y="259"/>
                    <a:pt x="769" y="277"/>
                    <a:pt x="781" y="274"/>
                  </a:cubicBezTo>
                  <a:cubicBezTo>
                    <a:pt x="793" y="271"/>
                    <a:pt x="792" y="258"/>
                    <a:pt x="792" y="258"/>
                  </a:cubicBezTo>
                  <a:cubicBezTo>
                    <a:pt x="818" y="258"/>
                    <a:pt x="818" y="258"/>
                    <a:pt x="818" y="258"/>
                  </a:cubicBezTo>
                  <a:cubicBezTo>
                    <a:pt x="818" y="258"/>
                    <a:pt x="827" y="269"/>
                    <a:pt x="835" y="267"/>
                  </a:cubicBezTo>
                  <a:cubicBezTo>
                    <a:pt x="843" y="265"/>
                    <a:pt x="835" y="257"/>
                    <a:pt x="849" y="258"/>
                  </a:cubicBezTo>
                  <a:cubicBezTo>
                    <a:pt x="863" y="259"/>
                    <a:pt x="861" y="276"/>
                    <a:pt x="861" y="276"/>
                  </a:cubicBezTo>
                  <a:lnTo>
                    <a:pt x="888" y="265"/>
                  </a:lnTo>
                  <a:close/>
                  <a:moveTo>
                    <a:pt x="67" y="189"/>
                  </a:moveTo>
                  <a:cubicBezTo>
                    <a:pt x="63" y="185"/>
                    <a:pt x="61" y="207"/>
                    <a:pt x="67" y="217"/>
                  </a:cubicBezTo>
                  <a:cubicBezTo>
                    <a:pt x="72" y="226"/>
                    <a:pt x="79" y="208"/>
                    <a:pt x="81" y="204"/>
                  </a:cubicBezTo>
                  <a:cubicBezTo>
                    <a:pt x="83" y="200"/>
                    <a:pt x="71" y="193"/>
                    <a:pt x="67" y="189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Freeform 243">
              <a:extLst>
                <a:ext uri="{FF2B5EF4-FFF2-40B4-BE49-F238E27FC236}">
                  <a16:creationId xmlns:a16="http://schemas.microsoft.com/office/drawing/2014/main" id="{1DB69BD0-E6C7-3711-A06C-C17FF71ED40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4283" y="-15278"/>
              <a:ext cx="862" cy="867"/>
            </a:xfrm>
            <a:custGeom>
              <a:avLst/>
              <a:gdLst>
                <a:gd name="T0" fmla="*/ 190 w 365"/>
                <a:gd name="T1" fmla="*/ 78 h 367"/>
                <a:gd name="T2" fmla="*/ 5 w 365"/>
                <a:gd name="T3" fmla="*/ 188 h 367"/>
                <a:gd name="T4" fmla="*/ 212 w 365"/>
                <a:gd name="T5" fmla="*/ 277 h 367"/>
                <a:gd name="T6" fmla="*/ 210 w 365"/>
                <a:gd name="T7" fmla="*/ 258 h 367"/>
                <a:gd name="T8" fmla="*/ 210 w 365"/>
                <a:gd name="T9" fmla="*/ 258 h 367"/>
                <a:gd name="T10" fmla="*/ 223 w 365"/>
                <a:gd name="T11" fmla="*/ 213 h 367"/>
                <a:gd name="T12" fmla="*/ 97 w 365"/>
                <a:gd name="T13" fmla="*/ 176 h 367"/>
                <a:gd name="T14" fmla="*/ 166 w 365"/>
                <a:gd name="T15" fmla="*/ 188 h 367"/>
                <a:gd name="T16" fmla="*/ 128 w 365"/>
                <a:gd name="T17" fmla="*/ 152 h 367"/>
                <a:gd name="T18" fmla="*/ 153 w 365"/>
                <a:gd name="T19" fmla="*/ 156 h 367"/>
                <a:gd name="T20" fmla="*/ 107 w 365"/>
                <a:gd name="T21" fmla="*/ 94 h 367"/>
                <a:gd name="T22" fmla="*/ 129 w 365"/>
                <a:gd name="T23" fmla="*/ 78 h 367"/>
                <a:gd name="T24" fmla="*/ 140 w 365"/>
                <a:gd name="T25" fmla="*/ 79 h 367"/>
                <a:gd name="T26" fmla="*/ 152 w 365"/>
                <a:gd name="T27" fmla="*/ 77 h 367"/>
                <a:gd name="T28" fmla="*/ 182 w 365"/>
                <a:gd name="T29" fmla="*/ 49 h 367"/>
                <a:gd name="T30" fmla="*/ 258 w 365"/>
                <a:gd name="T31" fmla="*/ 52 h 367"/>
                <a:gd name="T32" fmla="*/ 275 w 365"/>
                <a:gd name="T33" fmla="*/ 22 h 367"/>
                <a:gd name="T34" fmla="*/ 261 w 365"/>
                <a:gd name="T35" fmla="*/ 0 h 367"/>
                <a:gd name="T36" fmla="*/ 237 w 365"/>
                <a:gd name="T37" fmla="*/ 25 h 367"/>
                <a:gd name="T38" fmla="*/ 205 w 365"/>
                <a:gd name="T39" fmla="*/ 17 h 367"/>
                <a:gd name="T40" fmla="*/ 161 w 365"/>
                <a:gd name="T41" fmla="*/ 9 h 367"/>
                <a:gd name="T42" fmla="*/ 123 w 365"/>
                <a:gd name="T43" fmla="*/ 25 h 367"/>
                <a:gd name="T44" fmla="*/ 70 w 365"/>
                <a:gd name="T45" fmla="*/ 36 h 367"/>
                <a:gd name="T46" fmla="*/ 38 w 365"/>
                <a:gd name="T47" fmla="*/ 50 h 367"/>
                <a:gd name="T48" fmla="*/ 21 w 365"/>
                <a:gd name="T49" fmla="*/ 84 h 367"/>
                <a:gd name="T50" fmla="*/ 3 w 365"/>
                <a:gd name="T51" fmla="*/ 109 h 367"/>
                <a:gd name="T52" fmla="*/ 29 w 365"/>
                <a:gd name="T53" fmla="*/ 156 h 367"/>
                <a:gd name="T54" fmla="*/ 266 w 365"/>
                <a:gd name="T55" fmla="*/ 168 h 367"/>
                <a:gd name="T56" fmla="*/ 261 w 365"/>
                <a:gd name="T57" fmla="*/ 196 h 367"/>
                <a:gd name="T58" fmla="*/ 30 w 365"/>
                <a:gd name="T59" fmla="*/ 220 h 367"/>
                <a:gd name="T60" fmla="*/ 255 w 365"/>
                <a:gd name="T61" fmla="*/ 270 h 367"/>
                <a:gd name="T62" fmla="*/ 275 w 365"/>
                <a:gd name="T63" fmla="*/ 220 h 367"/>
                <a:gd name="T64" fmla="*/ 269 w 365"/>
                <a:gd name="T65" fmla="*/ 127 h 367"/>
                <a:gd name="T66" fmla="*/ 278 w 365"/>
                <a:gd name="T67" fmla="*/ 148 h 367"/>
                <a:gd name="T68" fmla="*/ 247 w 365"/>
                <a:gd name="T69" fmla="*/ 254 h 367"/>
                <a:gd name="T70" fmla="*/ 291 w 365"/>
                <a:gd name="T71" fmla="*/ 220 h 367"/>
                <a:gd name="T72" fmla="*/ 307 w 365"/>
                <a:gd name="T73" fmla="*/ 236 h 367"/>
                <a:gd name="T74" fmla="*/ 186 w 365"/>
                <a:gd name="T75" fmla="*/ 146 h 367"/>
                <a:gd name="T76" fmla="*/ 361 w 365"/>
                <a:gd name="T77" fmla="*/ 281 h 367"/>
                <a:gd name="T78" fmla="*/ 310 w 365"/>
                <a:gd name="T79" fmla="*/ 258 h 367"/>
                <a:gd name="T80" fmla="*/ 326 w 365"/>
                <a:gd name="T81" fmla="*/ 249 h 367"/>
                <a:gd name="T82" fmla="*/ 324 w 365"/>
                <a:gd name="T83" fmla="*/ 339 h 367"/>
                <a:gd name="T84" fmla="*/ 186 w 365"/>
                <a:gd name="T85" fmla="*/ 221 h 367"/>
                <a:gd name="T86" fmla="*/ 127 w 365"/>
                <a:gd name="T87" fmla="*/ 288 h 367"/>
                <a:gd name="T88" fmla="*/ 259 w 365"/>
                <a:gd name="T89" fmla="*/ 352 h 367"/>
                <a:gd name="T90" fmla="*/ 209 w 365"/>
                <a:gd name="T91" fmla="*/ 336 h 367"/>
                <a:gd name="T92" fmla="*/ 161 w 365"/>
                <a:gd name="T93" fmla="*/ 342 h 367"/>
                <a:gd name="T94" fmla="*/ 205 w 365"/>
                <a:gd name="T95" fmla="*/ 352 h 367"/>
                <a:gd name="T96" fmla="*/ 241 w 365"/>
                <a:gd name="T97" fmla="*/ 362 h 367"/>
                <a:gd name="T98" fmla="*/ 285 w 365"/>
                <a:gd name="T99" fmla="*/ 272 h 367"/>
                <a:gd name="T100" fmla="*/ 79 w 365"/>
                <a:gd name="T101" fmla="*/ 186 h 367"/>
                <a:gd name="T102" fmla="*/ 47 w 365"/>
                <a:gd name="T103" fmla="*/ 207 h 367"/>
                <a:gd name="T104" fmla="*/ 81 w 365"/>
                <a:gd name="T105" fmla="*/ 260 h 367"/>
                <a:gd name="T106" fmla="*/ 113 w 365"/>
                <a:gd name="T107" fmla="*/ 262 h 367"/>
                <a:gd name="T108" fmla="*/ 129 w 365"/>
                <a:gd name="T109" fmla="*/ 270 h 367"/>
                <a:gd name="T110" fmla="*/ 117 w 365"/>
                <a:gd name="T111" fmla="*/ 221 h 367"/>
                <a:gd name="T112" fmla="*/ 132 w 365"/>
                <a:gd name="T113" fmla="*/ 21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65" h="367">
                  <a:moveTo>
                    <a:pt x="165" y="73"/>
                  </a:moveTo>
                  <a:cubicBezTo>
                    <a:pt x="183" y="85"/>
                    <a:pt x="183" y="85"/>
                    <a:pt x="183" y="85"/>
                  </a:cubicBezTo>
                  <a:cubicBezTo>
                    <a:pt x="190" y="78"/>
                    <a:pt x="190" y="78"/>
                    <a:pt x="190" y="78"/>
                  </a:cubicBezTo>
                  <a:lnTo>
                    <a:pt x="165" y="73"/>
                  </a:lnTo>
                  <a:close/>
                  <a:moveTo>
                    <a:pt x="19" y="173"/>
                  </a:moveTo>
                  <a:cubicBezTo>
                    <a:pt x="5" y="188"/>
                    <a:pt x="5" y="188"/>
                    <a:pt x="5" y="188"/>
                  </a:cubicBezTo>
                  <a:cubicBezTo>
                    <a:pt x="30" y="195"/>
                    <a:pt x="30" y="195"/>
                    <a:pt x="30" y="195"/>
                  </a:cubicBezTo>
                  <a:lnTo>
                    <a:pt x="19" y="173"/>
                  </a:lnTo>
                  <a:close/>
                  <a:moveTo>
                    <a:pt x="212" y="277"/>
                  </a:moveTo>
                  <a:cubicBezTo>
                    <a:pt x="211" y="280"/>
                    <a:pt x="220" y="282"/>
                    <a:pt x="219" y="275"/>
                  </a:cubicBezTo>
                  <a:cubicBezTo>
                    <a:pt x="218" y="268"/>
                    <a:pt x="213" y="271"/>
                    <a:pt x="212" y="277"/>
                  </a:cubicBezTo>
                  <a:close/>
                  <a:moveTo>
                    <a:pt x="210" y="258"/>
                  </a:moveTo>
                  <a:cubicBezTo>
                    <a:pt x="204" y="253"/>
                    <a:pt x="204" y="253"/>
                    <a:pt x="204" y="253"/>
                  </a:cubicBezTo>
                  <a:cubicBezTo>
                    <a:pt x="198" y="259"/>
                    <a:pt x="198" y="259"/>
                    <a:pt x="198" y="259"/>
                  </a:cubicBezTo>
                  <a:lnTo>
                    <a:pt x="210" y="258"/>
                  </a:lnTo>
                  <a:close/>
                  <a:moveTo>
                    <a:pt x="201" y="196"/>
                  </a:moveTo>
                  <a:cubicBezTo>
                    <a:pt x="217" y="224"/>
                    <a:pt x="217" y="224"/>
                    <a:pt x="217" y="224"/>
                  </a:cubicBezTo>
                  <a:cubicBezTo>
                    <a:pt x="223" y="213"/>
                    <a:pt x="223" y="213"/>
                    <a:pt x="223" y="213"/>
                  </a:cubicBezTo>
                  <a:lnTo>
                    <a:pt x="201" y="196"/>
                  </a:lnTo>
                  <a:close/>
                  <a:moveTo>
                    <a:pt x="76" y="178"/>
                  </a:moveTo>
                  <a:cubicBezTo>
                    <a:pt x="76" y="178"/>
                    <a:pt x="90" y="173"/>
                    <a:pt x="97" y="176"/>
                  </a:cubicBezTo>
                  <a:cubicBezTo>
                    <a:pt x="104" y="179"/>
                    <a:pt x="141" y="193"/>
                    <a:pt x="141" y="193"/>
                  </a:cubicBezTo>
                  <a:cubicBezTo>
                    <a:pt x="141" y="193"/>
                    <a:pt x="163" y="216"/>
                    <a:pt x="168" y="210"/>
                  </a:cubicBezTo>
                  <a:cubicBezTo>
                    <a:pt x="173" y="204"/>
                    <a:pt x="174" y="195"/>
                    <a:pt x="166" y="188"/>
                  </a:cubicBezTo>
                  <a:cubicBezTo>
                    <a:pt x="158" y="181"/>
                    <a:pt x="142" y="168"/>
                    <a:pt x="139" y="167"/>
                  </a:cubicBezTo>
                  <a:cubicBezTo>
                    <a:pt x="136" y="166"/>
                    <a:pt x="117" y="157"/>
                    <a:pt x="117" y="157"/>
                  </a:cubicBezTo>
                  <a:cubicBezTo>
                    <a:pt x="117" y="157"/>
                    <a:pt x="124" y="151"/>
                    <a:pt x="128" y="152"/>
                  </a:cubicBezTo>
                  <a:cubicBezTo>
                    <a:pt x="132" y="153"/>
                    <a:pt x="155" y="176"/>
                    <a:pt x="169" y="178"/>
                  </a:cubicBezTo>
                  <a:cubicBezTo>
                    <a:pt x="183" y="180"/>
                    <a:pt x="189" y="164"/>
                    <a:pt x="176" y="162"/>
                  </a:cubicBezTo>
                  <a:cubicBezTo>
                    <a:pt x="163" y="160"/>
                    <a:pt x="153" y="156"/>
                    <a:pt x="153" y="156"/>
                  </a:cubicBezTo>
                  <a:cubicBezTo>
                    <a:pt x="153" y="156"/>
                    <a:pt x="139" y="148"/>
                    <a:pt x="137" y="141"/>
                  </a:cubicBezTo>
                  <a:cubicBezTo>
                    <a:pt x="135" y="134"/>
                    <a:pt x="123" y="117"/>
                    <a:pt x="123" y="117"/>
                  </a:cubicBezTo>
                  <a:cubicBezTo>
                    <a:pt x="123" y="117"/>
                    <a:pt x="112" y="100"/>
                    <a:pt x="107" y="94"/>
                  </a:cubicBezTo>
                  <a:cubicBezTo>
                    <a:pt x="102" y="88"/>
                    <a:pt x="97" y="67"/>
                    <a:pt x="104" y="64"/>
                  </a:cubicBezTo>
                  <a:cubicBezTo>
                    <a:pt x="111" y="61"/>
                    <a:pt x="113" y="78"/>
                    <a:pt x="121" y="78"/>
                  </a:cubicBezTo>
                  <a:cubicBezTo>
                    <a:pt x="123" y="78"/>
                    <a:pt x="126" y="78"/>
                    <a:pt x="129" y="78"/>
                  </a:cubicBezTo>
                  <a:cubicBezTo>
                    <a:pt x="133" y="86"/>
                    <a:pt x="137" y="95"/>
                    <a:pt x="139" y="96"/>
                  </a:cubicBezTo>
                  <a:cubicBezTo>
                    <a:pt x="142" y="98"/>
                    <a:pt x="148" y="94"/>
                    <a:pt x="148" y="94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1" y="79"/>
                    <a:pt x="142" y="79"/>
                    <a:pt x="143" y="79"/>
                  </a:cubicBezTo>
                  <a:cubicBezTo>
                    <a:pt x="161" y="90"/>
                    <a:pt x="161" y="90"/>
                    <a:pt x="161" y="90"/>
                  </a:cubicBezTo>
                  <a:cubicBezTo>
                    <a:pt x="152" y="77"/>
                    <a:pt x="152" y="77"/>
                    <a:pt x="152" y="77"/>
                  </a:cubicBezTo>
                  <a:cubicBezTo>
                    <a:pt x="152" y="77"/>
                    <a:pt x="153" y="77"/>
                    <a:pt x="153" y="77"/>
                  </a:cubicBezTo>
                  <a:cubicBezTo>
                    <a:pt x="156" y="74"/>
                    <a:pt x="157" y="66"/>
                    <a:pt x="156" y="58"/>
                  </a:cubicBezTo>
                  <a:cubicBezTo>
                    <a:pt x="155" y="50"/>
                    <a:pt x="173" y="46"/>
                    <a:pt x="182" y="49"/>
                  </a:cubicBezTo>
                  <a:cubicBezTo>
                    <a:pt x="191" y="52"/>
                    <a:pt x="184" y="65"/>
                    <a:pt x="193" y="62"/>
                  </a:cubicBezTo>
                  <a:cubicBezTo>
                    <a:pt x="202" y="59"/>
                    <a:pt x="205" y="44"/>
                    <a:pt x="210" y="43"/>
                  </a:cubicBezTo>
                  <a:cubicBezTo>
                    <a:pt x="215" y="42"/>
                    <a:pt x="258" y="52"/>
                    <a:pt x="258" y="52"/>
                  </a:cubicBezTo>
                  <a:cubicBezTo>
                    <a:pt x="258" y="52"/>
                    <a:pt x="261" y="47"/>
                    <a:pt x="263" y="40"/>
                  </a:cubicBezTo>
                  <a:cubicBezTo>
                    <a:pt x="265" y="33"/>
                    <a:pt x="260" y="30"/>
                    <a:pt x="261" y="24"/>
                  </a:cubicBezTo>
                  <a:cubicBezTo>
                    <a:pt x="262" y="18"/>
                    <a:pt x="275" y="22"/>
                    <a:pt x="275" y="22"/>
                  </a:cubicBezTo>
                  <a:cubicBezTo>
                    <a:pt x="275" y="22"/>
                    <a:pt x="276" y="14"/>
                    <a:pt x="273" y="9"/>
                  </a:cubicBezTo>
                  <a:cubicBezTo>
                    <a:pt x="270" y="4"/>
                    <a:pt x="263" y="5"/>
                    <a:pt x="263" y="5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249" y="6"/>
                    <a:pt x="249" y="6"/>
                    <a:pt x="249" y="6"/>
                  </a:cubicBezTo>
                  <a:cubicBezTo>
                    <a:pt x="249" y="6"/>
                    <a:pt x="255" y="14"/>
                    <a:pt x="253" y="19"/>
                  </a:cubicBezTo>
                  <a:cubicBezTo>
                    <a:pt x="251" y="24"/>
                    <a:pt x="237" y="25"/>
                    <a:pt x="237" y="25"/>
                  </a:cubicBezTo>
                  <a:cubicBezTo>
                    <a:pt x="227" y="17"/>
                    <a:pt x="227" y="17"/>
                    <a:pt x="227" y="17"/>
                  </a:cubicBezTo>
                  <a:cubicBezTo>
                    <a:pt x="227" y="17"/>
                    <a:pt x="222" y="24"/>
                    <a:pt x="214" y="25"/>
                  </a:cubicBezTo>
                  <a:cubicBezTo>
                    <a:pt x="206" y="26"/>
                    <a:pt x="205" y="17"/>
                    <a:pt x="205" y="17"/>
                  </a:cubicBezTo>
                  <a:cubicBezTo>
                    <a:pt x="205" y="17"/>
                    <a:pt x="199" y="20"/>
                    <a:pt x="191" y="20"/>
                  </a:cubicBezTo>
                  <a:cubicBezTo>
                    <a:pt x="183" y="20"/>
                    <a:pt x="179" y="6"/>
                    <a:pt x="179" y="6"/>
                  </a:cubicBezTo>
                  <a:cubicBezTo>
                    <a:pt x="161" y="9"/>
                    <a:pt x="161" y="9"/>
                    <a:pt x="161" y="9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41" y="15"/>
                    <a:pt x="141" y="15"/>
                    <a:pt x="141" y="15"/>
                  </a:cubicBezTo>
                  <a:cubicBezTo>
                    <a:pt x="141" y="15"/>
                    <a:pt x="131" y="25"/>
                    <a:pt x="123" y="25"/>
                  </a:cubicBezTo>
                  <a:cubicBezTo>
                    <a:pt x="118" y="25"/>
                    <a:pt x="114" y="21"/>
                    <a:pt x="111" y="18"/>
                  </a:cubicBezTo>
                  <a:cubicBezTo>
                    <a:pt x="107" y="23"/>
                    <a:pt x="102" y="26"/>
                    <a:pt x="97" y="32"/>
                  </a:cubicBezTo>
                  <a:cubicBezTo>
                    <a:pt x="89" y="40"/>
                    <a:pt x="70" y="36"/>
                    <a:pt x="70" y="36"/>
                  </a:cubicBezTo>
                  <a:cubicBezTo>
                    <a:pt x="70" y="36"/>
                    <a:pt x="71" y="41"/>
                    <a:pt x="67" y="47"/>
                  </a:cubicBezTo>
                  <a:cubicBezTo>
                    <a:pt x="63" y="53"/>
                    <a:pt x="43" y="45"/>
                    <a:pt x="43" y="45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5"/>
                    <a:pt x="39" y="62"/>
                    <a:pt x="36" y="64"/>
                  </a:cubicBezTo>
                  <a:cubicBezTo>
                    <a:pt x="31" y="68"/>
                    <a:pt x="21" y="70"/>
                    <a:pt x="21" y="70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4" y="86"/>
                    <a:pt x="3" y="93"/>
                  </a:cubicBezTo>
                  <a:cubicBezTo>
                    <a:pt x="2" y="100"/>
                    <a:pt x="3" y="109"/>
                    <a:pt x="3" y="109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5" y="116"/>
                    <a:pt x="0" y="133"/>
                    <a:pt x="9" y="136"/>
                  </a:cubicBezTo>
                  <a:cubicBezTo>
                    <a:pt x="18" y="139"/>
                    <a:pt x="29" y="156"/>
                    <a:pt x="29" y="156"/>
                  </a:cubicBezTo>
                  <a:cubicBezTo>
                    <a:pt x="29" y="156"/>
                    <a:pt x="39" y="179"/>
                    <a:pt x="47" y="179"/>
                  </a:cubicBezTo>
                  <a:cubicBezTo>
                    <a:pt x="55" y="179"/>
                    <a:pt x="76" y="178"/>
                    <a:pt x="76" y="178"/>
                  </a:cubicBezTo>
                  <a:close/>
                  <a:moveTo>
                    <a:pt x="266" y="168"/>
                  </a:moveTo>
                  <a:cubicBezTo>
                    <a:pt x="253" y="168"/>
                    <a:pt x="253" y="168"/>
                    <a:pt x="253" y="168"/>
                  </a:cubicBezTo>
                  <a:cubicBezTo>
                    <a:pt x="252" y="180"/>
                    <a:pt x="252" y="180"/>
                    <a:pt x="252" y="180"/>
                  </a:cubicBezTo>
                  <a:cubicBezTo>
                    <a:pt x="261" y="196"/>
                    <a:pt x="261" y="196"/>
                    <a:pt x="261" y="196"/>
                  </a:cubicBezTo>
                  <a:lnTo>
                    <a:pt x="266" y="168"/>
                  </a:lnTo>
                  <a:close/>
                  <a:moveTo>
                    <a:pt x="19" y="207"/>
                  </a:moveTo>
                  <a:cubicBezTo>
                    <a:pt x="10" y="214"/>
                    <a:pt x="30" y="220"/>
                    <a:pt x="30" y="220"/>
                  </a:cubicBezTo>
                  <a:cubicBezTo>
                    <a:pt x="36" y="216"/>
                    <a:pt x="28" y="200"/>
                    <a:pt x="19" y="207"/>
                  </a:cubicBezTo>
                  <a:close/>
                  <a:moveTo>
                    <a:pt x="255" y="261"/>
                  </a:moveTo>
                  <a:cubicBezTo>
                    <a:pt x="255" y="270"/>
                    <a:pt x="255" y="270"/>
                    <a:pt x="255" y="270"/>
                  </a:cubicBezTo>
                  <a:cubicBezTo>
                    <a:pt x="264" y="260"/>
                    <a:pt x="264" y="260"/>
                    <a:pt x="264" y="260"/>
                  </a:cubicBezTo>
                  <a:lnTo>
                    <a:pt x="255" y="261"/>
                  </a:lnTo>
                  <a:close/>
                  <a:moveTo>
                    <a:pt x="275" y="220"/>
                  </a:moveTo>
                  <a:cubicBezTo>
                    <a:pt x="271" y="216"/>
                    <a:pt x="259" y="219"/>
                    <a:pt x="259" y="227"/>
                  </a:cubicBezTo>
                  <a:cubicBezTo>
                    <a:pt x="259" y="232"/>
                    <a:pt x="279" y="224"/>
                    <a:pt x="275" y="220"/>
                  </a:cubicBezTo>
                  <a:close/>
                  <a:moveTo>
                    <a:pt x="269" y="127"/>
                  </a:moveTo>
                  <a:cubicBezTo>
                    <a:pt x="250" y="132"/>
                    <a:pt x="250" y="132"/>
                    <a:pt x="250" y="132"/>
                  </a:cubicBezTo>
                  <a:cubicBezTo>
                    <a:pt x="251" y="148"/>
                    <a:pt x="264" y="141"/>
                    <a:pt x="264" y="141"/>
                  </a:cubicBezTo>
                  <a:cubicBezTo>
                    <a:pt x="264" y="141"/>
                    <a:pt x="269" y="152"/>
                    <a:pt x="278" y="148"/>
                  </a:cubicBezTo>
                  <a:cubicBezTo>
                    <a:pt x="287" y="144"/>
                    <a:pt x="269" y="127"/>
                    <a:pt x="269" y="127"/>
                  </a:cubicBezTo>
                  <a:close/>
                  <a:moveTo>
                    <a:pt x="230" y="247"/>
                  </a:moveTo>
                  <a:cubicBezTo>
                    <a:pt x="232" y="259"/>
                    <a:pt x="242" y="262"/>
                    <a:pt x="247" y="254"/>
                  </a:cubicBezTo>
                  <a:cubicBezTo>
                    <a:pt x="253" y="244"/>
                    <a:pt x="228" y="235"/>
                    <a:pt x="230" y="247"/>
                  </a:cubicBezTo>
                  <a:close/>
                  <a:moveTo>
                    <a:pt x="299" y="210"/>
                  </a:moveTo>
                  <a:cubicBezTo>
                    <a:pt x="289" y="202"/>
                    <a:pt x="291" y="220"/>
                    <a:pt x="291" y="220"/>
                  </a:cubicBezTo>
                  <a:cubicBezTo>
                    <a:pt x="305" y="227"/>
                    <a:pt x="309" y="218"/>
                    <a:pt x="299" y="210"/>
                  </a:cubicBezTo>
                  <a:close/>
                  <a:moveTo>
                    <a:pt x="298" y="249"/>
                  </a:moveTo>
                  <a:cubicBezTo>
                    <a:pt x="307" y="236"/>
                    <a:pt x="307" y="236"/>
                    <a:pt x="307" y="236"/>
                  </a:cubicBezTo>
                  <a:cubicBezTo>
                    <a:pt x="295" y="236"/>
                    <a:pt x="295" y="236"/>
                    <a:pt x="295" y="236"/>
                  </a:cubicBezTo>
                  <a:lnTo>
                    <a:pt x="298" y="249"/>
                  </a:lnTo>
                  <a:close/>
                  <a:moveTo>
                    <a:pt x="186" y="146"/>
                  </a:moveTo>
                  <a:cubicBezTo>
                    <a:pt x="186" y="146"/>
                    <a:pt x="180" y="158"/>
                    <a:pt x="196" y="158"/>
                  </a:cubicBezTo>
                  <a:lnTo>
                    <a:pt x="186" y="146"/>
                  </a:lnTo>
                  <a:close/>
                  <a:moveTo>
                    <a:pt x="361" y="281"/>
                  </a:moveTo>
                  <a:cubicBezTo>
                    <a:pt x="357" y="274"/>
                    <a:pt x="336" y="302"/>
                    <a:pt x="342" y="312"/>
                  </a:cubicBezTo>
                  <a:cubicBezTo>
                    <a:pt x="347" y="321"/>
                    <a:pt x="365" y="288"/>
                    <a:pt x="361" y="281"/>
                  </a:cubicBezTo>
                  <a:close/>
                  <a:moveTo>
                    <a:pt x="310" y="258"/>
                  </a:moveTo>
                  <a:cubicBezTo>
                    <a:pt x="309" y="273"/>
                    <a:pt x="309" y="273"/>
                    <a:pt x="309" y="273"/>
                  </a:cubicBezTo>
                  <a:cubicBezTo>
                    <a:pt x="334" y="254"/>
                    <a:pt x="334" y="254"/>
                    <a:pt x="334" y="254"/>
                  </a:cubicBezTo>
                  <a:cubicBezTo>
                    <a:pt x="326" y="249"/>
                    <a:pt x="326" y="249"/>
                    <a:pt x="326" y="249"/>
                  </a:cubicBezTo>
                  <a:lnTo>
                    <a:pt x="310" y="258"/>
                  </a:lnTo>
                  <a:close/>
                  <a:moveTo>
                    <a:pt x="311" y="342"/>
                  </a:moveTo>
                  <a:cubicBezTo>
                    <a:pt x="324" y="339"/>
                    <a:pt x="324" y="339"/>
                    <a:pt x="324" y="339"/>
                  </a:cubicBezTo>
                  <a:cubicBezTo>
                    <a:pt x="317" y="312"/>
                    <a:pt x="317" y="312"/>
                    <a:pt x="317" y="312"/>
                  </a:cubicBezTo>
                  <a:lnTo>
                    <a:pt x="311" y="342"/>
                  </a:lnTo>
                  <a:close/>
                  <a:moveTo>
                    <a:pt x="186" y="221"/>
                  </a:moveTo>
                  <a:cubicBezTo>
                    <a:pt x="181" y="226"/>
                    <a:pt x="184" y="232"/>
                    <a:pt x="189" y="231"/>
                  </a:cubicBezTo>
                  <a:cubicBezTo>
                    <a:pt x="198" y="229"/>
                    <a:pt x="191" y="216"/>
                    <a:pt x="186" y="221"/>
                  </a:cubicBezTo>
                  <a:close/>
                  <a:moveTo>
                    <a:pt x="127" y="288"/>
                  </a:moveTo>
                  <a:cubicBezTo>
                    <a:pt x="121" y="290"/>
                    <a:pt x="126" y="307"/>
                    <a:pt x="133" y="301"/>
                  </a:cubicBezTo>
                  <a:cubicBezTo>
                    <a:pt x="140" y="295"/>
                    <a:pt x="134" y="286"/>
                    <a:pt x="127" y="288"/>
                  </a:cubicBezTo>
                  <a:close/>
                  <a:moveTo>
                    <a:pt x="259" y="352"/>
                  </a:moveTo>
                  <a:cubicBezTo>
                    <a:pt x="255" y="354"/>
                    <a:pt x="252" y="342"/>
                    <a:pt x="252" y="342"/>
                  </a:cubicBezTo>
                  <a:cubicBezTo>
                    <a:pt x="230" y="341"/>
                    <a:pt x="230" y="341"/>
                    <a:pt x="230" y="341"/>
                  </a:cubicBezTo>
                  <a:cubicBezTo>
                    <a:pt x="209" y="336"/>
                    <a:pt x="209" y="336"/>
                    <a:pt x="209" y="336"/>
                  </a:cubicBezTo>
                  <a:cubicBezTo>
                    <a:pt x="188" y="336"/>
                    <a:pt x="188" y="336"/>
                    <a:pt x="188" y="336"/>
                  </a:cubicBezTo>
                  <a:cubicBezTo>
                    <a:pt x="168" y="325"/>
                    <a:pt x="168" y="325"/>
                    <a:pt x="168" y="325"/>
                  </a:cubicBezTo>
                  <a:cubicBezTo>
                    <a:pt x="168" y="325"/>
                    <a:pt x="152" y="332"/>
                    <a:pt x="161" y="342"/>
                  </a:cubicBezTo>
                  <a:cubicBezTo>
                    <a:pt x="170" y="352"/>
                    <a:pt x="175" y="345"/>
                    <a:pt x="175" y="345"/>
                  </a:cubicBezTo>
                  <a:cubicBezTo>
                    <a:pt x="181" y="351"/>
                    <a:pt x="181" y="351"/>
                    <a:pt x="181" y="351"/>
                  </a:cubicBezTo>
                  <a:cubicBezTo>
                    <a:pt x="205" y="352"/>
                    <a:pt x="205" y="352"/>
                    <a:pt x="205" y="352"/>
                  </a:cubicBezTo>
                  <a:cubicBezTo>
                    <a:pt x="213" y="367"/>
                    <a:pt x="213" y="367"/>
                    <a:pt x="213" y="367"/>
                  </a:cubicBezTo>
                  <a:cubicBezTo>
                    <a:pt x="238" y="366"/>
                    <a:pt x="238" y="366"/>
                    <a:pt x="238" y="366"/>
                  </a:cubicBezTo>
                  <a:cubicBezTo>
                    <a:pt x="241" y="362"/>
                    <a:pt x="241" y="362"/>
                    <a:pt x="241" y="362"/>
                  </a:cubicBezTo>
                  <a:cubicBezTo>
                    <a:pt x="241" y="362"/>
                    <a:pt x="279" y="367"/>
                    <a:pt x="281" y="353"/>
                  </a:cubicBezTo>
                  <a:cubicBezTo>
                    <a:pt x="283" y="339"/>
                    <a:pt x="263" y="350"/>
                    <a:pt x="259" y="352"/>
                  </a:cubicBezTo>
                  <a:close/>
                  <a:moveTo>
                    <a:pt x="285" y="272"/>
                  </a:moveTo>
                  <a:cubicBezTo>
                    <a:pt x="276" y="268"/>
                    <a:pt x="272" y="276"/>
                    <a:pt x="277" y="279"/>
                  </a:cubicBezTo>
                  <a:cubicBezTo>
                    <a:pt x="284" y="284"/>
                    <a:pt x="294" y="276"/>
                    <a:pt x="285" y="272"/>
                  </a:cubicBezTo>
                  <a:close/>
                  <a:moveTo>
                    <a:pt x="79" y="186"/>
                  </a:moveTo>
                  <a:cubicBezTo>
                    <a:pt x="65" y="192"/>
                    <a:pt x="65" y="192"/>
                    <a:pt x="65" y="192"/>
                  </a:cubicBezTo>
                  <a:cubicBezTo>
                    <a:pt x="58" y="192"/>
                    <a:pt x="58" y="192"/>
                    <a:pt x="58" y="192"/>
                  </a:cubicBezTo>
                  <a:cubicBezTo>
                    <a:pt x="47" y="207"/>
                    <a:pt x="47" y="207"/>
                    <a:pt x="47" y="207"/>
                  </a:cubicBezTo>
                  <a:cubicBezTo>
                    <a:pt x="66" y="224"/>
                    <a:pt x="66" y="224"/>
                    <a:pt x="66" y="224"/>
                  </a:cubicBezTo>
                  <a:cubicBezTo>
                    <a:pt x="66" y="224"/>
                    <a:pt x="63" y="241"/>
                    <a:pt x="63" y="251"/>
                  </a:cubicBezTo>
                  <a:cubicBezTo>
                    <a:pt x="63" y="261"/>
                    <a:pt x="78" y="267"/>
                    <a:pt x="81" y="260"/>
                  </a:cubicBezTo>
                  <a:cubicBezTo>
                    <a:pt x="84" y="253"/>
                    <a:pt x="93" y="254"/>
                    <a:pt x="93" y="254"/>
                  </a:cubicBezTo>
                  <a:cubicBezTo>
                    <a:pt x="107" y="280"/>
                    <a:pt x="107" y="280"/>
                    <a:pt x="107" y="280"/>
                  </a:cubicBezTo>
                  <a:cubicBezTo>
                    <a:pt x="113" y="262"/>
                    <a:pt x="113" y="262"/>
                    <a:pt x="113" y="262"/>
                  </a:cubicBezTo>
                  <a:cubicBezTo>
                    <a:pt x="122" y="275"/>
                    <a:pt x="122" y="275"/>
                    <a:pt x="122" y="275"/>
                  </a:cubicBezTo>
                  <a:cubicBezTo>
                    <a:pt x="138" y="281"/>
                    <a:pt x="138" y="281"/>
                    <a:pt x="138" y="281"/>
                  </a:cubicBezTo>
                  <a:cubicBezTo>
                    <a:pt x="129" y="270"/>
                    <a:pt x="129" y="270"/>
                    <a:pt x="129" y="270"/>
                  </a:cubicBezTo>
                  <a:cubicBezTo>
                    <a:pt x="133" y="265"/>
                    <a:pt x="133" y="265"/>
                    <a:pt x="133" y="265"/>
                  </a:cubicBezTo>
                  <a:cubicBezTo>
                    <a:pt x="131" y="250"/>
                    <a:pt x="131" y="250"/>
                    <a:pt x="131" y="250"/>
                  </a:cubicBezTo>
                  <a:cubicBezTo>
                    <a:pt x="131" y="250"/>
                    <a:pt x="114" y="229"/>
                    <a:pt x="117" y="221"/>
                  </a:cubicBezTo>
                  <a:cubicBezTo>
                    <a:pt x="120" y="213"/>
                    <a:pt x="143" y="232"/>
                    <a:pt x="143" y="232"/>
                  </a:cubicBezTo>
                  <a:cubicBezTo>
                    <a:pt x="152" y="228"/>
                    <a:pt x="152" y="228"/>
                    <a:pt x="152" y="228"/>
                  </a:cubicBezTo>
                  <a:cubicBezTo>
                    <a:pt x="152" y="228"/>
                    <a:pt x="141" y="221"/>
                    <a:pt x="132" y="212"/>
                  </a:cubicBezTo>
                  <a:cubicBezTo>
                    <a:pt x="123" y="203"/>
                    <a:pt x="79" y="186"/>
                    <a:pt x="79" y="186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eform 244">
              <a:extLst>
                <a:ext uri="{FF2B5EF4-FFF2-40B4-BE49-F238E27FC236}">
                  <a16:creationId xmlns:a16="http://schemas.microsoft.com/office/drawing/2014/main" id="{568397EB-DC09-C073-62BA-33D71353CCB2}"/>
                </a:ext>
              </a:extLst>
            </p:cNvPr>
            <p:cNvSpPr>
              <a:spLocks/>
            </p:cNvSpPr>
            <p:nvPr/>
          </p:nvSpPr>
          <p:spPr bwMode="gray">
            <a:xfrm>
              <a:off x="-4423" y="-15394"/>
              <a:ext cx="237" cy="390"/>
            </a:xfrm>
            <a:custGeom>
              <a:avLst/>
              <a:gdLst>
                <a:gd name="T0" fmla="*/ 62 w 100"/>
                <a:gd name="T1" fmla="*/ 142 h 165"/>
                <a:gd name="T2" fmla="*/ 72 w 100"/>
                <a:gd name="T3" fmla="*/ 138 h 165"/>
                <a:gd name="T4" fmla="*/ 80 w 100"/>
                <a:gd name="T5" fmla="*/ 133 h 165"/>
                <a:gd name="T6" fmla="*/ 80 w 100"/>
                <a:gd name="T7" fmla="*/ 119 h 165"/>
                <a:gd name="T8" fmla="*/ 95 w 100"/>
                <a:gd name="T9" fmla="*/ 113 h 165"/>
                <a:gd name="T10" fmla="*/ 95 w 100"/>
                <a:gd name="T11" fmla="*/ 92 h 165"/>
                <a:gd name="T12" fmla="*/ 77 w 100"/>
                <a:gd name="T13" fmla="*/ 99 h 165"/>
                <a:gd name="T14" fmla="*/ 77 w 100"/>
                <a:gd name="T15" fmla="*/ 85 h 165"/>
                <a:gd name="T16" fmla="*/ 69 w 100"/>
                <a:gd name="T17" fmla="*/ 79 h 165"/>
                <a:gd name="T18" fmla="*/ 71 w 100"/>
                <a:gd name="T19" fmla="*/ 67 h 165"/>
                <a:gd name="T20" fmla="*/ 66 w 100"/>
                <a:gd name="T21" fmla="*/ 56 h 165"/>
                <a:gd name="T22" fmla="*/ 68 w 100"/>
                <a:gd name="T23" fmla="*/ 41 h 165"/>
                <a:gd name="T24" fmla="*/ 68 w 100"/>
                <a:gd name="T25" fmla="*/ 29 h 165"/>
                <a:gd name="T26" fmla="*/ 64 w 100"/>
                <a:gd name="T27" fmla="*/ 19 h 165"/>
                <a:gd name="T28" fmla="*/ 55 w 100"/>
                <a:gd name="T29" fmla="*/ 19 h 165"/>
                <a:gd name="T30" fmla="*/ 47 w 100"/>
                <a:gd name="T31" fmla="*/ 4 h 165"/>
                <a:gd name="T32" fmla="*/ 41 w 100"/>
                <a:gd name="T33" fmla="*/ 10 h 165"/>
                <a:gd name="T34" fmla="*/ 23 w 100"/>
                <a:gd name="T35" fmla="*/ 0 h 165"/>
                <a:gd name="T36" fmla="*/ 21 w 100"/>
                <a:gd name="T37" fmla="*/ 14 h 165"/>
                <a:gd name="T38" fmla="*/ 15 w 100"/>
                <a:gd name="T39" fmla="*/ 19 h 165"/>
                <a:gd name="T40" fmla="*/ 0 w 100"/>
                <a:gd name="T41" fmla="*/ 19 h 165"/>
                <a:gd name="T42" fmla="*/ 9 w 100"/>
                <a:gd name="T43" fmla="*/ 25 h 165"/>
                <a:gd name="T44" fmla="*/ 15 w 100"/>
                <a:gd name="T45" fmla="*/ 22 h 165"/>
                <a:gd name="T46" fmla="*/ 17 w 100"/>
                <a:gd name="T47" fmla="*/ 32 h 165"/>
                <a:gd name="T48" fmla="*/ 10 w 100"/>
                <a:gd name="T49" fmla="*/ 41 h 165"/>
                <a:gd name="T50" fmla="*/ 14 w 100"/>
                <a:gd name="T51" fmla="*/ 45 h 165"/>
                <a:gd name="T52" fmla="*/ 30 w 100"/>
                <a:gd name="T53" fmla="*/ 45 h 165"/>
                <a:gd name="T54" fmla="*/ 24 w 100"/>
                <a:gd name="T55" fmla="*/ 96 h 165"/>
                <a:gd name="T56" fmla="*/ 17 w 100"/>
                <a:gd name="T57" fmla="*/ 129 h 165"/>
                <a:gd name="T58" fmla="*/ 40 w 100"/>
                <a:gd name="T59" fmla="*/ 144 h 165"/>
                <a:gd name="T60" fmla="*/ 41 w 100"/>
                <a:gd name="T61" fmla="*/ 163 h 165"/>
                <a:gd name="T62" fmla="*/ 64 w 100"/>
                <a:gd name="T63" fmla="*/ 165 h 165"/>
                <a:gd name="T64" fmla="*/ 62 w 100"/>
                <a:gd name="T65" fmla="*/ 158 h 165"/>
                <a:gd name="T66" fmla="*/ 62 w 100"/>
                <a:gd name="T67" fmla="*/ 142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0" h="165">
                  <a:moveTo>
                    <a:pt x="62" y="142"/>
                  </a:moveTo>
                  <a:cubicBezTo>
                    <a:pt x="63" y="135"/>
                    <a:pt x="72" y="138"/>
                    <a:pt x="72" y="138"/>
                  </a:cubicBezTo>
                  <a:cubicBezTo>
                    <a:pt x="80" y="133"/>
                    <a:pt x="80" y="133"/>
                    <a:pt x="80" y="133"/>
                  </a:cubicBezTo>
                  <a:cubicBezTo>
                    <a:pt x="80" y="119"/>
                    <a:pt x="80" y="119"/>
                    <a:pt x="80" y="119"/>
                  </a:cubicBezTo>
                  <a:cubicBezTo>
                    <a:pt x="80" y="119"/>
                    <a:pt x="90" y="117"/>
                    <a:pt x="95" y="113"/>
                  </a:cubicBezTo>
                  <a:cubicBezTo>
                    <a:pt x="100" y="109"/>
                    <a:pt x="95" y="92"/>
                    <a:pt x="95" y="92"/>
                  </a:cubicBezTo>
                  <a:cubicBezTo>
                    <a:pt x="77" y="99"/>
                    <a:pt x="77" y="99"/>
                    <a:pt x="77" y="99"/>
                  </a:cubicBezTo>
                  <a:cubicBezTo>
                    <a:pt x="77" y="85"/>
                    <a:pt x="77" y="85"/>
                    <a:pt x="77" y="85"/>
                  </a:cubicBezTo>
                  <a:cubicBezTo>
                    <a:pt x="77" y="85"/>
                    <a:pt x="69" y="84"/>
                    <a:pt x="69" y="79"/>
                  </a:cubicBezTo>
                  <a:cubicBezTo>
                    <a:pt x="69" y="74"/>
                    <a:pt x="71" y="67"/>
                    <a:pt x="71" y="67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45"/>
                    <a:pt x="25" y="84"/>
                    <a:pt x="24" y="96"/>
                  </a:cubicBezTo>
                  <a:cubicBezTo>
                    <a:pt x="23" y="108"/>
                    <a:pt x="12" y="124"/>
                    <a:pt x="17" y="129"/>
                  </a:cubicBezTo>
                  <a:cubicBezTo>
                    <a:pt x="22" y="134"/>
                    <a:pt x="40" y="144"/>
                    <a:pt x="40" y="144"/>
                  </a:cubicBezTo>
                  <a:cubicBezTo>
                    <a:pt x="40" y="144"/>
                    <a:pt x="37" y="164"/>
                    <a:pt x="41" y="163"/>
                  </a:cubicBezTo>
                  <a:cubicBezTo>
                    <a:pt x="45" y="162"/>
                    <a:pt x="64" y="165"/>
                    <a:pt x="64" y="165"/>
                  </a:cubicBezTo>
                  <a:cubicBezTo>
                    <a:pt x="62" y="158"/>
                    <a:pt x="62" y="158"/>
                    <a:pt x="62" y="158"/>
                  </a:cubicBezTo>
                  <a:cubicBezTo>
                    <a:pt x="62" y="158"/>
                    <a:pt x="61" y="149"/>
                    <a:pt x="62" y="142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 245">
              <a:extLst>
                <a:ext uri="{FF2B5EF4-FFF2-40B4-BE49-F238E27FC236}">
                  <a16:creationId xmlns:a16="http://schemas.microsoft.com/office/drawing/2014/main" id="{4D0894E2-6A7F-9727-EFC1-1C33FE0D40E4}"/>
                </a:ext>
              </a:extLst>
            </p:cNvPr>
            <p:cNvSpPr>
              <a:spLocks/>
            </p:cNvSpPr>
            <p:nvPr/>
          </p:nvSpPr>
          <p:spPr bwMode="gray">
            <a:xfrm>
              <a:off x="-4089" y="-15583"/>
              <a:ext cx="630" cy="366"/>
            </a:xfrm>
            <a:custGeom>
              <a:avLst/>
              <a:gdLst>
                <a:gd name="T0" fmla="*/ 225 w 267"/>
                <a:gd name="T1" fmla="*/ 87 h 155"/>
                <a:gd name="T2" fmla="*/ 241 w 267"/>
                <a:gd name="T3" fmla="*/ 47 h 155"/>
                <a:gd name="T4" fmla="*/ 264 w 267"/>
                <a:gd name="T5" fmla="*/ 23 h 155"/>
                <a:gd name="T6" fmla="*/ 237 w 267"/>
                <a:gd name="T7" fmla="*/ 12 h 155"/>
                <a:gd name="T8" fmla="*/ 194 w 267"/>
                <a:gd name="T9" fmla="*/ 2 h 155"/>
                <a:gd name="T10" fmla="*/ 169 w 267"/>
                <a:gd name="T11" fmla="*/ 6 h 155"/>
                <a:gd name="T12" fmla="*/ 157 w 267"/>
                <a:gd name="T13" fmla="*/ 12 h 155"/>
                <a:gd name="T14" fmla="*/ 118 w 267"/>
                <a:gd name="T15" fmla="*/ 23 h 155"/>
                <a:gd name="T16" fmla="*/ 92 w 267"/>
                <a:gd name="T17" fmla="*/ 17 h 155"/>
                <a:gd name="T18" fmla="*/ 62 w 267"/>
                <a:gd name="T19" fmla="*/ 21 h 155"/>
                <a:gd name="T20" fmla="*/ 39 w 267"/>
                <a:gd name="T21" fmla="*/ 21 h 155"/>
                <a:gd name="T22" fmla="*/ 29 w 267"/>
                <a:gd name="T23" fmla="*/ 5 h 155"/>
                <a:gd name="T24" fmla="*/ 10 w 267"/>
                <a:gd name="T25" fmla="*/ 0 h 155"/>
                <a:gd name="T26" fmla="*/ 0 w 267"/>
                <a:gd name="T27" fmla="*/ 16 h 155"/>
                <a:gd name="T28" fmla="*/ 12 w 267"/>
                <a:gd name="T29" fmla="*/ 33 h 155"/>
                <a:gd name="T30" fmla="*/ 23 w 267"/>
                <a:gd name="T31" fmla="*/ 47 h 155"/>
                <a:gd name="T32" fmla="*/ 20 w 267"/>
                <a:gd name="T33" fmla="*/ 68 h 155"/>
                <a:gd name="T34" fmla="*/ 8 w 267"/>
                <a:gd name="T35" fmla="*/ 80 h 155"/>
                <a:gd name="T36" fmla="*/ 2 w 267"/>
                <a:gd name="T37" fmla="*/ 95 h 155"/>
                <a:gd name="T38" fmla="*/ 8 w 267"/>
                <a:gd name="T39" fmla="*/ 104 h 155"/>
                <a:gd name="T40" fmla="*/ 13 w 267"/>
                <a:gd name="T41" fmla="*/ 112 h 155"/>
                <a:gd name="T42" fmla="*/ 33 w 267"/>
                <a:gd name="T43" fmla="*/ 139 h 155"/>
                <a:gd name="T44" fmla="*/ 41 w 267"/>
                <a:gd name="T45" fmla="*/ 154 h 155"/>
                <a:gd name="T46" fmla="*/ 73 w 267"/>
                <a:gd name="T47" fmla="*/ 150 h 155"/>
                <a:gd name="T48" fmla="*/ 97 w 267"/>
                <a:gd name="T49" fmla="*/ 135 h 155"/>
                <a:gd name="T50" fmla="*/ 123 w 267"/>
                <a:gd name="T51" fmla="*/ 146 h 155"/>
                <a:gd name="T52" fmla="*/ 145 w 267"/>
                <a:gd name="T53" fmla="*/ 146 h 155"/>
                <a:gd name="T54" fmla="*/ 171 w 267"/>
                <a:gd name="T55" fmla="*/ 148 h 155"/>
                <a:gd name="T56" fmla="*/ 179 w 267"/>
                <a:gd name="T57" fmla="*/ 129 h 155"/>
                <a:gd name="T58" fmla="*/ 208 w 267"/>
                <a:gd name="T59" fmla="*/ 116 h 155"/>
                <a:gd name="T60" fmla="*/ 226 w 267"/>
                <a:gd name="T61" fmla="*/ 119 h 155"/>
                <a:gd name="T62" fmla="*/ 248 w 267"/>
                <a:gd name="T63" fmla="*/ 11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7" h="155">
                  <a:moveTo>
                    <a:pt x="248" y="115"/>
                  </a:moveTo>
                  <a:cubicBezTo>
                    <a:pt x="225" y="87"/>
                    <a:pt x="225" y="87"/>
                    <a:pt x="225" y="87"/>
                  </a:cubicBezTo>
                  <a:cubicBezTo>
                    <a:pt x="225" y="87"/>
                    <a:pt x="235" y="82"/>
                    <a:pt x="239" y="75"/>
                  </a:cubicBezTo>
                  <a:cubicBezTo>
                    <a:pt x="243" y="68"/>
                    <a:pt x="232" y="54"/>
                    <a:pt x="241" y="47"/>
                  </a:cubicBezTo>
                  <a:cubicBezTo>
                    <a:pt x="250" y="40"/>
                    <a:pt x="267" y="44"/>
                    <a:pt x="267" y="44"/>
                  </a:cubicBezTo>
                  <a:cubicBezTo>
                    <a:pt x="267" y="44"/>
                    <a:pt x="265" y="35"/>
                    <a:pt x="264" y="23"/>
                  </a:cubicBezTo>
                  <a:cubicBezTo>
                    <a:pt x="257" y="24"/>
                    <a:pt x="248" y="24"/>
                    <a:pt x="245" y="22"/>
                  </a:cubicBezTo>
                  <a:cubicBezTo>
                    <a:pt x="240" y="19"/>
                    <a:pt x="237" y="12"/>
                    <a:pt x="237" y="12"/>
                  </a:cubicBezTo>
                  <a:cubicBezTo>
                    <a:pt x="237" y="12"/>
                    <a:pt x="228" y="10"/>
                    <a:pt x="219" y="10"/>
                  </a:cubicBezTo>
                  <a:cubicBezTo>
                    <a:pt x="210" y="10"/>
                    <a:pt x="203" y="2"/>
                    <a:pt x="194" y="2"/>
                  </a:cubicBezTo>
                  <a:cubicBezTo>
                    <a:pt x="185" y="2"/>
                    <a:pt x="188" y="8"/>
                    <a:pt x="188" y="8"/>
                  </a:cubicBezTo>
                  <a:cubicBezTo>
                    <a:pt x="169" y="6"/>
                    <a:pt x="169" y="6"/>
                    <a:pt x="169" y="6"/>
                  </a:cubicBezTo>
                  <a:cubicBezTo>
                    <a:pt x="170" y="11"/>
                    <a:pt x="170" y="11"/>
                    <a:pt x="170" y="11"/>
                  </a:cubicBezTo>
                  <a:cubicBezTo>
                    <a:pt x="170" y="11"/>
                    <a:pt x="164" y="10"/>
                    <a:pt x="157" y="12"/>
                  </a:cubicBezTo>
                  <a:cubicBezTo>
                    <a:pt x="150" y="14"/>
                    <a:pt x="151" y="30"/>
                    <a:pt x="140" y="29"/>
                  </a:cubicBezTo>
                  <a:cubicBezTo>
                    <a:pt x="129" y="28"/>
                    <a:pt x="118" y="23"/>
                    <a:pt x="118" y="23"/>
                  </a:cubicBezTo>
                  <a:cubicBezTo>
                    <a:pt x="105" y="22"/>
                    <a:pt x="105" y="22"/>
                    <a:pt x="105" y="22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17"/>
                    <a:pt x="97" y="26"/>
                    <a:pt x="84" y="26"/>
                  </a:cubicBezTo>
                  <a:cubicBezTo>
                    <a:pt x="71" y="26"/>
                    <a:pt x="62" y="21"/>
                    <a:pt x="62" y="2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22" y="22"/>
                    <a:pt x="22" y="18"/>
                  </a:cubicBezTo>
                  <a:cubicBezTo>
                    <a:pt x="22" y="14"/>
                    <a:pt x="31" y="9"/>
                    <a:pt x="29" y="5"/>
                  </a:cubicBezTo>
                  <a:cubicBezTo>
                    <a:pt x="27" y="1"/>
                    <a:pt x="17" y="1"/>
                    <a:pt x="17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8" y="53"/>
                    <a:pt x="26" y="57"/>
                  </a:cubicBezTo>
                  <a:cubicBezTo>
                    <a:pt x="24" y="61"/>
                    <a:pt x="20" y="68"/>
                    <a:pt x="20" y="68"/>
                  </a:cubicBezTo>
                  <a:cubicBezTo>
                    <a:pt x="20" y="68"/>
                    <a:pt x="9" y="65"/>
                    <a:pt x="7" y="69"/>
                  </a:cubicBezTo>
                  <a:cubicBezTo>
                    <a:pt x="5" y="73"/>
                    <a:pt x="8" y="80"/>
                    <a:pt x="8" y="80"/>
                  </a:cubicBezTo>
                  <a:cubicBezTo>
                    <a:pt x="8" y="80"/>
                    <a:pt x="11" y="88"/>
                    <a:pt x="10" y="91"/>
                  </a:cubicBezTo>
                  <a:cubicBezTo>
                    <a:pt x="9" y="93"/>
                    <a:pt x="5" y="94"/>
                    <a:pt x="2" y="95"/>
                  </a:cubicBezTo>
                  <a:cubicBezTo>
                    <a:pt x="2" y="95"/>
                    <a:pt x="2" y="95"/>
                    <a:pt x="2" y="95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25" y="121"/>
                    <a:pt x="25" y="121"/>
                    <a:pt x="25" y="121"/>
                  </a:cubicBezTo>
                  <a:cubicBezTo>
                    <a:pt x="25" y="121"/>
                    <a:pt x="36" y="128"/>
                    <a:pt x="33" y="139"/>
                  </a:cubicBezTo>
                  <a:cubicBezTo>
                    <a:pt x="32" y="142"/>
                    <a:pt x="31" y="145"/>
                    <a:pt x="29" y="147"/>
                  </a:cubicBezTo>
                  <a:cubicBezTo>
                    <a:pt x="32" y="150"/>
                    <a:pt x="36" y="154"/>
                    <a:pt x="41" y="154"/>
                  </a:cubicBezTo>
                  <a:cubicBezTo>
                    <a:pt x="49" y="154"/>
                    <a:pt x="59" y="144"/>
                    <a:pt x="59" y="144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9" y="138"/>
                    <a:pt x="79" y="138"/>
                    <a:pt x="79" y="138"/>
                  </a:cubicBezTo>
                  <a:cubicBezTo>
                    <a:pt x="97" y="135"/>
                    <a:pt x="97" y="135"/>
                    <a:pt x="97" y="135"/>
                  </a:cubicBezTo>
                  <a:cubicBezTo>
                    <a:pt x="97" y="135"/>
                    <a:pt x="101" y="149"/>
                    <a:pt x="109" y="149"/>
                  </a:cubicBezTo>
                  <a:cubicBezTo>
                    <a:pt x="117" y="149"/>
                    <a:pt x="123" y="146"/>
                    <a:pt x="123" y="146"/>
                  </a:cubicBezTo>
                  <a:cubicBezTo>
                    <a:pt x="123" y="146"/>
                    <a:pt x="124" y="155"/>
                    <a:pt x="132" y="154"/>
                  </a:cubicBezTo>
                  <a:cubicBezTo>
                    <a:pt x="140" y="153"/>
                    <a:pt x="145" y="146"/>
                    <a:pt x="145" y="146"/>
                  </a:cubicBezTo>
                  <a:cubicBezTo>
                    <a:pt x="155" y="154"/>
                    <a:pt x="155" y="154"/>
                    <a:pt x="155" y="154"/>
                  </a:cubicBezTo>
                  <a:cubicBezTo>
                    <a:pt x="155" y="154"/>
                    <a:pt x="169" y="153"/>
                    <a:pt x="171" y="148"/>
                  </a:cubicBezTo>
                  <a:cubicBezTo>
                    <a:pt x="173" y="143"/>
                    <a:pt x="167" y="135"/>
                    <a:pt x="167" y="135"/>
                  </a:cubicBezTo>
                  <a:cubicBezTo>
                    <a:pt x="179" y="129"/>
                    <a:pt x="179" y="129"/>
                    <a:pt x="179" y="129"/>
                  </a:cubicBezTo>
                  <a:cubicBezTo>
                    <a:pt x="188" y="114"/>
                    <a:pt x="188" y="114"/>
                    <a:pt x="188" y="114"/>
                  </a:cubicBezTo>
                  <a:cubicBezTo>
                    <a:pt x="208" y="116"/>
                    <a:pt x="208" y="116"/>
                    <a:pt x="208" y="116"/>
                  </a:cubicBezTo>
                  <a:cubicBezTo>
                    <a:pt x="216" y="106"/>
                    <a:pt x="216" y="106"/>
                    <a:pt x="216" y="106"/>
                  </a:cubicBezTo>
                  <a:cubicBezTo>
                    <a:pt x="226" y="119"/>
                    <a:pt x="226" y="119"/>
                    <a:pt x="226" y="119"/>
                  </a:cubicBezTo>
                  <a:cubicBezTo>
                    <a:pt x="226" y="119"/>
                    <a:pt x="240" y="121"/>
                    <a:pt x="249" y="120"/>
                  </a:cubicBezTo>
                  <a:cubicBezTo>
                    <a:pt x="248" y="117"/>
                    <a:pt x="248" y="115"/>
                    <a:pt x="248" y="115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Freeform 246">
              <a:extLst>
                <a:ext uri="{FF2B5EF4-FFF2-40B4-BE49-F238E27FC236}">
                  <a16:creationId xmlns:a16="http://schemas.microsoft.com/office/drawing/2014/main" id="{4360681D-51AD-1A45-AA35-6823F05B4466}"/>
                </a:ext>
              </a:extLst>
            </p:cNvPr>
            <p:cNvSpPr>
              <a:spLocks/>
            </p:cNvSpPr>
            <p:nvPr/>
          </p:nvSpPr>
          <p:spPr bwMode="gray">
            <a:xfrm>
              <a:off x="-4267" y="-15359"/>
              <a:ext cx="263" cy="206"/>
            </a:xfrm>
            <a:custGeom>
              <a:avLst/>
              <a:gdLst>
                <a:gd name="T0" fmla="*/ 100 w 111"/>
                <a:gd name="T1" fmla="*/ 26 h 87"/>
                <a:gd name="T2" fmla="*/ 88 w 111"/>
                <a:gd name="T3" fmla="*/ 17 h 87"/>
                <a:gd name="T4" fmla="*/ 88 w 111"/>
                <a:gd name="T5" fmla="*/ 9 h 87"/>
                <a:gd name="T6" fmla="*/ 83 w 111"/>
                <a:gd name="T7" fmla="*/ 9 h 87"/>
                <a:gd name="T8" fmla="*/ 77 w 111"/>
                <a:gd name="T9" fmla="*/ 0 h 87"/>
                <a:gd name="T10" fmla="*/ 76 w 111"/>
                <a:gd name="T11" fmla="*/ 0 h 87"/>
                <a:gd name="T12" fmla="*/ 50 w 111"/>
                <a:gd name="T13" fmla="*/ 2 h 87"/>
                <a:gd name="T14" fmla="*/ 46 w 111"/>
                <a:gd name="T15" fmla="*/ 6 h 87"/>
                <a:gd name="T16" fmla="*/ 33 w 111"/>
                <a:gd name="T17" fmla="*/ 6 h 87"/>
                <a:gd name="T18" fmla="*/ 30 w 111"/>
                <a:gd name="T19" fmla="*/ 14 h 87"/>
                <a:gd name="T20" fmla="*/ 18 w 111"/>
                <a:gd name="T21" fmla="*/ 14 h 87"/>
                <a:gd name="T22" fmla="*/ 13 w 111"/>
                <a:gd name="T23" fmla="*/ 22 h 87"/>
                <a:gd name="T24" fmla="*/ 2 w 111"/>
                <a:gd name="T25" fmla="*/ 26 h 87"/>
                <a:gd name="T26" fmla="*/ 0 w 111"/>
                <a:gd name="T27" fmla="*/ 41 h 87"/>
                <a:gd name="T28" fmla="*/ 5 w 111"/>
                <a:gd name="T29" fmla="*/ 52 h 87"/>
                <a:gd name="T30" fmla="*/ 3 w 111"/>
                <a:gd name="T31" fmla="*/ 64 h 87"/>
                <a:gd name="T32" fmla="*/ 11 w 111"/>
                <a:gd name="T33" fmla="*/ 70 h 87"/>
                <a:gd name="T34" fmla="*/ 11 w 111"/>
                <a:gd name="T35" fmla="*/ 84 h 87"/>
                <a:gd name="T36" fmla="*/ 29 w 111"/>
                <a:gd name="T37" fmla="*/ 77 h 87"/>
                <a:gd name="T38" fmla="*/ 31 w 111"/>
                <a:gd name="T39" fmla="*/ 84 h 87"/>
                <a:gd name="T40" fmla="*/ 36 w 111"/>
                <a:gd name="T41" fmla="*/ 79 h 87"/>
                <a:gd name="T42" fmla="*/ 60 w 111"/>
                <a:gd name="T43" fmla="*/ 81 h 87"/>
                <a:gd name="T44" fmla="*/ 63 w 111"/>
                <a:gd name="T45" fmla="*/ 70 h 87"/>
                <a:gd name="T46" fmla="*/ 90 w 111"/>
                <a:gd name="T47" fmla="*/ 66 h 87"/>
                <a:gd name="T48" fmla="*/ 108 w 111"/>
                <a:gd name="T49" fmla="*/ 44 h 87"/>
                <a:gd name="T50" fmla="*/ 100 w 111"/>
                <a:gd name="T51" fmla="*/ 2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1" h="87">
                  <a:moveTo>
                    <a:pt x="100" y="26"/>
                  </a:moveTo>
                  <a:cubicBezTo>
                    <a:pt x="88" y="17"/>
                    <a:pt x="88" y="17"/>
                    <a:pt x="88" y="17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0"/>
                    <a:pt x="76" y="0"/>
                    <a:pt x="76" y="0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3" y="6"/>
                    <a:pt x="37" y="14"/>
                    <a:pt x="30" y="14"/>
                  </a:cubicBezTo>
                  <a:cubicBezTo>
                    <a:pt x="23" y="14"/>
                    <a:pt x="18" y="14"/>
                    <a:pt x="18" y="14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3" y="59"/>
                    <a:pt x="3" y="64"/>
                  </a:cubicBezTo>
                  <a:cubicBezTo>
                    <a:pt x="3" y="69"/>
                    <a:pt x="11" y="70"/>
                    <a:pt x="11" y="70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30" y="80"/>
                    <a:pt x="31" y="84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56" y="87"/>
                    <a:pt x="60" y="81"/>
                  </a:cubicBezTo>
                  <a:cubicBezTo>
                    <a:pt x="64" y="75"/>
                    <a:pt x="63" y="70"/>
                    <a:pt x="63" y="70"/>
                  </a:cubicBezTo>
                  <a:cubicBezTo>
                    <a:pt x="63" y="70"/>
                    <a:pt x="82" y="74"/>
                    <a:pt x="90" y="66"/>
                  </a:cubicBezTo>
                  <a:cubicBezTo>
                    <a:pt x="98" y="58"/>
                    <a:pt x="105" y="55"/>
                    <a:pt x="108" y="44"/>
                  </a:cubicBezTo>
                  <a:cubicBezTo>
                    <a:pt x="111" y="33"/>
                    <a:pt x="100" y="26"/>
                    <a:pt x="100" y="26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Freeform 247">
              <a:extLst>
                <a:ext uri="{FF2B5EF4-FFF2-40B4-BE49-F238E27FC236}">
                  <a16:creationId xmlns:a16="http://schemas.microsoft.com/office/drawing/2014/main" id="{DC3DFDF7-BC8D-63D3-0BE0-9BA6DF3DB4FE}"/>
                </a:ext>
              </a:extLst>
            </p:cNvPr>
            <p:cNvSpPr>
              <a:spLocks/>
            </p:cNvSpPr>
            <p:nvPr/>
          </p:nvSpPr>
          <p:spPr bwMode="gray">
            <a:xfrm>
              <a:off x="-3695" y="-16117"/>
              <a:ext cx="338" cy="373"/>
            </a:xfrm>
            <a:custGeom>
              <a:avLst/>
              <a:gdLst>
                <a:gd name="T0" fmla="*/ 0 w 143"/>
                <a:gd name="T1" fmla="*/ 11 h 158"/>
                <a:gd name="T2" fmla="*/ 24 w 143"/>
                <a:gd name="T3" fmla="*/ 30 h 158"/>
                <a:gd name="T4" fmla="*/ 23 w 143"/>
                <a:gd name="T5" fmla="*/ 40 h 158"/>
                <a:gd name="T6" fmla="*/ 38 w 143"/>
                <a:gd name="T7" fmla="*/ 49 h 158"/>
                <a:gd name="T8" fmla="*/ 44 w 143"/>
                <a:gd name="T9" fmla="*/ 63 h 158"/>
                <a:gd name="T10" fmla="*/ 52 w 143"/>
                <a:gd name="T11" fmla="*/ 64 h 158"/>
                <a:gd name="T12" fmla="*/ 54 w 143"/>
                <a:gd name="T13" fmla="*/ 74 h 158"/>
                <a:gd name="T14" fmla="*/ 71 w 143"/>
                <a:gd name="T15" fmla="*/ 84 h 158"/>
                <a:gd name="T16" fmla="*/ 69 w 143"/>
                <a:gd name="T17" fmla="*/ 106 h 158"/>
                <a:gd name="T18" fmla="*/ 74 w 143"/>
                <a:gd name="T19" fmla="*/ 109 h 158"/>
                <a:gd name="T20" fmla="*/ 67 w 143"/>
                <a:gd name="T21" fmla="*/ 129 h 158"/>
                <a:gd name="T22" fmla="*/ 73 w 143"/>
                <a:gd name="T23" fmla="*/ 143 h 158"/>
                <a:gd name="T24" fmla="*/ 75 w 143"/>
                <a:gd name="T25" fmla="*/ 158 h 158"/>
                <a:gd name="T26" fmla="*/ 92 w 143"/>
                <a:gd name="T27" fmla="*/ 155 h 158"/>
                <a:gd name="T28" fmla="*/ 88 w 143"/>
                <a:gd name="T29" fmla="*/ 141 h 158"/>
                <a:gd name="T30" fmla="*/ 104 w 143"/>
                <a:gd name="T31" fmla="*/ 129 h 158"/>
                <a:gd name="T32" fmla="*/ 113 w 143"/>
                <a:gd name="T33" fmla="*/ 120 h 158"/>
                <a:gd name="T34" fmla="*/ 97 w 143"/>
                <a:gd name="T35" fmla="*/ 106 h 158"/>
                <a:gd name="T36" fmla="*/ 113 w 143"/>
                <a:gd name="T37" fmla="*/ 102 h 158"/>
                <a:gd name="T38" fmla="*/ 126 w 143"/>
                <a:gd name="T39" fmla="*/ 109 h 158"/>
                <a:gd name="T40" fmla="*/ 143 w 143"/>
                <a:gd name="T41" fmla="*/ 104 h 158"/>
                <a:gd name="T42" fmla="*/ 141 w 143"/>
                <a:gd name="T43" fmla="*/ 83 h 158"/>
                <a:gd name="T44" fmla="*/ 120 w 143"/>
                <a:gd name="T45" fmla="*/ 77 h 158"/>
                <a:gd name="T46" fmla="*/ 122 w 143"/>
                <a:gd name="T47" fmla="*/ 61 h 158"/>
                <a:gd name="T48" fmla="*/ 117 w 143"/>
                <a:gd name="T49" fmla="*/ 56 h 158"/>
                <a:gd name="T50" fmla="*/ 105 w 143"/>
                <a:gd name="T51" fmla="*/ 58 h 158"/>
                <a:gd name="T52" fmla="*/ 105 w 143"/>
                <a:gd name="T53" fmla="*/ 43 h 158"/>
                <a:gd name="T54" fmla="*/ 103 w 143"/>
                <a:gd name="T55" fmla="*/ 26 h 158"/>
                <a:gd name="T56" fmla="*/ 83 w 143"/>
                <a:gd name="T57" fmla="*/ 24 h 158"/>
                <a:gd name="T58" fmla="*/ 78 w 143"/>
                <a:gd name="T59" fmla="*/ 13 h 158"/>
                <a:gd name="T60" fmla="*/ 57 w 143"/>
                <a:gd name="T61" fmla="*/ 12 h 158"/>
                <a:gd name="T62" fmla="*/ 52 w 143"/>
                <a:gd name="T63" fmla="*/ 7 h 158"/>
                <a:gd name="T64" fmla="*/ 48 w 143"/>
                <a:gd name="T65" fmla="*/ 9 h 158"/>
                <a:gd name="T66" fmla="*/ 33 w 143"/>
                <a:gd name="T67" fmla="*/ 1 h 158"/>
                <a:gd name="T68" fmla="*/ 18 w 143"/>
                <a:gd name="T69" fmla="*/ 8 h 158"/>
                <a:gd name="T70" fmla="*/ 2 w 143"/>
                <a:gd name="T71" fmla="*/ 3 h 158"/>
                <a:gd name="T72" fmla="*/ 0 w 143"/>
                <a:gd name="T73" fmla="*/ 11 h 158"/>
                <a:gd name="T74" fmla="*/ 0 w 143"/>
                <a:gd name="T75" fmla="*/ 1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3" h="158">
                  <a:moveTo>
                    <a:pt x="0" y="11"/>
                  </a:moveTo>
                  <a:cubicBezTo>
                    <a:pt x="17" y="14"/>
                    <a:pt x="24" y="30"/>
                    <a:pt x="24" y="3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4"/>
                    <a:pt x="70" y="75"/>
                    <a:pt x="71" y="84"/>
                  </a:cubicBezTo>
                  <a:cubicBezTo>
                    <a:pt x="72" y="93"/>
                    <a:pt x="69" y="106"/>
                    <a:pt x="69" y="106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67" y="122"/>
                    <a:pt x="67" y="129"/>
                  </a:cubicBezTo>
                  <a:cubicBezTo>
                    <a:pt x="67" y="136"/>
                    <a:pt x="73" y="143"/>
                    <a:pt x="73" y="143"/>
                  </a:cubicBezTo>
                  <a:cubicBezTo>
                    <a:pt x="73" y="143"/>
                    <a:pt x="72" y="151"/>
                    <a:pt x="75" y="158"/>
                  </a:cubicBezTo>
                  <a:cubicBezTo>
                    <a:pt x="92" y="155"/>
                    <a:pt x="92" y="155"/>
                    <a:pt x="92" y="155"/>
                  </a:cubicBezTo>
                  <a:cubicBezTo>
                    <a:pt x="92" y="155"/>
                    <a:pt x="88" y="145"/>
                    <a:pt x="88" y="141"/>
                  </a:cubicBezTo>
                  <a:cubicBezTo>
                    <a:pt x="88" y="137"/>
                    <a:pt x="104" y="129"/>
                    <a:pt x="104" y="129"/>
                  </a:cubicBezTo>
                  <a:cubicBezTo>
                    <a:pt x="113" y="120"/>
                    <a:pt x="113" y="120"/>
                    <a:pt x="113" y="120"/>
                  </a:cubicBezTo>
                  <a:cubicBezTo>
                    <a:pt x="113" y="120"/>
                    <a:pt x="98" y="110"/>
                    <a:pt x="97" y="106"/>
                  </a:cubicBezTo>
                  <a:cubicBezTo>
                    <a:pt x="96" y="102"/>
                    <a:pt x="113" y="102"/>
                    <a:pt x="113" y="102"/>
                  </a:cubicBezTo>
                  <a:cubicBezTo>
                    <a:pt x="113" y="102"/>
                    <a:pt x="119" y="110"/>
                    <a:pt x="126" y="109"/>
                  </a:cubicBezTo>
                  <a:cubicBezTo>
                    <a:pt x="133" y="108"/>
                    <a:pt x="143" y="104"/>
                    <a:pt x="143" y="104"/>
                  </a:cubicBezTo>
                  <a:cubicBezTo>
                    <a:pt x="143" y="104"/>
                    <a:pt x="142" y="90"/>
                    <a:pt x="141" y="83"/>
                  </a:cubicBezTo>
                  <a:cubicBezTo>
                    <a:pt x="140" y="76"/>
                    <a:pt x="127" y="79"/>
                    <a:pt x="120" y="77"/>
                  </a:cubicBezTo>
                  <a:cubicBezTo>
                    <a:pt x="113" y="75"/>
                    <a:pt x="122" y="61"/>
                    <a:pt x="122" y="61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08" y="58"/>
                    <a:pt x="105" y="58"/>
                  </a:cubicBezTo>
                  <a:cubicBezTo>
                    <a:pt x="102" y="58"/>
                    <a:pt x="105" y="43"/>
                    <a:pt x="105" y="43"/>
                  </a:cubicBezTo>
                  <a:cubicBezTo>
                    <a:pt x="105" y="43"/>
                    <a:pt x="114" y="34"/>
                    <a:pt x="103" y="26"/>
                  </a:cubicBezTo>
                  <a:cubicBezTo>
                    <a:pt x="92" y="18"/>
                    <a:pt x="83" y="24"/>
                    <a:pt x="83" y="24"/>
                  </a:cubicBezTo>
                  <a:cubicBezTo>
                    <a:pt x="83" y="24"/>
                    <a:pt x="83" y="17"/>
                    <a:pt x="78" y="13"/>
                  </a:cubicBezTo>
                  <a:cubicBezTo>
                    <a:pt x="73" y="9"/>
                    <a:pt x="66" y="12"/>
                    <a:pt x="57" y="12"/>
                  </a:cubicBezTo>
                  <a:cubicBezTo>
                    <a:pt x="48" y="12"/>
                    <a:pt x="52" y="7"/>
                    <a:pt x="52" y="7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2" y="0"/>
                    <a:pt x="33" y="1"/>
                  </a:cubicBezTo>
                  <a:cubicBezTo>
                    <a:pt x="24" y="2"/>
                    <a:pt x="24" y="7"/>
                    <a:pt x="18" y="8"/>
                  </a:cubicBezTo>
                  <a:cubicBezTo>
                    <a:pt x="12" y="9"/>
                    <a:pt x="2" y="3"/>
                    <a:pt x="2" y="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Freeform 248">
              <a:extLst>
                <a:ext uri="{FF2B5EF4-FFF2-40B4-BE49-F238E27FC236}">
                  <a16:creationId xmlns:a16="http://schemas.microsoft.com/office/drawing/2014/main" id="{1D0091E0-0E22-18AE-D96B-5F8373CD2F60}"/>
                </a:ext>
              </a:extLst>
            </p:cNvPr>
            <p:cNvSpPr>
              <a:spLocks/>
            </p:cNvSpPr>
            <p:nvPr/>
          </p:nvSpPr>
          <p:spPr bwMode="gray">
            <a:xfrm>
              <a:off x="-5412" y="-15975"/>
              <a:ext cx="35" cy="38"/>
            </a:xfrm>
            <a:custGeom>
              <a:avLst/>
              <a:gdLst>
                <a:gd name="T0" fmla="*/ 11 w 15"/>
                <a:gd name="T1" fmla="*/ 1 h 16"/>
                <a:gd name="T2" fmla="*/ 4 w 15"/>
                <a:gd name="T3" fmla="*/ 14 h 16"/>
                <a:gd name="T4" fmla="*/ 12 w 15"/>
                <a:gd name="T5" fmla="*/ 16 h 16"/>
                <a:gd name="T6" fmla="*/ 15 w 15"/>
                <a:gd name="T7" fmla="*/ 16 h 16"/>
                <a:gd name="T8" fmla="*/ 15 w 15"/>
                <a:gd name="T9" fmla="*/ 6 h 16"/>
                <a:gd name="T10" fmla="*/ 13 w 15"/>
                <a:gd name="T11" fmla="*/ 0 h 16"/>
                <a:gd name="T12" fmla="*/ 11 w 15"/>
                <a:gd name="T13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6">
                  <a:moveTo>
                    <a:pt x="11" y="1"/>
                  </a:moveTo>
                  <a:cubicBezTo>
                    <a:pt x="6" y="3"/>
                    <a:pt x="0" y="11"/>
                    <a:pt x="4" y="14"/>
                  </a:cubicBezTo>
                  <a:cubicBezTo>
                    <a:pt x="8" y="16"/>
                    <a:pt x="12" y="16"/>
                    <a:pt x="12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4"/>
                    <a:pt x="15" y="9"/>
                    <a:pt x="15" y="6"/>
                  </a:cubicBezTo>
                  <a:cubicBezTo>
                    <a:pt x="15" y="4"/>
                    <a:pt x="14" y="2"/>
                    <a:pt x="13" y="0"/>
                  </a:cubicBezTo>
                  <a:cubicBezTo>
                    <a:pt x="12" y="0"/>
                    <a:pt x="12" y="1"/>
                    <a:pt x="11" y="1"/>
                  </a:cubicBezTo>
                  <a:close/>
                </a:path>
              </a:pathLst>
            </a:custGeom>
            <a:grpFill/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Freeform 249">
              <a:extLst>
                <a:ext uri="{FF2B5EF4-FFF2-40B4-BE49-F238E27FC236}">
                  <a16:creationId xmlns:a16="http://schemas.microsoft.com/office/drawing/2014/main" id="{1052C261-C5C5-86B2-355A-058FEF166B0C}"/>
                </a:ext>
              </a:extLst>
            </p:cNvPr>
            <p:cNvSpPr>
              <a:spLocks/>
            </p:cNvSpPr>
            <p:nvPr/>
          </p:nvSpPr>
          <p:spPr bwMode="gray">
            <a:xfrm>
              <a:off x="-4316" y="-16098"/>
              <a:ext cx="971" cy="586"/>
            </a:xfrm>
            <a:custGeom>
              <a:avLst/>
              <a:gdLst>
                <a:gd name="T0" fmla="*/ 360 w 411"/>
                <a:gd name="T1" fmla="*/ 241 h 248"/>
                <a:gd name="T2" fmla="*/ 379 w 411"/>
                <a:gd name="T3" fmla="*/ 187 h 248"/>
                <a:gd name="T4" fmla="*/ 396 w 411"/>
                <a:gd name="T5" fmla="*/ 146 h 248"/>
                <a:gd name="T6" fmla="*/ 353 w 411"/>
                <a:gd name="T7" fmla="*/ 161 h 248"/>
                <a:gd name="T8" fmla="*/ 330 w 411"/>
                <a:gd name="T9" fmla="*/ 121 h 248"/>
                <a:gd name="T10" fmla="*/ 332 w 411"/>
                <a:gd name="T11" fmla="*/ 98 h 248"/>
                <a:gd name="T12" fmla="*/ 317 w 411"/>
                <a:gd name="T13" fmla="*/ 66 h 248"/>
                <a:gd name="T14" fmla="*/ 307 w 411"/>
                <a:gd name="T15" fmla="*/ 55 h 248"/>
                <a:gd name="T16" fmla="*/ 286 w 411"/>
                <a:gd name="T17" fmla="*/ 32 h 248"/>
                <a:gd name="T18" fmla="*/ 263 w 411"/>
                <a:gd name="T19" fmla="*/ 3 h 248"/>
                <a:gd name="T20" fmla="*/ 225 w 411"/>
                <a:gd name="T21" fmla="*/ 17 h 248"/>
                <a:gd name="T22" fmla="*/ 204 w 411"/>
                <a:gd name="T23" fmla="*/ 21 h 248"/>
                <a:gd name="T24" fmla="*/ 172 w 411"/>
                <a:gd name="T25" fmla="*/ 16 h 248"/>
                <a:gd name="T26" fmla="*/ 145 w 411"/>
                <a:gd name="T27" fmla="*/ 18 h 248"/>
                <a:gd name="T28" fmla="*/ 123 w 411"/>
                <a:gd name="T29" fmla="*/ 14 h 248"/>
                <a:gd name="T30" fmla="*/ 90 w 411"/>
                <a:gd name="T31" fmla="*/ 28 h 248"/>
                <a:gd name="T32" fmla="*/ 69 w 411"/>
                <a:gd name="T33" fmla="*/ 53 h 248"/>
                <a:gd name="T34" fmla="*/ 46 w 411"/>
                <a:gd name="T35" fmla="*/ 83 h 248"/>
                <a:gd name="T36" fmla="*/ 29 w 411"/>
                <a:gd name="T37" fmla="*/ 107 h 248"/>
                <a:gd name="T38" fmla="*/ 16 w 411"/>
                <a:gd name="T39" fmla="*/ 114 h 248"/>
                <a:gd name="T40" fmla="*/ 1 w 411"/>
                <a:gd name="T41" fmla="*/ 119 h 248"/>
                <a:gd name="T42" fmla="*/ 22 w 411"/>
                <a:gd name="T43" fmla="*/ 131 h 248"/>
                <a:gd name="T44" fmla="*/ 38 w 411"/>
                <a:gd name="T45" fmla="*/ 160 h 248"/>
                <a:gd name="T46" fmla="*/ 51 w 411"/>
                <a:gd name="T47" fmla="*/ 177 h 248"/>
                <a:gd name="T48" fmla="*/ 72 w 411"/>
                <a:gd name="T49" fmla="*/ 190 h 248"/>
                <a:gd name="T50" fmla="*/ 94 w 411"/>
                <a:gd name="T51" fmla="*/ 190 h 248"/>
                <a:gd name="T52" fmla="*/ 107 w 411"/>
                <a:gd name="T53" fmla="*/ 200 h 248"/>
                <a:gd name="T54" fmla="*/ 107 w 411"/>
                <a:gd name="T55" fmla="*/ 212 h 248"/>
                <a:gd name="T56" fmla="*/ 113 w 411"/>
                <a:gd name="T57" fmla="*/ 219 h 248"/>
                <a:gd name="T58" fmla="*/ 118 w 411"/>
                <a:gd name="T59" fmla="*/ 236 h 248"/>
                <a:gd name="T60" fmla="*/ 142 w 411"/>
                <a:gd name="T61" fmla="*/ 232 h 248"/>
                <a:gd name="T62" fmla="*/ 180 w 411"/>
                <a:gd name="T63" fmla="*/ 244 h 248"/>
                <a:gd name="T64" fmla="*/ 201 w 411"/>
                <a:gd name="T65" fmla="*/ 240 h 248"/>
                <a:gd name="T66" fmla="*/ 236 w 411"/>
                <a:gd name="T67" fmla="*/ 247 h 248"/>
                <a:gd name="T68" fmla="*/ 266 w 411"/>
                <a:gd name="T69" fmla="*/ 229 h 248"/>
                <a:gd name="T70" fmla="*/ 284 w 411"/>
                <a:gd name="T71" fmla="*/ 226 h 248"/>
                <a:gd name="T72" fmla="*/ 315 w 411"/>
                <a:gd name="T73" fmla="*/ 228 h 248"/>
                <a:gd name="T74" fmla="*/ 341 w 411"/>
                <a:gd name="T75" fmla="*/ 24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11" h="248">
                  <a:moveTo>
                    <a:pt x="341" y="240"/>
                  </a:moveTo>
                  <a:cubicBezTo>
                    <a:pt x="344" y="242"/>
                    <a:pt x="353" y="242"/>
                    <a:pt x="360" y="241"/>
                  </a:cubicBezTo>
                  <a:cubicBezTo>
                    <a:pt x="358" y="230"/>
                    <a:pt x="359" y="216"/>
                    <a:pt x="364" y="209"/>
                  </a:cubicBezTo>
                  <a:cubicBezTo>
                    <a:pt x="373" y="197"/>
                    <a:pt x="379" y="187"/>
                    <a:pt x="379" y="187"/>
                  </a:cubicBezTo>
                  <a:cubicBezTo>
                    <a:pt x="379" y="187"/>
                    <a:pt x="411" y="197"/>
                    <a:pt x="407" y="174"/>
                  </a:cubicBezTo>
                  <a:cubicBezTo>
                    <a:pt x="404" y="158"/>
                    <a:pt x="399" y="149"/>
                    <a:pt x="396" y="146"/>
                  </a:cubicBezTo>
                  <a:cubicBezTo>
                    <a:pt x="395" y="148"/>
                    <a:pt x="391" y="152"/>
                    <a:pt x="382" y="151"/>
                  </a:cubicBezTo>
                  <a:cubicBezTo>
                    <a:pt x="370" y="150"/>
                    <a:pt x="374" y="164"/>
                    <a:pt x="353" y="161"/>
                  </a:cubicBezTo>
                  <a:cubicBezTo>
                    <a:pt x="332" y="158"/>
                    <a:pt x="336" y="135"/>
                    <a:pt x="336" y="135"/>
                  </a:cubicBezTo>
                  <a:cubicBezTo>
                    <a:pt x="336" y="135"/>
                    <a:pt x="330" y="128"/>
                    <a:pt x="330" y="121"/>
                  </a:cubicBezTo>
                  <a:cubicBezTo>
                    <a:pt x="330" y="114"/>
                    <a:pt x="337" y="101"/>
                    <a:pt x="337" y="101"/>
                  </a:cubicBezTo>
                  <a:cubicBezTo>
                    <a:pt x="332" y="98"/>
                    <a:pt x="332" y="98"/>
                    <a:pt x="332" y="98"/>
                  </a:cubicBezTo>
                  <a:cubicBezTo>
                    <a:pt x="332" y="98"/>
                    <a:pt x="335" y="85"/>
                    <a:pt x="334" y="76"/>
                  </a:cubicBezTo>
                  <a:cubicBezTo>
                    <a:pt x="333" y="67"/>
                    <a:pt x="317" y="66"/>
                    <a:pt x="317" y="66"/>
                  </a:cubicBezTo>
                  <a:cubicBezTo>
                    <a:pt x="315" y="56"/>
                    <a:pt x="315" y="56"/>
                    <a:pt x="315" y="56"/>
                  </a:cubicBezTo>
                  <a:cubicBezTo>
                    <a:pt x="307" y="55"/>
                    <a:pt x="307" y="55"/>
                    <a:pt x="307" y="55"/>
                  </a:cubicBezTo>
                  <a:cubicBezTo>
                    <a:pt x="301" y="41"/>
                    <a:pt x="301" y="41"/>
                    <a:pt x="301" y="41"/>
                  </a:cubicBezTo>
                  <a:cubicBezTo>
                    <a:pt x="286" y="32"/>
                    <a:pt x="286" y="32"/>
                    <a:pt x="286" y="32"/>
                  </a:cubicBezTo>
                  <a:cubicBezTo>
                    <a:pt x="287" y="22"/>
                    <a:pt x="287" y="22"/>
                    <a:pt x="287" y="22"/>
                  </a:cubicBezTo>
                  <a:cubicBezTo>
                    <a:pt x="287" y="22"/>
                    <a:pt x="280" y="6"/>
                    <a:pt x="263" y="3"/>
                  </a:cubicBezTo>
                  <a:cubicBezTo>
                    <a:pt x="246" y="0"/>
                    <a:pt x="248" y="18"/>
                    <a:pt x="238" y="18"/>
                  </a:cubicBezTo>
                  <a:cubicBezTo>
                    <a:pt x="228" y="18"/>
                    <a:pt x="225" y="17"/>
                    <a:pt x="225" y="17"/>
                  </a:cubicBezTo>
                  <a:cubicBezTo>
                    <a:pt x="221" y="24"/>
                    <a:pt x="221" y="24"/>
                    <a:pt x="221" y="24"/>
                  </a:cubicBezTo>
                  <a:cubicBezTo>
                    <a:pt x="204" y="21"/>
                    <a:pt x="204" y="21"/>
                    <a:pt x="204" y="21"/>
                  </a:cubicBezTo>
                  <a:cubicBezTo>
                    <a:pt x="204" y="21"/>
                    <a:pt x="204" y="30"/>
                    <a:pt x="194" y="33"/>
                  </a:cubicBezTo>
                  <a:cubicBezTo>
                    <a:pt x="184" y="36"/>
                    <a:pt x="178" y="17"/>
                    <a:pt x="172" y="16"/>
                  </a:cubicBezTo>
                  <a:cubicBezTo>
                    <a:pt x="166" y="15"/>
                    <a:pt x="151" y="23"/>
                    <a:pt x="151" y="23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29" y="21"/>
                    <a:pt x="127" y="14"/>
                    <a:pt x="123" y="14"/>
                  </a:cubicBezTo>
                  <a:cubicBezTo>
                    <a:pt x="119" y="14"/>
                    <a:pt x="110" y="14"/>
                    <a:pt x="110" y="14"/>
                  </a:cubicBezTo>
                  <a:cubicBezTo>
                    <a:pt x="110" y="14"/>
                    <a:pt x="100" y="27"/>
                    <a:pt x="90" y="28"/>
                  </a:cubicBezTo>
                  <a:cubicBezTo>
                    <a:pt x="80" y="29"/>
                    <a:pt x="71" y="29"/>
                    <a:pt x="70" y="35"/>
                  </a:cubicBezTo>
                  <a:cubicBezTo>
                    <a:pt x="69" y="41"/>
                    <a:pt x="69" y="53"/>
                    <a:pt x="69" y="53"/>
                  </a:cubicBezTo>
                  <a:cubicBezTo>
                    <a:pt x="69" y="53"/>
                    <a:pt x="72" y="65"/>
                    <a:pt x="62" y="70"/>
                  </a:cubicBezTo>
                  <a:cubicBezTo>
                    <a:pt x="52" y="75"/>
                    <a:pt x="46" y="83"/>
                    <a:pt x="46" y="83"/>
                  </a:cubicBezTo>
                  <a:cubicBezTo>
                    <a:pt x="46" y="83"/>
                    <a:pt x="51" y="91"/>
                    <a:pt x="45" y="97"/>
                  </a:cubicBezTo>
                  <a:cubicBezTo>
                    <a:pt x="39" y="103"/>
                    <a:pt x="29" y="107"/>
                    <a:pt x="29" y="107"/>
                  </a:cubicBezTo>
                  <a:cubicBezTo>
                    <a:pt x="18" y="105"/>
                    <a:pt x="18" y="105"/>
                    <a:pt x="18" y="105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1" y="119"/>
                    <a:pt x="1" y="119"/>
                    <a:pt x="1" y="119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22" y="131"/>
                    <a:pt x="22" y="131"/>
                    <a:pt x="22" y="131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4"/>
                    <a:pt x="36" y="165"/>
                    <a:pt x="38" y="160"/>
                  </a:cubicBezTo>
                  <a:cubicBezTo>
                    <a:pt x="40" y="155"/>
                    <a:pt x="52" y="156"/>
                    <a:pt x="54" y="162"/>
                  </a:cubicBezTo>
                  <a:cubicBezTo>
                    <a:pt x="56" y="168"/>
                    <a:pt x="51" y="177"/>
                    <a:pt x="51" y="177"/>
                  </a:cubicBezTo>
                  <a:cubicBezTo>
                    <a:pt x="56" y="188"/>
                    <a:pt x="56" y="188"/>
                    <a:pt x="56" y="188"/>
                  </a:cubicBezTo>
                  <a:cubicBezTo>
                    <a:pt x="72" y="190"/>
                    <a:pt x="72" y="190"/>
                    <a:pt x="72" y="190"/>
                  </a:cubicBezTo>
                  <a:cubicBezTo>
                    <a:pt x="78" y="197"/>
                    <a:pt x="78" y="197"/>
                    <a:pt x="78" y="197"/>
                  </a:cubicBezTo>
                  <a:cubicBezTo>
                    <a:pt x="94" y="190"/>
                    <a:pt x="94" y="190"/>
                    <a:pt x="94" y="190"/>
                  </a:cubicBezTo>
                  <a:cubicBezTo>
                    <a:pt x="110" y="194"/>
                    <a:pt x="110" y="194"/>
                    <a:pt x="110" y="194"/>
                  </a:cubicBezTo>
                  <a:cubicBezTo>
                    <a:pt x="107" y="200"/>
                    <a:pt x="107" y="200"/>
                    <a:pt x="107" y="200"/>
                  </a:cubicBezTo>
                  <a:cubicBezTo>
                    <a:pt x="100" y="208"/>
                    <a:pt x="100" y="208"/>
                    <a:pt x="100" y="208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6" y="218"/>
                    <a:pt x="106" y="218"/>
                    <a:pt x="106" y="218"/>
                  </a:cubicBezTo>
                  <a:cubicBezTo>
                    <a:pt x="113" y="219"/>
                    <a:pt x="113" y="219"/>
                    <a:pt x="113" y="219"/>
                  </a:cubicBezTo>
                  <a:cubicBezTo>
                    <a:pt x="113" y="219"/>
                    <a:pt x="123" y="219"/>
                    <a:pt x="125" y="223"/>
                  </a:cubicBezTo>
                  <a:cubicBezTo>
                    <a:pt x="127" y="227"/>
                    <a:pt x="118" y="232"/>
                    <a:pt x="118" y="236"/>
                  </a:cubicBezTo>
                  <a:cubicBezTo>
                    <a:pt x="118" y="240"/>
                    <a:pt x="135" y="239"/>
                    <a:pt x="135" y="239"/>
                  </a:cubicBezTo>
                  <a:cubicBezTo>
                    <a:pt x="142" y="232"/>
                    <a:pt x="142" y="232"/>
                    <a:pt x="142" y="232"/>
                  </a:cubicBezTo>
                  <a:cubicBezTo>
                    <a:pt x="158" y="239"/>
                    <a:pt x="158" y="239"/>
                    <a:pt x="158" y="239"/>
                  </a:cubicBezTo>
                  <a:cubicBezTo>
                    <a:pt x="158" y="239"/>
                    <a:pt x="167" y="244"/>
                    <a:pt x="180" y="244"/>
                  </a:cubicBezTo>
                  <a:cubicBezTo>
                    <a:pt x="193" y="244"/>
                    <a:pt x="188" y="235"/>
                    <a:pt x="188" y="235"/>
                  </a:cubicBezTo>
                  <a:cubicBezTo>
                    <a:pt x="201" y="240"/>
                    <a:pt x="201" y="240"/>
                    <a:pt x="201" y="240"/>
                  </a:cubicBezTo>
                  <a:cubicBezTo>
                    <a:pt x="214" y="241"/>
                    <a:pt x="214" y="241"/>
                    <a:pt x="214" y="241"/>
                  </a:cubicBezTo>
                  <a:cubicBezTo>
                    <a:pt x="214" y="241"/>
                    <a:pt x="225" y="246"/>
                    <a:pt x="236" y="247"/>
                  </a:cubicBezTo>
                  <a:cubicBezTo>
                    <a:pt x="247" y="248"/>
                    <a:pt x="246" y="232"/>
                    <a:pt x="253" y="230"/>
                  </a:cubicBezTo>
                  <a:cubicBezTo>
                    <a:pt x="260" y="228"/>
                    <a:pt x="266" y="229"/>
                    <a:pt x="266" y="229"/>
                  </a:cubicBezTo>
                  <a:cubicBezTo>
                    <a:pt x="265" y="224"/>
                    <a:pt x="265" y="224"/>
                    <a:pt x="265" y="224"/>
                  </a:cubicBezTo>
                  <a:cubicBezTo>
                    <a:pt x="284" y="226"/>
                    <a:pt x="284" y="226"/>
                    <a:pt x="284" y="226"/>
                  </a:cubicBezTo>
                  <a:cubicBezTo>
                    <a:pt x="284" y="226"/>
                    <a:pt x="281" y="220"/>
                    <a:pt x="290" y="220"/>
                  </a:cubicBezTo>
                  <a:cubicBezTo>
                    <a:pt x="299" y="220"/>
                    <a:pt x="306" y="228"/>
                    <a:pt x="315" y="228"/>
                  </a:cubicBezTo>
                  <a:cubicBezTo>
                    <a:pt x="324" y="228"/>
                    <a:pt x="333" y="230"/>
                    <a:pt x="333" y="230"/>
                  </a:cubicBezTo>
                  <a:cubicBezTo>
                    <a:pt x="333" y="230"/>
                    <a:pt x="336" y="237"/>
                    <a:pt x="341" y="24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Freeform 250">
              <a:extLst>
                <a:ext uri="{FF2B5EF4-FFF2-40B4-BE49-F238E27FC236}">
                  <a16:creationId xmlns:a16="http://schemas.microsoft.com/office/drawing/2014/main" id="{81AAC9B8-B8AE-A9BD-E7BB-DDB009981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-4782" y="-15720"/>
              <a:ext cx="409" cy="361"/>
            </a:xfrm>
            <a:custGeom>
              <a:avLst/>
              <a:gdLst>
                <a:gd name="T0" fmla="*/ 162 w 173"/>
                <a:gd name="T1" fmla="*/ 51 h 153"/>
                <a:gd name="T2" fmla="*/ 151 w 173"/>
                <a:gd name="T3" fmla="*/ 52 h 153"/>
                <a:gd name="T4" fmla="*/ 151 w 173"/>
                <a:gd name="T5" fmla="*/ 41 h 153"/>
                <a:gd name="T6" fmla="*/ 163 w 173"/>
                <a:gd name="T7" fmla="*/ 22 h 153"/>
                <a:gd name="T8" fmla="*/ 144 w 173"/>
                <a:gd name="T9" fmla="*/ 23 h 153"/>
                <a:gd name="T10" fmla="*/ 141 w 173"/>
                <a:gd name="T11" fmla="*/ 18 h 153"/>
                <a:gd name="T12" fmla="*/ 136 w 173"/>
                <a:gd name="T13" fmla="*/ 19 h 153"/>
                <a:gd name="T14" fmla="*/ 126 w 173"/>
                <a:gd name="T15" fmla="*/ 8 h 153"/>
                <a:gd name="T16" fmla="*/ 109 w 173"/>
                <a:gd name="T17" fmla="*/ 7 h 153"/>
                <a:gd name="T18" fmla="*/ 93 w 173"/>
                <a:gd name="T19" fmla="*/ 8 h 153"/>
                <a:gd name="T20" fmla="*/ 80 w 173"/>
                <a:gd name="T21" fmla="*/ 5 h 153"/>
                <a:gd name="T22" fmla="*/ 71 w 173"/>
                <a:gd name="T23" fmla="*/ 9 h 153"/>
                <a:gd name="T24" fmla="*/ 58 w 173"/>
                <a:gd name="T25" fmla="*/ 2 h 153"/>
                <a:gd name="T26" fmla="*/ 43 w 173"/>
                <a:gd name="T27" fmla="*/ 4 h 153"/>
                <a:gd name="T28" fmla="*/ 28 w 173"/>
                <a:gd name="T29" fmla="*/ 8 h 153"/>
                <a:gd name="T30" fmla="*/ 12 w 173"/>
                <a:gd name="T31" fmla="*/ 1 h 153"/>
                <a:gd name="T32" fmla="*/ 9 w 173"/>
                <a:gd name="T33" fmla="*/ 15 h 153"/>
                <a:gd name="T34" fmla="*/ 0 w 173"/>
                <a:gd name="T35" fmla="*/ 20 h 153"/>
                <a:gd name="T36" fmla="*/ 7 w 173"/>
                <a:gd name="T37" fmla="*/ 27 h 153"/>
                <a:gd name="T38" fmla="*/ 19 w 173"/>
                <a:gd name="T39" fmla="*/ 30 h 153"/>
                <a:gd name="T40" fmla="*/ 18 w 173"/>
                <a:gd name="T41" fmla="*/ 39 h 153"/>
                <a:gd name="T42" fmla="*/ 26 w 173"/>
                <a:gd name="T43" fmla="*/ 43 h 153"/>
                <a:gd name="T44" fmla="*/ 26 w 173"/>
                <a:gd name="T45" fmla="*/ 57 h 153"/>
                <a:gd name="T46" fmla="*/ 37 w 173"/>
                <a:gd name="T47" fmla="*/ 60 h 153"/>
                <a:gd name="T48" fmla="*/ 47 w 173"/>
                <a:gd name="T49" fmla="*/ 80 h 153"/>
                <a:gd name="T50" fmla="*/ 75 w 173"/>
                <a:gd name="T51" fmla="*/ 99 h 153"/>
                <a:gd name="T52" fmla="*/ 81 w 173"/>
                <a:gd name="T53" fmla="*/ 120 h 153"/>
                <a:gd name="T54" fmla="*/ 89 w 173"/>
                <a:gd name="T55" fmla="*/ 121 h 153"/>
                <a:gd name="T56" fmla="*/ 125 w 173"/>
                <a:gd name="T57" fmla="*/ 153 h 153"/>
                <a:gd name="T58" fmla="*/ 138 w 173"/>
                <a:gd name="T59" fmla="*/ 137 h 153"/>
                <a:gd name="T60" fmla="*/ 124 w 173"/>
                <a:gd name="T61" fmla="*/ 128 h 153"/>
                <a:gd name="T62" fmla="*/ 125 w 173"/>
                <a:gd name="T63" fmla="*/ 118 h 153"/>
                <a:gd name="T64" fmla="*/ 130 w 173"/>
                <a:gd name="T65" fmla="*/ 118 h 153"/>
                <a:gd name="T66" fmla="*/ 139 w 173"/>
                <a:gd name="T67" fmla="*/ 103 h 153"/>
                <a:gd name="T68" fmla="*/ 150 w 173"/>
                <a:gd name="T69" fmla="*/ 104 h 153"/>
                <a:gd name="T70" fmla="*/ 150 w 173"/>
                <a:gd name="T71" fmla="*/ 89 h 153"/>
                <a:gd name="T72" fmla="*/ 171 w 173"/>
                <a:gd name="T73" fmla="*/ 86 h 153"/>
                <a:gd name="T74" fmla="*/ 159 w 173"/>
                <a:gd name="T75" fmla="*/ 66 h 153"/>
                <a:gd name="T76" fmla="*/ 173 w 173"/>
                <a:gd name="T77" fmla="*/ 64 h 153"/>
                <a:gd name="T78" fmla="*/ 162 w 173"/>
                <a:gd name="T79" fmla="*/ 5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3" h="153">
                  <a:moveTo>
                    <a:pt x="162" y="51"/>
                  </a:moveTo>
                  <a:cubicBezTo>
                    <a:pt x="155" y="49"/>
                    <a:pt x="151" y="52"/>
                    <a:pt x="151" y="52"/>
                  </a:cubicBezTo>
                  <a:cubicBezTo>
                    <a:pt x="151" y="41"/>
                    <a:pt x="151" y="41"/>
                    <a:pt x="151" y="41"/>
                  </a:cubicBezTo>
                  <a:cubicBezTo>
                    <a:pt x="151" y="41"/>
                    <a:pt x="163" y="27"/>
                    <a:pt x="163" y="22"/>
                  </a:cubicBezTo>
                  <a:cubicBezTo>
                    <a:pt x="163" y="17"/>
                    <a:pt x="144" y="23"/>
                    <a:pt x="144" y="23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8"/>
                    <a:pt x="115" y="8"/>
                    <a:pt x="109" y="7"/>
                  </a:cubicBezTo>
                  <a:cubicBezTo>
                    <a:pt x="103" y="6"/>
                    <a:pt x="96" y="8"/>
                    <a:pt x="93" y="8"/>
                  </a:cubicBezTo>
                  <a:cubicBezTo>
                    <a:pt x="90" y="8"/>
                    <a:pt x="80" y="5"/>
                    <a:pt x="80" y="5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8"/>
                    <a:pt x="16" y="0"/>
                    <a:pt x="12" y="1"/>
                  </a:cubicBezTo>
                  <a:cubicBezTo>
                    <a:pt x="8" y="2"/>
                    <a:pt x="9" y="15"/>
                    <a:pt x="9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23" y="39"/>
                    <a:pt x="26" y="43"/>
                  </a:cubicBezTo>
                  <a:cubicBezTo>
                    <a:pt x="29" y="47"/>
                    <a:pt x="26" y="57"/>
                    <a:pt x="26" y="57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51" y="84"/>
                    <a:pt x="75" y="99"/>
                  </a:cubicBezTo>
                  <a:cubicBezTo>
                    <a:pt x="90" y="108"/>
                    <a:pt x="86" y="116"/>
                    <a:pt x="81" y="120"/>
                  </a:cubicBezTo>
                  <a:cubicBezTo>
                    <a:pt x="89" y="121"/>
                    <a:pt x="89" y="121"/>
                    <a:pt x="89" y="121"/>
                  </a:cubicBezTo>
                  <a:cubicBezTo>
                    <a:pt x="89" y="121"/>
                    <a:pt x="116" y="148"/>
                    <a:pt x="125" y="153"/>
                  </a:cubicBezTo>
                  <a:cubicBezTo>
                    <a:pt x="138" y="137"/>
                    <a:pt x="138" y="137"/>
                    <a:pt x="138" y="137"/>
                  </a:cubicBezTo>
                  <a:cubicBezTo>
                    <a:pt x="138" y="137"/>
                    <a:pt x="127" y="131"/>
                    <a:pt x="124" y="128"/>
                  </a:cubicBezTo>
                  <a:cubicBezTo>
                    <a:pt x="121" y="125"/>
                    <a:pt x="125" y="118"/>
                    <a:pt x="125" y="118"/>
                  </a:cubicBezTo>
                  <a:cubicBezTo>
                    <a:pt x="130" y="118"/>
                    <a:pt x="130" y="118"/>
                    <a:pt x="130" y="118"/>
                  </a:cubicBezTo>
                  <a:cubicBezTo>
                    <a:pt x="130" y="118"/>
                    <a:pt x="136" y="107"/>
                    <a:pt x="139" y="103"/>
                  </a:cubicBezTo>
                  <a:cubicBezTo>
                    <a:pt x="142" y="99"/>
                    <a:pt x="150" y="104"/>
                    <a:pt x="150" y="104"/>
                  </a:cubicBezTo>
                  <a:cubicBezTo>
                    <a:pt x="150" y="89"/>
                    <a:pt x="150" y="89"/>
                    <a:pt x="150" y="89"/>
                  </a:cubicBezTo>
                  <a:cubicBezTo>
                    <a:pt x="150" y="89"/>
                    <a:pt x="169" y="93"/>
                    <a:pt x="171" y="86"/>
                  </a:cubicBezTo>
                  <a:cubicBezTo>
                    <a:pt x="173" y="79"/>
                    <a:pt x="159" y="66"/>
                    <a:pt x="159" y="66"/>
                  </a:cubicBezTo>
                  <a:cubicBezTo>
                    <a:pt x="173" y="64"/>
                    <a:pt x="173" y="64"/>
                    <a:pt x="173" y="64"/>
                  </a:cubicBezTo>
                  <a:cubicBezTo>
                    <a:pt x="173" y="64"/>
                    <a:pt x="169" y="53"/>
                    <a:pt x="162" y="51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Freeform 251">
              <a:extLst>
                <a:ext uri="{FF2B5EF4-FFF2-40B4-BE49-F238E27FC236}">
                  <a16:creationId xmlns:a16="http://schemas.microsoft.com/office/drawing/2014/main" id="{C275268D-11D0-BDAD-7DC5-DB299D155B49}"/>
                </a:ext>
              </a:extLst>
            </p:cNvPr>
            <p:cNvSpPr>
              <a:spLocks/>
            </p:cNvSpPr>
            <p:nvPr/>
          </p:nvSpPr>
          <p:spPr bwMode="gray">
            <a:xfrm>
              <a:off x="-4980" y="-15876"/>
              <a:ext cx="581" cy="439"/>
            </a:xfrm>
            <a:custGeom>
              <a:avLst/>
              <a:gdLst>
                <a:gd name="T0" fmla="*/ 232 w 246"/>
                <a:gd name="T1" fmla="*/ 77 h 186"/>
                <a:gd name="T2" fmla="*/ 228 w 246"/>
                <a:gd name="T3" fmla="*/ 65 h 186"/>
                <a:gd name="T4" fmla="*/ 226 w 246"/>
                <a:gd name="T5" fmla="*/ 52 h 186"/>
                <a:gd name="T6" fmla="*/ 217 w 246"/>
                <a:gd name="T7" fmla="*/ 32 h 186"/>
                <a:gd name="T8" fmla="*/ 183 w 246"/>
                <a:gd name="T9" fmla="*/ 41 h 186"/>
                <a:gd name="T10" fmla="*/ 168 w 246"/>
                <a:gd name="T11" fmla="*/ 34 h 186"/>
                <a:gd name="T12" fmla="*/ 139 w 246"/>
                <a:gd name="T13" fmla="*/ 13 h 186"/>
                <a:gd name="T14" fmla="*/ 112 w 246"/>
                <a:gd name="T15" fmla="*/ 2 h 186"/>
                <a:gd name="T16" fmla="*/ 93 w 246"/>
                <a:gd name="T17" fmla="*/ 14 h 186"/>
                <a:gd name="T18" fmla="*/ 87 w 246"/>
                <a:gd name="T19" fmla="*/ 31 h 186"/>
                <a:gd name="T20" fmla="*/ 70 w 246"/>
                <a:gd name="T21" fmla="*/ 40 h 186"/>
                <a:gd name="T22" fmla="*/ 59 w 246"/>
                <a:gd name="T23" fmla="*/ 53 h 186"/>
                <a:gd name="T24" fmla="*/ 40 w 246"/>
                <a:gd name="T25" fmla="*/ 45 h 186"/>
                <a:gd name="T26" fmla="*/ 22 w 246"/>
                <a:gd name="T27" fmla="*/ 54 h 186"/>
                <a:gd name="T28" fmla="*/ 14 w 246"/>
                <a:gd name="T29" fmla="*/ 57 h 186"/>
                <a:gd name="T30" fmla="*/ 1 w 246"/>
                <a:gd name="T31" fmla="*/ 67 h 186"/>
                <a:gd name="T32" fmla="*/ 31 w 246"/>
                <a:gd name="T33" fmla="*/ 70 h 186"/>
                <a:gd name="T34" fmla="*/ 54 w 246"/>
                <a:gd name="T35" fmla="*/ 87 h 186"/>
                <a:gd name="T36" fmla="*/ 68 w 246"/>
                <a:gd name="T37" fmla="*/ 123 h 186"/>
                <a:gd name="T38" fmla="*/ 98 w 246"/>
                <a:gd name="T39" fmla="*/ 161 h 186"/>
                <a:gd name="T40" fmla="*/ 146 w 246"/>
                <a:gd name="T41" fmla="*/ 171 h 186"/>
                <a:gd name="T42" fmla="*/ 165 w 246"/>
                <a:gd name="T43" fmla="*/ 186 h 186"/>
                <a:gd name="T44" fmla="*/ 131 w 246"/>
                <a:gd name="T45" fmla="*/ 146 h 186"/>
                <a:gd name="T46" fmla="*/ 110 w 246"/>
                <a:gd name="T47" fmla="*/ 123 h 186"/>
                <a:gd name="T48" fmla="*/ 102 w 246"/>
                <a:gd name="T49" fmla="*/ 105 h 186"/>
                <a:gd name="T50" fmla="*/ 91 w 246"/>
                <a:gd name="T51" fmla="*/ 93 h 186"/>
                <a:gd name="T52" fmla="*/ 93 w 246"/>
                <a:gd name="T53" fmla="*/ 81 h 186"/>
                <a:gd name="T54" fmla="*/ 112 w 246"/>
                <a:gd name="T55" fmla="*/ 74 h 186"/>
                <a:gd name="T56" fmla="*/ 142 w 246"/>
                <a:gd name="T57" fmla="*/ 68 h 186"/>
                <a:gd name="T58" fmla="*/ 164 w 246"/>
                <a:gd name="T59" fmla="*/ 71 h 186"/>
                <a:gd name="T60" fmla="*/ 193 w 246"/>
                <a:gd name="T61" fmla="*/ 73 h 186"/>
                <a:gd name="T62" fmla="*/ 220 w 246"/>
                <a:gd name="T63" fmla="*/ 85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6" h="186">
                  <a:moveTo>
                    <a:pt x="230" y="84"/>
                  </a:moveTo>
                  <a:cubicBezTo>
                    <a:pt x="232" y="77"/>
                    <a:pt x="232" y="77"/>
                    <a:pt x="232" y="77"/>
                  </a:cubicBezTo>
                  <a:cubicBezTo>
                    <a:pt x="232" y="77"/>
                    <a:pt x="246" y="74"/>
                    <a:pt x="245" y="71"/>
                  </a:cubicBezTo>
                  <a:cubicBezTo>
                    <a:pt x="244" y="68"/>
                    <a:pt x="228" y="65"/>
                    <a:pt x="228" y="65"/>
                  </a:cubicBezTo>
                  <a:cubicBezTo>
                    <a:pt x="231" y="53"/>
                    <a:pt x="231" y="53"/>
                    <a:pt x="231" y="53"/>
                  </a:cubicBezTo>
                  <a:cubicBezTo>
                    <a:pt x="226" y="52"/>
                    <a:pt x="226" y="52"/>
                    <a:pt x="226" y="52"/>
                  </a:cubicBezTo>
                  <a:cubicBezTo>
                    <a:pt x="222" y="34"/>
                    <a:pt x="222" y="34"/>
                    <a:pt x="222" y="34"/>
                  </a:cubicBezTo>
                  <a:cubicBezTo>
                    <a:pt x="217" y="32"/>
                    <a:pt x="217" y="32"/>
                    <a:pt x="217" y="32"/>
                  </a:cubicBezTo>
                  <a:cubicBezTo>
                    <a:pt x="211" y="38"/>
                    <a:pt x="211" y="38"/>
                    <a:pt x="211" y="38"/>
                  </a:cubicBezTo>
                  <a:cubicBezTo>
                    <a:pt x="183" y="41"/>
                    <a:pt x="183" y="41"/>
                    <a:pt x="183" y="41"/>
                  </a:cubicBezTo>
                  <a:cubicBezTo>
                    <a:pt x="180" y="34"/>
                    <a:pt x="180" y="34"/>
                    <a:pt x="180" y="34"/>
                  </a:cubicBezTo>
                  <a:cubicBezTo>
                    <a:pt x="168" y="34"/>
                    <a:pt x="168" y="34"/>
                    <a:pt x="168" y="34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30"/>
                    <a:pt x="141" y="16"/>
                    <a:pt x="139" y="13"/>
                  </a:cubicBezTo>
                  <a:cubicBezTo>
                    <a:pt x="137" y="10"/>
                    <a:pt x="125" y="0"/>
                    <a:pt x="125" y="0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2" y="2"/>
                    <a:pt x="115" y="6"/>
                    <a:pt x="109" y="10"/>
                  </a:cubicBezTo>
                  <a:cubicBezTo>
                    <a:pt x="103" y="14"/>
                    <a:pt x="93" y="14"/>
                    <a:pt x="93" y="14"/>
                  </a:cubicBezTo>
                  <a:cubicBezTo>
                    <a:pt x="93" y="14"/>
                    <a:pt x="84" y="14"/>
                    <a:pt x="84" y="18"/>
                  </a:cubicBezTo>
                  <a:cubicBezTo>
                    <a:pt x="84" y="22"/>
                    <a:pt x="87" y="31"/>
                    <a:pt x="87" y="31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4" y="51"/>
                    <a:pt x="69" y="53"/>
                  </a:cubicBezTo>
                  <a:cubicBezTo>
                    <a:pt x="64" y="55"/>
                    <a:pt x="59" y="53"/>
                    <a:pt x="59" y="53"/>
                  </a:cubicBezTo>
                  <a:cubicBezTo>
                    <a:pt x="59" y="53"/>
                    <a:pt x="52" y="54"/>
                    <a:pt x="46" y="53"/>
                  </a:cubicBezTo>
                  <a:cubicBezTo>
                    <a:pt x="40" y="52"/>
                    <a:pt x="40" y="45"/>
                    <a:pt x="40" y="45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3" y="62"/>
                    <a:pt x="1" y="67"/>
                    <a:pt x="1" y="67"/>
                  </a:cubicBezTo>
                  <a:cubicBezTo>
                    <a:pt x="1" y="67"/>
                    <a:pt x="0" y="97"/>
                    <a:pt x="8" y="88"/>
                  </a:cubicBezTo>
                  <a:cubicBezTo>
                    <a:pt x="16" y="79"/>
                    <a:pt x="27" y="64"/>
                    <a:pt x="31" y="70"/>
                  </a:cubicBezTo>
                  <a:cubicBezTo>
                    <a:pt x="35" y="76"/>
                    <a:pt x="35" y="91"/>
                    <a:pt x="35" y="91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48" y="107"/>
                    <a:pt x="60" y="111"/>
                  </a:cubicBezTo>
                  <a:cubicBezTo>
                    <a:pt x="72" y="115"/>
                    <a:pt x="68" y="123"/>
                    <a:pt x="68" y="123"/>
                  </a:cubicBezTo>
                  <a:cubicBezTo>
                    <a:pt x="97" y="144"/>
                    <a:pt x="97" y="144"/>
                    <a:pt x="97" y="144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125" y="162"/>
                    <a:pt x="125" y="162"/>
                    <a:pt x="125" y="162"/>
                  </a:cubicBezTo>
                  <a:cubicBezTo>
                    <a:pt x="125" y="162"/>
                    <a:pt x="142" y="163"/>
                    <a:pt x="146" y="171"/>
                  </a:cubicBezTo>
                  <a:cubicBezTo>
                    <a:pt x="146" y="171"/>
                    <a:pt x="142" y="180"/>
                    <a:pt x="148" y="184"/>
                  </a:cubicBezTo>
                  <a:cubicBezTo>
                    <a:pt x="165" y="186"/>
                    <a:pt x="165" y="186"/>
                    <a:pt x="165" y="186"/>
                  </a:cubicBezTo>
                  <a:cubicBezTo>
                    <a:pt x="170" y="182"/>
                    <a:pt x="174" y="174"/>
                    <a:pt x="159" y="165"/>
                  </a:cubicBezTo>
                  <a:cubicBezTo>
                    <a:pt x="135" y="150"/>
                    <a:pt x="131" y="146"/>
                    <a:pt x="131" y="146"/>
                  </a:cubicBezTo>
                  <a:cubicBezTo>
                    <a:pt x="121" y="126"/>
                    <a:pt x="121" y="126"/>
                    <a:pt x="121" y="126"/>
                  </a:cubicBezTo>
                  <a:cubicBezTo>
                    <a:pt x="110" y="123"/>
                    <a:pt x="110" y="123"/>
                    <a:pt x="110" y="123"/>
                  </a:cubicBezTo>
                  <a:cubicBezTo>
                    <a:pt x="110" y="123"/>
                    <a:pt x="113" y="113"/>
                    <a:pt x="110" y="109"/>
                  </a:cubicBezTo>
                  <a:cubicBezTo>
                    <a:pt x="107" y="105"/>
                    <a:pt x="102" y="105"/>
                    <a:pt x="102" y="105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84" y="86"/>
                    <a:pt x="84" y="86"/>
                    <a:pt x="84" y="86"/>
                  </a:cubicBezTo>
                  <a:cubicBezTo>
                    <a:pt x="93" y="81"/>
                    <a:pt x="93" y="81"/>
                    <a:pt x="93" y="81"/>
                  </a:cubicBezTo>
                  <a:cubicBezTo>
                    <a:pt x="93" y="81"/>
                    <a:pt x="92" y="68"/>
                    <a:pt x="96" y="67"/>
                  </a:cubicBezTo>
                  <a:cubicBezTo>
                    <a:pt x="100" y="66"/>
                    <a:pt x="112" y="74"/>
                    <a:pt x="112" y="74"/>
                  </a:cubicBezTo>
                  <a:cubicBezTo>
                    <a:pt x="127" y="70"/>
                    <a:pt x="127" y="70"/>
                    <a:pt x="127" y="70"/>
                  </a:cubicBezTo>
                  <a:cubicBezTo>
                    <a:pt x="142" y="68"/>
                    <a:pt x="142" y="68"/>
                    <a:pt x="142" y="68"/>
                  </a:cubicBezTo>
                  <a:cubicBezTo>
                    <a:pt x="155" y="75"/>
                    <a:pt x="155" y="75"/>
                    <a:pt x="155" y="75"/>
                  </a:cubicBezTo>
                  <a:cubicBezTo>
                    <a:pt x="164" y="71"/>
                    <a:pt x="164" y="71"/>
                    <a:pt x="164" y="71"/>
                  </a:cubicBezTo>
                  <a:cubicBezTo>
                    <a:pt x="164" y="71"/>
                    <a:pt x="174" y="74"/>
                    <a:pt x="177" y="74"/>
                  </a:cubicBezTo>
                  <a:cubicBezTo>
                    <a:pt x="180" y="74"/>
                    <a:pt x="187" y="72"/>
                    <a:pt x="193" y="73"/>
                  </a:cubicBezTo>
                  <a:cubicBezTo>
                    <a:pt x="199" y="74"/>
                    <a:pt x="210" y="74"/>
                    <a:pt x="210" y="74"/>
                  </a:cubicBezTo>
                  <a:cubicBezTo>
                    <a:pt x="220" y="85"/>
                    <a:pt x="220" y="85"/>
                    <a:pt x="220" y="85"/>
                  </a:cubicBezTo>
                  <a:lnTo>
                    <a:pt x="230" y="84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 252">
              <a:extLst>
                <a:ext uri="{FF2B5EF4-FFF2-40B4-BE49-F238E27FC236}">
                  <a16:creationId xmlns:a16="http://schemas.microsoft.com/office/drawing/2014/main" id="{4CD8E147-ED24-A57D-DB91-27D706E1FA28}"/>
                </a:ext>
              </a:extLst>
            </p:cNvPr>
            <p:cNvSpPr>
              <a:spLocks/>
            </p:cNvSpPr>
            <p:nvPr/>
          </p:nvSpPr>
          <p:spPr bwMode="gray">
            <a:xfrm>
              <a:off x="-5011" y="-15928"/>
              <a:ext cx="326" cy="189"/>
            </a:xfrm>
            <a:custGeom>
              <a:avLst/>
              <a:gdLst>
                <a:gd name="T0" fmla="*/ 18 w 138"/>
                <a:gd name="T1" fmla="*/ 80 h 80"/>
                <a:gd name="T2" fmla="*/ 27 w 138"/>
                <a:gd name="T3" fmla="*/ 79 h 80"/>
                <a:gd name="T4" fmla="*/ 29 w 138"/>
                <a:gd name="T5" fmla="*/ 70 h 80"/>
                <a:gd name="T6" fmla="*/ 35 w 138"/>
                <a:gd name="T7" fmla="*/ 76 h 80"/>
                <a:gd name="T8" fmla="*/ 47 w 138"/>
                <a:gd name="T9" fmla="*/ 75 h 80"/>
                <a:gd name="T10" fmla="*/ 53 w 138"/>
                <a:gd name="T11" fmla="*/ 67 h 80"/>
                <a:gd name="T12" fmla="*/ 59 w 138"/>
                <a:gd name="T13" fmla="*/ 75 h 80"/>
                <a:gd name="T14" fmla="*/ 72 w 138"/>
                <a:gd name="T15" fmla="*/ 75 h 80"/>
                <a:gd name="T16" fmla="*/ 82 w 138"/>
                <a:gd name="T17" fmla="*/ 75 h 80"/>
                <a:gd name="T18" fmla="*/ 83 w 138"/>
                <a:gd name="T19" fmla="*/ 62 h 80"/>
                <a:gd name="T20" fmla="*/ 93 w 138"/>
                <a:gd name="T21" fmla="*/ 61 h 80"/>
                <a:gd name="T22" fmla="*/ 100 w 138"/>
                <a:gd name="T23" fmla="*/ 53 h 80"/>
                <a:gd name="T24" fmla="*/ 97 w 138"/>
                <a:gd name="T25" fmla="*/ 40 h 80"/>
                <a:gd name="T26" fmla="*/ 106 w 138"/>
                <a:gd name="T27" fmla="*/ 36 h 80"/>
                <a:gd name="T28" fmla="*/ 122 w 138"/>
                <a:gd name="T29" fmla="*/ 32 h 80"/>
                <a:gd name="T30" fmla="*/ 125 w 138"/>
                <a:gd name="T31" fmla="*/ 24 h 80"/>
                <a:gd name="T32" fmla="*/ 138 w 138"/>
                <a:gd name="T33" fmla="*/ 22 h 80"/>
                <a:gd name="T34" fmla="*/ 128 w 138"/>
                <a:gd name="T35" fmla="*/ 15 h 80"/>
                <a:gd name="T36" fmla="*/ 125 w 138"/>
                <a:gd name="T37" fmla="*/ 5 h 80"/>
                <a:gd name="T38" fmla="*/ 118 w 138"/>
                <a:gd name="T39" fmla="*/ 0 h 80"/>
                <a:gd name="T40" fmla="*/ 115 w 138"/>
                <a:gd name="T41" fmla="*/ 8 h 80"/>
                <a:gd name="T42" fmla="*/ 113 w 138"/>
                <a:gd name="T43" fmla="*/ 20 h 80"/>
                <a:gd name="T44" fmla="*/ 97 w 138"/>
                <a:gd name="T45" fmla="*/ 15 h 80"/>
                <a:gd name="T46" fmla="*/ 90 w 138"/>
                <a:gd name="T47" fmla="*/ 19 h 80"/>
                <a:gd name="T48" fmla="*/ 57 w 138"/>
                <a:gd name="T49" fmla="*/ 18 h 80"/>
                <a:gd name="T50" fmla="*/ 50 w 138"/>
                <a:gd name="T51" fmla="*/ 27 h 80"/>
                <a:gd name="T52" fmla="*/ 35 w 138"/>
                <a:gd name="T53" fmla="*/ 25 h 80"/>
                <a:gd name="T54" fmla="*/ 26 w 138"/>
                <a:gd name="T55" fmla="*/ 21 h 80"/>
                <a:gd name="T56" fmla="*/ 14 w 138"/>
                <a:gd name="T57" fmla="*/ 25 h 80"/>
                <a:gd name="T58" fmla="*/ 5 w 138"/>
                <a:gd name="T59" fmla="*/ 25 h 80"/>
                <a:gd name="T60" fmla="*/ 0 w 138"/>
                <a:gd name="T61" fmla="*/ 34 h 80"/>
                <a:gd name="T62" fmla="*/ 8 w 138"/>
                <a:gd name="T63" fmla="*/ 37 h 80"/>
                <a:gd name="T64" fmla="*/ 3 w 138"/>
                <a:gd name="T65" fmla="*/ 62 h 80"/>
                <a:gd name="T66" fmla="*/ 23 w 138"/>
                <a:gd name="T67" fmla="*/ 70 h 80"/>
                <a:gd name="T68" fmla="*/ 18 w 138"/>
                <a:gd name="T6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8" h="80">
                  <a:moveTo>
                    <a:pt x="18" y="80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3" y="67"/>
                    <a:pt x="53" y="74"/>
                    <a:pt x="59" y="75"/>
                  </a:cubicBezTo>
                  <a:cubicBezTo>
                    <a:pt x="65" y="76"/>
                    <a:pt x="72" y="75"/>
                    <a:pt x="72" y="75"/>
                  </a:cubicBezTo>
                  <a:cubicBezTo>
                    <a:pt x="72" y="75"/>
                    <a:pt x="77" y="77"/>
                    <a:pt x="82" y="75"/>
                  </a:cubicBezTo>
                  <a:cubicBezTo>
                    <a:pt x="87" y="73"/>
                    <a:pt x="83" y="62"/>
                    <a:pt x="83" y="62"/>
                  </a:cubicBezTo>
                  <a:cubicBezTo>
                    <a:pt x="93" y="61"/>
                    <a:pt x="93" y="61"/>
                    <a:pt x="93" y="61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100" y="53"/>
                    <a:pt x="97" y="44"/>
                    <a:pt x="97" y="40"/>
                  </a:cubicBezTo>
                  <a:cubicBezTo>
                    <a:pt x="97" y="36"/>
                    <a:pt x="106" y="36"/>
                    <a:pt x="106" y="36"/>
                  </a:cubicBezTo>
                  <a:cubicBezTo>
                    <a:pt x="106" y="36"/>
                    <a:pt x="116" y="36"/>
                    <a:pt x="122" y="32"/>
                  </a:cubicBezTo>
                  <a:cubicBezTo>
                    <a:pt x="128" y="28"/>
                    <a:pt x="125" y="24"/>
                    <a:pt x="125" y="24"/>
                  </a:cubicBezTo>
                  <a:cubicBezTo>
                    <a:pt x="138" y="22"/>
                    <a:pt x="138" y="22"/>
                    <a:pt x="138" y="22"/>
                  </a:cubicBezTo>
                  <a:cubicBezTo>
                    <a:pt x="128" y="15"/>
                    <a:pt x="128" y="15"/>
                    <a:pt x="128" y="15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5" y="8"/>
                    <a:pt x="115" y="8"/>
                    <a:pt x="115" y="8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27"/>
                    <a:pt x="50" y="27"/>
                  </a:cubicBezTo>
                  <a:cubicBezTo>
                    <a:pt x="43" y="27"/>
                    <a:pt x="35" y="25"/>
                    <a:pt x="35" y="25"/>
                  </a:cubicBezTo>
                  <a:cubicBezTo>
                    <a:pt x="35" y="25"/>
                    <a:pt x="29" y="21"/>
                    <a:pt x="26" y="21"/>
                  </a:cubicBezTo>
                  <a:cubicBezTo>
                    <a:pt x="23" y="21"/>
                    <a:pt x="14" y="25"/>
                    <a:pt x="14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4" y="30"/>
                    <a:pt x="0" y="34"/>
                    <a:pt x="0" y="34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3" y="62"/>
                    <a:pt x="26" y="66"/>
                    <a:pt x="23" y="70"/>
                  </a:cubicBezTo>
                  <a:cubicBezTo>
                    <a:pt x="22" y="72"/>
                    <a:pt x="20" y="76"/>
                    <a:pt x="18" y="8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eform 253">
              <a:extLst>
                <a:ext uri="{FF2B5EF4-FFF2-40B4-BE49-F238E27FC236}">
                  <a16:creationId xmlns:a16="http://schemas.microsoft.com/office/drawing/2014/main" id="{7217330C-09BF-DD3C-F85C-333C2662908E}"/>
                </a:ext>
              </a:extLst>
            </p:cNvPr>
            <p:cNvSpPr>
              <a:spLocks/>
            </p:cNvSpPr>
            <p:nvPr/>
          </p:nvSpPr>
          <p:spPr bwMode="gray">
            <a:xfrm>
              <a:off x="-4673" y="-16254"/>
              <a:ext cx="565" cy="232"/>
            </a:xfrm>
            <a:custGeom>
              <a:avLst/>
              <a:gdLst>
                <a:gd name="T0" fmla="*/ 233 w 239"/>
                <a:gd name="T1" fmla="*/ 23 h 98"/>
                <a:gd name="T2" fmla="*/ 214 w 239"/>
                <a:gd name="T3" fmla="*/ 19 h 98"/>
                <a:gd name="T4" fmla="*/ 194 w 239"/>
                <a:gd name="T5" fmla="*/ 6 h 98"/>
                <a:gd name="T6" fmla="*/ 170 w 239"/>
                <a:gd name="T7" fmla="*/ 14 h 98"/>
                <a:gd name="T8" fmla="*/ 159 w 239"/>
                <a:gd name="T9" fmla="*/ 10 h 98"/>
                <a:gd name="T10" fmla="*/ 140 w 239"/>
                <a:gd name="T11" fmla="*/ 9 h 98"/>
                <a:gd name="T12" fmla="*/ 132 w 239"/>
                <a:gd name="T13" fmla="*/ 18 h 98"/>
                <a:gd name="T14" fmla="*/ 126 w 239"/>
                <a:gd name="T15" fmla="*/ 11 h 98"/>
                <a:gd name="T16" fmla="*/ 119 w 239"/>
                <a:gd name="T17" fmla="*/ 11 h 98"/>
                <a:gd name="T18" fmla="*/ 111 w 239"/>
                <a:gd name="T19" fmla="*/ 2 h 98"/>
                <a:gd name="T20" fmla="*/ 91 w 239"/>
                <a:gd name="T21" fmla="*/ 8 h 98"/>
                <a:gd name="T22" fmla="*/ 83 w 239"/>
                <a:gd name="T23" fmla="*/ 2 h 98"/>
                <a:gd name="T24" fmla="*/ 72 w 239"/>
                <a:gd name="T25" fmla="*/ 9 h 98"/>
                <a:gd name="T26" fmla="*/ 58 w 239"/>
                <a:gd name="T27" fmla="*/ 15 h 98"/>
                <a:gd name="T28" fmla="*/ 58 w 239"/>
                <a:gd name="T29" fmla="*/ 28 h 98"/>
                <a:gd name="T30" fmla="*/ 36 w 239"/>
                <a:gd name="T31" fmla="*/ 40 h 98"/>
                <a:gd name="T32" fmla="*/ 24 w 239"/>
                <a:gd name="T33" fmla="*/ 39 h 98"/>
                <a:gd name="T34" fmla="*/ 12 w 239"/>
                <a:gd name="T35" fmla="*/ 41 h 98"/>
                <a:gd name="T36" fmla="*/ 3 w 239"/>
                <a:gd name="T37" fmla="*/ 46 h 98"/>
                <a:gd name="T38" fmla="*/ 1 w 239"/>
                <a:gd name="T39" fmla="*/ 60 h 98"/>
                <a:gd name="T40" fmla="*/ 0 w 239"/>
                <a:gd name="T41" fmla="*/ 70 h 98"/>
                <a:gd name="T42" fmla="*/ 7 w 239"/>
                <a:gd name="T43" fmla="*/ 75 h 98"/>
                <a:gd name="T44" fmla="*/ 7 w 239"/>
                <a:gd name="T45" fmla="*/ 87 h 98"/>
                <a:gd name="T46" fmla="*/ 7 w 239"/>
                <a:gd name="T47" fmla="*/ 87 h 98"/>
                <a:gd name="T48" fmla="*/ 13 w 239"/>
                <a:gd name="T49" fmla="*/ 92 h 98"/>
                <a:gd name="T50" fmla="*/ 20 w 239"/>
                <a:gd name="T51" fmla="*/ 81 h 98"/>
                <a:gd name="T52" fmla="*/ 40 w 239"/>
                <a:gd name="T53" fmla="*/ 97 h 98"/>
                <a:gd name="T54" fmla="*/ 81 w 239"/>
                <a:gd name="T55" fmla="*/ 94 h 98"/>
                <a:gd name="T56" fmla="*/ 87 w 239"/>
                <a:gd name="T57" fmla="*/ 78 h 98"/>
                <a:gd name="T58" fmla="*/ 111 w 239"/>
                <a:gd name="T59" fmla="*/ 81 h 98"/>
                <a:gd name="T60" fmla="*/ 118 w 239"/>
                <a:gd name="T61" fmla="*/ 73 h 98"/>
                <a:gd name="T62" fmla="*/ 144 w 239"/>
                <a:gd name="T63" fmla="*/ 69 h 98"/>
                <a:gd name="T64" fmla="*/ 155 w 239"/>
                <a:gd name="T65" fmla="*/ 53 h 98"/>
                <a:gd name="T66" fmla="*/ 171 w 239"/>
                <a:gd name="T67" fmla="*/ 53 h 98"/>
                <a:gd name="T68" fmla="*/ 174 w 239"/>
                <a:gd name="T69" fmla="*/ 63 h 98"/>
                <a:gd name="T70" fmla="*/ 183 w 239"/>
                <a:gd name="T71" fmla="*/ 64 h 98"/>
                <a:gd name="T72" fmla="*/ 188 w 239"/>
                <a:gd name="T73" fmla="*/ 53 h 98"/>
                <a:gd name="T74" fmla="*/ 194 w 239"/>
                <a:gd name="T75" fmla="*/ 63 h 98"/>
                <a:gd name="T76" fmla="*/ 223 w 239"/>
                <a:gd name="T77" fmla="*/ 59 h 98"/>
                <a:gd name="T78" fmla="*/ 223 w 239"/>
                <a:gd name="T79" fmla="*/ 59 h 98"/>
                <a:gd name="T80" fmla="*/ 224 w 239"/>
                <a:gd name="T81" fmla="*/ 51 h 98"/>
                <a:gd name="T82" fmla="*/ 234 w 239"/>
                <a:gd name="T83" fmla="*/ 43 h 98"/>
                <a:gd name="T84" fmla="*/ 237 w 239"/>
                <a:gd name="T85" fmla="*/ 30 h 98"/>
                <a:gd name="T86" fmla="*/ 233 w 239"/>
                <a:gd name="T87" fmla="*/ 23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9" h="98">
                  <a:moveTo>
                    <a:pt x="233" y="23"/>
                  </a:moveTo>
                  <a:cubicBezTo>
                    <a:pt x="227" y="23"/>
                    <a:pt x="221" y="25"/>
                    <a:pt x="214" y="19"/>
                  </a:cubicBezTo>
                  <a:cubicBezTo>
                    <a:pt x="207" y="13"/>
                    <a:pt x="208" y="6"/>
                    <a:pt x="194" y="6"/>
                  </a:cubicBezTo>
                  <a:cubicBezTo>
                    <a:pt x="180" y="6"/>
                    <a:pt x="175" y="14"/>
                    <a:pt x="170" y="14"/>
                  </a:cubicBezTo>
                  <a:cubicBezTo>
                    <a:pt x="165" y="14"/>
                    <a:pt x="159" y="10"/>
                    <a:pt x="159" y="10"/>
                  </a:cubicBezTo>
                  <a:cubicBezTo>
                    <a:pt x="140" y="9"/>
                    <a:pt x="140" y="9"/>
                    <a:pt x="140" y="9"/>
                  </a:cubicBezTo>
                  <a:cubicBezTo>
                    <a:pt x="140" y="9"/>
                    <a:pt x="141" y="18"/>
                    <a:pt x="132" y="18"/>
                  </a:cubicBezTo>
                  <a:cubicBezTo>
                    <a:pt x="123" y="18"/>
                    <a:pt x="126" y="11"/>
                    <a:pt x="126" y="11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19" y="11"/>
                    <a:pt x="118" y="4"/>
                    <a:pt x="111" y="2"/>
                  </a:cubicBezTo>
                  <a:cubicBezTo>
                    <a:pt x="104" y="0"/>
                    <a:pt x="94" y="8"/>
                    <a:pt x="91" y="8"/>
                  </a:cubicBezTo>
                  <a:cubicBezTo>
                    <a:pt x="89" y="8"/>
                    <a:pt x="86" y="5"/>
                    <a:pt x="83" y="2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28"/>
                    <a:pt x="43" y="35"/>
                    <a:pt x="36" y="40"/>
                  </a:cubicBezTo>
                  <a:cubicBezTo>
                    <a:pt x="31" y="43"/>
                    <a:pt x="25" y="41"/>
                    <a:pt x="24" y="39"/>
                  </a:cubicBezTo>
                  <a:cubicBezTo>
                    <a:pt x="21" y="40"/>
                    <a:pt x="15" y="40"/>
                    <a:pt x="12" y="41"/>
                  </a:cubicBezTo>
                  <a:cubicBezTo>
                    <a:pt x="8" y="42"/>
                    <a:pt x="3" y="46"/>
                    <a:pt x="3" y="46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6" y="69"/>
                    <a:pt x="7" y="75"/>
                  </a:cubicBezTo>
                  <a:cubicBezTo>
                    <a:pt x="7" y="78"/>
                    <a:pt x="7" y="83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20" y="81"/>
                    <a:pt x="23" y="98"/>
                    <a:pt x="40" y="97"/>
                  </a:cubicBezTo>
                  <a:cubicBezTo>
                    <a:pt x="57" y="96"/>
                    <a:pt x="81" y="94"/>
                    <a:pt x="81" y="94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18" y="73"/>
                    <a:pt x="118" y="73"/>
                    <a:pt x="118" y="73"/>
                  </a:cubicBezTo>
                  <a:cubicBezTo>
                    <a:pt x="118" y="73"/>
                    <a:pt x="141" y="72"/>
                    <a:pt x="144" y="69"/>
                  </a:cubicBezTo>
                  <a:cubicBezTo>
                    <a:pt x="147" y="66"/>
                    <a:pt x="155" y="53"/>
                    <a:pt x="155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74" y="63"/>
                    <a:pt x="174" y="63"/>
                    <a:pt x="174" y="63"/>
                  </a:cubicBezTo>
                  <a:cubicBezTo>
                    <a:pt x="183" y="64"/>
                    <a:pt x="183" y="64"/>
                    <a:pt x="183" y="64"/>
                  </a:cubicBezTo>
                  <a:cubicBezTo>
                    <a:pt x="183" y="64"/>
                    <a:pt x="183" y="53"/>
                    <a:pt x="188" y="53"/>
                  </a:cubicBezTo>
                  <a:cubicBezTo>
                    <a:pt x="193" y="53"/>
                    <a:pt x="194" y="63"/>
                    <a:pt x="194" y="63"/>
                  </a:cubicBezTo>
                  <a:cubicBezTo>
                    <a:pt x="194" y="63"/>
                    <a:pt x="215" y="57"/>
                    <a:pt x="223" y="59"/>
                  </a:cubicBezTo>
                  <a:cubicBezTo>
                    <a:pt x="223" y="59"/>
                    <a:pt x="223" y="59"/>
                    <a:pt x="223" y="59"/>
                  </a:cubicBezTo>
                  <a:cubicBezTo>
                    <a:pt x="224" y="51"/>
                    <a:pt x="224" y="51"/>
                    <a:pt x="224" y="51"/>
                  </a:cubicBezTo>
                  <a:cubicBezTo>
                    <a:pt x="224" y="51"/>
                    <a:pt x="232" y="49"/>
                    <a:pt x="234" y="43"/>
                  </a:cubicBezTo>
                  <a:cubicBezTo>
                    <a:pt x="236" y="37"/>
                    <a:pt x="237" y="30"/>
                    <a:pt x="237" y="30"/>
                  </a:cubicBezTo>
                  <a:cubicBezTo>
                    <a:pt x="237" y="30"/>
                    <a:pt x="239" y="23"/>
                    <a:pt x="233" y="23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 254">
              <a:extLst>
                <a:ext uri="{FF2B5EF4-FFF2-40B4-BE49-F238E27FC236}">
                  <a16:creationId xmlns:a16="http://schemas.microsoft.com/office/drawing/2014/main" id="{152A4D39-229A-5AF3-F3F2-0FFAA41CAF86}"/>
                </a:ext>
              </a:extLst>
            </p:cNvPr>
            <p:cNvSpPr>
              <a:spLocks/>
            </p:cNvSpPr>
            <p:nvPr/>
          </p:nvSpPr>
          <p:spPr bwMode="gray">
            <a:xfrm>
              <a:off x="-4732" y="-16129"/>
              <a:ext cx="676" cy="350"/>
            </a:xfrm>
            <a:custGeom>
              <a:avLst/>
              <a:gdLst>
                <a:gd name="T0" fmla="*/ 31 w 286"/>
                <a:gd name="T1" fmla="*/ 43 h 148"/>
                <a:gd name="T2" fmla="*/ 16 w 286"/>
                <a:gd name="T3" fmla="*/ 43 h 148"/>
                <a:gd name="T4" fmla="*/ 15 w 286"/>
                <a:gd name="T5" fmla="*/ 52 h 148"/>
                <a:gd name="T6" fmla="*/ 23 w 286"/>
                <a:gd name="T7" fmla="*/ 53 h 148"/>
                <a:gd name="T8" fmla="*/ 15 w 286"/>
                <a:gd name="T9" fmla="*/ 65 h 148"/>
                <a:gd name="T10" fmla="*/ 15 w 286"/>
                <a:gd name="T11" fmla="*/ 79 h 148"/>
                <a:gd name="T12" fmla="*/ 2 w 286"/>
                <a:gd name="T13" fmla="*/ 81 h 148"/>
                <a:gd name="T14" fmla="*/ 0 w 286"/>
                <a:gd name="T15" fmla="*/ 85 h 148"/>
                <a:gd name="T16" fmla="*/ 7 w 286"/>
                <a:gd name="T17" fmla="*/ 90 h 148"/>
                <a:gd name="T18" fmla="*/ 10 w 286"/>
                <a:gd name="T19" fmla="*/ 100 h 148"/>
                <a:gd name="T20" fmla="*/ 20 w 286"/>
                <a:gd name="T21" fmla="*/ 107 h 148"/>
                <a:gd name="T22" fmla="*/ 34 w 286"/>
                <a:gd name="T23" fmla="*/ 120 h 148"/>
                <a:gd name="T24" fmla="*/ 54 w 286"/>
                <a:gd name="T25" fmla="*/ 137 h 148"/>
                <a:gd name="T26" fmla="*/ 63 w 286"/>
                <a:gd name="T27" fmla="*/ 141 h 148"/>
                <a:gd name="T28" fmla="*/ 75 w 286"/>
                <a:gd name="T29" fmla="*/ 141 h 148"/>
                <a:gd name="T30" fmla="*/ 78 w 286"/>
                <a:gd name="T31" fmla="*/ 148 h 148"/>
                <a:gd name="T32" fmla="*/ 106 w 286"/>
                <a:gd name="T33" fmla="*/ 145 h 148"/>
                <a:gd name="T34" fmla="*/ 112 w 286"/>
                <a:gd name="T35" fmla="*/ 139 h 148"/>
                <a:gd name="T36" fmla="*/ 115 w 286"/>
                <a:gd name="T37" fmla="*/ 140 h 148"/>
                <a:gd name="T38" fmla="*/ 118 w 286"/>
                <a:gd name="T39" fmla="*/ 136 h 148"/>
                <a:gd name="T40" fmla="*/ 133 w 286"/>
                <a:gd name="T41" fmla="*/ 136 h 148"/>
                <a:gd name="T42" fmla="*/ 145 w 286"/>
                <a:gd name="T43" fmla="*/ 125 h 148"/>
                <a:gd name="T44" fmla="*/ 163 w 286"/>
                <a:gd name="T45" fmla="*/ 125 h 148"/>
                <a:gd name="T46" fmla="*/ 176 w 286"/>
                <a:gd name="T47" fmla="*/ 131 h 148"/>
                <a:gd name="T48" fmla="*/ 192 w 286"/>
                <a:gd name="T49" fmla="*/ 127 h 148"/>
                <a:gd name="T50" fmla="*/ 194 w 286"/>
                <a:gd name="T51" fmla="*/ 118 h 148"/>
                <a:gd name="T52" fmla="*/ 205 w 286"/>
                <a:gd name="T53" fmla="*/ 120 h 148"/>
                <a:gd name="T54" fmla="*/ 221 w 286"/>
                <a:gd name="T55" fmla="*/ 110 h 148"/>
                <a:gd name="T56" fmla="*/ 222 w 286"/>
                <a:gd name="T57" fmla="*/ 96 h 148"/>
                <a:gd name="T58" fmla="*/ 238 w 286"/>
                <a:gd name="T59" fmla="*/ 83 h 148"/>
                <a:gd name="T60" fmla="*/ 245 w 286"/>
                <a:gd name="T61" fmla="*/ 66 h 148"/>
                <a:gd name="T62" fmla="*/ 246 w 286"/>
                <a:gd name="T63" fmla="*/ 48 h 148"/>
                <a:gd name="T64" fmla="*/ 266 w 286"/>
                <a:gd name="T65" fmla="*/ 41 h 148"/>
                <a:gd name="T66" fmla="*/ 286 w 286"/>
                <a:gd name="T67" fmla="*/ 27 h 148"/>
                <a:gd name="T68" fmla="*/ 264 w 286"/>
                <a:gd name="T69" fmla="*/ 19 h 148"/>
                <a:gd name="T70" fmla="*/ 248 w 286"/>
                <a:gd name="T71" fmla="*/ 6 h 148"/>
                <a:gd name="T72" fmla="*/ 219 w 286"/>
                <a:gd name="T73" fmla="*/ 10 h 148"/>
                <a:gd name="T74" fmla="*/ 213 w 286"/>
                <a:gd name="T75" fmla="*/ 0 h 148"/>
                <a:gd name="T76" fmla="*/ 208 w 286"/>
                <a:gd name="T77" fmla="*/ 11 h 148"/>
                <a:gd name="T78" fmla="*/ 199 w 286"/>
                <a:gd name="T79" fmla="*/ 10 h 148"/>
                <a:gd name="T80" fmla="*/ 196 w 286"/>
                <a:gd name="T81" fmla="*/ 0 h 148"/>
                <a:gd name="T82" fmla="*/ 180 w 286"/>
                <a:gd name="T83" fmla="*/ 0 h 148"/>
                <a:gd name="T84" fmla="*/ 169 w 286"/>
                <a:gd name="T85" fmla="*/ 16 h 148"/>
                <a:gd name="T86" fmla="*/ 143 w 286"/>
                <a:gd name="T87" fmla="*/ 20 h 148"/>
                <a:gd name="T88" fmla="*/ 136 w 286"/>
                <a:gd name="T89" fmla="*/ 28 h 148"/>
                <a:gd name="T90" fmla="*/ 112 w 286"/>
                <a:gd name="T91" fmla="*/ 25 h 148"/>
                <a:gd name="T92" fmla="*/ 106 w 286"/>
                <a:gd name="T93" fmla="*/ 41 h 148"/>
                <a:gd name="T94" fmla="*/ 65 w 286"/>
                <a:gd name="T95" fmla="*/ 44 h 148"/>
                <a:gd name="T96" fmla="*/ 45 w 286"/>
                <a:gd name="T97" fmla="*/ 28 h 148"/>
                <a:gd name="T98" fmla="*/ 38 w 286"/>
                <a:gd name="T99" fmla="*/ 39 h 148"/>
                <a:gd name="T100" fmla="*/ 32 w 286"/>
                <a:gd name="T101" fmla="*/ 34 h 148"/>
                <a:gd name="T102" fmla="*/ 31 w 286"/>
                <a:gd name="T103" fmla="*/ 4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6" h="148">
                  <a:moveTo>
                    <a:pt x="31" y="43"/>
                  </a:moveTo>
                  <a:cubicBezTo>
                    <a:pt x="16" y="43"/>
                    <a:pt x="16" y="43"/>
                    <a:pt x="16" y="43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20" y="107"/>
                    <a:pt x="20" y="107"/>
                    <a:pt x="20" y="107"/>
                  </a:cubicBezTo>
                  <a:cubicBezTo>
                    <a:pt x="20" y="107"/>
                    <a:pt x="32" y="117"/>
                    <a:pt x="34" y="120"/>
                  </a:cubicBezTo>
                  <a:cubicBezTo>
                    <a:pt x="36" y="123"/>
                    <a:pt x="54" y="137"/>
                    <a:pt x="54" y="137"/>
                  </a:cubicBezTo>
                  <a:cubicBezTo>
                    <a:pt x="63" y="141"/>
                    <a:pt x="63" y="141"/>
                    <a:pt x="63" y="141"/>
                  </a:cubicBezTo>
                  <a:cubicBezTo>
                    <a:pt x="75" y="141"/>
                    <a:pt x="75" y="141"/>
                    <a:pt x="75" y="141"/>
                  </a:cubicBezTo>
                  <a:cubicBezTo>
                    <a:pt x="78" y="148"/>
                    <a:pt x="78" y="148"/>
                    <a:pt x="78" y="148"/>
                  </a:cubicBezTo>
                  <a:cubicBezTo>
                    <a:pt x="106" y="145"/>
                    <a:pt x="106" y="145"/>
                    <a:pt x="106" y="145"/>
                  </a:cubicBezTo>
                  <a:cubicBezTo>
                    <a:pt x="112" y="139"/>
                    <a:pt x="112" y="139"/>
                    <a:pt x="112" y="139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8" y="136"/>
                    <a:pt x="118" y="136"/>
                    <a:pt x="118" y="136"/>
                  </a:cubicBezTo>
                  <a:cubicBezTo>
                    <a:pt x="133" y="136"/>
                    <a:pt x="133" y="136"/>
                    <a:pt x="133" y="136"/>
                  </a:cubicBezTo>
                  <a:cubicBezTo>
                    <a:pt x="133" y="136"/>
                    <a:pt x="142" y="131"/>
                    <a:pt x="145" y="125"/>
                  </a:cubicBezTo>
                  <a:cubicBezTo>
                    <a:pt x="148" y="119"/>
                    <a:pt x="163" y="125"/>
                    <a:pt x="163" y="125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92" y="127"/>
                    <a:pt x="192" y="127"/>
                    <a:pt x="192" y="127"/>
                  </a:cubicBezTo>
                  <a:cubicBezTo>
                    <a:pt x="194" y="118"/>
                    <a:pt x="194" y="118"/>
                    <a:pt x="194" y="118"/>
                  </a:cubicBezTo>
                  <a:cubicBezTo>
                    <a:pt x="205" y="120"/>
                    <a:pt x="205" y="120"/>
                    <a:pt x="205" y="120"/>
                  </a:cubicBezTo>
                  <a:cubicBezTo>
                    <a:pt x="205" y="120"/>
                    <a:pt x="215" y="116"/>
                    <a:pt x="221" y="110"/>
                  </a:cubicBezTo>
                  <a:cubicBezTo>
                    <a:pt x="227" y="104"/>
                    <a:pt x="222" y="96"/>
                    <a:pt x="222" y="96"/>
                  </a:cubicBezTo>
                  <a:cubicBezTo>
                    <a:pt x="222" y="96"/>
                    <a:pt x="228" y="88"/>
                    <a:pt x="238" y="83"/>
                  </a:cubicBezTo>
                  <a:cubicBezTo>
                    <a:pt x="248" y="78"/>
                    <a:pt x="245" y="66"/>
                    <a:pt x="245" y="66"/>
                  </a:cubicBezTo>
                  <a:cubicBezTo>
                    <a:pt x="245" y="66"/>
                    <a:pt x="245" y="54"/>
                    <a:pt x="246" y="48"/>
                  </a:cubicBezTo>
                  <a:cubicBezTo>
                    <a:pt x="247" y="42"/>
                    <a:pt x="256" y="42"/>
                    <a:pt x="266" y="41"/>
                  </a:cubicBezTo>
                  <a:cubicBezTo>
                    <a:pt x="276" y="40"/>
                    <a:pt x="286" y="27"/>
                    <a:pt x="286" y="27"/>
                  </a:cubicBezTo>
                  <a:cubicBezTo>
                    <a:pt x="286" y="27"/>
                    <a:pt x="270" y="20"/>
                    <a:pt x="264" y="19"/>
                  </a:cubicBezTo>
                  <a:cubicBezTo>
                    <a:pt x="258" y="18"/>
                    <a:pt x="256" y="8"/>
                    <a:pt x="248" y="6"/>
                  </a:cubicBezTo>
                  <a:cubicBezTo>
                    <a:pt x="240" y="4"/>
                    <a:pt x="219" y="10"/>
                    <a:pt x="219" y="10"/>
                  </a:cubicBezTo>
                  <a:cubicBezTo>
                    <a:pt x="219" y="10"/>
                    <a:pt x="218" y="0"/>
                    <a:pt x="213" y="0"/>
                  </a:cubicBezTo>
                  <a:cubicBezTo>
                    <a:pt x="208" y="0"/>
                    <a:pt x="208" y="11"/>
                    <a:pt x="208" y="11"/>
                  </a:cubicBezTo>
                  <a:cubicBezTo>
                    <a:pt x="199" y="10"/>
                    <a:pt x="199" y="10"/>
                    <a:pt x="199" y="10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0" y="0"/>
                    <a:pt x="172" y="13"/>
                    <a:pt x="169" y="16"/>
                  </a:cubicBezTo>
                  <a:cubicBezTo>
                    <a:pt x="166" y="19"/>
                    <a:pt x="143" y="20"/>
                    <a:pt x="143" y="2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82" y="43"/>
                    <a:pt x="65" y="44"/>
                  </a:cubicBezTo>
                  <a:cubicBezTo>
                    <a:pt x="48" y="45"/>
                    <a:pt x="45" y="28"/>
                    <a:pt x="45" y="28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1" y="39"/>
                    <a:pt x="31" y="43"/>
                    <a:pt x="31" y="43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255">
              <a:extLst>
                <a:ext uri="{FF2B5EF4-FFF2-40B4-BE49-F238E27FC236}">
                  <a16:creationId xmlns:a16="http://schemas.microsoft.com/office/drawing/2014/main" id="{4F579624-AB06-6B0E-5214-8F48E2B74D71}"/>
                </a:ext>
              </a:extLst>
            </p:cNvPr>
            <p:cNvSpPr>
              <a:spLocks/>
            </p:cNvSpPr>
            <p:nvPr/>
          </p:nvSpPr>
          <p:spPr bwMode="gray">
            <a:xfrm>
              <a:off x="-4314" y="-17095"/>
              <a:ext cx="543" cy="312"/>
            </a:xfrm>
            <a:custGeom>
              <a:avLst/>
              <a:gdLst>
                <a:gd name="T0" fmla="*/ 222 w 230"/>
                <a:gd name="T1" fmla="*/ 42 h 132"/>
                <a:gd name="T2" fmla="*/ 210 w 230"/>
                <a:gd name="T3" fmla="*/ 38 h 132"/>
                <a:gd name="T4" fmla="*/ 195 w 230"/>
                <a:gd name="T5" fmla="*/ 30 h 132"/>
                <a:gd name="T6" fmla="*/ 184 w 230"/>
                <a:gd name="T7" fmla="*/ 20 h 132"/>
                <a:gd name="T8" fmla="*/ 157 w 230"/>
                <a:gd name="T9" fmla="*/ 17 h 132"/>
                <a:gd name="T10" fmla="*/ 145 w 230"/>
                <a:gd name="T11" fmla="*/ 4 h 132"/>
                <a:gd name="T12" fmla="*/ 128 w 230"/>
                <a:gd name="T13" fmla="*/ 12 h 132"/>
                <a:gd name="T14" fmla="*/ 113 w 230"/>
                <a:gd name="T15" fmla="*/ 8 h 132"/>
                <a:gd name="T16" fmla="*/ 104 w 230"/>
                <a:gd name="T17" fmla="*/ 13 h 132"/>
                <a:gd name="T18" fmla="*/ 81 w 230"/>
                <a:gd name="T19" fmla="*/ 7 h 132"/>
                <a:gd name="T20" fmla="*/ 73 w 230"/>
                <a:gd name="T21" fmla="*/ 9 h 132"/>
                <a:gd name="T22" fmla="*/ 60 w 230"/>
                <a:gd name="T23" fmla="*/ 2 h 132"/>
                <a:gd name="T24" fmla="*/ 46 w 230"/>
                <a:gd name="T25" fmla="*/ 5 h 132"/>
                <a:gd name="T26" fmla="*/ 13 w 230"/>
                <a:gd name="T27" fmla="*/ 11 h 132"/>
                <a:gd name="T28" fmla="*/ 0 w 230"/>
                <a:gd name="T29" fmla="*/ 16 h 132"/>
                <a:gd name="T30" fmla="*/ 1 w 230"/>
                <a:gd name="T31" fmla="*/ 23 h 132"/>
                <a:gd name="T32" fmla="*/ 11 w 230"/>
                <a:gd name="T33" fmla="*/ 60 h 132"/>
                <a:gd name="T34" fmla="*/ 14 w 230"/>
                <a:gd name="T35" fmla="*/ 64 h 132"/>
                <a:gd name="T36" fmla="*/ 19 w 230"/>
                <a:gd name="T37" fmla="*/ 64 h 132"/>
                <a:gd name="T38" fmla="*/ 22 w 230"/>
                <a:gd name="T39" fmla="*/ 70 h 132"/>
                <a:gd name="T40" fmla="*/ 30 w 230"/>
                <a:gd name="T41" fmla="*/ 69 h 132"/>
                <a:gd name="T42" fmla="*/ 32 w 230"/>
                <a:gd name="T43" fmla="*/ 75 h 132"/>
                <a:gd name="T44" fmla="*/ 64 w 230"/>
                <a:gd name="T45" fmla="*/ 71 h 132"/>
                <a:gd name="T46" fmla="*/ 74 w 230"/>
                <a:gd name="T47" fmla="*/ 86 h 132"/>
                <a:gd name="T48" fmla="*/ 65 w 230"/>
                <a:gd name="T49" fmla="*/ 98 h 132"/>
                <a:gd name="T50" fmla="*/ 70 w 230"/>
                <a:gd name="T51" fmla="*/ 108 h 132"/>
                <a:gd name="T52" fmla="*/ 74 w 230"/>
                <a:gd name="T53" fmla="*/ 108 h 132"/>
                <a:gd name="T54" fmla="*/ 103 w 230"/>
                <a:gd name="T55" fmla="*/ 119 h 132"/>
                <a:gd name="T56" fmla="*/ 103 w 230"/>
                <a:gd name="T57" fmla="*/ 132 h 132"/>
                <a:gd name="T58" fmla="*/ 127 w 230"/>
                <a:gd name="T59" fmla="*/ 127 h 132"/>
                <a:gd name="T60" fmla="*/ 137 w 230"/>
                <a:gd name="T61" fmla="*/ 132 h 132"/>
                <a:gd name="T62" fmla="*/ 155 w 230"/>
                <a:gd name="T63" fmla="*/ 132 h 132"/>
                <a:gd name="T64" fmla="*/ 157 w 230"/>
                <a:gd name="T65" fmla="*/ 122 h 132"/>
                <a:gd name="T66" fmla="*/ 165 w 230"/>
                <a:gd name="T67" fmla="*/ 130 h 132"/>
                <a:gd name="T68" fmla="*/ 169 w 230"/>
                <a:gd name="T69" fmla="*/ 122 h 132"/>
                <a:gd name="T70" fmla="*/ 187 w 230"/>
                <a:gd name="T71" fmla="*/ 115 h 132"/>
                <a:gd name="T72" fmla="*/ 193 w 230"/>
                <a:gd name="T73" fmla="*/ 123 h 132"/>
                <a:gd name="T74" fmla="*/ 188 w 230"/>
                <a:gd name="T75" fmla="*/ 103 h 132"/>
                <a:gd name="T76" fmla="*/ 195 w 230"/>
                <a:gd name="T77" fmla="*/ 96 h 132"/>
                <a:gd name="T78" fmla="*/ 193 w 230"/>
                <a:gd name="T79" fmla="*/ 81 h 132"/>
                <a:gd name="T80" fmla="*/ 208 w 230"/>
                <a:gd name="T81" fmla="*/ 79 h 132"/>
                <a:gd name="T82" fmla="*/ 204 w 230"/>
                <a:gd name="T83" fmla="*/ 66 h 132"/>
                <a:gd name="T84" fmla="*/ 217 w 230"/>
                <a:gd name="T85" fmla="*/ 71 h 132"/>
                <a:gd name="T86" fmla="*/ 230 w 230"/>
                <a:gd name="T87" fmla="*/ 65 h 132"/>
                <a:gd name="T88" fmla="*/ 216 w 230"/>
                <a:gd name="T89" fmla="*/ 50 h 132"/>
                <a:gd name="T90" fmla="*/ 222 w 230"/>
                <a:gd name="T91" fmla="*/ 4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0" h="132">
                  <a:moveTo>
                    <a:pt x="222" y="42"/>
                  </a:moveTo>
                  <a:cubicBezTo>
                    <a:pt x="210" y="38"/>
                    <a:pt x="210" y="38"/>
                    <a:pt x="210" y="38"/>
                  </a:cubicBezTo>
                  <a:cubicBezTo>
                    <a:pt x="195" y="30"/>
                    <a:pt x="195" y="30"/>
                    <a:pt x="195" y="30"/>
                  </a:cubicBezTo>
                  <a:cubicBezTo>
                    <a:pt x="195" y="30"/>
                    <a:pt x="190" y="22"/>
                    <a:pt x="184" y="20"/>
                  </a:cubicBezTo>
                  <a:cubicBezTo>
                    <a:pt x="178" y="18"/>
                    <a:pt x="157" y="17"/>
                    <a:pt x="157" y="17"/>
                  </a:cubicBezTo>
                  <a:cubicBezTo>
                    <a:pt x="157" y="17"/>
                    <a:pt x="151" y="4"/>
                    <a:pt x="145" y="4"/>
                  </a:cubicBezTo>
                  <a:cubicBezTo>
                    <a:pt x="139" y="4"/>
                    <a:pt x="136" y="12"/>
                    <a:pt x="128" y="12"/>
                  </a:cubicBezTo>
                  <a:cubicBezTo>
                    <a:pt x="120" y="12"/>
                    <a:pt x="118" y="8"/>
                    <a:pt x="113" y="8"/>
                  </a:cubicBezTo>
                  <a:cubicBezTo>
                    <a:pt x="108" y="8"/>
                    <a:pt x="104" y="13"/>
                    <a:pt x="104" y="13"/>
                  </a:cubicBezTo>
                  <a:cubicBezTo>
                    <a:pt x="104" y="13"/>
                    <a:pt x="84" y="6"/>
                    <a:pt x="81" y="7"/>
                  </a:cubicBezTo>
                  <a:cubicBezTo>
                    <a:pt x="78" y="8"/>
                    <a:pt x="73" y="9"/>
                    <a:pt x="73" y="9"/>
                  </a:cubicBezTo>
                  <a:cubicBezTo>
                    <a:pt x="73" y="9"/>
                    <a:pt x="66" y="4"/>
                    <a:pt x="60" y="2"/>
                  </a:cubicBezTo>
                  <a:cubicBezTo>
                    <a:pt x="54" y="0"/>
                    <a:pt x="52" y="2"/>
                    <a:pt x="46" y="5"/>
                  </a:cubicBezTo>
                  <a:cubicBezTo>
                    <a:pt x="40" y="8"/>
                    <a:pt x="33" y="8"/>
                    <a:pt x="13" y="11"/>
                  </a:cubicBezTo>
                  <a:cubicBezTo>
                    <a:pt x="7" y="12"/>
                    <a:pt x="3" y="14"/>
                    <a:pt x="0" y="16"/>
                  </a:cubicBezTo>
                  <a:cubicBezTo>
                    <a:pt x="0" y="20"/>
                    <a:pt x="1" y="23"/>
                    <a:pt x="1" y="23"/>
                  </a:cubicBezTo>
                  <a:cubicBezTo>
                    <a:pt x="1" y="23"/>
                    <a:pt x="2" y="58"/>
                    <a:pt x="11" y="60"/>
                  </a:cubicBezTo>
                  <a:cubicBezTo>
                    <a:pt x="13" y="60"/>
                    <a:pt x="14" y="62"/>
                    <a:pt x="14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56" y="72"/>
                    <a:pt x="64" y="71"/>
                  </a:cubicBezTo>
                  <a:cubicBezTo>
                    <a:pt x="72" y="70"/>
                    <a:pt x="75" y="81"/>
                    <a:pt x="74" y="86"/>
                  </a:cubicBezTo>
                  <a:cubicBezTo>
                    <a:pt x="73" y="91"/>
                    <a:pt x="65" y="98"/>
                    <a:pt x="65" y="98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1" y="108"/>
                    <a:pt x="73" y="108"/>
                    <a:pt x="74" y="108"/>
                  </a:cubicBezTo>
                  <a:cubicBezTo>
                    <a:pt x="87" y="110"/>
                    <a:pt x="103" y="119"/>
                    <a:pt x="103" y="119"/>
                  </a:cubicBezTo>
                  <a:cubicBezTo>
                    <a:pt x="103" y="132"/>
                    <a:pt x="103" y="132"/>
                    <a:pt x="103" y="132"/>
                  </a:cubicBezTo>
                  <a:cubicBezTo>
                    <a:pt x="103" y="132"/>
                    <a:pt x="119" y="128"/>
                    <a:pt x="127" y="127"/>
                  </a:cubicBezTo>
                  <a:cubicBezTo>
                    <a:pt x="135" y="126"/>
                    <a:pt x="137" y="132"/>
                    <a:pt x="137" y="132"/>
                  </a:cubicBezTo>
                  <a:cubicBezTo>
                    <a:pt x="155" y="132"/>
                    <a:pt x="155" y="132"/>
                    <a:pt x="155" y="132"/>
                  </a:cubicBezTo>
                  <a:cubicBezTo>
                    <a:pt x="157" y="122"/>
                    <a:pt x="157" y="122"/>
                    <a:pt x="157" y="122"/>
                  </a:cubicBezTo>
                  <a:cubicBezTo>
                    <a:pt x="165" y="130"/>
                    <a:pt x="165" y="130"/>
                    <a:pt x="165" y="130"/>
                  </a:cubicBezTo>
                  <a:cubicBezTo>
                    <a:pt x="169" y="122"/>
                    <a:pt x="169" y="122"/>
                    <a:pt x="169" y="122"/>
                  </a:cubicBezTo>
                  <a:cubicBezTo>
                    <a:pt x="169" y="122"/>
                    <a:pt x="177" y="115"/>
                    <a:pt x="187" y="115"/>
                  </a:cubicBezTo>
                  <a:cubicBezTo>
                    <a:pt x="197" y="115"/>
                    <a:pt x="186" y="124"/>
                    <a:pt x="193" y="123"/>
                  </a:cubicBezTo>
                  <a:cubicBezTo>
                    <a:pt x="200" y="122"/>
                    <a:pt x="193" y="111"/>
                    <a:pt x="188" y="103"/>
                  </a:cubicBezTo>
                  <a:cubicBezTo>
                    <a:pt x="183" y="95"/>
                    <a:pt x="195" y="96"/>
                    <a:pt x="195" y="96"/>
                  </a:cubicBezTo>
                  <a:cubicBezTo>
                    <a:pt x="195" y="96"/>
                    <a:pt x="191" y="88"/>
                    <a:pt x="193" y="81"/>
                  </a:cubicBezTo>
                  <a:cubicBezTo>
                    <a:pt x="195" y="74"/>
                    <a:pt x="208" y="79"/>
                    <a:pt x="208" y="79"/>
                  </a:cubicBezTo>
                  <a:cubicBezTo>
                    <a:pt x="204" y="66"/>
                    <a:pt x="204" y="66"/>
                    <a:pt x="204" y="66"/>
                  </a:cubicBezTo>
                  <a:cubicBezTo>
                    <a:pt x="204" y="66"/>
                    <a:pt x="211" y="71"/>
                    <a:pt x="217" y="71"/>
                  </a:cubicBezTo>
                  <a:cubicBezTo>
                    <a:pt x="223" y="71"/>
                    <a:pt x="230" y="65"/>
                    <a:pt x="230" y="65"/>
                  </a:cubicBezTo>
                  <a:cubicBezTo>
                    <a:pt x="230" y="65"/>
                    <a:pt x="214" y="55"/>
                    <a:pt x="216" y="50"/>
                  </a:cubicBezTo>
                  <a:cubicBezTo>
                    <a:pt x="217" y="48"/>
                    <a:pt x="219" y="45"/>
                    <a:pt x="222" y="42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Freeform 256">
              <a:extLst>
                <a:ext uri="{FF2B5EF4-FFF2-40B4-BE49-F238E27FC236}">
                  <a16:creationId xmlns:a16="http://schemas.microsoft.com/office/drawing/2014/main" id="{DB00C2A4-EBA2-1539-71A3-C04D27DA6C55}"/>
                </a:ext>
              </a:extLst>
            </p:cNvPr>
            <p:cNvSpPr>
              <a:spLocks/>
            </p:cNvSpPr>
            <p:nvPr/>
          </p:nvSpPr>
          <p:spPr bwMode="gray">
            <a:xfrm>
              <a:off x="-5748" y="-16041"/>
              <a:ext cx="463" cy="257"/>
            </a:xfrm>
            <a:custGeom>
              <a:avLst/>
              <a:gdLst>
                <a:gd name="T0" fmla="*/ 93 w 196"/>
                <a:gd name="T1" fmla="*/ 17 h 109"/>
                <a:gd name="T2" fmla="*/ 81 w 196"/>
                <a:gd name="T3" fmla="*/ 17 h 109"/>
                <a:gd name="T4" fmla="*/ 70 w 196"/>
                <a:gd name="T5" fmla="*/ 15 h 109"/>
                <a:gd name="T6" fmla="*/ 70 w 196"/>
                <a:gd name="T7" fmla="*/ 16 h 109"/>
                <a:gd name="T8" fmla="*/ 65 w 196"/>
                <a:gd name="T9" fmla="*/ 26 h 109"/>
                <a:gd name="T10" fmla="*/ 52 w 196"/>
                <a:gd name="T11" fmla="*/ 19 h 109"/>
                <a:gd name="T12" fmla="*/ 47 w 196"/>
                <a:gd name="T13" fmla="*/ 28 h 109"/>
                <a:gd name="T14" fmla="*/ 36 w 196"/>
                <a:gd name="T15" fmla="*/ 43 h 109"/>
                <a:gd name="T16" fmla="*/ 25 w 196"/>
                <a:gd name="T17" fmla="*/ 43 h 109"/>
                <a:gd name="T18" fmla="*/ 22 w 196"/>
                <a:gd name="T19" fmla="*/ 56 h 109"/>
                <a:gd name="T20" fmla="*/ 4 w 196"/>
                <a:gd name="T21" fmla="*/ 72 h 109"/>
                <a:gd name="T22" fmla="*/ 10 w 196"/>
                <a:gd name="T23" fmla="*/ 80 h 109"/>
                <a:gd name="T24" fmla="*/ 6 w 196"/>
                <a:gd name="T25" fmla="*/ 89 h 109"/>
                <a:gd name="T26" fmla="*/ 24 w 196"/>
                <a:gd name="T27" fmla="*/ 73 h 109"/>
                <a:gd name="T28" fmla="*/ 39 w 196"/>
                <a:gd name="T29" fmla="*/ 75 h 109"/>
                <a:gd name="T30" fmla="*/ 38 w 196"/>
                <a:gd name="T31" fmla="*/ 93 h 109"/>
                <a:gd name="T32" fmla="*/ 45 w 196"/>
                <a:gd name="T33" fmla="*/ 103 h 109"/>
                <a:gd name="T34" fmla="*/ 52 w 196"/>
                <a:gd name="T35" fmla="*/ 103 h 109"/>
                <a:gd name="T36" fmla="*/ 66 w 196"/>
                <a:gd name="T37" fmla="*/ 96 h 109"/>
                <a:gd name="T38" fmla="*/ 86 w 196"/>
                <a:gd name="T39" fmla="*/ 101 h 109"/>
                <a:gd name="T40" fmla="*/ 92 w 196"/>
                <a:gd name="T41" fmla="*/ 81 h 109"/>
                <a:gd name="T42" fmla="*/ 103 w 196"/>
                <a:gd name="T43" fmla="*/ 75 h 109"/>
                <a:gd name="T44" fmla="*/ 111 w 196"/>
                <a:gd name="T45" fmla="*/ 90 h 109"/>
                <a:gd name="T46" fmla="*/ 116 w 196"/>
                <a:gd name="T47" fmla="*/ 91 h 109"/>
                <a:gd name="T48" fmla="*/ 132 w 196"/>
                <a:gd name="T49" fmla="*/ 108 h 109"/>
                <a:gd name="T50" fmla="*/ 133 w 196"/>
                <a:gd name="T51" fmla="*/ 93 h 109"/>
                <a:gd name="T52" fmla="*/ 139 w 196"/>
                <a:gd name="T53" fmla="*/ 87 h 109"/>
                <a:gd name="T54" fmla="*/ 144 w 196"/>
                <a:gd name="T55" fmla="*/ 71 h 109"/>
                <a:gd name="T56" fmla="*/ 150 w 196"/>
                <a:gd name="T57" fmla="*/ 83 h 109"/>
                <a:gd name="T58" fmla="*/ 164 w 196"/>
                <a:gd name="T59" fmla="*/ 80 h 109"/>
                <a:gd name="T60" fmla="*/ 175 w 196"/>
                <a:gd name="T61" fmla="*/ 85 h 109"/>
                <a:gd name="T62" fmla="*/ 180 w 196"/>
                <a:gd name="T63" fmla="*/ 79 h 109"/>
                <a:gd name="T64" fmla="*/ 176 w 196"/>
                <a:gd name="T65" fmla="*/ 66 h 109"/>
                <a:gd name="T66" fmla="*/ 189 w 196"/>
                <a:gd name="T67" fmla="*/ 68 h 109"/>
                <a:gd name="T68" fmla="*/ 191 w 196"/>
                <a:gd name="T69" fmla="*/ 55 h 109"/>
                <a:gd name="T70" fmla="*/ 196 w 196"/>
                <a:gd name="T71" fmla="*/ 54 h 109"/>
                <a:gd name="T72" fmla="*/ 187 w 196"/>
                <a:gd name="T73" fmla="*/ 43 h 109"/>
                <a:gd name="T74" fmla="*/ 171 w 196"/>
                <a:gd name="T75" fmla="*/ 55 h 109"/>
                <a:gd name="T76" fmla="*/ 166 w 196"/>
                <a:gd name="T77" fmla="*/ 43 h 109"/>
                <a:gd name="T78" fmla="*/ 154 w 196"/>
                <a:gd name="T79" fmla="*/ 44 h 109"/>
                <a:gd name="T80" fmla="*/ 146 w 196"/>
                <a:gd name="T81" fmla="*/ 42 h 109"/>
                <a:gd name="T82" fmla="*/ 153 w 196"/>
                <a:gd name="T83" fmla="*/ 29 h 109"/>
                <a:gd name="T84" fmla="*/ 154 w 196"/>
                <a:gd name="T85" fmla="*/ 19 h 109"/>
                <a:gd name="T86" fmla="*/ 150 w 196"/>
                <a:gd name="T87" fmla="*/ 19 h 109"/>
                <a:gd name="T88" fmla="*/ 144 w 196"/>
                <a:gd name="T89" fmla="*/ 11 h 109"/>
                <a:gd name="T90" fmla="*/ 134 w 196"/>
                <a:gd name="T91" fmla="*/ 8 h 109"/>
                <a:gd name="T92" fmla="*/ 125 w 196"/>
                <a:gd name="T93" fmla="*/ 8 h 109"/>
                <a:gd name="T94" fmla="*/ 109 w 196"/>
                <a:gd name="T95" fmla="*/ 1 h 109"/>
                <a:gd name="T96" fmla="*/ 107 w 196"/>
                <a:gd name="T97" fmla="*/ 14 h 109"/>
                <a:gd name="T98" fmla="*/ 103 w 196"/>
                <a:gd name="T99" fmla="*/ 10 h 109"/>
                <a:gd name="T100" fmla="*/ 93 w 196"/>
                <a:gd name="T101" fmla="*/ 1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6" h="109">
                  <a:moveTo>
                    <a:pt x="93" y="17"/>
                  </a:moveTo>
                  <a:cubicBezTo>
                    <a:pt x="81" y="17"/>
                    <a:pt x="81" y="17"/>
                    <a:pt x="81" y="17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1" y="37"/>
                    <a:pt x="36" y="43"/>
                  </a:cubicBezTo>
                  <a:cubicBezTo>
                    <a:pt x="31" y="49"/>
                    <a:pt x="25" y="43"/>
                    <a:pt x="25" y="43"/>
                  </a:cubicBezTo>
                  <a:cubicBezTo>
                    <a:pt x="25" y="43"/>
                    <a:pt x="28" y="49"/>
                    <a:pt x="22" y="56"/>
                  </a:cubicBezTo>
                  <a:cubicBezTo>
                    <a:pt x="16" y="63"/>
                    <a:pt x="4" y="72"/>
                    <a:pt x="4" y="72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10" y="80"/>
                    <a:pt x="0" y="88"/>
                    <a:pt x="6" y="89"/>
                  </a:cubicBezTo>
                  <a:cubicBezTo>
                    <a:pt x="12" y="90"/>
                    <a:pt x="17" y="77"/>
                    <a:pt x="24" y="73"/>
                  </a:cubicBezTo>
                  <a:cubicBezTo>
                    <a:pt x="31" y="69"/>
                    <a:pt x="39" y="75"/>
                    <a:pt x="39" y="75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3"/>
                    <a:pt x="45" y="99"/>
                    <a:pt x="45" y="103"/>
                  </a:cubicBezTo>
                  <a:cubicBezTo>
                    <a:pt x="52" y="103"/>
                    <a:pt x="52" y="103"/>
                    <a:pt x="52" y="103"/>
                  </a:cubicBezTo>
                  <a:cubicBezTo>
                    <a:pt x="52" y="103"/>
                    <a:pt x="61" y="96"/>
                    <a:pt x="66" y="96"/>
                  </a:cubicBezTo>
                  <a:cubicBezTo>
                    <a:pt x="71" y="96"/>
                    <a:pt x="76" y="109"/>
                    <a:pt x="86" y="101"/>
                  </a:cubicBezTo>
                  <a:cubicBezTo>
                    <a:pt x="96" y="92"/>
                    <a:pt x="92" y="81"/>
                    <a:pt x="92" y="81"/>
                  </a:cubicBezTo>
                  <a:cubicBezTo>
                    <a:pt x="92" y="81"/>
                    <a:pt x="99" y="75"/>
                    <a:pt x="103" y="75"/>
                  </a:cubicBezTo>
                  <a:cubicBezTo>
                    <a:pt x="107" y="75"/>
                    <a:pt x="111" y="90"/>
                    <a:pt x="111" y="90"/>
                  </a:cubicBezTo>
                  <a:cubicBezTo>
                    <a:pt x="116" y="91"/>
                    <a:pt x="116" y="91"/>
                    <a:pt x="116" y="91"/>
                  </a:cubicBezTo>
                  <a:cubicBezTo>
                    <a:pt x="132" y="108"/>
                    <a:pt x="132" y="108"/>
                    <a:pt x="132" y="108"/>
                  </a:cubicBezTo>
                  <a:cubicBezTo>
                    <a:pt x="133" y="93"/>
                    <a:pt x="133" y="93"/>
                    <a:pt x="133" y="93"/>
                  </a:cubicBezTo>
                  <a:cubicBezTo>
                    <a:pt x="139" y="87"/>
                    <a:pt x="139" y="87"/>
                    <a:pt x="139" y="87"/>
                  </a:cubicBezTo>
                  <a:cubicBezTo>
                    <a:pt x="144" y="71"/>
                    <a:pt x="144" y="71"/>
                    <a:pt x="144" y="71"/>
                  </a:cubicBezTo>
                  <a:cubicBezTo>
                    <a:pt x="150" y="83"/>
                    <a:pt x="150" y="83"/>
                    <a:pt x="150" y="83"/>
                  </a:cubicBezTo>
                  <a:cubicBezTo>
                    <a:pt x="164" y="80"/>
                    <a:pt x="164" y="80"/>
                    <a:pt x="164" y="80"/>
                  </a:cubicBezTo>
                  <a:cubicBezTo>
                    <a:pt x="175" y="85"/>
                    <a:pt x="175" y="85"/>
                    <a:pt x="175" y="85"/>
                  </a:cubicBezTo>
                  <a:cubicBezTo>
                    <a:pt x="180" y="79"/>
                    <a:pt x="180" y="79"/>
                    <a:pt x="180" y="79"/>
                  </a:cubicBezTo>
                  <a:cubicBezTo>
                    <a:pt x="180" y="79"/>
                    <a:pt x="165" y="68"/>
                    <a:pt x="176" y="66"/>
                  </a:cubicBezTo>
                  <a:cubicBezTo>
                    <a:pt x="187" y="64"/>
                    <a:pt x="189" y="68"/>
                    <a:pt x="189" y="68"/>
                  </a:cubicBezTo>
                  <a:cubicBezTo>
                    <a:pt x="191" y="55"/>
                    <a:pt x="191" y="55"/>
                    <a:pt x="191" y="55"/>
                  </a:cubicBezTo>
                  <a:cubicBezTo>
                    <a:pt x="196" y="54"/>
                    <a:pt x="196" y="54"/>
                    <a:pt x="196" y="54"/>
                  </a:cubicBezTo>
                  <a:cubicBezTo>
                    <a:pt x="195" y="50"/>
                    <a:pt x="192" y="44"/>
                    <a:pt x="187" y="43"/>
                  </a:cubicBezTo>
                  <a:cubicBezTo>
                    <a:pt x="176" y="43"/>
                    <a:pt x="178" y="52"/>
                    <a:pt x="171" y="55"/>
                  </a:cubicBezTo>
                  <a:cubicBezTo>
                    <a:pt x="163" y="57"/>
                    <a:pt x="166" y="43"/>
                    <a:pt x="166" y="43"/>
                  </a:cubicBezTo>
                  <a:cubicBezTo>
                    <a:pt x="154" y="44"/>
                    <a:pt x="154" y="44"/>
                    <a:pt x="154" y="44"/>
                  </a:cubicBezTo>
                  <a:cubicBezTo>
                    <a:pt x="154" y="44"/>
                    <a:pt x="150" y="44"/>
                    <a:pt x="146" y="42"/>
                  </a:cubicBezTo>
                  <a:cubicBezTo>
                    <a:pt x="142" y="39"/>
                    <a:pt x="148" y="31"/>
                    <a:pt x="153" y="29"/>
                  </a:cubicBezTo>
                  <a:cubicBezTo>
                    <a:pt x="159" y="27"/>
                    <a:pt x="154" y="19"/>
                    <a:pt x="154" y="19"/>
                  </a:cubicBezTo>
                  <a:cubicBezTo>
                    <a:pt x="150" y="19"/>
                    <a:pt x="150" y="19"/>
                    <a:pt x="150" y="19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134" y="8"/>
                    <a:pt x="134" y="8"/>
                    <a:pt x="134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16" y="0"/>
                    <a:pt x="109" y="1"/>
                  </a:cubicBezTo>
                  <a:cubicBezTo>
                    <a:pt x="102" y="2"/>
                    <a:pt x="107" y="14"/>
                    <a:pt x="107" y="14"/>
                  </a:cubicBezTo>
                  <a:cubicBezTo>
                    <a:pt x="103" y="10"/>
                    <a:pt x="103" y="10"/>
                    <a:pt x="103" y="10"/>
                  </a:cubicBezTo>
                  <a:lnTo>
                    <a:pt x="93" y="17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Freeform 257">
              <a:extLst>
                <a:ext uri="{FF2B5EF4-FFF2-40B4-BE49-F238E27FC236}">
                  <a16:creationId xmlns:a16="http://schemas.microsoft.com/office/drawing/2014/main" id="{24CD691D-60EF-2B6B-257C-06482EC475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5686" y="-15949"/>
              <a:ext cx="1235" cy="1309"/>
            </a:xfrm>
            <a:custGeom>
              <a:avLst/>
              <a:gdLst>
                <a:gd name="T0" fmla="*/ 341 w 523"/>
                <a:gd name="T1" fmla="*/ 483 h 554"/>
                <a:gd name="T2" fmla="*/ 278 w 523"/>
                <a:gd name="T3" fmla="*/ 485 h 554"/>
                <a:gd name="T4" fmla="*/ 281 w 523"/>
                <a:gd name="T5" fmla="*/ 507 h 554"/>
                <a:gd name="T6" fmla="*/ 330 w 523"/>
                <a:gd name="T7" fmla="*/ 531 h 554"/>
                <a:gd name="T8" fmla="*/ 372 w 523"/>
                <a:gd name="T9" fmla="*/ 513 h 554"/>
                <a:gd name="T10" fmla="*/ 378 w 523"/>
                <a:gd name="T11" fmla="*/ 479 h 554"/>
                <a:gd name="T12" fmla="*/ 68 w 523"/>
                <a:gd name="T13" fmla="*/ 320 h 554"/>
                <a:gd name="T14" fmla="*/ 75 w 523"/>
                <a:gd name="T15" fmla="*/ 381 h 554"/>
                <a:gd name="T16" fmla="*/ 78 w 523"/>
                <a:gd name="T17" fmla="*/ 424 h 554"/>
                <a:gd name="T18" fmla="*/ 103 w 523"/>
                <a:gd name="T19" fmla="*/ 414 h 554"/>
                <a:gd name="T20" fmla="*/ 133 w 523"/>
                <a:gd name="T21" fmla="*/ 388 h 554"/>
                <a:gd name="T22" fmla="*/ 140 w 523"/>
                <a:gd name="T23" fmla="*/ 352 h 554"/>
                <a:gd name="T24" fmla="*/ 481 w 523"/>
                <a:gd name="T25" fmla="*/ 337 h 554"/>
                <a:gd name="T26" fmla="*/ 414 w 523"/>
                <a:gd name="T27" fmla="*/ 281 h 554"/>
                <a:gd name="T28" fmla="*/ 311 w 523"/>
                <a:gd name="T29" fmla="*/ 216 h 554"/>
                <a:gd name="T30" fmla="*/ 249 w 523"/>
                <a:gd name="T31" fmla="*/ 148 h 554"/>
                <a:gd name="T32" fmla="*/ 244 w 523"/>
                <a:gd name="T33" fmla="*/ 92 h 554"/>
                <a:gd name="T34" fmla="*/ 294 w 523"/>
                <a:gd name="T35" fmla="*/ 46 h 554"/>
                <a:gd name="T36" fmla="*/ 265 w 523"/>
                <a:gd name="T37" fmla="*/ 29 h 554"/>
                <a:gd name="T38" fmla="*/ 243 w 523"/>
                <a:gd name="T39" fmla="*/ 16 h 554"/>
                <a:gd name="T40" fmla="*/ 195 w 523"/>
                <a:gd name="T41" fmla="*/ 7 h 554"/>
                <a:gd name="T42" fmla="*/ 165 w 523"/>
                <a:gd name="T43" fmla="*/ 16 h 554"/>
                <a:gd name="T44" fmla="*/ 154 w 523"/>
                <a:gd name="T45" fmla="*/ 40 h 554"/>
                <a:gd name="T46" fmla="*/ 124 w 523"/>
                <a:gd name="T47" fmla="*/ 44 h 554"/>
                <a:gd name="T48" fmla="*/ 107 w 523"/>
                <a:gd name="T49" fmla="*/ 54 h 554"/>
                <a:gd name="T50" fmla="*/ 85 w 523"/>
                <a:gd name="T51" fmla="*/ 51 h 554"/>
                <a:gd name="T52" fmla="*/ 60 w 523"/>
                <a:gd name="T53" fmla="*/ 62 h 554"/>
                <a:gd name="T54" fmla="*/ 19 w 523"/>
                <a:gd name="T55" fmla="*/ 64 h 554"/>
                <a:gd name="T56" fmla="*/ 28 w 523"/>
                <a:gd name="T57" fmla="*/ 93 h 554"/>
                <a:gd name="T58" fmla="*/ 6 w 523"/>
                <a:gd name="T59" fmla="*/ 118 h 554"/>
                <a:gd name="T60" fmla="*/ 12 w 523"/>
                <a:gd name="T61" fmla="*/ 141 h 554"/>
                <a:gd name="T62" fmla="*/ 45 w 523"/>
                <a:gd name="T63" fmla="*/ 160 h 554"/>
                <a:gd name="T64" fmla="*/ 58 w 523"/>
                <a:gd name="T65" fmla="*/ 173 h 554"/>
                <a:gd name="T66" fmla="*/ 160 w 523"/>
                <a:gd name="T67" fmla="*/ 192 h 554"/>
                <a:gd name="T68" fmla="*/ 193 w 523"/>
                <a:gd name="T69" fmla="*/ 236 h 554"/>
                <a:gd name="T70" fmla="*/ 259 w 523"/>
                <a:gd name="T71" fmla="*/ 294 h 554"/>
                <a:gd name="T72" fmla="*/ 325 w 523"/>
                <a:gd name="T73" fmla="*/ 334 h 554"/>
                <a:gd name="T74" fmla="*/ 397 w 523"/>
                <a:gd name="T75" fmla="*/ 373 h 554"/>
                <a:gd name="T76" fmla="*/ 418 w 523"/>
                <a:gd name="T77" fmla="*/ 446 h 554"/>
                <a:gd name="T78" fmla="*/ 395 w 523"/>
                <a:gd name="T79" fmla="*/ 489 h 554"/>
                <a:gd name="T80" fmla="*/ 435 w 523"/>
                <a:gd name="T81" fmla="*/ 466 h 554"/>
                <a:gd name="T82" fmla="*/ 452 w 523"/>
                <a:gd name="T83" fmla="*/ 408 h 554"/>
                <a:gd name="T84" fmla="*/ 468 w 523"/>
                <a:gd name="T85" fmla="*/ 361 h 554"/>
                <a:gd name="T86" fmla="*/ 515 w 523"/>
                <a:gd name="T87" fmla="*/ 363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23" h="554">
                  <a:moveTo>
                    <a:pt x="378" y="479"/>
                  </a:moveTo>
                  <a:cubicBezTo>
                    <a:pt x="378" y="479"/>
                    <a:pt x="365" y="472"/>
                    <a:pt x="358" y="474"/>
                  </a:cubicBezTo>
                  <a:cubicBezTo>
                    <a:pt x="351" y="476"/>
                    <a:pt x="341" y="483"/>
                    <a:pt x="341" y="483"/>
                  </a:cubicBezTo>
                  <a:cubicBezTo>
                    <a:pt x="341" y="483"/>
                    <a:pt x="322" y="486"/>
                    <a:pt x="314" y="486"/>
                  </a:cubicBezTo>
                  <a:cubicBezTo>
                    <a:pt x="306" y="486"/>
                    <a:pt x="292" y="470"/>
                    <a:pt x="289" y="473"/>
                  </a:cubicBezTo>
                  <a:cubicBezTo>
                    <a:pt x="286" y="476"/>
                    <a:pt x="278" y="485"/>
                    <a:pt x="278" y="485"/>
                  </a:cubicBezTo>
                  <a:cubicBezTo>
                    <a:pt x="265" y="477"/>
                    <a:pt x="265" y="477"/>
                    <a:pt x="265" y="477"/>
                  </a:cubicBezTo>
                  <a:cubicBezTo>
                    <a:pt x="265" y="477"/>
                    <a:pt x="245" y="482"/>
                    <a:pt x="253" y="494"/>
                  </a:cubicBezTo>
                  <a:cubicBezTo>
                    <a:pt x="264" y="510"/>
                    <a:pt x="276" y="505"/>
                    <a:pt x="281" y="507"/>
                  </a:cubicBezTo>
                  <a:cubicBezTo>
                    <a:pt x="286" y="509"/>
                    <a:pt x="291" y="517"/>
                    <a:pt x="293" y="521"/>
                  </a:cubicBezTo>
                  <a:cubicBezTo>
                    <a:pt x="295" y="525"/>
                    <a:pt x="317" y="535"/>
                    <a:pt x="317" y="535"/>
                  </a:cubicBezTo>
                  <a:cubicBezTo>
                    <a:pt x="330" y="531"/>
                    <a:pt x="330" y="531"/>
                    <a:pt x="330" y="531"/>
                  </a:cubicBezTo>
                  <a:cubicBezTo>
                    <a:pt x="330" y="531"/>
                    <a:pt x="344" y="552"/>
                    <a:pt x="363" y="553"/>
                  </a:cubicBezTo>
                  <a:cubicBezTo>
                    <a:pt x="382" y="554"/>
                    <a:pt x="377" y="537"/>
                    <a:pt x="377" y="537"/>
                  </a:cubicBezTo>
                  <a:cubicBezTo>
                    <a:pt x="377" y="537"/>
                    <a:pt x="372" y="520"/>
                    <a:pt x="372" y="513"/>
                  </a:cubicBezTo>
                  <a:cubicBezTo>
                    <a:pt x="372" y="506"/>
                    <a:pt x="377" y="496"/>
                    <a:pt x="383" y="491"/>
                  </a:cubicBezTo>
                  <a:cubicBezTo>
                    <a:pt x="389" y="486"/>
                    <a:pt x="383" y="469"/>
                    <a:pt x="383" y="469"/>
                  </a:cubicBezTo>
                  <a:lnTo>
                    <a:pt x="378" y="479"/>
                  </a:lnTo>
                  <a:close/>
                  <a:moveTo>
                    <a:pt x="119" y="312"/>
                  </a:moveTo>
                  <a:cubicBezTo>
                    <a:pt x="107" y="311"/>
                    <a:pt x="95" y="332"/>
                    <a:pt x="87" y="332"/>
                  </a:cubicBezTo>
                  <a:cubicBezTo>
                    <a:pt x="79" y="332"/>
                    <a:pt x="68" y="320"/>
                    <a:pt x="68" y="320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4" y="331"/>
                    <a:pt x="79" y="344"/>
                    <a:pt x="79" y="354"/>
                  </a:cubicBezTo>
                  <a:cubicBezTo>
                    <a:pt x="79" y="364"/>
                    <a:pt x="75" y="381"/>
                    <a:pt x="75" y="381"/>
                  </a:cubicBezTo>
                  <a:cubicBezTo>
                    <a:pt x="81" y="388"/>
                    <a:pt x="81" y="388"/>
                    <a:pt x="81" y="388"/>
                  </a:cubicBezTo>
                  <a:cubicBezTo>
                    <a:pt x="73" y="393"/>
                    <a:pt x="73" y="393"/>
                    <a:pt x="73" y="393"/>
                  </a:cubicBezTo>
                  <a:cubicBezTo>
                    <a:pt x="78" y="424"/>
                    <a:pt x="78" y="424"/>
                    <a:pt x="78" y="424"/>
                  </a:cubicBezTo>
                  <a:cubicBezTo>
                    <a:pt x="69" y="424"/>
                    <a:pt x="69" y="424"/>
                    <a:pt x="69" y="424"/>
                  </a:cubicBezTo>
                  <a:cubicBezTo>
                    <a:pt x="82" y="435"/>
                    <a:pt x="82" y="435"/>
                    <a:pt x="82" y="435"/>
                  </a:cubicBezTo>
                  <a:cubicBezTo>
                    <a:pt x="98" y="435"/>
                    <a:pt x="103" y="414"/>
                    <a:pt x="103" y="414"/>
                  </a:cubicBezTo>
                  <a:cubicBezTo>
                    <a:pt x="103" y="414"/>
                    <a:pt x="115" y="430"/>
                    <a:pt x="124" y="423"/>
                  </a:cubicBezTo>
                  <a:cubicBezTo>
                    <a:pt x="133" y="416"/>
                    <a:pt x="129" y="398"/>
                    <a:pt x="129" y="398"/>
                  </a:cubicBezTo>
                  <a:cubicBezTo>
                    <a:pt x="133" y="388"/>
                    <a:pt x="133" y="388"/>
                    <a:pt x="133" y="388"/>
                  </a:cubicBezTo>
                  <a:cubicBezTo>
                    <a:pt x="133" y="371"/>
                    <a:pt x="133" y="371"/>
                    <a:pt x="133" y="371"/>
                  </a:cubicBezTo>
                  <a:cubicBezTo>
                    <a:pt x="133" y="371"/>
                    <a:pt x="127" y="369"/>
                    <a:pt x="128" y="364"/>
                  </a:cubicBezTo>
                  <a:cubicBezTo>
                    <a:pt x="129" y="359"/>
                    <a:pt x="140" y="359"/>
                    <a:pt x="140" y="352"/>
                  </a:cubicBezTo>
                  <a:cubicBezTo>
                    <a:pt x="140" y="345"/>
                    <a:pt x="131" y="313"/>
                    <a:pt x="119" y="312"/>
                  </a:cubicBezTo>
                  <a:close/>
                  <a:moveTo>
                    <a:pt x="515" y="363"/>
                  </a:moveTo>
                  <a:cubicBezTo>
                    <a:pt x="507" y="354"/>
                    <a:pt x="481" y="337"/>
                    <a:pt x="481" y="337"/>
                  </a:cubicBezTo>
                  <a:cubicBezTo>
                    <a:pt x="451" y="321"/>
                    <a:pt x="451" y="321"/>
                    <a:pt x="451" y="321"/>
                  </a:cubicBezTo>
                  <a:cubicBezTo>
                    <a:pt x="451" y="321"/>
                    <a:pt x="398" y="308"/>
                    <a:pt x="402" y="299"/>
                  </a:cubicBezTo>
                  <a:cubicBezTo>
                    <a:pt x="406" y="290"/>
                    <a:pt x="415" y="289"/>
                    <a:pt x="414" y="281"/>
                  </a:cubicBezTo>
                  <a:cubicBezTo>
                    <a:pt x="413" y="273"/>
                    <a:pt x="365" y="271"/>
                    <a:pt x="365" y="271"/>
                  </a:cubicBezTo>
                  <a:cubicBezTo>
                    <a:pt x="365" y="271"/>
                    <a:pt x="351" y="266"/>
                    <a:pt x="334" y="249"/>
                  </a:cubicBezTo>
                  <a:cubicBezTo>
                    <a:pt x="317" y="232"/>
                    <a:pt x="311" y="216"/>
                    <a:pt x="311" y="216"/>
                  </a:cubicBezTo>
                  <a:cubicBezTo>
                    <a:pt x="311" y="216"/>
                    <a:pt x="306" y="192"/>
                    <a:pt x="296" y="186"/>
                  </a:cubicBezTo>
                  <a:cubicBezTo>
                    <a:pt x="286" y="180"/>
                    <a:pt x="275" y="170"/>
                    <a:pt x="275" y="170"/>
                  </a:cubicBezTo>
                  <a:cubicBezTo>
                    <a:pt x="249" y="148"/>
                    <a:pt x="249" y="148"/>
                    <a:pt x="249" y="148"/>
                  </a:cubicBezTo>
                  <a:cubicBezTo>
                    <a:pt x="249" y="148"/>
                    <a:pt x="235" y="126"/>
                    <a:pt x="240" y="124"/>
                  </a:cubicBezTo>
                  <a:cubicBezTo>
                    <a:pt x="245" y="122"/>
                    <a:pt x="253" y="120"/>
                    <a:pt x="253" y="115"/>
                  </a:cubicBezTo>
                  <a:cubicBezTo>
                    <a:pt x="253" y="110"/>
                    <a:pt x="236" y="101"/>
                    <a:pt x="244" y="92"/>
                  </a:cubicBezTo>
                  <a:cubicBezTo>
                    <a:pt x="252" y="83"/>
                    <a:pt x="275" y="77"/>
                    <a:pt x="275" y="77"/>
                  </a:cubicBezTo>
                  <a:cubicBezTo>
                    <a:pt x="289" y="71"/>
                    <a:pt x="289" y="71"/>
                    <a:pt x="289" y="71"/>
                  </a:cubicBezTo>
                  <a:cubicBezTo>
                    <a:pt x="294" y="46"/>
                    <a:pt x="294" y="46"/>
                    <a:pt x="294" y="46"/>
                  </a:cubicBezTo>
                  <a:cubicBezTo>
                    <a:pt x="286" y="43"/>
                    <a:pt x="286" y="43"/>
                    <a:pt x="286" y="43"/>
                  </a:cubicBezTo>
                  <a:cubicBezTo>
                    <a:pt x="286" y="43"/>
                    <a:pt x="294" y="36"/>
                    <a:pt x="291" y="30"/>
                  </a:cubicBezTo>
                  <a:cubicBezTo>
                    <a:pt x="288" y="25"/>
                    <a:pt x="265" y="29"/>
                    <a:pt x="265" y="29"/>
                  </a:cubicBezTo>
                  <a:cubicBezTo>
                    <a:pt x="253" y="29"/>
                    <a:pt x="253" y="29"/>
                    <a:pt x="253" y="29"/>
                  </a:cubicBezTo>
                  <a:cubicBezTo>
                    <a:pt x="248" y="16"/>
                    <a:pt x="248" y="16"/>
                    <a:pt x="248" y="16"/>
                  </a:cubicBezTo>
                  <a:cubicBezTo>
                    <a:pt x="243" y="16"/>
                    <a:pt x="243" y="16"/>
                    <a:pt x="243" y="16"/>
                  </a:cubicBezTo>
                  <a:cubicBezTo>
                    <a:pt x="243" y="16"/>
                    <a:pt x="242" y="2"/>
                    <a:pt x="233" y="1"/>
                  </a:cubicBezTo>
                  <a:cubicBezTo>
                    <a:pt x="223" y="0"/>
                    <a:pt x="221" y="9"/>
                    <a:pt x="221" y="9"/>
                  </a:cubicBezTo>
                  <a:cubicBezTo>
                    <a:pt x="195" y="7"/>
                    <a:pt x="195" y="7"/>
                    <a:pt x="195" y="7"/>
                  </a:cubicBezTo>
                  <a:cubicBezTo>
                    <a:pt x="185" y="19"/>
                    <a:pt x="185" y="19"/>
                    <a:pt x="185" y="19"/>
                  </a:cubicBezTo>
                  <a:cubicBezTo>
                    <a:pt x="179" y="15"/>
                    <a:pt x="179" y="15"/>
                    <a:pt x="179" y="15"/>
                  </a:cubicBezTo>
                  <a:cubicBezTo>
                    <a:pt x="165" y="16"/>
                    <a:pt x="165" y="16"/>
                    <a:pt x="165" y="16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3" y="29"/>
                    <a:pt x="161" y="25"/>
                    <a:pt x="150" y="27"/>
                  </a:cubicBezTo>
                  <a:cubicBezTo>
                    <a:pt x="139" y="29"/>
                    <a:pt x="154" y="40"/>
                    <a:pt x="154" y="40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38" y="41"/>
                    <a:pt x="138" y="41"/>
                    <a:pt x="138" y="41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3" y="48"/>
                    <a:pt x="113" y="48"/>
                    <a:pt x="113" y="48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1" y="36"/>
                    <a:pt x="77" y="36"/>
                  </a:cubicBezTo>
                  <a:cubicBezTo>
                    <a:pt x="73" y="36"/>
                    <a:pt x="66" y="42"/>
                    <a:pt x="66" y="42"/>
                  </a:cubicBezTo>
                  <a:cubicBezTo>
                    <a:pt x="66" y="42"/>
                    <a:pt x="70" y="53"/>
                    <a:pt x="60" y="62"/>
                  </a:cubicBezTo>
                  <a:cubicBezTo>
                    <a:pt x="50" y="70"/>
                    <a:pt x="45" y="57"/>
                    <a:pt x="40" y="57"/>
                  </a:cubicBezTo>
                  <a:cubicBezTo>
                    <a:pt x="35" y="57"/>
                    <a:pt x="26" y="64"/>
                    <a:pt x="26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8"/>
                    <a:pt x="9" y="72"/>
                    <a:pt x="9" y="72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7" y="80"/>
                    <a:pt x="28" y="84"/>
                    <a:pt x="28" y="93"/>
                  </a:cubicBezTo>
                  <a:cubicBezTo>
                    <a:pt x="28" y="102"/>
                    <a:pt x="9" y="103"/>
                    <a:pt x="9" y="103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7" y="121"/>
                    <a:pt x="18" y="126"/>
                  </a:cubicBezTo>
                  <a:cubicBezTo>
                    <a:pt x="19" y="131"/>
                    <a:pt x="13" y="131"/>
                    <a:pt x="12" y="141"/>
                  </a:cubicBezTo>
                  <a:cubicBezTo>
                    <a:pt x="11" y="151"/>
                    <a:pt x="25" y="152"/>
                    <a:pt x="25" y="152"/>
                  </a:cubicBezTo>
                  <a:cubicBezTo>
                    <a:pt x="28" y="158"/>
                    <a:pt x="28" y="158"/>
                    <a:pt x="28" y="158"/>
                  </a:cubicBezTo>
                  <a:cubicBezTo>
                    <a:pt x="28" y="158"/>
                    <a:pt x="42" y="156"/>
                    <a:pt x="45" y="160"/>
                  </a:cubicBezTo>
                  <a:cubicBezTo>
                    <a:pt x="48" y="164"/>
                    <a:pt x="42" y="174"/>
                    <a:pt x="38" y="174"/>
                  </a:cubicBezTo>
                  <a:cubicBezTo>
                    <a:pt x="36" y="174"/>
                    <a:pt x="35" y="176"/>
                    <a:pt x="35" y="179"/>
                  </a:cubicBezTo>
                  <a:cubicBezTo>
                    <a:pt x="44" y="178"/>
                    <a:pt x="54" y="177"/>
                    <a:pt x="58" y="173"/>
                  </a:cubicBezTo>
                  <a:cubicBezTo>
                    <a:pt x="65" y="166"/>
                    <a:pt x="83" y="145"/>
                    <a:pt x="93" y="145"/>
                  </a:cubicBezTo>
                  <a:cubicBezTo>
                    <a:pt x="103" y="145"/>
                    <a:pt x="132" y="152"/>
                    <a:pt x="144" y="162"/>
                  </a:cubicBezTo>
                  <a:cubicBezTo>
                    <a:pt x="156" y="172"/>
                    <a:pt x="160" y="192"/>
                    <a:pt x="160" y="192"/>
                  </a:cubicBezTo>
                  <a:cubicBezTo>
                    <a:pt x="168" y="200"/>
                    <a:pt x="168" y="200"/>
                    <a:pt x="168" y="200"/>
                  </a:cubicBezTo>
                  <a:cubicBezTo>
                    <a:pt x="168" y="200"/>
                    <a:pt x="160" y="221"/>
                    <a:pt x="169" y="226"/>
                  </a:cubicBezTo>
                  <a:cubicBezTo>
                    <a:pt x="178" y="231"/>
                    <a:pt x="193" y="236"/>
                    <a:pt x="193" y="236"/>
                  </a:cubicBezTo>
                  <a:cubicBezTo>
                    <a:pt x="197" y="249"/>
                    <a:pt x="197" y="249"/>
                    <a:pt x="197" y="249"/>
                  </a:cubicBezTo>
                  <a:cubicBezTo>
                    <a:pt x="217" y="250"/>
                    <a:pt x="217" y="250"/>
                    <a:pt x="217" y="250"/>
                  </a:cubicBezTo>
                  <a:cubicBezTo>
                    <a:pt x="217" y="250"/>
                    <a:pt x="250" y="284"/>
                    <a:pt x="259" y="294"/>
                  </a:cubicBezTo>
                  <a:cubicBezTo>
                    <a:pt x="268" y="304"/>
                    <a:pt x="276" y="313"/>
                    <a:pt x="276" y="313"/>
                  </a:cubicBezTo>
                  <a:cubicBezTo>
                    <a:pt x="303" y="314"/>
                    <a:pt x="303" y="314"/>
                    <a:pt x="303" y="314"/>
                  </a:cubicBezTo>
                  <a:cubicBezTo>
                    <a:pt x="303" y="314"/>
                    <a:pt x="310" y="329"/>
                    <a:pt x="325" y="334"/>
                  </a:cubicBezTo>
                  <a:cubicBezTo>
                    <a:pt x="340" y="339"/>
                    <a:pt x="359" y="335"/>
                    <a:pt x="362" y="342"/>
                  </a:cubicBezTo>
                  <a:cubicBezTo>
                    <a:pt x="365" y="349"/>
                    <a:pt x="366" y="372"/>
                    <a:pt x="379" y="375"/>
                  </a:cubicBezTo>
                  <a:cubicBezTo>
                    <a:pt x="392" y="378"/>
                    <a:pt x="397" y="373"/>
                    <a:pt x="397" y="373"/>
                  </a:cubicBezTo>
                  <a:cubicBezTo>
                    <a:pt x="397" y="373"/>
                    <a:pt x="400" y="392"/>
                    <a:pt x="402" y="406"/>
                  </a:cubicBezTo>
                  <a:cubicBezTo>
                    <a:pt x="404" y="420"/>
                    <a:pt x="417" y="419"/>
                    <a:pt x="417" y="429"/>
                  </a:cubicBezTo>
                  <a:cubicBezTo>
                    <a:pt x="417" y="439"/>
                    <a:pt x="418" y="446"/>
                    <a:pt x="418" y="446"/>
                  </a:cubicBezTo>
                  <a:cubicBezTo>
                    <a:pt x="405" y="445"/>
                    <a:pt x="405" y="445"/>
                    <a:pt x="405" y="445"/>
                  </a:cubicBezTo>
                  <a:cubicBezTo>
                    <a:pt x="404" y="460"/>
                    <a:pt x="404" y="460"/>
                    <a:pt x="404" y="460"/>
                  </a:cubicBezTo>
                  <a:cubicBezTo>
                    <a:pt x="404" y="460"/>
                    <a:pt x="384" y="489"/>
                    <a:pt x="395" y="489"/>
                  </a:cubicBezTo>
                  <a:cubicBezTo>
                    <a:pt x="406" y="489"/>
                    <a:pt x="414" y="483"/>
                    <a:pt x="414" y="483"/>
                  </a:cubicBezTo>
                  <a:cubicBezTo>
                    <a:pt x="422" y="468"/>
                    <a:pt x="422" y="468"/>
                    <a:pt x="422" y="468"/>
                  </a:cubicBezTo>
                  <a:cubicBezTo>
                    <a:pt x="435" y="466"/>
                    <a:pt x="435" y="466"/>
                    <a:pt x="435" y="466"/>
                  </a:cubicBezTo>
                  <a:cubicBezTo>
                    <a:pt x="435" y="466"/>
                    <a:pt x="432" y="444"/>
                    <a:pt x="436" y="441"/>
                  </a:cubicBezTo>
                  <a:cubicBezTo>
                    <a:pt x="440" y="438"/>
                    <a:pt x="461" y="432"/>
                    <a:pt x="461" y="432"/>
                  </a:cubicBezTo>
                  <a:cubicBezTo>
                    <a:pt x="461" y="432"/>
                    <a:pt x="456" y="412"/>
                    <a:pt x="452" y="408"/>
                  </a:cubicBezTo>
                  <a:cubicBezTo>
                    <a:pt x="448" y="404"/>
                    <a:pt x="430" y="399"/>
                    <a:pt x="431" y="392"/>
                  </a:cubicBezTo>
                  <a:cubicBezTo>
                    <a:pt x="432" y="385"/>
                    <a:pt x="445" y="351"/>
                    <a:pt x="453" y="354"/>
                  </a:cubicBezTo>
                  <a:cubicBezTo>
                    <a:pt x="461" y="357"/>
                    <a:pt x="468" y="361"/>
                    <a:pt x="468" y="361"/>
                  </a:cubicBezTo>
                  <a:cubicBezTo>
                    <a:pt x="488" y="361"/>
                    <a:pt x="488" y="361"/>
                    <a:pt x="488" y="361"/>
                  </a:cubicBezTo>
                  <a:cubicBezTo>
                    <a:pt x="488" y="361"/>
                    <a:pt x="491" y="384"/>
                    <a:pt x="505" y="385"/>
                  </a:cubicBezTo>
                  <a:cubicBezTo>
                    <a:pt x="519" y="386"/>
                    <a:pt x="523" y="372"/>
                    <a:pt x="515" y="363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 258">
              <a:extLst>
                <a:ext uri="{FF2B5EF4-FFF2-40B4-BE49-F238E27FC236}">
                  <a16:creationId xmlns:a16="http://schemas.microsoft.com/office/drawing/2014/main" id="{48C89637-6A8A-553C-6522-D601510BFD70}"/>
                </a:ext>
              </a:extLst>
            </p:cNvPr>
            <p:cNvSpPr>
              <a:spLocks/>
            </p:cNvSpPr>
            <p:nvPr/>
          </p:nvSpPr>
          <p:spPr bwMode="gray">
            <a:xfrm>
              <a:off x="-5138" y="-16436"/>
              <a:ext cx="661" cy="312"/>
            </a:xfrm>
            <a:custGeom>
              <a:avLst/>
              <a:gdLst>
                <a:gd name="T0" fmla="*/ 268 w 280"/>
                <a:gd name="T1" fmla="*/ 67 h 132"/>
                <a:gd name="T2" fmla="*/ 255 w 280"/>
                <a:gd name="T3" fmla="*/ 60 h 132"/>
                <a:gd name="T4" fmla="*/ 240 w 280"/>
                <a:gd name="T5" fmla="*/ 57 h 132"/>
                <a:gd name="T6" fmla="*/ 219 w 280"/>
                <a:gd name="T7" fmla="*/ 42 h 132"/>
                <a:gd name="T8" fmla="*/ 196 w 280"/>
                <a:gd name="T9" fmla="*/ 47 h 132"/>
                <a:gd name="T10" fmla="*/ 177 w 280"/>
                <a:gd name="T11" fmla="*/ 35 h 132"/>
                <a:gd name="T12" fmla="*/ 178 w 280"/>
                <a:gd name="T13" fmla="*/ 28 h 132"/>
                <a:gd name="T14" fmla="*/ 159 w 280"/>
                <a:gd name="T15" fmla="*/ 24 h 132"/>
                <a:gd name="T16" fmla="*/ 132 w 280"/>
                <a:gd name="T17" fmla="*/ 13 h 132"/>
                <a:gd name="T18" fmla="*/ 116 w 280"/>
                <a:gd name="T19" fmla="*/ 2 h 132"/>
                <a:gd name="T20" fmla="*/ 108 w 280"/>
                <a:gd name="T21" fmla="*/ 11 h 132"/>
                <a:gd name="T22" fmla="*/ 87 w 280"/>
                <a:gd name="T23" fmla="*/ 11 h 132"/>
                <a:gd name="T24" fmla="*/ 72 w 280"/>
                <a:gd name="T25" fmla="*/ 19 h 132"/>
                <a:gd name="T26" fmla="*/ 56 w 280"/>
                <a:gd name="T27" fmla="*/ 24 h 132"/>
                <a:gd name="T28" fmla="*/ 38 w 280"/>
                <a:gd name="T29" fmla="*/ 36 h 132"/>
                <a:gd name="T30" fmla="*/ 21 w 280"/>
                <a:gd name="T31" fmla="*/ 36 h 132"/>
                <a:gd name="T32" fmla="*/ 11 w 280"/>
                <a:gd name="T33" fmla="*/ 42 h 132"/>
                <a:gd name="T34" fmla="*/ 5 w 280"/>
                <a:gd name="T35" fmla="*/ 50 h 132"/>
                <a:gd name="T36" fmla="*/ 17 w 280"/>
                <a:gd name="T37" fmla="*/ 60 h 132"/>
                <a:gd name="T38" fmla="*/ 19 w 280"/>
                <a:gd name="T39" fmla="*/ 74 h 132"/>
                <a:gd name="T40" fmla="*/ 27 w 280"/>
                <a:gd name="T41" fmla="*/ 82 h 132"/>
                <a:gd name="T42" fmla="*/ 42 w 280"/>
                <a:gd name="T43" fmla="*/ 90 h 132"/>
                <a:gd name="T44" fmla="*/ 49 w 280"/>
                <a:gd name="T45" fmla="*/ 98 h 132"/>
                <a:gd name="T46" fmla="*/ 65 w 280"/>
                <a:gd name="T47" fmla="*/ 108 h 132"/>
                <a:gd name="T48" fmla="*/ 87 w 280"/>
                <a:gd name="T49" fmla="*/ 131 h 132"/>
                <a:gd name="T50" fmla="*/ 110 w 280"/>
                <a:gd name="T51" fmla="*/ 132 h 132"/>
                <a:gd name="T52" fmla="*/ 115 w 280"/>
                <a:gd name="T53" fmla="*/ 119 h 132"/>
                <a:gd name="T54" fmla="*/ 142 w 280"/>
                <a:gd name="T55" fmla="*/ 112 h 132"/>
                <a:gd name="T56" fmla="*/ 158 w 280"/>
                <a:gd name="T57" fmla="*/ 113 h 132"/>
                <a:gd name="T58" fmla="*/ 173 w 280"/>
                <a:gd name="T59" fmla="*/ 120 h 132"/>
                <a:gd name="T60" fmla="*/ 200 w 280"/>
                <a:gd name="T61" fmla="*/ 123 h 132"/>
                <a:gd name="T62" fmla="*/ 221 w 280"/>
                <a:gd name="T63" fmla="*/ 116 h 132"/>
                <a:gd name="T64" fmla="*/ 255 w 280"/>
                <a:gd name="T65" fmla="*/ 105 h 132"/>
                <a:gd name="T66" fmla="*/ 269 w 280"/>
                <a:gd name="T67" fmla="*/ 86 h 132"/>
                <a:gd name="T68" fmla="*/ 275 w 280"/>
                <a:gd name="T69" fmla="*/ 7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0" h="132">
                  <a:moveTo>
                    <a:pt x="275" y="73"/>
                  </a:moveTo>
                  <a:cubicBezTo>
                    <a:pt x="268" y="67"/>
                    <a:pt x="268" y="67"/>
                    <a:pt x="268" y="67"/>
                  </a:cubicBezTo>
                  <a:cubicBezTo>
                    <a:pt x="269" y="62"/>
                    <a:pt x="269" y="62"/>
                    <a:pt x="269" y="62"/>
                  </a:cubicBezTo>
                  <a:cubicBezTo>
                    <a:pt x="269" y="62"/>
                    <a:pt x="259" y="60"/>
                    <a:pt x="255" y="60"/>
                  </a:cubicBezTo>
                  <a:cubicBezTo>
                    <a:pt x="251" y="60"/>
                    <a:pt x="247" y="51"/>
                    <a:pt x="247" y="51"/>
                  </a:cubicBezTo>
                  <a:cubicBezTo>
                    <a:pt x="240" y="57"/>
                    <a:pt x="240" y="57"/>
                    <a:pt x="240" y="57"/>
                  </a:cubicBezTo>
                  <a:cubicBezTo>
                    <a:pt x="240" y="57"/>
                    <a:pt x="235" y="44"/>
                    <a:pt x="227" y="43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9" y="42"/>
                    <a:pt x="224" y="35"/>
                    <a:pt x="211" y="39"/>
                  </a:cubicBezTo>
                  <a:cubicBezTo>
                    <a:pt x="198" y="43"/>
                    <a:pt x="196" y="47"/>
                    <a:pt x="196" y="47"/>
                  </a:cubicBezTo>
                  <a:cubicBezTo>
                    <a:pt x="196" y="47"/>
                    <a:pt x="185" y="45"/>
                    <a:pt x="181" y="43"/>
                  </a:cubicBezTo>
                  <a:cubicBezTo>
                    <a:pt x="177" y="41"/>
                    <a:pt x="177" y="35"/>
                    <a:pt x="177" y="35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8" y="28"/>
                    <a:pt x="178" y="28"/>
                    <a:pt x="178" y="28"/>
                  </a:cubicBezTo>
                  <a:cubicBezTo>
                    <a:pt x="175" y="23"/>
                    <a:pt x="175" y="23"/>
                    <a:pt x="175" y="23"/>
                  </a:cubicBezTo>
                  <a:cubicBezTo>
                    <a:pt x="175" y="23"/>
                    <a:pt x="162" y="24"/>
                    <a:pt x="159" y="24"/>
                  </a:cubicBezTo>
                  <a:cubicBezTo>
                    <a:pt x="156" y="24"/>
                    <a:pt x="158" y="18"/>
                    <a:pt x="146" y="14"/>
                  </a:cubicBezTo>
                  <a:cubicBezTo>
                    <a:pt x="134" y="10"/>
                    <a:pt x="132" y="13"/>
                    <a:pt x="132" y="13"/>
                  </a:cubicBezTo>
                  <a:cubicBezTo>
                    <a:pt x="129" y="4"/>
                    <a:pt x="129" y="4"/>
                    <a:pt x="129" y="4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4" y="6"/>
                    <a:pt x="111" y="11"/>
                    <a:pt x="108" y="11"/>
                  </a:cubicBezTo>
                  <a:cubicBezTo>
                    <a:pt x="103" y="12"/>
                    <a:pt x="98" y="0"/>
                    <a:pt x="96" y="1"/>
                  </a:cubicBezTo>
                  <a:cubicBezTo>
                    <a:pt x="94" y="2"/>
                    <a:pt x="89" y="8"/>
                    <a:pt x="87" y="11"/>
                  </a:cubicBezTo>
                  <a:cubicBezTo>
                    <a:pt x="84" y="14"/>
                    <a:pt x="73" y="13"/>
                    <a:pt x="73" y="13"/>
                  </a:cubicBezTo>
                  <a:cubicBezTo>
                    <a:pt x="73" y="13"/>
                    <a:pt x="75" y="18"/>
                    <a:pt x="72" y="19"/>
                  </a:cubicBezTo>
                  <a:cubicBezTo>
                    <a:pt x="69" y="20"/>
                    <a:pt x="58" y="20"/>
                    <a:pt x="58" y="20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6"/>
                    <a:pt x="40" y="32"/>
                    <a:pt x="31" y="30"/>
                  </a:cubicBezTo>
                  <a:cubicBezTo>
                    <a:pt x="23" y="28"/>
                    <a:pt x="21" y="36"/>
                    <a:pt x="21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5" y="41"/>
                    <a:pt x="11" y="42"/>
                  </a:cubicBezTo>
                  <a:cubicBezTo>
                    <a:pt x="7" y="42"/>
                    <a:pt x="7" y="36"/>
                    <a:pt x="3" y="38"/>
                  </a:cubicBezTo>
                  <a:cubicBezTo>
                    <a:pt x="0" y="41"/>
                    <a:pt x="5" y="50"/>
                    <a:pt x="5" y="50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9" y="64"/>
                    <a:pt x="10" y="66"/>
                  </a:cubicBezTo>
                  <a:cubicBezTo>
                    <a:pt x="11" y="68"/>
                    <a:pt x="19" y="74"/>
                    <a:pt x="19" y="74"/>
                  </a:cubicBezTo>
                  <a:cubicBezTo>
                    <a:pt x="21" y="80"/>
                    <a:pt x="21" y="80"/>
                    <a:pt x="21" y="80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1" y="87"/>
                    <a:pt x="29" y="88"/>
                  </a:cubicBezTo>
                  <a:cubicBezTo>
                    <a:pt x="36" y="88"/>
                    <a:pt x="42" y="90"/>
                    <a:pt x="42" y="90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5" y="107"/>
                    <a:pt x="55" y="107"/>
                    <a:pt x="55" y="107"/>
                  </a:cubicBezTo>
                  <a:cubicBezTo>
                    <a:pt x="55" y="107"/>
                    <a:pt x="60" y="105"/>
                    <a:pt x="65" y="108"/>
                  </a:cubicBezTo>
                  <a:cubicBezTo>
                    <a:pt x="71" y="112"/>
                    <a:pt x="72" y="119"/>
                    <a:pt x="72" y="119"/>
                  </a:cubicBezTo>
                  <a:cubicBezTo>
                    <a:pt x="72" y="119"/>
                    <a:pt x="80" y="131"/>
                    <a:pt x="87" y="131"/>
                  </a:cubicBezTo>
                  <a:cubicBezTo>
                    <a:pt x="95" y="131"/>
                    <a:pt x="101" y="127"/>
                    <a:pt x="101" y="127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115" y="119"/>
                    <a:pt x="122" y="106"/>
                    <a:pt x="125" y="105"/>
                  </a:cubicBezTo>
                  <a:cubicBezTo>
                    <a:pt x="129" y="104"/>
                    <a:pt x="142" y="112"/>
                    <a:pt x="142" y="112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58" y="113"/>
                    <a:pt x="158" y="113"/>
                    <a:pt x="158" y="113"/>
                  </a:cubicBezTo>
                  <a:cubicBezTo>
                    <a:pt x="165" y="121"/>
                    <a:pt x="165" y="121"/>
                    <a:pt x="165" y="121"/>
                  </a:cubicBezTo>
                  <a:cubicBezTo>
                    <a:pt x="173" y="120"/>
                    <a:pt x="173" y="120"/>
                    <a:pt x="173" y="120"/>
                  </a:cubicBezTo>
                  <a:cubicBezTo>
                    <a:pt x="173" y="120"/>
                    <a:pt x="177" y="113"/>
                    <a:pt x="184" y="115"/>
                  </a:cubicBezTo>
                  <a:cubicBezTo>
                    <a:pt x="192" y="118"/>
                    <a:pt x="200" y="123"/>
                    <a:pt x="200" y="123"/>
                  </a:cubicBezTo>
                  <a:cubicBezTo>
                    <a:pt x="200" y="123"/>
                    <a:pt x="205" y="119"/>
                    <a:pt x="209" y="118"/>
                  </a:cubicBezTo>
                  <a:cubicBezTo>
                    <a:pt x="212" y="117"/>
                    <a:pt x="218" y="117"/>
                    <a:pt x="221" y="116"/>
                  </a:cubicBezTo>
                  <a:cubicBezTo>
                    <a:pt x="222" y="118"/>
                    <a:pt x="228" y="120"/>
                    <a:pt x="233" y="117"/>
                  </a:cubicBezTo>
                  <a:cubicBezTo>
                    <a:pt x="240" y="112"/>
                    <a:pt x="255" y="105"/>
                    <a:pt x="255" y="105"/>
                  </a:cubicBezTo>
                  <a:cubicBezTo>
                    <a:pt x="255" y="92"/>
                    <a:pt x="255" y="92"/>
                    <a:pt x="255" y="92"/>
                  </a:cubicBezTo>
                  <a:cubicBezTo>
                    <a:pt x="269" y="86"/>
                    <a:pt x="269" y="86"/>
                    <a:pt x="269" y="86"/>
                  </a:cubicBezTo>
                  <a:cubicBezTo>
                    <a:pt x="280" y="79"/>
                    <a:pt x="280" y="79"/>
                    <a:pt x="280" y="79"/>
                  </a:cubicBezTo>
                  <a:cubicBezTo>
                    <a:pt x="277" y="76"/>
                    <a:pt x="275" y="73"/>
                    <a:pt x="275" y="73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 259">
              <a:extLst>
                <a:ext uri="{FF2B5EF4-FFF2-40B4-BE49-F238E27FC236}">
                  <a16:creationId xmlns:a16="http://schemas.microsoft.com/office/drawing/2014/main" id="{E6785C07-8088-5968-84D8-3ED047447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-4952" y="-16892"/>
              <a:ext cx="990" cy="711"/>
            </a:xfrm>
            <a:custGeom>
              <a:avLst/>
              <a:gdLst>
                <a:gd name="T0" fmla="*/ 312 w 419"/>
                <a:gd name="T1" fmla="*/ 276 h 301"/>
                <a:gd name="T2" fmla="*/ 351 w 419"/>
                <a:gd name="T3" fmla="*/ 293 h 301"/>
                <a:gd name="T4" fmla="*/ 371 w 419"/>
                <a:gd name="T5" fmla="*/ 301 h 301"/>
                <a:gd name="T6" fmla="*/ 364 w 419"/>
                <a:gd name="T7" fmla="*/ 265 h 301"/>
                <a:gd name="T8" fmla="*/ 417 w 419"/>
                <a:gd name="T9" fmla="*/ 224 h 301"/>
                <a:gd name="T10" fmla="*/ 416 w 419"/>
                <a:gd name="T11" fmla="*/ 203 h 301"/>
                <a:gd name="T12" fmla="*/ 390 w 419"/>
                <a:gd name="T13" fmla="*/ 180 h 301"/>
                <a:gd name="T14" fmla="*/ 389 w 419"/>
                <a:gd name="T15" fmla="*/ 167 h 301"/>
                <a:gd name="T16" fmla="*/ 387 w 419"/>
                <a:gd name="T17" fmla="*/ 140 h 301"/>
                <a:gd name="T18" fmla="*/ 379 w 419"/>
                <a:gd name="T19" fmla="*/ 123 h 301"/>
                <a:gd name="T20" fmla="*/ 394 w 419"/>
                <a:gd name="T21" fmla="*/ 106 h 301"/>
                <a:gd name="T22" fmla="*/ 392 w 419"/>
                <a:gd name="T23" fmla="*/ 78 h 301"/>
                <a:gd name="T24" fmla="*/ 373 w 419"/>
                <a:gd name="T25" fmla="*/ 46 h 301"/>
                <a:gd name="T26" fmla="*/ 344 w 419"/>
                <a:gd name="T27" fmla="*/ 22 h 301"/>
                <a:gd name="T28" fmla="*/ 313 w 419"/>
                <a:gd name="T29" fmla="*/ 26 h 301"/>
                <a:gd name="T30" fmla="*/ 257 w 419"/>
                <a:gd name="T31" fmla="*/ 20 h 301"/>
                <a:gd name="T32" fmla="*/ 231 w 419"/>
                <a:gd name="T33" fmla="*/ 18 h 301"/>
                <a:gd name="T34" fmla="*/ 189 w 419"/>
                <a:gd name="T35" fmla="*/ 22 h 301"/>
                <a:gd name="T36" fmla="*/ 149 w 419"/>
                <a:gd name="T37" fmla="*/ 0 h 301"/>
                <a:gd name="T38" fmla="*/ 81 w 419"/>
                <a:gd name="T39" fmla="*/ 28 h 301"/>
                <a:gd name="T40" fmla="*/ 12 w 419"/>
                <a:gd name="T41" fmla="*/ 48 h 301"/>
                <a:gd name="T42" fmla="*/ 7 w 419"/>
                <a:gd name="T43" fmla="*/ 58 h 301"/>
                <a:gd name="T44" fmla="*/ 14 w 419"/>
                <a:gd name="T45" fmla="*/ 75 h 301"/>
                <a:gd name="T46" fmla="*/ 3 w 419"/>
                <a:gd name="T47" fmla="*/ 102 h 301"/>
                <a:gd name="T48" fmla="*/ 14 w 419"/>
                <a:gd name="T49" fmla="*/ 111 h 301"/>
                <a:gd name="T50" fmla="*/ 24 w 419"/>
                <a:gd name="T51" fmla="*/ 122 h 301"/>
                <a:gd name="T52" fmla="*/ 25 w 419"/>
                <a:gd name="T53" fmla="*/ 132 h 301"/>
                <a:gd name="T54" fmla="*/ 29 w 419"/>
                <a:gd name="T55" fmla="*/ 142 h 301"/>
                <a:gd name="T56" fmla="*/ 30 w 419"/>
                <a:gd name="T57" fmla="*/ 161 h 301"/>
                <a:gd name="T58" fmla="*/ 38 w 419"/>
                <a:gd name="T59" fmla="*/ 173 h 301"/>
                <a:gd name="T60" fmla="*/ 41 w 419"/>
                <a:gd name="T61" fmla="*/ 187 h 301"/>
                <a:gd name="T62" fmla="*/ 50 w 419"/>
                <a:gd name="T63" fmla="*/ 197 h 301"/>
                <a:gd name="T64" fmla="*/ 67 w 419"/>
                <a:gd name="T65" fmla="*/ 207 h 301"/>
                <a:gd name="T66" fmla="*/ 96 w 419"/>
                <a:gd name="T67" fmla="*/ 216 h 301"/>
                <a:gd name="T68" fmla="*/ 92 w 419"/>
                <a:gd name="T69" fmla="*/ 225 h 301"/>
                <a:gd name="T70" fmla="*/ 102 w 419"/>
                <a:gd name="T71" fmla="*/ 236 h 301"/>
                <a:gd name="T72" fmla="*/ 132 w 419"/>
                <a:gd name="T73" fmla="*/ 232 h 301"/>
                <a:gd name="T74" fmla="*/ 148 w 419"/>
                <a:gd name="T75" fmla="*/ 236 h 301"/>
                <a:gd name="T76" fmla="*/ 168 w 419"/>
                <a:gd name="T77" fmla="*/ 244 h 301"/>
                <a:gd name="T78" fmla="*/ 190 w 419"/>
                <a:gd name="T79" fmla="*/ 255 h 301"/>
                <a:gd name="T80" fmla="*/ 196 w 419"/>
                <a:gd name="T81" fmla="*/ 266 h 301"/>
                <a:gd name="T82" fmla="*/ 229 w 419"/>
                <a:gd name="T83" fmla="*/ 272 h 301"/>
                <a:gd name="T84" fmla="*/ 244 w 419"/>
                <a:gd name="T85" fmla="*/ 281 h 301"/>
                <a:gd name="T86" fmla="*/ 258 w 419"/>
                <a:gd name="T87" fmla="*/ 279 h 301"/>
                <a:gd name="T88" fmla="*/ 288 w 419"/>
                <a:gd name="T89" fmla="*/ 284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19" h="301">
                  <a:moveTo>
                    <a:pt x="288" y="284"/>
                  </a:moveTo>
                  <a:cubicBezTo>
                    <a:pt x="293" y="284"/>
                    <a:pt x="298" y="276"/>
                    <a:pt x="312" y="276"/>
                  </a:cubicBezTo>
                  <a:cubicBezTo>
                    <a:pt x="326" y="276"/>
                    <a:pt x="325" y="283"/>
                    <a:pt x="332" y="289"/>
                  </a:cubicBezTo>
                  <a:cubicBezTo>
                    <a:pt x="339" y="295"/>
                    <a:pt x="345" y="293"/>
                    <a:pt x="351" y="293"/>
                  </a:cubicBezTo>
                  <a:cubicBezTo>
                    <a:pt x="357" y="293"/>
                    <a:pt x="355" y="300"/>
                    <a:pt x="355" y="300"/>
                  </a:cubicBezTo>
                  <a:cubicBezTo>
                    <a:pt x="371" y="301"/>
                    <a:pt x="371" y="301"/>
                    <a:pt x="371" y="301"/>
                  </a:cubicBezTo>
                  <a:cubicBezTo>
                    <a:pt x="371" y="301"/>
                    <a:pt x="362" y="295"/>
                    <a:pt x="363" y="285"/>
                  </a:cubicBezTo>
                  <a:cubicBezTo>
                    <a:pt x="364" y="275"/>
                    <a:pt x="364" y="265"/>
                    <a:pt x="364" y="265"/>
                  </a:cubicBezTo>
                  <a:cubicBezTo>
                    <a:pt x="399" y="230"/>
                    <a:pt x="399" y="230"/>
                    <a:pt x="399" y="230"/>
                  </a:cubicBezTo>
                  <a:cubicBezTo>
                    <a:pt x="399" y="230"/>
                    <a:pt x="419" y="229"/>
                    <a:pt x="417" y="224"/>
                  </a:cubicBezTo>
                  <a:cubicBezTo>
                    <a:pt x="415" y="219"/>
                    <a:pt x="409" y="211"/>
                    <a:pt x="409" y="211"/>
                  </a:cubicBezTo>
                  <a:cubicBezTo>
                    <a:pt x="416" y="203"/>
                    <a:pt x="416" y="203"/>
                    <a:pt x="416" y="203"/>
                  </a:cubicBezTo>
                  <a:cubicBezTo>
                    <a:pt x="416" y="203"/>
                    <a:pt x="404" y="200"/>
                    <a:pt x="401" y="191"/>
                  </a:cubicBezTo>
                  <a:cubicBezTo>
                    <a:pt x="398" y="182"/>
                    <a:pt x="390" y="180"/>
                    <a:pt x="390" y="180"/>
                  </a:cubicBezTo>
                  <a:cubicBezTo>
                    <a:pt x="388" y="167"/>
                    <a:pt x="388" y="167"/>
                    <a:pt x="388" y="167"/>
                  </a:cubicBezTo>
                  <a:cubicBezTo>
                    <a:pt x="388" y="167"/>
                    <a:pt x="388" y="167"/>
                    <a:pt x="389" y="167"/>
                  </a:cubicBezTo>
                  <a:cubicBezTo>
                    <a:pt x="386" y="158"/>
                    <a:pt x="386" y="158"/>
                    <a:pt x="386" y="158"/>
                  </a:cubicBezTo>
                  <a:cubicBezTo>
                    <a:pt x="386" y="158"/>
                    <a:pt x="389" y="144"/>
                    <a:pt x="387" y="140"/>
                  </a:cubicBezTo>
                  <a:cubicBezTo>
                    <a:pt x="385" y="136"/>
                    <a:pt x="371" y="133"/>
                    <a:pt x="369" y="127"/>
                  </a:cubicBezTo>
                  <a:cubicBezTo>
                    <a:pt x="367" y="121"/>
                    <a:pt x="376" y="123"/>
                    <a:pt x="379" y="123"/>
                  </a:cubicBezTo>
                  <a:cubicBezTo>
                    <a:pt x="382" y="123"/>
                    <a:pt x="380" y="111"/>
                    <a:pt x="380" y="111"/>
                  </a:cubicBezTo>
                  <a:cubicBezTo>
                    <a:pt x="394" y="106"/>
                    <a:pt x="394" y="106"/>
                    <a:pt x="394" y="106"/>
                  </a:cubicBezTo>
                  <a:cubicBezTo>
                    <a:pt x="394" y="106"/>
                    <a:pt x="396" y="98"/>
                    <a:pt x="398" y="94"/>
                  </a:cubicBezTo>
                  <a:cubicBezTo>
                    <a:pt x="400" y="90"/>
                    <a:pt x="392" y="78"/>
                    <a:pt x="392" y="78"/>
                  </a:cubicBezTo>
                  <a:cubicBezTo>
                    <a:pt x="392" y="78"/>
                    <a:pt x="381" y="69"/>
                    <a:pt x="381" y="64"/>
                  </a:cubicBezTo>
                  <a:cubicBezTo>
                    <a:pt x="381" y="59"/>
                    <a:pt x="373" y="46"/>
                    <a:pt x="373" y="46"/>
                  </a:cubicBezTo>
                  <a:cubicBezTo>
                    <a:pt x="373" y="33"/>
                    <a:pt x="373" y="33"/>
                    <a:pt x="373" y="33"/>
                  </a:cubicBezTo>
                  <a:cubicBezTo>
                    <a:pt x="373" y="33"/>
                    <a:pt x="357" y="24"/>
                    <a:pt x="344" y="22"/>
                  </a:cubicBezTo>
                  <a:cubicBezTo>
                    <a:pt x="331" y="20"/>
                    <a:pt x="336" y="27"/>
                    <a:pt x="336" y="27"/>
                  </a:cubicBezTo>
                  <a:cubicBezTo>
                    <a:pt x="336" y="27"/>
                    <a:pt x="321" y="27"/>
                    <a:pt x="313" y="26"/>
                  </a:cubicBezTo>
                  <a:cubicBezTo>
                    <a:pt x="305" y="25"/>
                    <a:pt x="274" y="27"/>
                    <a:pt x="274" y="27"/>
                  </a:cubicBezTo>
                  <a:cubicBezTo>
                    <a:pt x="274" y="27"/>
                    <a:pt x="266" y="22"/>
                    <a:pt x="257" y="20"/>
                  </a:cubicBezTo>
                  <a:cubicBezTo>
                    <a:pt x="248" y="18"/>
                    <a:pt x="236" y="23"/>
                    <a:pt x="236" y="23"/>
                  </a:cubicBezTo>
                  <a:cubicBezTo>
                    <a:pt x="231" y="18"/>
                    <a:pt x="231" y="18"/>
                    <a:pt x="231" y="18"/>
                  </a:cubicBezTo>
                  <a:cubicBezTo>
                    <a:pt x="231" y="19"/>
                    <a:pt x="231" y="19"/>
                    <a:pt x="231" y="19"/>
                  </a:cubicBezTo>
                  <a:cubicBezTo>
                    <a:pt x="231" y="19"/>
                    <a:pt x="195" y="23"/>
                    <a:pt x="189" y="22"/>
                  </a:cubicBezTo>
                  <a:cubicBezTo>
                    <a:pt x="183" y="21"/>
                    <a:pt x="178" y="4"/>
                    <a:pt x="178" y="4"/>
                  </a:cubicBezTo>
                  <a:cubicBezTo>
                    <a:pt x="178" y="4"/>
                    <a:pt x="164" y="0"/>
                    <a:pt x="149" y="0"/>
                  </a:cubicBezTo>
                  <a:cubicBezTo>
                    <a:pt x="134" y="0"/>
                    <a:pt x="94" y="17"/>
                    <a:pt x="94" y="17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10" y="44"/>
                    <a:pt x="12" y="48"/>
                  </a:cubicBezTo>
                  <a:cubicBezTo>
                    <a:pt x="14" y="52"/>
                    <a:pt x="14" y="62"/>
                    <a:pt x="14" y="62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8" y="61"/>
                    <a:pt x="9" y="65"/>
                    <a:pt x="8" y="68"/>
                  </a:cubicBezTo>
                  <a:cubicBezTo>
                    <a:pt x="6" y="74"/>
                    <a:pt x="11" y="66"/>
                    <a:pt x="14" y="75"/>
                  </a:cubicBezTo>
                  <a:cubicBezTo>
                    <a:pt x="16" y="83"/>
                    <a:pt x="18" y="85"/>
                    <a:pt x="12" y="89"/>
                  </a:cubicBezTo>
                  <a:cubicBezTo>
                    <a:pt x="6" y="94"/>
                    <a:pt x="0" y="95"/>
                    <a:pt x="3" y="102"/>
                  </a:cubicBezTo>
                  <a:cubicBezTo>
                    <a:pt x="6" y="109"/>
                    <a:pt x="10" y="105"/>
                    <a:pt x="10" y="105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8" y="107"/>
                    <a:pt x="21" y="111"/>
                  </a:cubicBezTo>
                  <a:cubicBezTo>
                    <a:pt x="24" y="116"/>
                    <a:pt x="24" y="122"/>
                    <a:pt x="24" y="122"/>
                  </a:cubicBezTo>
                  <a:cubicBezTo>
                    <a:pt x="24" y="122"/>
                    <a:pt x="18" y="125"/>
                    <a:pt x="19" y="128"/>
                  </a:cubicBezTo>
                  <a:cubicBezTo>
                    <a:pt x="20" y="131"/>
                    <a:pt x="25" y="132"/>
                    <a:pt x="25" y="132"/>
                  </a:cubicBezTo>
                  <a:cubicBezTo>
                    <a:pt x="25" y="132"/>
                    <a:pt x="22" y="139"/>
                    <a:pt x="24" y="139"/>
                  </a:cubicBezTo>
                  <a:cubicBezTo>
                    <a:pt x="26" y="140"/>
                    <a:pt x="29" y="142"/>
                    <a:pt x="29" y="142"/>
                  </a:cubicBezTo>
                  <a:cubicBezTo>
                    <a:pt x="29" y="142"/>
                    <a:pt x="20" y="148"/>
                    <a:pt x="20" y="153"/>
                  </a:cubicBezTo>
                  <a:cubicBezTo>
                    <a:pt x="21" y="159"/>
                    <a:pt x="30" y="161"/>
                    <a:pt x="30" y="161"/>
                  </a:cubicBezTo>
                  <a:cubicBezTo>
                    <a:pt x="29" y="173"/>
                    <a:pt x="29" y="173"/>
                    <a:pt x="29" y="173"/>
                  </a:cubicBezTo>
                  <a:cubicBezTo>
                    <a:pt x="29" y="173"/>
                    <a:pt x="37" y="167"/>
                    <a:pt x="38" y="173"/>
                  </a:cubicBezTo>
                  <a:cubicBezTo>
                    <a:pt x="40" y="178"/>
                    <a:pt x="36" y="183"/>
                    <a:pt x="36" y="183"/>
                  </a:cubicBezTo>
                  <a:cubicBezTo>
                    <a:pt x="36" y="183"/>
                    <a:pt x="42" y="184"/>
                    <a:pt x="41" y="187"/>
                  </a:cubicBezTo>
                  <a:cubicBezTo>
                    <a:pt x="40" y="189"/>
                    <a:pt x="39" y="192"/>
                    <a:pt x="37" y="195"/>
                  </a:cubicBezTo>
                  <a:cubicBezTo>
                    <a:pt x="50" y="197"/>
                    <a:pt x="50" y="197"/>
                    <a:pt x="50" y="197"/>
                  </a:cubicBezTo>
                  <a:cubicBezTo>
                    <a:pt x="53" y="206"/>
                    <a:pt x="53" y="206"/>
                    <a:pt x="53" y="206"/>
                  </a:cubicBezTo>
                  <a:cubicBezTo>
                    <a:pt x="53" y="206"/>
                    <a:pt x="55" y="203"/>
                    <a:pt x="67" y="207"/>
                  </a:cubicBezTo>
                  <a:cubicBezTo>
                    <a:pt x="79" y="211"/>
                    <a:pt x="77" y="217"/>
                    <a:pt x="80" y="217"/>
                  </a:cubicBezTo>
                  <a:cubicBezTo>
                    <a:pt x="83" y="217"/>
                    <a:pt x="96" y="216"/>
                    <a:pt x="96" y="216"/>
                  </a:cubicBezTo>
                  <a:cubicBezTo>
                    <a:pt x="99" y="221"/>
                    <a:pt x="99" y="221"/>
                    <a:pt x="99" y="221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8" y="228"/>
                    <a:pt x="98" y="228"/>
                    <a:pt x="98" y="228"/>
                  </a:cubicBezTo>
                  <a:cubicBezTo>
                    <a:pt x="98" y="228"/>
                    <a:pt x="98" y="234"/>
                    <a:pt x="102" y="236"/>
                  </a:cubicBezTo>
                  <a:cubicBezTo>
                    <a:pt x="106" y="238"/>
                    <a:pt x="117" y="240"/>
                    <a:pt x="117" y="240"/>
                  </a:cubicBezTo>
                  <a:cubicBezTo>
                    <a:pt x="117" y="240"/>
                    <a:pt x="119" y="236"/>
                    <a:pt x="132" y="232"/>
                  </a:cubicBezTo>
                  <a:cubicBezTo>
                    <a:pt x="145" y="228"/>
                    <a:pt x="140" y="235"/>
                    <a:pt x="140" y="235"/>
                  </a:cubicBezTo>
                  <a:cubicBezTo>
                    <a:pt x="140" y="235"/>
                    <a:pt x="140" y="235"/>
                    <a:pt x="148" y="236"/>
                  </a:cubicBezTo>
                  <a:cubicBezTo>
                    <a:pt x="156" y="237"/>
                    <a:pt x="161" y="250"/>
                    <a:pt x="161" y="250"/>
                  </a:cubicBezTo>
                  <a:cubicBezTo>
                    <a:pt x="168" y="244"/>
                    <a:pt x="168" y="244"/>
                    <a:pt x="168" y="244"/>
                  </a:cubicBezTo>
                  <a:cubicBezTo>
                    <a:pt x="168" y="244"/>
                    <a:pt x="172" y="253"/>
                    <a:pt x="176" y="253"/>
                  </a:cubicBezTo>
                  <a:cubicBezTo>
                    <a:pt x="180" y="253"/>
                    <a:pt x="190" y="255"/>
                    <a:pt x="190" y="255"/>
                  </a:cubicBezTo>
                  <a:cubicBezTo>
                    <a:pt x="189" y="260"/>
                    <a:pt x="189" y="260"/>
                    <a:pt x="189" y="260"/>
                  </a:cubicBezTo>
                  <a:cubicBezTo>
                    <a:pt x="196" y="266"/>
                    <a:pt x="196" y="266"/>
                    <a:pt x="196" y="266"/>
                  </a:cubicBezTo>
                  <a:cubicBezTo>
                    <a:pt x="196" y="266"/>
                    <a:pt x="206" y="278"/>
                    <a:pt x="209" y="278"/>
                  </a:cubicBezTo>
                  <a:cubicBezTo>
                    <a:pt x="212" y="278"/>
                    <a:pt x="222" y="270"/>
                    <a:pt x="229" y="272"/>
                  </a:cubicBezTo>
                  <a:cubicBezTo>
                    <a:pt x="236" y="274"/>
                    <a:pt x="237" y="281"/>
                    <a:pt x="237" y="281"/>
                  </a:cubicBezTo>
                  <a:cubicBezTo>
                    <a:pt x="244" y="281"/>
                    <a:pt x="244" y="281"/>
                    <a:pt x="244" y="281"/>
                  </a:cubicBezTo>
                  <a:cubicBezTo>
                    <a:pt x="244" y="281"/>
                    <a:pt x="241" y="288"/>
                    <a:pt x="250" y="288"/>
                  </a:cubicBezTo>
                  <a:cubicBezTo>
                    <a:pt x="259" y="288"/>
                    <a:pt x="258" y="279"/>
                    <a:pt x="258" y="279"/>
                  </a:cubicBezTo>
                  <a:cubicBezTo>
                    <a:pt x="277" y="280"/>
                    <a:pt x="277" y="280"/>
                    <a:pt x="277" y="280"/>
                  </a:cubicBezTo>
                  <a:cubicBezTo>
                    <a:pt x="277" y="280"/>
                    <a:pt x="283" y="284"/>
                    <a:pt x="288" y="284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 260">
              <a:extLst>
                <a:ext uri="{FF2B5EF4-FFF2-40B4-BE49-F238E27FC236}">
                  <a16:creationId xmlns:a16="http://schemas.microsoft.com/office/drawing/2014/main" id="{650D477F-6F26-69CE-2FF3-984322768D4E}"/>
                </a:ext>
              </a:extLst>
            </p:cNvPr>
            <p:cNvSpPr>
              <a:spLocks/>
            </p:cNvSpPr>
            <p:nvPr/>
          </p:nvSpPr>
          <p:spPr bwMode="gray">
            <a:xfrm>
              <a:off x="-5764" y="-16322"/>
              <a:ext cx="85" cy="75"/>
            </a:xfrm>
            <a:custGeom>
              <a:avLst/>
              <a:gdLst>
                <a:gd name="T0" fmla="*/ 13 w 36"/>
                <a:gd name="T1" fmla="*/ 32 h 32"/>
                <a:gd name="T2" fmla="*/ 19 w 36"/>
                <a:gd name="T3" fmla="*/ 27 h 32"/>
                <a:gd name="T4" fmla="*/ 30 w 36"/>
                <a:gd name="T5" fmla="*/ 29 h 32"/>
                <a:gd name="T6" fmla="*/ 35 w 36"/>
                <a:gd name="T7" fmla="*/ 20 h 32"/>
                <a:gd name="T8" fmla="*/ 20 w 36"/>
                <a:gd name="T9" fmla="*/ 8 h 32"/>
                <a:gd name="T10" fmla="*/ 20 w 36"/>
                <a:gd name="T11" fmla="*/ 0 h 32"/>
                <a:gd name="T12" fmla="*/ 12 w 36"/>
                <a:gd name="T13" fmla="*/ 4 h 32"/>
                <a:gd name="T14" fmla="*/ 2 w 36"/>
                <a:gd name="T15" fmla="*/ 18 h 32"/>
                <a:gd name="T16" fmla="*/ 13 w 36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2">
                  <a:moveTo>
                    <a:pt x="13" y="32"/>
                  </a:moveTo>
                  <a:cubicBezTo>
                    <a:pt x="19" y="27"/>
                    <a:pt x="19" y="27"/>
                    <a:pt x="19" y="27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6" y="25"/>
                    <a:pt x="35" y="20"/>
                  </a:cubicBezTo>
                  <a:cubicBezTo>
                    <a:pt x="34" y="16"/>
                    <a:pt x="24" y="14"/>
                    <a:pt x="20" y="8"/>
                  </a:cubicBezTo>
                  <a:cubicBezTo>
                    <a:pt x="19" y="6"/>
                    <a:pt x="19" y="3"/>
                    <a:pt x="20" y="0"/>
                  </a:cubicBezTo>
                  <a:cubicBezTo>
                    <a:pt x="19" y="1"/>
                    <a:pt x="16" y="2"/>
                    <a:pt x="12" y="4"/>
                  </a:cubicBezTo>
                  <a:cubicBezTo>
                    <a:pt x="1" y="10"/>
                    <a:pt x="0" y="16"/>
                    <a:pt x="2" y="18"/>
                  </a:cubicBezTo>
                  <a:cubicBezTo>
                    <a:pt x="3" y="20"/>
                    <a:pt x="9" y="27"/>
                    <a:pt x="13" y="32"/>
                  </a:cubicBezTo>
                  <a:close/>
                </a:path>
              </a:pathLst>
            </a:custGeom>
            <a:grpFill/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 261">
              <a:extLst>
                <a:ext uri="{FF2B5EF4-FFF2-40B4-BE49-F238E27FC236}">
                  <a16:creationId xmlns:a16="http://schemas.microsoft.com/office/drawing/2014/main" id="{7EC25D68-34A8-E568-22B6-EACB7FE72571}"/>
                </a:ext>
              </a:extLst>
            </p:cNvPr>
            <p:cNvSpPr>
              <a:spLocks/>
            </p:cNvSpPr>
            <p:nvPr/>
          </p:nvSpPr>
          <p:spPr bwMode="gray">
            <a:xfrm>
              <a:off x="-5382" y="-16190"/>
              <a:ext cx="728" cy="326"/>
            </a:xfrm>
            <a:custGeom>
              <a:avLst/>
              <a:gdLst>
                <a:gd name="T0" fmla="*/ 307 w 308"/>
                <a:gd name="T1" fmla="*/ 48 h 138"/>
                <a:gd name="T2" fmla="*/ 301 w 308"/>
                <a:gd name="T3" fmla="*/ 33 h 138"/>
                <a:gd name="T4" fmla="*/ 287 w 308"/>
                <a:gd name="T5" fmla="*/ 11 h 138"/>
                <a:gd name="T6" fmla="*/ 268 w 308"/>
                <a:gd name="T7" fmla="*/ 17 h 138"/>
                <a:gd name="T8" fmla="*/ 254 w 308"/>
                <a:gd name="T9" fmla="*/ 14 h 138"/>
                <a:gd name="T10" fmla="*/ 228 w 308"/>
                <a:gd name="T11" fmla="*/ 1 h 138"/>
                <a:gd name="T12" fmla="*/ 214 w 308"/>
                <a:gd name="T13" fmla="*/ 16 h 138"/>
                <a:gd name="T14" fmla="*/ 204 w 308"/>
                <a:gd name="T15" fmla="*/ 23 h 138"/>
                <a:gd name="T16" fmla="*/ 175 w 308"/>
                <a:gd name="T17" fmla="*/ 15 h 138"/>
                <a:gd name="T18" fmla="*/ 156 w 308"/>
                <a:gd name="T19" fmla="*/ 27 h 138"/>
                <a:gd name="T20" fmla="*/ 160 w 308"/>
                <a:gd name="T21" fmla="*/ 45 h 138"/>
                <a:gd name="T22" fmla="*/ 133 w 308"/>
                <a:gd name="T23" fmla="*/ 57 h 138"/>
                <a:gd name="T24" fmla="*/ 141 w 308"/>
                <a:gd name="T25" fmla="*/ 68 h 138"/>
                <a:gd name="T26" fmla="*/ 131 w 308"/>
                <a:gd name="T27" fmla="*/ 77 h 138"/>
                <a:gd name="T28" fmla="*/ 109 w 308"/>
                <a:gd name="T29" fmla="*/ 71 h 138"/>
                <a:gd name="T30" fmla="*/ 84 w 308"/>
                <a:gd name="T31" fmla="*/ 78 h 138"/>
                <a:gd name="T32" fmla="*/ 63 w 308"/>
                <a:gd name="T33" fmla="*/ 88 h 138"/>
                <a:gd name="T34" fmla="*/ 33 w 308"/>
                <a:gd name="T35" fmla="*/ 76 h 138"/>
                <a:gd name="T36" fmla="*/ 26 w 308"/>
                <a:gd name="T37" fmla="*/ 91 h 138"/>
                <a:gd name="T38" fmla="*/ 0 w 308"/>
                <a:gd name="T39" fmla="*/ 84 h 138"/>
                <a:gd name="T40" fmla="*/ 2 w 308"/>
                <a:gd name="T41" fmla="*/ 97 h 138"/>
                <a:gd name="T42" fmla="*/ 11 w 308"/>
                <a:gd name="T43" fmla="*/ 106 h 138"/>
                <a:gd name="T44" fmla="*/ 32 w 308"/>
                <a:gd name="T45" fmla="*/ 106 h 138"/>
                <a:gd name="T46" fmla="*/ 50 w 308"/>
                <a:gd name="T47" fmla="*/ 117 h 138"/>
                <a:gd name="T48" fmla="*/ 66 w 308"/>
                <a:gd name="T49" fmla="*/ 109 h 138"/>
                <a:gd name="T50" fmla="*/ 104 w 308"/>
                <a:gd name="T51" fmla="*/ 103 h 138"/>
                <a:gd name="T52" fmla="*/ 119 w 308"/>
                <a:gd name="T53" fmla="*/ 118 h 138"/>
                <a:gd name="T54" fmla="*/ 136 w 308"/>
                <a:gd name="T55" fmla="*/ 131 h 138"/>
                <a:gd name="T56" fmla="*/ 162 w 308"/>
                <a:gd name="T57" fmla="*/ 136 h 138"/>
                <a:gd name="T58" fmla="*/ 183 w 308"/>
                <a:gd name="T59" fmla="*/ 132 h 138"/>
                <a:gd name="T60" fmla="*/ 207 w 308"/>
                <a:gd name="T61" fmla="*/ 138 h 138"/>
                <a:gd name="T62" fmla="*/ 247 w 308"/>
                <a:gd name="T63" fmla="*/ 130 h 138"/>
                <a:gd name="T64" fmla="*/ 270 w 308"/>
                <a:gd name="T65" fmla="*/ 131 h 138"/>
                <a:gd name="T66" fmla="*/ 277 w 308"/>
                <a:gd name="T67" fmla="*/ 107 h 138"/>
                <a:gd name="T68" fmla="*/ 290 w 308"/>
                <a:gd name="T69" fmla="*/ 91 h 138"/>
                <a:gd name="T70" fmla="*/ 290 w 308"/>
                <a:gd name="T71" fmla="*/ 78 h 138"/>
                <a:gd name="T72" fmla="*/ 306 w 308"/>
                <a:gd name="T73" fmla="*/ 6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08" h="138">
                  <a:moveTo>
                    <a:pt x="306" y="69"/>
                  </a:moveTo>
                  <a:cubicBezTo>
                    <a:pt x="306" y="69"/>
                    <a:pt x="308" y="55"/>
                    <a:pt x="307" y="48"/>
                  </a:cubicBezTo>
                  <a:cubicBezTo>
                    <a:pt x="306" y="42"/>
                    <a:pt x="300" y="43"/>
                    <a:pt x="300" y="43"/>
                  </a:cubicBezTo>
                  <a:cubicBezTo>
                    <a:pt x="301" y="33"/>
                    <a:pt x="301" y="33"/>
                    <a:pt x="301" y="33"/>
                  </a:cubicBezTo>
                  <a:cubicBezTo>
                    <a:pt x="303" y="19"/>
                    <a:pt x="303" y="19"/>
                    <a:pt x="303" y="19"/>
                  </a:cubicBezTo>
                  <a:cubicBezTo>
                    <a:pt x="303" y="19"/>
                    <a:pt x="295" y="14"/>
                    <a:pt x="287" y="11"/>
                  </a:cubicBezTo>
                  <a:cubicBezTo>
                    <a:pt x="280" y="9"/>
                    <a:pt x="276" y="16"/>
                    <a:pt x="276" y="16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4" y="14"/>
                    <a:pt x="254" y="14"/>
                    <a:pt x="254" y="14"/>
                  </a:cubicBezTo>
                  <a:cubicBezTo>
                    <a:pt x="245" y="8"/>
                    <a:pt x="245" y="8"/>
                    <a:pt x="245" y="8"/>
                  </a:cubicBezTo>
                  <a:cubicBezTo>
                    <a:pt x="245" y="8"/>
                    <a:pt x="232" y="0"/>
                    <a:pt x="228" y="1"/>
                  </a:cubicBezTo>
                  <a:cubicBezTo>
                    <a:pt x="225" y="2"/>
                    <a:pt x="218" y="15"/>
                    <a:pt x="218" y="15"/>
                  </a:cubicBezTo>
                  <a:cubicBezTo>
                    <a:pt x="214" y="16"/>
                    <a:pt x="214" y="16"/>
                    <a:pt x="214" y="16"/>
                  </a:cubicBezTo>
                  <a:cubicBezTo>
                    <a:pt x="213" y="28"/>
                    <a:pt x="213" y="28"/>
                    <a:pt x="213" y="28"/>
                  </a:cubicBezTo>
                  <a:cubicBezTo>
                    <a:pt x="204" y="23"/>
                    <a:pt x="204" y="23"/>
                    <a:pt x="204" y="23"/>
                  </a:cubicBezTo>
                  <a:cubicBezTo>
                    <a:pt x="204" y="23"/>
                    <a:pt x="198" y="27"/>
                    <a:pt x="190" y="27"/>
                  </a:cubicBezTo>
                  <a:cubicBezTo>
                    <a:pt x="183" y="27"/>
                    <a:pt x="175" y="15"/>
                    <a:pt x="175" y="15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56" y="27"/>
                    <a:pt x="156" y="27"/>
                    <a:pt x="156" y="27"/>
                  </a:cubicBezTo>
                  <a:cubicBezTo>
                    <a:pt x="160" y="34"/>
                    <a:pt x="160" y="34"/>
                    <a:pt x="160" y="34"/>
                  </a:cubicBezTo>
                  <a:cubicBezTo>
                    <a:pt x="160" y="45"/>
                    <a:pt x="160" y="45"/>
                    <a:pt x="160" y="45"/>
                  </a:cubicBezTo>
                  <a:cubicBezTo>
                    <a:pt x="160" y="45"/>
                    <a:pt x="147" y="42"/>
                    <a:pt x="142" y="43"/>
                  </a:cubicBezTo>
                  <a:cubicBezTo>
                    <a:pt x="138" y="44"/>
                    <a:pt x="133" y="57"/>
                    <a:pt x="133" y="57"/>
                  </a:cubicBezTo>
                  <a:cubicBezTo>
                    <a:pt x="141" y="59"/>
                    <a:pt x="141" y="59"/>
                    <a:pt x="141" y="59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8"/>
                    <a:pt x="142" y="78"/>
                    <a:pt x="141" y="84"/>
                  </a:cubicBezTo>
                  <a:cubicBezTo>
                    <a:pt x="139" y="91"/>
                    <a:pt x="131" y="77"/>
                    <a:pt x="131" y="77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09" y="71"/>
                    <a:pt x="109" y="71"/>
                    <a:pt x="109" y="71"/>
                  </a:cubicBezTo>
                  <a:cubicBezTo>
                    <a:pt x="98" y="77"/>
                    <a:pt x="98" y="77"/>
                    <a:pt x="98" y="77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5" y="86"/>
                    <a:pt x="69" y="88"/>
                    <a:pt x="63" y="88"/>
                  </a:cubicBezTo>
                  <a:cubicBezTo>
                    <a:pt x="56" y="88"/>
                    <a:pt x="46" y="77"/>
                    <a:pt x="46" y="77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5"/>
                    <a:pt x="30" y="90"/>
                    <a:pt x="26" y="91"/>
                  </a:cubicBezTo>
                  <a:cubicBezTo>
                    <a:pt x="22" y="92"/>
                    <a:pt x="21" y="82"/>
                    <a:pt x="12" y="81"/>
                  </a:cubicBezTo>
                  <a:cubicBezTo>
                    <a:pt x="6" y="79"/>
                    <a:pt x="2" y="82"/>
                    <a:pt x="0" y="84"/>
                  </a:cubicBezTo>
                  <a:cubicBezTo>
                    <a:pt x="1" y="86"/>
                    <a:pt x="2" y="89"/>
                    <a:pt x="0" y="91"/>
                  </a:cubicBezTo>
                  <a:cubicBezTo>
                    <a:pt x="1" y="93"/>
                    <a:pt x="2" y="95"/>
                    <a:pt x="2" y="97"/>
                  </a:cubicBezTo>
                  <a:cubicBezTo>
                    <a:pt x="2" y="100"/>
                    <a:pt x="2" y="105"/>
                    <a:pt x="2" y="107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11" y="106"/>
                    <a:pt x="8" y="120"/>
                    <a:pt x="16" y="118"/>
                  </a:cubicBezTo>
                  <a:cubicBezTo>
                    <a:pt x="23" y="115"/>
                    <a:pt x="21" y="106"/>
                    <a:pt x="32" y="106"/>
                  </a:cubicBezTo>
                  <a:cubicBezTo>
                    <a:pt x="37" y="107"/>
                    <a:pt x="40" y="113"/>
                    <a:pt x="41" y="117"/>
                  </a:cubicBezTo>
                  <a:cubicBezTo>
                    <a:pt x="50" y="117"/>
                    <a:pt x="50" y="117"/>
                    <a:pt x="50" y="117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66" y="109"/>
                    <a:pt x="66" y="109"/>
                    <a:pt x="66" y="109"/>
                  </a:cubicBezTo>
                  <a:cubicBezTo>
                    <a:pt x="92" y="111"/>
                    <a:pt x="92" y="111"/>
                    <a:pt x="92" y="111"/>
                  </a:cubicBezTo>
                  <a:cubicBezTo>
                    <a:pt x="92" y="111"/>
                    <a:pt x="94" y="102"/>
                    <a:pt x="104" y="103"/>
                  </a:cubicBezTo>
                  <a:cubicBezTo>
                    <a:pt x="113" y="104"/>
                    <a:pt x="114" y="118"/>
                    <a:pt x="114" y="118"/>
                  </a:cubicBezTo>
                  <a:cubicBezTo>
                    <a:pt x="119" y="118"/>
                    <a:pt x="119" y="118"/>
                    <a:pt x="119" y="118"/>
                  </a:cubicBezTo>
                  <a:cubicBezTo>
                    <a:pt x="124" y="131"/>
                    <a:pt x="124" y="131"/>
                    <a:pt x="124" y="131"/>
                  </a:cubicBezTo>
                  <a:cubicBezTo>
                    <a:pt x="136" y="131"/>
                    <a:pt x="136" y="131"/>
                    <a:pt x="136" y="131"/>
                  </a:cubicBezTo>
                  <a:cubicBezTo>
                    <a:pt x="136" y="131"/>
                    <a:pt x="159" y="127"/>
                    <a:pt x="162" y="132"/>
                  </a:cubicBezTo>
                  <a:cubicBezTo>
                    <a:pt x="162" y="134"/>
                    <a:pt x="162" y="135"/>
                    <a:pt x="162" y="136"/>
                  </a:cubicBezTo>
                  <a:cubicBezTo>
                    <a:pt x="171" y="136"/>
                    <a:pt x="171" y="136"/>
                    <a:pt x="171" y="136"/>
                  </a:cubicBezTo>
                  <a:cubicBezTo>
                    <a:pt x="171" y="136"/>
                    <a:pt x="180" y="132"/>
                    <a:pt x="183" y="132"/>
                  </a:cubicBezTo>
                  <a:cubicBezTo>
                    <a:pt x="186" y="132"/>
                    <a:pt x="192" y="136"/>
                    <a:pt x="192" y="136"/>
                  </a:cubicBezTo>
                  <a:cubicBezTo>
                    <a:pt x="192" y="136"/>
                    <a:pt x="200" y="138"/>
                    <a:pt x="207" y="138"/>
                  </a:cubicBezTo>
                  <a:cubicBezTo>
                    <a:pt x="214" y="138"/>
                    <a:pt x="214" y="129"/>
                    <a:pt x="214" y="129"/>
                  </a:cubicBezTo>
                  <a:cubicBezTo>
                    <a:pt x="247" y="130"/>
                    <a:pt x="247" y="130"/>
                    <a:pt x="247" y="130"/>
                  </a:cubicBezTo>
                  <a:cubicBezTo>
                    <a:pt x="254" y="126"/>
                    <a:pt x="254" y="126"/>
                    <a:pt x="254" y="126"/>
                  </a:cubicBezTo>
                  <a:cubicBezTo>
                    <a:pt x="270" y="131"/>
                    <a:pt x="270" y="131"/>
                    <a:pt x="270" y="131"/>
                  </a:cubicBezTo>
                  <a:cubicBezTo>
                    <a:pt x="272" y="119"/>
                    <a:pt x="272" y="119"/>
                    <a:pt x="272" y="119"/>
                  </a:cubicBezTo>
                  <a:cubicBezTo>
                    <a:pt x="277" y="107"/>
                    <a:pt x="277" y="107"/>
                    <a:pt x="277" y="107"/>
                  </a:cubicBezTo>
                  <a:cubicBezTo>
                    <a:pt x="290" y="105"/>
                    <a:pt x="290" y="105"/>
                    <a:pt x="290" y="105"/>
                  </a:cubicBezTo>
                  <a:cubicBezTo>
                    <a:pt x="290" y="91"/>
                    <a:pt x="290" y="91"/>
                    <a:pt x="290" y="91"/>
                  </a:cubicBezTo>
                  <a:cubicBezTo>
                    <a:pt x="298" y="79"/>
                    <a:pt x="298" y="79"/>
                    <a:pt x="298" y="79"/>
                  </a:cubicBezTo>
                  <a:cubicBezTo>
                    <a:pt x="290" y="78"/>
                    <a:pt x="290" y="78"/>
                    <a:pt x="290" y="78"/>
                  </a:cubicBezTo>
                  <a:cubicBezTo>
                    <a:pt x="291" y="69"/>
                    <a:pt x="291" y="69"/>
                    <a:pt x="291" y="69"/>
                  </a:cubicBezTo>
                  <a:lnTo>
                    <a:pt x="306" y="6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 262">
              <a:extLst>
                <a:ext uri="{FF2B5EF4-FFF2-40B4-BE49-F238E27FC236}">
                  <a16:creationId xmlns:a16="http://schemas.microsoft.com/office/drawing/2014/main" id="{B481E6B6-5183-4BF2-57EF-8F780F7E48F8}"/>
                </a:ext>
              </a:extLst>
            </p:cNvPr>
            <p:cNvSpPr>
              <a:spLocks/>
            </p:cNvSpPr>
            <p:nvPr/>
          </p:nvSpPr>
          <p:spPr bwMode="gray">
            <a:xfrm>
              <a:off x="-6024" y="-16724"/>
              <a:ext cx="430" cy="343"/>
            </a:xfrm>
            <a:custGeom>
              <a:avLst/>
              <a:gdLst>
                <a:gd name="T0" fmla="*/ 14 w 182"/>
                <a:gd name="T1" fmla="*/ 104 h 145"/>
                <a:gd name="T2" fmla="*/ 0 w 182"/>
                <a:gd name="T3" fmla="*/ 116 h 145"/>
                <a:gd name="T4" fmla="*/ 0 w 182"/>
                <a:gd name="T5" fmla="*/ 116 h 145"/>
                <a:gd name="T6" fmla="*/ 9 w 182"/>
                <a:gd name="T7" fmla="*/ 108 h 145"/>
                <a:gd name="T8" fmla="*/ 10 w 182"/>
                <a:gd name="T9" fmla="*/ 110 h 145"/>
                <a:gd name="T10" fmla="*/ 18 w 182"/>
                <a:gd name="T11" fmla="*/ 108 h 145"/>
                <a:gd name="T12" fmla="*/ 22 w 182"/>
                <a:gd name="T13" fmla="*/ 114 h 145"/>
                <a:gd name="T14" fmla="*/ 34 w 182"/>
                <a:gd name="T15" fmla="*/ 112 h 145"/>
                <a:gd name="T16" fmla="*/ 43 w 182"/>
                <a:gd name="T17" fmla="*/ 117 h 145"/>
                <a:gd name="T18" fmla="*/ 46 w 182"/>
                <a:gd name="T19" fmla="*/ 110 h 145"/>
                <a:gd name="T20" fmla="*/ 56 w 182"/>
                <a:gd name="T21" fmla="*/ 112 h 145"/>
                <a:gd name="T22" fmla="*/ 56 w 182"/>
                <a:gd name="T23" fmla="*/ 106 h 145"/>
                <a:gd name="T24" fmla="*/ 65 w 182"/>
                <a:gd name="T25" fmla="*/ 108 h 145"/>
                <a:gd name="T26" fmla="*/ 71 w 182"/>
                <a:gd name="T27" fmla="*/ 104 h 145"/>
                <a:gd name="T28" fmla="*/ 90 w 182"/>
                <a:gd name="T29" fmla="*/ 104 h 145"/>
                <a:gd name="T30" fmla="*/ 94 w 182"/>
                <a:gd name="T31" fmla="*/ 114 h 145"/>
                <a:gd name="T32" fmla="*/ 108 w 182"/>
                <a:gd name="T33" fmla="*/ 114 h 145"/>
                <a:gd name="T34" fmla="*/ 119 w 182"/>
                <a:gd name="T35" fmla="*/ 121 h 145"/>
                <a:gd name="T36" fmla="*/ 114 w 182"/>
                <a:gd name="T37" fmla="*/ 130 h 145"/>
                <a:gd name="T38" fmla="*/ 112 w 182"/>
                <a:gd name="T39" fmla="*/ 140 h 145"/>
                <a:gd name="T40" fmla="*/ 123 w 182"/>
                <a:gd name="T41" fmla="*/ 140 h 145"/>
                <a:gd name="T42" fmla="*/ 127 w 182"/>
                <a:gd name="T43" fmla="*/ 124 h 145"/>
                <a:gd name="T44" fmla="*/ 123 w 182"/>
                <a:gd name="T45" fmla="*/ 116 h 145"/>
                <a:gd name="T46" fmla="*/ 134 w 182"/>
                <a:gd name="T47" fmla="*/ 106 h 145"/>
                <a:gd name="T48" fmla="*/ 130 w 182"/>
                <a:gd name="T49" fmla="*/ 95 h 145"/>
                <a:gd name="T50" fmla="*/ 124 w 182"/>
                <a:gd name="T51" fmla="*/ 80 h 145"/>
                <a:gd name="T52" fmla="*/ 148 w 182"/>
                <a:gd name="T53" fmla="*/ 85 h 145"/>
                <a:gd name="T54" fmla="*/ 152 w 182"/>
                <a:gd name="T55" fmla="*/ 77 h 145"/>
                <a:gd name="T56" fmla="*/ 158 w 182"/>
                <a:gd name="T57" fmla="*/ 78 h 145"/>
                <a:gd name="T58" fmla="*/ 160 w 182"/>
                <a:gd name="T59" fmla="*/ 67 h 145"/>
                <a:gd name="T60" fmla="*/ 168 w 182"/>
                <a:gd name="T61" fmla="*/ 59 h 145"/>
                <a:gd name="T62" fmla="*/ 153 w 182"/>
                <a:gd name="T63" fmla="*/ 47 h 145"/>
                <a:gd name="T64" fmla="*/ 164 w 182"/>
                <a:gd name="T65" fmla="*/ 40 h 145"/>
                <a:gd name="T66" fmla="*/ 172 w 182"/>
                <a:gd name="T67" fmla="*/ 40 h 145"/>
                <a:gd name="T68" fmla="*/ 170 w 182"/>
                <a:gd name="T69" fmla="*/ 28 h 145"/>
                <a:gd name="T70" fmla="*/ 182 w 182"/>
                <a:gd name="T71" fmla="*/ 20 h 145"/>
                <a:gd name="T72" fmla="*/ 177 w 182"/>
                <a:gd name="T73" fmla="*/ 12 h 145"/>
                <a:gd name="T74" fmla="*/ 180 w 182"/>
                <a:gd name="T75" fmla="*/ 10 h 145"/>
                <a:gd name="T76" fmla="*/ 176 w 182"/>
                <a:gd name="T77" fmla="*/ 7 h 145"/>
                <a:gd name="T78" fmla="*/ 154 w 182"/>
                <a:gd name="T79" fmla="*/ 1 h 145"/>
                <a:gd name="T80" fmla="*/ 125 w 182"/>
                <a:gd name="T81" fmla="*/ 0 h 145"/>
                <a:gd name="T82" fmla="*/ 103 w 182"/>
                <a:gd name="T83" fmla="*/ 10 h 145"/>
                <a:gd name="T84" fmla="*/ 107 w 182"/>
                <a:gd name="T85" fmla="*/ 21 h 145"/>
                <a:gd name="T86" fmla="*/ 111 w 182"/>
                <a:gd name="T87" fmla="*/ 34 h 145"/>
                <a:gd name="T88" fmla="*/ 116 w 182"/>
                <a:gd name="T89" fmla="*/ 40 h 145"/>
                <a:gd name="T90" fmla="*/ 122 w 182"/>
                <a:gd name="T91" fmla="*/ 48 h 145"/>
                <a:gd name="T92" fmla="*/ 104 w 182"/>
                <a:gd name="T93" fmla="*/ 60 h 145"/>
                <a:gd name="T94" fmla="*/ 92 w 182"/>
                <a:gd name="T95" fmla="*/ 52 h 145"/>
                <a:gd name="T96" fmla="*/ 100 w 182"/>
                <a:gd name="T97" fmla="*/ 37 h 145"/>
                <a:gd name="T98" fmla="*/ 102 w 182"/>
                <a:gd name="T99" fmla="*/ 24 h 145"/>
                <a:gd name="T100" fmla="*/ 97 w 182"/>
                <a:gd name="T101" fmla="*/ 16 h 145"/>
                <a:gd name="T102" fmla="*/ 81 w 182"/>
                <a:gd name="T103" fmla="*/ 30 h 145"/>
                <a:gd name="T104" fmla="*/ 64 w 182"/>
                <a:gd name="T105" fmla="*/ 49 h 145"/>
                <a:gd name="T106" fmla="*/ 60 w 182"/>
                <a:gd name="T107" fmla="*/ 69 h 145"/>
                <a:gd name="T108" fmla="*/ 42 w 182"/>
                <a:gd name="T109" fmla="*/ 89 h 145"/>
                <a:gd name="T110" fmla="*/ 48 w 182"/>
                <a:gd name="T111" fmla="*/ 97 h 145"/>
                <a:gd name="T112" fmla="*/ 31 w 182"/>
                <a:gd name="T113" fmla="*/ 98 h 145"/>
                <a:gd name="T114" fmla="*/ 14 w 182"/>
                <a:gd name="T115" fmla="*/ 104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2" h="145">
                  <a:moveTo>
                    <a:pt x="14" y="104"/>
                  </a:move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10" y="110"/>
                    <a:pt x="10" y="110"/>
                    <a:pt x="10" y="110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2" y="114"/>
                    <a:pt x="30" y="113"/>
                    <a:pt x="34" y="112"/>
                  </a:cubicBezTo>
                  <a:cubicBezTo>
                    <a:pt x="39" y="112"/>
                    <a:pt x="43" y="117"/>
                    <a:pt x="43" y="117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56" y="112"/>
                    <a:pt x="56" y="112"/>
                    <a:pt x="56" y="112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65" y="108"/>
                    <a:pt x="66" y="105"/>
                    <a:pt x="71" y="104"/>
                  </a:cubicBezTo>
                  <a:cubicBezTo>
                    <a:pt x="76" y="102"/>
                    <a:pt x="90" y="104"/>
                    <a:pt x="90" y="104"/>
                  </a:cubicBezTo>
                  <a:cubicBezTo>
                    <a:pt x="90" y="104"/>
                    <a:pt x="91" y="110"/>
                    <a:pt x="94" y="114"/>
                  </a:cubicBezTo>
                  <a:cubicBezTo>
                    <a:pt x="96" y="118"/>
                    <a:pt x="108" y="114"/>
                    <a:pt x="108" y="114"/>
                  </a:cubicBezTo>
                  <a:cubicBezTo>
                    <a:pt x="108" y="114"/>
                    <a:pt x="118" y="112"/>
                    <a:pt x="119" y="121"/>
                  </a:cubicBezTo>
                  <a:cubicBezTo>
                    <a:pt x="120" y="130"/>
                    <a:pt x="114" y="130"/>
                    <a:pt x="114" y="130"/>
                  </a:cubicBezTo>
                  <a:cubicBezTo>
                    <a:pt x="114" y="130"/>
                    <a:pt x="110" y="134"/>
                    <a:pt x="112" y="140"/>
                  </a:cubicBezTo>
                  <a:cubicBezTo>
                    <a:pt x="114" y="145"/>
                    <a:pt x="123" y="140"/>
                    <a:pt x="123" y="140"/>
                  </a:cubicBezTo>
                  <a:cubicBezTo>
                    <a:pt x="123" y="140"/>
                    <a:pt x="126" y="126"/>
                    <a:pt x="127" y="124"/>
                  </a:cubicBezTo>
                  <a:cubicBezTo>
                    <a:pt x="128" y="122"/>
                    <a:pt x="123" y="116"/>
                    <a:pt x="123" y="116"/>
                  </a:cubicBezTo>
                  <a:cubicBezTo>
                    <a:pt x="123" y="116"/>
                    <a:pt x="134" y="110"/>
                    <a:pt x="134" y="106"/>
                  </a:cubicBezTo>
                  <a:cubicBezTo>
                    <a:pt x="135" y="103"/>
                    <a:pt x="130" y="95"/>
                    <a:pt x="130" y="95"/>
                  </a:cubicBezTo>
                  <a:cubicBezTo>
                    <a:pt x="124" y="80"/>
                    <a:pt x="124" y="80"/>
                    <a:pt x="124" y="80"/>
                  </a:cubicBezTo>
                  <a:cubicBezTo>
                    <a:pt x="124" y="80"/>
                    <a:pt x="146" y="88"/>
                    <a:pt x="148" y="85"/>
                  </a:cubicBezTo>
                  <a:cubicBezTo>
                    <a:pt x="150" y="82"/>
                    <a:pt x="152" y="77"/>
                    <a:pt x="152" y="77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60" y="67"/>
                    <a:pt x="160" y="67"/>
                    <a:pt x="160" y="67"/>
                  </a:cubicBezTo>
                  <a:cubicBezTo>
                    <a:pt x="160" y="67"/>
                    <a:pt x="168" y="63"/>
                    <a:pt x="168" y="59"/>
                  </a:cubicBezTo>
                  <a:cubicBezTo>
                    <a:pt x="168" y="55"/>
                    <a:pt x="154" y="50"/>
                    <a:pt x="153" y="47"/>
                  </a:cubicBezTo>
                  <a:cubicBezTo>
                    <a:pt x="152" y="44"/>
                    <a:pt x="164" y="40"/>
                    <a:pt x="164" y="40"/>
                  </a:cubicBezTo>
                  <a:cubicBezTo>
                    <a:pt x="172" y="40"/>
                    <a:pt x="172" y="40"/>
                    <a:pt x="172" y="40"/>
                  </a:cubicBezTo>
                  <a:cubicBezTo>
                    <a:pt x="172" y="40"/>
                    <a:pt x="168" y="32"/>
                    <a:pt x="170" y="28"/>
                  </a:cubicBezTo>
                  <a:cubicBezTo>
                    <a:pt x="171" y="24"/>
                    <a:pt x="182" y="20"/>
                    <a:pt x="182" y="20"/>
                  </a:cubicBezTo>
                  <a:cubicBezTo>
                    <a:pt x="177" y="12"/>
                    <a:pt x="177" y="12"/>
                    <a:pt x="177" y="12"/>
                  </a:cubicBezTo>
                  <a:cubicBezTo>
                    <a:pt x="180" y="10"/>
                    <a:pt x="180" y="10"/>
                    <a:pt x="180" y="10"/>
                  </a:cubicBezTo>
                  <a:cubicBezTo>
                    <a:pt x="176" y="7"/>
                    <a:pt x="176" y="7"/>
                    <a:pt x="176" y="7"/>
                  </a:cubicBezTo>
                  <a:cubicBezTo>
                    <a:pt x="176" y="7"/>
                    <a:pt x="160" y="1"/>
                    <a:pt x="154" y="1"/>
                  </a:cubicBezTo>
                  <a:cubicBezTo>
                    <a:pt x="148" y="1"/>
                    <a:pt x="125" y="0"/>
                    <a:pt x="125" y="0"/>
                  </a:cubicBezTo>
                  <a:cubicBezTo>
                    <a:pt x="125" y="0"/>
                    <a:pt x="111" y="5"/>
                    <a:pt x="103" y="10"/>
                  </a:cubicBezTo>
                  <a:cubicBezTo>
                    <a:pt x="104" y="14"/>
                    <a:pt x="107" y="19"/>
                    <a:pt x="107" y="21"/>
                  </a:cubicBezTo>
                  <a:cubicBezTo>
                    <a:pt x="108" y="24"/>
                    <a:pt x="111" y="34"/>
                    <a:pt x="111" y="34"/>
                  </a:cubicBezTo>
                  <a:cubicBezTo>
                    <a:pt x="111" y="34"/>
                    <a:pt x="114" y="40"/>
                    <a:pt x="116" y="40"/>
                  </a:cubicBezTo>
                  <a:cubicBezTo>
                    <a:pt x="119" y="40"/>
                    <a:pt x="122" y="43"/>
                    <a:pt x="122" y="48"/>
                  </a:cubicBezTo>
                  <a:cubicBezTo>
                    <a:pt x="123" y="52"/>
                    <a:pt x="111" y="59"/>
                    <a:pt x="104" y="60"/>
                  </a:cubicBezTo>
                  <a:cubicBezTo>
                    <a:pt x="98" y="60"/>
                    <a:pt x="95" y="55"/>
                    <a:pt x="92" y="52"/>
                  </a:cubicBezTo>
                  <a:cubicBezTo>
                    <a:pt x="88" y="48"/>
                    <a:pt x="94" y="45"/>
                    <a:pt x="100" y="37"/>
                  </a:cubicBezTo>
                  <a:cubicBezTo>
                    <a:pt x="106" y="29"/>
                    <a:pt x="102" y="24"/>
                    <a:pt x="102" y="24"/>
                  </a:cubicBezTo>
                  <a:cubicBezTo>
                    <a:pt x="102" y="24"/>
                    <a:pt x="99" y="21"/>
                    <a:pt x="97" y="16"/>
                  </a:cubicBezTo>
                  <a:cubicBezTo>
                    <a:pt x="92" y="23"/>
                    <a:pt x="81" y="30"/>
                    <a:pt x="81" y="30"/>
                  </a:cubicBezTo>
                  <a:cubicBezTo>
                    <a:pt x="81" y="30"/>
                    <a:pt x="64" y="42"/>
                    <a:pt x="64" y="49"/>
                  </a:cubicBezTo>
                  <a:cubicBezTo>
                    <a:pt x="64" y="56"/>
                    <a:pt x="60" y="69"/>
                    <a:pt x="60" y="69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31" y="98"/>
                    <a:pt x="31" y="98"/>
                    <a:pt x="31" y="98"/>
                  </a:cubicBezTo>
                  <a:lnTo>
                    <a:pt x="14" y="104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 263">
              <a:extLst>
                <a:ext uri="{FF2B5EF4-FFF2-40B4-BE49-F238E27FC236}">
                  <a16:creationId xmlns:a16="http://schemas.microsoft.com/office/drawing/2014/main" id="{58747EB5-5A99-49A3-D060-1FF10067D258}"/>
                </a:ext>
              </a:extLst>
            </p:cNvPr>
            <p:cNvSpPr>
              <a:spLocks/>
            </p:cNvSpPr>
            <p:nvPr/>
          </p:nvSpPr>
          <p:spPr bwMode="gray">
            <a:xfrm>
              <a:off x="-6043" y="-16483"/>
              <a:ext cx="352" cy="241"/>
            </a:xfrm>
            <a:custGeom>
              <a:avLst/>
              <a:gdLst>
                <a:gd name="T0" fmla="*/ 0 w 149"/>
                <a:gd name="T1" fmla="*/ 29 h 102"/>
                <a:gd name="T2" fmla="*/ 6 w 149"/>
                <a:gd name="T3" fmla="*/ 43 h 102"/>
                <a:gd name="T4" fmla="*/ 22 w 149"/>
                <a:gd name="T5" fmla="*/ 47 h 102"/>
                <a:gd name="T6" fmla="*/ 29 w 149"/>
                <a:gd name="T7" fmla="*/ 54 h 102"/>
                <a:gd name="T8" fmla="*/ 52 w 149"/>
                <a:gd name="T9" fmla="*/ 59 h 102"/>
                <a:gd name="T10" fmla="*/ 57 w 149"/>
                <a:gd name="T11" fmla="*/ 78 h 102"/>
                <a:gd name="T12" fmla="*/ 72 w 149"/>
                <a:gd name="T13" fmla="*/ 78 h 102"/>
                <a:gd name="T14" fmla="*/ 82 w 149"/>
                <a:gd name="T15" fmla="*/ 71 h 102"/>
                <a:gd name="T16" fmla="*/ 82 w 149"/>
                <a:gd name="T17" fmla="*/ 87 h 102"/>
                <a:gd name="T18" fmla="*/ 106 w 149"/>
                <a:gd name="T19" fmla="*/ 94 h 102"/>
                <a:gd name="T20" fmla="*/ 109 w 149"/>
                <a:gd name="T21" fmla="*/ 98 h 102"/>
                <a:gd name="T22" fmla="*/ 123 w 149"/>
                <a:gd name="T23" fmla="*/ 98 h 102"/>
                <a:gd name="T24" fmla="*/ 128 w 149"/>
                <a:gd name="T25" fmla="*/ 102 h 102"/>
                <a:gd name="T26" fmla="*/ 131 w 149"/>
                <a:gd name="T27" fmla="*/ 100 h 102"/>
                <a:gd name="T28" fmla="*/ 120 w 149"/>
                <a:gd name="T29" fmla="*/ 86 h 102"/>
                <a:gd name="T30" fmla="*/ 130 w 149"/>
                <a:gd name="T31" fmla="*/ 72 h 102"/>
                <a:gd name="T32" fmla="*/ 138 w 149"/>
                <a:gd name="T33" fmla="*/ 68 h 102"/>
                <a:gd name="T34" fmla="*/ 138 w 149"/>
                <a:gd name="T35" fmla="*/ 68 h 102"/>
                <a:gd name="T36" fmla="*/ 140 w 149"/>
                <a:gd name="T37" fmla="*/ 62 h 102"/>
                <a:gd name="T38" fmla="*/ 149 w 149"/>
                <a:gd name="T39" fmla="*/ 61 h 102"/>
                <a:gd name="T40" fmla="*/ 146 w 149"/>
                <a:gd name="T41" fmla="*/ 48 h 102"/>
                <a:gd name="T42" fmla="*/ 136 w 149"/>
                <a:gd name="T43" fmla="*/ 39 h 102"/>
                <a:gd name="T44" fmla="*/ 131 w 149"/>
                <a:gd name="T45" fmla="*/ 38 h 102"/>
                <a:gd name="T46" fmla="*/ 120 w 149"/>
                <a:gd name="T47" fmla="*/ 38 h 102"/>
                <a:gd name="T48" fmla="*/ 122 w 149"/>
                <a:gd name="T49" fmla="*/ 28 h 102"/>
                <a:gd name="T50" fmla="*/ 127 w 149"/>
                <a:gd name="T51" fmla="*/ 19 h 102"/>
                <a:gd name="T52" fmla="*/ 116 w 149"/>
                <a:gd name="T53" fmla="*/ 12 h 102"/>
                <a:gd name="T54" fmla="*/ 102 w 149"/>
                <a:gd name="T55" fmla="*/ 12 h 102"/>
                <a:gd name="T56" fmla="*/ 98 w 149"/>
                <a:gd name="T57" fmla="*/ 2 h 102"/>
                <a:gd name="T58" fmla="*/ 79 w 149"/>
                <a:gd name="T59" fmla="*/ 2 h 102"/>
                <a:gd name="T60" fmla="*/ 73 w 149"/>
                <a:gd name="T61" fmla="*/ 6 h 102"/>
                <a:gd name="T62" fmla="*/ 64 w 149"/>
                <a:gd name="T63" fmla="*/ 4 h 102"/>
                <a:gd name="T64" fmla="*/ 64 w 149"/>
                <a:gd name="T65" fmla="*/ 10 h 102"/>
                <a:gd name="T66" fmla="*/ 54 w 149"/>
                <a:gd name="T67" fmla="*/ 8 h 102"/>
                <a:gd name="T68" fmla="*/ 51 w 149"/>
                <a:gd name="T69" fmla="*/ 15 h 102"/>
                <a:gd name="T70" fmla="*/ 42 w 149"/>
                <a:gd name="T71" fmla="*/ 10 h 102"/>
                <a:gd name="T72" fmla="*/ 30 w 149"/>
                <a:gd name="T73" fmla="*/ 12 h 102"/>
                <a:gd name="T74" fmla="*/ 26 w 149"/>
                <a:gd name="T75" fmla="*/ 6 h 102"/>
                <a:gd name="T76" fmla="*/ 18 w 149"/>
                <a:gd name="T77" fmla="*/ 8 h 102"/>
                <a:gd name="T78" fmla="*/ 17 w 149"/>
                <a:gd name="T79" fmla="*/ 6 h 102"/>
                <a:gd name="T80" fmla="*/ 1 w 149"/>
                <a:gd name="T81" fmla="*/ 20 h 102"/>
                <a:gd name="T82" fmla="*/ 0 w 149"/>
                <a:gd name="T83" fmla="*/ 29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49" h="102">
                  <a:moveTo>
                    <a:pt x="0" y="29"/>
                  </a:moveTo>
                  <a:cubicBezTo>
                    <a:pt x="6" y="43"/>
                    <a:pt x="6" y="43"/>
                    <a:pt x="6" y="43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47" y="56"/>
                    <a:pt x="52" y="59"/>
                  </a:cubicBezTo>
                  <a:cubicBezTo>
                    <a:pt x="57" y="62"/>
                    <a:pt x="57" y="78"/>
                    <a:pt x="57" y="78"/>
                  </a:cubicBezTo>
                  <a:cubicBezTo>
                    <a:pt x="72" y="78"/>
                    <a:pt x="72" y="78"/>
                    <a:pt x="72" y="78"/>
                  </a:cubicBezTo>
                  <a:cubicBezTo>
                    <a:pt x="82" y="71"/>
                    <a:pt x="82" y="71"/>
                    <a:pt x="82" y="71"/>
                  </a:cubicBezTo>
                  <a:cubicBezTo>
                    <a:pt x="82" y="87"/>
                    <a:pt x="82" y="87"/>
                    <a:pt x="82" y="87"/>
                  </a:cubicBezTo>
                  <a:cubicBezTo>
                    <a:pt x="82" y="87"/>
                    <a:pt x="104" y="91"/>
                    <a:pt x="106" y="94"/>
                  </a:cubicBezTo>
                  <a:cubicBezTo>
                    <a:pt x="108" y="97"/>
                    <a:pt x="109" y="98"/>
                    <a:pt x="109" y="98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8" y="102"/>
                    <a:pt x="128" y="102"/>
                    <a:pt x="128" y="102"/>
                  </a:cubicBezTo>
                  <a:cubicBezTo>
                    <a:pt x="131" y="100"/>
                    <a:pt x="131" y="100"/>
                    <a:pt x="131" y="100"/>
                  </a:cubicBezTo>
                  <a:cubicBezTo>
                    <a:pt x="127" y="95"/>
                    <a:pt x="121" y="88"/>
                    <a:pt x="120" y="86"/>
                  </a:cubicBezTo>
                  <a:cubicBezTo>
                    <a:pt x="118" y="84"/>
                    <a:pt x="119" y="78"/>
                    <a:pt x="130" y="72"/>
                  </a:cubicBezTo>
                  <a:cubicBezTo>
                    <a:pt x="134" y="70"/>
                    <a:pt x="137" y="69"/>
                    <a:pt x="138" y="68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9" y="65"/>
                    <a:pt x="140" y="62"/>
                    <a:pt x="140" y="62"/>
                  </a:cubicBezTo>
                  <a:cubicBezTo>
                    <a:pt x="149" y="61"/>
                    <a:pt x="149" y="61"/>
                    <a:pt x="149" y="61"/>
                  </a:cubicBezTo>
                  <a:cubicBezTo>
                    <a:pt x="149" y="61"/>
                    <a:pt x="146" y="54"/>
                    <a:pt x="146" y="48"/>
                  </a:cubicBezTo>
                  <a:cubicBezTo>
                    <a:pt x="145" y="42"/>
                    <a:pt x="136" y="39"/>
                    <a:pt x="136" y="39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31" y="38"/>
                    <a:pt x="122" y="43"/>
                    <a:pt x="120" y="38"/>
                  </a:cubicBezTo>
                  <a:cubicBezTo>
                    <a:pt x="118" y="32"/>
                    <a:pt x="122" y="28"/>
                    <a:pt x="122" y="28"/>
                  </a:cubicBezTo>
                  <a:cubicBezTo>
                    <a:pt x="122" y="28"/>
                    <a:pt x="128" y="28"/>
                    <a:pt x="127" y="19"/>
                  </a:cubicBezTo>
                  <a:cubicBezTo>
                    <a:pt x="126" y="10"/>
                    <a:pt x="116" y="12"/>
                    <a:pt x="116" y="12"/>
                  </a:cubicBezTo>
                  <a:cubicBezTo>
                    <a:pt x="116" y="12"/>
                    <a:pt x="104" y="16"/>
                    <a:pt x="102" y="12"/>
                  </a:cubicBezTo>
                  <a:cubicBezTo>
                    <a:pt x="99" y="8"/>
                    <a:pt x="98" y="2"/>
                    <a:pt x="98" y="2"/>
                  </a:cubicBezTo>
                  <a:cubicBezTo>
                    <a:pt x="98" y="2"/>
                    <a:pt x="84" y="0"/>
                    <a:pt x="79" y="2"/>
                  </a:cubicBezTo>
                  <a:cubicBezTo>
                    <a:pt x="74" y="3"/>
                    <a:pt x="73" y="6"/>
                    <a:pt x="73" y="6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47" y="10"/>
                    <a:pt x="42" y="10"/>
                  </a:cubicBezTo>
                  <a:cubicBezTo>
                    <a:pt x="38" y="11"/>
                    <a:pt x="30" y="12"/>
                    <a:pt x="30" y="12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" y="20"/>
                    <a:pt x="1" y="20"/>
                    <a:pt x="1" y="20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 264">
              <a:extLst>
                <a:ext uri="{FF2B5EF4-FFF2-40B4-BE49-F238E27FC236}">
                  <a16:creationId xmlns:a16="http://schemas.microsoft.com/office/drawing/2014/main" id="{D352A0D6-8D2D-BDDC-899A-F698DE8F1D23}"/>
                </a:ext>
              </a:extLst>
            </p:cNvPr>
            <p:cNvSpPr>
              <a:spLocks/>
            </p:cNvSpPr>
            <p:nvPr/>
          </p:nvSpPr>
          <p:spPr bwMode="gray">
            <a:xfrm>
              <a:off x="-5734" y="-16901"/>
              <a:ext cx="882" cy="928"/>
            </a:xfrm>
            <a:custGeom>
              <a:avLst/>
              <a:gdLst>
                <a:gd name="T0" fmla="*/ 21 w 373"/>
                <a:gd name="T1" fmla="*/ 294 h 393"/>
                <a:gd name="T2" fmla="*/ 62 w 373"/>
                <a:gd name="T3" fmla="*/ 297 h 393"/>
                <a:gd name="T4" fmla="*/ 90 w 373"/>
                <a:gd name="T5" fmla="*/ 305 h 393"/>
                <a:gd name="T6" fmla="*/ 74 w 373"/>
                <a:gd name="T7" fmla="*/ 330 h 393"/>
                <a:gd name="T8" fmla="*/ 75 w 373"/>
                <a:gd name="T9" fmla="*/ 381 h 393"/>
                <a:gd name="T10" fmla="*/ 101 w 373"/>
                <a:gd name="T11" fmla="*/ 378 h 393"/>
                <a:gd name="T12" fmla="*/ 128 w 373"/>
                <a:gd name="T13" fmla="*/ 372 h 393"/>
                <a:gd name="T14" fmla="*/ 148 w 373"/>
                <a:gd name="T15" fmla="*/ 383 h 393"/>
                <a:gd name="T16" fmla="*/ 161 w 373"/>
                <a:gd name="T17" fmla="*/ 382 h 393"/>
                <a:gd name="T18" fmla="*/ 182 w 373"/>
                <a:gd name="T19" fmla="*/ 377 h 393"/>
                <a:gd name="T20" fmla="*/ 224 w 373"/>
                <a:gd name="T21" fmla="*/ 387 h 393"/>
                <a:gd name="T22" fmla="*/ 258 w 373"/>
                <a:gd name="T23" fmla="*/ 372 h 393"/>
                <a:gd name="T24" fmla="*/ 290 w 373"/>
                <a:gd name="T25" fmla="*/ 385 h 393"/>
                <a:gd name="T26" fmla="*/ 282 w 373"/>
                <a:gd name="T27" fmla="*/ 358 h 393"/>
                <a:gd name="T28" fmla="*/ 309 w 373"/>
                <a:gd name="T29" fmla="*/ 335 h 393"/>
                <a:gd name="T30" fmla="*/ 324 w 373"/>
                <a:gd name="T31" fmla="*/ 316 h 393"/>
                <a:gd name="T32" fmla="*/ 301 w 373"/>
                <a:gd name="T33" fmla="*/ 295 h 393"/>
                <a:gd name="T34" fmla="*/ 281 w 373"/>
                <a:gd name="T35" fmla="*/ 285 h 393"/>
                <a:gd name="T36" fmla="*/ 271 w 373"/>
                <a:gd name="T37" fmla="*/ 271 h 393"/>
                <a:gd name="T38" fmla="*/ 263 w 373"/>
                <a:gd name="T39" fmla="*/ 248 h 393"/>
                <a:gd name="T40" fmla="*/ 263 w 373"/>
                <a:gd name="T41" fmla="*/ 239 h 393"/>
                <a:gd name="T42" fmla="*/ 283 w 373"/>
                <a:gd name="T43" fmla="*/ 227 h 393"/>
                <a:gd name="T44" fmla="*/ 308 w 373"/>
                <a:gd name="T45" fmla="*/ 221 h 393"/>
                <a:gd name="T46" fmla="*/ 325 w 373"/>
                <a:gd name="T47" fmla="*/ 210 h 393"/>
                <a:gd name="T48" fmla="*/ 360 w 373"/>
                <a:gd name="T49" fmla="*/ 208 h 393"/>
                <a:gd name="T50" fmla="*/ 369 w 373"/>
                <a:gd name="T51" fmla="*/ 177 h 393"/>
                <a:gd name="T52" fmla="*/ 351 w 373"/>
                <a:gd name="T53" fmla="*/ 157 h 393"/>
                <a:gd name="T54" fmla="*/ 356 w 373"/>
                <a:gd name="T55" fmla="*/ 136 h 393"/>
                <a:gd name="T56" fmla="*/ 352 w 373"/>
                <a:gd name="T57" fmla="*/ 115 h 393"/>
                <a:gd name="T58" fmla="*/ 334 w 373"/>
                <a:gd name="T59" fmla="*/ 106 h 393"/>
                <a:gd name="T60" fmla="*/ 339 w 373"/>
                <a:gd name="T61" fmla="*/ 72 h 393"/>
                <a:gd name="T62" fmla="*/ 321 w 373"/>
                <a:gd name="T63" fmla="*/ 55 h 393"/>
                <a:gd name="T64" fmla="*/ 296 w 373"/>
                <a:gd name="T65" fmla="*/ 35 h 393"/>
                <a:gd name="T66" fmla="*/ 226 w 373"/>
                <a:gd name="T67" fmla="*/ 35 h 393"/>
                <a:gd name="T68" fmla="*/ 202 w 373"/>
                <a:gd name="T69" fmla="*/ 35 h 393"/>
                <a:gd name="T70" fmla="*/ 168 w 373"/>
                <a:gd name="T71" fmla="*/ 22 h 393"/>
                <a:gd name="T72" fmla="*/ 145 w 373"/>
                <a:gd name="T73" fmla="*/ 3 h 393"/>
                <a:gd name="T74" fmla="*/ 112 w 373"/>
                <a:gd name="T75" fmla="*/ 0 h 393"/>
                <a:gd name="T76" fmla="*/ 130 w 373"/>
                <a:gd name="T77" fmla="*/ 49 h 393"/>
                <a:gd name="T78" fmla="*/ 105 w 373"/>
                <a:gd name="T79" fmla="*/ 55 h 393"/>
                <a:gd name="T80" fmla="*/ 82 w 373"/>
                <a:gd name="T81" fmla="*/ 62 h 393"/>
                <a:gd name="T82" fmla="*/ 57 w 373"/>
                <a:gd name="T83" fmla="*/ 85 h 393"/>
                <a:gd name="T84" fmla="*/ 47 w 373"/>
                <a:gd name="T85" fmla="*/ 103 h 393"/>
                <a:gd name="T86" fmla="*/ 30 w 373"/>
                <a:gd name="T87" fmla="*/ 122 h 393"/>
                <a:gd name="T88" fmla="*/ 35 w 373"/>
                <a:gd name="T89" fmla="*/ 153 h 393"/>
                <a:gd name="T90" fmla="*/ 1 w 373"/>
                <a:gd name="T91" fmla="*/ 155 h 393"/>
                <a:gd name="T92" fmla="*/ 0 w 373"/>
                <a:gd name="T93" fmla="*/ 191 h 393"/>
                <a:gd name="T94" fmla="*/ 5 w 373"/>
                <a:gd name="T95" fmla="*/ 216 h 393"/>
                <a:gd name="T96" fmla="*/ 9 w 373"/>
                <a:gd name="T97" fmla="*/ 239 h 393"/>
                <a:gd name="T98" fmla="*/ 17 w 373"/>
                <a:gd name="T99" fmla="*/ 274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73" h="393">
                  <a:moveTo>
                    <a:pt x="17" y="274"/>
                  </a:moveTo>
                  <a:cubicBezTo>
                    <a:pt x="17" y="274"/>
                    <a:pt x="19" y="278"/>
                    <a:pt x="22" y="281"/>
                  </a:cubicBezTo>
                  <a:cubicBezTo>
                    <a:pt x="25" y="284"/>
                    <a:pt x="21" y="294"/>
                    <a:pt x="21" y="294"/>
                  </a:cubicBezTo>
                  <a:cubicBezTo>
                    <a:pt x="38" y="294"/>
                    <a:pt x="38" y="294"/>
                    <a:pt x="38" y="294"/>
                  </a:cubicBezTo>
                  <a:cubicBezTo>
                    <a:pt x="38" y="294"/>
                    <a:pt x="36" y="299"/>
                    <a:pt x="42" y="300"/>
                  </a:cubicBezTo>
                  <a:cubicBezTo>
                    <a:pt x="48" y="301"/>
                    <a:pt x="62" y="297"/>
                    <a:pt x="62" y="297"/>
                  </a:cubicBezTo>
                  <a:cubicBezTo>
                    <a:pt x="62" y="301"/>
                    <a:pt x="62" y="301"/>
                    <a:pt x="62" y="301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90" y="305"/>
                    <a:pt x="90" y="305"/>
                    <a:pt x="90" y="305"/>
                  </a:cubicBezTo>
                  <a:cubicBezTo>
                    <a:pt x="88" y="311"/>
                    <a:pt x="88" y="311"/>
                    <a:pt x="88" y="311"/>
                  </a:cubicBezTo>
                  <a:cubicBezTo>
                    <a:pt x="74" y="322"/>
                    <a:pt x="74" y="322"/>
                    <a:pt x="74" y="322"/>
                  </a:cubicBezTo>
                  <a:cubicBezTo>
                    <a:pt x="74" y="330"/>
                    <a:pt x="74" y="330"/>
                    <a:pt x="74" y="330"/>
                  </a:cubicBezTo>
                  <a:cubicBezTo>
                    <a:pt x="74" y="330"/>
                    <a:pt x="64" y="349"/>
                    <a:pt x="62" y="360"/>
                  </a:cubicBezTo>
                  <a:cubicBezTo>
                    <a:pt x="60" y="369"/>
                    <a:pt x="63" y="377"/>
                    <a:pt x="64" y="379"/>
                  </a:cubicBezTo>
                  <a:cubicBezTo>
                    <a:pt x="75" y="381"/>
                    <a:pt x="75" y="381"/>
                    <a:pt x="75" y="381"/>
                  </a:cubicBezTo>
                  <a:cubicBezTo>
                    <a:pt x="87" y="381"/>
                    <a:pt x="87" y="381"/>
                    <a:pt x="87" y="381"/>
                  </a:cubicBezTo>
                  <a:cubicBezTo>
                    <a:pt x="97" y="374"/>
                    <a:pt x="97" y="374"/>
                    <a:pt x="97" y="374"/>
                  </a:cubicBezTo>
                  <a:cubicBezTo>
                    <a:pt x="101" y="378"/>
                    <a:pt x="101" y="378"/>
                    <a:pt x="101" y="378"/>
                  </a:cubicBezTo>
                  <a:cubicBezTo>
                    <a:pt x="101" y="378"/>
                    <a:pt x="96" y="366"/>
                    <a:pt x="103" y="365"/>
                  </a:cubicBezTo>
                  <a:cubicBezTo>
                    <a:pt x="110" y="364"/>
                    <a:pt x="119" y="372"/>
                    <a:pt x="119" y="372"/>
                  </a:cubicBezTo>
                  <a:cubicBezTo>
                    <a:pt x="128" y="372"/>
                    <a:pt x="128" y="372"/>
                    <a:pt x="128" y="372"/>
                  </a:cubicBezTo>
                  <a:cubicBezTo>
                    <a:pt x="138" y="375"/>
                    <a:pt x="138" y="375"/>
                    <a:pt x="138" y="375"/>
                  </a:cubicBezTo>
                  <a:cubicBezTo>
                    <a:pt x="144" y="383"/>
                    <a:pt x="144" y="383"/>
                    <a:pt x="144" y="383"/>
                  </a:cubicBezTo>
                  <a:cubicBezTo>
                    <a:pt x="148" y="383"/>
                    <a:pt x="148" y="383"/>
                    <a:pt x="148" y="383"/>
                  </a:cubicBezTo>
                  <a:cubicBezTo>
                    <a:pt x="148" y="383"/>
                    <a:pt x="149" y="384"/>
                    <a:pt x="149" y="385"/>
                  </a:cubicBezTo>
                  <a:cubicBezTo>
                    <a:pt x="149" y="385"/>
                    <a:pt x="149" y="385"/>
                    <a:pt x="149" y="385"/>
                  </a:cubicBezTo>
                  <a:cubicBezTo>
                    <a:pt x="151" y="383"/>
                    <a:pt x="155" y="380"/>
                    <a:pt x="161" y="382"/>
                  </a:cubicBezTo>
                  <a:cubicBezTo>
                    <a:pt x="170" y="383"/>
                    <a:pt x="171" y="393"/>
                    <a:pt x="175" y="392"/>
                  </a:cubicBezTo>
                  <a:cubicBezTo>
                    <a:pt x="179" y="391"/>
                    <a:pt x="182" y="386"/>
                    <a:pt x="182" y="386"/>
                  </a:cubicBezTo>
                  <a:cubicBezTo>
                    <a:pt x="182" y="377"/>
                    <a:pt x="182" y="377"/>
                    <a:pt x="182" y="377"/>
                  </a:cubicBezTo>
                  <a:cubicBezTo>
                    <a:pt x="195" y="378"/>
                    <a:pt x="195" y="378"/>
                    <a:pt x="195" y="378"/>
                  </a:cubicBezTo>
                  <a:cubicBezTo>
                    <a:pt x="195" y="378"/>
                    <a:pt x="205" y="389"/>
                    <a:pt x="212" y="389"/>
                  </a:cubicBezTo>
                  <a:cubicBezTo>
                    <a:pt x="218" y="389"/>
                    <a:pt x="224" y="387"/>
                    <a:pt x="224" y="387"/>
                  </a:cubicBezTo>
                  <a:cubicBezTo>
                    <a:pt x="233" y="379"/>
                    <a:pt x="233" y="379"/>
                    <a:pt x="233" y="379"/>
                  </a:cubicBezTo>
                  <a:cubicBezTo>
                    <a:pt x="247" y="378"/>
                    <a:pt x="247" y="378"/>
                    <a:pt x="247" y="378"/>
                  </a:cubicBezTo>
                  <a:cubicBezTo>
                    <a:pt x="258" y="372"/>
                    <a:pt x="258" y="372"/>
                    <a:pt x="258" y="372"/>
                  </a:cubicBezTo>
                  <a:cubicBezTo>
                    <a:pt x="267" y="373"/>
                    <a:pt x="267" y="373"/>
                    <a:pt x="267" y="373"/>
                  </a:cubicBezTo>
                  <a:cubicBezTo>
                    <a:pt x="280" y="378"/>
                    <a:pt x="280" y="378"/>
                    <a:pt x="280" y="378"/>
                  </a:cubicBezTo>
                  <a:cubicBezTo>
                    <a:pt x="280" y="378"/>
                    <a:pt x="288" y="392"/>
                    <a:pt x="290" y="385"/>
                  </a:cubicBezTo>
                  <a:cubicBezTo>
                    <a:pt x="291" y="379"/>
                    <a:pt x="290" y="369"/>
                    <a:pt x="290" y="369"/>
                  </a:cubicBezTo>
                  <a:cubicBezTo>
                    <a:pt x="290" y="360"/>
                    <a:pt x="290" y="360"/>
                    <a:pt x="290" y="360"/>
                  </a:cubicBezTo>
                  <a:cubicBezTo>
                    <a:pt x="282" y="358"/>
                    <a:pt x="282" y="358"/>
                    <a:pt x="282" y="358"/>
                  </a:cubicBezTo>
                  <a:cubicBezTo>
                    <a:pt x="282" y="358"/>
                    <a:pt x="287" y="345"/>
                    <a:pt x="291" y="344"/>
                  </a:cubicBezTo>
                  <a:cubicBezTo>
                    <a:pt x="296" y="343"/>
                    <a:pt x="309" y="346"/>
                    <a:pt x="309" y="346"/>
                  </a:cubicBezTo>
                  <a:cubicBezTo>
                    <a:pt x="309" y="335"/>
                    <a:pt x="309" y="335"/>
                    <a:pt x="309" y="335"/>
                  </a:cubicBezTo>
                  <a:cubicBezTo>
                    <a:pt x="305" y="328"/>
                    <a:pt x="305" y="328"/>
                    <a:pt x="305" y="328"/>
                  </a:cubicBezTo>
                  <a:cubicBezTo>
                    <a:pt x="317" y="327"/>
                    <a:pt x="317" y="327"/>
                    <a:pt x="317" y="327"/>
                  </a:cubicBezTo>
                  <a:cubicBezTo>
                    <a:pt x="324" y="316"/>
                    <a:pt x="324" y="316"/>
                    <a:pt x="324" y="316"/>
                  </a:cubicBezTo>
                  <a:cubicBezTo>
                    <a:pt x="324" y="316"/>
                    <a:pt x="323" y="309"/>
                    <a:pt x="317" y="305"/>
                  </a:cubicBezTo>
                  <a:cubicBezTo>
                    <a:pt x="312" y="302"/>
                    <a:pt x="307" y="304"/>
                    <a:pt x="307" y="304"/>
                  </a:cubicBezTo>
                  <a:cubicBezTo>
                    <a:pt x="301" y="295"/>
                    <a:pt x="301" y="295"/>
                    <a:pt x="301" y="295"/>
                  </a:cubicBezTo>
                  <a:cubicBezTo>
                    <a:pt x="297" y="295"/>
                    <a:pt x="297" y="295"/>
                    <a:pt x="297" y="295"/>
                  </a:cubicBezTo>
                  <a:cubicBezTo>
                    <a:pt x="294" y="287"/>
                    <a:pt x="294" y="287"/>
                    <a:pt x="294" y="287"/>
                  </a:cubicBezTo>
                  <a:cubicBezTo>
                    <a:pt x="294" y="287"/>
                    <a:pt x="288" y="285"/>
                    <a:pt x="281" y="285"/>
                  </a:cubicBezTo>
                  <a:cubicBezTo>
                    <a:pt x="273" y="284"/>
                    <a:pt x="279" y="279"/>
                    <a:pt x="279" y="279"/>
                  </a:cubicBezTo>
                  <a:cubicBezTo>
                    <a:pt x="273" y="277"/>
                    <a:pt x="273" y="277"/>
                    <a:pt x="273" y="277"/>
                  </a:cubicBezTo>
                  <a:cubicBezTo>
                    <a:pt x="271" y="271"/>
                    <a:pt x="271" y="271"/>
                    <a:pt x="271" y="271"/>
                  </a:cubicBezTo>
                  <a:cubicBezTo>
                    <a:pt x="271" y="271"/>
                    <a:pt x="263" y="265"/>
                    <a:pt x="262" y="263"/>
                  </a:cubicBezTo>
                  <a:cubicBezTo>
                    <a:pt x="261" y="261"/>
                    <a:pt x="269" y="257"/>
                    <a:pt x="269" y="257"/>
                  </a:cubicBezTo>
                  <a:cubicBezTo>
                    <a:pt x="263" y="248"/>
                    <a:pt x="263" y="248"/>
                    <a:pt x="263" y="248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57" y="247"/>
                    <a:pt x="252" y="238"/>
                    <a:pt x="255" y="235"/>
                  </a:cubicBezTo>
                  <a:cubicBezTo>
                    <a:pt x="259" y="233"/>
                    <a:pt x="259" y="239"/>
                    <a:pt x="263" y="239"/>
                  </a:cubicBezTo>
                  <a:cubicBezTo>
                    <a:pt x="267" y="238"/>
                    <a:pt x="266" y="233"/>
                    <a:pt x="266" y="233"/>
                  </a:cubicBezTo>
                  <a:cubicBezTo>
                    <a:pt x="273" y="233"/>
                    <a:pt x="273" y="233"/>
                    <a:pt x="273" y="233"/>
                  </a:cubicBezTo>
                  <a:cubicBezTo>
                    <a:pt x="273" y="233"/>
                    <a:pt x="275" y="225"/>
                    <a:pt x="283" y="227"/>
                  </a:cubicBezTo>
                  <a:cubicBezTo>
                    <a:pt x="292" y="229"/>
                    <a:pt x="290" y="233"/>
                    <a:pt x="290" y="233"/>
                  </a:cubicBezTo>
                  <a:cubicBezTo>
                    <a:pt x="297" y="224"/>
                    <a:pt x="297" y="224"/>
                    <a:pt x="297" y="224"/>
                  </a:cubicBezTo>
                  <a:cubicBezTo>
                    <a:pt x="308" y="221"/>
                    <a:pt x="308" y="221"/>
                    <a:pt x="308" y="221"/>
                  </a:cubicBezTo>
                  <a:cubicBezTo>
                    <a:pt x="310" y="217"/>
                    <a:pt x="310" y="217"/>
                    <a:pt x="310" y="217"/>
                  </a:cubicBezTo>
                  <a:cubicBezTo>
                    <a:pt x="310" y="217"/>
                    <a:pt x="321" y="217"/>
                    <a:pt x="324" y="216"/>
                  </a:cubicBezTo>
                  <a:cubicBezTo>
                    <a:pt x="327" y="215"/>
                    <a:pt x="325" y="210"/>
                    <a:pt x="325" y="210"/>
                  </a:cubicBezTo>
                  <a:cubicBezTo>
                    <a:pt x="325" y="210"/>
                    <a:pt x="336" y="211"/>
                    <a:pt x="339" y="208"/>
                  </a:cubicBezTo>
                  <a:cubicBezTo>
                    <a:pt x="341" y="205"/>
                    <a:pt x="346" y="199"/>
                    <a:pt x="348" y="198"/>
                  </a:cubicBezTo>
                  <a:cubicBezTo>
                    <a:pt x="350" y="197"/>
                    <a:pt x="355" y="209"/>
                    <a:pt x="360" y="208"/>
                  </a:cubicBezTo>
                  <a:cubicBezTo>
                    <a:pt x="365" y="207"/>
                    <a:pt x="371" y="195"/>
                    <a:pt x="372" y="191"/>
                  </a:cubicBezTo>
                  <a:cubicBezTo>
                    <a:pt x="373" y="188"/>
                    <a:pt x="367" y="187"/>
                    <a:pt x="367" y="187"/>
                  </a:cubicBezTo>
                  <a:cubicBezTo>
                    <a:pt x="367" y="187"/>
                    <a:pt x="371" y="182"/>
                    <a:pt x="369" y="177"/>
                  </a:cubicBezTo>
                  <a:cubicBezTo>
                    <a:pt x="368" y="171"/>
                    <a:pt x="360" y="177"/>
                    <a:pt x="360" y="177"/>
                  </a:cubicBezTo>
                  <a:cubicBezTo>
                    <a:pt x="361" y="165"/>
                    <a:pt x="361" y="165"/>
                    <a:pt x="361" y="165"/>
                  </a:cubicBezTo>
                  <a:cubicBezTo>
                    <a:pt x="361" y="165"/>
                    <a:pt x="352" y="163"/>
                    <a:pt x="351" y="157"/>
                  </a:cubicBezTo>
                  <a:cubicBezTo>
                    <a:pt x="351" y="152"/>
                    <a:pt x="360" y="146"/>
                    <a:pt x="360" y="146"/>
                  </a:cubicBezTo>
                  <a:cubicBezTo>
                    <a:pt x="360" y="146"/>
                    <a:pt x="357" y="144"/>
                    <a:pt x="355" y="143"/>
                  </a:cubicBezTo>
                  <a:cubicBezTo>
                    <a:pt x="353" y="143"/>
                    <a:pt x="356" y="136"/>
                    <a:pt x="356" y="136"/>
                  </a:cubicBezTo>
                  <a:cubicBezTo>
                    <a:pt x="356" y="136"/>
                    <a:pt x="351" y="135"/>
                    <a:pt x="350" y="132"/>
                  </a:cubicBezTo>
                  <a:cubicBezTo>
                    <a:pt x="349" y="129"/>
                    <a:pt x="355" y="126"/>
                    <a:pt x="355" y="126"/>
                  </a:cubicBezTo>
                  <a:cubicBezTo>
                    <a:pt x="355" y="126"/>
                    <a:pt x="355" y="120"/>
                    <a:pt x="352" y="115"/>
                  </a:cubicBezTo>
                  <a:cubicBezTo>
                    <a:pt x="349" y="111"/>
                    <a:pt x="345" y="115"/>
                    <a:pt x="345" y="115"/>
                  </a:cubicBezTo>
                  <a:cubicBezTo>
                    <a:pt x="341" y="109"/>
                    <a:pt x="341" y="109"/>
                    <a:pt x="341" y="109"/>
                  </a:cubicBezTo>
                  <a:cubicBezTo>
                    <a:pt x="341" y="109"/>
                    <a:pt x="337" y="113"/>
                    <a:pt x="334" y="106"/>
                  </a:cubicBezTo>
                  <a:cubicBezTo>
                    <a:pt x="331" y="99"/>
                    <a:pt x="337" y="98"/>
                    <a:pt x="343" y="93"/>
                  </a:cubicBezTo>
                  <a:cubicBezTo>
                    <a:pt x="349" y="89"/>
                    <a:pt x="347" y="87"/>
                    <a:pt x="345" y="79"/>
                  </a:cubicBezTo>
                  <a:cubicBezTo>
                    <a:pt x="342" y="70"/>
                    <a:pt x="337" y="78"/>
                    <a:pt x="339" y="72"/>
                  </a:cubicBezTo>
                  <a:cubicBezTo>
                    <a:pt x="340" y="69"/>
                    <a:pt x="339" y="65"/>
                    <a:pt x="338" y="62"/>
                  </a:cubicBezTo>
                  <a:cubicBezTo>
                    <a:pt x="334" y="60"/>
                    <a:pt x="334" y="60"/>
                    <a:pt x="334" y="60"/>
                  </a:cubicBezTo>
                  <a:cubicBezTo>
                    <a:pt x="321" y="55"/>
                    <a:pt x="321" y="55"/>
                    <a:pt x="321" y="55"/>
                  </a:cubicBezTo>
                  <a:cubicBezTo>
                    <a:pt x="321" y="55"/>
                    <a:pt x="323" y="50"/>
                    <a:pt x="318" y="44"/>
                  </a:cubicBezTo>
                  <a:cubicBezTo>
                    <a:pt x="313" y="38"/>
                    <a:pt x="301" y="41"/>
                    <a:pt x="301" y="41"/>
                  </a:cubicBezTo>
                  <a:cubicBezTo>
                    <a:pt x="296" y="35"/>
                    <a:pt x="296" y="35"/>
                    <a:pt x="296" y="35"/>
                  </a:cubicBezTo>
                  <a:cubicBezTo>
                    <a:pt x="296" y="35"/>
                    <a:pt x="270" y="23"/>
                    <a:pt x="265" y="26"/>
                  </a:cubicBezTo>
                  <a:cubicBezTo>
                    <a:pt x="260" y="29"/>
                    <a:pt x="253" y="36"/>
                    <a:pt x="253" y="36"/>
                  </a:cubicBezTo>
                  <a:cubicBezTo>
                    <a:pt x="226" y="35"/>
                    <a:pt x="226" y="35"/>
                    <a:pt x="226" y="35"/>
                  </a:cubicBezTo>
                  <a:cubicBezTo>
                    <a:pt x="226" y="47"/>
                    <a:pt x="226" y="47"/>
                    <a:pt x="226" y="47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200" y="46"/>
                    <a:pt x="198" y="38"/>
                    <a:pt x="202" y="35"/>
                  </a:cubicBezTo>
                  <a:cubicBezTo>
                    <a:pt x="206" y="32"/>
                    <a:pt x="209" y="20"/>
                    <a:pt x="209" y="20"/>
                  </a:cubicBezTo>
                  <a:cubicBezTo>
                    <a:pt x="196" y="27"/>
                    <a:pt x="196" y="27"/>
                    <a:pt x="196" y="27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8" y="22"/>
                    <a:pt x="160" y="14"/>
                    <a:pt x="156" y="4"/>
                  </a:cubicBezTo>
                  <a:cubicBezTo>
                    <a:pt x="154" y="5"/>
                    <a:pt x="153" y="6"/>
                    <a:pt x="153" y="6"/>
                  </a:cubicBezTo>
                  <a:cubicBezTo>
                    <a:pt x="153" y="6"/>
                    <a:pt x="152" y="2"/>
                    <a:pt x="145" y="3"/>
                  </a:cubicBezTo>
                  <a:cubicBezTo>
                    <a:pt x="137" y="3"/>
                    <a:pt x="135" y="5"/>
                    <a:pt x="135" y="5"/>
                  </a:cubicBezTo>
                  <a:cubicBezTo>
                    <a:pt x="135" y="5"/>
                    <a:pt x="127" y="0"/>
                    <a:pt x="123" y="0"/>
                  </a:cubicBezTo>
                  <a:cubicBezTo>
                    <a:pt x="119" y="0"/>
                    <a:pt x="112" y="0"/>
                    <a:pt x="112" y="0"/>
                  </a:cubicBezTo>
                  <a:cubicBezTo>
                    <a:pt x="126" y="23"/>
                    <a:pt x="126" y="23"/>
                    <a:pt x="126" y="23"/>
                  </a:cubicBezTo>
                  <a:cubicBezTo>
                    <a:pt x="117" y="31"/>
                    <a:pt x="117" y="31"/>
                    <a:pt x="117" y="31"/>
                  </a:cubicBezTo>
                  <a:cubicBezTo>
                    <a:pt x="130" y="49"/>
                    <a:pt x="130" y="49"/>
                    <a:pt x="130" y="49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23" y="51"/>
                    <a:pt x="123" y="51"/>
                    <a:pt x="123" y="51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5" y="55"/>
                    <a:pt x="110" y="70"/>
                    <a:pt x="104" y="72"/>
                  </a:cubicBezTo>
                  <a:cubicBezTo>
                    <a:pt x="98" y="74"/>
                    <a:pt x="88" y="72"/>
                    <a:pt x="88" y="7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55" y="59"/>
                    <a:pt x="54" y="64"/>
                  </a:cubicBezTo>
                  <a:cubicBezTo>
                    <a:pt x="53" y="69"/>
                    <a:pt x="53" y="82"/>
                    <a:pt x="53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59" y="95"/>
                    <a:pt x="48" y="99"/>
                    <a:pt x="47" y="103"/>
                  </a:cubicBezTo>
                  <a:cubicBezTo>
                    <a:pt x="45" y="107"/>
                    <a:pt x="49" y="115"/>
                    <a:pt x="49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29" y="119"/>
                    <a:pt x="30" y="122"/>
                  </a:cubicBezTo>
                  <a:cubicBezTo>
                    <a:pt x="31" y="125"/>
                    <a:pt x="45" y="130"/>
                    <a:pt x="45" y="134"/>
                  </a:cubicBezTo>
                  <a:cubicBezTo>
                    <a:pt x="45" y="138"/>
                    <a:pt x="37" y="142"/>
                    <a:pt x="37" y="142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29" y="152"/>
                    <a:pt x="29" y="152"/>
                    <a:pt x="29" y="152"/>
                  </a:cubicBezTo>
                  <a:cubicBezTo>
                    <a:pt x="29" y="152"/>
                    <a:pt x="27" y="157"/>
                    <a:pt x="25" y="160"/>
                  </a:cubicBezTo>
                  <a:cubicBezTo>
                    <a:pt x="23" y="163"/>
                    <a:pt x="1" y="155"/>
                    <a:pt x="1" y="155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7" y="170"/>
                    <a:pt x="12" y="178"/>
                    <a:pt x="11" y="181"/>
                  </a:cubicBezTo>
                  <a:cubicBezTo>
                    <a:pt x="11" y="185"/>
                    <a:pt x="0" y="191"/>
                    <a:pt x="0" y="191"/>
                  </a:cubicBezTo>
                  <a:cubicBezTo>
                    <a:pt x="0" y="191"/>
                    <a:pt x="5" y="197"/>
                    <a:pt x="4" y="199"/>
                  </a:cubicBezTo>
                  <a:cubicBezTo>
                    <a:pt x="3" y="201"/>
                    <a:pt x="0" y="215"/>
                    <a:pt x="0" y="215"/>
                  </a:cubicBezTo>
                  <a:cubicBezTo>
                    <a:pt x="5" y="216"/>
                    <a:pt x="5" y="216"/>
                    <a:pt x="5" y="216"/>
                  </a:cubicBezTo>
                  <a:cubicBezTo>
                    <a:pt x="5" y="216"/>
                    <a:pt x="14" y="219"/>
                    <a:pt x="15" y="225"/>
                  </a:cubicBezTo>
                  <a:cubicBezTo>
                    <a:pt x="15" y="231"/>
                    <a:pt x="18" y="238"/>
                    <a:pt x="18" y="238"/>
                  </a:cubicBezTo>
                  <a:cubicBezTo>
                    <a:pt x="9" y="239"/>
                    <a:pt x="9" y="239"/>
                    <a:pt x="9" y="239"/>
                  </a:cubicBezTo>
                  <a:cubicBezTo>
                    <a:pt x="9" y="239"/>
                    <a:pt x="4" y="247"/>
                    <a:pt x="7" y="253"/>
                  </a:cubicBezTo>
                  <a:cubicBezTo>
                    <a:pt x="11" y="259"/>
                    <a:pt x="21" y="261"/>
                    <a:pt x="22" y="265"/>
                  </a:cubicBezTo>
                  <a:cubicBezTo>
                    <a:pt x="23" y="270"/>
                    <a:pt x="17" y="274"/>
                    <a:pt x="17" y="274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 265">
              <a:extLst>
                <a:ext uri="{FF2B5EF4-FFF2-40B4-BE49-F238E27FC236}">
                  <a16:creationId xmlns:a16="http://schemas.microsoft.com/office/drawing/2014/main" id="{3724B24E-AD2B-8F17-4ECB-CA4F4A8F9C93}"/>
                </a:ext>
              </a:extLst>
            </p:cNvPr>
            <p:cNvSpPr>
              <a:spLocks/>
            </p:cNvSpPr>
            <p:nvPr/>
          </p:nvSpPr>
          <p:spPr bwMode="gray">
            <a:xfrm>
              <a:off x="-6218" y="-15394"/>
              <a:ext cx="47" cy="31"/>
            </a:xfrm>
            <a:custGeom>
              <a:avLst/>
              <a:gdLst>
                <a:gd name="T0" fmla="*/ 5 w 20"/>
                <a:gd name="T1" fmla="*/ 13 h 13"/>
                <a:gd name="T2" fmla="*/ 18 w 20"/>
                <a:gd name="T3" fmla="*/ 10 h 13"/>
                <a:gd name="T4" fmla="*/ 20 w 20"/>
                <a:gd name="T5" fmla="*/ 10 h 13"/>
                <a:gd name="T6" fmla="*/ 19 w 20"/>
                <a:gd name="T7" fmla="*/ 1 h 13"/>
                <a:gd name="T8" fmla="*/ 5 w 20"/>
                <a:gd name="T9" fmla="*/ 1 h 13"/>
                <a:gd name="T10" fmla="*/ 0 w 20"/>
                <a:gd name="T11" fmla="*/ 2 h 13"/>
                <a:gd name="T12" fmla="*/ 5 w 20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3">
                  <a:moveTo>
                    <a:pt x="5" y="13"/>
                  </a:moveTo>
                  <a:cubicBezTo>
                    <a:pt x="5" y="13"/>
                    <a:pt x="14" y="11"/>
                    <a:pt x="18" y="10"/>
                  </a:cubicBezTo>
                  <a:cubicBezTo>
                    <a:pt x="19" y="10"/>
                    <a:pt x="20" y="10"/>
                    <a:pt x="20" y="1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5" y="0"/>
                    <a:pt x="5" y="1"/>
                  </a:cubicBezTo>
                  <a:cubicBezTo>
                    <a:pt x="3" y="1"/>
                    <a:pt x="1" y="1"/>
                    <a:pt x="0" y="2"/>
                  </a:cubicBezTo>
                  <a:lnTo>
                    <a:pt x="5" y="13"/>
                  </a:lnTo>
                  <a:close/>
                </a:path>
              </a:pathLst>
            </a:custGeom>
            <a:grpFill/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 266">
              <a:extLst>
                <a:ext uri="{FF2B5EF4-FFF2-40B4-BE49-F238E27FC236}">
                  <a16:creationId xmlns:a16="http://schemas.microsoft.com/office/drawing/2014/main" id="{0EEAC662-63F2-E9D1-6669-D8EC033CBB4E}"/>
                </a:ext>
              </a:extLst>
            </p:cNvPr>
            <p:cNvSpPr>
              <a:spLocks/>
            </p:cNvSpPr>
            <p:nvPr/>
          </p:nvSpPr>
          <p:spPr bwMode="gray">
            <a:xfrm>
              <a:off x="2279" y="-16570"/>
              <a:ext cx="3321" cy="1318"/>
            </a:xfrm>
            <a:custGeom>
              <a:avLst/>
              <a:gdLst>
                <a:gd name="T0" fmla="*/ 1353 w 1406"/>
                <a:gd name="T1" fmla="*/ 245 h 558"/>
                <a:gd name="T2" fmla="*/ 1312 w 1406"/>
                <a:gd name="T3" fmla="*/ 214 h 558"/>
                <a:gd name="T4" fmla="*/ 1247 w 1406"/>
                <a:gd name="T5" fmla="*/ 225 h 558"/>
                <a:gd name="T6" fmla="*/ 1182 w 1406"/>
                <a:gd name="T7" fmla="*/ 215 h 558"/>
                <a:gd name="T8" fmla="*/ 1179 w 1406"/>
                <a:gd name="T9" fmla="*/ 178 h 558"/>
                <a:gd name="T10" fmla="*/ 1162 w 1406"/>
                <a:gd name="T11" fmla="*/ 114 h 558"/>
                <a:gd name="T12" fmla="*/ 1091 w 1406"/>
                <a:gd name="T13" fmla="*/ 102 h 558"/>
                <a:gd name="T14" fmla="*/ 1025 w 1406"/>
                <a:gd name="T15" fmla="*/ 136 h 558"/>
                <a:gd name="T16" fmla="*/ 967 w 1406"/>
                <a:gd name="T17" fmla="*/ 143 h 558"/>
                <a:gd name="T18" fmla="*/ 922 w 1406"/>
                <a:gd name="T19" fmla="*/ 156 h 558"/>
                <a:gd name="T20" fmla="*/ 855 w 1406"/>
                <a:gd name="T21" fmla="*/ 148 h 558"/>
                <a:gd name="T22" fmla="*/ 812 w 1406"/>
                <a:gd name="T23" fmla="*/ 114 h 558"/>
                <a:gd name="T24" fmla="*/ 728 w 1406"/>
                <a:gd name="T25" fmla="*/ 97 h 558"/>
                <a:gd name="T26" fmla="*/ 607 w 1406"/>
                <a:gd name="T27" fmla="*/ 95 h 558"/>
                <a:gd name="T28" fmla="*/ 563 w 1406"/>
                <a:gd name="T29" fmla="*/ 83 h 558"/>
                <a:gd name="T30" fmla="*/ 472 w 1406"/>
                <a:gd name="T31" fmla="*/ 22 h 558"/>
                <a:gd name="T32" fmla="*/ 384 w 1406"/>
                <a:gd name="T33" fmla="*/ 0 h 558"/>
                <a:gd name="T34" fmla="*/ 373 w 1406"/>
                <a:gd name="T35" fmla="*/ 33 h 558"/>
                <a:gd name="T36" fmla="*/ 372 w 1406"/>
                <a:gd name="T37" fmla="*/ 60 h 558"/>
                <a:gd name="T38" fmla="*/ 391 w 1406"/>
                <a:gd name="T39" fmla="*/ 110 h 558"/>
                <a:gd name="T40" fmla="*/ 335 w 1406"/>
                <a:gd name="T41" fmla="*/ 119 h 558"/>
                <a:gd name="T42" fmla="*/ 301 w 1406"/>
                <a:gd name="T43" fmla="*/ 118 h 558"/>
                <a:gd name="T44" fmla="*/ 278 w 1406"/>
                <a:gd name="T45" fmla="*/ 107 h 558"/>
                <a:gd name="T46" fmla="*/ 182 w 1406"/>
                <a:gd name="T47" fmla="*/ 86 h 558"/>
                <a:gd name="T48" fmla="*/ 155 w 1406"/>
                <a:gd name="T49" fmla="*/ 70 h 558"/>
                <a:gd name="T50" fmla="*/ 119 w 1406"/>
                <a:gd name="T51" fmla="*/ 88 h 558"/>
                <a:gd name="T52" fmla="*/ 83 w 1406"/>
                <a:gd name="T53" fmla="*/ 100 h 558"/>
                <a:gd name="T54" fmla="*/ 47 w 1406"/>
                <a:gd name="T55" fmla="*/ 130 h 558"/>
                <a:gd name="T56" fmla="*/ 9 w 1406"/>
                <a:gd name="T57" fmla="*/ 151 h 558"/>
                <a:gd name="T58" fmla="*/ 18 w 1406"/>
                <a:gd name="T59" fmla="*/ 174 h 558"/>
                <a:gd name="T60" fmla="*/ 54 w 1406"/>
                <a:gd name="T61" fmla="*/ 203 h 558"/>
                <a:gd name="T62" fmla="*/ 107 w 1406"/>
                <a:gd name="T63" fmla="*/ 221 h 558"/>
                <a:gd name="T64" fmla="*/ 179 w 1406"/>
                <a:gd name="T65" fmla="*/ 276 h 558"/>
                <a:gd name="T66" fmla="*/ 192 w 1406"/>
                <a:gd name="T67" fmla="*/ 326 h 558"/>
                <a:gd name="T68" fmla="*/ 274 w 1406"/>
                <a:gd name="T69" fmla="*/ 374 h 558"/>
                <a:gd name="T70" fmla="*/ 361 w 1406"/>
                <a:gd name="T71" fmla="*/ 397 h 558"/>
                <a:gd name="T72" fmla="*/ 430 w 1406"/>
                <a:gd name="T73" fmla="*/ 429 h 558"/>
                <a:gd name="T74" fmla="*/ 502 w 1406"/>
                <a:gd name="T75" fmla="*/ 498 h 558"/>
                <a:gd name="T76" fmla="*/ 610 w 1406"/>
                <a:gd name="T77" fmla="*/ 499 h 558"/>
                <a:gd name="T78" fmla="*/ 679 w 1406"/>
                <a:gd name="T79" fmla="*/ 501 h 558"/>
                <a:gd name="T80" fmla="*/ 795 w 1406"/>
                <a:gd name="T81" fmla="*/ 531 h 558"/>
                <a:gd name="T82" fmla="*/ 873 w 1406"/>
                <a:gd name="T83" fmla="*/ 550 h 558"/>
                <a:gd name="T84" fmla="*/ 1066 w 1406"/>
                <a:gd name="T85" fmla="*/ 510 h 558"/>
                <a:gd name="T86" fmla="*/ 1112 w 1406"/>
                <a:gd name="T87" fmla="*/ 463 h 558"/>
                <a:gd name="T88" fmla="*/ 1108 w 1406"/>
                <a:gd name="T89" fmla="*/ 407 h 558"/>
                <a:gd name="T90" fmla="*/ 1160 w 1406"/>
                <a:gd name="T91" fmla="*/ 388 h 558"/>
                <a:gd name="T92" fmla="*/ 1213 w 1406"/>
                <a:gd name="T93" fmla="*/ 350 h 558"/>
                <a:gd name="T94" fmla="*/ 1270 w 1406"/>
                <a:gd name="T95" fmla="*/ 314 h 558"/>
                <a:gd name="T96" fmla="*/ 1320 w 1406"/>
                <a:gd name="T97" fmla="*/ 294 h 558"/>
                <a:gd name="T98" fmla="*/ 1355 w 1406"/>
                <a:gd name="T99" fmla="*/ 279 h 558"/>
                <a:gd name="T100" fmla="*/ 1394 w 1406"/>
                <a:gd name="T101" fmla="*/ 273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06" h="558">
                  <a:moveTo>
                    <a:pt x="1394" y="273"/>
                  </a:moveTo>
                  <a:cubicBezTo>
                    <a:pt x="1385" y="267"/>
                    <a:pt x="1380" y="256"/>
                    <a:pt x="1380" y="256"/>
                  </a:cubicBezTo>
                  <a:cubicBezTo>
                    <a:pt x="1380" y="256"/>
                    <a:pt x="1362" y="252"/>
                    <a:pt x="1353" y="245"/>
                  </a:cubicBezTo>
                  <a:cubicBezTo>
                    <a:pt x="1344" y="238"/>
                    <a:pt x="1336" y="231"/>
                    <a:pt x="1336" y="231"/>
                  </a:cubicBezTo>
                  <a:cubicBezTo>
                    <a:pt x="1336" y="231"/>
                    <a:pt x="1333" y="231"/>
                    <a:pt x="1324" y="230"/>
                  </a:cubicBezTo>
                  <a:cubicBezTo>
                    <a:pt x="1315" y="229"/>
                    <a:pt x="1312" y="214"/>
                    <a:pt x="1312" y="214"/>
                  </a:cubicBezTo>
                  <a:cubicBezTo>
                    <a:pt x="1271" y="214"/>
                    <a:pt x="1271" y="214"/>
                    <a:pt x="1271" y="214"/>
                  </a:cubicBezTo>
                  <a:cubicBezTo>
                    <a:pt x="1271" y="214"/>
                    <a:pt x="1270" y="232"/>
                    <a:pt x="1264" y="234"/>
                  </a:cubicBezTo>
                  <a:cubicBezTo>
                    <a:pt x="1258" y="236"/>
                    <a:pt x="1247" y="225"/>
                    <a:pt x="1247" y="225"/>
                  </a:cubicBezTo>
                  <a:cubicBezTo>
                    <a:pt x="1247" y="225"/>
                    <a:pt x="1237" y="221"/>
                    <a:pt x="1218" y="222"/>
                  </a:cubicBezTo>
                  <a:cubicBezTo>
                    <a:pt x="1199" y="223"/>
                    <a:pt x="1215" y="230"/>
                    <a:pt x="1206" y="233"/>
                  </a:cubicBezTo>
                  <a:cubicBezTo>
                    <a:pt x="1197" y="236"/>
                    <a:pt x="1185" y="225"/>
                    <a:pt x="1182" y="215"/>
                  </a:cubicBezTo>
                  <a:cubicBezTo>
                    <a:pt x="1179" y="205"/>
                    <a:pt x="1184" y="202"/>
                    <a:pt x="1184" y="202"/>
                  </a:cubicBezTo>
                  <a:cubicBezTo>
                    <a:pt x="1180" y="196"/>
                    <a:pt x="1180" y="196"/>
                    <a:pt x="1180" y="196"/>
                  </a:cubicBezTo>
                  <a:cubicBezTo>
                    <a:pt x="1179" y="178"/>
                    <a:pt x="1179" y="178"/>
                    <a:pt x="1179" y="178"/>
                  </a:cubicBezTo>
                  <a:cubicBezTo>
                    <a:pt x="1174" y="172"/>
                    <a:pt x="1174" y="172"/>
                    <a:pt x="1174" y="172"/>
                  </a:cubicBezTo>
                  <a:cubicBezTo>
                    <a:pt x="1173" y="117"/>
                    <a:pt x="1173" y="117"/>
                    <a:pt x="1173" y="117"/>
                  </a:cubicBezTo>
                  <a:cubicBezTo>
                    <a:pt x="1162" y="114"/>
                    <a:pt x="1162" y="114"/>
                    <a:pt x="1162" y="114"/>
                  </a:cubicBezTo>
                  <a:cubicBezTo>
                    <a:pt x="1144" y="111"/>
                    <a:pt x="1144" y="111"/>
                    <a:pt x="1144" y="111"/>
                  </a:cubicBezTo>
                  <a:cubicBezTo>
                    <a:pt x="1144" y="111"/>
                    <a:pt x="1138" y="118"/>
                    <a:pt x="1124" y="118"/>
                  </a:cubicBezTo>
                  <a:cubicBezTo>
                    <a:pt x="1110" y="118"/>
                    <a:pt x="1100" y="102"/>
                    <a:pt x="1091" y="102"/>
                  </a:cubicBezTo>
                  <a:cubicBezTo>
                    <a:pt x="1082" y="102"/>
                    <a:pt x="1055" y="98"/>
                    <a:pt x="1055" y="98"/>
                  </a:cubicBezTo>
                  <a:cubicBezTo>
                    <a:pt x="1032" y="121"/>
                    <a:pt x="1032" y="121"/>
                    <a:pt x="1032" y="121"/>
                  </a:cubicBezTo>
                  <a:cubicBezTo>
                    <a:pt x="1032" y="121"/>
                    <a:pt x="1035" y="132"/>
                    <a:pt x="1025" y="136"/>
                  </a:cubicBezTo>
                  <a:cubicBezTo>
                    <a:pt x="1015" y="140"/>
                    <a:pt x="1003" y="137"/>
                    <a:pt x="1003" y="137"/>
                  </a:cubicBezTo>
                  <a:cubicBezTo>
                    <a:pt x="993" y="142"/>
                    <a:pt x="993" y="142"/>
                    <a:pt x="993" y="142"/>
                  </a:cubicBezTo>
                  <a:cubicBezTo>
                    <a:pt x="993" y="142"/>
                    <a:pt x="976" y="141"/>
                    <a:pt x="967" y="143"/>
                  </a:cubicBezTo>
                  <a:cubicBezTo>
                    <a:pt x="958" y="145"/>
                    <a:pt x="960" y="150"/>
                    <a:pt x="955" y="156"/>
                  </a:cubicBezTo>
                  <a:cubicBezTo>
                    <a:pt x="950" y="162"/>
                    <a:pt x="942" y="153"/>
                    <a:pt x="938" y="151"/>
                  </a:cubicBezTo>
                  <a:cubicBezTo>
                    <a:pt x="934" y="149"/>
                    <a:pt x="922" y="156"/>
                    <a:pt x="922" y="156"/>
                  </a:cubicBezTo>
                  <a:cubicBezTo>
                    <a:pt x="922" y="156"/>
                    <a:pt x="898" y="156"/>
                    <a:pt x="895" y="153"/>
                  </a:cubicBezTo>
                  <a:cubicBezTo>
                    <a:pt x="892" y="150"/>
                    <a:pt x="885" y="147"/>
                    <a:pt x="885" y="147"/>
                  </a:cubicBezTo>
                  <a:cubicBezTo>
                    <a:pt x="885" y="147"/>
                    <a:pt x="875" y="150"/>
                    <a:pt x="855" y="148"/>
                  </a:cubicBezTo>
                  <a:cubicBezTo>
                    <a:pt x="835" y="146"/>
                    <a:pt x="840" y="135"/>
                    <a:pt x="840" y="135"/>
                  </a:cubicBezTo>
                  <a:cubicBezTo>
                    <a:pt x="840" y="135"/>
                    <a:pt x="829" y="132"/>
                    <a:pt x="826" y="133"/>
                  </a:cubicBezTo>
                  <a:cubicBezTo>
                    <a:pt x="823" y="134"/>
                    <a:pt x="815" y="115"/>
                    <a:pt x="812" y="114"/>
                  </a:cubicBezTo>
                  <a:cubicBezTo>
                    <a:pt x="809" y="113"/>
                    <a:pt x="790" y="113"/>
                    <a:pt x="778" y="113"/>
                  </a:cubicBezTo>
                  <a:cubicBezTo>
                    <a:pt x="766" y="113"/>
                    <a:pt x="755" y="94"/>
                    <a:pt x="755" y="94"/>
                  </a:cubicBezTo>
                  <a:cubicBezTo>
                    <a:pt x="728" y="97"/>
                    <a:pt x="728" y="97"/>
                    <a:pt x="728" y="97"/>
                  </a:cubicBezTo>
                  <a:cubicBezTo>
                    <a:pt x="728" y="97"/>
                    <a:pt x="726" y="89"/>
                    <a:pt x="697" y="87"/>
                  </a:cubicBezTo>
                  <a:cubicBezTo>
                    <a:pt x="668" y="85"/>
                    <a:pt x="650" y="103"/>
                    <a:pt x="637" y="104"/>
                  </a:cubicBezTo>
                  <a:cubicBezTo>
                    <a:pt x="624" y="105"/>
                    <a:pt x="607" y="95"/>
                    <a:pt x="607" y="95"/>
                  </a:cubicBezTo>
                  <a:cubicBezTo>
                    <a:pt x="607" y="95"/>
                    <a:pt x="600" y="96"/>
                    <a:pt x="590" y="96"/>
                  </a:cubicBezTo>
                  <a:cubicBezTo>
                    <a:pt x="580" y="96"/>
                    <a:pt x="578" y="80"/>
                    <a:pt x="578" y="80"/>
                  </a:cubicBezTo>
                  <a:cubicBezTo>
                    <a:pt x="563" y="83"/>
                    <a:pt x="563" y="83"/>
                    <a:pt x="563" y="83"/>
                  </a:cubicBezTo>
                  <a:cubicBezTo>
                    <a:pt x="563" y="83"/>
                    <a:pt x="541" y="49"/>
                    <a:pt x="532" y="38"/>
                  </a:cubicBezTo>
                  <a:cubicBezTo>
                    <a:pt x="523" y="27"/>
                    <a:pt x="511" y="40"/>
                    <a:pt x="501" y="38"/>
                  </a:cubicBezTo>
                  <a:cubicBezTo>
                    <a:pt x="491" y="36"/>
                    <a:pt x="472" y="22"/>
                    <a:pt x="472" y="22"/>
                  </a:cubicBezTo>
                  <a:cubicBezTo>
                    <a:pt x="472" y="22"/>
                    <a:pt x="452" y="23"/>
                    <a:pt x="434" y="21"/>
                  </a:cubicBezTo>
                  <a:cubicBezTo>
                    <a:pt x="416" y="19"/>
                    <a:pt x="393" y="2"/>
                    <a:pt x="393" y="2"/>
                  </a:cubicBezTo>
                  <a:cubicBezTo>
                    <a:pt x="384" y="0"/>
                    <a:pt x="384" y="0"/>
                    <a:pt x="384" y="0"/>
                  </a:cubicBezTo>
                  <a:cubicBezTo>
                    <a:pt x="384" y="0"/>
                    <a:pt x="385" y="12"/>
                    <a:pt x="380" y="18"/>
                  </a:cubicBezTo>
                  <a:cubicBezTo>
                    <a:pt x="375" y="24"/>
                    <a:pt x="371" y="22"/>
                    <a:pt x="371" y="22"/>
                  </a:cubicBezTo>
                  <a:cubicBezTo>
                    <a:pt x="373" y="33"/>
                    <a:pt x="373" y="33"/>
                    <a:pt x="373" y="33"/>
                  </a:cubicBezTo>
                  <a:cubicBezTo>
                    <a:pt x="373" y="33"/>
                    <a:pt x="362" y="31"/>
                    <a:pt x="362" y="37"/>
                  </a:cubicBezTo>
                  <a:cubicBezTo>
                    <a:pt x="362" y="43"/>
                    <a:pt x="368" y="46"/>
                    <a:pt x="368" y="46"/>
                  </a:cubicBezTo>
                  <a:cubicBezTo>
                    <a:pt x="372" y="60"/>
                    <a:pt x="372" y="60"/>
                    <a:pt x="372" y="60"/>
                  </a:cubicBezTo>
                  <a:cubicBezTo>
                    <a:pt x="388" y="84"/>
                    <a:pt x="388" y="84"/>
                    <a:pt x="388" y="84"/>
                  </a:cubicBezTo>
                  <a:cubicBezTo>
                    <a:pt x="388" y="84"/>
                    <a:pt x="403" y="84"/>
                    <a:pt x="403" y="102"/>
                  </a:cubicBezTo>
                  <a:cubicBezTo>
                    <a:pt x="403" y="120"/>
                    <a:pt x="391" y="110"/>
                    <a:pt x="391" y="110"/>
                  </a:cubicBezTo>
                  <a:cubicBezTo>
                    <a:pt x="391" y="110"/>
                    <a:pt x="393" y="117"/>
                    <a:pt x="376" y="125"/>
                  </a:cubicBezTo>
                  <a:cubicBezTo>
                    <a:pt x="359" y="133"/>
                    <a:pt x="365" y="117"/>
                    <a:pt x="365" y="117"/>
                  </a:cubicBezTo>
                  <a:cubicBezTo>
                    <a:pt x="335" y="119"/>
                    <a:pt x="335" y="119"/>
                    <a:pt x="335" y="119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4" y="111"/>
                    <a:pt x="325" y="110"/>
                    <a:pt x="314" y="111"/>
                  </a:cubicBezTo>
                  <a:cubicBezTo>
                    <a:pt x="303" y="112"/>
                    <a:pt x="301" y="118"/>
                    <a:pt x="301" y="118"/>
                  </a:cubicBezTo>
                  <a:cubicBezTo>
                    <a:pt x="299" y="113"/>
                    <a:pt x="299" y="113"/>
                    <a:pt x="299" y="113"/>
                  </a:cubicBezTo>
                  <a:cubicBezTo>
                    <a:pt x="280" y="116"/>
                    <a:pt x="280" y="116"/>
                    <a:pt x="280" y="116"/>
                  </a:cubicBezTo>
                  <a:cubicBezTo>
                    <a:pt x="278" y="107"/>
                    <a:pt x="278" y="107"/>
                    <a:pt x="278" y="107"/>
                  </a:cubicBezTo>
                  <a:cubicBezTo>
                    <a:pt x="278" y="107"/>
                    <a:pt x="256" y="109"/>
                    <a:pt x="247" y="102"/>
                  </a:cubicBezTo>
                  <a:cubicBezTo>
                    <a:pt x="238" y="95"/>
                    <a:pt x="240" y="82"/>
                    <a:pt x="233" y="82"/>
                  </a:cubicBezTo>
                  <a:cubicBezTo>
                    <a:pt x="226" y="82"/>
                    <a:pt x="182" y="86"/>
                    <a:pt x="182" y="86"/>
                  </a:cubicBezTo>
                  <a:cubicBezTo>
                    <a:pt x="177" y="75"/>
                    <a:pt x="177" y="75"/>
                    <a:pt x="177" y="75"/>
                  </a:cubicBezTo>
                  <a:cubicBezTo>
                    <a:pt x="177" y="75"/>
                    <a:pt x="161" y="75"/>
                    <a:pt x="158" y="75"/>
                  </a:cubicBezTo>
                  <a:cubicBezTo>
                    <a:pt x="155" y="75"/>
                    <a:pt x="155" y="70"/>
                    <a:pt x="155" y="70"/>
                  </a:cubicBezTo>
                  <a:cubicBezTo>
                    <a:pt x="143" y="77"/>
                    <a:pt x="143" y="77"/>
                    <a:pt x="143" y="77"/>
                  </a:cubicBezTo>
                  <a:cubicBezTo>
                    <a:pt x="143" y="77"/>
                    <a:pt x="134" y="71"/>
                    <a:pt x="127" y="71"/>
                  </a:cubicBezTo>
                  <a:cubicBezTo>
                    <a:pt x="120" y="71"/>
                    <a:pt x="119" y="88"/>
                    <a:pt x="119" y="88"/>
                  </a:cubicBezTo>
                  <a:cubicBezTo>
                    <a:pt x="103" y="88"/>
                    <a:pt x="103" y="88"/>
                    <a:pt x="103" y="88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3" y="100"/>
                    <a:pt x="83" y="100"/>
                    <a:pt x="83" y="100"/>
                  </a:cubicBezTo>
                  <a:cubicBezTo>
                    <a:pt x="83" y="100"/>
                    <a:pt x="72" y="108"/>
                    <a:pt x="63" y="118"/>
                  </a:cubicBezTo>
                  <a:cubicBezTo>
                    <a:pt x="54" y="128"/>
                    <a:pt x="63" y="130"/>
                    <a:pt x="63" y="130"/>
                  </a:cubicBezTo>
                  <a:cubicBezTo>
                    <a:pt x="47" y="130"/>
                    <a:pt x="47" y="130"/>
                    <a:pt x="47" y="130"/>
                  </a:cubicBezTo>
                  <a:cubicBezTo>
                    <a:pt x="49" y="139"/>
                    <a:pt x="49" y="139"/>
                    <a:pt x="49" y="139"/>
                  </a:cubicBezTo>
                  <a:cubicBezTo>
                    <a:pt x="8" y="139"/>
                    <a:pt x="8" y="139"/>
                    <a:pt x="8" y="139"/>
                  </a:cubicBezTo>
                  <a:cubicBezTo>
                    <a:pt x="9" y="151"/>
                    <a:pt x="9" y="151"/>
                    <a:pt x="9" y="151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10" y="162"/>
                    <a:pt x="0" y="174"/>
                    <a:pt x="0" y="174"/>
                  </a:cubicBezTo>
                  <a:cubicBezTo>
                    <a:pt x="18" y="174"/>
                    <a:pt x="18" y="174"/>
                    <a:pt x="18" y="174"/>
                  </a:cubicBezTo>
                  <a:cubicBezTo>
                    <a:pt x="18" y="174"/>
                    <a:pt x="14" y="182"/>
                    <a:pt x="19" y="187"/>
                  </a:cubicBezTo>
                  <a:cubicBezTo>
                    <a:pt x="24" y="192"/>
                    <a:pt x="48" y="195"/>
                    <a:pt x="48" y="195"/>
                  </a:cubicBezTo>
                  <a:cubicBezTo>
                    <a:pt x="54" y="203"/>
                    <a:pt x="54" y="203"/>
                    <a:pt x="54" y="203"/>
                  </a:cubicBezTo>
                  <a:cubicBezTo>
                    <a:pt x="71" y="219"/>
                    <a:pt x="71" y="219"/>
                    <a:pt x="71" y="219"/>
                  </a:cubicBezTo>
                  <a:cubicBezTo>
                    <a:pt x="92" y="213"/>
                    <a:pt x="92" y="213"/>
                    <a:pt x="92" y="213"/>
                  </a:cubicBezTo>
                  <a:cubicBezTo>
                    <a:pt x="107" y="221"/>
                    <a:pt x="107" y="221"/>
                    <a:pt x="107" y="221"/>
                  </a:cubicBezTo>
                  <a:cubicBezTo>
                    <a:pt x="107" y="221"/>
                    <a:pt x="113" y="223"/>
                    <a:pt x="127" y="227"/>
                  </a:cubicBezTo>
                  <a:cubicBezTo>
                    <a:pt x="141" y="231"/>
                    <a:pt x="148" y="245"/>
                    <a:pt x="153" y="252"/>
                  </a:cubicBezTo>
                  <a:cubicBezTo>
                    <a:pt x="158" y="259"/>
                    <a:pt x="167" y="268"/>
                    <a:pt x="179" y="276"/>
                  </a:cubicBezTo>
                  <a:cubicBezTo>
                    <a:pt x="191" y="284"/>
                    <a:pt x="188" y="300"/>
                    <a:pt x="188" y="300"/>
                  </a:cubicBezTo>
                  <a:cubicBezTo>
                    <a:pt x="188" y="300"/>
                    <a:pt x="198" y="308"/>
                    <a:pt x="200" y="315"/>
                  </a:cubicBezTo>
                  <a:cubicBezTo>
                    <a:pt x="202" y="322"/>
                    <a:pt x="192" y="326"/>
                    <a:pt x="192" y="326"/>
                  </a:cubicBezTo>
                  <a:cubicBezTo>
                    <a:pt x="192" y="326"/>
                    <a:pt x="193" y="336"/>
                    <a:pt x="198" y="349"/>
                  </a:cubicBezTo>
                  <a:cubicBezTo>
                    <a:pt x="203" y="362"/>
                    <a:pt x="224" y="364"/>
                    <a:pt x="235" y="368"/>
                  </a:cubicBezTo>
                  <a:cubicBezTo>
                    <a:pt x="246" y="372"/>
                    <a:pt x="260" y="375"/>
                    <a:pt x="274" y="374"/>
                  </a:cubicBezTo>
                  <a:cubicBezTo>
                    <a:pt x="288" y="373"/>
                    <a:pt x="322" y="375"/>
                    <a:pt x="322" y="375"/>
                  </a:cubicBezTo>
                  <a:cubicBezTo>
                    <a:pt x="322" y="375"/>
                    <a:pt x="333" y="380"/>
                    <a:pt x="342" y="382"/>
                  </a:cubicBezTo>
                  <a:cubicBezTo>
                    <a:pt x="351" y="384"/>
                    <a:pt x="358" y="396"/>
                    <a:pt x="361" y="397"/>
                  </a:cubicBezTo>
                  <a:cubicBezTo>
                    <a:pt x="364" y="398"/>
                    <a:pt x="401" y="410"/>
                    <a:pt x="401" y="410"/>
                  </a:cubicBezTo>
                  <a:cubicBezTo>
                    <a:pt x="423" y="413"/>
                    <a:pt x="423" y="413"/>
                    <a:pt x="423" y="413"/>
                  </a:cubicBezTo>
                  <a:cubicBezTo>
                    <a:pt x="430" y="429"/>
                    <a:pt x="430" y="429"/>
                    <a:pt x="430" y="429"/>
                  </a:cubicBezTo>
                  <a:cubicBezTo>
                    <a:pt x="430" y="429"/>
                    <a:pt x="439" y="434"/>
                    <a:pt x="443" y="438"/>
                  </a:cubicBezTo>
                  <a:cubicBezTo>
                    <a:pt x="447" y="442"/>
                    <a:pt x="461" y="461"/>
                    <a:pt x="465" y="467"/>
                  </a:cubicBezTo>
                  <a:cubicBezTo>
                    <a:pt x="469" y="473"/>
                    <a:pt x="502" y="498"/>
                    <a:pt x="502" y="498"/>
                  </a:cubicBezTo>
                  <a:cubicBezTo>
                    <a:pt x="540" y="494"/>
                    <a:pt x="540" y="494"/>
                    <a:pt x="540" y="494"/>
                  </a:cubicBezTo>
                  <a:cubicBezTo>
                    <a:pt x="579" y="499"/>
                    <a:pt x="579" y="499"/>
                    <a:pt x="579" y="499"/>
                  </a:cubicBezTo>
                  <a:cubicBezTo>
                    <a:pt x="610" y="499"/>
                    <a:pt x="610" y="499"/>
                    <a:pt x="610" y="499"/>
                  </a:cubicBezTo>
                  <a:cubicBezTo>
                    <a:pt x="635" y="504"/>
                    <a:pt x="635" y="504"/>
                    <a:pt x="635" y="504"/>
                  </a:cubicBezTo>
                  <a:cubicBezTo>
                    <a:pt x="635" y="504"/>
                    <a:pt x="649" y="493"/>
                    <a:pt x="654" y="493"/>
                  </a:cubicBezTo>
                  <a:cubicBezTo>
                    <a:pt x="659" y="493"/>
                    <a:pt x="679" y="501"/>
                    <a:pt x="679" y="501"/>
                  </a:cubicBezTo>
                  <a:cubicBezTo>
                    <a:pt x="679" y="501"/>
                    <a:pt x="718" y="501"/>
                    <a:pt x="728" y="504"/>
                  </a:cubicBezTo>
                  <a:cubicBezTo>
                    <a:pt x="738" y="507"/>
                    <a:pt x="740" y="522"/>
                    <a:pt x="755" y="527"/>
                  </a:cubicBezTo>
                  <a:cubicBezTo>
                    <a:pt x="770" y="532"/>
                    <a:pt x="781" y="530"/>
                    <a:pt x="795" y="531"/>
                  </a:cubicBezTo>
                  <a:cubicBezTo>
                    <a:pt x="809" y="532"/>
                    <a:pt x="837" y="547"/>
                    <a:pt x="837" y="547"/>
                  </a:cubicBezTo>
                  <a:cubicBezTo>
                    <a:pt x="837" y="547"/>
                    <a:pt x="858" y="538"/>
                    <a:pt x="864" y="538"/>
                  </a:cubicBezTo>
                  <a:cubicBezTo>
                    <a:pt x="870" y="538"/>
                    <a:pt x="873" y="550"/>
                    <a:pt x="873" y="550"/>
                  </a:cubicBezTo>
                  <a:cubicBezTo>
                    <a:pt x="873" y="550"/>
                    <a:pt x="893" y="558"/>
                    <a:pt x="899" y="553"/>
                  </a:cubicBezTo>
                  <a:cubicBezTo>
                    <a:pt x="905" y="548"/>
                    <a:pt x="948" y="519"/>
                    <a:pt x="962" y="513"/>
                  </a:cubicBezTo>
                  <a:cubicBezTo>
                    <a:pt x="976" y="507"/>
                    <a:pt x="1066" y="510"/>
                    <a:pt x="1066" y="510"/>
                  </a:cubicBezTo>
                  <a:cubicBezTo>
                    <a:pt x="1078" y="497"/>
                    <a:pt x="1078" y="497"/>
                    <a:pt x="1078" y="497"/>
                  </a:cubicBezTo>
                  <a:cubicBezTo>
                    <a:pt x="1078" y="497"/>
                    <a:pt x="1095" y="499"/>
                    <a:pt x="1103" y="492"/>
                  </a:cubicBezTo>
                  <a:cubicBezTo>
                    <a:pt x="1111" y="485"/>
                    <a:pt x="1109" y="470"/>
                    <a:pt x="1112" y="463"/>
                  </a:cubicBezTo>
                  <a:cubicBezTo>
                    <a:pt x="1115" y="456"/>
                    <a:pt x="1125" y="459"/>
                    <a:pt x="1129" y="459"/>
                  </a:cubicBezTo>
                  <a:cubicBezTo>
                    <a:pt x="1133" y="459"/>
                    <a:pt x="1143" y="444"/>
                    <a:pt x="1144" y="439"/>
                  </a:cubicBezTo>
                  <a:cubicBezTo>
                    <a:pt x="1145" y="434"/>
                    <a:pt x="1114" y="411"/>
                    <a:pt x="1108" y="407"/>
                  </a:cubicBezTo>
                  <a:cubicBezTo>
                    <a:pt x="1102" y="403"/>
                    <a:pt x="1100" y="383"/>
                    <a:pt x="1106" y="373"/>
                  </a:cubicBezTo>
                  <a:cubicBezTo>
                    <a:pt x="1112" y="363"/>
                    <a:pt x="1130" y="369"/>
                    <a:pt x="1134" y="370"/>
                  </a:cubicBezTo>
                  <a:cubicBezTo>
                    <a:pt x="1138" y="371"/>
                    <a:pt x="1160" y="388"/>
                    <a:pt x="1160" y="388"/>
                  </a:cubicBezTo>
                  <a:cubicBezTo>
                    <a:pt x="1160" y="388"/>
                    <a:pt x="1187" y="387"/>
                    <a:pt x="1194" y="385"/>
                  </a:cubicBezTo>
                  <a:cubicBezTo>
                    <a:pt x="1201" y="383"/>
                    <a:pt x="1212" y="369"/>
                    <a:pt x="1212" y="369"/>
                  </a:cubicBezTo>
                  <a:cubicBezTo>
                    <a:pt x="1212" y="369"/>
                    <a:pt x="1210" y="353"/>
                    <a:pt x="1213" y="350"/>
                  </a:cubicBezTo>
                  <a:cubicBezTo>
                    <a:pt x="1216" y="347"/>
                    <a:pt x="1262" y="350"/>
                    <a:pt x="1262" y="350"/>
                  </a:cubicBezTo>
                  <a:cubicBezTo>
                    <a:pt x="1278" y="336"/>
                    <a:pt x="1278" y="336"/>
                    <a:pt x="1278" y="336"/>
                  </a:cubicBezTo>
                  <a:cubicBezTo>
                    <a:pt x="1278" y="336"/>
                    <a:pt x="1263" y="325"/>
                    <a:pt x="1270" y="314"/>
                  </a:cubicBezTo>
                  <a:cubicBezTo>
                    <a:pt x="1277" y="303"/>
                    <a:pt x="1302" y="302"/>
                    <a:pt x="1302" y="302"/>
                  </a:cubicBezTo>
                  <a:cubicBezTo>
                    <a:pt x="1302" y="291"/>
                    <a:pt x="1302" y="291"/>
                    <a:pt x="1302" y="291"/>
                  </a:cubicBezTo>
                  <a:cubicBezTo>
                    <a:pt x="1320" y="294"/>
                    <a:pt x="1320" y="294"/>
                    <a:pt x="1320" y="294"/>
                  </a:cubicBezTo>
                  <a:cubicBezTo>
                    <a:pt x="1326" y="291"/>
                    <a:pt x="1326" y="291"/>
                    <a:pt x="1326" y="291"/>
                  </a:cubicBezTo>
                  <a:cubicBezTo>
                    <a:pt x="1335" y="282"/>
                    <a:pt x="1335" y="282"/>
                    <a:pt x="1335" y="282"/>
                  </a:cubicBezTo>
                  <a:cubicBezTo>
                    <a:pt x="1335" y="282"/>
                    <a:pt x="1346" y="279"/>
                    <a:pt x="1355" y="279"/>
                  </a:cubicBezTo>
                  <a:cubicBezTo>
                    <a:pt x="1364" y="279"/>
                    <a:pt x="1372" y="288"/>
                    <a:pt x="1372" y="288"/>
                  </a:cubicBezTo>
                  <a:cubicBezTo>
                    <a:pt x="1372" y="288"/>
                    <a:pt x="1390" y="287"/>
                    <a:pt x="1398" y="286"/>
                  </a:cubicBezTo>
                  <a:cubicBezTo>
                    <a:pt x="1406" y="285"/>
                    <a:pt x="1403" y="279"/>
                    <a:pt x="1394" y="273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 267">
              <a:extLst>
                <a:ext uri="{FF2B5EF4-FFF2-40B4-BE49-F238E27FC236}">
                  <a16:creationId xmlns:a16="http://schemas.microsoft.com/office/drawing/2014/main" id="{87CBC5FF-C9C6-6A5F-7B51-C9F9CD178F6A}"/>
                </a:ext>
              </a:extLst>
            </p:cNvPr>
            <p:cNvSpPr>
              <a:spLocks/>
            </p:cNvSpPr>
            <p:nvPr/>
          </p:nvSpPr>
          <p:spPr bwMode="gray">
            <a:xfrm>
              <a:off x="-2297" y="-15512"/>
              <a:ext cx="728" cy="340"/>
            </a:xfrm>
            <a:custGeom>
              <a:avLst/>
              <a:gdLst>
                <a:gd name="T0" fmla="*/ 4 w 308"/>
                <a:gd name="T1" fmla="*/ 12 h 144"/>
                <a:gd name="T2" fmla="*/ 52 w 308"/>
                <a:gd name="T3" fmla="*/ 37 h 144"/>
                <a:gd name="T4" fmla="*/ 75 w 308"/>
                <a:gd name="T5" fmla="*/ 54 h 144"/>
                <a:gd name="T6" fmla="*/ 79 w 308"/>
                <a:gd name="T7" fmla="*/ 85 h 144"/>
                <a:gd name="T8" fmla="*/ 92 w 308"/>
                <a:gd name="T9" fmla="*/ 103 h 144"/>
                <a:gd name="T10" fmla="*/ 85 w 308"/>
                <a:gd name="T11" fmla="*/ 110 h 144"/>
                <a:gd name="T12" fmla="*/ 111 w 308"/>
                <a:gd name="T13" fmla="*/ 115 h 144"/>
                <a:gd name="T14" fmla="*/ 131 w 308"/>
                <a:gd name="T15" fmla="*/ 108 h 144"/>
                <a:gd name="T16" fmla="*/ 147 w 308"/>
                <a:gd name="T17" fmla="*/ 126 h 144"/>
                <a:gd name="T18" fmla="*/ 164 w 308"/>
                <a:gd name="T19" fmla="*/ 126 h 144"/>
                <a:gd name="T20" fmla="*/ 166 w 308"/>
                <a:gd name="T21" fmla="*/ 134 h 144"/>
                <a:gd name="T22" fmla="*/ 183 w 308"/>
                <a:gd name="T23" fmla="*/ 133 h 144"/>
                <a:gd name="T24" fmla="*/ 188 w 308"/>
                <a:gd name="T25" fmla="*/ 126 h 144"/>
                <a:gd name="T26" fmla="*/ 221 w 308"/>
                <a:gd name="T27" fmla="*/ 130 h 144"/>
                <a:gd name="T28" fmla="*/ 227 w 308"/>
                <a:gd name="T29" fmla="*/ 120 h 144"/>
                <a:gd name="T30" fmla="*/ 235 w 308"/>
                <a:gd name="T31" fmla="*/ 123 h 144"/>
                <a:gd name="T32" fmla="*/ 235 w 308"/>
                <a:gd name="T33" fmla="*/ 123 h 144"/>
                <a:gd name="T34" fmla="*/ 250 w 308"/>
                <a:gd name="T35" fmla="*/ 112 h 144"/>
                <a:gd name="T36" fmla="*/ 261 w 308"/>
                <a:gd name="T37" fmla="*/ 120 h 144"/>
                <a:gd name="T38" fmla="*/ 275 w 308"/>
                <a:gd name="T39" fmla="*/ 130 h 144"/>
                <a:gd name="T40" fmla="*/ 289 w 308"/>
                <a:gd name="T41" fmla="*/ 127 h 144"/>
                <a:gd name="T42" fmla="*/ 306 w 308"/>
                <a:gd name="T43" fmla="*/ 134 h 144"/>
                <a:gd name="T44" fmla="*/ 287 w 308"/>
                <a:gd name="T45" fmla="*/ 113 h 144"/>
                <a:gd name="T46" fmla="*/ 278 w 308"/>
                <a:gd name="T47" fmla="*/ 97 h 144"/>
                <a:gd name="T48" fmla="*/ 286 w 308"/>
                <a:gd name="T49" fmla="*/ 93 h 144"/>
                <a:gd name="T50" fmla="*/ 251 w 308"/>
                <a:gd name="T51" fmla="*/ 75 h 144"/>
                <a:gd name="T52" fmla="*/ 256 w 308"/>
                <a:gd name="T53" fmla="*/ 58 h 144"/>
                <a:gd name="T54" fmla="*/ 236 w 308"/>
                <a:gd name="T55" fmla="*/ 55 h 144"/>
                <a:gd name="T56" fmla="*/ 208 w 308"/>
                <a:gd name="T57" fmla="*/ 42 h 144"/>
                <a:gd name="T58" fmla="*/ 179 w 308"/>
                <a:gd name="T59" fmla="*/ 53 h 144"/>
                <a:gd name="T60" fmla="*/ 160 w 308"/>
                <a:gd name="T61" fmla="*/ 42 h 144"/>
                <a:gd name="T62" fmla="*/ 128 w 308"/>
                <a:gd name="T63" fmla="*/ 22 h 144"/>
                <a:gd name="T64" fmla="*/ 95 w 308"/>
                <a:gd name="T65" fmla="*/ 18 h 144"/>
                <a:gd name="T66" fmla="*/ 54 w 308"/>
                <a:gd name="T67" fmla="*/ 10 h 144"/>
                <a:gd name="T68" fmla="*/ 13 w 308"/>
                <a:gd name="T69" fmla="*/ 0 h 144"/>
                <a:gd name="T70" fmla="*/ 0 w 308"/>
                <a:gd name="T71" fmla="*/ 11 h 144"/>
                <a:gd name="T72" fmla="*/ 4 w 308"/>
                <a:gd name="T73" fmla="*/ 1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08" h="144">
                  <a:moveTo>
                    <a:pt x="4" y="12"/>
                  </a:moveTo>
                  <a:cubicBezTo>
                    <a:pt x="4" y="12"/>
                    <a:pt x="44" y="34"/>
                    <a:pt x="52" y="37"/>
                  </a:cubicBezTo>
                  <a:cubicBezTo>
                    <a:pt x="60" y="40"/>
                    <a:pt x="75" y="54"/>
                    <a:pt x="75" y="54"/>
                  </a:cubicBezTo>
                  <a:cubicBezTo>
                    <a:pt x="75" y="54"/>
                    <a:pt x="79" y="82"/>
                    <a:pt x="79" y="85"/>
                  </a:cubicBezTo>
                  <a:cubicBezTo>
                    <a:pt x="79" y="88"/>
                    <a:pt x="92" y="103"/>
                    <a:pt x="92" y="103"/>
                  </a:cubicBezTo>
                  <a:cubicBezTo>
                    <a:pt x="92" y="103"/>
                    <a:pt x="90" y="105"/>
                    <a:pt x="85" y="110"/>
                  </a:cubicBezTo>
                  <a:cubicBezTo>
                    <a:pt x="111" y="115"/>
                    <a:pt x="111" y="115"/>
                    <a:pt x="111" y="115"/>
                  </a:cubicBezTo>
                  <a:cubicBezTo>
                    <a:pt x="111" y="115"/>
                    <a:pt x="117" y="105"/>
                    <a:pt x="131" y="108"/>
                  </a:cubicBezTo>
                  <a:cubicBezTo>
                    <a:pt x="145" y="111"/>
                    <a:pt x="147" y="126"/>
                    <a:pt x="147" y="126"/>
                  </a:cubicBezTo>
                  <a:cubicBezTo>
                    <a:pt x="164" y="126"/>
                    <a:pt x="164" y="126"/>
                    <a:pt x="164" y="126"/>
                  </a:cubicBezTo>
                  <a:cubicBezTo>
                    <a:pt x="164" y="126"/>
                    <a:pt x="165" y="129"/>
                    <a:pt x="166" y="134"/>
                  </a:cubicBezTo>
                  <a:cubicBezTo>
                    <a:pt x="183" y="133"/>
                    <a:pt x="183" y="133"/>
                    <a:pt x="183" y="133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221" y="130"/>
                    <a:pt x="221" y="130"/>
                    <a:pt x="221" y="130"/>
                  </a:cubicBezTo>
                  <a:cubicBezTo>
                    <a:pt x="221" y="130"/>
                    <a:pt x="224" y="120"/>
                    <a:pt x="227" y="120"/>
                  </a:cubicBezTo>
                  <a:cubicBezTo>
                    <a:pt x="228" y="120"/>
                    <a:pt x="232" y="121"/>
                    <a:pt x="235" y="123"/>
                  </a:cubicBezTo>
                  <a:cubicBezTo>
                    <a:pt x="235" y="123"/>
                    <a:pt x="235" y="123"/>
                    <a:pt x="235" y="123"/>
                  </a:cubicBezTo>
                  <a:cubicBezTo>
                    <a:pt x="236" y="119"/>
                    <a:pt x="240" y="111"/>
                    <a:pt x="250" y="112"/>
                  </a:cubicBezTo>
                  <a:cubicBezTo>
                    <a:pt x="263" y="113"/>
                    <a:pt x="261" y="120"/>
                    <a:pt x="261" y="120"/>
                  </a:cubicBezTo>
                  <a:cubicBezTo>
                    <a:pt x="275" y="130"/>
                    <a:pt x="275" y="130"/>
                    <a:pt x="275" y="130"/>
                  </a:cubicBezTo>
                  <a:cubicBezTo>
                    <a:pt x="275" y="130"/>
                    <a:pt x="286" y="127"/>
                    <a:pt x="289" y="127"/>
                  </a:cubicBezTo>
                  <a:cubicBezTo>
                    <a:pt x="292" y="127"/>
                    <a:pt x="304" y="144"/>
                    <a:pt x="306" y="134"/>
                  </a:cubicBezTo>
                  <a:cubicBezTo>
                    <a:pt x="308" y="124"/>
                    <a:pt x="287" y="113"/>
                    <a:pt x="287" y="113"/>
                  </a:cubicBezTo>
                  <a:cubicBezTo>
                    <a:pt x="287" y="113"/>
                    <a:pt x="272" y="102"/>
                    <a:pt x="278" y="97"/>
                  </a:cubicBezTo>
                  <a:cubicBezTo>
                    <a:pt x="280" y="95"/>
                    <a:pt x="283" y="94"/>
                    <a:pt x="286" y="93"/>
                  </a:cubicBezTo>
                  <a:cubicBezTo>
                    <a:pt x="279" y="86"/>
                    <a:pt x="268" y="76"/>
                    <a:pt x="251" y="75"/>
                  </a:cubicBezTo>
                  <a:cubicBezTo>
                    <a:pt x="251" y="76"/>
                    <a:pt x="256" y="58"/>
                    <a:pt x="256" y="58"/>
                  </a:cubicBezTo>
                  <a:cubicBezTo>
                    <a:pt x="236" y="55"/>
                    <a:pt x="236" y="55"/>
                    <a:pt x="236" y="55"/>
                  </a:cubicBezTo>
                  <a:cubicBezTo>
                    <a:pt x="236" y="55"/>
                    <a:pt x="226" y="40"/>
                    <a:pt x="208" y="42"/>
                  </a:cubicBezTo>
                  <a:cubicBezTo>
                    <a:pt x="190" y="44"/>
                    <a:pt x="198" y="53"/>
                    <a:pt x="179" y="53"/>
                  </a:cubicBezTo>
                  <a:cubicBezTo>
                    <a:pt x="160" y="53"/>
                    <a:pt x="160" y="42"/>
                    <a:pt x="160" y="42"/>
                  </a:cubicBezTo>
                  <a:cubicBezTo>
                    <a:pt x="128" y="22"/>
                    <a:pt x="128" y="22"/>
                    <a:pt x="128" y="22"/>
                  </a:cubicBezTo>
                  <a:cubicBezTo>
                    <a:pt x="128" y="22"/>
                    <a:pt x="108" y="17"/>
                    <a:pt x="95" y="18"/>
                  </a:cubicBezTo>
                  <a:cubicBezTo>
                    <a:pt x="82" y="19"/>
                    <a:pt x="70" y="17"/>
                    <a:pt x="54" y="10"/>
                  </a:cubicBezTo>
                  <a:cubicBezTo>
                    <a:pt x="38" y="3"/>
                    <a:pt x="13" y="0"/>
                    <a:pt x="13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3" y="12"/>
                    <a:pt x="4" y="12"/>
                    <a:pt x="4" y="12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 268">
              <a:extLst>
                <a:ext uri="{FF2B5EF4-FFF2-40B4-BE49-F238E27FC236}">
                  <a16:creationId xmlns:a16="http://schemas.microsoft.com/office/drawing/2014/main" id="{1460011C-30E6-CEC7-0E32-3A4D1AA3A19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741" y="-15300"/>
              <a:ext cx="567" cy="459"/>
            </a:xfrm>
            <a:custGeom>
              <a:avLst/>
              <a:gdLst>
                <a:gd name="T0" fmla="*/ 42 w 240"/>
                <a:gd name="T1" fmla="*/ 125 h 194"/>
                <a:gd name="T2" fmla="*/ 31 w 240"/>
                <a:gd name="T3" fmla="*/ 127 h 194"/>
                <a:gd name="T4" fmla="*/ 14 w 240"/>
                <a:gd name="T5" fmla="*/ 116 h 194"/>
                <a:gd name="T6" fmla="*/ 4 w 240"/>
                <a:gd name="T7" fmla="*/ 119 h 194"/>
                <a:gd name="T8" fmla="*/ 14 w 240"/>
                <a:gd name="T9" fmla="*/ 141 h 194"/>
                <a:gd name="T10" fmla="*/ 56 w 240"/>
                <a:gd name="T11" fmla="*/ 163 h 194"/>
                <a:gd name="T12" fmla="*/ 59 w 240"/>
                <a:gd name="T13" fmla="*/ 163 h 194"/>
                <a:gd name="T14" fmla="*/ 50 w 240"/>
                <a:gd name="T15" fmla="*/ 141 h 194"/>
                <a:gd name="T16" fmla="*/ 42 w 240"/>
                <a:gd name="T17" fmla="*/ 125 h 194"/>
                <a:gd name="T18" fmla="*/ 235 w 240"/>
                <a:gd name="T19" fmla="*/ 75 h 194"/>
                <a:gd name="T20" fmla="*/ 205 w 240"/>
                <a:gd name="T21" fmla="*/ 74 h 194"/>
                <a:gd name="T22" fmla="*/ 193 w 240"/>
                <a:gd name="T23" fmla="*/ 56 h 194"/>
                <a:gd name="T24" fmla="*/ 176 w 240"/>
                <a:gd name="T25" fmla="*/ 38 h 194"/>
                <a:gd name="T26" fmla="*/ 177 w 240"/>
                <a:gd name="T27" fmla="*/ 29 h 194"/>
                <a:gd name="T28" fmla="*/ 145 w 240"/>
                <a:gd name="T29" fmla="*/ 2 h 194"/>
                <a:gd name="T30" fmla="*/ 143 w 240"/>
                <a:gd name="T31" fmla="*/ 20 h 194"/>
                <a:gd name="T32" fmla="*/ 126 w 240"/>
                <a:gd name="T33" fmla="*/ 24 h 194"/>
                <a:gd name="T34" fmla="*/ 116 w 240"/>
                <a:gd name="T35" fmla="*/ 38 h 194"/>
                <a:gd name="T36" fmla="*/ 78 w 240"/>
                <a:gd name="T37" fmla="*/ 9 h 194"/>
                <a:gd name="T38" fmla="*/ 43 w 240"/>
                <a:gd name="T39" fmla="*/ 7 h 194"/>
                <a:gd name="T40" fmla="*/ 52 w 240"/>
                <a:gd name="T41" fmla="*/ 23 h 194"/>
                <a:gd name="T42" fmla="*/ 71 w 240"/>
                <a:gd name="T43" fmla="*/ 44 h 194"/>
                <a:gd name="T44" fmla="*/ 54 w 240"/>
                <a:gd name="T45" fmla="*/ 37 h 194"/>
                <a:gd name="T46" fmla="*/ 40 w 240"/>
                <a:gd name="T47" fmla="*/ 40 h 194"/>
                <a:gd name="T48" fmla="*/ 26 w 240"/>
                <a:gd name="T49" fmla="*/ 30 h 194"/>
                <a:gd name="T50" fmla="*/ 15 w 240"/>
                <a:gd name="T51" fmla="*/ 22 h 194"/>
                <a:gd name="T52" fmla="*/ 0 w 240"/>
                <a:gd name="T53" fmla="*/ 33 h 194"/>
                <a:gd name="T54" fmla="*/ 7 w 240"/>
                <a:gd name="T55" fmla="*/ 37 h 194"/>
                <a:gd name="T56" fmla="*/ 6 w 240"/>
                <a:gd name="T57" fmla="*/ 46 h 194"/>
                <a:gd name="T58" fmla="*/ 25 w 240"/>
                <a:gd name="T59" fmla="*/ 54 h 194"/>
                <a:gd name="T60" fmla="*/ 19 w 240"/>
                <a:gd name="T61" fmla="*/ 69 h 194"/>
                <a:gd name="T62" fmla="*/ 49 w 240"/>
                <a:gd name="T63" fmla="*/ 91 h 194"/>
                <a:gd name="T64" fmla="*/ 28 w 240"/>
                <a:gd name="T65" fmla="*/ 100 h 194"/>
                <a:gd name="T66" fmla="*/ 46 w 240"/>
                <a:gd name="T67" fmla="*/ 108 h 194"/>
                <a:gd name="T68" fmla="*/ 56 w 240"/>
                <a:gd name="T69" fmla="*/ 122 h 194"/>
                <a:gd name="T70" fmla="*/ 76 w 240"/>
                <a:gd name="T71" fmla="*/ 124 h 194"/>
                <a:gd name="T72" fmla="*/ 74 w 240"/>
                <a:gd name="T73" fmla="*/ 134 h 194"/>
                <a:gd name="T74" fmla="*/ 78 w 240"/>
                <a:gd name="T75" fmla="*/ 141 h 194"/>
                <a:gd name="T76" fmla="*/ 81 w 240"/>
                <a:gd name="T77" fmla="*/ 162 h 194"/>
                <a:gd name="T78" fmla="*/ 83 w 240"/>
                <a:gd name="T79" fmla="*/ 162 h 194"/>
                <a:gd name="T80" fmla="*/ 97 w 240"/>
                <a:gd name="T81" fmla="*/ 146 h 194"/>
                <a:gd name="T82" fmla="*/ 142 w 240"/>
                <a:gd name="T83" fmla="*/ 115 h 194"/>
                <a:gd name="T84" fmla="*/ 157 w 240"/>
                <a:gd name="T85" fmla="*/ 133 h 194"/>
                <a:gd name="T86" fmla="*/ 150 w 240"/>
                <a:gd name="T87" fmla="*/ 144 h 194"/>
                <a:gd name="T88" fmla="*/ 159 w 240"/>
                <a:gd name="T89" fmla="*/ 157 h 194"/>
                <a:gd name="T90" fmla="*/ 149 w 240"/>
                <a:gd name="T91" fmla="*/ 164 h 194"/>
                <a:gd name="T92" fmla="*/ 168 w 240"/>
                <a:gd name="T93" fmla="*/ 180 h 194"/>
                <a:gd name="T94" fmla="*/ 177 w 240"/>
                <a:gd name="T95" fmla="*/ 189 h 194"/>
                <a:gd name="T96" fmla="*/ 187 w 240"/>
                <a:gd name="T97" fmla="*/ 191 h 194"/>
                <a:gd name="T98" fmla="*/ 188 w 240"/>
                <a:gd name="T99" fmla="*/ 194 h 194"/>
                <a:gd name="T100" fmla="*/ 191 w 240"/>
                <a:gd name="T101" fmla="*/ 174 h 194"/>
                <a:gd name="T102" fmla="*/ 179 w 240"/>
                <a:gd name="T103" fmla="*/ 165 h 194"/>
                <a:gd name="T104" fmla="*/ 190 w 240"/>
                <a:gd name="T105" fmla="*/ 161 h 194"/>
                <a:gd name="T106" fmla="*/ 190 w 240"/>
                <a:gd name="T107" fmla="*/ 142 h 194"/>
                <a:gd name="T108" fmla="*/ 208 w 240"/>
                <a:gd name="T109" fmla="*/ 147 h 194"/>
                <a:gd name="T110" fmla="*/ 198 w 240"/>
                <a:gd name="T111" fmla="*/ 129 h 194"/>
                <a:gd name="T112" fmla="*/ 201 w 240"/>
                <a:gd name="T113" fmla="*/ 116 h 194"/>
                <a:gd name="T114" fmla="*/ 200 w 240"/>
                <a:gd name="T115" fmla="*/ 93 h 194"/>
                <a:gd name="T116" fmla="*/ 210 w 240"/>
                <a:gd name="T117" fmla="*/ 95 h 194"/>
                <a:gd name="T118" fmla="*/ 218 w 240"/>
                <a:gd name="T119" fmla="*/ 86 h 194"/>
                <a:gd name="T120" fmla="*/ 240 w 240"/>
                <a:gd name="T121" fmla="*/ 88 h 194"/>
                <a:gd name="T122" fmla="*/ 235 w 240"/>
                <a:gd name="T123" fmla="*/ 7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0" h="194">
                  <a:moveTo>
                    <a:pt x="42" y="125"/>
                  </a:moveTo>
                  <a:cubicBezTo>
                    <a:pt x="33" y="124"/>
                    <a:pt x="31" y="127"/>
                    <a:pt x="31" y="127"/>
                  </a:cubicBezTo>
                  <a:cubicBezTo>
                    <a:pt x="31" y="127"/>
                    <a:pt x="21" y="126"/>
                    <a:pt x="14" y="116"/>
                  </a:cubicBezTo>
                  <a:cubicBezTo>
                    <a:pt x="13" y="116"/>
                    <a:pt x="6" y="118"/>
                    <a:pt x="4" y="119"/>
                  </a:cubicBezTo>
                  <a:cubicBezTo>
                    <a:pt x="6" y="125"/>
                    <a:pt x="7" y="135"/>
                    <a:pt x="14" y="141"/>
                  </a:cubicBezTo>
                  <a:cubicBezTo>
                    <a:pt x="24" y="149"/>
                    <a:pt x="41" y="163"/>
                    <a:pt x="56" y="163"/>
                  </a:cubicBezTo>
                  <a:cubicBezTo>
                    <a:pt x="57" y="163"/>
                    <a:pt x="58" y="163"/>
                    <a:pt x="59" y="163"/>
                  </a:cubicBezTo>
                  <a:cubicBezTo>
                    <a:pt x="57" y="156"/>
                    <a:pt x="52" y="144"/>
                    <a:pt x="50" y="141"/>
                  </a:cubicBezTo>
                  <a:cubicBezTo>
                    <a:pt x="47" y="137"/>
                    <a:pt x="51" y="126"/>
                    <a:pt x="42" y="125"/>
                  </a:cubicBezTo>
                  <a:close/>
                  <a:moveTo>
                    <a:pt x="235" y="75"/>
                  </a:moveTo>
                  <a:cubicBezTo>
                    <a:pt x="231" y="67"/>
                    <a:pt x="215" y="74"/>
                    <a:pt x="205" y="74"/>
                  </a:cubicBezTo>
                  <a:cubicBezTo>
                    <a:pt x="195" y="74"/>
                    <a:pt x="193" y="56"/>
                    <a:pt x="193" y="56"/>
                  </a:cubicBezTo>
                  <a:cubicBezTo>
                    <a:pt x="176" y="38"/>
                    <a:pt x="176" y="38"/>
                    <a:pt x="176" y="38"/>
                  </a:cubicBezTo>
                  <a:cubicBezTo>
                    <a:pt x="177" y="29"/>
                    <a:pt x="177" y="29"/>
                    <a:pt x="177" y="29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2"/>
                    <a:pt x="144" y="13"/>
                    <a:pt x="143" y="20"/>
                  </a:cubicBezTo>
                  <a:cubicBezTo>
                    <a:pt x="142" y="27"/>
                    <a:pt x="126" y="24"/>
                    <a:pt x="126" y="24"/>
                  </a:cubicBezTo>
                  <a:cubicBezTo>
                    <a:pt x="126" y="24"/>
                    <a:pt x="132" y="36"/>
                    <a:pt x="116" y="38"/>
                  </a:cubicBezTo>
                  <a:cubicBezTo>
                    <a:pt x="100" y="40"/>
                    <a:pt x="91" y="18"/>
                    <a:pt x="78" y="9"/>
                  </a:cubicBezTo>
                  <a:cubicBezTo>
                    <a:pt x="65" y="0"/>
                    <a:pt x="49" y="2"/>
                    <a:pt x="43" y="7"/>
                  </a:cubicBezTo>
                  <a:cubicBezTo>
                    <a:pt x="37" y="12"/>
                    <a:pt x="52" y="23"/>
                    <a:pt x="52" y="23"/>
                  </a:cubicBezTo>
                  <a:cubicBezTo>
                    <a:pt x="52" y="23"/>
                    <a:pt x="73" y="34"/>
                    <a:pt x="71" y="44"/>
                  </a:cubicBezTo>
                  <a:cubicBezTo>
                    <a:pt x="69" y="54"/>
                    <a:pt x="57" y="37"/>
                    <a:pt x="54" y="37"/>
                  </a:cubicBezTo>
                  <a:cubicBezTo>
                    <a:pt x="51" y="37"/>
                    <a:pt x="40" y="40"/>
                    <a:pt x="40" y="4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8" y="23"/>
                    <a:pt x="15" y="22"/>
                  </a:cubicBezTo>
                  <a:cubicBezTo>
                    <a:pt x="5" y="21"/>
                    <a:pt x="1" y="29"/>
                    <a:pt x="0" y="33"/>
                  </a:cubicBezTo>
                  <a:cubicBezTo>
                    <a:pt x="3" y="35"/>
                    <a:pt x="7" y="37"/>
                    <a:pt x="7" y="37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25" y="47"/>
                    <a:pt x="25" y="54"/>
                  </a:cubicBezTo>
                  <a:cubicBezTo>
                    <a:pt x="25" y="61"/>
                    <a:pt x="19" y="69"/>
                    <a:pt x="19" y="69"/>
                  </a:cubicBezTo>
                  <a:cubicBezTo>
                    <a:pt x="19" y="69"/>
                    <a:pt x="50" y="82"/>
                    <a:pt x="49" y="91"/>
                  </a:cubicBezTo>
                  <a:cubicBezTo>
                    <a:pt x="48" y="100"/>
                    <a:pt x="28" y="100"/>
                    <a:pt x="28" y="100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56" y="122"/>
                    <a:pt x="56" y="122"/>
                    <a:pt x="56" y="122"/>
                  </a:cubicBezTo>
                  <a:cubicBezTo>
                    <a:pt x="76" y="124"/>
                    <a:pt x="76" y="124"/>
                    <a:pt x="76" y="124"/>
                  </a:cubicBezTo>
                  <a:cubicBezTo>
                    <a:pt x="74" y="134"/>
                    <a:pt x="74" y="134"/>
                    <a:pt x="74" y="134"/>
                  </a:cubicBezTo>
                  <a:cubicBezTo>
                    <a:pt x="78" y="141"/>
                    <a:pt x="78" y="141"/>
                    <a:pt x="78" y="141"/>
                  </a:cubicBezTo>
                  <a:cubicBezTo>
                    <a:pt x="78" y="141"/>
                    <a:pt x="80" y="154"/>
                    <a:pt x="81" y="162"/>
                  </a:cubicBezTo>
                  <a:cubicBezTo>
                    <a:pt x="82" y="162"/>
                    <a:pt x="82" y="162"/>
                    <a:pt x="83" y="162"/>
                  </a:cubicBezTo>
                  <a:cubicBezTo>
                    <a:pt x="86" y="161"/>
                    <a:pt x="94" y="150"/>
                    <a:pt x="97" y="146"/>
                  </a:cubicBezTo>
                  <a:cubicBezTo>
                    <a:pt x="100" y="142"/>
                    <a:pt x="136" y="115"/>
                    <a:pt x="142" y="115"/>
                  </a:cubicBezTo>
                  <a:cubicBezTo>
                    <a:pt x="148" y="115"/>
                    <a:pt x="155" y="127"/>
                    <a:pt x="157" y="133"/>
                  </a:cubicBezTo>
                  <a:cubicBezTo>
                    <a:pt x="159" y="139"/>
                    <a:pt x="150" y="139"/>
                    <a:pt x="150" y="144"/>
                  </a:cubicBezTo>
                  <a:cubicBezTo>
                    <a:pt x="150" y="149"/>
                    <a:pt x="159" y="151"/>
                    <a:pt x="159" y="157"/>
                  </a:cubicBezTo>
                  <a:cubicBezTo>
                    <a:pt x="159" y="163"/>
                    <a:pt x="149" y="159"/>
                    <a:pt x="149" y="164"/>
                  </a:cubicBezTo>
                  <a:cubicBezTo>
                    <a:pt x="149" y="169"/>
                    <a:pt x="162" y="177"/>
                    <a:pt x="168" y="180"/>
                  </a:cubicBezTo>
                  <a:cubicBezTo>
                    <a:pt x="174" y="183"/>
                    <a:pt x="177" y="189"/>
                    <a:pt x="177" y="189"/>
                  </a:cubicBezTo>
                  <a:cubicBezTo>
                    <a:pt x="187" y="191"/>
                    <a:pt x="187" y="191"/>
                    <a:pt x="187" y="191"/>
                  </a:cubicBezTo>
                  <a:cubicBezTo>
                    <a:pt x="187" y="191"/>
                    <a:pt x="187" y="192"/>
                    <a:pt x="188" y="194"/>
                  </a:cubicBezTo>
                  <a:cubicBezTo>
                    <a:pt x="190" y="187"/>
                    <a:pt x="192" y="178"/>
                    <a:pt x="191" y="174"/>
                  </a:cubicBezTo>
                  <a:cubicBezTo>
                    <a:pt x="189" y="168"/>
                    <a:pt x="179" y="165"/>
                    <a:pt x="179" y="165"/>
                  </a:cubicBezTo>
                  <a:cubicBezTo>
                    <a:pt x="190" y="161"/>
                    <a:pt x="190" y="161"/>
                    <a:pt x="190" y="161"/>
                  </a:cubicBezTo>
                  <a:cubicBezTo>
                    <a:pt x="190" y="142"/>
                    <a:pt x="190" y="142"/>
                    <a:pt x="190" y="142"/>
                  </a:cubicBezTo>
                  <a:cubicBezTo>
                    <a:pt x="190" y="142"/>
                    <a:pt x="202" y="155"/>
                    <a:pt x="208" y="147"/>
                  </a:cubicBezTo>
                  <a:cubicBezTo>
                    <a:pt x="214" y="139"/>
                    <a:pt x="198" y="129"/>
                    <a:pt x="198" y="129"/>
                  </a:cubicBezTo>
                  <a:cubicBezTo>
                    <a:pt x="201" y="116"/>
                    <a:pt x="201" y="116"/>
                    <a:pt x="201" y="116"/>
                  </a:cubicBezTo>
                  <a:cubicBezTo>
                    <a:pt x="200" y="93"/>
                    <a:pt x="200" y="93"/>
                    <a:pt x="200" y="93"/>
                  </a:cubicBezTo>
                  <a:cubicBezTo>
                    <a:pt x="210" y="95"/>
                    <a:pt x="210" y="95"/>
                    <a:pt x="210" y="95"/>
                  </a:cubicBezTo>
                  <a:cubicBezTo>
                    <a:pt x="218" y="86"/>
                    <a:pt x="218" y="86"/>
                    <a:pt x="218" y="86"/>
                  </a:cubicBezTo>
                  <a:cubicBezTo>
                    <a:pt x="240" y="88"/>
                    <a:pt x="240" y="88"/>
                    <a:pt x="240" y="88"/>
                  </a:cubicBezTo>
                  <a:cubicBezTo>
                    <a:pt x="240" y="88"/>
                    <a:pt x="239" y="83"/>
                    <a:pt x="235" y="75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 269">
              <a:extLst>
                <a:ext uri="{FF2B5EF4-FFF2-40B4-BE49-F238E27FC236}">
                  <a16:creationId xmlns:a16="http://schemas.microsoft.com/office/drawing/2014/main" id="{1D3D01B9-563A-9D36-FB83-E90F3EA7CAA1}"/>
                </a:ext>
              </a:extLst>
            </p:cNvPr>
            <p:cNvSpPr>
              <a:spLocks/>
            </p:cNvSpPr>
            <p:nvPr/>
          </p:nvSpPr>
          <p:spPr bwMode="gray">
            <a:xfrm>
              <a:off x="-4146" y="-16592"/>
              <a:ext cx="1772" cy="981"/>
            </a:xfrm>
            <a:custGeom>
              <a:avLst/>
              <a:gdLst>
                <a:gd name="T0" fmla="*/ 51 w 750"/>
                <a:gd name="T1" fmla="*/ 223 h 415"/>
                <a:gd name="T2" fmla="*/ 79 w 750"/>
                <a:gd name="T3" fmla="*/ 232 h 415"/>
                <a:gd name="T4" fmla="*/ 132 w 750"/>
                <a:gd name="T5" fmla="*/ 230 h 415"/>
                <a:gd name="T6" fmla="*/ 166 w 750"/>
                <a:gd name="T7" fmla="*/ 227 h 415"/>
                <a:gd name="T8" fmla="*/ 209 w 750"/>
                <a:gd name="T9" fmla="*/ 209 h 415"/>
                <a:gd name="T10" fmla="*/ 243 w 750"/>
                <a:gd name="T11" fmla="*/ 208 h 415"/>
                <a:gd name="T12" fmla="*/ 274 w 750"/>
                <a:gd name="T13" fmla="*/ 225 h 415"/>
                <a:gd name="T14" fmla="*/ 296 w 750"/>
                <a:gd name="T15" fmla="*/ 259 h 415"/>
                <a:gd name="T16" fmla="*/ 311 w 750"/>
                <a:gd name="T17" fmla="*/ 278 h 415"/>
                <a:gd name="T18" fmla="*/ 317 w 750"/>
                <a:gd name="T19" fmla="*/ 310 h 415"/>
                <a:gd name="T20" fmla="*/ 304 w 750"/>
                <a:gd name="T21" fmla="*/ 321 h 415"/>
                <a:gd name="T22" fmla="*/ 283 w 750"/>
                <a:gd name="T23" fmla="*/ 356 h 415"/>
                <a:gd name="T24" fmla="*/ 281 w 750"/>
                <a:gd name="T25" fmla="*/ 370 h 415"/>
                <a:gd name="T26" fmla="*/ 323 w 750"/>
                <a:gd name="T27" fmla="*/ 353 h 415"/>
                <a:gd name="T28" fmla="*/ 391 w 750"/>
                <a:gd name="T29" fmla="*/ 301 h 415"/>
                <a:gd name="T30" fmla="*/ 436 w 750"/>
                <a:gd name="T31" fmla="*/ 299 h 415"/>
                <a:gd name="T32" fmla="*/ 420 w 750"/>
                <a:gd name="T33" fmla="*/ 310 h 415"/>
                <a:gd name="T34" fmla="*/ 488 w 750"/>
                <a:gd name="T35" fmla="*/ 324 h 415"/>
                <a:gd name="T36" fmla="*/ 499 w 750"/>
                <a:gd name="T37" fmla="*/ 381 h 415"/>
                <a:gd name="T38" fmla="*/ 542 w 750"/>
                <a:gd name="T39" fmla="*/ 396 h 415"/>
                <a:gd name="T40" fmla="*/ 591 w 750"/>
                <a:gd name="T41" fmla="*/ 385 h 415"/>
                <a:gd name="T42" fmla="*/ 622 w 750"/>
                <a:gd name="T43" fmla="*/ 361 h 415"/>
                <a:gd name="T44" fmla="*/ 553 w 750"/>
                <a:gd name="T45" fmla="*/ 352 h 415"/>
                <a:gd name="T46" fmla="*/ 503 w 750"/>
                <a:gd name="T47" fmla="*/ 328 h 415"/>
                <a:gd name="T48" fmla="*/ 537 w 750"/>
                <a:gd name="T49" fmla="*/ 322 h 415"/>
                <a:gd name="T50" fmla="*/ 588 w 750"/>
                <a:gd name="T51" fmla="*/ 297 h 415"/>
                <a:gd name="T52" fmla="*/ 679 w 750"/>
                <a:gd name="T53" fmla="*/ 273 h 415"/>
                <a:gd name="T54" fmla="*/ 703 w 750"/>
                <a:gd name="T55" fmla="*/ 231 h 415"/>
                <a:gd name="T56" fmla="*/ 727 w 750"/>
                <a:gd name="T57" fmla="*/ 189 h 415"/>
                <a:gd name="T58" fmla="*/ 742 w 750"/>
                <a:gd name="T59" fmla="*/ 166 h 415"/>
                <a:gd name="T60" fmla="*/ 709 w 750"/>
                <a:gd name="T61" fmla="*/ 136 h 415"/>
                <a:gd name="T62" fmla="*/ 662 w 750"/>
                <a:gd name="T63" fmla="*/ 119 h 415"/>
                <a:gd name="T64" fmla="*/ 620 w 750"/>
                <a:gd name="T65" fmla="*/ 100 h 415"/>
                <a:gd name="T66" fmla="*/ 578 w 750"/>
                <a:gd name="T67" fmla="*/ 106 h 415"/>
                <a:gd name="T68" fmla="*/ 540 w 750"/>
                <a:gd name="T69" fmla="*/ 99 h 415"/>
                <a:gd name="T70" fmla="*/ 482 w 750"/>
                <a:gd name="T71" fmla="*/ 56 h 415"/>
                <a:gd name="T72" fmla="*/ 486 w 750"/>
                <a:gd name="T73" fmla="*/ 26 h 415"/>
                <a:gd name="T74" fmla="*/ 431 w 750"/>
                <a:gd name="T75" fmla="*/ 1 h 415"/>
                <a:gd name="T76" fmla="*/ 398 w 750"/>
                <a:gd name="T77" fmla="*/ 16 h 415"/>
                <a:gd name="T78" fmla="*/ 327 w 750"/>
                <a:gd name="T79" fmla="*/ 53 h 415"/>
                <a:gd name="T80" fmla="*/ 273 w 750"/>
                <a:gd name="T81" fmla="*/ 39 h 415"/>
                <a:gd name="T82" fmla="*/ 247 w 750"/>
                <a:gd name="T83" fmla="*/ 46 h 415"/>
                <a:gd name="T84" fmla="*/ 224 w 750"/>
                <a:gd name="T85" fmla="*/ 38 h 415"/>
                <a:gd name="T86" fmla="*/ 202 w 750"/>
                <a:gd name="T87" fmla="*/ 40 h 415"/>
                <a:gd name="T88" fmla="*/ 157 w 750"/>
                <a:gd name="T89" fmla="*/ 28 h 415"/>
                <a:gd name="T90" fmla="*/ 103 w 750"/>
                <a:gd name="T91" fmla="*/ 27 h 415"/>
                <a:gd name="T92" fmla="*/ 47 w 750"/>
                <a:gd name="T93" fmla="*/ 40 h 415"/>
                <a:gd name="T94" fmla="*/ 75 w 750"/>
                <a:gd name="T95" fmla="*/ 76 h 415"/>
                <a:gd name="T96" fmla="*/ 58 w 750"/>
                <a:gd name="T97" fmla="*/ 103 h 415"/>
                <a:gd name="T98" fmla="*/ 30 w 750"/>
                <a:gd name="T99" fmla="*/ 174 h 415"/>
                <a:gd name="T100" fmla="*/ 1 w 750"/>
                <a:gd name="T101" fmla="*/ 194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50" h="415">
                  <a:moveTo>
                    <a:pt x="16" y="215"/>
                  </a:moveTo>
                  <a:cubicBezTo>
                    <a:pt x="22" y="216"/>
                    <a:pt x="38" y="223"/>
                    <a:pt x="38" y="223"/>
                  </a:cubicBezTo>
                  <a:cubicBezTo>
                    <a:pt x="38" y="223"/>
                    <a:pt x="47" y="223"/>
                    <a:pt x="51" y="223"/>
                  </a:cubicBezTo>
                  <a:cubicBezTo>
                    <a:pt x="55" y="223"/>
                    <a:pt x="57" y="230"/>
                    <a:pt x="57" y="230"/>
                  </a:cubicBezTo>
                  <a:cubicBezTo>
                    <a:pt x="73" y="227"/>
                    <a:pt x="73" y="227"/>
                    <a:pt x="73" y="227"/>
                  </a:cubicBezTo>
                  <a:cubicBezTo>
                    <a:pt x="79" y="232"/>
                    <a:pt x="79" y="232"/>
                    <a:pt x="79" y="232"/>
                  </a:cubicBezTo>
                  <a:cubicBezTo>
                    <a:pt x="79" y="232"/>
                    <a:pt x="94" y="224"/>
                    <a:pt x="100" y="225"/>
                  </a:cubicBezTo>
                  <a:cubicBezTo>
                    <a:pt x="106" y="226"/>
                    <a:pt x="112" y="245"/>
                    <a:pt x="122" y="242"/>
                  </a:cubicBezTo>
                  <a:cubicBezTo>
                    <a:pt x="132" y="239"/>
                    <a:pt x="132" y="230"/>
                    <a:pt x="132" y="230"/>
                  </a:cubicBezTo>
                  <a:cubicBezTo>
                    <a:pt x="149" y="233"/>
                    <a:pt x="149" y="233"/>
                    <a:pt x="149" y="233"/>
                  </a:cubicBezTo>
                  <a:cubicBezTo>
                    <a:pt x="153" y="226"/>
                    <a:pt x="153" y="226"/>
                    <a:pt x="153" y="226"/>
                  </a:cubicBezTo>
                  <a:cubicBezTo>
                    <a:pt x="153" y="226"/>
                    <a:pt x="156" y="227"/>
                    <a:pt x="166" y="227"/>
                  </a:cubicBezTo>
                  <a:cubicBezTo>
                    <a:pt x="176" y="227"/>
                    <a:pt x="174" y="209"/>
                    <a:pt x="191" y="212"/>
                  </a:cubicBezTo>
                  <a:cubicBezTo>
                    <a:pt x="193" y="204"/>
                    <a:pt x="193" y="204"/>
                    <a:pt x="193" y="204"/>
                  </a:cubicBezTo>
                  <a:cubicBezTo>
                    <a:pt x="193" y="204"/>
                    <a:pt x="203" y="210"/>
                    <a:pt x="209" y="209"/>
                  </a:cubicBezTo>
                  <a:cubicBezTo>
                    <a:pt x="215" y="208"/>
                    <a:pt x="215" y="203"/>
                    <a:pt x="224" y="202"/>
                  </a:cubicBezTo>
                  <a:cubicBezTo>
                    <a:pt x="233" y="201"/>
                    <a:pt x="239" y="210"/>
                    <a:pt x="239" y="210"/>
                  </a:cubicBezTo>
                  <a:cubicBezTo>
                    <a:pt x="243" y="208"/>
                    <a:pt x="243" y="208"/>
                    <a:pt x="243" y="208"/>
                  </a:cubicBezTo>
                  <a:cubicBezTo>
                    <a:pt x="243" y="208"/>
                    <a:pt x="239" y="213"/>
                    <a:pt x="248" y="213"/>
                  </a:cubicBezTo>
                  <a:cubicBezTo>
                    <a:pt x="257" y="213"/>
                    <a:pt x="264" y="210"/>
                    <a:pt x="269" y="214"/>
                  </a:cubicBezTo>
                  <a:cubicBezTo>
                    <a:pt x="274" y="218"/>
                    <a:pt x="274" y="225"/>
                    <a:pt x="274" y="225"/>
                  </a:cubicBezTo>
                  <a:cubicBezTo>
                    <a:pt x="274" y="225"/>
                    <a:pt x="283" y="219"/>
                    <a:pt x="294" y="227"/>
                  </a:cubicBezTo>
                  <a:cubicBezTo>
                    <a:pt x="305" y="235"/>
                    <a:pt x="296" y="244"/>
                    <a:pt x="296" y="244"/>
                  </a:cubicBezTo>
                  <a:cubicBezTo>
                    <a:pt x="296" y="244"/>
                    <a:pt x="293" y="259"/>
                    <a:pt x="296" y="259"/>
                  </a:cubicBezTo>
                  <a:cubicBezTo>
                    <a:pt x="299" y="259"/>
                    <a:pt x="308" y="257"/>
                    <a:pt x="308" y="257"/>
                  </a:cubicBezTo>
                  <a:cubicBezTo>
                    <a:pt x="313" y="262"/>
                    <a:pt x="313" y="262"/>
                    <a:pt x="313" y="262"/>
                  </a:cubicBezTo>
                  <a:cubicBezTo>
                    <a:pt x="313" y="262"/>
                    <a:pt x="304" y="276"/>
                    <a:pt x="311" y="278"/>
                  </a:cubicBezTo>
                  <a:cubicBezTo>
                    <a:pt x="318" y="280"/>
                    <a:pt x="331" y="277"/>
                    <a:pt x="332" y="284"/>
                  </a:cubicBezTo>
                  <a:cubicBezTo>
                    <a:pt x="333" y="291"/>
                    <a:pt x="334" y="305"/>
                    <a:pt x="334" y="305"/>
                  </a:cubicBezTo>
                  <a:cubicBezTo>
                    <a:pt x="334" y="305"/>
                    <a:pt x="324" y="309"/>
                    <a:pt x="317" y="310"/>
                  </a:cubicBezTo>
                  <a:cubicBezTo>
                    <a:pt x="310" y="311"/>
                    <a:pt x="304" y="303"/>
                    <a:pt x="304" y="303"/>
                  </a:cubicBezTo>
                  <a:cubicBezTo>
                    <a:pt x="304" y="303"/>
                    <a:pt x="287" y="303"/>
                    <a:pt x="288" y="307"/>
                  </a:cubicBezTo>
                  <a:cubicBezTo>
                    <a:pt x="289" y="311"/>
                    <a:pt x="304" y="321"/>
                    <a:pt x="304" y="321"/>
                  </a:cubicBezTo>
                  <a:cubicBezTo>
                    <a:pt x="295" y="330"/>
                    <a:pt x="295" y="330"/>
                    <a:pt x="295" y="330"/>
                  </a:cubicBezTo>
                  <a:cubicBezTo>
                    <a:pt x="295" y="330"/>
                    <a:pt x="279" y="338"/>
                    <a:pt x="279" y="342"/>
                  </a:cubicBezTo>
                  <a:cubicBezTo>
                    <a:pt x="279" y="346"/>
                    <a:pt x="283" y="356"/>
                    <a:pt x="283" y="356"/>
                  </a:cubicBezTo>
                  <a:cubicBezTo>
                    <a:pt x="266" y="359"/>
                    <a:pt x="266" y="359"/>
                    <a:pt x="266" y="359"/>
                  </a:cubicBezTo>
                  <a:cubicBezTo>
                    <a:pt x="263" y="353"/>
                    <a:pt x="264" y="348"/>
                    <a:pt x="264" y="345"/>
                  </a:cubicBezTo>
                  <a:cubicBezTo>
                    <a:pt x="263" y="350"/>
                    <a:pt x="263" y="367"/>
                    <a:pt x="281" y="370"/>
                  </a:cubicBezTo>
                  <a:cubicBezTo>
                    <a:pt x="302" y="373"/>
                    <a:pt x="298" y="359"/>
                    <a:pt x="310" y="360"/>
                  </a:cubicBezTo>
                  <a:cubicBezTo>
                    <a:pt x="319" y="361"/>
                    <a:pt x="323" y="357"/>
                    <a:pt x="324" y="355"/>
                  </a:cubicBezTo>
                  <a:cubicBezTo>
                    <a:pt x="324" y="353"/>
                    <a:pt x="323" y="353"/>
                    <a:pt x="323" y="353"/>
                  </a:cubicBezTo>
                  <a:cubicBezTo>
                    <a:pt x="323" y="353"/>
                    <a:pt x="340" y="346"/>
                    <a:pt x="348" y="340"/>
                  </a:cubicBezTo>
                  <a:cubicBezTo>
                    <a:pt x="357" y="334"/>
                    <a:pt x="370" y="310"/>
                    <a:pt x="370" y="310"/>
                  </a:cubicBezTo>
                  <a:cubicBezTo>
                    <a:pt x="391" y="301"/>
                    <a:pt x="391" y="301"/>
                    <a:pt x="391" y="301"/>
                  </a:cubicBezTo>
                  <a:cubicBezTo>
                    <a:pt x="400" y="290"/>
                    <a:pt x="400" y="290"/>
                    <a:pt x="400" y="290"/>
                  </a:cubicBezTo>
                  <a:cubicBezTo>
                    <a:pt x="411" y="295"/>
                    <a:pt x="411" y="295"/>
                    <a:pt x="411" y="295"/>
                  </a:cubicBezTo>
                  <a:cubicBezTo>
                    <a:pt x="411" y="295"/>
                    <a:pt x="433" y="299"/>
                    <a:pt x="436" y="299"/>
                  </a:cubicBezTo>
                  <a:cubicBezTo>
                    <a:pt x="439" y="299"/>
                    <a:pt x="447" y="293"/>
                    <a:pt x="447" y="293"/>
                  </a:cubicBezTo>
                  <a:cubicBezTo>
                    <a:pt x="435" y="309"/>
                    <a:pt x="435" y="309"/>
                    <a:pt x="435" y="309"/>
                  </a:cubicBezTo>
                  <a:cubicBezTo>
                    <a:pt x="435" y="309"/>
                    <a:pt x="417" y="303"/>
                    <a:pt x="420" y="310"/>
                  </a:cubicBezTo>
                  <a:cubicBezTo>
                    <a:pt x="423" y="317"/>
                    <a:pt x="443" y="322"/>
                    <a:pt x="443" y="322"/>
                  </a:cubicBezTo>
                  <a:cubicBezTo>
                    <a:pt x="475" y="323"/>
                    <a:pt x="475" y="323"/>
                    <a:pt x="475" y="323"/>
                  </a:cubicBezTo>
                  <a:cubicBezTo>
                    <a:pt x="488" y="324"/>
                    <a:pt x="488" y="324"/>
                    <a:pt x="488" y="324"/>
                  </a:cubicBezTo>
                  <a:cubicBezTo>
                    <a:pt x="495" y="335"/>
                    <a:pt x="495" y="335"/>
                    <a:pt x="495" y="335"/>
                  </a:cubicBezTo>
                  <a:cubicBezTo>
                    <a:pt x="495" y="335"/>
                    <a:pt x="449" y="361"/>
                    <a:pt x="452" y="364"/>
                  </a:cubicBezTo>
                  <a:cubicBezTo>
                    <a:pt x="455" y="367"/>
                    <a:pt x="497" y="368"/>
                    <a:pt x="499" y="381"/>
                  </a:cubicBezTo>
                  <a:cubicBezTo>
                    <a:pt x="501" y="395"/>
                    <a:pt x="489" y="409"/>
                    <a:pt x="494" y="411"/>
                  </a:cubicBezTo>
                  <a:cubicBezTo>
                    <a:pt x="500" y="413"/>
                    <a:pt x="521" y="415"/>
                    <a:pt x="521" y="415"/>
                  </a:cubicBezTo>
                  <a:cubicBezTo>
                    <a:pt x="521" y="415"/>
                    <a:pt x="535" y="396"/>
                    <a:pt x="542" y="396"/>
                  </a:cubicBezTo>
                  <a:cubicBezTo>
                    <a:pt x="550" y="396"/>
                    <a:pt x="553" y="402"/>
                    <a:pt x="563" y="396"/>
                  </a:cubicBezTo>
                  <a:cubicBezTo>
                    <a:pt x="573" y="390"/>
                    <a:pt x="571" y="378"/>
                    <a:pt x="578" y="377"/>
                  </a:cubicBezTo>
                  <a:cubicBezTo>
                    <a:pt x="585" y="376"/>
                    <a:pt x="591" y="385"/>
                    <a:pt x="591" y="385"/>
                  </a:cubicBezTo>
                  <a:cubicBezTo>
                    <a:pt x="614" y="381"/>
                    <a:pt x="614" y="381"/>
                    <a:pt x="614" y="381"/>
                  </a:cubicBezTo>
                  <a:cubicBezTo>
                    <a:pt x="616" y="370"/>
                    <a:pt x="616" y="370"/>
                    <a:pt x="616" y="370"/>
                  </a:cubicBezTo>
                  <a:cubicBezTo>
                    <a:pt x="622" y="361"/>
                    <a:pt x="622" y="361"/>
                    <a:pt x="622" y="361"/>
                  </a:cubicBezTo>
                  <a:cubicBezTo>
                    <a:pt x="622" y="361"/>
                    <a:pt x="608" y="355"/>
                    <a:pt x="602" y="361"/>
                  </a:cubicBezTo>
                  <a:cubicBezTo>
                    <a:pt x="596" y="367"/>
                    <a:pt x="572" y="368"/>
                    <a:pt x="572" y="368"/>
                  </a:cubicBezTo>
                  <a:cubicBezTo>
                    <a:pt x="572" y="368"/>
                    <a:pt x="554" y="362"/>
                    <a:pt x="553" y="352"/>
                  </a:cubicBezTo>
                  <a:cubicBezTo>
                    <a:pt x="552" y="342"/>
                    <a:pt x="540" y="343"/>
                    <a:pt x="540" y="343"/>
                  </a:cubicBezTo>
                  <a:cubicBezTo>
                    <a:pt x="528" y="330"/>
                    <a:pt x="528" y="330"/>
                    <a:pt x="528" y="330"/>
                  </a:cubicBezTo>
                  <a:cubicBezTo>
                    <a:pt x="503" y="328"/>
                    <a:pt x="503" y="328"/>
                    <a:pt x="503" y="328"/>
                  </a:cubicBezTo>
                  <a:cubicBezTo>
                    <a:pt x="496" y="320"/>
                    <a:pt x="496" y="320"/>
                    <a:pt x="496" y="320"/>
                  </a:cubicBezTo>
                  <a:cubicBezTo>
                    <a:pt x="512" y="319"/>
                    <a:pt x="512" y="319"/>
                    <a:pt x="512" y="319"/>
                  </a:cubicBezTo>
                  <a:cubicBezTo>
                    <a:pt x="512" y="319"/>
                    <a:pt x="531" y="323"/>
                    <a:pt x="537" y="322"/>
                  </a:cubicBezTo>
                  <a:cubicBezTo>
                    <a:pt x="544" y="320"/>
                    <a:pt x="559" y="308"/>
                    <a:pt x="559" y="308"/>
                  </a:cubicBezTo>
                  <a:cubicBezTo>
                    <a:pt x="565" y="313"/>
                    <a:pt x="565" y="313"/>
                    <a:pt x="565" y="313"/>
                  </a:cubicBezTo>
                  <a:cubicBezTo>
                    <a:pt x="565" y="313"/>
                    <a:pt x="579" y="300"/>
                    <a:pt x="588" y="297"/>
                  </a:cubicBezTo>
                  <a:cubicBezTo>
                    <a:pt x="598" y="294"/>
                    <a:pt x="624" y="293"/>
                    <a:pt x="624" y="293"/>
                  </a:cubicBezTo>
                  <a:cubicBezTo>
                    <a:pt x="652" y="271"/>
                    <a:pt x="652" y="271"/>
                    <a:pt x="652" y="271"/>
                  </a:cubicBezTo>
                  <a:cubicBezTo>
                    <a:pt x="652" y="271"/>
                    <a:pt x="667" y="278"/>
                    <a:pt x="679" y="273"/>
                  </a:cubicBezTo>
                  <a:cubicBezTo>
                    <a:pt x="676" y="248"/>
                    <a:pt x="676" y="248"/>
                    <a:pt x="676" y="248"/>
                  </a:cubicBezTo>
                  <a:cubicBezTo>
                    <a:pt x="676" y="248"/>
                    <a:pt x="689" y="248"/>
                    <a:pt x="692" y="244"/>
                  </a:cubicBezTo>
                  <a:cubicBezTo>
                    <a:pt x="695" y="240"/>
                    <a:pt x="703" y="231"/>
                    <a:pt x="703" y="231"/>
                  </a:cubicBezTo>
                  <a:cubicBezTo>
                    <a:pt x="703" y="231"/>
                    <a:pt x="726" y="233"/>
                    <a:pt x="738" y="229"/>
                  </a:cubicBezTo>
                  <a:cubicBezTo>
                    <a:pt x="750" y="225"/>
                    <a:pt x="742" y="212"/>
                    <a:pt x="741" y="206"/>
                  </a:cubicBezTo>
                  <a:cubicBezTo>
                    <a:pt x="740" y="200"/>
                    <a:pt x="728" y="192"/>
                    <a:pt x="727" y="189"/>
                  </a:cubicBezTo>
                  <a:cubicBezTo>
                    <a:pt x="726" y="186"/>
                    <a:pt x="743" y="188"/>
                    <a:pt x="744" y="182"/>
                  </a:cubicBezTo>
                  <a:cubicBezTo>
                    <a:pt x="745" y="176"/>
                    <a:pt x="728" y="173"/>
                    <a:pt x="728" y="173"/>
                  </a:cubicBezTo>
                  <a:cubicBezTo>
                    <a:pt x="742" y="166"/>
                    <a:pt x="742" y="166"/>
                    <a:pt x="742" y="166"/>
                  </a:cubicBezTo>
                  <a:cubicBezTo>
                    <a:pt x="742" y="166"/>
                    <a:pt x="741" y="159"/>
                    <a:pt x="740" y="149"/>
                  </a:cubicBezTo>
                  <a:cubicBezTo>
                    <a:pt x="739" y="139"/>
                    <a:pt x="722" y="145"/>
                    <a:pt x="722" y="145"/>
                  </a:cubicBezTo>
                  <a:cubicBezTo>
                    <a:pt x="709" y="136"/>
                    <a:pt x="709" y="136"/>
                    <a:pt x="709" y="136"/>
                  </a:cubicBezTo>
                  <a:cubicBezTo>
                    <a:pt x="709" y="136"/>
                    <a:pt x="707" y="130"/>
                    <a:pt x="700" y="128"/>
                  </a:cubicBezTo>
                  <a:cubicBezTo>
                    <a:pt x="693" y="126"/>
                    <a:pt x="679" y="128"/>
                    <a:pt x="679" y="128"/>
                  </a:cubicBezTo>
                  <a:cubicBezTo>
                    <a:pt x="679" y="128"/>
                    <a:pt x="666" y="119"/>
                    <a:pt x="662" y="119"/>
                  </a:cubicBezTo>
                  <a:cubicBezTo>
                    <a:pt x="658" y="119"/>
                    <a:pt x="646" y="125"/>
                    <a:pt x="646" y="125"/>
                  </a:cubicBezTo>
                  <a:cubicBezTo>
                    <a:pt x="646" y="125"/>
                    <a:pt x="643" y="120"/>
                    <a:pt x="637" y="116"/>
                  </a:cubicBezTo>
                  <a:cubicBezTo>
                    <a:pt x="631" y="112"/>
                    <a:pt x="629" y="101"/>
                    <a:pt x="620" y="100"/>
                  </a:cubicBezTo>
                  <a:cubicBezTo>
                    <a:pt x="611" y="99"/>
                    <a:pt x="615" y="109"/>
                    <a:pt x="615" y="109"/>
                  </a:cubicBezTo>
                  <a:cubicBezTo>
                    <a:pt x="615" y="109"/>
                    <a:pt x="606" y="103"/>
                    <a:pt x="595" y="104"/>
                  </a:cubicBezTo>
                  <a:cubicBezTo>
                    <a:pt x="584" y="105"/>
                    <a:pt x="586" y="110"/>
                    <a:pt x="578" y="106"/>
                  </a:cubicBezTo>
                  <a:cubicBezTo>
                    <a:pt x="570" y="102"/>
                    <a:pt x="562" y="98"/>
                    <a:pt x="562" y="98"/>
                  </a:cubicBezTo>
                  <a:cubicBezTo>
                    <a:pt x="544" y="102"/>
                    <a:pt x="544" y="102"/>
                    <a:pt x="544" y="102"/>
                  </a:cubicBezTo>
                  <a:cubicBezTo>
                    <a:pt x="540" y="99"/>
                    <a:pt x="540" y="99"/>
                    <a:pt x="540" y="99"/>
                  </a:cubicBezTo>
                  <a:cubicBezTo>
                    <a:pt x="533" y="70"/>
                    <a:pt x="533" y="70"/>
                    <a:pt x="533" y="70"/>
                  </a:cubicBezTo>
                  <a:cubicBezTo>
                    <a:pt x="505" y="58"/>
                    <a:pt x="505" y="58"/>
                    <a:pt x="505" y="58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481" y="45"/>
                    <a:pt x="481" y="45"/>
                    <a:pt x="481" y="45"/>
                  </a:cubicBezTo>
                  <a:cubicBezTo>
                    <a:pt x="476" y="33"/>
                    <a:pt x="476" y="33"/>
                    <a:pt x="476" y="33"/>
                  </a:cubicBezTo>
                  <a:cubicBezTo>
                    <a:pt x="476" y="33"/>
                    <a:pt x="484" y="32"/>
                    <a:pt x="486" y="26"/>
                  </a:cubicBezTo>
                  <a:cubicBezTo>
                    <a:pt x="488" y="20"/>
                    <a:pt x="467" y="14"/>
                    <a:pt x="467" y="14"/>
                  </a:cubicBezTo>
                  <a:cubicBezTo>
                    <a:pt x="461" y="0"/>
                    <a:pt x="461" y="0"/>
                    <a:pt x="461" y="0"/>
                  </a:cubicBezTo>
                  <a:cubicBezTo>
                    <a:pt x="431" y="1"/>
                    <a:pt x="431" y="1"/>
                    <a:pt x="431" y="1"/>
                  </a:cubicBezTo>
                  <a:cubicBezTo>
                    <a:pt x="420" y="6"/>
                    <a:pt x="420" y="6"/>
                    <a:pt x="420" y="6"/>
                  </a:cubicBezTo>
                  <a:cubicBezTo>
                    <a:pt x="402" y="3"/>
                    <a:pt x="402" y="3"/>
                    <a:pt x="402" y="3"/>
                  </a:cubicBezTo>
                  <a:cubicBezTo>
                    <a:pt x="402" y="3"/>
                    <a:pt x="406" y="12"/>
                    <a:pt x="398" y="16"/>
                  </a:cubicBezTo>
                  <a:cubicBezTo>
                    <a:pt x="390" y="20"/>
                    <a:pt x="356" y="12"/>
                    <a:pt x="349" y="12"/>
                  </a:cubicBezTo>
                  <a:cubicBezTo>
                    <a:pt x="342" y="12"/>
                    <a:pt x="326" y="37"/>
                    <a:pt x="326" y="37"/>
                  </a:cubicBezTo>
                  <a:cubicBezTo>
                    <a:pt x="326" y="37"/>
                    <a:pt x="336" y="50"/>
                    <a:pt x="327" y="53"/>
                  </a:cubicBezTo>
                  <a:cubicBezTo>
                    <a:pt x="318" y="56"/>
                    <a:pt x="304" y="47"/>
                    <a:pt x="304" y="47"/>
                  </a:cubicBezTo>
                  <a:cubicBezTo>
                    <a:pt x="304" y="47"/>
                    <a:pt x="293" y="50"/>
                    <a:pt x="285" y="51"/>
                  </a:cubicBezTo>
                  <a:cubicBezTo>
                    <a:pt x="277" y="52"/>
                    <a:pt x="285" y="40"/>
                    <a:pt x="273" y="39"/>
                  </a:cubicBezTo>
                  <a:cubicBezTo>
                    <a:pt x="261" y="38"/>
                    <a:pt x="262" y="48"/>
                    <a:pt x="262" y="48"/>
                  </a:cubicBezTo>
                  <a:cubicBezTo>
                    <a:pt x="252" y="40"/>
                    <a:pt x="252" y="40"/>
                    <a:pt x="252" y="40"/>
                  </a:cubicBezTo>
                  <a:cubicBezTo>
                    <a:pt x="247" y="46"/>
                    <a:pt x="247" y="46"/>
                    <a:pt x="247" y="46"/>
                  </a:cubicBezTo>
                  <a:cubicBezTo>
                    <a:pt x="241" y="41"/>
                    <a:pt x="241" y="41"/>
                    <a:pt x="241" y="41"/>
                  </a:cubicBezTo>
                  <a:cubicBezTo>
                    <a:pt x="231" y="43"/>
                    <a:pt x="231" y="43"/>
                    <a:pt x="231" y="43"/>
                  </a:cubicBezTo>
                  <a:cubicBezTo>
                    <a:pt x="224" y="38"/>
                    <a:pt x="224" y="38"/>
                    <a:pt x="224" y="38"/>
                  </a:cubicBezTo>
                  <a:cubicBezTo>
                    <a:pt x="219" y="45"/>
                    <a:pt x="219" y="45"/>
                    <a:pt x="219" y="45"/>
                  </a:cubicBezTo>
                  <a:cubicBezTo>
                    <a:pt x="207" y="37"/>
                    <a:pt x="207" y="37"/>
                    <a:pt x="207" y="37"/>
                  </a:cubicBezTo>
                  <a:cubicBezTo>
                    <a:pt x="202" y="40"/>
                    <a:pt x="202" y="40"/>
                    <a:pt x="202" y="40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72" y="28"/>
                    <a:pt x="172" y="28"/>
                    <a:pt x="172" y="28"/>
                  </a:cubicBezTo>
                  <a:cubicBezTo>
                    <a:pt x="172" y="28"/>
                    <a:pt x="167" y="28"/>
                    <a:pt x="157" y="28"/>
                  </a:cubicBezTo>
                  <a:cubicBezTo>
                    <a:pt x="147" y="28"/>
                    <a:pt x="147" y="20"/>
                    <a:pt x="147" y="20"/>
                  </a:cubicBezTo>
                  <a:cubicBezTo>
                    <a:pt x="147" y="20"/>
                    <a:pt x="120" y="19"/>
                    <a:pt x="117" y="20"/>
                  </a:cubicBezTo>
                  <a:cubicBezTo>
                    <a:pt x="114" y="21"/>
                    <a:pt x="103" y="27"/>
                    <a:pt x="103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6" y="37"/>
                    <a:pt x="68" y="42"/>
                  </a:cubicBezTo>
                  <a:cubicBezTo>
                    <a:pt x="60" y="47"/>
                    <a:pt x="47" y="40"/>
                    <a:pt x="47" y="40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53"/>
                    <a:pt x="57" y="55"/>
                    <a:pt x="60" y="64"/>
                  </a:cubicBezTo>
                  <a:cubicBezTo>
                    <a:pt x="63" y="73"/>
                    <a:pt x="75" y="76"/>
                    <a:pt x="75" y="76"/>
                  </a:cubicBezTo>
                  <a:cubicBezTo>
                    <a:pt x="68" y="84"/>
                    <a:pt x="68" y="84"/>
                    <a:pt x="68" y="84"/>
                  </a:cubicBezTo>
                  <a:cubicBezTo>
                    <a:pt x="68" y="84"/>
                    <a:pt x="74" y="92"/>
                    <a:pt x="76" y="97"/>
                  </a:cubicBezTo>
                  <a:cubicBezTo>
                    <a:pt x="78" y="102"/>
                    <a:pt x="58" y="103"/>
                    <a:pt x="58" y="103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3" y="138"/>
                    <a:pt x="23" y="148"/>
                    <a:pt x="22" y="158"/>
                  </a:cubicBezTo>
                  <a:cubicBezTo>
                    <a:pt x="21" y="168"/>
                    <a:pt x="30" y="174"/>
                    <a:pt x="30" y="174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3"/>
                    <a:pt x="13" y="180"/>
                    <a:pt x="11" y="186"/>
                  </a:cubicBezTo>
                  <a:cubicBezTo>
                    <a:pt x="9" y="192"/>
                    <a:pt x="1" y="194"/>
                    <a:pt x="1" y="194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8" y="204"/>
                    <a:pt x="10" y="214"/>
                    <a:pt x="16" y="215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 270">
              <a:extLst>
                <a:ext uri="{FF2B5EF4-FFF2-40B4-BE49-F238E27FC236}">
                  <a16:creationId xmlns:a16="http://schemas.microsoft.com/office/drawing/2014/main" id="{ECBC76A4-5E8A-90A7-906F-4DCA6C0A0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-4085" y="-17050"/>
              <a:ext cx="903" cy="591"/>
            </a:xfrm>
            <a:custGeom>
              <a:avLst/>
              <a:gdLst>
                <a:gd name="T0" fmla="*/ 19 w 382"/>
                <a:gd name="T1" fmla="*/ 225 h 250"/>
                <a:gd name="T2" fmla="*/ 42 w 382"/>
                <a:gd name="T3" fmla="*/ 236 h 250"/>
                <a:gd name="T4" fmla="*/ 77 w 382"/>
                <a:gd name="T5" fmla="*/ 221 h 250"/>
                <a:gd name="T6" fmla="*/ 121 w 382"/>
                <a:gd name="T7" fmla="*/ 214 h 250"/>
                <a:gd name="T8" fmla="*/ 146 w 382"/>
                <a:gd name="T9" fmla="*/ 222 h 250"/>
                <a:gd name="T10" fmla="*/ 176 w 382"/>
                <a:gd name="T11" fmla="*/ 234 h 250"/>
                <a:gd name="T12" fmla="*/ 193 w 382"/>
                <a:gd name="T13" fmla="*/ 239 h 250"/>
                <a:gd name="T14" fmla="*/ 205 w 382"/>
                <a:gd name="T15" fmla="*/ 237 h 250"/>
                <a:gd name="T16" fmla="*/ 221 w 382"/>
                <a:gd name="T17" fmla="*/ 240 h 250"/>
                <a:gd name="T18" fmla="*/ 236 w 382"/>
                <a:gd name="T19" fmla="*/ 242 h 250"/>
                <a:gd name="T20" fmla="*/ 259 w 382"/>
                <a:gd name="T21" fmla="*/ 245 h 250"/>
                <a:gd name="T22" fmla="*/ 301 w 382"/>
                <a:gd name="T23" fmla="*/ 247 h 250"/>
                <a:gd name="T24" fmla="*/ 323 w 382"/>
                <a:gd name="T25" fmla="*/ 206 h 250"/>
                <a:gd name="T26" fmla="*/ 344 w 382"/>
                <a:gd name="T27" fmla="*/ 191 h 250"/>
                <a:gd name="T28" fmla="*/ 328 w 382"/>
                <a:gd name="T29" fmla="*/ 151 h 250"/>
                <a:gd name="T30" fmla="*/ 365 w 382"/>
                <a:gd name="T31" fmla="*/ 155 h 250"/>
                <a:gd name="T32" fmla="*/ 368 w 382"/>
                <a:gd name="T33" fmla="*/ 131 h 250"/>
                <a:gd name="T34" fmla="*/ 340 w 382"/>
                <a:gd name="T35" fmla="*/ 118 h 250"/>
                <a:gd name="T36" fmla="*/ 318 w 382"/>
                <a:gd name="T37" fmla="*/ 96 h 250"/>
                <a:gd name="T38" fmla="*/ 294 w 382"/>
                <a:gd name="T39" fmla="*/ 66 h 250"/>
                <a:gd name="T40" fmla="*/ 290 w 382"/>
                <a:gd name="T41" fmla="*/ 44 h 250"/>
                <a:gd name="T42" fmla="*/ 260 w 382"/>
                <a:gd name="T43" fmla="*/ 9 h 250"/>
                <a:gd name="T44" fmla="*/ 236 w 382"/>
                <a:gd name="T45" fmla="*/ 11 h 250"/>
                <a:gd name="T46" fmla="*/ 204 w 382"/>
                <a:gd name="T47" fmla="*/ 11 h 250"/>
                <a:gd name="T48" fmla="*/ 176 w 382"/>
                <a:gd name="T49" fmla="*/ 0 h 250"/>
                <a:gd name="T50" fmla="*/ 157 w 382"/>
                <a:gd name="T51" fmla="*/ 19 h 250"/>
                <a:gd name="T52" fmla="*/ 119 w 382"/>
                <a:gd name="T53" fmla="*/ 31 h 250"/>
                <a:gd name="T54" fmla="*/ 120 w 382"/>
                <a:gd name="T55" fmla="*/ 52 h 250"/>
                <a:gd name="T56" fmla="*/ 111 w 382"/>
                <a:gd name="T57" fmla="*/ 60 h 250"/>
                <a:gd name="T58" fmla="*/ 98 w 382"/>
                <a:gd name="T59" fmla="*/ 77 h 250"/>
                <a:gd name="T60" fmla="*/ 96 w 382"/>
                <a:gd name="T61" fmla="*/ 104 h 250"/>
                <a:gd name="T62" fmla="*/ 72 w 382"/>
                <a:gd name="T63" fmla="*/ 103 h 250"/>
                <a:gd name="T64" fmla="*/ 60 w 382"/>
                <a:gd name="T65" fmla="*/ 103 h 250"/>
                <a:gd name="T66" fmla="*/ 40 w 382"/>
                <a:gd name="T67" fmla="*/ 113 h 250"/>
                <a:gd name="T68" fmla="*/ 6 w 382"/>
                <a:gd name="T69" fmla="*/ 113 h 250"/>
                <a:gd name="T70" fmla="*/ 25 w 382"/>
                <a:gd name="T71" fmla="*/ 145 h 250"/>
                <a:gd name="T72" fmla="*/ 27 w 382"/>
                <a:gd name="T73" fmla="*/ 173 h 250"/>
                <a:gd name="T74" fmla="*/ 12 w 382"/>
                <a:gd name="T75" fmla="*/ 190 h 250"/>
                <a:gd name="T76" fmla="*/ 20 w 382"/>
                <a:gd name="T77" fmla="*/ 20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2" h="250">
                  <a:moveTo>
                    <a:pt x="20" y="207"/>
                  </a:moveTo>
                  <a:cubicBezTo>
                    <a:pt x="22" y="211"/>
                    <a:pt x="19" y="225"/>
                    <a:pt x="19" y="225"/>
                  </a:cubicBezTo>
                  <a:cubicBezTo>
                    <a:pt x="22" y="234"/>
                    <a:pt x="22" y="234"/>
                    <a:pt x="22" y="234"/>
                  </a:cubicBezTo>
                  <a:cubicBezTo>
                    <a:pt x="26" y="236"/>
                    <a:pt x="35" y="240"/>
                    <a:pt x="42" y="236"/>
                  </a:cubicBezTo>
                  <a:cubicBezTo>
                    <a:pt x="50" y="231"/>
                    <a:pt x="51" y="221"/>
                    <a:pt x="51" y="221"/>
                  </a:cubicBezTo>
                  <a:cubicBezTo>
                    <a:pt x="77" y="221"/>
                    <a:pt x="77" y="221"/>
                    <a:pt x="77" y="221"/>
                  </a:cubicBezTo>
                  <a:cubicBezTo>
                    <a:pt x="77" y="221"/>
                    <a:pt x="88" y="215"/>
                    <a:pt x="91" y="214"/>
                  </a:cubicBezTo>
                  <a:cubicBezTo>
                    <a:pt x="94" y="213"/>
                    <a:pt x="121" y="214"/>
                    <a:pt x="121" y="214"/>
                  </a:cubicBezTo>
                  <a:cubicBezTo>
                    <a:pt x="121" y="214"/>
                    <a:pt x="121" y="222"/>
                    <a:pt x="131" y="222"/>
                  </a:cubicBezTo>
                  <a:cubicBezTo>
                    <a:pt x="141" y="222"/>
                    <a:pt x="146" y="222"/>
                    <a:pt x="146" y="222"/>
                  </a:cubicBezTo>
                  <a:cubicBezTo>
                    <a:pt x="165" y="225"/>
                    <a:pt x="165" y="225"/>
                    <a:pt x="165" y="225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81" y="231"/>
                    <a:pt x="181" y="231"/>
                    <a:pt x="181" y="231"/>
                  </a:cubicBezTo>
                  <a:cubicBezTo>
                    <a:pt x="193" y="239"/>
                    <a:pt x="193" y="239"/>
                    <a:pt x="193" y="239"/>
                  </a:cubicBezTo>
                  <a:cubicBezTo>
                    <a:pt x="198" y="232"/>
                    <a:pt x="198" y="232"/>
                    <a:pt x="198" y="232"/>
                  </a:cubicBezTo>
                  <a:cubicBezTo>
                    <a:pt x="205" y="237"/>
                    <a:pt x="205" y="237"/>
                    <a:pt x="205" y="237"/>
                  </a:cubicBezTo>
                  <a:cubicBezTo>
                    <a:pt x="215" y="235"/>
                    <a:pt x="215" y="235"/>
                    <a:pt x="215" y="235"/>
                  </a:cubicBezTo>
                  <a:cubicBezTo>
                    <a:pt x="221" y="240"/>
                    <a:pt x="221" y="240"/>
                    <a:pt x="221" y="240"/>
                  </a:cubicBezTo>
                  <a:cubicBezTo>
                    <a:pt x="226" y="234"/>
                    <a:pt x="226" y="234"/>
                    <a:pt x="226" y="234"/>
                  </a:cubicBezTo>
                  <a:cubicBezTo>
                    <a:pt x="236" y="242"/>
                    <a:pt x="236" y="242"/>
                    <a:pt x="236" y="242"/>
                  </a:cubicBezTo>
                  <a:cubicBezTo>
                    <a:pt x="236" y="242"/>
                    <a:pt x="235" y="232"/>
                    <a:pt x="247" y="233"/>
                  </a:cubicBezTo>
                  <a:cubicBezTo>
                    <a:pt x="259" y="234"/>
                    <a:pt x="251" y="246"/>
                    <a:pt x="259" y="245"/>
                  </a:cubicBezTo>
                  <a:cubicBezTo>
                    <a:pt x="267" y="244"/>
                    <a:pt x="278" y="241"/>
                    <a:pt x="278" y="241"/>
                  </a:cubicBezTo>
                  <a:cubicBezTo>
                    <a:pt x="278" y="241"/>
                    <a:pt x="292" y="250"/>
                    <a:pt x="301" y="247"/>
                  </a:cubicBezTo>
                  <a:cubicBezTo>
                    <a:pt x="310" y="244"/>
                    <a:pt x="300" y="231"/>
                    <a:pt x="300" y="231"/>
                  </a:cubicBezTo>
                  <a:cubicBezTo>
                    <a:pt x="300" y="231"/>
                    <a:pt x="316" y="206"/>
                    <a:pt x="323" y="206"/>
                  </a:cubicBezTo>
                  <a:cubicBezTo>
                    <a:pt x="326" y="206"/>
                    <a:pt x="336" y="208"/>
                    <a:pt x="347" y="209"/>
                  </a:cubicBezTo>
                  <a:cubicBezTo>
                    <a:pt x="346" y="201"/>
                    <a:pt x="346" y="191"/>
                    <a:pt x="344" y="191"/>
                  </a:cubicBezTo>
                  <a:cubicBezTo>
                    <a:pt x="341" y="190"/>
                    <a:pt x="341" y="176"/>
                    <a:pt x="341" y="176"/>
                  </a:cubicBezTo>
                  <a:cubicBezTo>
                    <a:pt x="341" y="176"/>
                    <a:pt x="314" y="154"/>
                    <a:pt x="328" y="151"/>
                  </a:cubicBezTo>
                  <a:cubicBezTo>
                    <a:pt x="342" y="148"/>
                    <a:pt x="344" y="154"/>
                    <a:pt x="344" y="154"/>
                  </a:cubicBezTo>
                  <a:cubicBezTo>
                    <a:pt x="344" y="154"/>
                    <a:pt x="357" y="162"/>
                    <a:pt x="365" y="155"/>
                  </a:cubicBezTo>
                  <a:cubicBezTo>
                    <a:pt x="373" y="148"/>
                    <a:pt x="382" y="139"/>
                    <a:pt x="382" y="139"/>
                  </a:cubicBezTo>
                  <a:cubicBezTo>
                    <a:pt x="368" y="131"/>
                    <a:pt x="368" y="131"/>
                    <a:pt x="368" y="131"/>
                  </a:cubicBezTo>
                  <a:cubicBezTo>
                    <a:pt x="368" y="131"/>
                    <a:pt x="376" y="122"/>
                    <a:pt x="363" y="119"/>
                  </a:cubicBezTo>
                  <a:cubicBezTo>
                    <a:pt x="350" y="116"/>
                    <a:pt x="340" y="118"/>
                    <a:pt x="340" y="118"/>
                  </a:cubicBezTo>
                  <a:cubicBezTo>
                    <a:pt x="338" y="103"/>
                    <a:pt x="338" y="103"/>
                    <a:pt x="338" y="103"/>
                  </a:cubicBezTo>
                  <a:cubicBezTo>
                    <a:pt x="318" y="96"/>
                    <a:pt x="318" y="96"/>
                    <a:pt x="318" y="96"/>
                  </a:cubicBezTo>
                  <a:cubicBezTo>
                    <a:pt x="318" y="96"/>
                    <a:pt x="315" y="75"/>
                    <a:pt x="307" y="73"/>
                  </a:cubicBezTo>
                  <a:cubicBezTo>
                    <a:pt x="299" y="71"/>
                    <a:pt x="294" y="66"/>
                    <a:pt x="294" y="66"/>
                  </a:cubicBezTo>
                  <a:cubicBezTo>
                    <a:pt x="298" y="54"/>
                    <a:pt x="298" y="54"/>
                    <a:pt x="298" y="54"/>
                  </a:cubicBezTo>
                  <a:cubicBezTo>
                    <a:pt x="290" y="44"/>
                    <a:pt x="290" y="44"/>
                    <a:pt x="290" y="44"/>
                  </a:cubicBezTo>
                  <a:cubicBezTo>
                    <a:pt x="290" y="44"/>
                    <a:pt x="304" y="30"/>
                    <a:pt x="293" y="25"/>
                  </a:cubicBezTo>
                  <a:cubicBezTo>
                    <a:pt x="282" y="20"/>
                    <a:pt x="260" y="9"/>
                    <a:pt x="260" y="9"/>
                  </a:cubicBezTo>
                  <a:cubicBezTo>
                    <a:pt x="238" y="21"/>
                    <a:pt x="238" y="21"/>
                    <a:pt x="238" y="21"/>
                  </a:cubicBezTo>
                  <a:cubicBezTo>
                    <a:pt x="236" y="11"/>
                    <a:pt x="236" y="11"/>
                    <a:pt x="236" y="11"/>
                  </a:cubicBezTo>
                  <a:cubicBezTo>
                    <a:pt x="210" y="5"/>
                    <a:pt x="210" y="5"/>
                    <a:pt x="210" y="5"/>
                  </a:cubicBezTo>
                  <a:cubicBezTo>
                    <a:pt x="204" y="11"/>
                    <a:pt x="204" y="11"/>
                    <a:pt x="204" y="11"/>
                  </a:cubicBezTo>
                  <a:cubicBezTo>
                    <a:pt x="204" y="11"/>
                    <a:pt x="203" y="4"/>
                    <a:pt x="195" y="3"/>
                  </a:cubicBezTo>
                  <a:cubicBezTo>
                    <a:pt x="187" y="2"/>
                    <a:pt x="176" y="0"/>
                    <a:pt x="176" y="0"/>
                  </a:cubicBezTo>
                  <a:cubicBezTo>
                    <a:pt x="176" y="0"/>
                    <a:pt x="162" y="16"/>
                    <a:pt x="162" y="13"/>
                  </a:cubicBezTo>
                  <a:cubicBezTo>
                    <a:pt x="162" y="10"/>
                    <a:pt x="157" y="19"/>
                    <a:pt x="157" y="19"/>
                  </a:cubicBezTo>
                  <a:cubicBezTo>
                    <a:pt x="157" y="19"/>
                    <a:pt x="146" y="13"/>
                    <a:pt x="141" y="13"/>
                  </a:cubicBezTo>
                  <a:cubicBezTo>
                    <a:pt x="136" y="13"/>
                    <a:pt x="121" y="26"/>
                    <a:pt x="119" y="31"/>
                  </a:cubicBezTo>
                  <a:cubicBezTo>
                    <a:pt x="117" y="36"/>
                    <a:pt x="133" y="46"/>
                    <a:pt x="133" y="46"/>
                  </a:cubicBezTo>
                  <a:cubicBezTo>
                    <a:pt x="133" y="46"/>
                    <a:pt x="126" y="52"/>
                    <a:pt x="120" y="52"/>
                  </a:cubicBezTo>
                  <a:cubicBezTo>
                    <a:pt x="114" y="52"/>
                    <a:pt x="107" y="47"/>
                    <a:pt x="107" y="47"/>
                  </a:cubicBezTo>
                  <a:cubicBezTo>
                    <a:pt x="111" y="60"/>
                    <a:pt x="111" y="60"/>
                    <a:pt x="111" y="60"/>
                  </a:cubicBezTo>
                  <a:cubicBezTo>
                    <a:pt x="111" y="60"/>
                    <a:pt x="98" y="55"/>
                    <a:pt x="96" y="62"/>
                  </a:cubicBezTo>
                  <a:cubicBezTo>
                    <a:pt x="94" y="69"/>
                    <a:pt x="98" y="77"/>
                    <a:pt x="98" y="77"/>
                  </a:cubicBezTo>
                  <a:cubicBezTo>
                    <a:pt x="98" y="77"/>
                    <a:pt x="86" y="76"/>
                    <a:pt x="91" y="84"/>
                  </a:cubicBezTo>
                  <a:cubicBezTo>
                    <a:pt x="96" y="92"/>
                    <a:pt x="103" y="103"/>
                    <a:pt x="96" y="104"/>
                  </a:cubicBezTo>
                  <a:cubicBezTo>
                    <a:pt x="89" y="105"/>
                    <a:pt x="100" y="96"/>
                    <a:pt x="90" y="96"/>
                  </a:cubicBezTo>
                  <a:cubicBezTo>
                    <a:pt x="80" y="96"/>
                    <a:pt x="72" y="103"/>
                    <a:pt x="72" y="103"/>
                  </a:cubicBezTo>
                  <a:cubicBezTo>
                    <a:pt x="68" y="111"/>
                    <a:pt x="68" y="111"/>
                    <a:pt x="68" y="111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58" y="113"/>
                    <a:pt x="58" y="113"/>
                    <a:pt x="58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40" y="113"/>
                    <a:pt x="38" y="107"/>
                    <a:pt x="30" y="108"/>
                  </a:cubicBezTo>
                  <a:cubicBezTo>
                    <a:pt x="22" y="109"/>
                    <a:pt x="6" y="113"/>
                    <a:pt x="6" y="113"/>
                  </a:cubicBezTo>
                  <a:cubicBezTo>
                    <a:pt x="6" y="113"/>
                    <a:pt x="14" y="126"/>
                    <a:pt x="14" y="131"/>
                  </a:cubicBezTo>
                  <a:cubicBezTo>
                    <a:pt x="14" y="136"/>
                    <a:pt x="25" y="145"/>
                    <a:pt x="25" y="145"/>
                  </a:cubicBezTo>
                  <a:cubicBezTo>
                    <a:pt x="25" y="145"/>
                    <a:pt x="33" y="157"/>
                    <a:pt x="31" y="161"/>
                  </a:cubicBezTo>
                  <a:cubicBezTo>
                    <a:pt x="29" y="165"/>
                    <a:pt x="27" y="173"/>
                    <a:pt x="27" y="173"/>
                  </a:cubicBezTo>
                  <a:cubicBezTo>
                    <a:pt x="13" y="178"/>
                    <a:pt x="13" y="178"/>
                    <a:pt x="13" y="178"/>
                  </a:cubicBezTo>
                  <a:cubicBezTo>
                    <a:pt x="13" y="178"/>
                    <a:pt x="15" y="190"/>
                    <a:pt x="12" y="190"/>
                  </a:cubicBezTo>
                  <a:cubicBezTo>
                    <a:pt x="9" y="190"/>
                    <a:pt x="0" y="188"/>
                    <a:pt x="2" y="194"/>
                  </a:cubicBezTo>
                  <a:cubicBezTo>
                    <a:pt x="4" y="200"/>
                    <a:pt x="18" y="203"/>
                    <a:pt x="20" y="207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 271">
              <a:extLst>
                <a:ext uri="{FF2B5EF4-FFF2-40B4-BE49-F238E27FC236}">
                  <a16:creationId xmlns:a16="http://schemas.microsoft.com/office/drawing/2014/main" id="{03B0CB5A-EC29-B222-8040-040AFCE1D312}"/>
                </a:ext>
              </a:extLst>
            </p:cNvPr>
            <p:cNvSpPr>
              <a:spLocks/>
            </p:cNvSpPr>
            <p:nvPr/>
          </p:nvSpPr>
          <p:spPr bwMode="gray">
            <a:xfrm>
              <a:off x="-4326" y="-17286"/>
              <a:ext cx="676" cy="290"/>
            </a:xfrm>
            <a:custGeom>
              <a:avLst/>
              <a:gdLst>
                <a:gd name="T0" fmla="*/ 5 w 286"/>
                <a:gd name="T1" fmla="*/ 97 h 123"/>
                <a:gd name="T2" fmla="*/ 18 w 286"/>
                <a:gd name="T3" fmla="*/ 92 h 123"/>
                <a:gd name="T4" fmla="*/ 51 w 286"/>
                <a:gd name="T5" fmla="*/ 86 h 123"/>
                <a:gd name="T6" fmla="*/ 65 w 286"/>
                <a:gd name="T7" fmla="*/ 83 h 123"/>
                <a:gd name="T8" fmla="*/ 78 w 286"/>
                <a:gd name="T9" fmla="*/ 90 h 123"/>
                <a:gd name="T10" fmla="*/ 86 w 286"/>
                <a:gd name="T11" fmla="*/ 88 h 123"/>
                <a:gd name="T12" fmla="*/ 109 w 286"/>
                <a:gd name="T13" fmla="*/ 94 h 123"/>
                <a:gd name="T14" fmla="*/ 118 w 286"/>
                <a:gd name="T15" fmla="*/ 89 h 123"/>
                <a:gd name="T16" fmla="*/ 133 w 286"/>
                <a:gd name="T17" fmla="*/ 93 h 123"/>
                <a:gd name="T18" fmla="*/ 150 w 286"/>
                <a:gd name="T19" fmla="*/ 85 h 123"/>
                <a:gd name="T20" fmla="*/ 162 w 286"/>
                <a:gd name="T21" fmla="*/ 98 h 123"/>
                <a:gd name="T22" fmla="*/ 189 w 286"/>
                <a:gd name="T23" fmla="*/ 101 h 123"/>
                <a:gd name="T24" fmla="*/ 200 w 286"/>
                <a:gd name="T25" fmla="*/ 111 h 123"/>
                <a:gd name="T26" fmla="*/ 215 w 286"/>
                <a:gd name="T27" fmla="*/ 119 h 123"/>
                <a:gd name="T28" fmla="*/ 227 w 286"/>
                <a:gd name="T29" fmla="*/ 123 h 123"/>
                <a:gd name="T30" fmla="*/ 243 w 286"/>
                <a:gd name="T31" fmla="*/ 113 h 123"/>
                <a:gd name="T32" fmla="*/ 259 w 286"/>
                <a:gd name="T33" fmla="*/ 119 h 123"/>
                <a:gd name="T34" fmla="*/ 264 w 286"/>
                <a:gd name="T35" fmla="*/ 113 h 123"/>
                <a:gd name="T36" fmla="*/ 278 w 286"/>
                <a:gd name="T37" fmla="*/ 100 h 123"/>
                <a:gd name="T38" fmla="*/ 286 w 286"/>
                <a:gd name="T39" fmla="*/ 101 h 123"/>
                <a:gd name="T40" fmla="*/ 280 w 286"/>
                <a:gd name="T41" fmla="*/ 82 h 123"/>
                <a:gd name="T42" fmla="*/ 268 w 286"/>
                <a:gd name="T43" fmla="*/ 65 h 123"/>
                <a:gd name="T44" fmla="*/ 255 w 286"/>
                <a:gd name="T45" fmla="*/ 61 h 123"/>
                <a:gd name="T46" fmla="*/ 256 w 286"/>
                <a:gd name="T47" fmla="*/ 52 h 123"/>
                <a:gd name="T48" fmla="*/ 268 w 286"/>
                <a:gd name="T49" fmla="*/ 45 h 123"/>
                <a:gd name="T50" fmla="*/ 246 w 286"/>
                <a:gd name="T51" fmla="*/ 30 h 123"/>
                <a:gd name="T52" fmla="*/ 238 w 286"/>
                <a:gd name="T53" fmla="*/ 31 h 123"/>
                <a:gd name="T54" fmla="*/ 225 w 286"/>
                <a:gd name="T55" fmla="*/ 26 h 123"/>
                <a:gd name="T56" fmla="*/ 214 w 286"/>
                <a:gd name="T57" fmla="*/ 32 h 123"/>
                <a:gd name="T58" fmla="*/ 194 w 286"/>
                <a:gd name="T59" fmla="*/ 20 h 123"/>
                <a:gd name="T60" fmla="*/ 166 w 286"/>
                <a:gd name="T61" fmla="*/ 3 h 123"/>
                <a:gd name="T62" fmla="*/ 145 w 286"/>
                <a:gd name="T63" fmla="*/ 4 h 123"/>
                <a:gd name="T64" fmla="*/ 124 w 286"/>
                <a:gd name="T65" fmla="*/ 10 h 123"/>
                <a:gd name="T66" fmla="*/ 120 w 286"/>
                <a:gd name="T67" fmla="*/ 10 h 123"/>
                <a:gd name="T68" fmla="*/ 119 w 286"/>
                <a:gd name="T69" fmla="*/ 12 h 123"/>
                <a:gd name="T70" fmla="*/ 123 w 286"/>
                <a:gd name="T71" fmla="*/ 55 h 123"/>
                <a:gd name="T72" fmla="*/ 86 w 286"/>
                <a:gd name="T73" fmla="*/ 52 h 123"/>
                <a:gd name="T74" fmla="*/ 79 w 286"/>
                <a:gd name="T75" fmla="*/ 37 h 123"/>
                <a:gd name="T76" fmla="*/ 56 w 286"/>
                <a:gd name="T77" fmla="*/ 18 h 123"/>
                <a:gd name="T78" fmla="*/ 21 w 286"/>
                <a:gd name="T79" fmla="*/ 30 h 123"/>
                <a:gd name="T80" fmla="*/ 16 w 286"/>
                <a:gd name="T81" fmla="*/ 46 h 123"/>
                <a:gd name="T82" fmla="*/ 0 w 286"/>
                <a:gd name="T83" fmla="*/ 69 h 123"/>
                <a:gd name="T84" fmla="*/ 6 w 286"/>
                <a:gd name="T85" fmla="*/ 104 h 123"/>
                <a:gd name="T86" fmla="*/ 5 w 286"/>
                <a:gd name="T87" fmla="*/ 9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6" h="123">
                  <a:moveTo>
                    <a:pt x="5" y="97"/>
                  </a:moveTo>
                  <a:cubicBezTo>
                    <a:pt x="8" y="95"/>
                    <a:pt x="12" y="93"/>
                    <a:pt x="18" y="92"/>
                  </a:cubicBezTo>
                  <a:cubicBezTo>
                    <a:pt x="38" y="89"/>
                    <a:pt x="45" y="89"/>
                    <a:pt x="51" y="86"/>
                  </a:cubicBezTo>
                  <a:cubicBezTo>
                    <a:pt x="57" y="83"/>
                    <a:pt x="59" y="81"/>
                    <a:pt x="65" y="83"/>
                  </a:cubicBezTo>
                  <a:cubicBezTo>
                    <a:pt x="71" y="85"/>
                    <a:pt x="78" y="90"/>
                    <a:pt x="78" y="90"/>
                  </a:cubicBezTo>
                  <a:cubicBezTo>
                    <a:pt x="78" y="90"/>
                    <a:pt x="83" y="89"/>
                    <a:pt x="86" y="88"/>
                  </a:cubicBezTo>
                  <a:cubicBezTo>
                    <a:pt x="89" y="87"/>
                    <a:pt x="109" y="94"/>
                    <a:pt x="109" y="94"/>
                  </a:cubicBezTo>
                  <a:cubicBezTo>
                    <a:pt x="109" y="94"/>
                    <a:pt x="113" y="89"/>
                    <a:pt x="118" y="89"/>
                  </a:cubicBezTo>
                  <a:cubicBezTo>
                    <a:pt x="123" y="89"/>
                    <a:pt x="125" y="93"/>
                    <a:pt x="133" y="93"/>
                  </a:cubicBezTo>
                  <a:cubicBezTo>
                    <a:pt x="141" y="93"/>
                    <a:pt x="144" y="85"/>
                    <a:pt x="150" y="85"/>
                  </a:cubicBezTo>
                  <a:cubicBezTo>
                    <a:pt x="156" y="85"/>
                    <a:pt x="162" y="98"/>
                    <a:pt x="162" y="98"/>
                  </a:cubicBezTo>
                  <a:cubicBezTo>
                    <a:pt x="162" y="98"/>
                    <a:pt x="183" y="99"/>
                    <a:pt x="189" y="101"/>
                  </a:cubicBezTo>
                  <a:cubicBezTo>
                    <a:pt x="195" y="103"/>
                    <a:pt x="200" y="111"/>
                    <a:pt x="200" y="111"/>
                  </a:cubicBezTo>
                  <a:cubicBezTo>
                    <a:pt x="215" y="119"/>
                    <a:pt x="215" y="119"/>
                    <a:pt x="215" y="119"/>
                  </a:cubicBezTo>
                  <a:cubicBezTo>
                    <a:pt x="227" y="123"/>
                    <a:pt x="227" y="123"/>
                    <a:pt x="227" y="123"/>
                  </a:cubicBezTo>
                  <a:cubicBezTo>
                    <a:pt x="233" y="118"/>
                    <a:pt x="240" y="113"/>
                    <a:pt x="243" y="113"/>
                  </a:cubicBezTo>
                  <a:cubicBezTo>
                    <a:pt x="248" y="113"/>
                    <a:pt x="259" y="119"/>
                    <a:pt x="259" y="119"/>
                  </a:cubicBezTo>
                  <a:cubicBezTo>
                    <a:pt x="259" y="119"/>
                    <a:pt x="264" y="110"/>
                    <a:pt x="264" y="113"/>
                  </a:cubicBezTo>
                  <a:cubicBezTo>
                    <a:pt x="264" y="116"/>
                    <a:pt x="278" y="100"/>
                    <a:pt x="278" y="100"/>
                  </a:cubicBezTo>
                  <a:cubicBezTo>
                    <a:pt x="278" y="100"/>
                    <a:pt x="282" y="101"/>
                    <a:pt x="286" y="101"/>
                  </a:cubicBezTo>
                  <a:cubicBezTo>
                    <a:pt x="286" y="97"/>
                    <a:pt x="286" y="87"/>
                    <a:pt x="280" y="82"/>
                  </a:cubicBezTo>
                  <a:cubicBezTo>
                    <a:pt x="273" y="76"/>
                    <a:pt x="268" y="65"/>
                    <a:pt x="268" y="65"/>
                  </a:cubicBezTo>
                  <a:cubicBezTo>
                    <a:pt x="255" y="61"/>
                    <a:pt x="255" y="61"/>
                    <a:pt x="255" y="61"/>
                  </a:cubicBezTo>
                  <a:cubicBezTo>
                    <a:pt x="256" y="52"/>
                    <a:pt x="256" y="52"/>
                    <a:pt x="256" y="52"/>
                  </a:cubicBezTo>
                  <a:cubicBezTo>
                    <a:pt x="256" y="52"/>
                    <a:pt x="269" y="50"/>
                    <a:pt x="268" y="45"/>
                  </a:cubicBezTo>
                  <a:cubicBezTo>
                    <a:pt x="267" y="40"/>
                    <a:pt x="246" y="30"/>
                    <a:pt x="246" y="30"/>
                  </a:cubicBezTo>
                  <a:cubicBezTo>
                    <a:pt x="238" y="31"/>
                    <a:pt x="238" y="31"/>
                    <a:pt x="238" y="31"/>
                  </a:cubicBezTo>
                  <a:cubicBezTo>
                    <a:pt x="238" y="31"/>
                    <a:pt x="228" y="27"/>
                    <a:pt x="225" y="26"/>
                  </a:cubicBezTo>
                  <a:cubicBezTo>
                    <a:pt x="222" y="25"/>
                    <a:pt x="220" y="32"/>
                    <a:pt x="214" y="32"/>
                  </a:cubicBezTo>
                  <a:cubicBezTo>
                    <a:pt x="208" y="32"/>
                    <a:pt x="205" y="29"/>
                    <a:pt x="194" y="20"/>
                  </a:cubicBezTo>
                  <a:cubicBezTo>
                    <a:pt x="183" y="11"/>
                    <a:pt x="181" y="6"/>
                    <a:pt x="166" y="3"/>
                  </a:cubicBezTo>
                  <a:cubicBezTo>
                    <a:pt x="151" y="0"/>
                    <a:pt x="145" y="4"/>
                    <a:pt x="145" y="4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0" y="10"/>
                    <a:pt x="120" y="10"/>
                    <a:pt x="120" y="10"/>
                  </a:cubicBezTo>
                  <a:cubicBezTo>
                    <a:pt x="119" y="12"/>
                    <a:pt x="119" y="12"/>
                    <a:pt x="119" y="12"/>
                  </a:cubicBezTo>
                  <a:cubicBezTo>
                    <a:pt x="119" y="12"/>
                    <a:pt x="136" y="55"/>
                    <a:pt x="123" y="55"/>
                  </a:cubicBezTo>
                  <a:cubicBezTo>
                    <a:pt x="110" y="55"/>
                    <a:pt x="86" y="52"/>
                    <a:pt x="86" y="52"/>
                  </a:cubicBezTo>
                  <a:cubicBezTo>
                    <a:pt x="79" y="37"/>
                    <a:pt x="79" y="37"/>
                    <a:pt x="79" y="37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24" y="23"/>
                    <a:pt x="21" y="30"/>
                  </a:cubicBezTo>
                  <a:cubicBezTo>
                    <a:pt x="18" y="37"/>
                    <a:pt x="16" y="46"/>
                    <a:pt x="16" y="46"/>
                  </a:cubicBezTo>
                  <a:cubicBezTo>
                    <a:pt x="16" y="46"/>
                    <a:pt x="0" y="64"/>
                    <a:pt x="0" y="69"/>
                  </a:cubicBezTo>
                  <a:cubicBezTo>
                    <a:pt x="0" y="74"/>
                    <a:pt x="6" y="104"/>
                    <a:pt x="6" y="104"/>
                  </a:cubicBezTo>
                  <a:cubicBezTo>
                    <a:pt x="6" y="104"/>
                    <a:pt x="5" y="101"/>
                    <a:pt x="5" y="97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4" name="Freeform 272">
              <a:extLst>
                <a:ext uri="{FF2B5EF4-FFF2-40B4-BE49-F238E27FC236}">
                  <a16:creationId xmlns:a16="http://schemas.microsoft.com/office/drawing/2014/main" id="{03E6E7CE-57B9-FB07-4A10-E84B595C6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-4463" y="-18626"/>
              <a:ext cx="997" cy="1134"/>
            </a:xfrm>
            <a:custGeom>
              <a:avLst/>
              <a:gdLst>
                <a:gd name="T0" fmla="*/ 88 w 422"/>
                <a:gd name="T1" fmla="*/ 64 h 480"/>
                <a:gd name="T2" fmla="*/ 64 w 422"/>
                <a:gd name="T3" fmla="*/ 59 h 480"/>
                <a:gd name="T4" fmla="*/ 40 w 422"/>
                <a:gd name="T5" fmla="*/ 47 h 480"/>
                <a:gd name="T6" fmla="*/ 16 w 422"/>
                <a:gd name="T7" fmla="*/ 36 h 480"/>
                <a:gd name="T8" fmla="*/ 2 w 422"/>
                <a:gd name="T9" fmla="*/ 40 h 480"/>
                <a:gd name="T10" fmla="*/ 17 w 422"/>
                <a:gd name="T11" fmla="*/ 56 h 480"/>
                <a:gd name="T12" fmla="*/ 48 w 422"/>
                <a:gd name="T13" fmla="*/ 72 h 480"/>
                <a:gd name="T14" fmla="*/ 92 w 422"/>
                <a:gd name="T15" fmla="*/ 85 h 480"/>
                <a:gd name="T16" fmla="*/ 103 w 422"/>
                <a:gd name="T17" fmla="*/ 114 h 480"/>
                <a:gd name="T18" fmla="*/ 107 w 422"/>
                <a:gd name="T19" fmla="*/ 132 h 480"/>
                <a:gd name="T20" fmla="*/ 113 w 422"/>
                <a:gd name="T21" fmla="*/ 165 h 480"/>
                <a:gd name="T22" fmla="*/ 138 w 422"/>
                <a:gd name="T23" fmla="*/ 204 h 480"/>
                <a:gd name="T24" fmla="*/ 179 w 422"/>
                <a:gd name="T25" fmla="*/ 217 h 480"/>
                <a:gd name="T26" fmla="*/ 167 w 422"/>
                <a:gd name="T27" fmla="*/ 234 h 480"/>
                <a:gd name="T28" fmla="*/ 119 w 422"/>
                <a:gd name="T29" fmla="*/ 283 h 480"/>
                <a:gd name="T30" fmla="*/ 81 w 422"/>
                <a:gd name="T31" fmla="*/ 309 h 480"/>
                <a:gd name="T32" fmla="*/ 45 w 422"/>
                <a:gd name="T33" fmla="*/ 336 h 480"/>
                <a:gd name="T34" fmla="*/ 49 w 422"/>
                <a:gd name="T35" fmla="*/ 364 h 480"/>
                <a:gd name="T36" fmla="*/ 62 w 422"/>
                <a:gd name="T37" fmla="*/ 393 h 480"/>
                <a:gd name="T38" fmla="*/ 71 w 422"/>
                <a:gd name="T39" fmla="*/ 452 h 480"/>
                <a:gd name="T40" fmla="*/ 114 w 422"/>
                <a:gd name="T41" fmla="*/ 460 h 480"/>
                <a:gd name="T42" fmla="*/ 180 w 422"/>
                <a:gd name="T43" fmla="*/ 475 h 480"/>
                <a:gd name="T44" fmla="*/ 222 w 422"/>
                <a:gd name="T45" fmla="*/ 465 h 480"/>
                <a:gd name="T46" fmla="*/ 304 w 422"/>
                <a:gd name="T47" fmla="*/ 451 h 480"/>
                <a:gd name="T48" fmla="*/ 305 w 422"/>
                <a:gd name="T49" fmla="*/ 441 h 480"/>
                <a:gd name="T50" fmla="*/ 382 w 422"/>
                <a:gd name="T51" fmla="*/ 381 h 480"/>
                <a:gd name="T52" fmla="*/ 421 w 422"/>
                <a:gd name="T53" fmla="*/ 340 h 480"/>
                <a:gd name="T54" fmla="*/ 360 w 422"/>
                <a:gd name="T55" fmla="*/ 295 h 480"/>
                <a:gd name="T56" fmla="*/ 368 w 422"/>
                <a:gd name="T57" fmla="*/ 265 h 480"/>
                <a:gd name="T58" fmla="*/ 359 w 422"/>
                <a:gd name="T59" fmla="*/ 247 h 480"/>
                <a:gd name="T60" fmla="*/ 339 w 422"/>
                <a:gd name="T61" fmla="*/ 228 h 480"/>
                <a:gd name="T62" fmla="*/ 337 w 422"/>
                <a:gd name="T63" fmla="*/ 202 h 480"/>
                <a:gd name="T64" fmla="*/ 312 w 422"/>
                <a:gd name="T65" fmla="*/ 156 h 480"/>
                <a:gd name="T66" fmla="*/ 316 w 422"/>
                <a:gd name="T67" fmla="*/ 133 h 480"/>
                <a:gd name="T68" fmla="*/ 312 w 422"/>
                <a:gd name="T69" fmla="*/ 98 h 480"/>
                <a:gd name="T70" fmla="*/ 275 w 422"/>
                <a:gd name="T71" fmla="*/ 82 h 480"/>
                <a:gd name="T72" fmla="*/ 282 w 422"/>
                <a:gd name="T73" fmla="*/ 62 h 480"/>
                <a:gd name="T74" fmla="*/ 280 w 422"/>
                <a:gd name="T75" fmla="*/ 36 h 480"/>
                <a:gd name="T76" fmla="*/ 271 w 422"/>
                <a:gd name="T77" fmla="*/ 13 h 480"/>
                <a:gd name="T78" fmla="*/ 240 w 422"/>
                <a:gd name="T79" fmla="*/ 1 h 480"/>
                <a:gd name="T80" fmla="*/ 198 w 422"/>
                <a:gd name="T81" fmla="*/ 5 h 480"/>
                <a:gd name="T82" fmla="*/ 173 w 422"/>
                <a:gd name="T83" fmla="*/ 30 h 480"/>
                <a:gd name="T84" fmla="*/ 157 w 422"/>
                <a:gd name="T85" fmla="*/ 50 h 480"/>
                <a:gd name="T86" fmla="*/ 123 w 422"/>
                <a:gd name="T87" fmla="*/ 56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22" h="480">
                  <a:moveTo>
                    <a:pt x="107" y="59"/>
                  </a:moveTo>
                  <a:cubicBezTo>
                    <a:pt x="107" y="59"/>
                    <a:pt x="98" y="67"/>
                    <a:pt x="88" y="64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8" y="61"/>
                    <a:pt x="78" y="60"/>
                    <a:pt x="64" y="59"/>
                  </a:cubicBezTo>
                  <a:cubicBezTo>
                    <a:pt x="50" y="58"/>
                    <a:pt x="49" y="48"/>
                    <a:pt x="49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31" y="33"/>
                    <a:pt x="27" y="33"/>
                  </a:cubicBezTo>
                  <a:cubicBezTo>
                    <a:pt x="23" y="33"/>
                    <a:pt x="16" y="36"/>
                    <a:pt x="16" y="36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7" y="52"/>
                    <a:pt x="17" y="56"/>
                  </a:cubicBezTo>
                  <a:cubicBezTo>
                    <a:pt x="27" y="60"/>
                    <a:pt x="40" y="64"/>
                    <a:pt x="40" y="64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2" y="85"/>
                    <a:pt x="92" y="85"/>
                    <a:pt x="92" y="85"/>
                  </a:cubicBezTo>
                  <a:cubicBezTo>
                    <a:pt x="92" y="85"/>
                    <a:pt x="110" y="90"/>
                    <a:pt x="109" y="95"/>
                  </a:cubicBezTo>
                  <a:cubicBezTo>
                    <a:pt x="108" y="100"/>
                    <a:pt x="103" y="114"/>
                    <a:pt x="103" y="114"/>
                  </a:cubicBezTo>
                  <a:cubicBezTo>
                    <a:pt x="111" y="119"/>
                    <a:pt x="111" y="119"/>
                    <a:pt x="111" y="119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4" y="142"/>
                    <a:pt x="111" y="157"/>
                    <a:pt x="113" y="165"/>
                  </a:cubicBezTo>
                  <a:cubicBezTo>
                    <a:pt x="115" y="173"/>
                    <a:pt x="130" y="183"/>
                    <a:pt x="130" y="183"/>
                  </a:cubicBezTo>
                  <a:cubicBezTo>
                    <a:pt x="138" y="204"/>
                    <a:pt x="138" y="204"/>
                    <a:pt x="138" y="204"/>
                  </a:cubicBezTo>
                  <a:cubicBezTo>
                    <a:pt x="148" y="198"/>
                    <a:pt x="148" y="198"/>
                    <a:pt x="148" y="198"/>
                  </a:cubicBezTo>
                  <a:cubicBezTo>
                    <a:pt x="148" y="198"/>
                    <a:pt x="177" y="205"/>
                    <a:pt x="179" y="217"/>
                  </a:cubicBezTo>
                  <a:cubicBezTo>
                    <a:pt x="181" y="229"/>
                    <a:pt x="182" y="239"/>
                    <a:pt x="182" y="239"/>
                  </a:cubicBezTo>
                  <a:cubicBezTo>
                    <a:pt x="182" y="239"/>
                    <a:pt x="170" y="233"/>
                    <a:pt x="167" y="234"/>
                  </a:cubicBezTo>
                  <a:cubicBezTo>
                    <a:pt x="164" y="235"/>
                    <a:pt x="142" y="260"/>
                    <a:pt x="142" y="260"/>
                  </a:cubicBezTo>
                  <a:cubicBezTo>
                    <a:pt x="119" y="283"/>
                    <a:pt x="119" y="283"/>
                    <a:pt x="119" y="283"/>
                  </a:cubicBezTo>
                  <a:cubicBezTo>
                    <a:pt x="96" y="288"/>
                    <a:pt x="96" y="288"/>
                    <a:pt x="96" y="288"/>
                  </a:cubicBezTo>
                  <a:cubicBezTo>
                    <a:pt x="96" y="288"/>
                    <a:pt x="81" y="300"/>
                    <a:pt x="81" y="309"/>
                  </a:cubicBezTo>
                  <a:cubicBezTo>
                    <a:pt x="81" y="318"/>
                    <a:pt x="61" y="318"/>
                    <a:pt x="61" y="318"/>
                  </a:cubicBezTo>
                  <a:cubicBezTo>
                    <a:pt x="45" y="336"/>
                    <a:pt x="45" y="336"/>
                    <a:pt x="45" y="336"/>
                  </a:cubicBezTo>
                  <a:cubicBezTo>
                    <a:pt x="45" y="336"/>
                    <a:pt x="41" y="348"/>
                    <a:pt x="43" y="352"/>
                  </a:cubicBezTo>
                  <a:cubicBezTo>
                    <a:pt x="45" y="356"/>
                    <a:pt x="49" y="364"/>
                    <a:pt x="49" y="364"/>
                  </a:cubicBezTo>
                  <a:cubicBezTo>
                    <a:pt x="47" y="380"/>
                    <a:pt x="47" y="380"/>
                    <a:pt x="47" y="380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2" y="393"/>
                    <a:pt x="52" y="425"/>
                    <a:pt x="56" y="434"/>
                  </a:cubicBezTo>
                  <a:cubicBezTo>
                    <a:pt x="60" y="443"/>
                    <a:pt x="71" y="452"/>
                    <a:pt x="71" y="452"/>
                  </a:cubicBezTo>
                  <a:cubicBezTo>
                    <a:pt x="86" y="463"/>
                    <a:pt x="86" y="463"/>
                    <a:pt x="86" y="463"/>
                  </a:cubicBezTo>
                  <a:cubicBezTo>
                    <a:pt x="114" y="460"/>
                    <a:pt x="114" y="460"/>
                    <a:pt x="114" y="460"/>
                  </a:cubicBezTo>
                  <a:cubicBezTo>
                    <a:pt x="114" y="460"/>
                    <a:pt x="105" y="476"/>
                    <a:pt x="125" y="478"/>
                  </a:cubicBezTo>
                  <a:cubicBezTo>
                    <a:pt x="145" y="480"/>
                    <a:pt x="180" y="475"/>
                    <a:pt x="180" y="475"/>
                  </a:cubicBezTo>
                  <a:cubicBezTo>
                    <a:pt x="199" y="465"/>
                    <a:pt x="199" y="465"/>
                    <a:pt x="199" y="465"/>
                  </a:cubicBezTo>
                  <a:cubicBezTo>
                    <a:pt x="222" y="465"/>
                    <a:pt x="222" y="465"/>
                    <a:pt x="222" y="465"/>
                  </a:cubicBezTo>
                  <a:cubicBezTo>
                    <a:pt x="255" y="448"/>
                    <a:pt x="255" y="448"/>
                    <a:pt x="255" y="448"/>
                  </a:cubicBezTo>
                  <a:cubicBezTo>
                    <a:pt x="304" y="451"/>
                    <a:pt x="304" y="451"/>
                    <a:pt x="304" y="451"/>
                  </a:cubicBezTo>
                  <a:cubicBezTo>
                    <a:pt x="309" y="448"/>
                    <a:pt x="309" y="448"/>
                    <a:pt x="309" y="448"/>
                  </a:cubicBezTo>
                  <a:cubicBezTo>
                    <a:pt x="305" y="441"/>
                    <a:pt x="305" y="441"/>
                    <a:pt x="305" y="441"/>
                  </a:cubicBezTo>
                  <a:cubicBezTo>
                    <a:pt x="305" y="441"/>
                    <a:pt x="346" y="417"/>
                    <a:pt x="350" y="412"/>
                  </a:cubicBezTo>
                  <a:cubicBezTo>
                    <a:pt x="354" y="407"/>
                    <a:pt x="382" y="381"/>
                    <a:pt x="382" y="381"/>
                  </a:cubicBezTo>
                  <a:cubicBezTo>
                    <a:pt x="382" y="381"/>
                    <a:pt x="403" y="369"/>
                    <a:pt x="407" y="362"/>
                  </a:cubicBezTo>
                  <a:cubicBezTo>
                    <a:pt x="411" y="355"/>
                    <a:pt x="420" y="348"/>
                    <a:pt x="421" y="340"/>
                  </a:cubicBezTo>
                  <a:cubicBezTo>
                    <a:pt x="422" y="332"/>
                    <a:pt x="399" y="313"/>
                    <a:pt x="399" y="313"/>
                  </a:cubicBezTo>
                  <a:cubicBezTo>
                    <a:pt x="360" y="295"/>
                    <a:pt x="360" y="295"/>
                    <a:pt x="360" y="295"/>
                  </a:cubicBezTo>
                  <a:cubicBezTo>
                    <a:pt x="360" y="295"/>
                    <a:pt x="381" y="281"/>
                    <a:pt x="380" y="277"/>
                  </a:cubicBezTo>
                  <a:cubicBezTo>
                    <a:pt x="379" y="273"/>
                    <a:pt x="368" y="265"/>
                    <a:pt x="368" y="265"/>
                  </a:cubicBezTo>
                  <a:cubicBezTo>
                    <a:pt x="353" y="262"/>
                    <a:pt x="353" y="262"/>
                    <a:pt x="353" y="262"/>
                  </a:cubicBezTo>
                  <a:cubicBezTo>
                    <a:pt x="353" y="262"/>
                    <a:pt x="360" y="251"/>
                    <a:pt x="359" y="247"/>
                  </a:cubicBezTo>
                  <a:cubicBezTo>
                    <a:pt x="358" y="243"/>
                    <a:pt x="339" y="238"/>
                    <a:pt x="339" y="238"/>
                  </a:cubicBezTo>
                  <a:cubicBezTo>
                    <a:pt x="339" y="228"/>
                    <a:pt x="339" y="228"/>
                    <a:pt x="339" y="228"/>
                  </a:cubicBezTo>
                  <a:cubicBezTo>
                    <a:pt x="332" y="222"/>
                    <a:pt x="332" y="222"/>
                    <a:pt x="332" y="222"/>
                  </a:cubicBezTo>
                  <a:cubicBezTo>
                    <a:pt x="337" y="202"/>
                    <a:pt x="337" y="202"/>
                    <a:pt x="337" y="202"/>
                  </a:cubicBezTo>
                  <a:cubicBezTo>
                    <a:pt x="337" y="202"/>
                    <a:pt x="365" y="208"/>
                    <a:pt x="359" y="198"/>
                  </a:cubicBezTo>
                  <a:cubicBezTo>
                    <a:pt x="353" y="188"/>
                    <a:pt x="312" y="156"/>
                    <a:pt x="312" y="156"/>
                  </a:cubicBezTo>
                  <a:cubicBezTo>
                    <a:pt x="299" y="145"/>
                    <a:pt x="299" y="145"/>
                    <a:pt x="299" y="145"/>
                  </a:cubicBezTo>
                  <a:cubicBezTo>
                    <a:pt x="299" y="145"/>
                    <a:pt x="316" y="138"/>
                    <a:pt x="316" y="133"/>
                  </a:cubicBezTo>
                  <a:cubicBezTo>
                    <a:pt x="316" y="128"/>
                    <a:pt x="340" y="126"/>
                    <a:pt x="331" y="116"/>
                  </a:cubicBezTo>
                  <a:cubicBezTo>
                    <a:pt x="322" y="106"/>
                    <a:pt x="316" y="103"/>
                    <a:pt x="312" y="98"/>
                  </a:cubicBezTo>
                  <a:cubicBezTo>
                    <a:pt x="308" y="93"/>
                    <a:pt x="303" y="86"/>
                    <a:pt x="297" y="86"/>
                  </a:cubicBezTo>
                  <a:cubicBezTo>
                    <a:pt x="291" y="86"/>
                    <a:pt x="277" y="94"/>
                    <a:pt x="275" y="82"/>
                  </a:cubicBezTo>
                  <a:cubicBezTo>
                    <a:pt x="273" y="70"/>
                    <a:pt x="270" y="67"/>
                    <a:pt x="270" y="67"/>
                  </a:cubicBezTo>
                  <a:cubicBezTo>
                    <a:pt x="270" y="67"/>
                    <a:pt x="283" y="65"/>
                    <a:pt x="282" y="62"/>
                  </a:cubicBezTo>
                  <a:cubicBezTo>
                    <a:pt x="281" y="59"/>
                    <a:pt x="277" y="53"/>
                    <a:pt x="277" y="53"/>
                  </a:cubicBezTo>
                  <a:cubicBezTo>
                    <a:pt x="280" y="36"/>
                    <a:pt x="280" y="36"/>
                    <a:pt x="280" y="36"/>
                  </a:cubicBezTo>
                  <a:cubicBezTo>
                    <a:pt x="280" y="36"/>
                    <a:pt x="293" y="48"/>
                    <a:pt x="289" y="31"/>
                  </a:cubicBezTo>
                  <a:cubicBezTo>
                    <a:pt x="285" y="14"/>
                    <a:pt x="271" y="13"/>
                    <a:pt x="271" y="13"/>
                  </a:cubicBezTo>
                  <a:cubicBezTo>
                    <a:pt x="248" y="8"/>
                    <a:pt x="248" y="8"/>
                    <a:pt x="248" y="8"/>
                  </a:cubicBezTo>
                  <a:cubicBezTo>
                    <a:pt x="248" y="8"/>
                    <a:pt x="255" y="2"/>
                    <a:pt x="240" y="1"/>
                  </a:cubicBezTo>
                  <a:cubicBezTo>
                    <a:pt x="225" y="0"/>
                    <a:pt x="214" y="7"/>
                    <a:pt x="214" y="7"/>
                  </a:cubicBezTo>
                  <a:cubicBezTo>
                    <a:pt x="214" y="7"/>
                    <a:pt x="203" y="6"/>
                    <a:pt x="198" y="5"/>
                  </a:cubicBezTo>
                  <a:cubicBezTo>
                    <a:pt x="193" y="4"/>
                    <a:pt x="176" y="13"/>
                    <a:pt x="176" y="13"/>
                  </a:cubicBezTo>
                  <a:cubicBezTo>
                    <a:pt x="176" y="13"/>
                    <a:pt x="172" y="26"/>
                    <a:pt x="173" y="30"/>
                  </a:cubicBezTo>
                  <a:cubicBezTo>
                    <a:pt x="174" y="34"/>
                    <a:pt x="173" y="50"/>
                    <a:pt x="173" y="50"/>
                  </a:cubicBezTo>
                  <a:cubicBezTo>
                    <a:pt x="173" y="50"/>
                    <a:pt x="164" y="45"/>
                    <a:pt x="157" y="50"/>
                  </a:cubicBezTo>
                  <a:cubicBezTo>
                    <a:pt x="150" y="55"/>
                    <a:pt x="156" y="65"/>
                    <a:pt x="148" y="65"/>
                  </a:cubicBezTo>
                  <a:cubicBezTo>
                    <a:pt x="140" y="65"/>
                    <a:pt x="128" y="57"/>
                    <a:pt x="123" y="56"/>
                  </a:cubicBezTo>
                  <a:cubicBezTo>
                    <a:pt x="118" y="55"/>
                    <a:pt x="107" y="59"/>
                    <a:pt x="107" y="59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Freeform 273">
              <a:extLst>
                <a:ext uri="{FF2B5EF4-FFF2-40B4-BE49-F238E27FC236}">
                  <a16:creationId xmlns:a16="http://schemas.microsoft.com/office/drawing/2014/main" id="{BE38FF0A-FD57-1BB5-61C8-22664573CDD4}"/>
                </a:ext>
              </a:extLst>
            </p:cNvPr>
            <p:cNvSpPr>
              <a:spLocks/>
            </p:cNvSpPr>
            <p:nvPr/>
          </p:nvSpPr>
          <p:spPr bwMode="gray">
            <a:xfrm>
              <a:off x="-2682" y="-14107"/>
              <a:ext cx="76" cy="166"/>
            </a:xfrm>
            <a:custGeom>
              <a:avLst/>
              <a:gdLst>
                <a:gd name="T0" fmla="*/ 21 w 32"/>
                <a:gd name="T1" fmla="*/ 54 h 70"/>
                <a:gd name="T2" fmla="*/ 27 w 32"/>
                <a:gd name="T3" fmla="*/ 56 h 70"/>
                <a:gd name="T4" fmla="*/ 32 w 32"/>
                <a:gd name="T5" fmla="*/ 47 h 70"/>
                <a:gd name="T6" fmla="*/ 31 w 32"/>
                <a:gd name="T7" fmla="*/ 1 h 70"/>
                <a:gd name="T8" fmla="*/ 13 w 32"/>
                <a:gd name="T9" fmla="*/ 2 h 70"/>
                <a:gd name="T10" fmla="*/ 6 w 32"/>
                <a:gd name="T11" fmla="*/ 21 h 70"/>
                <a:gd name="T12" fmla="*/ 6 w 32"/>
                <a:gd name="T13" fmla="*/ 40 h 70"/>
                <a:gd name="T14" fmla="*/ 7 w 32"/>
                <a:gd name="T15" fmla="*/ 62 h 70"/>
                <a:gd name="T16" fmla="*/ 21 w 32"/>
                <a:gd name="T17" fmla="*/ 5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70">
                  <a:moveTo>
                    <a:pt x="21" y="54"/>
                  </a:moveTo>
                  <a:cubicBezTo>
                    <a:pt x="22" y="53"/>
                    <a:pt x="24" y="54"/>
                    <a:pt x="27" y="56"/>
                  </a:cubicBezTo>
                  <a:cubicBezTo>
                    <a:pt x="29" y="51"/>
                    <a:pt x="32" y="47"/>
                    <a:pt x="32" y="47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26" y="0"/>
                    <a:pt x="17" y="0"/>
                    <a:pt x="13" y="2"/>
                  </a:cubicBezTo>
                  <a:cubicBezTo>
                    <a:pt x="7" y="6"/>
                    <a:pt x="6" y="21"/>
                    <a:pt x="6" y="21"/>
                  </a:cubicBezTo>
                  <a:cubicBezTo>
                    <a:pt x="6" y="21"/>
                    <a:pt x="7" y="34"/>
                    <a:pt x="6" y="40"/>
                  </a:cubicBezTo>
                  <a:cubicBezTo>
                    <a:pt x="5" y="46"/>
                    <a:pt x="0" y="54"/>
                    <a:pt x="7" y="62"/>
                  </a:cubicBezTo>
                  <a:cubicBezTo>
                    <a:pt x="13" y="70"/>
                    <a:pt x="18" y="55"/>
                    <a:pt x="21" y="54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Freeform 274">
              <a:extLst>
                <a:ext uri="{FF2B5EF4-FFF2-40B4-BE49-F238E27FC236}">
                  <a16:creationId xmlns:a16="http://schemas.microsoft.com/office/drawing/2014/main" id="{FB3C72B3-379A-547C-7747-5796863CA6B1}"/>
                </a:ext>
              </a:extLst>
            </p:cNvPr>
            <p:cNvSpPr>
              <a:spLocks/>
            </p:cNvSpPr>
            <p:nvPr/>
          </p:nvSpPr>
          <p:spPr bwMode="gray">
            <a:xfrm>
              <a:off x="-2646" y="-14215"/>
              <a:ext cx="439" cy="557"/>
            </a:xfrm>
            <a:custGeom>
              <a:avLst/>
              <a:gdLst>
                <a:gd name="T0" fmla="*/ 169 w 186"/>
                <a:gd name="T1" fmla="*/ 44 h 236"/>
                <a:gd name="T2" fmla="*/ 169 w 186"/>
                <a:gd name="T3" fmla="*/ 30 h 236"/>
                <a:gd name="T4" fmla="*/ 157 w 186"/>
                <a:gd name="T5" fmla="*/ 0 h 236"/>
                <a:gd name="T6" fmla="*/ 73 w 186"/>
                <a:gd name="T7" fmla="*/ 57 h 236"/>
                <a:gd name="T8" fmla="*/ 45 w 186"/>
                <a:gd name="T9" fmla="*/ 45 h 236"/>
                <a:gd name="T10" fmla="*/ 23 w 186"/>
                <a:gd name="T11" fmla="*/ 33 h 236"/>
                <a:gd name="T12" fmla="*/ 19 w 186"/>
                <a:gd name="T13" fmla="*/ 36 h 236"/>
                <a:gd name="T14" fmla="*/ 16 w 186"/>
                <a:gd name="T15" fmla="*/ 45 h 236"/>
                <a:gd name="T16" fmla="*/ 17 w 186"/>
                <a:gd name="T17" fmla="*/ 93 h 236"/>
                <a:gd name="T18" fmla="*/ 10 w 186"/>
                <a:gd name="T19" fmla="*/ 107 h 236"/>
                <a:gd name="T20" fmla="*/ 16 w 186"/>
                <a:gd name="T21" fmla="*/ 115 h 236"/>
                <a:gd name="T22" fmla="*/ 15 w 186"/>
                <a:gd name="T23" fmla="*/ 134 h 236"/>
                <a:gd name="T24" fmla="*/ 4 w 186"/>
                <a:gd name="T25" fmla="*/ 158 h 236"/>
                <a:gd name="T26" fmla="*/ 0 w 186"/>
                <a:gd name="T27" fmla="*/ 211 h 236"/>
                <a:gd name="T28" fmla="*/ 2 w 186"/>
                <a:gd name="T29" fmla="*/ 217 h 236"/>
                <a:gd name="T30" fmla="*/ 3 w 186"/>
                <a:gd name="T31" fmla="*/ 217 h 236"/>
                <a:gd name="T32" fmla="*/ 55 w 186"/>
                <a:gd name="T33" fmla="*/ 225 h 236"/>
                <a:gd name="T34" fmla="*/ 77 w 186"/>
                <a:gd name="T35" fmla="*/ 185 h 236"/>
                <a:gd name="T36" fmla="*/ 108 w 186"/>
                <a:gd name="T37" fmla="*/ 180 h 236"/>
                <a:gd name="T38" fmla="*/ 122 w 186"/>
                <a:gd name="T39" fmla="*/ 147 h 236"/>
                <a:gd name="T40" fmla="*/ 96 w 186"/>
                <a:gd name="T41" fmla="*/ 108 h 236"/>
                <a:gd name="T42" fmla="*/ 64 w 186"/>
                <a:gd name="T43" fmla="*/ 100 h 236"/>
                <a:gd name="T44" fmla="*/ 96 w 186"/>
                <a:gd name="T45" fmla="*/ 94 h 236"/>
                <a:gd name="T46" fmla="*/ 124 w 186"/>
                <a:gd name="T47" fmla="*/ 94 h 236"/>
                <a:gd name="T48" fmla="*/ 132 w 186"/>
                <a:gd name="T49" fmla="*/ 80 h 236"/>
                <a:gd name="T50" fmla="*/ 166 w 186"/>
                <a:gd name="T51" fmla="*/ 76 h 236"/>
                <a:gd name="T52" fmla="*/ 185 w 186"/>
                <a:gd name="T53" fmla="*/ 62 h 236"/>
                <a:gd name="T54" fmla="*/ 186 w 186"/>
                <a:gd name="T55" fmla="*/ 53 h 236"/>
                <a:gd name="T56" fmla="*/ 169 w 186"/>
                <a:gd name="T57" fmla="*/ 4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6" h="236">
                  <a:moveTo>
                    <a:pt x="169" y="44"/>
                  </a:moveTo>
                  <a:cubicBezTo>
                    <a:pt x="169" y="30"/>
                    <a:pt x="169" y="30"/>
                    <a:pt x="169" y="3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54" y="2"/>
                    <a:pt x="94" y="57"/>
                    <a:pt x="73" y="57"/>
                  </a:cubicBezTo>
                  <a:cubicBezTo>
                    <a:pt x="52" y="57"/>
                    <a:pt x="45" y="45"/>
                    <a:pt x="45" y="45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3"/>
                    <a:pt x="10" y="103"/>
                    <a:pt x="10" y="107"/>
                  </a:cubicBezTo>
                  <a:cubicBezTo>
                    <a:pt x="10" y="111"/>
                    <a:pt x="12" y="111"/>
                    <a:pt x="16" y="115"/>
                  </a:cubicBezTo>
                  <a:cubicBezTo>
                    <a:pt x="20" y="119"/>
                    <a:pt x="18" y="127"/>
                    <a:pt x="15" y="134"/>
                  </a:cubicBezTo>
                  <a:cubicBezTo>
                    <a:pt x="12" y="141"/>
                    <a:pt x="4" y="146"/>
                    <a:pt x="4" y="158"/>
                  </a:cubicBezTo>
                  <a:cubicBezTo>
                    <a:pt x="4" y="170"/>
                    <a:pt x="0" y="211"/>
                    <a:pt x="0" y="211"/>
                  </a:cubicBezTo>
                  <a:cubicBezTo>
                    <a:pt x="2" y="217"/>
                    <a:pt x="2" y="217"/>
                    <a:pt x="2" y="217"/>
                  </a:cubicBezTo>
                  <a:cubicBezTo>
                    <a:pt x="2" y="217"/>
                    <a:pt x="3" y="217"/>
                    <a:pt x="3" y="217"/>
                  </a:cubicBezTo>
                  <a:cubicBezTo>
                    <a:pt x="10" y="216"/>
                    <a:pt x="41" y="236"/>
                    <a:pt x="55" y="225"/>
                  </a:cubicBezTo>
                  <a:cubicBezTo>
                    <a:pt x="69" y="214"/>
                    <a:pt x="71" y="187"/>
                    <a:pt x="77" y="185"/>
                  </a:cubicBezTo>
                  <a:cubicBezTo>
                    <a:pt x="83" y="183"/>
                    <a:pt x="100" y="187"/>
                    <a:pt x="108" y="180"/>
                  </a:cubicBezTo>
                  <a:cubicBezTo>
                    <a:pt x="116" y="173"/>
                    <a:pt x="122" y="147"/>
                    <a:pt x="122" y="147"/>
                  </a:cubicBezTo>
                  <a:cubicBezTo>
                    <a:pt x="122" y="147"/>
                    <a:pt x="103" y="112"/>
                    <a:pt x="96" y="108"/>
                  </a:cubicBezTo>
                  <a:cubicBezTo>
                    <a:pt x="89" y="104"/>
                    <a:pt x="57" y="107"/>
                    <a:pt x="64" y="100"/>
                  </a:cubicBezTo>
                  <a:cubicBezTo>
                    <a:pt x="71" y="93"/>
                    <a:pt x="96" y="94"/>
                    <a:pt x="96" y="94"/>
                  </a:cubicBezTo>
                  <a:cubicBezTo>
                    <a:pt x="124" y="94"/>
                    <a:pt x="124" y="94"/>
                    <a:pt x="124" y="94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80"/>
                    <a:pt x="160" y="82"/>
                    <a:pt x="166" y="76"/>
                  </a:cubicBezTo>
                  <a:cubicBezTo>
                    <a:pt x="172" y="70"/>
                    <a:pt x="185" y="62"/>
                    <a:pt x="185" y="62"/>
                  </a:cubicBezTo>
                  <a:cubicBezTo>
                    <a:pt x="186" y="53"/>
                    <a:pt x="186" y="53"/>
                    <a:pt x="186" y="53"/>
                  </a:cubicBezTo>
                  <a:lnTo>
                    <a:pt x="169" y="44"/>
                  </a:ln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Freeform 275">
              <a:extLst>
                <a:ext uri="{FF2B5EF4-FFF2-40B4-BE49-F238E27FC236}">
                  <a16:creationId xmlns:a16="http://schemas.microsoft.com/office/drawing/2014/main" id="{58F1BFA9-E1A9-0A2A-9A91-BD43585F81B9}"/>
                </a:ext>
              </a:extLst>
            </p:cNvPr>
            <p:cNvSpPr>
              <a:spLocks/>
            </p:cNvSpPr>
            <p:nvPr/>
          </p:nvSpPr>
          <p:spPr bwMode="gray">
            <a:xfrm>
              <a:off x="-2743" y="-14227"/>
              <a:ext cx="158" cy="510"/>
            </a:xfrm>
            <a:custGeom>
              <a:avLst/>
              <a:gdLst>
                <a:gd name="T0" fmla="*/ 0 w 67"/>
                <a:gd name="T1" fmla="*/ 113 h 216"/>
                <a:gd name="T2" fmla="*/ 36 w 67"/>
                <a:gd name="T3" fmla="*/ 206 h 216"/>
                <a:gd name="T4" fmla="*/ 41 w 67"/>
                <a:gd name="T5" fmla="*/ 216 h 216"/>
                <a:gd name="T6" fmla="*/ 45 w 67"/>
                <a:gd name="T7" fmla="*/ 163 h 216"/>
                <a:gd name="T8" fmla="*/ 56 w 67"/>
                <a:gd name="T9" fmla="*/ 139 h 216"/>
                <a:gd name="T10" fmla="*/ 57 w 67"/>
                <a:gd name="T11" fmla="*/ 120 h 216"/>
                <a:gd name="T12" fmla="*/ 51 w 67"/>
                <a:gd name="T13" fmla="*/ 112 h 216"/>
                <a:gd name="T14" fmla="*/ 53 w 67"/>
                <a:gd name="T15" fmla="*/ 107 h 216"/>
                <a:gd name="T16" fmla="*/ 47 w 67"/>
                <a:gd name="T17" fmla="*/ 105 h 216"/>
                <a:gd name="T18" fmla="*/ 33 w 67"/>
                <a:gd name="T19" fmla="*/ 113 h 216"/>
                <a:gd name="T20" fmla="*/ 32 w 67"/>
                <a:gd name="T21" fmla="*/ 91 h 216"/>
                <a:gd name="T22" fmla="*/ 32 w 67"/>
                <a:gd name="T23" fmla="*/ 72 h 216"/>
                <a:gd name="T24" fmla="*/ 39 w 67"/>
                <a:gd name="T25" fmla="*/ 53 h 216"/>
                <a:gd name="T26" fmla="*/ 57 w 67"/>
                <a:gd name="T27" fmla="*/ 52 h 216"/>
                <a:gd name="T28" fmla="*/ 57 w 67"/>
                <a:gd name="T29" fmla="*/ 50 h 216"/>
                <a:gd name="T30" fmla="*/ 60 w 67"/>
                <a:gd name="T31" fmla="*/ 41 h 216"/>
                <a:gd name="T32" fmla="*/ 57 w 67"/>
                <a:gd name="T33" fmla="*/ 11 h 216"/>
                <a:gd name="T34" fmla="*/ 67 w 67"/>
                <a:gd name="T35" fmla="*/ 0 h 216"/>
                <a:gd name="T36" fmla="*/ 52 w 67"/>
                <a:gd name="T37" fmla="*/ 3 h 216"/>
                <a:gd name="T38" fmla="*/ 48 w 67"/>
                <a:gd name="T39" fmla="*/ 20 h 216"/>
                <a:gd name="T40" fmla="*/ 34 w 67"/>
                <a:gd name="T41" fmla="*/ 21 h 216"/>
                <a:gd name="T42" fmla="*/ 27 w 67"/>
                <a:gd name="T43" fmla="*/ 34 h 216"/>
                <a:gd name="T44" fmla="*/ 22 w 67"/>
                <a:gd name="T45" fmla="*/ 39 h 216"/>
                <a:gd name="T46" fmla="*/ 27 w 67"/>
                <a:gd name="T47" fmla="*/ 63 h 216"/>
                <a:gd name="T48" fmla="*/ 13 w 67"/>
                <a:gd name="T49" fmla="*/ 89 h 216"/>
                <a:gd name="T50" fmla="*/ 11 w 67"/>
                <a:gd name="T51" fmla="*/ 105 h 216"/>
                <a:gd name="T52" fmla="*/ 0 w 67"/>
                <a:gd name="T53" fmla="*/ 113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7" h="216">
                  <a:moveTo>
                    <a:pt x="0" y="113"/>
                  </a:moveTo>
                  <a:cubicBezTo>
                    <a:pt x="36" y="206"/>
                    <a:pt x="36" y="206"/>
                    <a:pt x="36" y="206"/>
                  </a:cubicBezTo>
                  <a:cubicBezTo>
                    <a:pt x="41" y="216"/>
                    <a:pt x="41" y="216"/>
                    <a:pt x="41" y="216"/>
                  </a:cubicBezTo>
                  <a:cubicBezTo>
                    <a:pt x="41" y="216"/>
                    <a:pt x="45" y="175"/>
                    <a:pt x="45" y="163"/>
                  </a:cubicBezTo>
                  <a:cubicBezTo>
                    <a:pt x="45" y="151"/>
                    <a:pt x="53" y="146"/>
                    <a:pt x="56" y="139"/>
                  </a:cubicBezTo>
                  <a:cubicBezTo>
                    <a:pt x="59" y="132"/>
                    <a:pt x="61" y="124"/>
                    <a:pt x="57" y="120"/>
                  </a:cubicBezTo>
                  <a:cubicBezTo>
                    <a:pt x="53" y="116"/>
                    <a:pt x="51" y="116"/>
                    <a:pt x="51" y="112"/>
                  </a:cubicBezTo>
                  <a:cubicBezTo>
                    <a:pt x="51" y="111"/>
                    <a:pt x="52" y="109"/>
                    <a:pt x="53" y="107"/>
                  </a:cubicBezTo>
                  <a:cubicBezTo>
                    <a:pt x="50" y="105"/>
                    <a:pt x="48" y="104"/>
                    <a:pt x="47" y="105"/>
                  </a:cubicBezTo>
                  <a:cubicBezTo>
                    <a:pt x="44" y="106"/>
                    <a:pt x="39" y="121"/>
                    <a:pt x="33" y="113"/>
                  </a:cubicBezTo>
                  <a:cubicBezTo>
                    <a:pt x="26" y="105"/>
                    <a:pt x="31" y="97"/>
                    <a:pt x="32" y="91"/>
                  </a:cubicBezTo>
                  <a:cubicBezTo>
                    <a:pt x="33" y="85"/>
                    <a:pt x="32" y="72"/>
                    <a:pt x="32" y="72"/>
                  </a:cubicBezTo>
                  <a:cubicBezTo>
                    <a:pt x="32" y="72"/>
                    <a:pt x="33" y="57"/>
                    <a:pt x="39" y="53"/>
                  </a:cubicBezTo>
                  <a:cubicBezTo>
                    <a:pt x="43" y="51"/>
                    <a:pt x="52" y="51"/>
                    <a:pt x="57" y="52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3"/>
                    <a:pt x="53" y="13"/>
                    <a:pt x="48" y="20"/>
                  </a:cubicBezTo>
                  <a:cubicBezTo>
                    <a:pt x="43" y="27"/>
                    <a:pt x="34" y="21"/>
                    <a:pt x="34" y="21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3" y="52"/>
                    <a:pt x="27" y="63"/>
                    <a:pt x="27" y="63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1" y="105"/>
                    <a:pt x="11" y="105"/>
                    <a:pt x="11" y="105"/>
                  </a:cubicBezTo>
                  <a:lnTo>
                    <a:pt x="0" y="113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Freeform 276">
              <a:extLst>
                <a:ext uri="{FF2B5EF4-FFF2-40B4-BE49-F238E27FC236}">
                  <a16:creationId xmlns:a16="http://schemas.microsoft.com/office/drawing/2014/main" id="{EF00C7ED-93A3-5C89-3EB1-4BAFE3EF8C75}"/>
                </a:ext>
              </a:extLst>
            </p:cNvPr>
            <p:cNvSpPr>
              <a:spLocks/>
            </p:cNvSpPr>
            <p:nvPr/>
          </p:nvSpPr>
          <p:spPr bwMode="gray">
            <a:xfrm>
              <a:off x="-8308" y="-13495"/>
              <a:ext cx="947" cy="810"/>
            </a:xfrm>
            <a:custGeom>
              <a:avLst/>
              <a:gdLst>
                <a:gd name="T0" fmla="*/ 364 w 401"/>
                <a:gd name="T1" fmla="*/ 0 h 343"/>
                <a:gd name="T2" fmla="*/ 192 w 401"/>
                <a:gd name="T3" fmla="*/ 0 h 343"/>
                <a:gd name="T4" fmla="*/ 186 w 401"/>
                <a:gd name="T5" fmla="*/ 12 h 343"/>
                <a:gd name="T6" fmla="*/ 176 w 401"/>
                <a:gd name="T7" fmla="*/ 47 h 343"/>
                <a:gd name="T8" fmla="*/ 160 w 401"/>
                <a:gd name="T9" fmla="*/ 61 h 343"/>
                <a:gd name="T10" fmla="*/ 140 w 401"/>
                <a:gd name="T11" fmla="*/ 66 h 343"/>
                <a:gd name="T12" fmla="*/ 125 w 401"/>
                <a:gd name="T13" fmla="*/ 72 h 343"/>
                <a:gd name="T14" fmla="*/ 123 w 401"/>
                <a:gd name="T15" fmla="*/ 97 h 343"/>
                <a:gd name="T16" fmla="*/ 104 w 401"/>
                <a:gd name="T17" fmla="*/ 122 h 343"/>
                <a:gd name="T18" fmla="*/ 108 w 401"/>
                <a:gd name="T19" fmla="*/ 158 h 343"/>
                <a:gd name="T20" fmla="*/ 92 w 401"/>
                <a:gd name="T21" fmla="*/ 171 h 343"/>
                <a:gd name="T22" fmla="*/ 78 w 401"/>
                <a:gd name="T23" fmla="*/ 190 h 343"/>
                <a:gd name="T24" fmla="*/ 58 w 401"/>
                <a:gd name="T25" fmla="*/ 201 h 343"/>
                <a:gd name="T26" fmla="*/ 52 w 401"/>
                <a:gd name="T27" fmla="*/ 212 h 343"/>
                <a:gd name="T28" fmla="*/ 60 w 401"/>
                <a:gd name="T29" fmla="*/ 216 h 343"/>
                <a:gd name="T30" fmla="*/ 45 w 401"/>
                <a:gd name="T31" fmla="*/ 237 h 343"/>
                <a:gd name="T32" fmla="*/ 41 w 401"/>
                <a:gd name="T33" fmla="*/ 259 h 343"/>
                <a:gd name="T34" fmla="*/ 32 w 401"/>
                <a:gd name="T35" fmla="*/ 259 h 343"/>
                <a:gd name="T36" fmla="*/ 31 w 401"/>
                <a:gd name="T37" fmla="*/ 281 h 343"/>
                <a:gd name="T38" fmla="*/ 18 w 401"/>
                <a:gd name="T39" fmla="*/ 286 h 343"/>
                <a:gd name="T40" fmla="*/ 1 w 401"/>
                <a:gd name="T41" fmla="*/ 318 h 343"/>
                <a:gd name="T42" fmla="*/ 0 w 401"/>
                <a:gd name="T43" fmla="*/ 343 h 343"/>
                <a:gd name="T44" fmla="*/ 186 w 401"/>
                <a:gd name="T45" fmla="*/ 341 h 343"/>
                <a:gd name="T46" fmla="*/ 187 w 401"/>
                <a:gd name="T47" fmla="*/ 272 h 343"/>
                <a:gd name="T48" fmla="*/ 189 w 401"/>
                <a:gd name="T49" fmla="*/ 247 h 343"/>
                <a:gd name="T50" fmla="*/ 208 w 401"/>
                <a:gd name="T51" fmla="*/ 236 h 343"/>
                <a:gd name="T52" fmla="*/ 235 w 401"/>
                <a:gd name="T53" fmla="*/ 231 h 343"/>
                <a:gd name="T54" fmla="*/ 238 w 401"/>
                <a:gd name="T55" fmla="*/ 101 h 343"/>
                <a:gd name="T56" fmla="*/ 243 w 401"/>
                <a:gd name="T57" fmla="*/ 98 h 343"/>
                <a:gd name="T58" fmla="*/ 243 w 401"/>
                <a:gd name="T59" fmla="*/ 88 h 343"/>
                <a:gd name="T60" fmla="*/ 391 w 401"/>
                <a:gd name="T61" fmla="*/ 87 h 343"/>
                <a:gd name="T62" fmla="*/ 392 w 401"/>
                <a:gd name="T63" fmla="*/ 62 h 343"/>
                <a:gd name="T64" fmla="*/ 397 w 401"/>
                <a:gd name="T65" fmla="*/ 58 h 343"/>
                <a:gd name="T66" fmla="*/ 401 w 401"/>
                <a:gd name="T67" fmla="*/ 2 h 343"/>
                <a:gd name="T68" fmla="*/ 364 w 401"/>
                <a:gd name="T69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1" h="343">
                  <a:moveTo>
                    <a:pt x="364" y="0"/>
                  </a:moveTo>
                  <a:cubicBezTo>
                    <a:pt x="192" y="0"/>
                    <a:pt x="192" y="0"/>
                    <a:pt x="192" y="0"/>
                  </a:cubicBezTo>
                  <a:cubicBezTo>
                    <a:pt x="190" y="3"/>
                    <a:pt x="188" y="8"/>
                    <a:pt x="186" y="12"/>
                  </a:cubicBezTo>
                  <a:cubicBezTo>
                    <a:pt x="181" y="25"/>
                    <a:pt x="176" y="47"/>
                    <a:pt x="176" y="47"/>
                  </a:cubicBezTo>
                  <a:cubicBezTo>
                    <a:pt x="176" y="47"/>
                    <a:pt x="164" y="57"/>
                    <a:pt x="160" y="61"/>
                  </a:cubicBezTo>
                  <a:cubicBezTo>
                    <a:pt x="156" y="65"/>
                    <a:pt x="140" y="66"/>
                    <a:pt x="140" y="66"/>
                  </a:cubicBezTo>
                  <a:cubicBezTo>
                    <a:pt x="140" y="66"/>
                    <a:pt x="129" y="63"/>
                    <a:pt x="125" y="72"/>
                  </a:cubicBezTo>
                  <a:cubicBezTo>
                    <a:pt x="121" y="81"/>
                    <a:pt x="123" y="97"/>
                    <a:pt x="123" y="97"/>
                  </a:cubicBezTo>
                  <a:cubicBezTo>
                    <a:pt x="123" y="97"/>
                    <a:pt x="104" y="116"/>
                    <a:pt x="104" y="122"/>
                  </a:cubicBezTo>
                  <a:cubicBezTo>
                    <a:pt x="104" y="128"/>
                    <a:pt x="115" y="145"/>
                    <a:pt x="108" y="158"/>
                  </a:cubicBezTo>
                  <a:cubicBezTo>
                    <a:pt x="101" y="171"/>
                    <a:pt x="92" y="171"/>
                    <a:pt x="92" y="171"/>
                  </a:cubicBezTo>
                  <a:cubicBezTo>
                    <a:pt x="92" y="171"/>
                    <a:pt x="83" y="185"/>
                    <a:pt x="78" y="190"/>
                  </a:cubicBezTo>
                  <a:cubicBezTo>
                    <a:pt x="73" y="195"/>
                    <a:pt x="62" y="197"/>
                    <a:pt x="58" y="201"/>
                  </a:cubicBezTo>
                  <a:cubicBezTo>
                    <a:pt x="54" y="205"/>
                    <a:pt x="52" y="212"/>
                    <a:pt x="52" y="212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49" y="227"/>
                    <a:pt x="45" y="237"/>
                  </a:cubicBezTo>
                  <a:cubicBezTo>
                    <a:pt x="41" y="247"/>
                    <a:pt x="41" y="259"/>
                    <a:pt x="41" y="259"/>
                  </a:cubicBezTo>
                  <a:cubicBezTo>
                    <a:pt x="32" y="259"/>
                    <a:pt x="32" y="259"/>
                    <a:pt x="32" y="259"/>
                  </a:cubicBezTo>
                  <a:cubicBezTo>
                    <a:pt x="32" y="259"/>
                    <a:pt x="42" y="271"/>
                    <a:pt x="31" y="281"/>
                  </a:cubicBezTo>
                  <a:cubicBezTo>
                    <a:pt x="20" y="291"/>
                    <a:pt x="18" y="286"/>
                    <a:pt x="18" y="286"/>
                  </a:cubicBezTo>
                  <a:cubicBezTo>
                    <a:pt x="18" y="286"/>
                    <a:pt x="1" y="304"/>
                    <a:pt x="1" y="318"/>
                  </a:cubicBezTo>
                  <a:cubicBezTo>
                    <a:pt x="1" y="325"/>
                    <a:pt x="1" y="335"/>
                    <a:pt x="0" y="343"/>
                  </a:cubicBezTo>
                  <a:cubicBezTo>
                    <a:pt x="186" y="341"/>
                    <a:pt x="186" y="341"/>
                    <a:pt x="186" y="341"/>
                  </a:cubicBezTo>
                  <a:cubicBezTo>
                    <a:pt x="187" y="272"/>
                    <a:pt x="187" y="272"/>
                    <a:pt x="187" y="272"/>
                  </a:cubicBezTo>
                  <a:cubicBezTo>
                    <a:pt x="187" y="272"/>
                    <a:pt x="178" y="257"/>
                    <a:pt x="189" y="247"/>
                  </a:cubicBezTo>
                  <a:cubicBezTo>
                    <a:pt x="200" y="237"/>
                    <a:pt x="208" y="236"/>
                    <a:pt x="208" y="236"/>
                  </a:cubicBezTo>
                  <a:cubicBezTo>
                    <a:pt x="208" y="236"/>
                    <a:pt x="233" y="237"/>
                    <a:pt x="235" y="231"/>
                  </a:cubicBezTo>
                  <a:cubicBezTo>
                    <a:pt x="237" y="225"/>
                    <a:pt x="238" y="101"/>
                    <a:pt x="238" y="101"/>
                  </a:cubicBezTo>
                  <a:cubicBezTo>
                    <a:pt x="243" y="98"/>
                    <a:pt x="243" y="98"/>
                    <a:pt x="243" y="98"/>
                  </a:cubicBezTo>
                  <a:cubicBezTo>
                    <a:pt x="243" y="88"/>
                    <a:pt x="243" y="88"/>
                    <a:pt x="243" y="88"/>
                  </a:cubicBezTo>
                  <a:cubicBezTo>
                    <a:pt x="391" y="87"/>
                    <a:pt x="391" y="87"/>
                    <a:pt x="391" y="87"/>
                  </a:cubicBezTo>
                  <a:cubicBezTo>
                    <a:pt x="392" y="62"/>
                    <a:pt x="392" y="62"/>
                    <a:pt x="392" y="62"/>
                  </a:cubicBezTo>
                  <a:cubicBezTo>
                    <a:pt x="397" y="58"/>
                    <a:pt x="397" y="58"/>
                    <a:pt x="397" y="58"/>
                  </a:cubicBezTo>
                  <a:cubicBezTo>
                    <a:pt x="401" y="2"/>
                    <a:pt x="401" y="2"/>
                    <a:pt x="401" y="2"/>
                  </a:cubicBezTo>
                  <a:lnTo>
                    <a:pt x="364" y="0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Freeform 277">
              <a:extLst>
                <a:ext uri="{FF2B5EF4-FFF2-40B4-BE49-F238E27FC236}">
                  <a16:creationId xmlns:a16="http://schemas.microsoft.com/office/drawing/2014/main" id="{A5C11E22-A424-A479-9110-F7CC2937A995}"/>
                </a:ext>
              </a:extLst>
            </p:cNvPr>
            <p:cNvSpPr>
              <a:spLocks/>
            </p:cNvSpPr>
            <p:nvPr/>
          </p:nvSpPr>
          <p:spPr bwMode="gray">
            <a:xfrm>
              <a:off x="-8273" y="-11600"/>
              <a:ext cx="295" cy="243"/>
            </a:xfrm>
            <a:custGeom>
              <a:avLst/>
              <a:gdLst>
                <a:gd name="T0" fmla="*/ 85 w 125"/>
                <a:gd name="T1" fmla="*/ 67 h 103"/>
                <a:gd name="T2" fmla="*/ 102 w 125"/>
                <a:gd name="T3" fmla="*/ 60 h 103"/>
                <a:gd name="T4" fmla="*/ 124 w 125"/>
                <a:gd name="T5" fmla="*/ 49 h 103"/>
                <a:gd name="T6" fmla="*/ 108 w 125"/>
                <a:gd name="T7" fmla="*/ 28 h 103"/>
                <a:gd name="T8" fmla="*/ 124 w 125"/>
                <a:gd name="T9" fmla="*/ 19 h 103"/>
                <a:gd name="T10" fmla="*/ 123 w 125"/>
                <a:gd name="T11" fmla="*/ 2 h 103"/>
                <a:gd name="T12" fmla="*/ 56 w 125"/>
                <a:gd name="T13" fmla="*/ 0 h 103"/>
                <a:gd name="T14" fmla="*/ 39 w 125"/>
                <a:gd name="T15" fmla="*/ 15 h 103"/>
                <a:gd name="T16" fmla="*/ 12 w 125"/>
                <a:gd name="T17" fmla="*/ 15 h 103"/>
                <a:gd name="T18" fmla="*/ 4 w 125"/>
                <a:gd name="T19" fmla="*/ 25 h 103"/>
                <a:gd name="T20" fmla="*/ 0 w 125"/>
                <a:gd name="T21" fmla="*/ 48 h 103"/>
                <a:gd name="T22" fmla="*/ 15 w 125"/>
                <a:gd name="T23" fmla="*/ 50 h 103"/>
                <a:gd name="T24" fmla="*/ 46 w 125"/>
                <a:gd name="T25" fmla="*/ 45 h 103"/>
                <a:gd name="T26" fmla="*/ 63 w 125"/>
                <a:gd name="T27" fmla="*/ 39 h 103"/>
                <a:gd name="T28" fmla="*/ 63 w 125"/>
                <a:gd name="T29" fmla="*/ 54 h 103"/>
                <a:gd name="T30" fmla="*/ 37 w 125"/>
                <a:gd name="T31" fmla="*/ 52 h 103"/>
                <a:gd name="T32" fmla="*/ 42 w 125"/>
                <a:gd name="T33" fmla="*/ 68 h 103"/>
                <a:gd name="T34" fmla="*/ 63 w 125"/>
                <a:gd name="T35" fmla="*/ 63 h 103"/>
                <a:gd name="T36" fmla="*/ 39 w 125"/>
                <a:gd name="T37" fmla="*/ 75 h 103"/>
                <a:gd name="T38" fmla="*/ 58 w 125"/>
                <a:gd name="T39" fmla="*/ 103 h 103"/>
                <a:gd name="T40" fmla="*/ 63 w 125"/>
                <a:gd name="T41" fmla="*/ 88 h 103"/>
                <a:gd name="T42" fmla="*/ 72 w 125"/>
                <a:gd name="T43" fmla="*/ 68 h 103"/>
                <a:gd name="T44" fmla="*/ 85 w 125"/>
                <a:gd name="T45" fmla="*/ 67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103">
                  <a:moveTo>
                    <a:pt x="85" y="67"/>
                  </a:moveTo>
                  <a:cubicBezTo>
                    <a:pt x="85" y="67"/>
                    <a:pt x="92" y="60"/>
                    <a:pt x="102" y="60"/>
                  </a:cubicBezTo>
                  <a:cubicBezTo>
                    <a:pt x="112" y="60"/>
                    <a:pt x="123" y="64"/>
                    <a:pt x="124" y="49"/>
                  </a:cubicBezTo>
                  <a:cubicBezTo>
                    <a:pt x="125" y="34"/>
                    <a:pt x="108" y="39"/>
                    <a:pt x="108" y="28"/>
                  </a:cubicBezTo>
                  <a:cubicBezTo>
                    <a:pt x="108" y="17"/>
                    <a:pt x="124" y="19"/>
                    <a:pt x="124" y="19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8" y="56"/>
                    <a:pt x="15" y="50"/>
                  </a:cubicBezTo>
                  <a:cubicBezTo>
                    <a:pt x="22" y="44"/>
                    <a:pt x="46" y="45"/>
                    <a:pt x="46" y="45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3" y="54"/>
                    <a:pt x="39" y="42"/>
                    <a:pt x="37" y="52"/>
                  </a:cubicBezTo>
                  <a:cubicBezTo>
                    <a:pt x="35" y="62"/>
                    <a:pt x="42" y="68"/>
                    <a:pt x="42" y="68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72" y="68"/>
                    <a:pt x="72" y="68"/>
                    <a:pt x="72" y="68"/>
                  </a:cubicBezTo>
                  <a:lnTo>
                    <a:pt x="85" y="67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Freeform 278">
              <a:extLst>
                <a:ext uri="{FF2B5EF4-FFF2-40B4-BE49-F238E27FC236}">
                  <a16:creationId xmlns:a16="http://schemas.microsoft.com/office/drawing/2014/main" id="{65256EC2-1F1F-FA96-CA0D-4866C918F3FB}"/>
                </a:ext>
              </a:extLst>
            </p:cNvPr>
            <p:cNvSpPr>
              <a:spLocks/>
            </p:cNvSpPr>
            <p:nvPr/>
          </p:nvSpPr>
          <p:spPr bwMode="gray">
            <a:xfrm>
              <a:off x="-8323" y="-11742"/>
              <a:ext cx="364" cy="92"/>
            </a:xfrm>
            <a:custGeom>
              <a:avLst/>
              <a:gdLst>
                <a:gd name="T0" fmla="*/ 11 w 154"/>
                <a:gd name="T1" fmla="*/ 15 h 39"/>
                <a:gd name="T2" fmla="*/ 0 w 154"/>
                <a:gd name="T3" fmla="*/ 37 h 39"/>
                <a:gd name="T4" fmla="*/ 0 w 154"/>
                <a:gd name="T5" fmla="*/ 39 h 39"/>
                <a:gd name="T6" fmla="*/ 43 w 154"/>
                <a:gd name="T7" fmla="*/ 39 h 39"/>
                <a:gd name="T8" fmla="*/ 47 w 154"/>
                <a:gd name="T9" fmla="*/ 30 h 39"/>
                <a:gd name="T10" fmla="*/ 72 w 154"/>
                <a:gd name="T11" fmla="*/ 27 h 39"/>
                <a:gd name="T12" fmla="*/ 84 w 154"/>
                <a:gd name="T13" fmla="*/ 15 h 39"/>
                <a:gd name="T14" fmla="*/ 118 w 154"/>
                <a:gd name="T15" fmla="*/ 34 h 39"/>
                <a:gd name="T16" fmla="*/ 137 w 154"/>
                <a:gd name="T17" fmla="*/ 15 h 39"/>
                <a:gd name="T18" fmla="*/ 116 w 154"/>
                <a:gd name="T19" fmla="*/ 20 h 39"/>
                <a:gd name="T20" fmla="*/ 103 w 154"/>
                <a:gd name="T21" fmla="*/ 8 h 39"/>
                <a:gd name="T22" fmla="*/ 95 w 154"/>
                <a:gd name="T23" fmla="*/ 10 h 39"/>
                <a:gd name="T24" fmla="*/ 84 w 154"/>
                <a:gd name="T25" fmla="*/ 2 h 39"/>
                <a:gd name="T26" fmla="*/ 59 w 154"/>
                <a:gd name="T27" fmla="*/ 3 h 39"/>
                <a:gd name="T28" fmla="*/ 59 w 154"/>
                <a:gd name="T29" fmla="*/ 13 h 39"/>
                <a:gd name="T30" fmla="*/ 9 w 154"/>
                <a:gd name="T31" fmla="*/ 13 h 39"/>
                <a:gd name="T32" fmla="*/ 11 w 154"/>
                <a:gd name="T33" fmla="*/ 1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39">
                  <a:moveTo>
                    <a:pt x="11" y="15"/>
                  </a:moveTo>
                  <a:cubicBezTo>
                    <a:pt x="11" y="15"/>
                    <a:pt x="1" y="30"/>
                    <a:pt x="0" y="37"/>
                  </a:cubicBezTo>
                  <a:cubicBezTo>
                    <a:pt x="0" y="38"/>
                    <a:pt x="0" y="38"/>
                    <a:pt x="0" y="39"/>
                  </a:cubicBezTo>
                  <a:cubicBezTo>
                    <a:pt x="11" y="39"/>
                    <a:pt x="41" y="39"/>
                    <a:pt x="43" y="39"/>
                  </a:cubicBezTo>
                  <a:cubicBezTo>
                    <a:pt x="46" y="39"/>
                    <a:pt x="47" y="30"/>
                    <a:pt x="47" y="30"/>
                  </a:cubicBezTo>
                  <a:cubicBezTo>
                    <a:pt x="47" y="30"/>
                    <a:pt x="66" y="28"/>
                    <a:pt x="72" y="27"/>
                  </a:cubicBezTo>
                  <a:cubicBezTo>
                    <a:pt x="78" y="26"/>
                    <a:pt x="84" y="15"/>
                    <a:pt x="84" y="15"/>
                  </a:cubicBezTo>
                  <a:cubicBezTo>
                    <a:pt x="84" y="15"/>
                    <a:pt x="100" y="34"/>
                    <a:pt x="118" y="34"/>
                  </a:cubicBezTo>
                  <a:cubicBezTo>
                    <a:pt x="136" y="34"/>
                    <a:pt x="154" y="19"/>
                    <a:pt x="137" y="15"/>
                  </a:cubicBezTo>
                  <a:cubicBezTo>
                    <a:pt x="120" y="11"/>
                    <a:pt x="121" y="21"/>
                    <a:pt x="116" y="20"/>
                  </a:cubicBezTo>
                  <a:cubicBezTo>
                    <a:pt x="111" y="19"/>
                    <a:pt x="103" y="8"/>
                    <a:pt x="103" y="8"/>
                  </a:cubicBezTo>
                  <a:cubicBezTo>
                    <a:pt x="95" y="10"/>
                    <a:pt x="95" y="10"/>
                    <a:pt x="95" y="10"/>
                  </a:cubicBezTo>
                  <a:cubicBezTo>
                    <a:pt x="95" y="10"/>
                    <a:pt x="97" y="0"/>
                    <a:pt x="84" y="2"/>
                  </a:cubicBezTo>
                  <a:cubicBezTo>
                    <a:pt x="71" y="4"/>
                    <a:pt x="59" y="3"/>
                    <a:pt x="59" y="3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0" y="14"/>
                    <a:pt x="11" y="15"/>
                    <a:pt x="11" y="15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Freeform 279">
              <a:extLst>
                <a:ext uri="{FF2B5EF4-FFF2-40B4-BE49-F238E27FC236}">
                  <a16:creationId xmlns:a16="http://schemas.microsoft.com/office/drawing/2014/main" id="{7D2E6F02-C7F3-8FC6-FE8A-98FAE23BCB2B}"/>
                </a:ext>
              </a:extLst>
            </p:cNvPr>
            <p:cNvSpPr>
              <a:spLocks/>
            </p:cNvSpPr>
            <p:nvPr/>
          </p:nvSpPr>
          <p:spPr bwMode="gray">
            <a:xfrm>
              <a:off x="-7775" y="-11090"/>
              <a:ext cx="489" cy="558"/>
            </a:xfrm>
            <a:custGeom>
              <a:avLst/>
              <a:gdLst>
                <a:gd name="T0" fmla="*/ 207 w 207"/>
                <a:gd name="T1" fmla="*/ 175 h 236"/>
                <a:gd name="T2" fmla="*/ 186 w 207"/>
                <a:gd name="T3" fmla="*/ 146 h 236"/>
                <a:gd name="T4" fmla="*/ 185 w 207"/>
                <a:gd name="T5" fmla="*/ 129 h 236"/>
                <a:gd name="T6" fmla="*/ 161 w 207"/>
                <a:gd name="T7" fmla="*/ 133 h 236"/>
                <a:gd name="T8" fmla="*/ 161 w 207"/>
                <a:gd name="T9" fmla="*/ 123 h 236"/>
                <a:gd name="T10" fmla="*/ 148 w 207"/>
                <a:gd name="T11" fmla="*/ 121 h 236"/>
                <a:gd name="T12" fmla="*/ 162 w 207"/>
                <a:gd name="T13" fmla="*/ 89 h 236"/>
                <a:gd name="T14" fmla="*/ 149 w 207"/>
                <a:gd name="T15" fmla="*/ 55 h 236"/>
                <a:gd name="T16" fmla="*/ 145 w 207"/>
                <a:gd name="T17" fmla="*/ 56 h 236"/>
                <a:gd name="T18" fmla="*/ 129 w 207"/>
                <a:gd name="T19" fmla="*/ 82 h 236"/>
                <a:gd name="T20" fmla="*/ 117 w 207"/>
                <a:gd name="T21" fmla="*/ 72 h 236"/>
                <a:gd name="T22" fmla="*/ 109 w 207"/>
                <a:gd name="T23" fmla="*/ 72 h 236"/>
                <a:gd name="T24" fmla="*/ 99 w 207"/>
                <a:gd name="T25" fmla="*/ 13 h 236"/>
                <a:gd name="T26" fmla="*/ 83 w 207"/>
                <a:gd name="T27" fmla="*/ 18 h 236"/>
                <a:gd name="T28" fmla="*/ 67 w 207"/>
                <a:gd name="T29" fmla="*/ 14 h 236"/>
                <a:gd name="T30" fmla="*/ 69 w 207"/>
                <a:gd name="T31" fmla="*/ 31 h 236"/>
                <a:gd name="T32" fmla="*/ 55 w 207"/>
                <a:gd name="T33" fmla="*/ 34 h 236"/>
                <a:gd name="T34" fmla="*/ 55 w 207"/>
                <a:gd name="T35" fmla="*/ 48 h 236"/>
                <a:gd name="T36" fmla="*/ 16 w 207"/>
                <a:gd name="T37" fmla="*/ 82 h 236"/>
                <a:gd name="T38" fmla="*/ 14 w 207"/>
                <a:gd name="T39" fmla="*/ 105 h 236"/>
                <a:gd name="T40" fmla="*/ 0 w 207"/>
                <a:gd name="T41" fmla="*/ 89 h 236"/>
                <a:gd name="T42" fmla="*/ 0 w 207"/>
                <a:gd name="T43" fmla="*/ 89 h 236"/>
                <a:gd name="T44" fmla="*/ 23 w 207"/>
                <a:gd name="T45" fmla="*/ 115 h 236"/>
                <a:gd name="T46" fmla="*/ 40 w 207"/>
                <a:gd name="T47" fmla="*/ 117 h 236"/>
                <a:gd name="T48" fmla="*/ 48 w 207"/>
                <a:gd name="T49" fmla="*/ 135 h 236"/>
                <a:gd name="T50" fmla="*/ 70 w 207"/>
                <a:gd name="T51" fmla="*/ 139 h 236"/>
                <a:gd name="T52" fmla="*/ 105 w 207"/>
                <a:gd name="T53" fmla="*/ 187 h 236"/>
                <a:gd name="T54" fmla="*/ 156 w 207"/>
                <a:gd name="T55" fmla="*/ 213 h 236"/>
                <a:gd name="T56" fmla="*/ 195 w 207"/>
                <a:gd name="T57" fmla="*/ 236 h 236"/>
                <a:gd name="T58" fmla="*/ 198 w 207"/>
                <a:gd name="T59" fmla="*/ 236 h 236"/>
                <a:gd name="T60" fmla="*/ 197 w 207"/>
                <a:gd name="T61" fmla="*/ 209 h 236"/>
                <a:gd name="T62" fmla="*/ 207 w 207"/>
                <a:gd name="T63" fmla="*/ 17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7" h="236">
                  <a:moveTo>
                    <a:pt x="207" y="175"/>
                  </a:moveTo>
                  <a:cubicBezTo>
                    <a:pt x="207" y="162"/>
                    <a:pt x="186" y="146"/>
                    <a:pt x="186" y="146"/>
                  </a:cubicBezTo>
                  <a:cubicBezTo>
                    <a:pt x="185" y="129"/>
                    <a:pt x="185" y="129"/>
                    <a:pt x="185" y="129"/>
                  </a:cubicBezTo>
                  <a:cubicBezTo>
                    <a:pt x="161" y="133"/>
                    <a:pt x="161" y="133"/>
                    <a:pt x="161" y="133"/>
                  </a:cubicBezTo>
                  <a:cubicBezTo>
                    <a:pt x="161" y="123"/>
                    <a:pt x="161" y="123"/>
                    <a:pt x="161" y="123"/>
                  </a:cubicBezTo>
                  <a:cubicBezTo>
                    <a:pt x="161" y="123"/>
                    <a:pt x="149" y="124"/>
                    <a:pt x="148" y="121"/>
                  </a:cubicBezTo>
                  <a:cubicBezTo>
                    <a:pt x="147" y="118"/>
                    <a:pt x="162" y="104"/>
                    <a:pt x="162" y="89"/>
                  </a:cubicBezTo>
                  <a:cubicBezTo>
                    <a:pt x="162" y="79"/>
                    <a:pt x="154" y="64"/>
                    <a:pt x="149" y="55"/>
                  </a:cubicBezTo>
                  <a:cubicBezTo>
                    <a:pt x="147" y="55"/>
                    <a:pt x="146" y="55"/>
                    <a:pt x="145" y="56"/>
                  </a:cubicBezTo>
                  <a:cubicBezTo>
                    <a:pt x="140" y="60"/>
                    <a:pt x="140" y="82"/>
                    <a:pt x="129" y="82"/>
                  </a:cubicBezTo>
                  <a:cubicBezTo>
                    <a:pt x="118" y="82"/>
                    <a:pt x="117" y="72"/>
                    <a:pt x="117" y="72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18" y="26"/>
                    <a:pt x="99" y="13"/>
                  </a:cubicBezTo>
                  <a:cubicBezTo>
                    <a:pt x="80" y="0"/>
                    <a:pt x="83" y="18"/>
                    <a:pt x="83" y="18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9" y="38"/>
                    <a:pt x="55" y="48"/>
                  </a:cubicBezTo>
                  <a:cubicBezTo>
                    <a:pt x="51" y="58"/>
                    <a:pt x="17" y="75"/>
                    <a:pt x="16" y="82"/>
                  </a:cubicBezTo>
                  <a:cubicBezTo>
                    <a:pt x="15" y="86"/>
                    <a:pt x="15" y="97"/>
                    <a:pt x="14" y="1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3" y="115"/>
                    <a:pt x="23" y="115"/>
                    <a:pt x="23" y="115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48" y="135"/>
                    <a:pt x="48" y="135"/>
                    <a:pt x="48" y="135"/>
                  </a:cubicBezTo>
                  <a:cubicBezTo>
                    <a:pt x="48" y="135"/>
                    <a:pt x="66" y="131"/>
                    <a:pt x="70" y="139"/>
                  </a:cubicBezTo>
                  <a:cubicBezTo>
                    <a:pt x="74" y="147"/>
                    <a:pt x="89" y="173"/>
                    <a:pt x="105" y="187"/>
                  </a:cubicBezTo>
                  <a:cubicBezTo>
                    <a:pt x="121" y="201"/>
                    <a:pt x="149" y="208"/>
                    <a:pt x="156" y="213"/>
                  </a:cubicBezTo>
                  <a:cubicBezTo>
                    <a:pt x="163" y="218"/>
                    <a:pt x="180" y="236"/>
                    <a:pt x="195" y="236"/>
                  </a:cubicBezTo>
                  <a:cubicBezTo>
                    <a:pt x="196" y="236"/>
                    <a:pt x="197" y="236"/>
                    <a:pt x="198" y="236"/>
                  </a:cubicBezTo>
                  <a:cubicBezTo>
                    <a:pt x="197" y="209"/>
                    <a:pt x="197" y="209"/>
                    <a:pt x="197" y="209"/>
                  </a:cubicBezTo>
                  <a:cubicBezTo>
                    <a:pt x="197" y="209"/>
                    <a:pt x="207" y="188"/>
                    <a:pt x="207" y="175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Freeform 280">
              <a:extLst>
                <a:ext uri="{FF2B5EF4-FFF2-40B4-BE49-F238E27FC236}">
                  <a16:creationId xmlns:a16="http://schemas.microsoft.com/office/drawing/2014/main" id="{DD8A8EBA-DF2D-37CB-D2A8-13058300EF43}"/>
                </a:ext>
              </a:extLst>
            </p:cNvPr>
            <p:cNvSpPr>
              <a:spLocks/>
            </p:cNvSpPr>
            <p:nvPr/>
          </p:nvSpPr>
          <p:spPr bwMode="gray">
            <a:xfrm>
              <a:off x="-7942" y="-11265"/>
              <a:ext cx="330" cy="423"/>
            </a:xfrm>
            <a:custGeom>
              <a:avLst/>
              <a:gdLst>
                <a:gd name="T0" fmla="*/ 126 w 140"/>
                <a:gd name="T1" fmla="*/ 122 h 179"/>
                <a:gd name="T2" fmla="*/ 126 w 140"/>
                <a:gd name="T3" fmla="*/ 108 h 179"/>
                <a:gd name="T4" fmla="*/ 140 w 140"/>
                <a:gd name="T5" fmla="*/ 105 h 179"/>
                <a:gd name="T6" fmla="*/ 138 w 140"/>
                <a:gd name="T7" fmla="*/ 88 h 179"/>
                <a:gd name="T8" fmla="*/ 119 w 140"/>
                <a:gd name="T9" fmla="*/ 99 h 179"/>
                <a:gd name="T10" fmla="*/ 120 w 140"/>
                <a:gd name="T11" fmla="*/ 86 h 179"/>
                <a:gd name="T12" fmla="*/ 131 w 140"/>
                <a:gd name="T13" fmla="*/ 70 h 179"/>
                <a:gd name="T14" fmla="*/ 120 w 140"/>
                <a:gd name="T15" fmla="*/ 50 h 179"/>
                <a:gd name="T16" fmla="*/ 123 w 140"/>
                <a:gd name="T17" fmla="*/ 41 h 179"/>
                <a:gd name="T18" fmla="*/ 95 w 140"/>
                <a:gd name="T19" fmla="*/ 0 h 179"/>
                <a:gd name="T20" fmla="*/ 69 w 140"/>
                <a:gd name="T21" fmla="*/ 0 h 179"/>
                <a:gd name="T22" fmla="*/ 65 w 140"/>
                <a:gd name="T23" fmla="*/ 12 h 179"/>
                <a:gd name="T24" fmla="*/ 40 w 140"/>
                <a:gd name="T25" fmla="*/ 12 h 179"/>
                <a:gd name="T26" fmla="*/ 9 w 140"/>
                <a:gd name="T27" fmla="*/ 54 h 179"/>
                <a:gd name="T28" fmla="*/ 0 w 140"/>
                <a:gd name="T29" fmla="*/ 59 h 179"/>
                <a:gd name="T30" fmla="*/ 9 w 140"/>
                <a:gd name="T31" fmla="*/ 66 h 179"/>
                <a:gd name="T32" fmla="*/ 1 w 140"/>
                <a:gd name="T33" fmla="*/ 84 h 179"/>
                <a:gd name="T34" fmla="*/ 16 w 140"/>
                <a:gd name="T35" fmla="*/ 103 h 179"/>
                <a:gd name="T36" fmla="*/ 15 w 140"/>
                <a:gd name="T37" fmla="*/ 121 h 179"/>
                <a:gd name="T38" fmla="*/ 29 w 140"/>
                <a:gd name="T39" fmla="*/ 132 h 179"/>
                <a:gd name="T40" fmla="*/ 37 w 140"/>
                <a:gd name="T41" fmla="*/ 148 h 179"/>
                <a:gd name="T42" fmla="*/ 65 w 140"/>
                <a:gd name="T43" fmla="*/ 157 h 179"/>
                <a:gd name="T44" fmla="*/ 85 w 140"/>
                <a:gd name="T45" fmla="*/ 179 h 179"/>
                <a:gd name="T46" fmla="*/ 87 w 140"/>
                <a:gd name="T47" fmla="*/ 156 h 179"/>
                <a:gd name="T48" fmla="*/ 126 w 140"/>
                <a:gd name="T49" fmla="*/ 12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0" h="179">
                  <a:moveTo>
                    <a:pt x="126" y="122"/>
                  </a:moveTo>
                  <a:cubicBezTo>
                    <a:pt x="130" y="112"/>
                    <a:pt x="126" y="108"/>
                    <a:pt x="126" y="108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38" y="88"/>
                    <a:pt x="138" y="88"/>
                    <a:pt x="138" y="88"/>
                  </a:cubicBezTo>
                  <a:cubicBezTo>
                    <a:pt x="119" y="99"/>
                    <a:pt x="119" y="99"/>
                    <a:pt x="119" y="99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31" y="78"/>
                    <a:pt x="131" y="70"/>
                  </a:cubicBezTo>
                  <a:cubicBezTo>
                    <a:pt x="131" y="62"/>
                    <a:pt x="120" y="50"/>
                    <a:pt x="120" y="50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21" y="54"/>
                    <a:pt x="9" y="54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9" y="66"/>
                    <a:pt x="1" y="75"/>
                    <a:pt x="1" y="84"/>
                  </a:cubicBezTo>
                  <a:cubicBezTo>
                    <a:pt x="1" y="93"/>
                    <a:pt x="16" y="103"/>
                    <a:pt x="16" y="103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29" y="132"/>
                    <a:pt x="29" y="132"/>
                    <a:pt x="29" y="132"/>
                  </a:cubicBezTo>
                  <a:cubicBezTo>
                    <a:pt x="29" y="132"/>
                    <a:pt x="28" y="139"/>
                    <a:pt x="37" y="148"/>
                  </a:cubicBezTo>
                  <a:cubicBezTo>
                    <a:pt x="46" y="157"/>
                    <a:pt x="65" y="157"/>
                    <a:pt x="65" y="157"/>
                  </a:cubicBezTo>
                  <a:cubicBezTo>
                    <a:pt x="85" y="179"/>
                    <a:pt x="85" y="179"/>
                    <a:pt x="85" y="179"/>
                  </a:cubicBezTo>
                  <a:cubicBezTo>
                    <a:pt x="86" y="171"/>
                    <a:pt x="86" y="160"/>
                    <a:pt x="87" y="156"/>
                  </a:cubicBezTo>
                  <a:cubicBezTo>
                    <a:pt x="88" y="149"/>
                    <a:pt x="122" y="132"/>
                    <a:pt x="126" y="122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Freeform 281">
              <a:extLst>
                <a:ext uri="{FF2B5EF4-FFF2-40B4-BE49-F238E27FC236}">
                  <a16:creationId xmlns:a16="http://schemas.microsoft.com/office/drawing/2014/main" id="{79EAB5DD-6AA7-FE8A-1F26-89B99AAAFB6D}"/>
                </a:ext>
              </a:extLst>
            </p:cNvPr>
            <p:cNvSpPr>
              <a:spLocks/>
            </p:cNvSpPr>
            <p:nvPr/>
          </p:nvSpPr>
          <p:spPr bwMode="gray">
            <a:xfrm>
              <a:off x="-3511" y="-6361"/>
              <a:ext cx="262" cy="270"/>
            </a:xfrm>
            <a:custGeom>
              <a:avLst/>
              <a:gdLst>
                <a:gd name="T0" fmla="*/ 0 w 111"/>
                <a:gd name="T1" fmla="*/ 58 h 114"/>
                <a:gd name="T2" fmla="*/ 17 w 111"/>
                <a:gd name="T3" fmla="*/ 83 h 114"/>
                <a:gd name="T4" fmla="*/ 17 w 111"/>
                <a:gd name="T5" fmla="*/ 94 h 114"/>
                <a:gd name="T6" fmla="*/ 35 w 111"/>
                <a:gd name="T7" fmla="*/ 114 h 114"/>
                <a:gd name="T8" fmla="*/ 50 w 111"/>
                <a:gd name="T9" fmla="*/ 113 h 114"/>
                <a:gd name="T10" fmla="*/ 61 w 111"/>
                <a:gd name="T11" fmla="*/ 89 h 114"/>
                <a:gd name="T12" fmla="*/ 82 w 111"/>
                <a:gd name="T13" fmla="*/ 85 h 114"/>
                <a:gd name="T14" fmla="*/ 99 w 111"/>
                <a:gd name="T15" fmla="*/ 75 h 114"/>
                <a:gd name="T16" fmla="*/ 96 w 111"/>
                <a:gd name="T17" fmla="*/ 63 h 114"/>
                <a:gd name="T18" fmla="*/ 111 w 111"/>
                <a:gd name="T19" fmla="*/ 50 h 114"/>
                <a:gd name="T20" fmla="*/ 110 w 111"/>
                <a:gd name="T21" fmla="*/ 34 h 114"/>
                <a:gd name="T22" fmla="*/ 100 w 111"/>
                <a:gd name="T23" fmla="*/ 31 h 114"/>
                <a:gd name="T24" fmla="*/ 83 w 111"/>
                <a:gd name="T25" fmla="*/ 6 h 114"/>
                <a:gd name="T26" fmla="*/ 62 w 111"/>
                <a:gd name="T27" fmla="*/ 5 h 114"/>
                <a:gd name="T28" fmla="*/ 54 w 111"/>
                <a:gd name="T29" fmla="*/ 8 h 114"/>
                <a:gd name="T30" fmla="*/ 53 w 111"/>
                <a:gd name="T31" fmla="*/ 18 h 114"/>
                <a:gd name="T32" fmla="*/ 38 w 111"/>
                <a:gd name="T33" fmla="*/ 19 h 114"/>
                <a:gd name="T34" fmla="*/ 31 w 111"/>
                <a:gd name="T35" fmla="*/ 33 h 114"/>
                <a:gd name="T36" fmla="*/ 19 w 111"/>
                <a:gd name="T37" fmla="*/ 46 h 114"/>
                <a:gd name="T38" fmla="*/ 17 w 111"/>
                <a:gd name="T39" fmla="*/ 56 h 114"/>
                <a:gd name="T40" fmla="*/ 0 w 111"/>
                <a:gd name="T41" fmla="*/ 58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1" h="114">
                  <a:moveTo>
                    <a:pt x="0" y="58"/>
                  </a:moveTo>
                  <a:cubicBezTo>
                    <a:pt x="17" y="83"/>
                    <a:pt x="17" y="83"/>
                    <a:pt x="17" y="83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0" y="113"/>
                    <a:pt x="51" y="93"/>
                    <a:pt x="61" y="89"/>
                  </a:cubicBezTo>
                  <a:cubicBezTo>
                    <a:pt x="71" y="85"/>
                    <a:pt x="74" y="87"/>
                    <a:pt x="82" y="85"/>
                  </a:cubicBezTo>
                  <a:cubicBezTo>
                    <a:pt x="90" y="83"/>
                    <a:pt x="99" y="75"/>
                    <a:pt x="99" y="75"/>
                  </a:cubicBezTo>
                  <a:cubicBezTo>
                    <a:pt x="96" y="63"/>
                    <a:pt x="96" y="63"/>
                    <a:pt x="96" y="63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0" y="31"/>
                    <a:pt x="88" y="12"/>
                    <a:pt x="83" y="6"/>
                  </a:cubicBezTo>
                  <a:cubicBezTo>
                    <a:pt x="78" y="0"/>
                    <a:pt x="62" y="5"/>
                    <a:pt x="62" y="5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8"/>
                    <a:pt x="43" y="15"/>
                    <a:pt x="38" y="19"/>
                  </a:cubicBezTo>
                  <a:cubicBezTo>
                    <a:pt x="33" y="23"/>
                    <a:pt x="31" y="33"/>
                    <a:pt x="31" y="33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56"/>
                    <a:pt x="17" y="56"/>
                    <a:pt x="17" y="56"/>
                  </a:cubicBezTo>
                  <a:lnTo>
                    <a:pt x="0" y="58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Freeform 282">
              <a:extLst>
                <a:ext uri="{FF2B5EF4-FFF2-40B4-BE49-F238E27FC236}">
                  <a16:creationId xmlns:a16="http://schemas.microsoft.com/office/drawing/2014/main" id="{2D1B2D28-3B25-6C67-EABE-AFE74563F33C}"/>
                </a:ext>
              </a:extLst>
            </p:cNvPr>
            <p:cNvSpPr>
              <a:spLocks/>
            </p:cNvSpPr>
            <p:nvPr/>
          </p:nvSpPr>
          <p:spPr bwMode="gray">
            <a:xfrm>
              <a:off x="-5488" y="-10284"/>
              <a:ext cx="664" cy="800"/>
            </a:xfrm>
            <a:custGeom>
              <a:avLst/>
              <a:gdLst>
                <a:gd name="T0" fmla="*/ 261 w 281"/>
                <a:gd name="T1" fmla="*/ 153 h 339"/>
                <a:gd name="T2" fmla="*/ 244 w 281"/>
                <a:gd name="T3" fmla="*/ 140 h 339"/>
                <a:gd name="T4" fmla="*/ 254 w 281"/>
                <a:gd name="T5" fmla="*/ 100 h 339"/>
                <a:gd name="T6" fmla="*/ 273 w 281"/>
                <a:gd name="T7" fmla="*/ 74 h 339"/>
                <a:gd name="T8" fmla="*/ 263 w 281"/>
                <a:gd name="T9" fmla="*/ 56 h 339"/>
                <a:gd name="T10" fmla="*/ 229 w 281"/>
                <a:gd name="T11" fmla="*/ 62 h 339"/>
                <a:gd name="T12" fmla="*/ 210 w 281"/>
                <a:gd name="T13" fmla="*/ 36 h 339"/>
                <a:gd name="T14" fmla="*/ 220 w 281"/>
                <a:gd name="T15" fmla="*/ 4 h 339"/>
                <a:gd name="T16" fmla="*/ 177 w 281"/>
                <a:gd name="T17" fmla="*/ 1 h 339"/>
                <a:gd name="T18" fmla="*/ 147 w 281"/>
                <a:gd name="T19" fmla="*/ 9 h 339"/>
                <a:gd name="T20" fmla="*/ 125 w 281"/>
                <a:gd name="T21" fmla="*/ 10 h 339"/>
                <a:gd name="T22" fmla="*/ 128 w 281"/>
                <a:gd name="T23" fmla="*/ 37 h 339"/>
                <a:gd name="T24" fmla="*/ 56 w 281"/>
                <a:gd name="T25" fmla="*/ 75 h 339"/>
                <a:gd name="T26" fmla="*/ 46 w 281"/>
                <a:gd name="T27" fmla="*/ 71 h 339"/>
                <a:gd name="T28" fmla="*/ 40 w 281"/>
                <a:gd name="T29" fmla="*/ 77 h 339"/>
                <a:gd name="T30" fmla="*/ 30 w 281"/>
                <a:gd name="T31" fmla="*/ 107 h 339"/>
                <a:gd name="T32" fmla="*/ 0 w 281"/>
                <a:gd name="T33" fmla="*/ 166 h 339"/>
                <a:gd name="T34" fmla="*/ 28 w 281"/>
                <a:gd name="T35" fmla="*/ 195 h 339"/>
                <a:gd name="T36" fmla="*/ 27 w 281"/>
                <a:gd name="T37" fmla="*/ 228 h 339"/>
                <a:gd name="T38" fmla="*/ 46 w 281"/>
                <a:gd name="T39" fmla="*/ 259 h 339"/>
                <a:gd name="T40" fmla="*/ 61 w 281"/>
                <a:gd name="T41" fmla="*/ 271 h 339"/>
                <a:gd name="T42" fmla="*/ 91 w 281"/>
                <a:gd name="T43" fmla="*/ 311 h 339"/>
                <a:gd name="T44" fmla="*/ 114 w 281"/>
                <a:gd name="T45" fmla="*/ 339 h 339"/>
                <a:gd name="T46" fmla="*/ 133 w 281"/>
                <a:gd name="T47" fmla="*/ 317 h 339"/>
                <a:gd name="T48" fmla="*/ 152 w 281"/>
                <a:gd name="T49" fmla="*/ 304 h 339"/>
                <a:gd name="T50" fmla="*/ 149 w 281"/>
                <a:gd name="T51" fmla="*/ 287 h 339"/>
                <a:gd name="T52" fmla="*/ 139 w 281"/>
                <a:gd name="T53" fmla="*/ 274 h 339"/>
                <a:gd name="T54" fmla="*/ 172 w 281"/>
                <a:gd name="T55" fmla="*/ 257 h 339"/>
                <a:gd name="T56" fmla="*/ 178 w 281"/>
                <a:gd name="T57" fmla="*/ 225 h 339"/>
                <a:gd name="T58" fmla="*/ 204 w 281"/>
                <a:gd name="T59" fmla="*/ 255 h 339"/>
                <a:gd name="T60" fmla="*/ 241 w 281"/>
                <a:gd name="T61" fmla="*/ 239 h 339"/>
                <a:gd name="T62" fmla="*/ 260 w 281"/>
                <a:gd name="T63" fmla="*/ 244 h 339"/>
                <a:gd name="T64" fmla="*/ 269 w 281"/>
                <a:gd name="T65" fmla="*/ 212 h 339"/>
                <a:gd name="T66" fmla="*/ 272 w 281"/>
                <a:gd name="T67" fmla="*/ 171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1" h="339">
                  <a:moveTo>
                    <a:pt x="279" y="160"/>
                  </a:moveTo>
                  <a:cubicBezTo>
                    <a:pt x="277" y="154"/>
                    <a:pt x="261" y="153"/>
                    <a:pt x="261" y="153"/>
                  </a:cubicBezTo>
                  <a:cubicBezTo>
                    <a:pt x="256" y="141"/>
                    <a:pt x="256" y="141"/>
                    <a:pt x="256" y="141"/>
                  </a:cubicBezTo>
                  <a:cubicBezTo>
                    <a:pt x="244" y="140"/>
                    <a:pt x="244" y="140"/>
                    <a:pt x="244" y="140"/>
                  </a:cubicBezTo>
                  <a:cubicBezTo>
                    <a:pt x="245" y="116"/>
                    <a:pt x="245" y="116"/>
                    <a:pt x="245" y="116"/>
                  </a:cubicBezTo>
                  <a:cubicBezTo>
                    <a:pt x="254" y="100"/>
                    <a:pt x="254" y="100"/>
                    <a:pt x="254" y="100"/>
                  </a:cubicBezTo>
                  <a:cubicBezTo>
                    <a:pt x="254" y="100"/>
                    <a:pt x="261" y="101"/>
                    <a:pt x="267" y="94"/>
                  </a:cubicBezTo>
                  <a:cubicBezTo>
                    <a:pt x="273" y="87"/>
                    <a:pt x="273" y="74"/>
                    <a:pt x="273" y="74"/>
                  </a:cubicBezTo>
                  <a:cubicBezTo>
                    <a:pt x="267" y="70"/>
                    <a:pt x="267" y="70"/>
                    <a:pt x="267" y="70"/>
                  </a:cubicBezTo>
                  <a:cubicBezTo>
                    <a:pt x="267" y="70"/>
                    <a:pt x="266" y="60"/>
                    <a:pt x="263" y="56"/>
                  </a:cubicBezTo>
                  <a:cubicBezTo>
                    <a:pt x="260" y="52"/>
                    <a:pt x="248" y="47"/>
                    <a:pt x="243" y="47"/>
                  </a:cubicBezTo>
                  <a:cubicBezTo>
                    <a:pt x="238" y="47"/>
                    <a:pt x="238" y="62"/>
                    <a:pt x="229" y="62"/>
                  </a:cubicBezTo>
                  <a:cubicBezTo>
                    <a:pt x="220" y="62"/>
                    <a:pt x="212" y="57"/>
                    <a:pt x="212" y="57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20" y="14"/>
                    <a:pt x="220" y="14"/>
                    <a:pt x="220" y="14"/>
                  </a:cubicBezTo>
                  <a:cubicBezTo>
                    <a:pt x="220" y="4"/>
                    <a:pt x="220" y="4"/>
                    <a:pt x="220" y="4"/>
                  </a:cubicBezTo>
                  <a:cubicBezTo>
                    <a:pt x="188" y="5"/>
                    <a:pt x="188" y="5"/>
                    <a:pt x="188" y="5"/>
                  </a:cubicBezTo>
                  <a:cubicBezTo>
                    <a:pt x="188" y="5"/>
                    <a:pt x="181" y="1"/>
                    <a:pt x="177" y="1"/>
                  </a:cubicBezTo>
                  <a:cubicBezTo>
                    <a:pt x="173" y="1"/>
                    <a:pt x="168" y="9"/>
                    <a:pt x="168" y="9"/>
                  </a:cubicBezTo>
                  <a:cubicBezTo>
                    <a:pt x="147" y="9"/>
                    <a:pt x="147" y="9"/>
                    <a:pt x="147" y="9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72"/>
                    <a:pt x="123" y="73"/>
                  </a:cubicBezTo>
                  <a:cubicBezTo>
                    <a:pt x="118" y="74"/>
                    <a:pt x="56" y="75"/>
                    <a:pt x="56" y="75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7" y="72"/>
                    <a:pt x="48" y="72"/>
                    <a:pt x="48" y="72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0" y="77"/>
                    <a:pt x="49" y="105"/>
                    <a:pt x="45" y="107"/>
                  </a:cubicBezTo>
                  <a:cubicBezTo>
                    <a:pt x="41" y="109"/>
                    <a:pt x="30" y="107"/>
                    <a:pt x="30" y="107"/>
                  </a:cubicBezTo>
                  <a:cubicBezTo>
                    <a:pt x="30" y="107"/>
                    <a:pt x="33" y="148"/>
                    <a:pt x="23" y="159"/>
                  </a:cubicBezTo>
                  <a:cubicBezTo>
                    <a:pt x="13" y="170"/>
                    <a:pt x="0" y="166"/>
                    <a:pt x="0" y="166"/>
                  </a:cubicBezTo>
                  <a:cubicBezTo>
                    <a:pt x="17" y="203"/>
                    <a:pt x="17" y="203"/>
                    <a:pt x="17" y="203"/>
                  </a:cubicBezTo>
                  <a:cubicBezTo>
                    <a:pt x="28" y="195"/>
                    <a:pt x="28" y="195"/>
                    <a:pt x="28" y="195"/>
                  </a:cubicBezTo>
                  <a:cubicBezTo>
                    <a:pt x="34" y="208"/>
                    <a:pt x="34" y="208"/>
                    <a:pt x="34" y="208"/>
                  </a:cubicBezTo>
                  <a:cubicBezTo>
                    <a:pt x="34" y="208"/>
                    <a:pt x="25" y="221"/>
                    <a:pt x="27" y="228"/>
                  </a:cubicBezTo>
                  <a:cubicBezTo>
                    <a:pt x="29" y="235"/>
                    <a:pt x="42" y="232"/>
                    <a:pt x="42" y="232"/>
                  </a:cubicBezTo>
                  <a:cubicBezTo>
                    <a:pt x="46" y="259"/>
                    <a:pt x="46" y="259"/>
                    <a:pt x="46" y="259"/>
                  </a:cubicBezTo>
                  <a:cubicBezTo>
                    <a:pt x="66" y="263"/>
                    <a:pt x="66" y="263"/>
                    <a:pt x="66" y="263"/>
                  </a:cubicBezTo>
                  <a:cubicBezTo>
                    <a:pt x="61" y="271"/>
                    <a:pt x="61" y="271"/>
                    <a:pt x="61" y="271"/>
                  </a:cubicBezTo>
                  <a:cubicBezTo>
                    <a:pt x="94" y="306"/>
                    <a:pt x="94" y="306"/>
                    <a:pt x="94" y="306"/>
                  </a:cubicBezTo>
                  <a:cubicBezTo>
                    <a:pt x="91" y="311"/>
                    <a:pt x="91" y="311"/>
                    <a:pt x="91" y="311"/>
                  </a:cubicBezTo>
                  <a:cubicBezTo>
                    <a:pt x="113" y="338"/>
                    <a:pt x="113" y="338"/>
                    <a:pt x="113" y="338"/>
                  </a:cubicBezTo>
                  <a:cubicBezTo>
                    <a:pt x="114" y="339"/>
                    <a:pt x="114" y="339"/>
                    <a:pt x="114" y="339"/>
                  </a:cubicBezTo>
                  <a:cubicBezTo>
                    <a:pt x="119" y="326"/>
                    <a:pt x="119" y="326"/>
                    <a:pt x="119" y="326"/>
                  </a:cubicBezTo>
                  <a:cubicBezTo>
                    <a:pt x="133" y="317"/>
                    <a:pt x="133" y="317"/>
                    <a:pt x="133" y="317"/>
                  </a:cubicBezTo>
                  <a:cubicBezTo>
                    <a:pt x="133" y="317"/>
                    <a:pt x="148" y="335"/>
                    <a:pt x="152" y="326"/>
                  </a:cubicBezTo>
                  <a:cubicBezTo>
                    <a:pt x="156" y="317"/>
                    <a:pt x="152" y="304"/>
                    <a:pt x="152" y="304"/>
                  </a:cubicBezTo>
                  <a:cubicBezTo>
                    <a:pt x="140" y="296"/>
                    <a:pt x="140" y="296"/>
                    <a:pt x="140" y="296"/>
                  </a:cubicBezTo>
                  <a:cubicBezTo>
                    <a:pt x="149" y="287"/>
                    <a:pt x="149" y="287"/>
                    <a:pt x="149" y="287"/>
                  </a:cubicBezTo>
                  <a:cubicBezTo>
                    <a:pt x="132" y="274"/>
                    <a:pt x="132" y="274"/>
                    <a:pt x="132" y="274"/>
                  </a:cubicBezTo>
                  <a:cubicBezTo>
                    <a:pt x="139" y="274"/>
                    <a:pt x="139" y="274"/>
                    <a:pt x="139" y="274"/>
                  </a:cubicBezTo>
                  <a:cubicBezTo>
                    <a:pt x="139" y="274"/>
                    <a:pt x="132" y="249"/>
                    <a:pt x="138" y="251"/>
                  </a:cubicBezTo>
                  <a:cubicBezTo>
                    <a:pt x="144" y="253"/>
                    <a:pt x="168" y="262"/>
                    <a:pt x="172" y="257"/>
                  </a:cubicBezTo>
                  <a:cubicBezTo>
                    <a:pt x="176" y="252"/>
                    <a:pt x="185" y="244"/>
                    <a:pt x="185" y="244"/>
                  </a:cubicBezTo>
                  <a:cubicBezTo>
                    <a:pt x="185" y="244"/>
                    <a:pt x="172" y="226"/>
                    <a:pt x="178" y="225"/>
                  </a:cubicBezTo>
                  <a:cubicBezTo>
                    <a:pt x="184" y="224"/>
                    <a:pt x="195" y="226"/>
                    <a:pt x="195" y="226"/>
                  </a:cubicBezTo>
                  <a:cubicBezTo>
                    <a:pt x="204" y="255"/>
                    <a:pt x="204" y="255"/>
                    <a:pt x="204" y="255"/>
                  </a:cubicBezTo>
                  <a:cubicBezTo>
                    <a:pt x="204" y="255"/>
                    <a:pt x="218" y="256"/>
                    <a:pt x="226" y="254"/>
                  </a:cubicBezTo>
                  <a:cubicBezTo>
                    <a:pt x="234" y="252"/>
                    <a:pt x="237" y="236"/>
                    <a:pt x="241" y="239"/>
                  </a:cubicBezTo>
                  <a:cubicBezTo>
                    <a:pt x="245" y="242"/>
                    <a:pt x="238" y="264"/>
                    <a:pt x="248" y="264"/>
                  </a:cubicBezTo>
                  <a:cubicBezTo>
                    <a:pt x="258" y="264"/>
                    <a:pt x="260" y="258"/>
                    <a:pt x="260" y="244"/>
                  </a:cubicBezTo>
                  <a:cubicBezTo>
                    <a:pt x="260" y="230"/>
                    <a:pt x="273" y="226"/>
                    <a:pt x="273" y="226"/>
                  </a:cubicBezTo>
                  <a:cubicBezTo>
                    <a:pt x="269" y="212"/>
                    <a:pt x="269" y="212"/>
                    <a:pt x="269" y="212"/>
                  </a:cubicBezTo>
                  <a:cubicBezTo>
                    <a:pt x="273" y="201"/>
                    <a:pt x="273" y="201"/>
                    <a:pt x="273" y="201"/>
                  </a:cubicBezTo>
                  <a:cubicBezTo>
                    <a:pt x="272" y="171"/>
                    <a:pt x="272" y="171"/>
                    <a:pt x="272" y="171"/>
                  </a:cubicBezTo>
                  <a:cubicBezTo>
                    <a:pt x="272" y="171"/>
                    <a:pt x="281" y="166"/>
                    <a:pt x="279" y="160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5" name="Freeform 283">
              <a:extLst>
                <a:ext uri="{FF2B5EF4-FFF2-40B4-BE49-F238E27FC236}">
                  <a16:creationId xmlns:a16="http://schemas.microsoft.com/office/drawing/2014/main" id="{8177C03A-92A3-C093-4D51-81A277377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-3083" y="-6717"/>
              <a:ext cx="172" cy="205"/>
            </a:xfrm>
            <a:custGeom>
              <a:avLst/>
              <a:gdLst>
                <a:gd name="T0" fmla="*/ 59 w 73"/>
                <a:gd name="T1" fmla="*/ 35 h 87"/>
                <a:gd name="T2" fmla="*/ 62 w 73"/>
                <a:gd name="T3" fmla="*/ 11 h 87"/>
                <a:gd name="T4" fmla="*/ 46 w 73"/>
                <a:gd name="T5" fmla="*/ 14 h 87"/>
                <a:gd name="T6" fmla="*/ 27 w 73"/>
                <a:gd name="T7" fmla="*/ 0 h 87"/>
                <a:gd name="T8" fmla="*/ 11 w 73"/>
                <a:gd name="T9" fmla="*/ 29 h 87"/>
                <a:gd name="T10" fmla="*/ 2 w 73"/>
                <a:gd name="T11" fmla="*/ 58 h 87"/>
                <a:gd name="T12" fmla="*/ 34 w 73"/>
                <a:gd name="T13" fmla="*/ 86 h 87"/>
                <a:gd name="T14" fmla="*/ 56 w 73"/>
                <a:gd name="T15" fmla="*/ 87 h 87"/>
                <a:gd name="T16" fmla="*/ 63 w 73"/>
                <a:gd name="T17" fmla="*/ 62 h 87"/>
                <a:gd name="T18" fmla="*/ 73 w 73"/>
                <a:gd name="T19" fmla="*/ 58 h 87"/>
                <a:gd name="T20" fmla="*/ 69 w 73"/>
                <a:gd name="T21" fmla="*/ 42 h 87"/>
                <a:gd name="T22" fmla="*/ 59 w 73"/>
                <a:gd name="T23" fmla="*/ 3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87">
                  <a:moveTo>
                    <a:pt x="59" y="35"/>
                  </a:moveTo>
                  <a:cubicBezTo>
                    <a:pt x="57" y="28"/>
                    <a:pt x="62" y="11"/>
                    <a:pt x="62" y="11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34" y="0"/>
                    <a:pt x="27" y="0"/>
                  </a:cubicBezTo>
                  <a:cubicBezTo>
                    <a:pt x="20" y="0"/>
                    <a:pt x="14" y="25"/>
                    <a:pt x="11" y="29"/>
                  </a:cubicBezTo>
                  <a:cubicBezTo>
                    <a:pt x="8" y="33"/>
                    <a:pt x="0" y="46"/>
                    <a:pt x="2" y="58"/>
                  </a:cubicBezTo>
                  <a:cubicBezTo>
                    <a:pt x="4" y="70"/>
                    <a:pt x="27" y="86"/>
                    <a:pt x="34" y="86"/>
                  </a:cubicBezTo>
                  <a:cubicBezTo>
                    <a:pt x="41" y="86"/>
                    <a:pt x="56" y="87"/>
                    <a:pt x="56" y="87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63" y="62"/>
                    <a:pt x="68" y="59"/>
                    <a:pt x="73" y="58"/>
                  </a:cubicBezTo>
                  <a:cubicBezTo>
                    <a:pt x="69" y="42"/>
                    <a:pt x="69" y="42"/>
                    <a:pt x="69" y="42"/>
                  </a:cubicBezTo>
                  <a:cubicBezTo>
                    <a:pt x="69" y="42"/>
                    <a:pt x="62" y="42"/>
                    <a:pt x="59" y="35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284">
              <a:extLst>
                <a:ext uri="{FF2B5EF4-FFF2-40B4-BE49-F238E27FC236}">
                  <a16:creationId xmlns:a16="http://schemas.microsoft.com/office/drawing/2014/main" id="{E6A68B9B-CDDB-99BC-D166-244514A87B53}"/>
                </a:ext>
              </a:extLst>
            </p:cNvPr>
            <p:cNvSpPr>
              <a:spLocks/>
            </p:cNvSpPr>
            <p:nvPr/>
          </p:nvSpPr>
          <p:spPr bwMode="gray">
            <a:xfrm>
              <a:off x="-5157" y="-7830"/>
              <a:ext cx="1500" cy="1531"/>
            </a:xfrm>
            <a:custGeom>
              <a:avLst/>
              <a:gdLst>
                <a:gd name="T0" fmla="*/ 257 w 635"/>
                <a:gd name="T1" fmla="*/ 609 h 648"/>
                <a:gd name="T2" fmla="*/ 281 w 635"/>
                <a:gd name="T3" fmla="*/ 636 h 648"/>
                <a:gd name="T4" fmla="*/ 304 w 635"/>
                <a:gd name="T5" fmla="*/ 648 h 648"/>
                <a:gd name="T6" fmla="*/ 330 w 635"/>
                <a:gd name="T7" fmla="*/ 646 h 648"/>
                <a:gd name="T8" fmla="*/ 345 w 635"/>
                <a:gd name="T9" fmla="*/ 632 h 648"/>
                <a:gd name="T10" fmla="*/ 358 w 635"/>
                <a:gd name="T11" fmla="*/ 622 h 648"/>
                <a:gd name="T12" fmla="*/ 384 w 635"/>
                <a:gd name="T13" fmla="*/ 273 h 648"/>
                <a:gd name="T14" fmla="*/ 431 w 635"/>
                <a:gd name="T15" fmla="*/ 192 h 648"/>
                <a:gd name="T16" fmla="*/ 435 w 635"/>
                <a:gd name="T17" fmla="*/ 71 h 648"/>
                <a:gd name="T18" fmla="*/ 541 w 635"/>
                <a:gd name="T19" fmla="*/ 55 h 648"/>
                <a:gd name="T20" fmla="*/ 554 w 635"/>
                <a:gd name="T21" fmla="*/ 69 h 648"/>
                <a:gd name="T22" fmla="*/ 577 w 635"/>
                <a:gd name="T23" fmla="*/ 63 h 648"/>
                <a:gd name="T24" fmla="*/ 601 w 635"/>
                <a:gd name="T25" fmla="*/ 55 h 648"/>
                <a:gd name="T26" fmla="*/ 635 w 635"/>
                <a:gd name="T27" fmla="*/ 45 h 648"/>
                <a:gd name="T28" fmla="*/ 602 w 635"/>
                <a:gd name="T29" fmla="*/ 34 h 648"/>
                <a:gd name="T30" fmla="*/ 576 w 635"/>
                <a:gd name="T31" fmla="*/ 31 h 648"/>
                <a:gd name="T32" fmla="*/ 548 w 635"/>
                <a:gd name="T33" fmla="*/ 35 h 648"/>
                <a:gd name="T34" fmla="*/ 414 w 635"/>
                <a:gd name="T35" fmla="*/ 55 h 648"/>
                <a:gd name="T36" fmla="*/ 362 w 635"/>
                <a:gd name="T37" fmla="*/ 50 h 648"/>
                <a:gd name="T38" fmla="*/ 335 w 635"/>
                <a:gd name="T39" fmla="*/ 44 h 648"/>
                <a:gd name="T40" fmla="*/ 116 w 635"/>
                <a:gd name="T41" fmla="*/ 25 h 648"/>
                <a:gd name="T42" fmla="*/ 58 w 635"/>
                <a:gd name="T43" fmla="*/ 0 h 648"/>
                <a:gd name="T44" fmla="*/ 28 w 635"/>
                <a:gd name="T45" fmla="*/ 16 h 648"/>
                <a:gd name="T46" fmla="*/ 10 w 635"/>
                <a:gd name="T47" fmla="*/ 15 h 648"/>
                <a:gd name="T48" fmla="*/ 4 w 635"/>
                <a:gd name="T49" fmla="*/ 62 h 648"/>
                <a:gd name="T50" fmla="*/ 65 w 635"/>
                <a:gd name="T51" fmla="*/ 170 h 648"/>
                <a:gd name="T52" fmla="*/ 102 w 635"/>
                <a:gd name="T53" fmla="*/ 245 h 648"/>
                <a:gd name="T54" fmla="*/ 131 w 635"/>
                <a:gd name="T55" fmla="*/ 296 h 648"/>
                <a:gd name="T56" fmla="*/ 146 w 635"/>
                <a:gd name="T57" fmla="*/ 431 h 648"/>
                <a:gd name="T58" fmla="*/ 149 w 635"/>
                <a:gd name="T59" fmla="*/ 484 h 648"/>
                <a:gd name="T60" fmla="*/ 159 w 635"/>
                <a:gd name="T61" fmla="*/ 508 h 648"/>
                <a:gd name="T62" fmla="*/ 168 w 635"/>
                <a:gd name="T63" fmla="*/ 544 h 648"/>
                <a:gd name="T64" fmla="*/ 190 w 635"/>
                <a:gd name="T65" fmla="*/ 606 h 648"/>
                <a:gd name="T66" fmla="*/ 216 w 635"/>
                <a:gd name="T67" fmla="*/ 625 h 648"/>
                <a:gd name="T68" fmla="*/ 243 w 635"/>
                <a:gd name="T69" fmla="*/ 596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35" h="648">
                  <a:moveTo>
                    <a:pt x="243" y="596"/>
                  </a:moveTo>
                  <a:cubicBezTo>
                    <a:pt x="247" y="597"/>
                    <a:pt x="257" y="609"/>
                    <a:pt x="257" y="609"/>
                  </a:cubicBezTo>
                  <a:cubicBezTo>
                    <a:pt x="257" y="609"/>
                    <a:pt x="256" y="624"/>
                    <a:pt x="261" y="631"/>
                  </a:cubicBezTo>
                  <a:cubicBezTo>
                    <a:pt x="265" y="638"/>
                    <a:pt x="274" y="632"/>
                    <a:pt x="281" y="636"/>
                  </a:cubicBezTo>
                  <a:cubicBezTo>
                    <a:pt x="288" y="640"/>
                    <a:pt x="292" y="648"/>
                    <a:pt x="292" y="648"/>
                  </a:cubicBezTo>
                  <a:cubicBezTo>
                    <a:pt x="304" y="648"/>
                    <a:pt x="304" y="648"/>
                    <a:pt x="304" y="648"/>
                  </a:cubicBezTo>
                  <a:cubicBezTo>
                    <a:pt x="304" y="648"/>
                    <a:pt x="310" y="640"/>
                    <a:pt x="318" y="640"/>
                  </a:cubicBezTo>
                  <a:cubicBezTo>
                    <a:pt x="326" y="640"/>
                    <a:pt x="330" y="646"/>
                    <a:pt x="330" y="646"/>
                  </a:cubicBezTo>
                  <a:cubicBezTo>
                    <a:pt x="330" y="646"/>
                    <a:pt x="337" y="646"/>
                    <a:pt x="342" y="646"/>
                  </a:cubicBezTo>
                  <a:cubicBezTo>
                    <a:pt x="348" y="646"/>
                    <a:pt x="345" y="632"/>
                    <a:pt x="345" y="632"/>
                  </a:cubicBezTo>
                  <a:cubicBezTo>
                    <a:pt x="353" y="630"/>
                    <a:pt x="353" y="630"/>
                    <a:pt x="353" y="630"/>
                  </a:cubicBezTo>
                  <a:cubicBezTo>
                    <a:pt x="353" y="630"/>
                    <a:pt x="351" y="625"/>
                    <a:pt x="358" y="622"/>
                  </a:cubicBezTo>
                  <a:cubicBezTo>
                    <a:pt x="365" y="619"/>
                    <a:pt x="379" y="618"/>
                    <a:pt x="379" y="618"/>
                  </a:cubicBezTo>
                  <a:cubicBezTo>
                    <a:pt x="384" y="273"/>
                    <a:pt x="384" y="273"/>
                    <a:pt x="384" y="273"/>
                  </a:cubicBezTo>
                  <a:cubicBezTo>
                    <a:pt x="432" y="273"/>
                    <a:pt x="432" y="273"/>
                    <a:pt x="432" y="273"/>
                  </a:cubicBezTo>
                  <a:cubicBezTo>
                    <a:pt x="431" y="192"/>
                    <a:pt x="431" y="192"/>
                    <a:pt x="431" y="192"/>
                  </a:cubicBezTo>
                  <a:cubicBezTo>
                    <a:pt x="435" y="188"/>
                    <a:pt x="435" y="188"/>
                    <a:pt x="435" y="188"/>
                  </a:cubicBezTo>
                  <a:cubicBezTo>
                    <a:pt x="435" y="71"/>
                    <a:pt x="435" y="71"/>
                    <a:pt x="435" y="71"/>
                  </a:cubicBezTo>
                  <a:cubicBezTo>
                    <a:pt x="435" y="71"/>
                    <a:pt x="474" y="68"/>
                    <a:pt x="496" y="65"/>
                  </a:cubicBezTo>
                  <a:cubicBezTo>
                    <a:pt x="517" y="63"/>
                    <a:pt x="533" y="55"/>
                    <a:pt x="541" y="55"/>
                  </a:cubicBezTo>
                  <a:cubicBezTo>
                    <a:pt x="550" y="55"/>
                    <a:pt x="548" y="69"/>
                    <a:pt x="548" y="69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6" y="83"/>
                    <a:pt x="559" y="82"/>
                  </a:cubicBezTo>
                  <a:cubicBezTo>
                    <a:pt x="562" y="81"/>
                    <a:pt x="572" y="68"/>
                    <a:pt x="577" y="63"/>
                  </a:cubicBezTo>
                  <a:cubicBezTo>
                    <a:pt x="583" y="57"/>
                    <a:pt x="593" y="55"/>
                    <a:pt x="593" y="55"/>
                  </a:cubicBezTo>
                  <a:cubicBezTo>
                    <a:pt x="601" y="55"/>
                    <a:pt x="601" y="55"/>
                    <a:pt x="601" y="55"/>
                  </a:cubicBezTo>
                  <a:cubicBezTo>
                    <a:pt x="612" y="47"/>
                    <a:pt x="612" y="47"/>
                    <a:pt x="612" y="47"/>
                  </a:cubicBezTo>
                  <a:cubicBezTo>
                    <a:pt x="635" y="45"/>
                    <a:pt x="635" y="45"/>
                    <a:pt x="635" y="45"/>
                  </a:cubicBezTo>
                  <a:cubicBezTo>
                    <a:pt x="622" y="32"/>
                    <a:pt x="622" y="32"/>
                    <a:pt x="622" y="32"/>
                  </a:cubicBezTo>
                  <a:cubicBezTo>
                    <a:pt x="602" y="34"/>
                    <a:pt x="602" y="34"/>
                    <a:pt x="602" y="34"/>
                  </a:cubicBezTo>
                  <a:cubicBezTo>
                    <a:pt x="602" y="34"/>
                    <a:pt x="601" y="26"/>
                    <a:pt x="592" y="26"/>
                  </a:cubicBezTo>
                  <a:cubicBezTo>
                    <a:pt x="583" y="26"/>
                    <a:pt x="576" y="31"/>
                    <a:pt x="576" y="31"/>
                  </a:cubicBezTo>
                  <a:cubicBezTo>
                    <a:pt x="563" y="39"/>
                    <a:pt x="563" y="39"/>
                    <a:pt x="563" y="39"/>
                  </a:cubicBezTo>
                  <a:cubicBezTo>
                    <a:pt x="548" y="35"/>
                    <a:pt x="548" y="35"/>
                    <a:pt x="548" y="35"/>
                  </a:cubicBezTo>
                  <a:cubicBezTo>
                    <a:pt x="548" y="35"/>
                    <a:pt x="488" y="55"/>
                    <a:pt x="460" y="55"/>
                  </a:cubicBezTo>
                  <a:cubicBezTo>
                    <a:pt x="432" y="55"/>
                    <a:pt x="414" y="55"/>
                    <a:pt x="414" y="55"/>
                  </a:cubicBezTo>
                  <a:cubicBezTo>
                    <a:pt x="408" y="49"/>
                    <a:pt x="408" y="49"/>
                    <a:pt x="408" y="49"/>
                  </a:cubicBezTo>
                  <a:cubicBezTo>
                    <a:pt x="362" y="50"/>
                    <a:pt x="362" y="50"/>
                    <a:pt x="362" y="50"/>
                  </a:cubicBezTo>
                  <a:cubicBezTo>
                    <a:pt x="358" y="44"/>
                    <a:pt x="358" y="44"/>
                    <a:pt x="358" y="44"/>
                  </a:cubicBezTo>
                  <a:cubicBezTo>
                    <a:pt x="358" y="44"/>
                    <a:pt x="342" y="46"/>
                    <a:pt x="335" y="44"/>
                  </a:cubicBezTo>
                  <a:cubicBezTo>
                    <a:pt x="328" y="42"/>
                    <a:pt x="319" y="23"/>
                    <a:pt x="319" y="23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82" y="12"/>
                    <a:pt x="78" y="1"/>
                  </a:cubicBezTo>
                  <a:cubicBezTo>
                    <a:pt x="79" y="2"/>
                    <a:pt x="58" y="0"/>
                    <a:pt x="58" y="0"/>
                  </a:cubicBezTo>
                  <a:cubicBezTo>
                    <a:pt x="58" y="0"/>
                    <a:pt x="54" y="14"/>
                    <a:pt x="47" y="15"/>
                  </a:cubicBezTo>
                  <a:cubicBezTo>
                    <a:pt x="40" y="16"/>
                    <a:pt x="28" y="16"/>
                    <a:pt x="28" y="16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2"/>
                    <a:pt x="13" y="79"/>
                    <a:pt x="22" y="92"/>
                  </a:cubicBezTo>
                  <a:cubicBezTo>
                    <a:pt x="31" y="105"/>
                    <a:pt x="64" y="153"/>
                    <a:pt x="65" y="170"/>
                  </a:cubicBezTo>
                  <a:cubicBezTo>
                    <a:pt x="66" y="187"/>
                    <a:pt x="79" y="204"/>
                    <a:pt x="83" y="217"/>
                  </a:cubicBezTo>
                  <a:cubicBezTo>
                    <a:pt x="87" y="230"/>
                    <a:pt x="102" y="245"/>
                    <a:pt x="102" y="245"/>
                  </a:cubicBezTo>
                  <a:cubicBezTo>
                    <a:pt x="102" y="259"/>
                    <a:pt x="102" y="259"/>
                    <a:pt x="102" y="259"/>
                  </a:cubicBezTo>
                  <a:cubicBezTo>
                    <a:pt x="102" y="259"/>
                    <a:pt x="131" y="280"/>
                    <a:pt x="131" y="296"/>
                  </a:cubicBezTo>
                  <a:cubicBezTo>
                    <a:pt x="131" y="312"/>
                    <a:pt x="129" y="386"/>
                    <a:pt x="129" y="386"/>
                  </a:cubicBezTo>
                  <a:cubicBezTo>
                    <a:pt x="129" y="386"/>
                    <a:pt x="144" y="411"/>
                    <a:pt x="146" y="431"/>
                  </a:cubicBezTo>
                  <a:cubicBezTo>
                    <a:pt x="148" y="451"/>
                    <a:pt x="140" y="451"/>
                    <a:pt x="140" y="451"/>
                  </a:cubicBezTo>
                  <a:cubicBezTo>
                    <a:pt x="149" y="484"/>
                    <a:pt x="149" y="484"/>
                    <a:pt x="149" y="484"/>
                  </a:cubicBezTo>
                  <a:cubicBezTo>
                    <a:pt x="151" y="508"/>
                    <a:pt x="151" y="508"/>
                    <a:pt x="151" y="508"/>
                  </a:cubicBezTo>
                  <a:cubicBezTo>
                    <a:pt x="159" y="508"/>
                    <a:pt x="159" y="508"/>
                    <a:pt x="159" y="508"/>
                  </a:cubicBezTo>
                  <a:cubicBezTo>
                    <a:pt x="159" y="508"/>
                    <a:pt x="156" y="528"/>
                    <a:pt x="157" y="532"/>
                  </a:cubicBezTo>
                  <a:cubicBezTo>
                    <a:pt x="158" y="536"/>
                    <a:pt x="168" y="544"/>
                    <a:pt x="168" y="544"/>
                  </a:cubicBezTo>
                  <a:cubicBezTo>
                    <a:pt x="169" y="563"/>
                    <a:pt x="169" y="563"/>
                    <a:pt x="169" y="563"/>
                  </a:cubicBezTo>
                  <a:cubicBezTo>
                    <a:pt x="169" y="563"/>
                    <a:pt x="184" y="595"/>
                    <a:pt x="190" y="606"/>
                  </a:cubicBezTo>
                  <a:cubicBezTo>
                    <a:pt x="196" y="617"/>
                    <a:pt x="216" y="624"/>
                    <a:pt x="216" y="624"/>
                  </a:cubicBezTo>
                  <a:cubicBezTo>
                    <a:pt x="216" y="624"/>
                    <a:pt x="216" y="624"/>
                    <a:pt x="216" y="625"/>
                  </a:cubicBezTo>
                  <a:cubicBezTo>
                    <a:pt x="228" y="619"/>
                    <a:pt x="228" y="619"/>
                    <a:pt x="228" y="619"/>
                  </a:cubicBezTo>
                  <a:cubicBezTo>
                    <a:pt x="228" y="619"/>
                    <a:pt x="239" y="595"/>
                    <a:pt x="243" y="596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Freeform 285">
              <a:extLst>
                <a:ext uri="{FF2B5EF4-FFF2-40B4-BE49-F238E27FC236}">
                  <a16:creationId xmlns:a16="http://schemas.microsoft.com/office/drawing/2014/main" id="{73D1A211-1847-2A84-9662-5F31C89B5D70}"/>
                </a:ext>
              </a:extLst>
            </p:cNvPr>
            <p:cNvSpPr>
              <a:spLocks/>
            </p:cNvSpPr>
            <p:nvPr/>
          </p:nvSpPr>
          <p:spPr bwMode="gray">
            <a:xfrm>
              <a:off x="-3657" y="-8000"/>
              <a:ext cx="879" cy="864"/>
            </a:xfrm>
            <a:custGeom>
              <a:avLst/>
              <a:gdLst>
                <a:gd name="T0" fmla="*/ 11 w 372"/>
                <a:gd name="T1" fmla="*/ 136 h 366"/>
                <a:gd name="T2" fmla="*/ 11 w 372"/>
                <a:gd name="T3" fmla="*/ 156 h 366"/>
                <a:gd name="T4" fmla="*/ 23 w 372"/>
                <a:gd name="T5" fmla="*/ 160 h 366"/>
                <a:gd name="T6" fmla="*/ 33 w 372"/>
                <a:gd name="T7" fmla="*/ 181 h 366"/>
                <a:gd name="T8" fmla="*/ 42 w 372"/>
                <a:gd name="T9" fmla="*/ 213 h 366"/>
                <a:gd name="T10" fmla="*/ 70 w 372"/>
                <a:gd name="T11" fmla="*/ 234 h 366"/>
                <a:gd name="T12" fmla="*/ 90 w 372"/>
                <a:gd name="T13" fmla="*/ 238 h 366"/>
                <a:gd name="T14" fmla="*/ 91 w 372"/>
                <a:gd name="T15" fmla="*/ 260 h 366"/>
                <a:gd name="T16" fmla="*/ 112 w 372"/>
                <a:gd name="T17" fmla="*/ 261 h 366"/>
                <a:gd name="T18" fmla="*/ 114 w 372"/>
                <a:gd name="T19" fmla="*/ 276 h 366"/>
                <a:gd name="T20" fmla="*/ 110 w 372"/>
                <a:gd name="T21" fmla="*/ 281 h 366"/>
                <a:gd name="T22" fmla="*/ 110 w 372"/>
                <a:gd name="T23" fmla="*/ 299 h 366"/>
                <a:gd name="T24" fmla="*/ 122 w 372"/>
                <a:gd name="T25" fmla="*/ 304 h 366"/>
                <a:gd name="T26" fmla="*/ 122 w 372"/>
                <a:gd name="T27" fmla="*/ 319 h 366"/>
                <a:gd name="T28" fmla="*/ 161 w 372"/>
                <a:gd name="T29" fmla="*/ 327 h 366"/>
                <a:gd name="T30" fmla="*/ 180 w 372"/>
                <a:gd name="T31" fmla="*/ 352 h 366"/>
                <a:gd name="T32" fmla="*/ 167 w 372"/>
                <a:gd name="T33" fmla="*/ 353 h 366"/>
                <a:gd name="T34" fmla="*/ 206 w 372"/>
                <a:gd name="T35" fmla="*/ 351 h 366"/>
                <a:gd name="T36" fmla="*/ 230 w 372"/>
                <a:gd name="T37" fmla="*/ 359 h 366"/>
                <a:gd name="T38" fmla="*/ 265 w 372"/>
                <a:gd name="T39" fmla="*/ 359 h 366"/>
                <a:gd name="T40" fmla="*/ 277 w 372"/>
                <a:gd name="T41" fmla="*/ 366 h 366"/>
                <a:gd name="T42" fmla="*/ 324 w 372"/>
                <a:gd name="T43" fmla="*/ 310 h 366"/>
                <a:gd name="T44" fmla="*/ 334 w 372"/>
                <a:gd name="T45" fmla="*/ 307 h 366"/>
                <a:gd name="T46" fmla="*/ 325 w 372"/>
                <a:gd name="T47" fmla="*/ 294 h 366"/>
                <a:gd name="T48" fmla="*/ 333 w 372"/>
                <a:gd name="T49" fmla="*/ 289 h 366"/>
                <a:gd name="T50" fmla="*/ 334 w 372"/>
                <a:gd name="T51" fmla="*/ 266 h 366"/>
                <a:gd name="T52" fmla="*/ 350 w 372"/>
                <a:gd name="T53" fmla="*/ 257 h 366"/>
                <a:gd name="T54" fmla="*/ 354 w 372"/>
                <a:gd name="T55" fmla="*/ 242 h 366"/>
                <a:gd name="T56" fmla="*/ 364 w 372"/>
                <a:gd name="T57" fmla="*/ 229 h 366"/>
                <a:gd name="T58" fmla="*/ 346 w 372"/>
                <a:gd name="T59" fmla="*/ 206 h 366"/>
                <a:gd name="T60" fmla="*/ 360 w 372"/>
                <a:gd name="T61" fmla="*/ 190 h 366"/>
                <a:gd name="T62" fmla="*/ 346 w 372"/>
                <a:gd name="T63" fmla="*/ 174 h 366"/>
                <a:gd name="T64" fmla="*/ 360 w 372"/>
                <a:gd name="T65" fmla="*/ 167 h 366"/>
                <a:gd name="T66" fmla="*/ 360 w 372"/>
                <a:gd name="T67" fmla="*/ 158 h 366"/>
                <a:gd name="T68" fmla="*/ 366 w 372"/>
                <a:gd name="T69" fmla="*/ 145 h 366"/>
                <a:gd name="T70" fmla="*/ 358 w 372"/>
                <a:gd name="T71" fmla="*/ 119 h 366"/>
                <a:gd name="T72" fmla="*/ 366 w 372"/>
                <a:gd name="T73" fmla="*/ 107 h 366"/>
                <a:gd name="T74" fmla="*/ 360 w 372"/>
                <a:gd name="T75" fmla="*/ 99 h 366"/>
                <a:gd name="T76" fmla="*/ 366 w 372"/>
                <a:gd name="T77" fmla="*/ 90 h 366"/>
                <a:gd name="T78" fmla="*/ 358 w 372"/>
                <a:gd name="T79" fmla="*/ 81 h 366"/>
                <a:gd name="T80" fmla="*/ 368 w 372"/>
                <a:gd name="T81" fmla="*/ 63 h 366"/>
                <a:gd name="T82" fmla="*/ 349 w 372"/>
                <a:gd name="T83" fmla="*/ 55 h 366"/>
                <a:gd name="T84" fmla="*/ 336 w 372"/>
                <a:gd name="T85" fmla="*/ 43 h 366"/>
                <a:gd name="T86" fmla="*/ 318 w 372"/>
                <a:gd name="T87" fmla="*/ 46 h 366"/>
                <a:gd name="T88" fmla="*/ 308 w 372"/>
                <a:gd name="T89" fmla="*/ 30 h 366"/>
                <a:gd name="T90" fmla="*/ 293 w 372"/>
                <a:gd name="T91" fmla="*/ 33 h 366"/>
                <a:gd name="T92" fmla="*/ 285 w 372"/>
                <a:gd name="T93" fmla="*/ 21 h 366"/>
                <a:gd name="T94" fmla="*/ 246 w 372"/>
                <a:gd name="T95" fmla="*/ 21 h 366"/>
                <a:gd name="T96" fmla="*/ 245 w 372"/>
                <a:gd name="T97" fmla="*/ 1 h 366"/>
                <a:gd name="T98" fmla="*/ 205 w 372"/>
                <a:gd name="T99" fmla="*/ 5 h 366"/>
                <a:gd name="T100" fmla="*/ 170 w 372"/>
                <a:gd name="T101" fmla="*/ 25 h 366"/>
                <a:gd name="T102" fmla="*/ 172 w 372"/>
                <a:gd name="T103" fmla="*/ 49 h 366"/>
                <a:gd name="T104" fmla="*/ 125 w 372"/>
                <a:gd name="T105" fmla="*/ 68 h 366"/>
                <a:gd name="T106" fmla="*/ 116 w 372"/>
                <a:gd name="T107" fmla="*/ 91 h 366"/>
                <a:gd name="T108" fmla="*/ 77 w 372"/>
                <a:gd name="T109" fmla="*/ 127 h 366"/>
                <a:gd name="T110" fmla="*/ 51 w 372"/>
                <a:gd name="T111" fmla="*/ 121 h 366"/>
                <a:gd name="T112" fmla="*/ 38 w 372"/>
                <a:gd name="T113" fmla="*/ 127 h 366"/>
                <a:gd name="T114" fmla="*/ 26 w 372"/>
                <a:gd name="T115" fmla="*/ 117 h 366"/>
                <a:gd name="T116" fmla="*/ 0 w 372"/>
                <a:gd name="T117" fmla="*/ 117 h 366"/>
                <a:gd name="T118" fmla="*/ 2 w 372"/>
                <a:gd name="T119" fmla="*/ 127 h 366"/>
                <a:gd name="T120" fmla="*/ 11 w 372"/>
                <a:gd name="T121" fmla="*/ 13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2" h="366">
                  <a:moveTo>
                    <a:pt x="11" y="136"/>
                  </a:moveTo>
                  <a:cubicBezTo>
                    <a:pt x="11" y="156"/>
                    <a:pt x="11" y="156"/>
                    <a:pt x="11" y="156"/>
                  </a:cubicBezTo>
                  <a:cubicBezTo>
                    <a:pt x="11" y="156"/>
                    <a:pt x="19" y="150"/>
                    <a:pt x="23" y="160"/>
                  </a:cubicBezTo>
                  <a:cubicBezTo>
                    <a:pt x="27" y="170"/>
                    <a:pt x="33" y="181"/>
                    <a:pt x="33" y="181"/>
                  </a:cubicBezTo>
                  <a:cubicBezTo>
                    <a:pt x="33" y="181"/>
                    <a:pt x="35" y="204"/>
                    <a:pt x="42" y="213"/>
                  </a:cubicBezTo>
                  <a:cubicBezTo>
                    <a:pt x="49" y="222"/>
                    <a:pt x="70" y="234"/>
                    <a:pt x="70" y="234"/>
                  </a:cubicBezTo>
                  <a:cubicBezTo>
                    <a:pt x="70" y="234"/>
                    <a:pt x="88" y="231"/>
                    <a:pt x="90" y="238"/>
                  </a:cubicBezTo>
                  <a:cubicBezTo>
                    <a:pt x="92" y="245"/>
                    <a:pt x="91" y="260"/>
                    <a:pt x="91" y="260"/>
                  </a:cubicBezTo>
                  <a:cubicBezTo>
                    <a:pt x="112" y="261"/>
                    <a:pt x="112" y="261"/>
                    <a:pt x="112" y="261"/>
                  </a:cubicBezTo>
                  <a:cubicBezTo>
                    <a:pt x="114" y="276"/>
                    <a:pt x="114" y="276"/>
                    <a:pt x="114" y="276"/>
                  </a:cubicBezTo>
                  <a:cubicBezTo>
                    <a:pt x="110" y="281"/>
                    <a:pt x="110" y="281"/>
                    <a:pt x="110" y="281"/>
                  </a:cubicBezTo>
                  <a:cubicBezTo>
                    <a:pt x="110" y="299"/>
                    <a:pt x="110" y="299"/>
                    <a:pt x="110" y="299"/>
                  </a:cubicBezTo>
                  <a:cubicBezTo>
                    <a:pt x="110" y="299"/>
                    <a:pt x="122" y="297"/>
                    <a:pt x="122" y="304"/>
                  </a:cubicBezTo>
                  <a:cubicBezTo>
                    <a:pt x="122" y="311"/>
                    <a:pt x="122" y="319"/>
                    <a:pt x="122" y="319"/>
                  </a:cubicBezTo>
                  <a:cubicBezTo>
                    <a:pt x="122" y="319"/>
                    <a:pt x="148" y="322"/>
                    <a:pt x="161" y="327"/>
                  </a:cubicBezTo>
                  <a:cubicBezTo>
                    <a:pt x="171" y="331"/>
                    <a:pt x="177" y="345"/>
                    <a:pt x="180" y="352"/>
                  </a:cubicBezTo>
                  <a:cubicBezTo>
                    <a:pt x="167" y="353"/>
                    <a:pt x="167" y="353"/>
                    <a:pt x="167" y="353"/>
                  </a:cubicBezTo>
                  <a:cubicBezTo>
                    <a:pt x="206" y="351"/>
                    <a:pt x="206" y="351"/>
                    <a:pt x="206" y="351"/>
                  </a:cubicBezTo>
                  <a:cubicBezTo>
                    <a:pt x="206" y="351"/>
                    <a:pt x="222" y="358"/>
                    <a:pt x="230" y="359"/>
                  </a:cubicBezTo>
                  <a:cubicBezTo>
                    <a:pt x="238" y="360"/>
                    <a:pt x="265" y="359"/>
                    <a:pt x="265" y="359"/>
                  </a:cubicBezTo>
                  <a:cubicBezTo>
                    <a:pt x="277" y="366"/>
                    <a:pt x="277" y="366"/>
                    <a:pt x="277" y="366"/>
                  </a:cubicBezTo>
                  <a:cubicBezTo>
                    <a:pt x="324" y="310"/>
                    <a:pt x="324" y="310"/>
                    <a:pt x="324" y="310"/>
                  </a:cubicBezTo>
                  <a:cubicBezTo>
                    <a:pt x="334" y="307"/>
                    <a:pt x="334" y="307"/>
                    <a:pt x="334" y="307"/>
                  </a:cubicBezTo>
                  <a:cubicBezTo>
                    <a:pt x="325" y="294"/>
                    <a:pt x="325" y="294"/>
                    <a:pt x="325" y="294"/>
                  </a:cubicBezTo>
                  <a:cubicBezTo>
                    <a:pt x="333" y="289"/>
                    <a:pt x="333" y="289"/>
                    <a:pt x="333" y="289"/>
                  </a:cubicBezTo>
                  <a:cubicBezTo>
                    <a:pt x="334" y="266"/>
                    <a:pt x="334" y="266"/>
                    <a:pt x="334" y="266"/>
                  </a:cubicBezTo>
                  <a:cubicBezTo>
                    <a:pt x="334" y="266"/>
                    <a:pt x="349" y="265"/>
                    <a:pt x="350" y="257"/>
                  </a:cubicBezTo>
                  <a:cubicBezTo>
                    <a:pt x="352" y="249"/>
                    <a:pt x="354" y="242"/>
                    <a:pt x="354" y="242"/>
                  </a:cubicBezTo>
                  <a:cubicBezTo>
                    <a:pt x="354" y="242"/>
                    <a:pt x="365" y="235"/>
                    <a:pt x="364" y="229"/>
                  </a:cubicBezTo>
                  <a:cubicBezTo>
                    <a:pt x="362" y="222"/>
                    <a:pt x="345" y="211"/>
                    <a:pt x="346" y="206"/>
                  </a:cubicBezTo>
                  <a:cubicBezTo>
                    <a:pt x="348" y="201"/>
                    <a:pt x="360" y="190"/>
                    <a:pt x="360" y="190"/>
                  </a:cubicBezTo>
                  <a:cubicBezTo>
                    <a:pt x="346" y="174"/>
                    <a:pt x="346" y="174"/>
                    <a:pt x="346" y="174"/>
                  </a:cubicBezTo>
                  <a:cubicBezTo>
                    <a:pt x="360" y="167"/>
                    <a:pt x="360" y="167"/>
                    <a:pt x="360" y="167"/>
                  </a:cubicBezTo>
                  <a:cubicBezTo>
                    <a:pt x="360" y="158"/>
                    <a:pt x="360" y="158"/>
                    <a:pt x="360" y="158"/>
                  </a:cubicBezTo>
                  <a:cubicBezTo>
                    <a:pt x="360" y="158"/>
                    <a:pt x="369" y="158"/>
                    <a:pt x="366" y="145"/>
                  </a:cubicBezTo>
                  <a:cubicBezTo>
                    <a:pt x="364" y="131"/>
                    <a:pt x="356" y="125"/>
                    <a:pt x="358" y="119"/>
                  </a:cubicBezTo>
                  <a:cubicBezTo>
                    <a:pt x="361" y="114"/>
                    <a:pt x="366" y="107"/>
                    <a:pt x="366" y="107"/>
                  </a:cubicBezTo>
                  <a:cubicBezTo>
                    <a:pt x="360" y="99"/>
                    <a:pt x="360" y="99"/>
                    <a:pt x="360" y="99"/>
                  </a:cubicBezTo>
                  <a:cubicBezTo>
                    <a:pt x="366" y="90"/>
                    <a:pt x="366" y="90"/>
                    <a:pt x="366" y="90"/>
                  </a:cubicBezTo>
                  <a:cubicBezTo>
                    <a:pt x="358" y="81"/>
                    <a:pt x="358" y="81"/>
                    <a:pt x="358" y="81"/>
                  </a:cubicBezTo>
                  <a:cubicBezTo>
                    <a:pt x="358" y="81"/>
                    <a:pt x="372" y="71"/>
                    <a:pt x="368" y="63"/>
                  </a:cubicBezTo>
                  <a:cubicBezTo>
                    <a:pt x="364" y="55"/>
                    <a:pt x="349" y="55"/>
                    <a:pt x="349" y="55"/>
                  </a:cubicBezTo>
                  <a:cubicBezTo>
                    <a:pt x="349" y="55"/>
                    <a:pt x="344" y="43"/>
                    <a:pt x="336" y="43"/>
                  </a:cubicBezTo>
                  <a:cubicBezTo>
                    <a:pt x="328" y="43"/>
                    <a:pt x="318" y="46"/>
                    <a:pt x="318" y="46"/>
                  </a:cubicBezTo>
                  <a:cubicBezTo>
                    <a:pt x="308" y="30"/>
                    <a:pt x="308" y="30"/>
                    <a:pt x="308" y="30"/>
                  </a:cubicBezTo>
                  <a:cubicBezTo>
                    <a:pt x="293" y="33"/>
                    <a:pt x="293" y="33"/>
                    <a:pt x="293" y="33"/>
                  </a:cubicBezTo>
                  <a:cubicBezTo>
                    <a:pt x="285" y="21"/>
                    <a:pt x="285" y="21"/>
                    <a:pt x="285" y="21"/>
                  </a:cubicBezTo>
                  <a:cubicBezTo>
                    <a:pt x="246" y="21"/>
                    <a:pt x="246" y="21"/>
                    <a:pt x="246" y="21"/>
                  </a:cubicBezTo>
                  <a:cubicBezTo>
                    <a:pt x="245" y="1"/>
                    <a:pt x="245" y="1"/>
                    <a:pt x="245" y="1"/>
                  </a:cubicBezTo>
                  <a:cubicBezTo>
                    <a:pt x="236" y="0"/>
                    <a:pt x="218" y="0"/>
                    <a:pt x="205" y="5"/>
                  </a:cubicBezTo>
                  <a:cubicBezTo>
                    <a:pt x="188" y="11"/>
                    <a:pt x="170" y="25"/>
                    <a:pt x="170" y="25"/>
                  </a:cubicBezTo>
                  <a:cubicBezTo>
                    <a:pt x="170" y="25"/>
                    <a:pt x="173" y="48"/>
                    <a:pt x="172" y="49"/>
                  </a:cubicBezTo>
                  <a:cubicBezTo>
                    <a:pt x="171" y="50"/>
                    <a:pt x="132" y="61"/>
                    <a:pt x="125" y="68"/>
                  </a:cubicBezTo>
                  <a:cubicBezTo>
                    <a:pt x="118" y="75"/>
                    <a:pt x="116" y="91"/>
                    <a:pt x="116" y="91"/>
                  </a:cubicBezTo>
                  <a:cubicBezTo>
                    <a:pt x="116" y="91"/>
                    <a:pt x="95" y="118"/>
                    <a:pt x="77" y="127"/>
                  </a:cubicBezTo>
                  <a:cubicBezTo>
                    <a:pt x="59" y="136"/>
                    <a:pt x="58" y="127"/>
                    <a:pt x="51" y="121"/>
                  </a:cubicBezTo>
                  <a:cubicBezTo>
                    <a:pt x="44" y="115"/>
                    <a:pt x="42" y="127"/>
                    <a:pt x="38" y="127"/>
                  </a:cubicBezTo>
                  <a:cubicBezTo>
                    <a:pt x="34" y="127"/>
                    <a:pt x="28" y="121"/>
                    <a:pt x="26" y="117"/>
                  </a:cubicBezTo>
                  <a:cubicBezTo>
                    <a:pt x="24" y="113"/>
                    <a:pt x="0" y="117"/>
                    <a:pt x="0" y="117"/>
                  </a:cubicBezTo>
                  <a:cubicBezTo>
                    <a:pt x="2" y="127"/>
                    <a:pt x="2" y="127"/>
                    <a:pt x="2" y="127"/>
                  </a:cubicBezTo>
                  <a:lnTo>
                    <a:pt x="11" y="136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Freeform 286">
              <a:extLst>
                <a:ext uri="{FF2B5EF4-FFF2-40B4-BE49-F238E27FC236}">
                  <a16:creationId xmlns:a16="http://schemas.microsoft.com/office/drawing/2014/main" id="{64BDA463-4A53-08D8-44A5-A127D7E8E0F8}"/>
                </a:ext>
              </a:extLst>
            </p:cNvPr>
            <p:cNvSpPr>
              <a:spLocks/>
            </p:cNvSpPr>
            <p:nvPr/>
          </p:nvSpPr>
          <p:spPr bwMode="gray">
            <a:xfrm>
              <a:off x="-4255" y="-7724"/>
              <a:ext cx="1023" cy="1158"/>
            </a:xfrm>
            <a:custGeom>
              <a:avLst/>
              <a:gdLst>
                <a:gd name="T0" fmla="*/ 0 w 433"/>
                <a:gd name="T1" fmla="*/ 377 h 490"/>
                <a:gd name="T2" fmla="*/ 22 w 433"/>
                <a:gd name="T3" fmla="*/ 394 h 490"/>
                <a:gd name="T4" fmla="*/ 30 w 433"/>
                <a:gd name="T5" fmla="*/ 423 h 490"/>
                <a:gd name="T6" fmla="*/ 37 w 433"/>
                <a:gd name="T7" fmla="*/ 443 h 490"/>
                <a:gd name="T8" fmla="*/ 27 w 433"/>
                <a:gd name="T9" fmla="*/ 465 h 490"/>
                <a:gd name="T10" fmla="*/ 27 w 433"/>
                <a:gd name="T11" fmla="*/ 487 h 490"/>
                <a:gd name="T12" fmla="*/ 78 w 433"/>
                <a:gd name="T13" fmla="*/ 485 h 490"/>
                <a:gd name="T14" fmla="*/ 83 w 433"/>
                <a:gd name="T15" fmla="*/ 473 h 490"/>
                <a:gd name="T16" fmla="*/ 97 w 433"/>
                <a:gd name="T17" fmla="*/ 474 h 490"/>
                <a:gd name="T18" fmla="*/ 106 w 433"/>
                <a:gd name="T19" fmla="*/ 454 h 490"/>
                <a:gd name="T20" fmla="*/ 124 w 433"/>
                <a:gd name="T21" fmla="*/ 446 h 490"/>
                <a:gd name="T22" fmla="*/ 142 w 433"/>
                <a:gd name="T23" fmla="*/ 401 h 490"/>
                <a:gd name="T24" fmla="*/ 171 w 433"/>
                <a:gd name="T25" fmla="*/ 413 h 490"/>
                <a:gd name="T26" fmla="*/ 181 w 433"/>
                <a:gd name="T27" fmla="*/ 423 h 490"/>
                <a:gd name="T28" fmla="*/ 198 w 433"/>
                <a:gd name="T29" fmla="*/ 424 h 490"/>
                <a:gd name="T30" fmla="*/ 223 w 433"/>
                <a:gd name="T31" fmla="*/ 433 h 490"/>
                <a:gd name="T32" fmla="*/ 236 w 433"/>
                <a:gd name="T33" fmla="*/ 426 h 490"/>
                <a:gd name="T34" fmla="*/ 255 w 433"/>
                <a:gd name="T35" fmla="*/ 426 h 490"/>
                <a:gd name="T36" fmla="*/ 270 w 433"/>
                <a:gd name="T37" fmla="*/ 386 h 490"/>
                <a:gd name="T38" fmla="*/ 284 w 433"/>
                <a:gd name="T39" fmla="*/ 374 h 490"/>
                <a:gd name="T40" fmla="*/ 295 w 433"/>
                <a:gd name="T41" fmla="*/ 371 h 490"/>
                <a:gd name="T42" fmla="*/ 318 w 433"/>
                <a:gd name="T43" fmla="*/ 347 h 490"/>
                <a:gd name="T44" fmla="*/ 329 w 433"/>
                <a:gd name="T45" fmla="*/ 311 h 490"/>
                <a:gd name="T46" fmla="*/ 353 w 433"/>
                <a:gd name="T47" fmla="*/ 298 h 490"/>
                <a:gd name="T48" fmla="*/ 383 w 433"/>
                <a:gd name="T49" fmla="*/ 259 h 490"/>
                <a:gd name="T50" fmla="*/ 412 w 433"/>
                <a:gd name="T51" fmla="*/ 252 h 490"/>
                <a:gd name="T52" fmla="*/ 420 w 433"/>
                <a:gd name="T53" fmla="*/ 236 h 490"/>
                <a:gd name="T54" fmla="*/ 433 w 433"/>
                <a:gd name="T55" fmla="*/ 235 h 490"/>
                <a:gd name="T56" fmla="*/ 414 w 433"/>
                <a:gd name="T57" fmla="*/ 210 h 490"/>
                <a:gd name="T58" fmla="*/ 375 w 433"/>
                <a:gd name="T59" fmla="*/ 202 h 490"/>
                <a:gd name="T60" fmla="*/ 375 w 433"/>
                <a:gd name="T61" fmla="*/ 187 h 490"/>
                <a:gd name="T62" fmla="*/ 363 w 433"/>
                <a:gd name="T63" fmla="*/ 182 h 490"/>
                <a:gd name="T64" fmla="*/ 363 w 433"/>
                <a:gd name="T65" fmla="*/ 164 h 490"/>
                <a:gd name="T66" fmla="*/ 367 w 433"/>
                <a:gd name="T67" fmla="*/ 159 h 490"/>
                <a:gd name="T68" fmla="*/ 365 w 433"/>
                <a:gd name="T69" fmla="*/ 144 h 490"/>
                <a:gd name="T70" fmla="*/ 344 w 433"/>
                <a:gd name="T71" fmla="*/ 143 h 490"/>
                <a:gd name="T72" fmla="*/ 343 w 433"/>
                <a:gd name="T73" fmla="*/ 121 h 490"/>
                <a:gd name="T74" fmla="*/ 323 w 433"/>
                <a:gd name="T75" fmla="*/ 117 h 490"/>
                <a:gd name="T76" fmla="*/ 295 w 433"/>
                <a:gd name="T77" fmla="*/ 96 h 490"/>
                <a:gd name="T78" fmla="*/ 286 w 433"/>
                <a:gd name="T79" fmla="*/ 64 h 490"/>
                <a:gd name="T80" fmla="*/ 276 w 433"/>
                <a:gd name="T81" fmla="*/ 43 h 490"/>
                <a:gd name="T82" fmla="*/ 264 w 433"/>
                <a:gd name="T83" fmla="*/ 39 h 490"/>
                <a:gd name="T84" fmla="*/ 264 w 433"/>
                <a:gd name="T85" fmla="*/ 19 h 490"/>
                <a:gd name="T86" fmla="*/ 255 w 433"/>
                <a:gd name="T87" fmla="*/ 10 h 490"/>
                <a:gd name="T88" fmla="*/ 253 w 433"/>
                <a:gd name="T89" fmla="*/ 0 h 490"/>
                <a:gd name="T90" fmla="*/ 230 w 433"/>
                <a:gd name="T91" fmla="*/ 2 h 490"/>
                <a:gd name="T92" fmla="*/ 219 w 433"/>
                <a:gd name="T93" fmla="*/ 10 h 490"/>
                <a:gd name="T94" fmla="*/ 211 w 433"/>
                <a:gd name="T95" fmla="*/ 10 h 490"/>
                <a:gd name="T96" fmla="*/ 195 w 433"/>
                <a:gd name="T97" fmla="*/ 18 h 490"/>
                <a:gd name="T98" fmla="*/ 177 w 433"/>
                <a:gd name="T99" fmla="*/ 37 h 490"/>
                <a:gd name="T100" fmla="*/ 172 w 433"/>
                <a:gd name="T101" fmla="*/ 24 h 490"/>
                <a:gd name="T102" fmla="*/ 166 w 433"/>
                <a:gd name="T103" fmla="*/ 24 h 490"/>
                <a:gd name="T104" fmla="*/ 159 w 433"/>
                <a:gd name="T105" fmla="*/ 10 h 490"/>
                <a:gd name="T106" fmla="*/ 114 w 433"/>
                <a:gd name="T107" fmla="*/ 20 h 490"/>
                <a:gd name="T108" fmla="*/ 53 w 433"/>
                <a:gd name="T109" fmla="*/ 26 h 490"/>
                <a:gd name="T110" fmla="*/ 53 w 433"/>
                <a:gd name="T111" fmla="*/ 143 h 490"/>
                <a:gd name="T112" fmla="*/ 49 w 433"/>
                <a:gd name="T113" fmla="*/ 147 h 490"/>
                <a:gd name="T114" fmla="*/ 50 w 433"/>
                <a:gd name="T115" fmla="*/ 228 h 490"/>
                <a:gd name="T116" fmla="*/ 2 w 433"/>
                <a:gd name="T117" fmla="*/ 228 h 490"/>
                <a:gd name="T118" fmla="*/ 0 w 433"/>
                <a:gd name="T119" fmla="*/ 377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3" h="490">
                  <a:moveTo>
                    <a:pt x="0" y="377"/>
                  </a:moveTo>
                  <a:cubicBezTo>
                    <a:pt x="9" y="381"/>
                    <a:pt x="18" y="386"/>
                    <a:pt x="22" y="394"/>
                  </a:cubicBezTo>
                  <a:cubicBezTo>
                    <a:pt x="31" y="413"/>
                    <a:pt x="30" y="423"/>
                    <a:pt x="30" y="423"/>
                  </a:cubicBezTo>
                  <a:cubicBezTo>
                    <a:pt x="30" y="423"/>
                    <a:pt x="39" y="434"/>
                    <a:pt x="37" y="443"/>
                  </a:cubicBezTo>
                  <a:cubicBezTo>
                    <a:pt x="35" y="452"/>
                    <a:pt x="27" y="465"/>
                    <a:pt x="27" y="465"/>
                  </a:cubicBezTo>
                  <a:cubicBezTo>
                    <a:pt x="27" y="465"/>
                    <a:pt x="22" y="484"/>
                    <a:pt x="27" y="487"/>
                  </a:cubicBezTo>
                  <a:cubicBezTo>
                    <a:pt x="32" y="490"/>
                    <a:pt x="78" y="485"/>
                    <a:pt x="78" y="485"/>
                  </a:cubicBezTo>
                  <a:cubicBezTo>
                    <a:pt x="78" y="485"/>
                    <a:pt x="79" y="474"/>
                    <a:pt x="83" y="473"/>
                  </a:cubicBezTo>
                  <a:cubicBezTo>
                    <a:pt x="87" y="472"/>
                    <a:pt x="97" y="474"/>
                    <a:pt x="97" y="474"/>
                  </a:cubicBezTo>
                  <a:cubicBezTo>
                    <a:pt x="97" y="474"/>
                    <a:pt x="99" y="457"/>
                    <a:pt x="106" y="454"/>
                  </a:cubicBezTo>
                  <a:cubicBezTo>
                    <a:pt x="113" y="451"/>
                    <a:pt x="124" y="453"/>
                    <a:pt x="124" y="446"/>
                  </a:cubicBezTo>
                  <a:cubicBezTo>
                    <a:pt x="124" y="439"/>
                    <a:pt x="129" y="401"/>
                    <a:pt x="142" y="401"/>
                  </a:cubicBezTo>
                  <a:cubicBezTo>
                    <a:pt x="155" y="401"/>
                    <a:pt x="171" y="413"/>
                    <a:pt x="171" y="413"/>
                  </a:cubicBezTo>
                  <a:cubicBezTo>
                    <a:pt x="181" y="423"/>
                    <a:pt x="181" y="423"/>
                    <a:pt x="181" y="423"/>
                  </a:cubicBezTo>
                  <a:cubicBezTo>
                    <a:pt x="198" y="424"/>
                    <a:pt x="198" y="424"/>
                    <a:pt x="198" y="424"/>
                  </a:cubicBezTo>
                  <a:cubicBezTo>
                    <a:pt x="198" y="424"/>
                    <a:pt x="213" y="435"/>
                    <a:pt x="223" y="433"/>
                  </a:cubicBezTo>
                  <a:cubicBezTo>
                    <a:pt x="233" y="431"/>
                    <a:pt x="236" y="426"/>
                    <a:pt x="236" y="426"/>
                  </a:cubicBezTo>
                  <a:cubicBezTo>
                    <a:pt x="236" y="426"/>
                    <a:pt x="244" y="433"/>
                    <a:pt x="255" y="426"/>
                  </a:cubicBezTo>
                  <a:cubicBezTo>
                    <a:pt x="266" y="419"/>
                    <a:pt x="270" y="386"/>
                    <a:pt x="270" y="386"/>
                  </a:cubicBezTo>
                  <a:cubicBezTo>
                    <a:pt x="284" y="374"/>
                    <a:pt x="284" y="374"/>
                    <a:pt x="284" y="374"/>
                  </a:cubicBezTo>
                  <a:cubicBezTo>
                    <a:pt x="295" y="371"/>
                    <a:pt x="295" y="371"/>
                    <a:pt x="295" y="371"/>
                  </a:cubicBezTo>
                  <a:cubicBezTo>
                    <a:pt x="295" y="371"/>
                    <a:pt x="318" y="353"/>
                    <a:pt x="318" y="347"/>
                  </a:cubicBezTo>
                  <a:cubicBezTo>
                    <a:pt x="318" y="341"/>
                    <a:pt x="319" y="318"/>
                    <a:pt x="329" y="311"/>
                  </a:cubicBezTo>
                  <a:cubicBezTo>
                    <a:pt x="339" y="304"/>
                    <a:pt x="342" y="305"/>
                    <a:pt x="353" y="298"/>
                  </a:cubicBezTo>
                  <a:cubicBezTo>
                    <a:pt x="364" y="291"/>
                    <a:pt x="378" y="265"/>
                    <a:pt x="383" y="259"/>
                  </a:cubicBezTo>
                  <a:cubicBezTo>
                    <a:pt x="388" y="253"/>
                    <a:pt x="412" y="252"/>
                    <a:pt x="412" y="252"/>
                  </a:cubicBezTo>
                  <a:cubicBezTo>
                    <a:pt x="420" y="236"/>
                    <a:pt x="420" y="236"/>
                    <a:pt x="420" y="236"/>
                  </a:cubicBezTo>
                  <a:cubicBezTo>
                    <a:pt x="433" y="235"/>
                    <a:pt x="433" y="235"/>
                    <a:pt x="433" y="235"/>
                  </a:cubicBezTo>
                  <a:cubicBezTo>
                    <a:pt x="430" y="228"/>
                    <a:pt x="424" y="214"/>
                    <a:pt x="414" y="210"/>
                  </a:cubicBezTo>
                  <a:cubicBezTo>
                    <a:pt x="401" y="205"/>
                    <a:pt x="375" y="202"/>
                    <a:pt x="375" y="202"/>
                  </a:cubicBezTo>
                  <a:cubicBezTo>
                    <a:pt x="375" y="202"/>
                    <a:pt x="375" y="194"/>
                    <a:pt x="375" y="187"/>
                  </a:cubicBezTo>
                  <a:cubicBezTo>
                    <a:pt x="375" y="180"/>
                    <a:pt x="363" y="182"/>
                    <a:pt x="363" y="182"/>
                  </a:cubicBezTo>
                  <a:cubicBezTo>
                    <a:pt x="363" y="164"/>
                    <a:pt x="363" y="164"/>
                    <a:pt x="363" y="164"/>
                  </a:cubicBezTo>
                  <a:cubicBezTo>
                    <a:pt x="367" y="159"/>
                    <a:pt x="367" y="159"/>
                    <a:pt x="367" y="159"/>
                  </a:cubicBezTo>
                  <a:cubicBezTo>
                    <a:pt x="365" y="144"/>
                    <a:pt x="365" y="144"/>
                    <a:pt x="365" y="144"/>
                  </a:cubicBezTo>
                  <a:cubicBezTo>
                    <a:pt x="344" y="143"/>
                    <a:pt x="344" y="143"/>
                    <a:pt x="344" y="143"/>
                  </a:cubicBezTo>
                  <a:cubicBezTo>
                    <a:pt x="344" y="143"/>
                    <a:pt x="345" y="128"/>
                    <a:pt x="343" y="121"/>
                  </a:cubicBezTo>
                  <a:cubicBezTo>
                    <a:pt x="341" y="114"/>
                    <a:pt x="323" y="117"/>
                    <a:pt x="323" y="117"/>
                  </a:cubicBezTo>
                  <a:cubicBezTo>
                    <a:pt x="323" y="117"/>
                    <a:pt x="302" y="105"/>
                    <a:pt x="295" y="96"/>
                  </a:cubicBezTo>
                  <a:cubicBezTo>
                    <a:pt x="288" y="87"/>
                    <a:pt x="286" y="64"/>
                    <a:pt x="286" y="64"/>
                  </a:cubicBezTo>
                  <a:cubicBezTo>
                    <a:pt x="286" y="64"/>
                    <a:pt x="280" y="53"/>
                    <a:pt x="276" y="43"/>
                  </a:cubicBezTo>
                  <a:cubicBezTo>
                    <a:pt x="272" y="33"/>
                    <a:pt x="264" y="39"/>
                    <a:pt x="264" y="39"/>
                  </a:cubicBezTo>
                  <a:cubicBezTo>
                    <a:pt x="264" y="19"/>
                    <a:pt x="264" y="19"/>
                    <a:pt x="264" y="19"/>
                  </a:cubicBezTo>
                  <a:cubicBezTo>
                    <a:pt x="255" y="10"/>
                    <a:pt x="255" y="10"/>
                    <a:pt x="255" y="10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11" y="10"/>
                    <a:pt x="211" y="10"/>
                    <a:pt x="211" y="10"/>
                  </a:cubicBezTo>
                  <a:cubicBezTo>
                    <a:pt x="211" y="10"/>
                    <a:pt x="201" y="12"/>
                    <a:pt x="195" y="18"/>
                  </a:cubicBezTo>
                  <a:cubicBezTo>
                    <a:pt x="190" y="23"/>
                    <a:pt x="180" y="36"/>
                    <a:pt x="177" y="37"/>
                  </a:cubicBezTo>
                  <a:cubicBezTo>
                    <a:pt x="174" y="38"/>
                    <a:pt x="172" y="24"/>
                    <a:pt x="172" y="24"/>
                  </a:cubicBezTo>
                  <a:cubicBezTo>
                    <a:pt x="166" y="24"/>
                    <a:pt x="166" y="24"/>
                    <a:pt x="166" y="24"/>
                  </a:cubicBezTo>
                  <a:cubicBezTo>
                    <a:pt x="166" y="24"/>
                    <a:pt x="168" y="10"/>
                    <a:pt x="159" y="10"/>
                  </a:cubicBezTo>
                  <a:cubicBezTo>
                    <a:pt x="151" y="10"/>
                    <a:pt x="135" y="18"/>
                    <a:pt x="114" y="20"/>
                  </a:cubicBezTo>
                  <a:cubicBezTo>
                    <a:pt x="92" y="23"/>
                    <a:pt x="53" y="26"/>
                    <a:pt x="53" y="26"/>
                  </a:cubicBezTo>
                  <a:cubicBezTo>
                    <a:pt x="53" y="143"/>
                    <a:pt x="53" y="143"/>
                    <a:pt x="53" y="143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0" y="228"/>
                    <a:pt x="50" y="228"/>
                    <a:pt x="50" y="228"/>
                  </a:cubicBezTo>
                  <a:cubicBezTo>
                    <a:pt x="2" y="228"/>
                    <a:pt x="2" y="228"/>
                    <a:pt x="2" y="228"/>
                  </a:cubicBezTo>
                  <a:lnTo>
                    <a:pt x="0" y="377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Freeform 287">
              <a:extLst>
                <a:ext uri="{FF2B5EF4-FFF2-40B4-BE49-F238E27FC236}">
                  <a16:creationId xmlns:a16="http://schemas.microsoft.com/office/drawing/2014/main" id="{D7B0E43A-9D02-63C9-76F3-8453AEC73205}"/>
                </a:ext>
              </a:extLst>
            </p:cNvPr>
            <p:cNvSpPr>
              <a:spLocks/>
            </p:cNvSpPr>
            <p:nvPr/>
          </p:nvSpPr>
          <p:spPr bwMode="gray">
            <a:xfrm>
              <a:off x="-1864" y="-11510"/>
              <a:ext cx="1134" cy="1745"/>
            </a:xfrm>
            <a:custGeom>
              <a:avLst/>
              <a:gdLst>
                <a:gd name="T0" fmla="*/ 70 w 480"/>
                <a:gd name="T1" fmla="*/ 77 h 739"/>
                <a:gd name="T2" fmla="*/ 79 w 480"/>
                <a:gd name="T3" fmla="*/ 85 h 739"/>
                <a:gd name="T4" fmla="*/ 78 w 480"/>
                <a:gd name="T5" fmla="*/ 93 h 739"/>
                <a:gd name="T6" fmla="*/ 97 w 480"/>
                <a:gd name="T7" fmla="*/ 117 h 739"/>
                <a:gd name="T8" fmla="*/ 107 w 480"/>
                <a:gd name="T9" fmla="*/ 142 h 739"/>
                <a:gd name="T10" fmla="*/ 122 w 480"/>
                <a:gd name="T11" fmla="*/ 142 h 739"/>
                <a:gd name="T12" fmla="*/ 143 w 480"/>
                <a:gd name="T13" fmla="*/ 167 h 739"/>
                <a:gd name="T14" fmla="*/ 225 w 480"/>
                <a:gd name="T15" fmla="*/ 194 h 739"/>
                <a:gd name="T16" fmla="*/ 277 w 480"/>
                <a:gd name="T17" fmla="*/ 220 h 739"/>
                <a:gd name="T18" fmla="*/ 325 w 480"/>
                <a:gd name="T19" fmla="*/ 217 h 739"/>
                <a:gd name="T20" fmla="*/ 185 w 480"/>
                <a:gd name="T21" fmla="*/ 382 h 739"/>
                <a:gd name="T22" fmla="*/ 129 w 480"/>
                <a:gd name="T23" fmla="*/ 382 h 739"/>
                <a:gd name="T24" fmla="*/ 96 w 480"/>
                <a:gd name="T25" fmla="*/ 396 h 739"/>
                <a:gd name="T26" fmla="*/ 89 w 480"/>
                <a:gd name="T27" fmla="*/ 414 h 739"/>
                <a:gd name="T28" fmla="*/ 50 w 480"/>
                <a:gd name="T29" fmla="*/ 421 h 739"/>
                <a:gd name="T30" fmla="*/ 42 w 480"/>
                <a:gd name="T31" fmla="*/ 435 h 739"/>
                <a:gd name="T32" fmla="*/ 22 w 480"/>
                <a:gd name="T33" fmla="*/ 471 h 739"/>
                <a:gd name="T34" fmla="*/ 1 w 480"/>
                <a:gd name="T35" fmla="*/ 492 h 739"/>
                <a:gd name="T36" fmla="*/ 0 w 480"/>
                <a:gd name="T37" fmla="*/ 695 h 739"/>
                <a:gd name="T38" fmla="*/ 28 w 480"/>
                <a:gd name="T39" fmla="*/ 735 h 739"/>
                <a:gd name="T40" fmla="*/ 26 w 480"/>
                <a:gd name="T41" fmla="*/ 739 h 739"/>
                <a:gd name="T42" fmla="*/ 26 w 480"/>
                <a:gd name="T43" fmla="*/ 739 h 739"/>
                <a:gd name="T44" fmla="*/ 58 w 480"/>
                <a:gd name="T45" fmla="*/ 680 h 739"/>
                <a:gd name="T46" fmla="*/ 100 w 480"/>
                <a:gd name="T47" fmla="*/ 639 h 739"/>
                <a:gd name="T48" fmla="*/ 157 w 480"/>
                <a:gd name="T49" fmla="*/ 573 h 739"/>
                <a:gd name="T50" fmla="*/ 210 w 480"/>
                <a:gd name="T51" fmla="*/ 536 h 739"/>
                <a:gd name="T52" fmla="*/ 281 w 480"/>
                <a:gd name="T53" fmla="*/ 473 h 739"/>
                <a:gd name="T54" fmla="*/ 335 w 480"/>
                <a:gd name="T55" fmla="*/ 399 h 739"/>
                <a:gd name="T56" fmla="*/ 370 w 480"/>
                <a:gd name="T57" fmla="*/ 334 h 739"/>
                <a:gd name="T58" fmla="*/ 384 w 480"/>
                <a:gd name="T59" fmla="*/ 308 h 739"/>
                <a:gd name="T60" fmla="*/ 397 w 480"/>
                <a:gd name="T61" fmla="*/ 262 h 739"/>
                <a:gd name="T62" fmla="*/ 417 w 480"/>
                <a:gd name="T63" fmla="*/ 228 h 739"/>
                <a:gd name="T64" fmla="*/ 427 w 480"/>
                <a:gd name="T65" fmla="*/ 205 h 739"/>
                <a:gd name="T66" fmla="*/ 440 w 480"/>
                <a:gd name="T67" fmla="*/ 169 h 739"/>
                <a:gd name="T68" fmla="*/ 457 w 480"/>
                <a:gd name="T69" fmla="*/ 147 h 739"/>
                <a:gd name="T70" fmla="*/ 457 w 480"/>
                <a:gd name="T71" fmla="*/ 93 h 739"/>
                <a:gd name="T72" fmla="*/ 471 w 480"/>
                <a:gd name="T73" fmla="*/ 84 h 739"/>
                <a:gd name="T74" fmla="*/ 467 w 480"/>
                <a:gd name="T75" fmla="*/ 38 h 739"/>
                <a:gd name="T76" fmla="*/ 474 w 480"/>
                <a:gd name="T77" fmla="*/ 8 h 739"/>
                <a:gd name="T78" fmla="*/ 447 w 480"/>
                <a:gd name="T79" fmla="*/ 0 h 739"/>
                <a:gd name="T80" fmla="*/ 432 w 480"/>
                <a:gd name="T81" fmla="*/ 21 h 739"/>
                <a:gd name="T82" fmla="*/ 382 w 480"/>
                <a:gd name="T83" fmla="*/ 37 h 739"/>
                <a:gd name="T84" fmla="*/ 345 w 480"/>
                <a:gd name="T85" fmla="*/ 35 h 739"/>
                <a:gd name="T86" fmla="*/ 318 w 480"/>
                <a:gd name="T87" fmla="*/ 54 h 739"/>
                <a:gd name="T88" fmla="*/ 296 w 480"/>
                <a:gd name="T89" fmla="*/ 43 h 739"/>
                <a:gd name="T90" fmla="*/ 252 w 480"/>
                <a:gd name="T91" fmla="*/ 73 h 739"/>
                <a:gd name="T92" fmla="*/ 221 w 480"/>
                <a:gd name="T93" fmla="*/ 62 h 739"/>
                <a:gd name="T94" fmla="*/ 181 w 480"/>
                <a:gd name="T95" fmla="*/ 84 h 739"/>
                <a:gd name="T96" fmla="*/ 141 w 480"/>
                <a:gd name="T97" fmla="*/ 85 h 739"/>
                <a:gd name="T98" fmla="*/ 111 w 480"/>
                <a:gd name="T99" fmla="*/ 48 h 739"/>
                <a:gd name="T100" fmla="*/ 99 w 480"/>
                <a:gd name="T101" fmla="*/ 35 h 739"/>
                <a:gd name="T102" fmla="*/ 84 w 480"/>
                <a:gd name="T103" fmla="*/ 55 h 739"/>
                <a:gd name="T104" fmla="*/ 70 w 480"/>
                <a:gd name="T105" fmla="*/ 77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0" h="739">
                  <a:moveTo>
                    <a:pt x="70" y="77"/>
                  </a:moveTo>
                  <a:cubicBezTo>
                    <a:pt x="79" y="85"/>
                    <a:pt x="79" y="85"/>
                    <a:pt x="79" y="85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78" y="93"/>
                    <a:pt x="91" y="109"/>
                    <a:pt x="97" y="117"/>
                  </a:cubicBezTo>
                  <a:cubicBezTo>
                    <a:pt x="103" y="125"/>
                    <a:pt x="107" y="142"/>
                    <a:pt x="107" y="142"/>
                  </a:cubicBezTo>
                  <a:cubicBezTo>
                    <a:pt x="122" y="142"/>
                    <a:pt x="122" y="142"/>
                    <a:pt x="122" y="142"/>
                  </a:cubicBezTo>
                  <a:cubicBezTo>
                    <a:pt x="122" y="142"/>
                    <a:pt x="132" y="159"/>
                    <a:pt x="143" y="167"/>
                  </a:cubicBezTo>
                  <a:cubicBezTo>
                    <a:pt x="154" y="175"/>
                    <a:pt x="206" y="188"/>
                    <a:pt x="225" y="194"/>
                  </a:cubicBezTo>
                  <a:cubicBezTo>
                    <a:pt x="244" y="200"/>
                    <a:pt x="277" y="220"/>
                    <a:pt x="277" y="220"/>
                  </a:cubicBezTo>
                  <a:cubicBezTo>
                    <a:pt x="325" y="217"/>
                    <a:pt x="325" y="217"/>
                    <a:pt x="325" y="217"/>
                  </a:cubicBezTo>
                  <a:cubicBezTo>
                    <a:pt x="185" y="382"/>
                    <a:pt x="185" y="382"/>
                    <a:pt x="185" y="382"/>
                  </a:cubicBezTo>
                  <a:cubicBezTo>
                    <a:pt x="185" y="382"/>
                    <a:pt x="137" y="380"/>
                    <a:pt x="129" y="382"/>
                  </a:cubicBezTo>
                  <a:cubicBezTo>
                    <a:pt x="121" y="384"/>
                    <a:pt x="96" y="396"/>
                    <a:pt x="96" y="396"/>
                  </a:cubicBezTo>
                  <a:cubicBezTo>
                    <a:pt x="96" y="396"/>
                    <a:pt x="95" y="408"/>
                    <a:pt x="89" y="414"/>
                  </a:cubicBezTo>
                  <a:cubicBezTo>
                    <a:pt x="83" y="420"/>
                    <a:pt x="58" y="418"/>
                    <a:pt x="50" y="421"/>
                  </a:cubicBezTo>
                  <a:cubicBezTo>
                    <a:pt x="42" y="424"/>
                    <a:pt x="42" y="435"/>
                    <a:pt x="42" y="435"/>
                  </a:cubicBezTo>
                  <a:cubicBezTo>
                    <a:pt x="42" y="435"/>
                    <a:pt x="29" y="463"/>
                    <a:pt x="22" y="471"/>
                  </a:cubicBezTo>
                  <a:cubicBezTo>
                    <a:pt x="15" y="479"/>
                    <a:pt x="1" y="492"/>
                    <a:pt x="1" y="492"/>
                  </a:cubicBezTo>
                  <a:cubicBezTo>
                    <a:pt x="0" y="695"/>
                    <a:pt x="0" y="695"/>
                    <a:pt x="0" y="695"/>
                  </a:cubicBezTo>
                  <a:cubicBezTo>
                    <a:pt x="28" y="735"/>
                    <a:pt x="28" y="735"/>
                    <a:pt x="28" y="735"/>
                  </a:cubicBezTo>
                  <a:cubicBezTo>
                    <a:pt x="27" y="737"/>
                    <a:pt x="27" y="738"/>
                    <a:pt x="26" y="739"/>
                  </a:cubicBezTo>
                  <a:cubicBezTo>
                    <a:pt x="26" y="739"/>
                    <a:pt x="26" y="739"/>
                    <a:pt x="26" y="739"/>
                  </a:cubicBezTo>
                  <a:cubicBezTo>
                    <a:pt x="35" y="722"/>
                    <a:pt x="52" y="690"/>
                    <a:pt x="58" y="680"/>
                  </a:cubicBezTo>
                  <a:cubicBezTo>
                    <a:pt x="65" y="669"/>
                    <a:pt x="97" y="654"/>
                    <a:pt x="100" y="639"/>
                  </a:cubicBezTo>
                  <a:cubicBezTo>
                    <a:pt x="103" y="624"/>
                    <a:pt x="146" y="586"/>
                    <a:pt x="157" y="573"/>
                  </a:cubicBezTo>
                  <a:cubicBezTo>
                    <a:pt x="168" y="560"/>
                    <a:pt x="202" y="541"/>
                    <a:pt x="210" y="536"/>
                  </a:cubicBezTo>
                  <a:cubicBezTo>
                    <a:pt x="218" y="531"/>
                    <a:pt x="275" y="484"/>
                    <a:pt x="281" y="473"/>
                  </a:cubicBezTo>
                  <a:cubicBezTo>
                    <a:pt x="287" y="462"/>
                    <a:pt x="331" y="413"/>
                    <a:pt x="335" y="399"/>
                  </a:cubicBezTo>
                  <a:cubicBezTo>
                    <a:pt x="339" y="385"/>
                    <a:pt x="364" y="339"/>
                    <a:pt x="370" y="334"/>
                  </a:cubicBezTo>
                  <a:cubicBezTo>
                    <a:pt x="376" y="329"/>
                    <a:pt x="384" y="316"/>
                    <a:pt x="384" y="308"/>
                  </a:cubicBezTo>
                  <a:cubicBezTo>
                    <a:pt x="384" y="300"/>
                    <a:pt x="390" y="271"/>
                    <a:pt x="397" y="262"/>
                  </a:cubicBezTo>
                  <a:cubicBezTo>
                    <a:pt x="404" y="253"/>
                    <a:pt x="417" y="241"/>
                    <a:pt x="417" y="228"/>
                  </a:cubicBezTo>
                  <a:cubicBezTo>
                    <a:pt x="417" y="215"/>
                    <a:pt x="427" y="205"/>
                    <a:pt x="427" y="205"/>
                  </a:cubicBezTo>
                  <a:cubicBezTo>
                    <a:pt x="440" y="169"/>
                    <a:pt x="440" y="169"/>
                    <a:pt x="440" y="169"/>
                  </a:cubicBezTo>
                  <a:cubicBezTo>
                    <a:pt x="440" y="169"/>
                    <a:pt x="457" y="173"/>
                    <a:pt x="457" y="147"/>
                  </a:cubicBezTo>
                  <a:cubicBezTo>
                    <a:pt x="457" y="121"/>
                    <a:pt x="457" y="93"/>
                    <a:pt x="457" y="93"/>
                  </a:cubicBezTo>
                  <a:cubicBezTo>
                    <a:pt x="471" y="84"/>
                    <a:pt x="471" y="84"/>
                    <a:pt x="471" y="84"/>
                  </a:cubicBezTo>
                  <a:cubicBezTo>
                    <a:pt x="467" y="38"/>
                    <a:pt x="467" y="38"/>
                    <a:pt x="467" y="38"/>
                  </a:cubicBezTo>
                  <a:cubicBezTo>
                    <a:pt x="467" y="38"/>
                    <a:pt x="480" y="14"/>
                    <a:pt x="474" y="8"/>
                  </a:cubicBezTo>
                  <a:cubicBezTo>
                    <a:pt x="468" y="2"/>
                    <a:pt x="447" y="0"/>
                    <a:pt x="447" y="0"/>
                  </a:cubicBezTo>
                  <a:cubicBezTo>
                    <a:pt x="447" y="0"/>
                    <a:pt x="439" y="14"/>
                    <a:pt x="432" y="21"/>
                  </a:cubicBezTo>
                  <a:cubicBezTo>
                    <a:pt x="425" y="28"/>
                    <a:pt x="388" y="37"/>
                    <a:pt x="382" y="37"/>
                  </a:cubicBezTo>
                  <a:cubicBezTo>
                    <a:pt x="376" y="37"/>
                    <a:pt x="355" y="31"/>
                    <a:pt x="345" y="35"/>
                  </a:cubicBezTo>
                  <a:cubicBezTo>
                    <a:pt x="335" y="39"/>
                    <a:pt x="322" y="54"/>
                    <a:pt x="318" y="54"/>
                  </a:cubicBezTo>
                  <a:cubicBezTo>
                    <a:pt x="314" y="54"/>
                    <a:pt x="304" y="42"/>
                    <a:pt x="296" y="43"/>
                  </a:cubicBezTo>
                  <a:cubicBezTo>
                    <a:pt x="288" y="44"/>
                    <a:pt x="261" y="72"/>
                    <a:pt x="252" y="73"/>
                  </a:cubicBezTo>
                  <a:cubicBezTo>
                    <a:pt x="243" y="74"/>
                    <a:pt x="235" y="58"/>
                    <a:pt x="221" y="62"/>
                  </a:cubicBezTo>
                  <a:cubicBezTo>
                    <a:pt x="207" y="66"/>
                    <a:pt x="189" y="83"/>
                    <a:pt x="181" y="84"/>
                  </a:cubicBezTo>
                  <a:cubicBezTo>
                    <a:pt x="173" y="85"/>
                    <a:pt x="141" y="85"/>
                    <a:pt x="141" y="85"/>
                  </a:cubicBezTo>
                  <a:cubicBezTo>
                    <a:pt x="141" y="85"/>
                    <a:pt x="111" y="58"/>
                    <a:pt x="111" y="48"/>
                  </a:cubicBezTo>
                  <a:cubicBezTo>
                    <a:pt x="111" y="40"/>
                    <a:pt x="102" y="36"/>
                    <a:pt x="99" y="35"/>
                  </a:cubicBezTo>
                  <a:cubicBezTo>
                    <a:pt x="84" y="55"/>
                    <a:pt x="84" y="55"/>
                    <a:pt x="84" y="55"/>
                  </a:cubicBezTo>
                  <a:lnTo>
                    <a:pt x="70" y="77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Freeform 288">
              <a:extLst>
                <a:ext uri="{FF2B5EF4-FFF2-40B4-BE49-F238E27FC236}">
                  <a16:creationId xmlns:a16="http://schemas.microsoft.com/office/drawing/2014/main" id="{0075CE63-7183-44C5-2198-7B10340AC1D9}"/>
                </a:ext>
              </a:extLst>
            </p:cNvPr>
            <p:cNvSpPr>
              <a:spLocks/>
            </p:cNvSpPr>
            <p:nvPr/>
          </p:nvSpPr>
          <p:spPr bwMode="gray">
            <a:xfrm>
              <a:off x="-1808" y="-11595"/>
              <a:ext cx="201" cy="224"/>
            </a:xfrm>
            <a:custGeom>
              <a:avLst/>
              <a:gdLst>
                <a:gd name="T0" fmla="*/ 47 w 85"/>
                <a:gd name="T1" fmla="*/ 18 h 95"/>
                <a:gd name="T2" fmla="*/ 31 w 85"/>
                <a:gd name="T3" fmla="*/ 8 h 95"/>
                <a:gd name="T4" fmla="*/ 13 w 85"/>
                <a:gd name="T5" fmla="*/ 47 h 95"/>
                <a:gd name="T6" fmla="*/ 0 w 85"/>
                <a:gd name="T7" fmla="*/ 56 h 95"/>
                <a:gd name="T8" fmla="*/ 11 w 85"/>
                <a:gd name="T9" fmla="*/ 94 h 95"/>
                <a:gd name="T10" fmla="*/ 36 w 85"/>
                <a:gd name="T11" fmla="*/ 91 h 95"/>
                <a:gd name="T12" fmla="*/ 46 w 85"/>
                <a:gd name="T13" fmla="*/ 84 h 95"/>
                <a:gd name="T14" fmla="*/ 59 w 85"/>
                <a:gd name="T15" fmla="*/ 93 h 95"/>
                <a:gd name="T16" fmla="*/ 60 w 85"/>
                <a:gd name="T17" fmla="*/ 91 h 95"/>
                <a:gd name="T18" fmla="*/ 75 w 85"/>
                <a:gd name="T19" fmla="*/ 71 h 95"/>
                <a:gd name="T20" fmla="*/ 74 w 85"/>
                <a:gd name="T21" fmla="*/ 71 h 95"/>
                <a:gd name="T22" fmla="*/ 67 w 85"/>
                <a:gd name="T23" fmla="*/ 61 h 95"/>
                <a:gd name="T24" fmla="*/ 44 w 85"/>
                <a:gd name="T25" fmla="*/ 63 h 95"/>
                <a:gd name="T26" fmla="*/ 76 w 85"/>
                <a:gd name="T27" fmla="*/ 17 h 95"/>
                <a:gd name="T28" fmla="*/ 63 w 85"/>
                <a:gd name="T29" fmla="*/ 0 h 95"/>
                <a:gd name="T30" fmla="*/ 54 w 85"/>
                <a:gd name="T31" fmla="*/ 6 h 95"/>
                <a:gd name="T32" fmla="*/ 47 w 85"/>
                <a:gd name="T33" fmla="*/ 18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5" h="95">
                  <a:moveTo>
                    <a:pt x="47" y="18"/>
                  </a:moveTo>
                  <a:cubicBezTo>
                    <a:pt x="31" y="8"/>
                    <a:pt x="31" y="8"/>
                    <a:pt x="31" y="8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6"/>
                    <a:pt x="3" y="93"/>
                    <a:pt x="11" y="94"/>
                  </a:cubicBezTo>
                  <a:cubicBezTo>
                    <a:pt x="19" y="95"/>
                    <a:pt x="36" y="91"/>
                    <a:pt x="36" y="91"/>
                  </a:cubicBezTo>
                  <a:cubicBezTo>
                    <a:pt x="36" y="91"/>
                    <a:pt x="39" y="83"/>
                    <a:pt x="46" y="84"/>
                  </a:cubicBezTo>
                  <a:cubicBezTo>
                    <a:pt x="50" y="85"/>
                    <a:pt x="55" y="89"/>
                    <a:pt x="59" y="93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4" y="63"/>
                    <a:pt x="85" y="30"/>
                    <a:pt x="76" y="17"/>
                  </a:cubicBezTo>
                  <a:cubicBezTo>
                    <a:pt x="73" y="12"/>
                    <a:pt x="68" y="6"/>
                    <a:pt x="63" y="0"/>
                  </a:cubicBezTo>
                  <a:cubicBezTo>
                    <a:pt x="54" y="6"/>
                    <a:pt x="54" y="6"/>
                    <a:pt x="54" y="6"/>
                  </a:cubicBezTo>
                  <a:lnTo>
                    <a:pt x="47" y="18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Freeform 289">
              <a:extLst>
                <a:ext uri="{FF2B5EF4-FFF2-40B4-BE49-F238E27FC236}">
                  <a16:creationId xmlns:a16="http://schemas.microsoft.com/office/drawing/2014/main" id="{43160269-636F-EBF1-0624-B71FF8C969A6}"/>
                </a:ext>
              </a:extLst>
            </p:cNvPr>
            <p:cNvSpPr>
              <a:spLocks/>
            </p:cNvSpPr>
            <p:nvPr/>
          </p:nvSpPr>
          <p:spPr bwMode="gray">
            <a:xfrm>
              <a:off x="-2415" y="-12273"/>
              <a:ext cx="756" cy="720"/>
            </a:xfrm>
            <a:custGeom>
              <a:avLst/>
              <a:gdLst>
                <a:gd name="T0" fmla="*/ 51 w 320"/>
                <a:gd name="T1" fmla="*/ 35 h 305"/>
                <a:gd name="T2" fmla="*/ 50 w 320"/>
                <a:gd name="T3" fmla="*/ 50 h 305"/>
                <a:gd name="T4" fmla="*/ 31 w 320"/>
                <a:gd name="T5" fmla="*/ 57 h 305"/>
                <a:gd name="T6" fmla="*/ 31 w 320"/>
                <a:gd name="T7" fmla="*/ 67 h 305"/>
                <a:gd name="T8" fmla="*/ 20 w 320"/>
                <a:gd name="T9" fmla="*/ 75 h 305"/>
                <a:gd name="T10" fmla="*/ 26 w 320"/>
                <a:gd name="T11" fmla="*/ 106 h 305"/>
                <a:gd name="T12" fmla="*/ 14 w 320"/>
                <a:gd name="T13" fmla="*/ 126 h 305"/>
                <a:gd name="T14" fmla="*/ 13 w 320"/>
                <a:gd name="T15" fmla="*/ 143 h 305"/>
                <a:gd name="T16" fmla="*/ 1 w 320"/>
                <a:gd name="T17" fmla="*/ 157 h 305"/>
                <a:gd name="T18" fmla="*/ 6 w 320"/>
                <a:gd name="T19" fmla="*/ 167 h 305"/>
                <a:gd name="T20" fmla="*/ 8 w 320"/>
                <a:gd name="T21" fmla="*/ 200 h 305"/>
                <a:gd name="T22" fmla="*/ 31 w 320"/>
                <a:gd name="T23" fmla="*/ 201 h 305"/>
                <a:gd name="T24" fmla="*/ 41 w 320"/>
                <a:gd name="T25" fmla="*/ 191 h 305"/>
                <a:gd name="T26" fmla="*/ 57 w 320"/>
                <a:gd name="T27" fmla="*/ 211 h 305"/>
                <a:gd name="T28" fmla="*/ 73 w 320"/>
                <a:gd name="T29" fmla="*/ 170 h 305"/>
                <a:gd name="T30" fmla="*/ 89 w 320"/>
                <a:gd name="T31" fmla="*/ 179 h 305"/>
                <a:gd name="T32" fmla="*/ 99 w 320"/>
                <a:gd name="T33" fmla="*/ 194 h 305"/>
                <a:gd name="T34" fmla="*/ 116 w 320"/>
                <a:gd name="T35" fmla="*/ 194 h 305"/>
                <a:gd name="T36" fmla="*/ 128 w 320"/>
                <a:gd name="T37" fmla="*/ 181 h 305"/>
                <a:gd name="T38" fmla="*/ 137 w 320"/>
                <a:gd name="T39" fmla="*/ 194 h 305"/>
                <a:gd name="T40" fmla="*/ 155 w 320"/>
                <a:gd name="T41" fmla="*/ 187 h 305"/>
                <a:gd name="T42" fmla="*/ 165 w 320"/>
                <a:gd name="T43" fmla="*/ 192 h 305"/>
                <a:gd name="T44" fmla="*/ 185 w 320"/>
                <a:gd name="T45" fmla="*/ 193 h 305"/>
                <a:gd name="T46" fmla="*/ 196 w 320"/>
                <a:gd name="T47" fmla="*/ 207 h 305"/>
                <a:gd name="T48" fmla="*/ 216 w 320"/>
                <a:gd name="T49" fmla="*/ 216 h 305"/>
                <a:gd name="T50" fmla="*/ 231 w 320"/>
                <a:gd name="T51" fmla="*/ 242 h 305"/>
                <a:gd name="T52" fmla="*/ 257 w 320"/>
                <a:gd name="T53" fmla="*/ 257 h 305"/>
                <a:gd name="T54" fmla="*/ 262 w 320"/>
                <a:gd name="T55" fmla="*/ 277 h 305"/>
                <a:gd name="T56" fmla="*/ 280 w 320"/>
                <a:gd name="T57" fmla="*/ 283 h 305"/>
                <a:gd name="T58" fmla="*/ 288 w 320"/>
                <a:gd name="T59" fmla="*/ 295 h 305"/>
                <a:gd name="T60" fmla="*/ 304 w 320"/>
                <a:gd name="T61" fmla="*/ 305 h 305"/>
                <a:gd name="T62" fmla="*/ 311 w 320"/>
                <a:gd name="T63" fmla="*/ 293 h 305"/>
                <a:gd name="T64" fmla="*/ 320 w 320"/>
                <a:gd name="T65" fmla="*/ 287 h 305"/>
                <a:gd name="T66" fmla="*/ 304 w 320"/>
                <a:gd name="T67" fmla="*/ 268 h 305"/>
                <a:gd name="T68" fmla="*/ 285 w 320"/>
                <a:gd name="T69" fmla="*/ 264 h 305"/>
                <a:gd name="T70" fmla="*/ 283 w 320"/>
                <a:gd name="T71" fmla="*/ 239 h 305"/>
                <a:gd name="T72" fmla="*/ 241 w 320"/>
                <a:gd name="T73" fmla="*/ 216 h 305"/>
                <a:gd name="T74" fmla="*/ 231 w 320"/>
                <a:gd name="T75" fmla="*/ 181 h 305"/>
                <a:gd name="T76" fmla="*/ 204 w 320"/>
                <a:gd name="T77" fmla="*/ 177 h 305"/>
                <a:gd name="T78" fmla="*/ 190 w 320"/>
                <a:gd name="T79" fmla="*/ 159 h 305"/>
                <a:gd name="T80" fmla="*/ 177 w 320"/>
                <a:gd name="T81" fmla="*/ 165 h 305"/>
                <a:gd name="T82" fmla="*/ 169 w 320"/>
                <a:gd name="T83" fmla="*/ 152 h 305"/>
                <a:gd name="T84" fmla="*/ 157 w 320"/>
                <a:gd name="T85" fmla="*/ 149 h 305"/>
                <a:gd name="T86" fmla="*/ 134 w 320"/>
                <a:gd name="T87" fmla="*/ 117 h 305"/>
                <a:gd name="T88" fmla="*/ 128 w 320"/>
                <a:gd name="T89" fmla="*/ 62 h 305"/>
                <a:gd name="T90" fmla="*/ 100 w 320"/>
                <a:gd name="T91" fmla="*/ 1 h 305"/>
                <a:gd name="T92" fmla="*/ 98 w 320"/>
                <a:gd name="T93" fmla="*/ 0 h 305"/>
                <a:gd name="T94" fmla="*/ 87 w 320"/>
                <a:gd name="T95" fmla="*/ 25 h 305"/>
                <a:gd name="T96" fmla="*/ 51 w 320"/>
                <a:gd name="T97" fmla="*/ 3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0" h="305">
                  <a:moveTo>
                    <a:pt x="51" y="35"/>
                  </a:moveTo>
                  <a:cubicBezTo>
                    <a:pt x="51" y="35"/>
                    <a:pt x="51" y="43"/>
                    <a:pt x="50" y="50"/>
                  </a:cubicBezTo>
                  <a:cubicBezTo>
                    <a:pt x="49" y="57"/>
                    <a:pt x="31" y="57"/>
                    <a:pt x="31" y="5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20" y="72"/>
                    <a:pt x="20" y="75"/>
                  </a:cubicBezTo>
                  <a:cubicBezTo>
                    <a:pt x="20" y="78"/>
                    <a:pt x="26" y="88"/>
                    <a:pt x="26" y="106"/>
                  </a:cubicBezTo>
                  <a:cubicBezTo>
                    <a:pt x="26" y="124"/>
                    <a:pt x="14" y="126"/>
                    <a:pt x="14" y="126"/>
                  </a:cubicBezTo>
                  <a:cubicBezTo>
                    <a:pt x="14" y="126"/>
                    <a:pt x="13" y="136"/>
                    <a:pt x="13" y="143"/>
                  </a:cubicBezTo>
                  <a:cubicBezTo>
                    <a:pt x="13" y="150"/>
                    <a:pt x="2" y="149"/>
                    <a:pt x="1" y="157"/>
                  </a:cubicBezTo>
                  <a:cubicBezTo>
                    <a:pt x="0" y="165"/>
                    <a:pt x="6" y="167"/>
                    <a:pt x="6" y="167"/>
                  </a:cubicBezTo>
                  <a:cubicBezTo>
                    <a:pt x="8" y="200"/>
                    <a:pt x="8" y="200"/>
                    <a:pt x="8" y="200"/>
                  </a:cubicBezTo>
                  <a:cubicBezTo>
                    <a:pt x="31" y="201"/>
                    <a:pt x="31" y="201"/>
                    <a:pt x="31" y="201"/>
                  </a:cubicBezTo>
                  <a:cubicBezTo>
                    <a:pt x="31" y="201"/>
                    <a:pt x="36" y="191"/>
                    <a:pt x="41" y="191"/>
                  </a:cubicBezTo>
                  <a:cubicBezTo>
                    <a:pt x="46" y="191"/>
                    <a:pt x="49" y="211"/>
                    <a:pt x="57" y="211"/>
                  </a:cubicBezTo>
                  <a:cubicBezTo>
                    <a:pt x="65" y="211"/>
                    <a:pt x="73" y="170"/>
                    <a:pt x="73" y="170"/>
                  </a:cubicBezTo>
                  <a:cubicBezTo>
                    <a:pt x="73" y="170"/>
                    <a:pt x="85" y="177"/>
                    <a:pt x="89" y="179"/>
                  </a:cubicBezTo>
                  <a:cubicBezTo>
                    <a:pt x="93" y="181"/>
                    <a:pt x="99" y="194"/>
                    <a:pt x="99" y="194"/>
                  </a:cubicBezTo>
                  <a:cubicBezTo>
                    <a:pt x="99" y="194"/>
                    <a:pt x="113" y="194"/>
                    <a:pt x="116" y="194"/>
                  </a:cubicBezTo>
                  <a:cubicBezTo>
                    <a:pt x="119" y="194"/>
                    <a:pt x="128" y="181"/>
                    <a:pt x="128" y="181"/>
                  </a:cubicBezTo>
                  <a:cubicBezTo>
                    <a:pt x="128" y="181"/>
                    <a:pt x="134" y="194"/>
                    <a:pt x="137" y="194"/>
                  </a:cubicBezTo>
                  <a:cubicBezTo>
                    <a:pt x="140" y="194"/>
                    <a:pt x="151" y="187"/>
                    <a:pt x="155" y="187"/>
                  </a:cubicBezTo>
                  <a:cubicBezTo>
                    <a:pt x="159" y="187"/>
                    <a:pt x="165" y="192"/>
                    <a:pt x="165" y="192"/>
                  </a:cubicBezTo>
                  <a:cubicBezTo>
                    <a:pt x="185" y="193"/>
                    <a:pt x="185" y="193"/>
                    <a:pt x="185" y="193"/>
                  </a:cubicBezTo>
                  <a:cubicBezTo>
                    <a:pt x="196" y="207"/>
                    <a:pt x="196" y="207"/>
                    <a:pt x="196" y="207"/>
                  </a:cubicBezTo>
                  <a:cubicBezTo>
                    <a:pt x="196" y="207"/>
                    <a:pt x="208" y="208"/>
                    <a:pt x="216" y="216"/>
                  </a:cubicBezTo>
                  <a:cubicBezTo>
                    <a:pt x="224" y="224"/>
                    <a:pt x="227" y="234"/>
                    <a:pt x="231" y="242"/>
                  </a:cubicBezTo>
                  <a:cubicBezTo>
                    <a:pt x="235" y="250"/>
                    <a:pt x="253" y="252"/>
                    <a:pt x="257" y="257"/>
                  </a:cubicBezTo>
                  <a:cubicBezTo>
                    <a:pt x="261" y="262"/>
                    <a:pt x="261" y="271"/>
                    <a:pt x="262" y="277"/>
                  </a:cubicBezTo>
                  <a:cubicBezTo>
                    <a:pt x="263" y="283"/>
                    <a:pt x="280" y="283"/>
                    <a:pt x="280" y="283"/>
                  </a:cubicBezTo>
                  <a:cubicBezTo>
                    <a:pt x="288" y="295"/>
                    <a:pt x="288" y="295"/>
                    <a:pt x="288" y="295"/>
                  </a:cubicBezTo>
                  <a:cubicBezTo>
                    <a:pt x="304" y="305"/>
                    <a:pt x="304" y="305"/>
                    <a:pt x="304" y="305"/>
                  </a:cubicBezTo>
                  <a:cubicBezTo>
                    <a:pt x="311" y="293"/>
                    <a:pt x="311" y="293"/>
                    <a:pt x="311" y="293"/>
                  </a:cubicBezTo>
                  <a:cubicBezTo>
                    <a:pt x="320" y="287"/>
                    <a:pt x="320" y="287"/>
                    <a:pt x="320" y="287"/>
                  </a:cubicBezTo>
                  <a:cubicBezTo>
                    <a:pt x="312" y="277"/>
                    <a:pt x="304" y="268"/>
                    <a:pt x="304" y="268"/>
                  </a:cubicBezTo>
                  <a:cubicBezTo>
                    <a:pt x="304" y="268"/>
                    <a:pt x="287" y="271"/>
                    <a:pt x="285" y="264"/>
                  </a:cubicBezTo>
                  <a:cubicBezTo>
                    <a:pt x="283" y="257"/>
                    <a:pt x="283" y="239"/>
                    <a:pt x="283" y="239"/>
                  </a:cubicBezTo>
                  <a:cubicBezTo>
                    <a:pt x="283" y="239"/>
                    <a:pt x="244" y="225"/>
                    <a:pt x="241" y="216"/>
                  </a:cubicBezTo>
                  <a:cubicBezTo>
                    <a:pt x="238" y="207"/>
                    <a:pt x="238" y="185"/>
                    <a:pt x="231" y="181"/>
                  </a:cubicBezTo>
                  <a:cubicBezTo>
                    <a:pt x="224" y="177"/>
                    <a:pt x="207" y="181"/>
                    <a:pt x="204" y="177"/>
                  </a:cubicBezTo>
                  <a:cubicBezTo>
                    <a:pt x="201" y="173"/>
                    <a:pt x="190" y="159"/>
                    <a:pt x="190" y="159"/>
                  </a:cubicBezTo>
                  <a:cubicBezTo>
                    <a:pt x="177" y="165"/>
                    <a:pt x="177" y="165"/>
                    <a:pt x="177" y="165"/>
                  </a:cubicBezTo>
                  <a:cubicBezTo>
                    <a:pt x="169" y="152"/>
                    <a:pt x="169" y="152"/>
                    <a:pt x="169" y="152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7" y="149"/>
                    <a:pt x="137" y="129"/>
                    <a:pt x="134" y="117"/>
                  </a:cubicBezTo>
                  <a:cubicBezTo>
                    <a:pt x="131" y="105"/>
                    <a:pt x="135" y="85"/>
                    <a:pt x="128" y="62"/>
                  </a:cubicBezTo>
                  <a:cubicBezTo>
                    <a:pt x="121" y="39"/>
                    <a:pt x="100" y="1"/>
                    <a:pt x="100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6" y="9"/>
                    <a:pt x="92" y="21"/>
                    <a:pt x="87" y="25"/>
                  </a:cubicBezTo>
                  <a:cubicBezTo>
                    <a:pt x="78" y="33"/>
                    <a:pt x="51" y="35"/>
                    <a:pt x="51" y="35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Freeform 290">
              <a:extLst>
                <a:ext uri="{FF2B5EF4-FFF2-40B4-BE49-F238E27FC236}">
                  <a16:creationId xmlns:a16="http://schemas.microsoft.com/office/drawing/2014/main" id="{E29A8578-B332-D073-03CE-E4701C6FE9D3}"/>
                </a:ext>
              </a:extLst>
            </p:cNvPr>
            <p:cNvSpPr>
              <a:spLocks/>
            </p:cNvSpPr>
            <p:nvPr/>
          </p:nvSpPr>
          <p:spPr bwMode="gray">
            <a:xfrm>
              <a:off x="-2771" y="-11872"/>
              <a:ext cx="1674" cy="1453"/>
            </a:xfrm>
            <a:custGeom>
              <a:avLst/>
              <a:gdLst>
                <a:gd name="T0" fmla="*/ 75 w 709"/>
                <a:gd name="T1" fmla="*/ 428 h 615"/>
                <a:gd name="T2" fmla="*/ 87 w 709"/>
                <a:gd name="T3" fmla="*/ 442 h 615"/>
                <a:gd name="T4" fmla="*/ 96 w 709"/>
                <a:gd name="T5" fmla="*/ 471 h 615"/>
                <a:gd name="T6" fmla="*/ 133 w 709"/>
                <a:gd name="T7" fmla="*/ 513 h 615"/>
                <a:gd name="T8" fmla="*/ 138 w 709"/>
                <a:gd name="T9" fmla="*/ 545 h 615"/>
                <a:gd name="T10" fmla="*/ 191 w 709"/>
                <a:gd name="T11" fmla="*/ 562 h 615"/>
                <a:gd name="T12" fmla="*/ 282 w 709"/>
                <a:gd name="T13" fmla="*/ 606 h 615"/>
                <a:gd name="T14" fmla="*/ 326 w 709"/>
                <a:gd name="T15" fmla="*/ 601 h 615"/>
                <a:gd name="T16" fmla="*/ 360 w 709"/>
                <a:gd name="T17" fmla="*/ 577 h 615"/>
                <a:gd name="T18" fmla="*/ 388 w 709"/>
                <a:gd name="T19" fmla="*/ 585 h 615"/>
                <a:gd name="T20" fmla="*/ 410 w 709"/>
                <a:gd name="T21" fmla="*/ 582 h 615"/>
                <a:gd name="T22" fmla="*/ 434 w 709"/>
                <a:gd name="T23" fmla="*/ 574 h 615"/>
                <a:gd name="T24" fmla="*/ 480 w 709"/>
                <a:gd name="T25" fmla="*/ 549 h 615"/>
                <a:gd name="T26" fmla="*/ 569 w 709"/>
                <a:gd name="T27" fmla="*/ 535 h 615"/>
                <a:gd name="T28" fmla="*/ 661 w 709"/>
                <a:gd name="T29" fmla="*/ 373 h 615"/>
                <a:gd name="T30" fmla="*/ 527 w 709"/>
                <a:gd name="T31" fmla="*/ 320 h 615"/>
                <a:gd name="T32" fmla="*/ 491 w 709"/>
                <a:gd name="T33" fmla="*/ 295 h 615"/>
                <a:gd name="T34" fmla="*/ 462 w 709"/>
                <a:gd name="T35" fmla="*/ 246 h 615"/>
                <a:gd name="T36" fmla="*/ 454 w 709"/>
                <a:gd name="T37" fmla="*/ 230 h 615"/>
                <a:gd name="T38" fmla="*/ 454 w 709"/>
                <a:gd name="T39" fmla="*/ 201 h 615"/>
                <a:gd name="T40" fmla="*/ 419 w 709"/>
                <a:gd name="T41" fmla="*/ 211 h 615"/>
                <a:gd name="T42" fmla="*/ 421 w 709"/>
                <a:gd name="T43" fmla="*/ 164 h 615"/>
                <a:gd name="T44" fmla="*/ 431 w 709"/>
                <a:gd name="T45" fmla="*/ 113 h 615"/>
                <a:gd name="T46" fmla="*/ 408 w 709"/>
                <a:gd name="T47" fmla="*/ 87 h 615"/>
                <a:gd name="T48" fmla="*/ 367 w 709"/>
                <a:gd name="T49" fmla="*/ 46 h 615"/>
                <a:gd name="T50" fmla="*/ 336 w 709"/>
                <a:gd name="T51" fmla="*/ 23 h 615"/>
                <a:gd name="T52" fmla="*/ 306 w 709"/>
                <a:gd name="T53" fmla="*/ 17 h 615"/>
                <a:gd name="T54" fmla="*/ 279 w 709"/>
                <a:gd name="T55" fmla="*/ 11 h 615"/>
                <a:gd name="T56" fmla="*/ 250 w 709"/>
                <a:gd name="T57" fmla="*/ 24 h 615"/>
                <a:gd name="T58" fmla="*/ 224 w 709"/>
                <a:gd name="T59" fmla="*/ 0 h 615"/>
                <a:gd name="T60" fmla="*/ 192 w 709"/>
                <a:gd name="T61" fmla="*/ 21 h 615"/>
                <a:gd name="T62" fmla="*/ 159 w 709"/>
                <a:gd name="T63" fmla="*/ 30 h 615"/>
                <a:gd name="T64" fmla="*/ 143 w 709"/>
                <a:gd name="T65" fmla="*/ 88 h 615"/>
                <a:gd name="T66" fmla="*/ 123 w 709"/>
                <a:gd name="T67" fmla="*/ 116 h 615"/>
                <a:gd name="T68" fmla="*/ 110 w 709"/>
                <a:gd name="T69" fmla="*/ 155 h 615"/>
                <a:gd name="T70" fmla="*/ 96 w 709"/>
                <a:gd name="T71" fmla="*/ 179 h 615"/>
                <a:gd name="T72" fmla="*/ 90 w 709"/>
                <a:gd name="T73" fmla="*/ 221 h 615"/>
                <a:gd name="T74" fmla="*/ 71 w 709"/>
                <a:gd name="T75" fmla="*/ 215 h 615"/>
                <a:gd name="T76" fmla="*/ 65 w 709"/>
                <a:gd name="T77" fmla="*/ 256 h 615"/>
                <a:gd name="T78" fmla="*/ 54 w 709"/>
                <a:gd name="T79" fmla="*/ 305 h 615"/>
                <a:gd name="T80" fmla="*/ 36 w 709"/>
                <a:gd name="T81" fmla="*/ 351 h 615"/>
                <a:gd name="T82" fmla="*/ 8 w 709"/>
                <a:gd name="T83" fmla="*/ 345 h 615"/>
                <a:gd name="T84" fmla="*/ 3 w 709"/>
                <a:gd name="T85" fmla="*/ 383 h 615"/>
                <a:gd name="T86" fmla="*/ 55 w 709"/>
                <a:gd name="T87" fmla="*/ 405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09" h="615">
                  <a:moveTo>
                    <a:pt x="60" y="425"/>
                  </a:moveTo>
                  <a:cubicBezTo>
                    <a:pt x="64" y="430"/>
                    <a:pt x="75" y="428"/>
                    <a:pt x="75" y="428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9" y="467"/>
                    <a:pt x="89" y="467"/>
                    <a:pt x="89" y="467"/>
                  </a:cubicBezTo>
                  <a:cubicBezTo>
                    <a:pt x="96" y="471"/>
                    <a:pt x="96" y="471"/>
                    <a:pt x="96" y="471"/>
                  </a:cubicBezTo>
                  <a:cubicBezTo>
                    <a:pt x="96" y="471"/>
                    <a:pt x="98" y="498"/>
                    <a:pt x="108" y="506"/>
                  </a:cubicBezTo>
                  <a:cubicBezTo>
                    <a:pt x="118" y="514"/>
                    <a:pt x="128" y="505"/>
                    <a:pt x="133" y="513"/>
                  </a:cubicBezTo>
                  <a:cubicBezTo>
                    <a:pt x="138" y="521"/>
                    <a:pt x="137" y="535"/>
                    <a:pt x="137" y="535"/>
                  </a:cubicBezTo>
                  <a:cubicBezTo>
                    <a:pt x="138" y="545"/>
                    <a:pt x="138" y="545"/>
                    <a:pt x="138" y="545"/>
                  </a:cubicBezTo>
                  <a:cubicBezTo>
                    <a:pt x="144" y="560"/>
                    <a:pt x="144" y="560"/>
                    <a:pt x="144" y="560"/>
                  </a:cubicBezTo>
                  <a:cubicBezTo>
                    <a:pt x="191" y="562"/>
                    <a:pt x="191" y="562"/>
                    <a:pt x="191" y="562"/>
                  </a:cubicBezTo>
                  <a:cubicBezTo>
                    <a:pt x="242" y="602"/>
                    <a:pt x="242" y="602"/>
                    <a:pt x="242" y="602"/>
                  </a:cubicBezTo>
                  <a:cubicBezTo>
                    <a:pt x="242" y="602"/>
                    <a:pt x="269" y="604"/>
                    <a:pt x="282" y="606"/>
                  </a:cubicBezTo>
                  <a:cubicBezTo>
                    <a:pt x="295" y="608"/>
                    <a:pt x="313" y="615"/>
                    <a:pt x="313" y="615"/>
                  </a:cubicBezTo>
                  <a:cubicBezTo>
                    <a:pt x="326" y="601"/>
                    <a:pt x="326" y="601"/>
                    <a:pt x="326" y="601"/>
                  </a:cubicBezTo>
                  <a:cubicBezTo>
                    <a:pt x="326" y="601"/>
                    <a:pt x="324" y="597"/>
                    <a:pt x="331" y="591"/>
                  </a:cubicBezTo>
                  <a:cubicBezTo>
                    <a:pt x="338" y="585"/>
                    <a:pt x="360" y="577"/>
                    <a:pt x="360" y="577"/>
                  </a:cubicBezTo>
                  <a:cubicBezTo>
                    <a:pt x="372" y="568"/>
                    <a:pt x="372" y="568"/>
                    <a:pt x="372" y="568"/>
                  </a:cubicBezTo>
                  <a:cubicBezTo>
                    <a:pt x="388" y="585"/>
                    <a:pt x="388" y="585"/>
                    <a:pt x="388" y="585"/>
                  </a:cubicBezTo>
                  <a:cubicBezTo>
                    <a:pt x="406" y="586"/>
                    <a:pt x="406" y="586"/>
                    <a:pt x="406" y="586"/>
                  </a:cubicBezTo>
                  <a:cubicBezTo>
                    <a:pt x="410" y="582"/>
                    <a:pt x="410" y="582"/>
                    <a:pt x="410" y="582"/>
                  </a:cubicBezTo>
                  <a:cubicBezTo>
                    <a:pt x="426" y="588"/>
                    <a:pt x="426" y="588"/>
                    <a:pt x="426" y="588"/>
                  </a:cubicBezTo>
                  <a:cubicBezTo>
                    <a:pt x="426" y="588"/>
                    <a:pt x="426" y="577"/>
                    <a:pt x="434" y="574"/>
                  </a:cubicBezTo>
                  <a:cubicBezTo>
                    <a:pt x="442" y="571"/>
                    <a:pt x="467" y="573"/>
                    <a:pt x="473" y="567"/>
                  </a:cubicBezTo>
                  <a:cubicBezTo>
                    <a:pt x="479" y="561"/>
                    <a:pt x="480" y="549"/>
                    <a:pt x="480" y="549"/>
                  </a:cubicBezTo>
                  <a:cubicBezTo>
                    <a:pt x="480" y="549"/>
                    <a:pt x="505" y="537"/>
                    <a:pt x="513" y="535"/>
                  </a:cubicBezTo>
                  <a:cubicBezTo>
                    <a:pt x="521" y="533"/>
                    <a:pt x="569" y="535"/>
                    <a:pt x="569" y="535"/>
                  </a:cubicBezTo>
                  <a:cubicBezTo>
                    <a:pt x="709" y="370"/>
                    <a:pt x="709" y="370"/>
                    <a:pt x="709" y="370"/>
                  </a:cubicBezTo>
                  <a:cubicBezTo>
                    <a:pt x="661" y="373"/>
                    <a:pt x="661" y="373"/>
                    <a:pt x="661" y="373"/>
                  </a:cubicBezTo>
                  <a:cubicBezTo>
                    <a:pt x="661" y="373"/>
                    <a:pt x="628" y="353"/>
                    <a:pt x="609" y="347"/>
                  </a:cubicBezTo>
                  <a:cubicBezTo>
                    <a:pt x="590" y="341"/>
                    <a:pt x="538" y="328"/>
                    <a:pt x="527" y="320"/>
                  </a:cubicBezTo>
                  <a:cubicBezTo>
                    <a:pt x="516" y="312"/>
                    <a:pt x="506" y="295"/>
                    <a:pt x="506" y="295"/>
                  </a:cubicBezTo>
                  <a:cubicBezTo>
                    <a:pt x="491" y="295"/>
                    <a:pt x="491" y="295"/>
                    <a:pt x="491" y="295"/>
                  </a:cubicBezTo>
                  <a:cubicBezTo>
                    <a:pt x="491" y="295"/>
                    <a:pt x="487" y="278"/>
                    <a:pt x="481" y="270"/>
                  </a:cubicBezTo>
                  <a:cubicBezTo>
                    <a:pt x="475" y="262"/>
                    <a:pt x="462" y="246"/>
                    <a:pt x="462" y="246"/>
                  </a:cubicBezTo>
                  <a:cubicBezTo>
                    <a:pt x="463" y="238"/>
                    <a:pt x="463" y="238"/>
                    <a:pt x="463" y="238"/>
                  </a:cubicBezTo>
                  <a:cubicBezTo>
                    <a:pt x="454" y="230"/>
                    <a:pt x="454" y="230"/>
                    <a:pt x="454" y="230"/>
                  </a:cubicBezTo>
                  <a:cubicBezTo>
                    <a:pt x="467" y="210"/>
                    <a:pt x="467" y="210"/>
                    <a:pt x="467" y="210"/>
                  </a:cubicBezTo>
                  <a:cubicBezTo>
                    <a:pt x="463" y="206"/>
                    <a:pt x="458" y="202"/>
                    <a:pt x="454" y="201"/>
                  </a:cubicBezTo>
                  <a:cubicBezTo>
                    <a:pt x="447" y="200"/>
                    <a:pt x="444" y="208"/>
                    <a:pt x="444" y="208"/>
                  </a:cubicBezTo>
                  <a:cubicBezTo>
                    <a:pt x="444" y="208"/>
                    <a:pt x="427" y="212"/>
                    <a:pt x="419" y="211"/>
                  </a:cubicBezTo>
                  <a:cubicBezTo>
                    <a:pt x="411" y="210"/>
                    <a:pt x="408" y="173"/>
                    <a:pt x="408" y="173"/>
                  </a:cubicBezTo>
                  <a:cubicBezTo>
                    <a:pt x="421" y="164"/>
                    <a:pt x="421" y="164"/>
                    <a:pt x="421" y="164"/>
                  </a:cubicBezTo>
                  <a:cubicBezTo>
                    <a:pt x="439" y="125"/>
                    <a:pt x="439" y="125"/>
                    <a:pt x="439" y="125"/>
                  </a:cubicBezTo>
                  <a:cubicBezTo>
                    <a:pt x="431" y="113"/>
                    <a:pt x="431" y="113"/>
                    <a:pt x="431" y="113"/>
                  </a:cubicBezTo>
                  <a:cubicBezTo>
                    <a:pt x="431" y="113"/>
                    <a:pt x="414" y="113"/>
                    <a:pt x="413" y="107"/>
                  </a:cubicBezTo>
                  <a:cubicBezTo>
                    <a:pt x="412" y="101"/>
                    <a:pt x="412" y="92"/>
                    <a:pt x="408" y="87"/>
                  </a:cubicBezTo>
                  <a:cubicBezTo>
                    <a:pt x="404" y="82"/>
                    <a:pt x="386" y="80"/>
                    <a:pt x="382" y="72"/>
                  </a:cubicBezTo>
                  <a:cubicBezTo>
                    <a:pt x="378" y="64"/>
                    <a:pt x="375" y="54"/>
                    <a:pt x="367" y="46"/>
                  </a:cubicBezTo>
                  <a:cubicBezTo>
                    <a:pt x="359" y="38"/>
                    <a:pt x="347" y="37"/>
                    <a:pt x="347" y="37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16" y="22"/>
                    <a:pt x="316" y="22"/>
                    <a:pt x="316" y="22"/>
                  </a:cubicBezTo>
                  <a:cubicBezTo>
                    <a:pt x="316" y="22"/>
                    <a:pt x="310" y="17"/>
                    <a:pt x="306" y="17"/>
                  </a:cubicBezTo>
                  <a:cubicBezTo>
                    <a:pt x="302" y="17"/>
                    <a:pt x="291" y="24"/>
                    <a:pt x="288" y="24"/>
                  </a:cubicBezTo>
                  <a:cubicBezTo>
                    <a:pt x="285" y="24"/>
                    <a:pt x="279" y="11"/>
                    <a:pt x="279" y="11"/>
                  </a:cubicBezTo>
                  <a:cubicBezTo>
                    <a:pt x="279" y="11"/>
                    <a:pt x="270" y="24"/>
                    <a:pt x="267" y="24"/>
                  </a:cubicBezTo>
                  <a:cubicBezTo>
                    <a:pt x="264" y="24"/>
                    <a:pt x="250" y="24"/>
                    <a:pt x="250" y="24"/>
                  </a:cubicBezTo>
                  <a:cubicBezTo>
                    <a:pt x="250" y="24"/>
                    <a:pt x="244" y="11"/>
                    <a:pt x="240" y="9"/>
                  </a:cubicBezTo>
                  <a:cubicBezTo>
                    <a:pt x="236" y="7"/>
                    <a:pt x="224" y="0"/>
                    <a:pt x="224" y="0"/>
                  </a:cubicBezTo>
                  <a:cubicBezTo>
                    <a:pt x="224" y="0"/>
                    <a:pt x="216" y="41"/>
                    <a:pt x="208" y="41"/>
                  </a:cubicBezTo>
                  <a:cubicBezTo>
                    <a:pt x="200" y="41"/>
                    <a:pt x="197" y="21"/>
                    <a:pt x="192" y="21"/>
                  </a:cubicBezTo>
                  <a:cubicBezTo>
                    <a:pt x="187" y="21"/>
                    <a:pt x="182" y="31"/>
                    <a:pt x="182" y="31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159" y="60"/>
                    <a:pt x="159" y="60"/>
                    <a:pt x="159" y="60"/>
                  </a:cubicBezTo>
                  <a:cubicBezTo>
                    <a:pt x="159" y="60"/>
                    <a:pt x="143" y="80"/>
                    <a:pt x="143" y="88"/>
                  </a:cubicBezTo>
                  <a:cubicBezTo>
                    <a:pt x="143" y="96"/>
                    <a:pt x="145" y="114"/>
                    <a:pt x="145" y="114"/>
                  </a:cubicBezTo>
                  <a:cubicBezTo>
                    <a:pt x="123" y="116"/>
                    <a:pt x="123" y="116"/>
                    <a:pt x="123" y="116"/>
                  </a:cubicBezTo>
                  <a:cubicBezTo>
                    <a:pt x="123" y="116"/>
                    <a:pt x="112" y="130"/>
                    <a:pt x="111" y="135"/>
                  </a:cubicBezTo>
                  <a:cubicBezTo>
                    <a:pt x="110" y="140"/>
                    <a:pt x="115" y="150"/>
                    <a:pt x="110" y="155"/>
                  </a:cubicBezTo>
                  <a:cubicBezTo>
                    <a:pt x="105" y="160"/>
                    <a:pt x="94" y="164"/>
                    <a:pt x="94" y="164"/>
                  </a:cubicBezTo>
                  <a:cubicBezTo>
                    <a:pt x="96" y="179"/>
                    <a:pt x="96" y="179"/>
                    <a:pt x="96" y="179"/>
                  </a:cubicBezTo>
                  <a:cubicBezTo>
                    <a:pt x="89" y="190"/>
                    <a:pt x="89" y="190"/>
                    <a:pt x="89" y="190"/>
                  </a:cubicBezTo>
                  <a:cubicBezTo>
                    <a:pt x="89" y="190"/>
                    <a:pt x="96" y="213"/>
                    <a:pt x="90" y="221"/>
                  </a:cubicBezTo>
                  <a:cubicBezTo>
                    <a:pt x="84" y="229"/>
                    <a:pt x="78" y="226"/>
                    <a:pt x="78" y="226"/>
                  </a:cubicBezTo>
                  <a:cubicBezTo>
                    <a:pt x="78" y="226"/>
                    <a:pt x="76" y="215"/>
                    <a:pt x="71" y="215"/>
                  </a:cubicBezTo>
                  <a:cubicBezTo>
                    <a:pt x="66" y="215"/>
                    <a:pt x="60" y="228"/>
                    <a:pt x="60" y="235"/>
                  </a:cubicBezTo>
                  <a:cubicBezTo>
                    <a:pt x="60" y="242"/>
                    <a:pt x="66" y="253"/>
                    <a:pt x="65" y="256"/>
                  </a:cubicBezTo>
                  <a:cubicBezTo>
                    <a:pt x="64" y="259"/>
                    <a:pt x="49" y="270"/>
                    <a:pt x="48" y="278"/>
                  </a:cubicBezTo>
                  <a:cubicBezTo>
                    <a:pt x="47" y="286"/>
                    <a:pt x="54" y="305"/>
                    <a:pt x="54" y="305"/>
                  </a:cubicBezTo>
                  <a:cubicBezTo>
                    <a:pt x="54" y="305"/>
                    <a:pt x="57" y="336"/>
                    <a:pt x="50" y="341"/>
                  </a:cubicBezTo>
                  <a:cubicBezTo>
                    <a:pt x="43" y="346"/>
                    <a:pt x="36" y="351"/>
                    <a:pt x="36" y="351"/>
                  </a:cubicBezTo>
                  <a:cubicBezTo>
                    <a:pt x="31" y="346"/>
                    <a:pt x="31" y="346"/>
                    <a:pt x="31" y="346"/>
                  </a:cubicBezTo>
                  <a:cubicBezTo>
                    <a:pt x="8" y="345"/>
                    <a:pt x="8" y="345"/>
                    <a:pt x="8" y="345"/>
                  </a:cubicBezTo>
                  <a:cubicBezTo>
                    <a:pt x="10" y="361"/>
                    <a:pt x="10" y="361"/>
                    <a:pt x="10" y="361"/>
                  </a:cubicBezTo>
                  <a:cubicBezTo>
                    <a:pt x="10" y="361"/>
                    <a:pt x="0" y="378"/>
                    <a:pt x="3" y="383"/>
                  </a:cubicBezTo>
                  <a:cubicBezTo>
                    <a:pt x="6" y="388"/>
                    <a:pt x="22" y="382"/>
                    <a:pt x="30" y="386"/>
                  </a:cubicBezTo>
                  <a:cubicBezTo>
                    <a:pt x="38" y="390"/>
                    <a:pt x="55" y="405"/>
                    <a:pt x="55" y="405"/>
                  </a:cubicBezTo>
                  <a:cubicBezTo>
                    <a:pt x="55" y="405"/>
                    <a:pt x="56" y="420"/>
                    <a:pt x="60" y="425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Freeform 291">
              <a:extLst>
                <a:ext uri="{FF2B5EF4-FFF2-40B4-BE49-F238E27FC236}">
                  <a16:creationId xmlns:a16="http://schemas.microsoft.com/office/drawing/2014/main" id="{D4C704DC-9A4A-7BAD-762C-7E7FB71FFED9}"/>
                </a:ext>
              </a:extLst>
            </p:cNvPr>
            <p:cNvSpPr>
              <a:spLocks/>
            </p:cNvSpPr>
            <p:nvPr/>
          </p:nvSpPr>
          <p:spPr bwMode="gray">
            <a:xfrm>
              <a:off x="-3771" y="-14005"/>
              <a:ext cx="1252" cy="1290"/>
            </a:xfrm>
            <a:custGeom>
              <a:avLst/>
              <a:gdLst>
                <a:gd name="T0" fmla="*/ 11 w 530"/>
                <a:gd name="T1" fmla="*/ 13 h 546"/>
                <a:gd name="T2" fmla="*/ 7 w 530"/>
                <a:gd name="T3" fmla="*/ 34 h 546"/>
                <a:gd name="T4" fmla="*/ 17 w 530"/>
                <a:gd name="T5" fmla="*/ 54 h 546"/>
                <a:gd name="T6" fmla="*/ 3 w 530"/>
                <a:gd name="T7" fmla="*/ 82 h 546"/>
                <a:gd name="T8" fmla="*/ 21 w 530"/>
                <a:gd name="T9" fmla="*/ 120 h 546"/>
                <a:gd name="T10" fmla="*/ 34 w 530"/>
                <a:gd name="T11" fmla="*/ 518 h 546"/>
                <a:gd name="T12" fmla="*/ 320 w 530"/>
                <a:gd name="T13" fmla="*/ 522 h 546"/>
                <a:gd name="T14" fmla="*/ 329 w 530"/>
                <a:gd name="T15" fmla="*/ 510 h 546"/>
                <a:gd name="T16" fmla="*/ 334 w 530"/>
                <a:gd name="T17" fmla="*/ 518 h 546"/>
                <a:gd name="T18" fmla="*/ 413 w 530"/>
                <a:gd name="T19" fmla="*/ 521 h 546"/>
                <a:gd name="T20" fmla="*/ 438 w 530"/>
                <a:gd name="T21" fmla="*/ 539 h 546"/>
                <a:gd name="T22" fmla="*/ 460 w 530"/>
                <a:gd name="T23" fmla="*/ 508 h 546"/>
                <a:gd name="T24" fmla="*/ 482 w 530"/>
                <a:gd name="T25" fmla="*/ 505 h 546"/>
                <a:gd name="T26" fmla="*/ 492 w 530"/>
                <a:gd name="T27" fmla="*/ 478 h 546"/>
                <a:gd name="T28" fmla="*/ 509 w 530"/>
                <a:gd name="T29" fmla="*/ 477 h 546"/>
                <a:gd name="T30" fmla="*/ 525 w 530"/>
                <a:gd name="T31" fmla="*/ 462 h 546"/>
                <a:gd name="T32" fmla="*/ 520 w 530"/>
                <a:gd name="T33" fmla="*/ 445 h 546"/>
                <a:gd name="T34" fmla="*/ 518 w 530"/>
                <a:gd name="T35" fmla="*/ 416 h 546"/>
                <a:gd name="T36" fmla="*/ 530 w 530"/>
                <a:gd name="T37" fmla="*/ 415 h 546"/>
                <a:gd name="T38" fmla="*/ 490 w 530"/>
                <a:gd name="T39" fmla="*/ 369 h 546"/>
                <a:gd name="T40" fmla="*/ 469 w 530"/>
                <a:gd name="T41" fmla="*/ 315 h 546"/>
                <a:gd name="T42" fmla="*/ 448 w 530"/>
                <a:gd name="T43" fmla="*/ 288 h 546"/>
                <a:gd name="T44" fmla="*/ 440 w 530"/>
                <a:gd name="T45" fmla="*/ 252 h 546"/>
                <a:gd name="T46" fmla="*/ 415 w 530"/>
                <a:gd name="T47" fmla="*/ 225 h 546"/>
                <a:gd name="T48" fmla="*/ 412 w 530"/>
                <a:gd name="T49" fmla="*/ 204 h 546"/>
                <a:gd name="T50" fmla="*/ 378 w 530"/>
                <a:gd name="T51" fmla="*/ 161 h 546"/>
                <a:gd name="T52" fmla="*/ 368 w 530"/>
                <a:gd name="T53" fmla="*/ 147 h 546"/>
                <a:gd name="T54" fmla="*/ 368 w 530"/>
                <a:gd name="T55" fmla="*/ 126 h 546"/>
                <a:gd name="T56" fmla="*/ 350 w 530"/>
                <a:gd name="T57" fmla="*/ 112 h 546"/>
                <a:gd name="T58" fmla="*/ 361 w 530"/>
                <a:gd name="T59" fmla="*/ 99 h 546"/>
                <a:gd name="T60" fmla="*/ 373 w 530"/>
                <a:gd name="T61" fmla="*/ 107 h 546"/>
                <a:gd name="T62" fmla="*/ 381 w 530"/>
                <a:gd name="T63" fmla="*/ 130 h 546"/>
                <a:gd name="T64" fmla="*/ 395 w 530"/>
                <a:gd name="T65" fmla="*/ 145 h 546"/>
                <a:gd name="T66" fmla="*/ 394 w 530"/>
                <a:gd name="T67" fmla="*/ 162 h 546"/>
                <a:gd name="T68" fmla="*/ 438 w 530"/>
                <a:gd name="T69" fmla="*/ 207 h 546"/>
                <a:gd name="T70" fmla="*/ 456 w 530"/>
                <a:gd name="T71" fmla="*/ 195 h 546"/>
                <a:gd name="T72" fmla="*/ 449 w 530"/>
                <a:gd name="T73" fmla="*/ 183 h 546"/>
                <a:gd name="T74" fmla="*/ 462 w 530"/>
                <a:gd name="T75" fmla="*/ 143 h 546"/>
                <a:gd name="T76" fmla="*/ 471 w 530"/>
                <a:gd name="T77" fmla="*/ 112 h 546"/>
                <a:gd name="T78" fmla="*/ 435 w 530"/>
                <a:gd name="T79" fmla="*/ 19 h 546"/>
                <a:gd name="T80" fmla="*/ 388 w 530"/>
                <a:gd name="T81" fmla="*/ 30 h 546"/>
                <a:gd name="T82" fmla="*/ 373 w 530"/>
                <a:gd name="T83" fmla="*/ 22 h 546"/>
                <a:gd name="T84" fmla="*/ 350 w 530"/>
                <a:gd name="T85" fmla="*/ 26 h 546"/>
                <a:gd name="T86" fmla="*/ 325 w 530"/>
                <a:gd name="T87" fmla="*/ 7 h 546"/>
                <a:gd name="T88" fmla="*/ 288 w 530"/>
                <a:gd name="T89" fmla="*/ 14 h 546"/>
                <a:gd name="T90" fmla="*/ 262 w 530"/>
                <a:gd name="T91" fmla="*/ 11 h 546"/>
                <a:gd name="T92" fmla="*/ 243 w 530"/>
                <a:gd name="T93" fmla="*/ 30 h 546"/>
                <a:gd name="T94" fmla="*/ 227 w 530"/>
                <a:gd name="T95" fmla="*/ 30 h 546"/>
                <a:gd name="T96" fmla="*/ 210 w 530"/>
                <a:gd name="T97" fmla="*/ 43 h 546"/>
                <a:gd name="T98" fmla="*/ 170 w 530"/>
                <a:gd name="T99" fmla="*/ 29 h 546"/>
                <a:gd name="T100" fmla="*/ 140 w 530"/>
                <a:gd name="T101" fmla="*/ 29 h 546"/>
                <a:gd name="T102" fmla="*/ 112 w 530"/>
                <a:gd name="T103" fmla="*/ 13 h 546"/>
                <a:gd name="T104" fmla="*/ 89 w 530"/>
                <a:gd name="T105" fmla="*/ 12 h 546"/>
                <a:gd name="T106" fmla="*/ 60 w 530"/>
                <a:gd name="T107" fmla="*/ 1 h 546"/>
                <a:gd name="T108" fmla="*/ 31 w 530"/>
                <a:gd name="T109" fmla="*/ 6 h 546"/>
                <a:gd name="T110" fmla="*/ 24 w 530"/>
                <a:gd name="T111" fmla="*/ 0 h 546"/>
                <a:gd name="T112" fmla="*/ 11 w 530"/>
                <a:gd name="T113" fmla="*/ 13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0" h="546">
                  <a:moveTo>
                    <a:pt x="11" y="13"/>
                  </a:moveTo>
                  <a:cubicBezTo>
                    <a:pt x="6" y="16"/>
                    <a:pt x="6" y="30"/>
                    <a:pt x="7" y="34"/>
                  </a:cubicBezTo>
                  <a:cubicBezTo>
                    <a:pt x="8" y="38"/>
                    <a:pt x="20" y="45"/>
                    <a:pt x="17" y="54"/>
                  </a:cubicBezTo>
                  <a:cubicBezTo>
                    <a:pt x="14" y="63"/>
                    <a:pt x="0" y="75"/>
                    <a:pt x="3" y="82"/>
                  </a:cubicBezTo>
                  <a:cubicBezTo>
                    <a:pt x="6" y="89"/>
                    <a:pt x="21" y="107"/>
                    <a:pt x="21" y="120"/>
                  </a:cubicBezTo>
                  <a:cubicBezTo>
                    <a:pt x="21" y="133"/>
                    <a:pt x="34" y="518"/>
                    <a:pt x="34" y="518"/>
                  </a:cubicBezTo>
                  <a:cubicBezTo>
                    <a:pt x="320" y="522"/>
                    <a:pt x="320" y="522"/>
                    <a:pt x="320" y="522"/>
                  </a:cubicBezTo>
                  <a:cubicBezTo>
                    <a:pt x="320" y="522"/>
                    <a:pt x="322" y="512"/>
                    <a:pt x="329" y="510"/>
                  </a:cubicBezTo>
                  <a:cubicBezTo>
                    <a:pt x="336" y="508"/>
                    <a:pt x="334" y="518"/>
                    <a:pt x="334" y="518"/>
                  </a:cubicBezTo>
                  <a:cubicBezTo>
                    <a:pt x="413" y="521"/>
                    <a:pt x="413" y="521"/>
                    <a:pt x="413" y="521"/>
                  </a:cubicBezTo>
                  <a:cubicBezTo>
                    <a:pt x="413" y="521"/>
                    <a:pt x="425" y="546"/>
                    <a:pt x="438" y="539"/>
                  </a:cubicBezTo>
                  <a:cubicBezTo>
                    <a:pt x="451" y="532"/>
                    <a:pt x="450" y="511"/>
                    <a:pt x="460" y="508"/>
                  </a:cubicBezTo>
                  <a:cubicBezTo>
                    <a:pt x="470" y="505"/>
                    <a:pt x="472" y="509"/>
                    <a:pt x="482" y="505"/>
                  </a:cubicBezTo>
                  <a:cubicBezTo>
                    <a:pt x="492" y="501"/>
                    <a:pt x="492" y="478"/>
                    <a:pt x="492" y="478"/>
                  </a:cubicBezTo>
                  <a:cubicBezTo>
                    <a:pt x="509" y="477"/>
                    <a:pt x="509" y="477"/>
                    <a:pt x="509" y="477"/>
                  </a:cubicBezTo>
                  <a:cubicBezTo>
                    <a:pt x="525" y="462"/>
                    <a:pt x="525" y="462"/>
                    <a:pt x="525" y="462"/>
                  </a:cubicBezTo>
                  <a:cubicBezTo>
                    <a:pt x="522" y="456"/>
                    <a:pt x="520" y="450"/>
                    <a:pt x="520" y="445"/>
                  </a:cubicBezTo>
                  <a:cubicBezTo>
                    <a:pt x="519" y="430"/>
                    <a:pt x="518" y="416"/>
                    <a:pt x="518" y="416"/>
                  </a:cubicBezTo>
                  <a:cubicBezTo>
                    <a:pt x="530" y="415"/>
                    <a:pt x="530" y="415"/>
                    <a:pt x="530" y="415"/>
                  </a:cubicBezTo>
                  <a:cubicBezTo>
                    <a:pt x="530" y="415"/>
                    <a:pt x="503" y="397"/>
                    <a:pt x="490" y="369"/>
                  </a:cubicBezTo>
                  <a:cubicBezTo>
                    <a:pt x="477" y="341"/>
                    <a:pt x="478" y="326"/>
                    <a:pt x="469" y="315"/>
                  </a:cubicBezTo>
                  <a:cubicBezTo>
                    <a:pt x="460" y="304"/>
                    <a:pt x="456" y="302"/>
                    <a:pt x="448" y="288"/>
                  </a:cubicBezTo>
                  <a:cubicBezTo>
                    <a:pt x="440" y="274"/>
                    <a:pt x="440" y="252"/>
                    <a:pt x="440" y="252"/>
                  </a:cubicBezTo>
                  <a:cubicBezTo>
                    <a:pt x="415" y="225"/>
                    <a:pt x="415" y="225"/>
                    <a:pt x="415" y="225"/>
                  </a:cubicBezTo>
                  <a:cubicBezTo>
                    <a:pt x="415" y="225"/>
                    <a:pt x="418" y="216"/>
                    <a:pt x="412" y="204"/>
                  </a:cubicBezTo>
                  <a:cubicBezTo>
                    <a:pt x="406" y="192"/>
                    <a:pt x="380" y="170"/>
                    <a:pt x="378" y="161"/>
                  </a:cubicBezTo>
                  <a:cubicBezTo>
                    <a:pt x="376" y="152"/>
                    <a:pt x="368" y="147"/>
                    <a:pt x="368" y="147"/>
                  </a:cubicBezTo>
                  <a:cubicBezTo>
                    <a:pt x="368" y="147"/>
                    <a:pt x="376" y="137"/>
                    <a:pt x="368" y="126"/>
                  </a:cubicBezTo>
                  <a:cubicBezTo>
                    <a:pt x="360" y="115"/>
                    <a:pt x="350" y="112"/>
                    <a:pt x="350" y="112"/>
                  </a:cubicBezTo>
                  <a:cubicBezTo>
                    <a:pt x="361" y="99"/>
                    <a:pt x="361" y="99"/>
                    <a:pt x="361" y="99"/>
                  </a:cubicBezTo>
                  <a:cubicBezTo>
                    <a:pt x="373" y="107"/>
                    <a:pt x="373" y="107"/>
                    <a:pt x="373" y="107"/>
                  </a:cubicBezTo>
                  <a:cubicBezTo>
                    <a:pt x="373" y="107"/>
                    <a:pt x="372" y="124"/>
                    <a:pt x="381" y="130"/>
                  </a:cubicBezTo>
                  <a:cubicBezTo>
                    <a:pt x="390" y="136"/>
                    <a:pt x="395" y="145"/>
                    <a:pt x="395" y="145"/>
                  </a:cubicBezTo>
                  <a:cubicBezTo>
                    <a:pt x="394" y="162"/>
                    <a:pt x="394" y="162"/>
                    <a:pt x="394" y="162"/>
                  </a:cubicBezTo>
                  <a:cubicBezTo>
                    <a:pt x="394" y="162"/>
                    <a:pt x="426" y="214"/>
                    <a:pt x="438" y="207"/>
                  </a:cubicBezTo>
                  <a:cubicBezTo>
                    <a:pt x="450" y="200"/>
                    <a:pt x="456" y="195"/>
                    <a:pt x="456" y="195"/>
                  </a:cubicBezTo>
                  <a:cubicBezTo>
                    <a:pt x="449" y="183"/>
                    <a:pt x="449" y="183"/>
                    <a:pt x="449" y="183"/>
                  </a:cubicBezTo>
                  <a:cubicBezTo>
                    <a:pt x="449" y="183"/>
                    <a:pt x="462" y="157"/>
                    <a:pt x="462" y="143"/>
                  </a:cubicBezTo>
                  <a:cubicBezTo>
                    <a:pt x="462" y="129"/>
                    <a:pt x="471" y="112"/>
                    <a:pt x="471" y="112"/>
                  </a:cubicBezTo>
                  <a:cubicBezTo>
                    <a:pt x="435" y="19"/>
                    <a:pt x="435" y="19"/>
                    <a:pt x="435" y="19"/>
                  </a:cubicBezTo>
                  <a:cubicBezTo>
                    <a:pt x="435" y="19"/>
                    <a:pt x="397" y="34"/>
                    <a:pt x="388" y="30"/>
                  </a:cubicBezTo>
                  <a:cubicBezTo>
                    <a:pt x="379" y="26"/>
                    <a:pt x="373" y="22"/>
                    <a:pt x="373" y="22"/>
                  </a:cubicBezTo>
                  <a:cubicBezTo>
                    <a:pt x="373" y="22"/>
                    <a:pt x="364" y="33"/>
                    <a:pt x="350" y="26"/>
                  </a:cubicBezTo>
                  <a:cubicBezTo>
                    <a:pt x="336" y="19"/>
                    <a:pt x="341" y="10"/>
                    <a:pt x="325" y="7"/>
                  </a:cubicBezTo>
                  <a:cubicBezTo>
                    <a:pt x="309" y="4"/>
                    <a:pt x="288" y="14"/>
                    <a:pt x="288" y="14"/>
                  </a:cubicBezTo>
                  <a:cubicBezTo>
                    <a:pt x="288" y="14"/>
                    <a:pt x="273" y="7"/>
                    <a:pt x="262" y="11"/>
                  </a:cubicBezTo>
                  <a:cubicBezTo>
                    <a:pt x="251" y="15"/>
                    <a:pt x="243" y="30"/>
                    <a:pt x="243" y="30"/>
                  </a:cubicBezTo>
                  <a:cubicBezTo>
                    <a:pt x="243" y="30"/>
                    <a:pt x="231" y="28"/>
                    <a:pt x="227" y="30"/>
                  </a:cubicBezTo>
                  <a:cubicBezTo>
                    <a:pt x="223" y="32"/>
                    <a:pt x="210" y="43"/>
                    <a:pt x="210" y="43"/>
                  </a:cubicBezTo>
                  <a:cubicBezTo>
                    <a:pt x="210" y="43"/>
                    <a:pt x="176" y="29"/>
                    <a:pt x="170" y="29"/>
                  </a:cubicBezTo>
                  <a:cubicBezTo>
                    <a:pt x="164" y="29"/>
                    <a:pt x="153" y="32"/>
                    <a:pt x="140" y="29"/>
                  </a:cubicBezTo>
                  <a:cubicBezTo>
                    <a:pt x="127" y="26"/>
                    <a:pt x="125" y="14"/>
                    <a:pt x="112" y="13"/>
                  </a:cubicBezTo>
                  <a:cubicBezTo>
                    <a:pt x="99" y="12"/>
                    <a:pt x="89" y="12"/>
                    <a:pt x="89" y="12"/>
                  </a:cubicBezTo>
                  <a:cubicBezTo>
                    <a:pt x="89" y="12"/>
                    <a:pt x="69" y="1"/>
                    <a:pt x="60" y="1"/>
                  </a:cubicBezTo>
                  <a:cubicBezTo>
                    <a:pt x="51" y="1"/>
                    <a:pt x="46" y="15"/>
                    <a:pt x="31" y="6"/>
                  </a:cubicBezTo>
                  <a:cubicBezTo>
                    <a:pt x="28" y="4"/>
                    <a:pt x="26" y="2"/>
                    <a:pt x="24" y="0"/>
                  </a:cubicBezTo>
                  <a:cubicBezTo>
                    <a:pt x="21" y="4"/>
                    <a:pt x="15" y="11"/>
                    <a:pt x="11" y="13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Freeform 292">
              <a:extLst>
                <a:ext uri="{FF2B5EF4-FFF2-40B4-BE49-F238E27FC236}">
                  <a16:creationId xmlns:a16="http://schemas.microsoft.com/office/drawing/2014/main" id="{95E5E048-7A36-A074-F434-898A075E8AAA}"/>
                </a:ext>
              </a:extLst>
            </p:cNvPr>
            <p:cNvSpPr>
              <a:spLocks/>
            </p:cNvSpPr>
            <p:nvPr/>
          </p:nvSpPr>
          <p:spPr bwMode="gray">
            <a:xfrm>
              <a:off x="-5504" y="-11645"/>
              <a:ext cx="857" cy="1450"/>
            </a:xfrm>
            <a:custGeom>
              <a:avLst/>
              <a:gdLst>
                <a:gd name="T0" fmla="*/ 275 w 363"/>
                <a:gd name="T1" fmla="*/ 0 h 614"/>
                <a:gd name="T2" fmla="*/ 263 w 363"/>
                <a:gd name="T3" fmla="*/ 43 h 614"/>
                <a:gd name="T4" fmla="*/ 282 w 363"/>
                <a:gd name="T5" fmla="*/ 70 h 614"/>
                <a:gd name="T6" fmla="*/ 256 w 363"/>
                <a:gd name="T7" fmla="*/ 100 h 614"/>
                <a:gd name="T8" fmla="*/ 236 w 363"/>
                <a:gd name="T9" fmla="*/ 136 h 614"/>
                <a:gd name="T10" fmla="*/ 227 w 363"/>
                <a:gd name="T11" fmla="*/ 159 h 614"/>
                <a:gd name="T12" fmla="*/ 207 w 363"/>
                <a:gd name="T13" fmla="*/ 198 h 614"/>
                <a:gd name="T14" fmla="*/ 181 w 363"/>
                <a:gd name="T15" fmla="*/ 250 h 614"/>
                <a:gd name="T16" fmla="*/ 157 w 363"/>
                <a:gd name="T17" fmla="*/ 302 h 614"/>
                <a:gd name="T18" fmla="*/ 140 w 363"/>
                <a:gd name="T19" fmla="*/ 337 h 614"/>
                <a:gd name="T20" fmla="*/ 119 w 363"/>
                <a:gd name="T21" fmla="*/ 342 h 614"/>
                <a:gd name="T22" fmla="*/ 95 w 363"/>
                <a:gd name="T23" fmla="*/ 334 h 614"/>
                <a:gd name="T24" fmla="*/ 56 w 363"/>
                <a:gd name="T25" fmla="*/ 353 h 614"/>
                <a:gd name="T26" fmla="*/ 13 w 363"/>
                <a:gd name="T27" fmla="*/ 428 h 614"/>
                <a:gd name="T28" fmla="*/ 4 w 363"/>
                <a:gd name="T29" fmla="*/ 449 h 614"/>
                <a:gd name="T30" fmla="*/ 18 w 363"/>
                <a:gd name="T31" fmla="*/ 455 h 614"/>
                <a:gd name="T32" fmla="*/ 44 w 363"/>
                <a:gd name="T33" fmla="*/ 497 h 614"/>
                <a:gd name="T34" fmla="*/ 45 w 363"/>
                <a:gd name="T35" fmla="*/ 504 h 614"/>
                <a:gd name="T36" fmla="*/ 70 w 363"/>
                <a:gd name="T37" fmla="*/ 527 h 614"/>
                <a:gd name="T38" fmla="*/ 61 w 363"/>
                <a:gd name="T39" fmla="*/ 559 h 614"/>
                <a:gd name="T40" fmla="*/ 68 w 363"/>
                <a:gd name="T41" fmla="*/ 586 h 614"/>
                <a:gd name="T42" fmla="*/ 144 w 363"/>
                <a:gd name="T43" fmla="*/ 576 h 614"/>
                <a:gd name="T44" fmla="*/ 175 w 363"/>
                <a:gd name="T45" fmla="*/ 585 h 614"/>
                <a:gd name="T46" fmla="*/ 195 w 363"/>
                <a:gd name="T47" fmla="*/ 581 h 614"/>
                <a:gd name="T48" fmla="*/ 227 w 363"/>
                <a:gd name="T49" fmla="*/ 590 h 614"/>
                <a:gd name="T50" fmla="*/ 320 w 363"/>
                <a:gd name="T51" fmla="*/ 600 h 614"/>
                <a:gd name="T52" fmla="*/ 358 w 363"/>
                <a:gd name="T53" fmla="*/ 614 h 614"/>
                <a:gd name="T54" fmla="*/ 363 w 363"/>
                <a:gd name="T55" fmla="*/ 581 h 614"/>
                <a:gd name="T56" fmla="*/ 358 w 363"/>
                <a:gd name="T57" fmla="*/ 556 h 614"/>
                <a:gd name="T58" fmla="*/ 332 w 363"/>
                <a:gd name="T59" fmla="*/ 526 h 614"/>
                <a:gd name="T60" fmla="*/ 313 w 363"/>
                <a:gd name="T61" fmla="*/ 472 h 614"/>
                <a:gd name="T62" fmla="*/ 294 w 363"/>
                <a:gd name="T63" fmla="*/ 427 h 614"/>
                <a:gd name="T64" fmla="*/ 289 w 363"/>
                <a:gd name="T65" fmla="*/ 412 h 614"/>
                <a:gd name="T66" fmla="*/ 276 w 363"/>
                <a:gd name="T67" fmla="*/ 378 h 614"/>
                <a:gd name="T68" fmla="*/ 304 w 363"/>
                <a:gd name="T69" fmla="*/ 338 h 614"/>
                <a:gd name="T70" fmla="*/ 312 w 363"/>
                <a:gd name="T71" fmla="*/ 318 h 614"/>
                <a:gd name="T72" fmla="*/ 317 w 363"/>
                <a:gd name="T73" fmla="*/ 243 h 614"/>
                <a:gd name="T74" fmla="*/ 261 w 363"/>
                <a:gd name="T75" fmla="*/ 174 h 614"/>
                <a:gd name="T76" fmla="*/ 336 w 363"/>
                <a:gd name="T77" fmla="*/ 165 h 614"/>
                <a:gd name="T78" fmla="*/ 304 w 363"/>
                <a:gd name="T79" fmla="*/ 91 h 614"/>
                <a:gd name="T80" fmla="*/ 296 w 363"/>
                <a:gd name="T81" fmla="*/ 52 h 614"/>
                <a:gd name="T82" fmla="*/ 280 w 363"/>
                <a:gd name="T83" fmla="*/ 17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63" h="614">
                  <a:moveTo>
                    <a:pt x="280" y="17"/>
                  </a:moveTo>
                  <a:cubicBezTo>
                    <a:pt x="276" y="12"/>
                    <a:pt x="275" y="0"/>
                    <a:pt x="275" y="0"/>
                  </a:cubicBezTo>
                  <a:cubicBezTo>
                    <a:pt x="259" y="2"/>
                    <a:pt x="259" y="2"/>
                    <a:pt x="259" y="2"/>
                  </a:cubicBezTo>
                  <a:cubicBezTo>
                    <a:pt x="260" y="11"/>
                    <a:pt x="261" y="40"/>
                    <a:pt x="263" y="43"/>
                  </a:cubicBezTo>
                  <a:cubicBezTo>
                    <a:pt x="265" y="46"/>
                    <a:pt x="284" y="35"/>
                    <a:pt x="285" y="46"/>
                  </a:cubicBezTo>
                  <a:cubicBezTo>
                    <a:pt x="286" y="57"/>
                    <a:pt x="282" y="70"/>
                    <a:pt x="282" y="70"/>
                  </a:cubicBezTo>
                  <a:cubicBezTo>
                    <a:pt x="282" y="70"/>
                    <a:pt x="290" y="79"/>
                    <a:pt x="280" y="88"/>
                  </a:cubicBezTo>
                  <a:cubicBezTo>
                    <a:pt x="270" y="97"/>
                    <a:pt x="256" y="100"/>
                    <a:pt x="256" y="100"/>
                  </a:cubicBezTo>
                  <a:cubicBezTo>
                    <a:pt x="256" y="100"/>
                    <a:pt x="248" y="117"/>
                    <a:pt x="247" y="120"/>
                  </a:cubicBezTo>
                  <a:cubicBezTo>
                    <a:pt x="246" y="123"/>
                    <a:pt x="236" y="136"/>
                    <a:pt x="236" y="136"/>
                  </a:cubicBezTo>
                  <a:cubicBezTo>
                    <a:pt x="234" y="155"/>
                    <a:pt x="234" y="155"/>
                    <a:pt x="234" y="155"/>
                  </a:cubicBezTo>
                  <a:cubicBezTo>
                    <a:pt x="227" y="159"/>
                    <a:pt x="227" y="159"/>
                    <a:pt x="227" y="159"/>
                  </a:cubicBezTo>
                  <a:cubicBezTo>
                    <a:pt x="227" y="159"/>
                    <a:pt x="229" y="180"/>
                    <a:pt x="224" y="189"/>
                  </a:cubicBezTo>
                  <a:cubicBezTo>
                    <a:pt x="219" y="198"/>
                    <a:pt x="209" y="191"/>
                    <a:pt x="207" y="198"/>
                  </a:cubicBezTo>
                  <a:cubicBezTo>
                    <a:pt x="205" y="205"/>
                    <a:pt x="210" y="223"/>
                    <a:pt x="205" y="233"/>
                  </a:cubicBezTo>
                  <a:cubicBezTo>
                    <a:pt x="200" y="243"/>
                    <a:pt x="181" y="250"/>
                    <a:pt x="181" y="250"/>
                  </a:cubicBezTo>
                  <a:cubicBezTo>
                    <a:pt x="173" y="282"/>
                    <a:pt x="173" y="282"/>
                    <a:pt x="173" y="282"/>
                  </a:cubicBezTo>
                  <a:cubicBezTo>
                    <a:pt x="157" y="302"/>
                    <a:pt x="157" y="302"/>
                    <a:pt x="157" y="302"/>
                  </a:cubicBezTo>
                  <a:cubicBezTo>
                    <a:pt x="157" y="302"/>
                    <a:pt x="161" y="316"/>
                    <a:pt x="156" y="322"/>
                  </a:cubicBezTo>
                  <a:cubicBezTo>
                    <a:pt x="151" y="328"/>
                    <a:pt x="140" y="337"/>
                    <a:pt x="140" y="337"/>
                  </a:cubicBezTo>
                  <a:cubicBezTo>
                    <a:pt x="140" y="337"/>
                    <a:pt x="140" y="358"/>
                    <a:pt x="128" y="358"/>
                  </a:cubicBezTo>
                  <a:cubicBezTo>
                    <a:pt x="116" y="358"/>
                    <a:pt x="119" y="342"/>
                    <a:pt x="119" y="342"/>
                  </a:cubicBezTo>
                  <a:cubicBezTo>
                    <a:pt x="119" y="342"/>
                    <a:pt x="105" y="318"/>
                    <a:pt x="98" y="318"/>
                  </a:cubicBezTo>
                  <a:cubicBezTo>
                    <a:pt x="91" y="318"/>
                    <a:pt x="104" y="332"/>
                    <a:pt x="95" y="334"/>
                  </a:cubicBezTo>
                  <a:cubicBezTo>
                    <a:pt x="86" y="336"/>
                    <a:pt x="78" y="323"/>
                    <a:pt x="72" y="328"/>
                  </a:cubicBezTo>
                  <a:cubicBezTo>
                    <a:pt x="66" y="333"/>
                    <a:pt x="56" y="353"/>
                    <a:pt x="56" y="353"/>
                  </a:cubicBezTo>
                  <a:cubicBezTo>
                    <a:pt x="13" y="390"/>
                    <a:pt x="13" y="390"/>
                    <a:pt x="13" y="390"/>
                  </a:cubicBezTo>
                  <a:cubicBezTo>
                    <a:pt x="13" y="390"/>
                    <a:pt x="15" y="422"/>
                    <a:pt x="13" y="428"/>
                  </a:cubicBezTo>
                  <a:cubicBezTo>
                    <a:pt x="11" y="434"/>
                    <a:pt x="4" y="449"/>
                    <a:pt x="4" y="449"/>
                  </a:cubicBezTo>
                  <a:cubicBezTo>
                    <a:pt x="4" y="449"/>
                    <a:pt x="4" y="449"/>
                    <a:pt x="4" y="449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18" y="455"/>
                    <a:pt x="18" y="455"/>
                    <a:pt x="18" y="455"/>
                  </a:cubicBezTo>
                  <a:cubicBezTo>
                    <a:pt x="18" y="455"/>
                    <a:pt x="17" y="477"/>
                    <a:pt x="27" y="486"/>
                  </a:cubicBezTo>
                  <a:cubicBezTo>
                    <a:pt x="37" y="495"/>
                    <a:pt x="44" y="497"/>
                    <a:pt x="44" y="497"/>
                  </a:cubicBezTo>
                  <a:cubicBezTo>
                    <a:pt x="58" y="484"/>
                    <a:pt x="58" y="484"/>
                    <a:pt x="58" y="484"/>
                  </a:cubicBezTo>
                  <a:cubicBezTo>
                    <a:pt x="45" y="504"/>
                    <a:pt x="45" y="504"/>
                    <a:pt x="45" y="504"/>
                  </a:cubicBezTo>
                  <a:cubicBezTo>
                    <a:pt x="57" y="522"/>
                    <a:pt x="57" y="522"/>
                    <a:pt x="57" y="522"/>
                  </a:cubicBezTo>
                  <a:cubicBezTo>
                    <a:pt x="70" y="527"/>
                    <a:pt x="70" y="527"/>
                    <a:pt x="70" y="527"/>
                  </a:cubicBezTo>
                  <a:cubicBezTo>
                    <a:pt x="68" y="557"/>
                    <a:pt x="68" y="557"/>
                    <a:pt x="68" y="557"/>
                  </a:cubicBezTo>
                  <a:cubicBezTo>
                    <a:pt x="61" y="559"/>
                    <a:pt x="61" y="559"/>
                    <a:pt x="61" y="559"/>
                  </a:cubicBezTo>
                  <a:cubicBezTo>
                    <a:pt x="62" y="580"/>
                    <a:pt x="62" y="580"/>
                    <a:pt x="62" y="580"/>
                  </a:cubicBezTo>
                  <a:cubicBezTo>
                    <a:pt x="68" y="586"/>
                    <a:pt x="68" y="586"/>
                    <a:pt x="68" y="586"/>
                  </a:cubicBezTo>
                  <a:cubicBezTo>
                    <a:pt x="132" y="586"/>
                    <a:pt x="132" y="586"/>
                    <a:pt x="132" y="586"/>
                  </a:cubicBezTo>
                  <a:cubicBezTo>
                    <a:pt x="144" y="576"/>
                    <a:pt x="144" y="576"/>
                    <a:pt x="144" y="576"/>
                  </a:cubicBezTo>
                  <a:cubicBezTo>
                    <a:pt x="154" y="585"/>
                    <a:pt x="154" y="585"/>
                    <a:pt x="154" y="585"/>
                  </a:cubicBezTo>
                  <a:cubicBezTo>
                    <a:pt x="175" y="585"/>
                    <a:pt x="175" y="585"/>
                    <a:pt x="175" y="585"/>
                  </a:cubicBezTo>
                  <a:cubicBezTo>
                    <a:pt x="175" y="585"/>
                    <a:pt x="180" y="577"/>
                    <a:pt x="184" y="577"/>
                  </a:cubicBezTo>
                  <a:cubicBezTo>
                    <a:pt x="188" y="577"/>
                    <a:pt x="195" y="581"/>
                    <a:pt x="195" y="581"/>
                  </a:cubicBezTo>
                  <a:cubicBezTo>
                    <a:pt x="227" y="580"/>
                    <a:pt x="227" y="580"/>
                    <a:pt x="227" y="580"/>
                  </a:cubicBezTo>
                  <a:cubicBezTo>
                    <a:pt x="227" y="590"/>
                    <a:pt x="227" y="590"/>
                    <a:pt x="227" y="590"/>
                  </a:cubicBezTo>
                  <a:cubicBezTo>
                    <a:pt x="227" y="590"/>
                    <a:pt x="282" y="587"/>
                    <a:pt x="287" y="587"/>
                  </a:cubicBezTo>
                  <a:cubicBezTo>
                    <a:pt x="292" y="587"/>
                    <a:pt x="320" y="600"/>
                    <a:pt x="320" y="600"/>
                  </a:cubicBezTo>
                  <a:cubicBezTo>
                    <a:pt x="340" y="599"/>
                    <a:pt x="340" y="599"/>
                    <a:pt x="340" y="599"/>
                  </a:cubicBezTo>
                  <a:cubicBezTo>
                    <a:pt x="358" y="614"/>
                    <a:pt x="358" y="614"/>
                    <a:pt x="358" y="614"/>
                  </a:cubicBezTo>
                  <a:cubicBezTo>
                    <a:pt x="359" y="587"/>
                    <a:pt x="359" y="587"/>
                    <a:pt x="359" y="587"/>
                  </a:cubicBezTo>
                  <a:cubicBezTo>
                    <a:pt x="363" y="581"/>
                    <a:pt x="363" y="581"/>
                    <a:pt x="363" y="581"/>
                  </a:cubicBezTo>
                  <a:cubicBezTo>
                    <a:pt x="358" y="575"/>
                    <a:pt x="358" y="575"/>
                    <a:pt x="358" y="575"/>
                  </a:cubicBezTo>
                  <a:cubicBezTo>
                    <a:pt x="358" y="556"/>
                    <a:pt x="358" y="556"/>
                    <a:pt x="358" y="556"/>
                  </a:cubicBezTo>
                  <a:cubicBezTo>
                    <a:pt x="354" y="542"/>
                    <a:pt x="354" y="542"/>
                    <a:pt x="354" y="542"/>
                  </a:cubicBezTo>
                  <a:cubicBezTo>
                    <a:pt x="354" y="542"/>
                    <a:pt x="342" y="534"/>
                    <a:pt x="332" y="526"/>
                  </a:cubicBezTo>
                  <a:cubicBezTo>
                    <a:pt x="322" y="518"/>
                    <a:pt x="311" y="495"/>
                    <a:pt x="311" y="495"/>
                  </a:cubicBezTo>
                  <a:cubicBezTo>
                    <a:pt x="311" y="495"/>
                    <a:pt x="315" y="475"/>
                    <a:pt x="313" y="472"/>
                  </a:cubicBezTo>
                  <a:cubicBezTo>
                    <a:pt x="311" y="469"/>
                    <a:pt x="294" y="458"/>
                    <a:pt x="294" y="458"/>
                  </a:cubicBezTo>
                  <a:cubicBezTo>
                    <a:pt x="294" y="427"/>
                    <a:pt x="294" y="427"/>
                    <a:pt x="294" y="427"/>
                  </a:cubicBezTo>
                  <a:cubicBezTo>
                    <a:pt x="282" y="420"/>
                    <a:pt x="282" y="420"/>
                    <a:pt x="282" y="420"/>
                  </a:cubicBezTo>
                  <a:cubicBezTo>
                    <a:pt x="289" y="412"/>
                    <a:pt x="289" y="412"/>
                    <a:pt x="289" y="412"/>
                  </a:cubicBezTo>
                  <a:cubicBezTo>
                    <a:pt x="290" y="387"/>
                    <a:pt x="290" y="387"/>
                    <a:pt x="290" y="387"/>
                  </a:cubicBezTo>
                  <a:cubicBezTo>
                    <a:pt x="290" y="387"/>
                    <a:pt x="275" y="386"/>
                    <a:pt x="276" y="378"/>
                  </a:cubicBezTo>
                  <a:cubicBezTo>
                    <a:pt x="277" y="370"/>
                    <a:pt x="299" y="363"/>
                    <a:pt x="299" y="363"/>
                  </a:cubicBezTo>
                  <a:cubicBezTo>
                    <a:pt x="304" y="338"/>
                    <a:pt x="304" y="338"/>
                    <a:pt x="304" y="338"/>
                  </a:cubicBezTo>
                  <a:cubicBezTo>
                    <a:pt x="310" y="338"/>
                    <a:pt x="310" y="338"/>
                    <a:pt x="310" y="338"/>
                  </a:cubicBezTo>
                  <a:cubicBezTo>
                    <a:pt x="310" y="338"/>
                    <a:pt x="311" y="326"/>
                    <a:pt x="312" y="318"/>
                  </a:cubicBezTo>
                  <a:cubicBezTo>
                    <a:pt x="313" y="310"/>
                    <a:pt x="331" y="300"/>
                    <a:pt x="331" y="300"/>
                  </a:cubicBezTo>
                  <a:cubicBezTo>
                    <a:pt x="331" y="300"/>
                    <a:pt x="326" y="253"/>
                    <a:pt x="317" y="243"/>
                  </a:cubicBezTo>
                  <a:cubicBezTo>
                    <a:pt x="308" y="233"/>
                    <a:pt x="287" y="224"/>
                    <a:pt x="279" y="216"/>
                  </a:cubicBezTo>
                  <a:cubicBezTo>
                    <a:pt x="271" y="208"/>
                    <a:pt x="256" y="187"/>
                    <a:pt x="261" y="174"/>
                  </a:cubicBezTo>
                  <a:cubicBezTo>
                    <a:pt x="266" y="161"/>
                    <a:pt x="306" y="168"/>
                    <a:pt x="314" y="167"/>
                  </a:cubicBezTo>
                  <a:cubicBezTo>
                    <a:pt x="322" y="166"/>
                    <a:pt x="336" y="165"/>
                    <a:pt x="336" y="165"/>
                  </a:cubicBezTo>
                  <a:cubicBezTo>
                    <a:pt x="336" y="165"/>
                    <a:pt x="315" y="147"/>
                    <a:pt x="310" y="133"/>
                  </a:cubicBezTo>
                  <a:cubicBezTo>
                    <a:pt x="305" y="119"/>
                    <a:pt x="304" y="91"/>
                    <a:pt x="304" y="91"/>
                  </a:cubicBezTo>
                  <a:cubicBezTo>
                    <a:pt x="304" y="91"/>
                    <a:pt x="310" y="81"/>
                    <a:pt x="310" y="70"/>
                  </a:cubicBezTo>
                  <a:cubicBezTo>
                    <a:pt x="310" y="59"/>
                    <a:pt x="296" y="52"/>
                    <a:pt x="296" y="52"/>
                  </a:cubicBezTo>
                  <a:cubicBezTo>
                    <a:pt x="300" y="25"/>
                    <a:pt x="300" y="25"/>
                    <a:pt x="300" y="25"/>
                  </a:cubicBezTo>
                  <a:cubicBezTo>
                    <a:pt x="300" y="25"/>
                    <a:pt x="284" y="22"/>
                    <a:pt x="280" y="17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Freeform 293">
              <a:extLst>
                <a:ext uri="{FF2B5EF4-FFF2-40B4-BE49-F238E27FC236}">
                  <a16:creationId xmlns:a16="http://schemas.microsoft.com/office/drawing/2014/main" id="{5E77E2A9-68A6-2D06-362A-5C4D2DB230AB}"/>
                </a:ext>
              </a:extLst>
            </p:cNvPr>
            <p:cNvSpPr>
              <a:spLocks/>
            </p:cNvSpPr>
            <p:nvPr/>
          </p:nvSpPr>
          <p:spPr bwMode="gray">
            <a:xfrm>
              <a:off x="-7855" y="-14529"/>
              <a:ext cx="1335" cy="1034"/>
            </a:xfrm>
            <a:custGeom>
              <a:avLst/>
              <a:gdLst>
                <a:gd name="T0" fmla="*/ 547 w 565"/>
                <a:gd name="T1" fmla="*/ 165 h 438"/>
                <a:gd name="T2" fmla="*/ 550 w 565"/>
                <a:gd name="T3" fmla="*/ 145 h 438"/>
                <a:gd name="T4" fmla="*/ 536 w 565"/>
                <a:gd name="T5" fmla="*/ 145 h 438"/>
                <a:gd name="T6" fmla="*/ 543 w 565"/>
                <a:gd name="T7" fmla="*/ 124 h 438"/>
                <a:gd name="T8" fmla="*/ 537 w 565"/>
                <a:gd name="T9" fmla="*/ 113 h 438"/>
                <a:gd name="T10" fmla="*/ 540 w 565"/>
                <a:gd name="T11" fmla="*/ 68 h 438"/>
                <a:gd name="T12" fmla="*/ 532 w 565"/>
                <a:gd name="T13" fmla="*/ 68 h 438"/>
                <a:gd name="T14" fmla="*/ 536 w 565"/>
                <a:gd name="T15" fmla="*/ 56 h 438"/>
                <a:gd name="T16" fmla="*/ 521 w 565"/>
                <a:gd name="T17" fmla="*/ 39 h 438"/>
                <a:gd name="T18" fmla="*/ 487 w 565"/>
                <a:gd name="T19" fmla="*/ 26 h 438"/>
                <a:gd name="T20" fmla="*/ 470 w 565"/>
                <a:gd name="T21" fmla="*/ 34 h 438"/>
                <a:gd name="T22" fmla="*/ 439 w 565"/>
                <a:gd name="T23" fmla="*/ 29 h 438"/>
                <a:gd name="T24" fmla="*/ 408 w 565"/>
                <a:gd name="T25" fmla="*/ 33 h 438"/>
                <a:gd name="T26" fmla="*/ 374 w 565"/>
                <a:gd name="T27" fmla="*/ 2 h 438"/>
                <a:gd name="T28" fmla="*/ 354 w 565"/>
                <a:gd name="T29" fmla="*/ 0 h 438"/>
                <a:gd name="T30" fmla="*/ 337 w 565"/>
                <a:gd name="T31" fmla="*/ 48 h 438"/>
                <a:gd name="T32" fmla="*/ 300 w 565"/>
                <a:gd name="T33" fmla="*/ 107 h 438"/>
                <a:gd name="T34" fmla="*/ 267 w 565"/>
                <a:gd name="T35" fmla="*/ 116 h 438"/>
                <a:gd name="T36" fmla="*/ 251 w 565"/>
                <a:gd name="T37" fmla="*/ 131 h 438"/>
                <a:gd name="T38" fmla="*/ 239 w 565"/>
                <a:gd name="T39" fmla="*/ 128 h 438"/>
                <a:gd name="T40" fmla="*/ 222 w 565"/>
                <a:gd name="T41" fmla="*/ 137 h 438"/>
                <a:gd name="T42" fmla="*/ 211 w 565"/>
                <a:gd name="T43" fmla="*/ 158 h 438"/>
                <a:gd name="T44" fmla="*/ 191 w 565"/>
                <a:gd name="T45" fmla="*/ 174 h 438"/>
                <a:gd name="T46" fmla="*/ 188 w 565"/>
                <a:gd name="T47" fmla="*/ 199 h 438"/>
                <a:gd name="T48" fmla="*/ 165 w 565"/>
                <a:gd name="T49" fmla="*/ 244 h 438"/>
                <a:gd name="T50" fmla="*/ 166 w 565"/>
                <a:gd name="T51" fmla="*/ 269 h 438"/>
                <a:gd name="T52" fmla="*/ 158 w 565"/>
                <a:gd name="T53" fmla="*/ 276 h 438"/>
                <a:gd name="T54" fmla="*/ 170 w 565"/>
                <a:gd name="T55" fmla="*/ 292 h 438"/>
                <a:gd name="T56" fmla="*/ 169 w 565"/>
                <a:gd name="T57" fmla="*/ 316 h 438"/>
                <a:gd name="T58" fmla="*/ 154 w 565"/>
                <a:gd name="T59" fmla="*/ 321 h 438"/>
                <a:gd name="T60" fmla="*/ 130 w 565"/>
                <a:gd name="T61" fmla="*/ 359 h 438"/>
                <a:gd name="T62" fmla="*/ 101 w 565"/>
                <a:gd name="T63" fmla="*/ 376 h 438"/>
                <a:gd name="T64" fmla="*/ 80 w 565"/>
                <a:gd name="T65" fmla="*/ 404 h 438"/>
                <a:gd name="T66" fmla="*/ 32 w 565"/>
                <a:gd name="T67" fmla="*/ 421 h 438"/>
                <a:gd name="T68" fmla="*/ 9 w 565"/>
                <a:gd name="T69" fmla="*/ 423 h 438"/>
                <a:gd name="T70" fmla="*/ 0 w 565"/>
                <a:gd name="T71" fmla="*/ 438 h 438"/>
                <a:gd name="T72" fmla="*/ 207 w 565"/>
                <a:gd name="T73" fmla="*/ 438 h 438"/>
                <a:gd name="T74" fmla="*/ 209 w 565"/>
                <a:gd name="T75" fmla="*/ 399 h 438"/>
                <a:gd name="T76" fmla="*/ 212 w 565"/>
                <a:gd name="T77" fmla="*/ 381 h 438"/>
                <a:gd name="T78" fmla="*/ 232 w 565"/>
                <a:gd name="T79" fmla="*/ 369 h 438"/>
                <a:gd name="T80" fmla="*/ 253 w 565"/>
                <a:gd name="T81" fmla="*/ 344 h 438"/>
                <a:gd name="T82" fmla="*/ 265 w 565"/>
                <a:gd name="T83" fmla="*/ 345 h 438"/>
                <a:gd name="T84" fmla="*/ 283 w 565"/>
                <a:gd name="T85" fmla="*/ 331 h 438"/>
                <a:gd name="T86" fmla="*/ 302 w 565"/>
                <a:gd name="T87" fmla="*/ 339 h 438"/>
                <a:gd name="T88" fmla="*/ 308 w 565"/>
                <a:gd name="T89" fmla="*/ 326 h 438"/>
                <a:gd name="T90" fmla="*/ 326 w 565"/>
                <a:gd name="T91" fmla="*/ 325 h 438"/>
                <a:gd name="T92" fmla="*/ 327 w 565"/>
                <a:gd name="T93" fmla="*/ 317 h 438"/>
                <a:gd name="T94" fmla="*/ 361 w 565"/>
                <a:gd name="T95" fmla="*/ 318 h 438"/>
                <a:gd name="T96" fmla="*/ 384 w 565"/>
                <a:gd name="T97" fmla="*/ 284 h 438"/>
                <a:gd name="T98" fmla="*/ 414 w 565"/>
                <a:gd name="T99" fmla="*/ 283 h 438"/>
                <a:gd name="T100" fmla="*/ 432 w 565"/>
                <a:gd name="T101" fmla="*/ 264 h 438"/>
                <a:gd name="T102" fmla="*/ 449 w 565"/>
                <a:gd name="T103" fmla="*/ 257 h 438"/>
                <a:gd name="T104" fmla="*/ 439 w 565"/>
                <a:gd name="T105" fmla="*/ 245 h 438"/>
                <a:gd name="T106" fmla="*/ 438 w 565"/>
                <a:gd name="T107" fmla="*/ 221 h 438"/>
                <a:gd name="T108" fmla="*/ 475 w 565"/>
                <a:gd name="T109" fmla="*/ 215 h 438"/>
                <a:gd name="T110" fmla="*/ 480 w 565"/>
                <a:gd name="T111" fmla="*/ 200 h 438"/>
                <a:gd name="T112" fmla="*/ 493 w 565"/>
                <a:gd name="T113" fmla="*/ 202 h 438"/>
                <a:gd name="T114" fmla="*/ 501 w 565"/>
                <a:gd name="T115" fmla="*/ 195 h 438"/>
                <a:gd name="T116" fmla="*/ 515 w 565"/>
                <a:gd name="T117" fmla="*/ 201 h 438"/>
                <a:gd name="T118" fmla="*/ 553 w 565"/>
                <a:gd name="T119" fmla="*/ 196 h 438"/>
                <a:gd name="T120" fmla="*/ 554 w 565"/>
                <a:gd name="T121" fmla="*/ 186 h 438"/>
                <a:gd name="T122" fmla="*/ 565 w 565"/>
                <a:gd name="T123" fmla="*/ 177 h 438"/>
                <a:gd name="T124" fmla="*/ 547 w 565"/>
                <a:gd name="T125" fmla="*/ 165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5" h="438">
                  <a:moveTo>
                    <a:pt x="547" y="165"/>
                  </a:moveTo>
                  <a:cubicBezTo>
                    <a:pt x="550" y="145"/>
                    <a:pt x="550" y="145"/>
                    <a:pt x="550" y="145"/>
                  </a:cubicBezTo>
                  <a:cubicBezTo>
                    <a:pt x="536" y="145"/>
                    <a:pt x="536" y="145"/>
                    <a:pt x="536" y="145"/>
                  </a:cubicBezTo>
                  <a:cubicBezTo>
                    <a:pt x="543" y="124"/>
                    <a:pt x="543" y="124"/>
                    <a:pt x="543" y="124"/>
                  </a:cubicBezTo>
                  <a:cubicBezTo>
                    <a:pt x="537" y="113"/>
                    <a:pt x="537" y="113"/>
                    <a:pt x="537" y="113"/>
                  </a:cubicBezTo>
                  <a:cubicBezTo>
                    <a:pt x="540" y="68"/>
                    <a:pt x="540" y="68"/>
                    <a:pt x="540" y="68"/>
                  </a:cubicBezTo>
                  <a:cubicBezTo>
                    <a:pt x="532" y="68"/>
                    <a:pt x="532" y="68"/>
                    <a:pt x="532" y="68"/>
                  </a:cubicBezTo>
                  <a:cubicBezTo>
                    <a:pt x="532" y="68"/>
                    <a:pt x="536" y="57"/>
                    <a:pt x="536" y="56"/>
                  </a:cubicBezTo>
                  <a:cubicBezTo>
                    <a:pt x="526" y="52"/>
                    <a:pt x="522" y="43"/>
                    <a:pt x="521" y="39"/>
                  </a:cubicBezTo>
                  <a:cubicBezTo>
                    <a:pt x="508" y="36"/>
                    <a:pt x="496" y="26"/>
                    <a:pt x="487" y="26"/>
                  </a:cubicBezTo>
                  <a:cubicBezTo>
                    <a:pt x="477" y="26"/>
                    <a:pt x="470" y="34"/>
                    <a:pt x="470" y="34"/>
                  </a:cubicBezTo>
                  <a:cubicBezTo>
                    <a:pt x="470" y="34"/>
                    <a:pt x="447" y="29"/>
                    <a:pt x="439" y="29"/>
                  </a:cubicBezTo>
                  <a:cubicBezTo>
                    <a:pt x="431" y="29"/>
                    <a:pt x="423" y="38"/>
                    <a:pt x="408" y="33"/>
                  </a:cubicBezTo>
                  <a:cubicBezTo>
                    <a:pt x="393" y="28"/>
                    <a:pt x="378" y="4"/>
                    <a:pt x="374" y="2"/>
                  </a:cubicBezTo>
                  <a:cubicBezTo>
                    <a:pt x="370" y="0"/>
                    <a:pt x="354" y="0"/>
                    <a:pt x="354" y="0"/>
                  </a:cubicBezTo>
                  <a:cubicBezTo>
                    <a:pt x="354" y="0"/>
                    <a:pt x="343" y="35"/>
                    <a:pt x="337" y="48"/>
                  </a:cubicBezTo>
                  <a:cubicBezTo>
                    <a:pt x="331" y="61"/>
                    <a:pt x="312" y="98"/>
                    <a:pt x="300" y="107"/>
                  </a:cubicBezTo>
                  <a:cubicBezTo>
                    <a:pt x="288" y="116"/>
                    <a:pt x="272" y="112"/>
                    <a:pt x="267" y="116"/>
                  </a:cubicBezTo>
                  <a:cubicBezTo>
                    <a:pt x="262" y="120"/>
                    <a:pt x="251" y="131"/>
                    <a:pt x="251" y="131"/>
                  </a:cubicBezTo>
                  <a:cubicBezTo>
                    <a:pt x="239" y="128"/>
                    <a:pt x="239" y="128"/>
                    <a:pt x="239" y="128"/>
                  </a:cubicBezTo>
                  <a:cubicBezTo>
                    <a:pt x="222" y="137"/>
                    <a:pt x="222" y="137"/>
                    <a:pt x="222" y="137"/>
                  </a:cubicBezTo>
                  <a:cubicBezTo>
                    <a:pt x="222" y="137"/>
                    <a:pt x="217" y="150"/>
                    <a:pt x="211" y="158"/>
                  </a:cubicBezTo>
                  <a:cubicBezTo>
                    <a:pt x="211" y="158"/>
                    <a:pt x="191" y="170"/>
                    <a:pt x="191" y="174"/>
                  </a:cubicBezTo>
                  <a:cubicBezTo>
                    <a:pt x="191" y="178"/>
                    <a:pt x="195" y="192"/>
                    <a:pt x="188" y="199"/>
                  </a:cubicBezTo>
                  <a:cubicBezTo>
                    <a:pt x="181" y="206"/>
                    <a:pt x="164" y="230"/>
                    <a:pt x="165" y="244"/>
                  </a:cubicBezTo>
                  <a:cubicBezTo>
                    <a:pt x="166" y="258"/>
                    <a:pt x="166" y="269"/>
                    <a:pt x="166" y="269"/>
                  </a:cubicBezTo>
                  <a:cubicBezTo>
                    <a:pt x="166" y="269"/>
                    <a:pt x="158" y="273"/>
                    <a:pt x="158" y="276"/>
                  </a:cubicBezTo>
                  <a:cubicBezTo>
                    <a:pt x="158" y="279"/>
                    <a:pt x="173" y="277"/>
                    <a:pt x="170" y="292"/>
                  </a:cubicBezTo>
                  <a:cubicBezTo>
                    <a:pt x="167" y="307"/>
                    <a:pt x="169" y="316"/>
                    <a:pt x="169" y="316"/>
                  </a:cubicBezTo>
                  <a:cubicBezTo>
                    <a:pt x="169" y="316"/>
                    <a:pt x="163" y="310"/>
                    <a:pt x="154" y="321"/>
                  </a:cubicBezTo>
                  <a:cubicBezTo>
                    <a:pt x="145" y="332"/>
                    <a:pt x="138" y="348"/>
                    <a:pt x="130" y="359"/>
                  </a:cubicBezTo>
                  <a:cubicBezTo>
                    <a:pt x="122" y="370"/>
                    <a:pt x="108" y="366"/>
                    <a:pt x="101" y="376"/>
                  </a:cubicBezTo>
                  <a:cubicBezTo>
                    <a:pt x="94" y="386"/>
                    <a:pt x="86" y="398"/>
                    <a:pt x="80" y="404"/>
                  </a:cubicBezTo>
                  <a:cubicBezTo>
                    <a:pt x="74" y="410"/>
                    <a:pt x="36" y="420"/>
                    <a:pt x="32" y="421"/>
                  </a:cubicBezTo>
                  <a:cubicBezTo>
                    <a:pt x="28" y="422"/>
                    <a:pt x="9" y="423"/>
                    <a:pt x="9" y="423"/>
                  </a:cubicBezTo>
                  <a:cubicBezTo>
                    <a:pt x="9" y="423"/>
                    <a:pt x="4" y="429"/>
                    <a:pt x="0" y="438"/>
                  </a:cubicBezTo>
                  <a:cubicBezTo>
                    <a:pt x="207" y="438"/>
                    <a:pt x="207" y="438"/>
                    <a:pt x="207" y="438"/>
                  </a:cubicBezTo>
                  <a:cubicBezTo>
                    <a:pt x="209" y="399"/>
                    <a:pt x="209" y="399"/>
                    <a:pt x="209" y="399"/>
                  </a:cubicBezTo>
                  <a:cubicBezTo>
                    <a:pt x="212" y="381"/>
                    <a:pt x="212" y="381"/>
                    <a:pt x="212" y="381"/>
                  </a:cubicBezTo>
                  <a:cubicBezTo>
                    <a:pt x="212" y="381"/>
                    <a:pt x="225" y="374"/>
                    <a:pt x="232" y="369"/>
                  </a:cubicBezTo>
                  <a:cubicBezTo>
                    <a:pt x="239" y="364"/>
                    <a:pt x="253" y="344"/>
                    <a:pt x="253" y="344"/>
                  </a:cubicBezTo>
                  <a:cubicBezTo>
                    <a:pt x="265" y="345"/>
                    <a:pt x="265" y="345"/>
                    <a:pt x="265" y="345"/>
                  </a:cubicBezTo>
                  <a:cubicBezTo>
                    <a:pt x="283" y="331"/>
                    <a:pt x="283" y="331"/>
                    <a:pt x="283" y="331"/>
                  </a:cubicBezTo>
                  <a:cubicBezTo>
                    <a:pt x="283" y="331"/>
                    <a:pt x="296" y="340"/>
                    <a:pt x="302" y="339"/>
                  </a:cubicBezTo>
                  <a:cubicBezTo>
                    <a:pt x="308" y="338"/>
                    <a:pt x="308" y="326"/>
                    <a:pt x="308" y="326"/>
                  </a:cubicBezTo>
                  <a:cubicBezTo>
                    <a:pt x="326" y="325"/>
                    <a:pt x="326" y="325"/>
                    <a:pt x="326" y="325"/>
                  </a:cubicBezTo>
                  <a:cubicBezTo>
                    <a:pt x="327" y="317"/>
                    <a:pt x="327" y="317"/>
                    <a:pt x="327" y="317"/>
                  </a:cubicBezTo>
                  <a:cubicBezTo>
                    <a:pt x="327" y="317"/>
                    <a:pt x="353" y="321"/>
                    <a:pt x="361" y="318"/>
                  </a:cubicBezTo>
                  <a:cubicBezTo>
                    <a:pt x="369" y="315"/>
                    <a:pt x="384" y="284"/>
                    <a:pt x="384" y="284"/>
                  </a:cubicBezTo>
                  <a:cubicBezTo>
                    <a:pt x="384" y="284"/>
                    <a:pt x="408" y="283"/>
                    <a:pt x="414" y="283"/>
                  </a:cubicBezTo>
                  <a:cubicBezTo>
                    <a:pt x="420" y="283"/>
                    <a:pt x="432" y="264"/>
                    <a:pt x="432" y="264"/>
                  </a:cubicBezTo>
                  <a:cubicBezTo>
                    <a:pt x="449" y="257"/>
                    <a:pt x="449" y="257"/>
                    <a:pt x="449" y="257"/>
                  </a:cubicBezTo>
                  <a:cubicBezTo>
                    <a:pt x="439" y="245"/>
                    <a:pt x="439" y="245"/>
                    <a:pt x="439" y="245"/>
                  </a:cubicBezTo>
                  <a:cubicBezTo>
                    <a:pt x="439" y="245"/>
                    <a:pt x="430" y="228"/>
                    <a:pt x="438" y="221"/>
                  </a:cubicBezTo>
                  <a:cubicBezTo>
                    <a:pt x="446" y="214"/>
                    <a:pt x="468" y="220"/>
                    <a:pt x="475" y="215"/>
                  </a:cubicBezTo>
                  <a:cubicBezTo>
                    <a:pt x="482" y="210"/>
                    <a:pt x="475" y="203"/>
                    <a:pt x="480" y="200"/>
                  </a:cubicBezTo>
                  <a:cubicBezTo>
                    <a:pt x="485" y="197"/>
                    <a:pt x="493" y="202"/>
                    <a:pt x="493" y="202"/>
                  </a:cubicBezTo>
                  <a:cubicBezTo>
                    <a:pt x="493" y="202"/>
                    <a:pt x="497" y="195"/>
                    <a:pt x="501" y="195"/>
                  </a:cubicBezTo>
                  <a:cubicBezTo>
                    <a:pt x="505" y="195"/>
                    <a:pt x="515" y="201"/>
                    <a:pt x="515" y="201"/>
                  </a:cubicBezTo>
                  <a:cubicBezTo>
                    <a:pt x="553" y="196"/>
                    <a:pt x="553" y="196"/>
                    <a:pt x="553" y="196"/>
                  </a:cubicBezTo>
                  <a:cubicBezTo>
                    <a:pt x="553" y="196"/>
                    <a:pt x="552" y="189"/>
                    <a:pt x="554" y="186"/>
                  </a:cubicBezTo>
                  <a:cubicBezTo>
                    <a:pt x="556" y="183"/>
                    <a:pt x="565" y="177"/>
                    <a:pt x="565" y="177"/>
                  </a:cubicBezTo>
                  <a:lnTo>
                    <a:pt x="547" y="165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Freeform 294">
              <a:extLst>
                <a:ext uri="{FF2B5EF4-FFF2-40B4-BE49-F238E27FC236}">
                  <a16:creationId xmlns:a16="http://schemas.microsoft.com/office/drawing/2014/main" id="{C23874BB-0CFA-7D8A-AB42-51DDD284F916}"/>
                </a:ext>
              </a:extLst>
            </p:cNvPr>
            <p:cNvSpPr>
              <a:spLocks/>
            </p:cNvSpPr>
            <p:nvPr/>
          </p:nvSpPr>
          <p:spPr bwMode="gray">
            <a:xfrm>
              <a:off x="-5601" y="-14735"/>
              <a:ext cx="441" cy="914"/>
            </a:xfrm>
            <a:custGeom>
              <a:avLst/>
              <a:gdLst>
                <a:gd name="T0" fmla="*/ 25 w 187"/>
                <a:gd name="T1" fmla="*/ 48 h 387"/>
                <a:gd name="T2" fmla="*/ 38 w 187"/>
                <a:gd name="T3" fmla="*/ 52 h 387"/>
                <a:gd name="T4" fmla="*/ 33 w 187"/>
                <a:gd name="T5" fmla="*/ 90 h 387"/>
                <a:gd name="T6" fmla="*/ 38 w 187"/>
                <a:gd name="T7" fmla="*/ 119 h 387"/>
                <a:gd name="T8" fmla="*/ 30 w 187"/>
                <a:gd name="T9" fmla="*/ 151 h 387"/>
                <a:gd name="T10" fmla="*/ 16 w 187"/>
                <a:gd name="T11" fmla="*/ 162 h 387"/>
                <a:gd name="T12" fmla="*/ 0 w 187"/>
                <a:gd name="T13" fmla="*/ 185 h 387"/>
                <a:gd name="T14" fmla="*/ 0 w 187"/>
                <a:gd name="T15" fmla="*/ 208 h 387"/>
                <a:gd name="T16" fmla="*/ 7 w 187"/>
                <a:gd name="T17" fmla="*/ 208 h 387"/>
                <a:gd name="T18" fmla="*/ 7 w 187"/>
                <a:gd name="T19" fmla="*/ 227 h 387"/>
                <a:gd name="T20" fmla="*/ 34 w 187"/>
                <a:gd name="T21" fmla="*/ 240 h 387"/>
                <a:gd name="T22" fmla="*/ 35 w 187"/>
                <a:gd name="T23" fmla="*/ 266 h 387"/>
                <a:gd name="T24" fmla="*/ 67 w 187"/>
                <a:gd name="T25" fmla="*/ 291 h 387"/>
                <a:gd name="T26" fmla="*/ 88 w 187"/>
                <a:gd name="T27" fmla="*/ 387 h 387"/>
                <a:gd name="T28" fmla="*/ 104 w 187"/>
                <a:gd name="T29" fmla="*/ 381 h 387"/>
                <a:gd name="T30" fmla="*/ 123 w 187"/>
                <a:gd name="T31" fmla="*/ 355 h 387"/>
                <a:gd name="T32" fmla="*/ 114 w 187"/>
                <a:gd name="T33" fmla="*/ 317 h 387"/>
                <a:gd name="T34" fmla="*/ 129 w 187"/>
                <a:gd name="T35" fmla="*/ 306 h 387"/>
                <a:gd name="T36" fmla="*/ 148 w 187"/>
                <a:gd name="T37" fmla="*/ 283 h 387"/>
                <a:gd name="T38" fmla="*/ 183 w 187"/>
                <a:gd name="T39" fmla="*/ 265 h 387"/>
                <a:gd name="T40" fmla="*/ 172 w 187"/>
                <a:gd name="T41" fmla="*/ 255 h 387"/>
                <a:gd name="T42" fmla="*/ 175 w 187"/>
                <a:gd name="T43" fmla="*/ 228 h 387"/>
                <a:gd name="T44" fmla="*/ 167 w 187"/>
                <a:gd name="T45" fmla="*/ 226 h 387"/>
                <a:gd name="T46" fmla="*/ 160 w 187"/>
                <a:gd name="T47" fmla="*/ 207 h 387"/>
                <a:gd name="T48" fmla="*/ 150 w 187"/>
                <a:gd name="T49" fmla="*/ 201 h 387"/>
                <a:gd name="T50" fmla="*/ 148 w 187"/>
                <a:gd name="T51" fmla="*/ 212 h 387"/>
                <a:gd name="T52" fmla="*/ 142 w 187"/>
                <a:gd name="T53" fmla="*/ 203 h 387"/>
                <a:gd name="T54" fmla="*/ 111 w 187"/>
                <a:gd name="T55" fmla="*/ 183 h 387"/>
                <a:gd name="T56" fmla="*/ 132 w 187"/>
                <a:gd name="T57" fmla="*/ 154 h 387"/>
                <a:gd name="T58" fmla="*/ 156 w 187"/>
                <a:gd name="T59" fmla="*/ 102 h 387"/>
                <a:gd name="T60" fmla="*/ 132 w 187"/>
                <a:gd name="T61" fmla="*/ 73 h 387"/>
                <a:gd name="T62" fmla="*/ 145 w 187"/>
                <a:gd name="T63" fmla="*/ 50 h 387"/>
                <a:gd name="T64" fmla="*/ 156 w 187"/>
                <a:gd name="T65" fmla="*/ 18 h 387"/>
                <a:gd name="T66" fmla="*/ 125 w 187"/>
                <a:gd name="T67" fmla="*/ 45 h 387"/>
                <a:gd name="T68" fmla="*/ 108 w 187"/>
                <a:gd name="T69" fmla="*/ 33 h 387"/>
                <a:gd name="T70" fmla="*/ 110 w 187"/>
                <a:gd name="T71" fmla="*/ 8 h 387"/>
                <a:gd name="T72" fmla="*/ 60 w 187"/>
                <a:gd name="T73" fmla="*/ 23 h 387"/>
                <a:gd name="T74" fmla="*/ 53 w 187"/>
                <a:gd name="T75" fmla="*/ 25 h 387"/>
                <a:gd name="T76" fmla="*/ 53 w 187"/>
                <a:gd name="T77" fmla="*/ 35 h 387"/>
                <a:gd name="T78" fmla="*/ 25 w 187"/>
                <a:gd name="T79" fmla="*/ 48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387">
                  <a:moveTo>
                    <a:pt x="25" y="48"/>
                  </a:move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29" y="83"/>
                    <a:pt x="33" y="90"/>
                  </a:cubicBezTo>
                  <a:cubicBezTo>
                    <a:pt x="37" y="97"/>
                    <a:pt x="39" y="109"/>
                    <a:pt x="38" y="119"/>
                  </a:cubicBezTo>
                  <a:cubicBezTo>
                    <a:pt x="37" y="129"/>
                    <a:pt x="30" y="151"/>
                    <a:pt x="30" y="151"/>
                  </a:cubicBezTo>
                  <a:cubicBezTo>
                    <a:pt x="16" y="162"/>
                    <a:pt x="16" y="162"/>
                    <a:pt x="16" y="162"/>
                  </a:cubicBezTo>
                  <a:cubicBezTo>
                    <a:pt x="16" y="162"/>
                    <a:pt x="0" y="175"/>
                    <a:pt x="0" y="185"/>
                  </a:cubicBezTo>
                  <a:cubicBezTo>
                    <a:pt x="0" y="195"/>
                    <a:pt x="0" y="208"/>
                    <a:pt x="0" y="208"/>
                  </a:cubicBezTo>
                  <a:cubicBezTo>
                    <a:pt x="7" y="208"/>
                    <a:pt x="7" y="208"/>
                    <a:pt x="7" y="208"/>
                  </a:cubicBezTo>
                  <a:cubicBezTo>
                    <a:pt x="7" y="227"/>
                    <a:pt x="7" y="227"/>
                    <a:pt x="7" y="227"/>
                  </a:cubicBezTo>
                  <a:cubicBezTo>
                    <a:pt x="7" y="227"/>
                    <a:pt x="33" y="232"/>
                    <a:pt x="34" y="240"/>
                  </a:cubicBezTo>
                  <a:cubicBezTo>
                    <a:pt x="35" y="248"/>
                    <a:pt x="35" y="266"/>
                    <a:pt x="35" y="266"/>
                  </a:cubicBezTo>
                  <a:cubicBezTo>
                    <a:pt x="35" y="266"/>
                    <a:pt x="67" y="278"/>
                    <a:pt x="67" y="291"/>
                  </a:cubicBezTo>
                  <a:cubicBezTo>
                    <a:pt x="67" y="302"/>
                    <a:pt x="82" y="364"/>
                    <a:pt x="88" y="387"/>
                  </a:cubicBezTo>
                  <a:cubicBezTo>
                    <a:pt x="95" y="384"/>
                    <a:pt x="104" y="381"/>
                    <a:pt x="104" y="381"/>
                  </a:cubicBezTo>
                  <a:cubicBezTo>
                    <a:pt x="104" y="381"/>
                    <a:pt x="124" y="367"/>
                    <a:pt x="123" y="355"/>
                  </a:cubicBezTo>
                  <a:cubicBezTo>
                    <a:pt x="122" y="343"/>
                    <a:pt x="112" y="323"/>
                    <a:pt x="114" y="317"/>
                  </a:cubicBezTo>
                  <a:cubicBezTo>
                    <a:pt x="116" y="311"/>
                    <a:pt x="129" y="306"/>
                    <a:pt x="129" y="306"/>
                  </a:cubicBezTo>
                  <a:cubicBezTo>
                    <a:pt x="129" y="306"/>
                    <a:pt x="142" y="289"/>
                    <a:pt x="148" y="283"/>
                  </a:cubicBezTo>
                  <a:cubicBezTo>
                    <a:pt x="154" y="277"/>
                    <a:pt x="179" y="273"/>
                    <a:pt x="183" y="265"/>
                  </a:cubicBezTo>
                  <a:cubicBezTo>
                    <a:pt x="187" y="257"/>
                    <a:pt x="172" y="255"/>
                    <a:pt x="172" y="255"/>
                  </a:cubicBezTo>
                  <a:cubicBezTo>
                    <a:pt x="175" y="228"/>
                    <a:pt x="175" y="228"/>
                    <a:pt x="175" y="228"/>
                  </a:cubicBezTo>
                  <a:cubicBezTo>
                    <a:pt x="170" y="227"/>
                    <a:pt x="167" y="226"/>
                    <a:pt x="167" y="226"/>
                  </a:cubicBezTo>
                  <a:cubicBezTo>
                    <a:pt x="160" y="207"/>
                    <a:pt x="160" y="207"/>
                    <a:pt x="160" y="207"/>
                  </a:cubicBezTo>
                  <a:cubicBezTo>
                    <a:pt x="150" y="201"/>
                    <a:pt x="150" y="201"/>
                    <a:pt x="150" y="201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42" y="203"/>
                    <a:pt x="142" y="203"/>
                    <a:pt x="142" y="203"/>
                  </a:cubicBezTo>
                  <a:cubicBezTo>
                    <a:pt x="142" y="203"/>
                    <a:pt x="111" y="202"/>
                    <a:pt x="111" y="183"/>
                  </a:cubicBezTo>
                  <a:cubicBezTo>
                    <a:pt x="111" y="164"/>
                    <a:pt x="109" y="174"/>
                    <a:pt x="132" y="154"/>
                  </a:cubicBezTo>
                  <a:cubicBezTo>
                    <a:pt x="155" y="134"/>
                    <a:pt x="169" y="118"/>
                    <a:pt x="156" y="102"/>
                  </a:cubicBezTo>
                  <a:cubicBezTo>
                    <a:pt x="143" y="86"/>
                    <a:pt x="128" y="89"/>
                    <a:pt x="132" y="73"/>
                  </a:cubicBezTo>
                  <a:cubicBezTo>
                    <a:pt x="136" y="57"/>
                    <a:pt x="135" y="59"/>
                    <a:pt x="145" y="50"/>
                  </a:cubicBezTo>
                  <a:cubicBezTo>
                    <a:pt x="155" y="41"/>
                    <a:pt x="163" y="19"/>
                    <a:pt x="156" y="18"/>
                  </a:cubicBezTo>
                  <a:cubicBezTo>
                    <a:pt x="149" y="17"/>
                    <a:pt x="130" y="43"/>
                    <a:pt x="125" y="45"/>
                  </a:cubicBezTo>
                  <a:cubicBezTo>
                    <a:pt x="120" y="47"/>
                    <a:pt x="108" y="33"/>
                    <a:pt x="108" y="33"/>
                  </a:cubicBezTo>
                  <a:cubicBezTo>
                    <a:pt x="108" y="33"/>
                    <a:pt x="127" y="16"/>
                    <a:pt x="110" y="8"/>
                  </a:cubicBezTo>
                  <a:cubicBezTo>
                    <a:pt x="93" y="0"/>
                    <a:pt x="66" y="19"/>
                    <a:pt x="60" y="23"/>
                  </a:cubicBezTo>
                  <a:cubicBezTo>
                    <a:pt x="58" y="24"/>
                    <a:pt x="56" y="25"/>
                    <a:pt x="53" y="25"/>
                  </a:cubicBezTo>
                  <a:cubicBezTo>
                    <a:pt x="53" y="35"/>
                    <a:pt x="53" y="35"/>
                    <a:pt x="53" y="35"/>
                  </a:cubicBezTo>
                  <a:lnTo>
                    <a:pt x="25" y="48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7" name="Freeform 295">
              <a:extLst>
                <a:ext uri="{FF2B5EF4-FFF2-40B4-BE49-F238E27FC236}">
                  <a16:creationId xmlns:a16="http://schemas.microsoft.com/office/drawing/2014/main" id="{8B721533-48BB-AC79-8AB8-031BF7B4C610}"/>
                </a:ext>
              </a:extLst>
            </p:cNvPr>
            <p:cNvSpPr>
              <a:spLocks/>
            </p:cNvSpPr>
            <p:nvPr/>
          </p:nvSpPr>
          <p:spPr bwMode="gray">
            <a:xfrm>
              <a:off x="-6830" y="-11395"/>
              <a:ext cx="504" cy="825"/>
            </a:xfrm>
            <a:custGeom>
              <a:avLst/>
              <a:gdLst>
                <a:gd name="T0" fmla="*/ 185 w 213"/>
                <a:gd name="T1" fmla="*/ 228 h 349"/>
                <a:gd name="T2" fmla="*/ 190 w 213"/>
                <a:gd name="T3" fmla="*/ 205 h 349"/>
                <a:gd name="T4" fmla="*/ 182 w 213"/>
                <a:gd name="T5" fmla="*/ 198 h 349"/>
                <a:gd name="T6" fmla="*/ 185 w 213"/>
                <a:gd name="T7" fmla="*/ 186 h 349"/>
                <a:gd name="T8" fmla="*/ 187 w 213"/>
                <a:gd name="T9" fmla="*/ 157 h 349"/>
                <a:gd name="T10" fmla="*/ 191 w 213"/>
                <a:gd name="T11" fmla="*/ 148 h 349"/>
                <a:gd name="T12" fmla="*/ 173 w 213"/>
                <a:gd name="T13" fmla="*/ 134 h 349"/>
                <a:gd name="T14" fmla="*/ 185 w 213"/>
                <a:gd name="T15" fmla="*/ 123 h 349"/>
                <a:gd name="T16" fmla="*/ 178 w 213"/>
                <a:gd name="T17" fmla="*/ 113 h 349"/>
                <a:gd name="T18" fmla="*/ 182 w 213"/>
                <a:gd name="T19" fmla="*/ 88 h 349"/>
                <a:gd name="T20" fmla="*/ 166 w 213"/>
                <a:gd name="T21" fmla="*/ 91 h 349"/>
                <a:gd name="T22" fmla="*/ 174 w 213"/>
                <a:gd name="T23" fmla="*/ 42 h 349"/>
                <a:gd name="T24" fmla="*/ 152 w 213"/>
                <a:gd name="T25" fmla="*/ 24 h 349"/>
                <a:gd name="T26" fmla="*/ 159 w 213"/>
                <a:gd name="T27" fmla="*/ 15 h 349"/>
                <a:gd name="T28" fmla="*/ 159 w 213"/>
                <a:gd name="T29" fmla="*/ 4 h 349"/>
                <a:gd name="T30" fmla="*/ 145 w 213"/>
                <a:gd name="T31" fmla="*/ 0 h 349"/>
                <a:gd name="T32" fmla="*/ 129 w 213"/>
                <a:gd name="T33" fmla="*/ 10 h 349"/>
                <a:gd name="T34" fmla="*/ 109 w 213"/>
                <a:gd name="T35" fmla="*/ 7 h 349"/>
                <a:gd name="T36" fmla="*/ 98 w 213"/>
                <a:gd name="T37" fmla="*/ 10 h 349"/>
                <a:gd name="T38" fmla="*/ 86 w 213"/>
                <a:gd name="T39" fmla="*/ 7 h 349"/>
                <a:gd name="T40" fmla="*/ 81 w 213"/>
                <a:gd name="T41" fmla="*/ 10 h 349"/>
                <a:gd name="T42" fmla="*/ 26 w 213"/>
                <a:gd name="T43" fmla="*/ 7 h 349"/>
                <a:gd name="T44" fmla="*/ 18 w 213"/>
                <a:gd name="T45" fmla="*/ 24 h 349"/>
                <a:gd name="T46" fmla="*/ 24 w 213"/>
                <a:gd name="T47" fmla="*/ 33 h 349"/>
                <a:gd name="T48" fmla="*/ 25 w 213"/>
                <a:gd name="T49" fmla="*/ 51 h 349"/>
                <a:gd name="T50" fmla="*/ 26 w 213"/>
                <a:gd name="T51" fmla="*/ 87 h 349"/>
                <a:gd name="T52" fmla="*/ 30 w 213"/>
                <a:gd name="T53" fmla="*/ 86 h 349"/>
                <a:gd name="T54" fmla="*/ 34 w 213"/>
                <a:gd name="T55" fmla="*/ 105 h 349"/>
                <a:gd name="T56" fmla="*/ 26 w 213"/>
                <a:gd name="T57" fmla="*/ 106 h 349"/>
                <a:gd name="T58" fmla="*/ 38 w 213"/>
                <a:gd name="T59" fmla="*/ 152 h 349"/>
                <a:gd name="T60" fmla="*/ 21 w 213"/>
                <a:gd name="T61" fmla="*/ 179 h 349"/>
                <a:gd name="T62" fmla="*/ 20 w 213"/>
                <a:gd name="T63" fmla="*/ 209 h 349"/>
                <a:gd name="T64" fmla="*/ 0 w 213"/>
                <a:gd name="T65" fmla="*/ 241 h 349"/>
                <a:gd name="T66" fmla="*/ 13 w 213"/>
                <a:gd name="T67" fmla="*/ 291 h 349"/>
                <a:gd name="T68" fmla="*/ 31 w 213"/>
                <a:gd name="T69" fmla="*/ 297 h 349"/>
                <a:gd name="T70" fmla="*/ 32 w 213"/>
                <a:gd name="T71" fmla="*/ 332 h 349"/>
                <a:gd name="T72" fmla="*/ 47 w 213"/>
                <a:gd name="T73" fmla="*/ 334 h 349"/>
                <a:gd name="T74" fmla="*/ 61 w 213"/>
                <a:gd name="T75" fmla="*/ 345 h 349"/>
                <a:gd name="T76" fmla="*/ 99 w 213"/>
                <a:gd name="T77" fmla="*/ 321 h 349"/>
                <a:gd name="T78" fmla="*/ 117 w 213"/>
                <a:gd name="T79" fmla="*/ 321 h 349"/>
                <a:gd name="T80" fmla="*/ 141 w 213"/>
                <a:gd name="T81" fmla="*/ 302 h 349"/>
                <a:gd name="T82" fmla="*/ 159 w 213"/>
                <a:gd name="T83" fmla="*/ 298 h 349"/>
                <a:gd name="T84" fmla="*/ 173 w 213"/>
                <a:gd name="T85" fmla="*/ 283 h 349"/>
                <a:gd name="T86" fmla="*/ 196 w 213"/>
                <a:gd name="T87" fmla="*/ 287 h 349"/>
                <a:gd name="T88" fmla="*/ 213 w 213"/>
                <a:gd name="T89" fmla="*/ 273 h 349"/>
                <a:gd name="T90" fmla="*/ 193 w 213"/>
                <a:gd name="T91" fmla="*/ 256 h 349"/>
                <a:gd name="T92" fmla="*/ 185 w 213"/>
                <a:gd name="T93" fmla="*/ 228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3" h="349">
                  <a:moveTo>
                    <a:pt x="185" y="228"/>
                  </a:moveTo>
                  <a:cubicBezTo>
                    <a:pt x="185" y="228"/>
                    <a:pt x="191" y="211"/>
                    <a:pt x="190" y="205"/>
                  </a:cubicBezTo>
                  <a:cubicBezTo>
                    <a:pt x="189" y="199"/>
                    <a:pt x="182" y="203"/>
                    <a:pt x="182" y="198"/>
                  </a:cubicBezTo>
                  <a:cubicBezTo>
                    <a:pt x="182" y="193"/>
                    <a:pt x="185" y="186"/>
                    <a:pt x="185" y="186"/>
                  </a:cubicBezTo>
                  <a:cubicBezTo>
                    <a:pt x="187" y="157"/>
                    <a:pt x="187" y="157"/>
                    <a:pt x="187" y="157"/>
                  </a:cubicBezTo>
                  <a:cubicBezTo>
                    <a:pt x="187" y="157"/>
                    <a:pt x="192" y="154"/>
                    <a:pt x="191" y="148"/>
                  </a:cubicBezTo>
                  <a:cubicBezTo>
                    <a:pt x="190" y="142"/>
                    <a:pt x="173" y="134"/>
                    <a:pt x="173" y="134"/>
                  </a:cubicBezTo>
                  <a:cubicBezTo>
                    <a:pt x="173" y="134"/>
                    <a:pt x="184" y="126"/>
                    <a:pt x="185" y="123"/>
                  </a:cubicBezTo>
                  <a:cubicBezTo>
                    <a:pt x="186" y="120"/>
                    <a:pt x="178" y="113"/>
                    <a:pt x="178" y="113"/>
                  </a:cubicBezTo>
                  <a:cubicBezTo>
                    <a:pt x="178" y="113"/>
                    <a:pt x="186" y="95"/>
                    <a:pt x="182" y="88"/>
                  </a:cubicBezTo>
                  <a:cubicBezTo>
                    <a:pt x="178" y="81"/>
                    <a:pt x="166" y="91"/>
                    <a:pt x="166" y="91"/>
                  </a:cubicBezTo>
                  <a:cubicBezTo>
                    <a:pt x="174" y="42"/>
                    <a:pt x="174" y="42"/>
                    <a:pt x="174" y="42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9" y="15"/>
                    <a:pt x="159" y="15"/>
                    <a:pt x="159" y="15"/>
                  </a:cubicBezTo>
                  <a:cubicBezTo>
                    <a:pt x="159" y="4"/>
                    <a:pt x="159" y="4"/>
                    <a:pt x="159" y="4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29" y="10"/>
                    <a:pt x="129" y="10"/>
                    <a:pt x="129" y="10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18" y="16"/>
                    <a:pt x="18" y="24"/>
                  </a:cubicBezTo>
                  <a:cubicBezTo>
                    <a:pt x="18" y="32"/>
                    <a:pt x="24" y="33"/>
                    <a:pt x="24" y="33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4" y="105"/>
                    <a:pt x="34" y="105"/>
                    <a:pt x="34" y="105"/>
                  </a:cubicBezTo>
                  <a:cubicBezTo>
                    <a:pt x="26" y="106"/>
                    <a:pt x="26" y="106"/>
                    <a:pt x="26" y="106"/>
                  </a:cubicBezTo>
                  <a:cubicBezTo>
                    <a:pt x="26" y="106"/>
                    <a:pt x="38" y="140"/>
                    <a:pt x="38" y="152"/>
                  </a:cubicBezTo>
                  <a:cubicBezTo>
                    <a:pt x="38" y="164"/>
                    <a:pt x="21" y="171"/>
                    <a:pt x="21" y="179"/>
                  </a:cubicBezTo>
                  <a:cubicBezTo>
                    <a:pt x="21" y="187"/>
                    <a:pt x="20" y="209"/>
                    <a:pt x="20" y="209"/>
                  </a:cubicBezTo>
                  <a:cubicBezTo>
                    <a:pt x="20" y="209"/>
                    <a:pt x="0" y="227"/>
                    <a:pt x="0" y="241"/>
                  </a:cubicBezTo>
                  <a:cubicBezTo>
                    <a:pt x="0" y="255"/>
                    <a:pt x="13" y="291"/>
                    <a:pt x="13" y="291"/>
                  </a:cubicBezTo>
                  <a:cubicBezTo>
                    <a:pt x="31" y="297"/>
                    <a:pt x="31" y="297"/>
                    <a:pt x="31" y="297"/>
                  </a:cubicBezTo>
                  <a:cubicBezTo>
                    <a:pt x="32" y="332"/>
                    <a:pt x="32" y="332"/>
                    <a:pt x="32" y="332"/>
                  </a:cubicBezTo>
                  <a:cubicBezTo>
                    <a:pt x="41" y="334"/>
                    <a:pt x="47" y="334"/>
                    <a:pt x="47" y="334"/>
                  </a:cubicBezTo>
                  <a:cubicBezTo>
                    <a:pt x="47" y="334"/>
                    <a:pt x="51" y="349"/>
                    <a:pt x="61" y="345"/>
                  </a:cubicBezTo>
                  <a:cubicBezTo>
                    <a:pt x="71" y="341"/>
                    <a:pt x="92" y="323"/>
                    <a:pt x="99" y="321"/>
                  </a:cubicBezTo>
                  <a:cubicBezTo>
                    <a:pt x="106" y="319"/>
                    <a:pt x="117" y="321"/>
                    <a:pt x="117" y="321"/>
                  </a:cubicBezTo>
                  <a:cubicBezTo>
                    <a:pt x="117" y="321"/>
                    <a:pt x="138" y="303"/>
                    <a:pt x="141" y="302"/>
                  </a:cubicBezTo>
                  <a:cubicBezTo>
                    <a:pt x="144" y="301"/>
                    <a:pt x="159" y="298"/>
                    <a:pt x="159" y="298"/>
                  </a:cubicBezTo>
                  <a:cubicBezTo>
                    <a:pt x="159" y="298"/>
                    <a:pt x="165" y="282"/>
                    <a:pt x="173" y="283"/>
                  </a:cubicBezTo>
                  <a:cubicBezTo>
                    <a:pt x="181" y="284"/>
                    <a:pt x="187" y="292"/>
                    <a:pt x="196" y="287"/>
                  </a:cubicBezTo>
                  <a:cubicBezTo>
                    <a:pt x="201" y="284"/>
                    <a:pt x="207" y="278"/>
                    <a:pt x="213" y="273"/>
                  </a:cubicBezTo>
                  <a:cubicBezTo>
                    <a:pt x="193" y="256"/>
                    <a:pt x="193" y="256"/>
                    <a:pt x="193" y="256"/>
                  </a:cubicBezTo>
                  <a:lnTo>
                    <a:pt x="185" y="228"/>
                  </a:ln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8" name="Freeform 296">
              <a:extLst>
                <a:ext uri="{FF2B5EF4-FFF2-40B4-BE49-F238E27FC236}">
                  <a16:creationId xmlns:a16="http://schemas.microsoft.com/office/drawing/2014/main" id="{BD6AA7CC-0035-191B-6BCC-CFA973C68203}"/>
                </a:ext>
              </a:extLst>
            </p:cNvPr>
            <p:cNvSpPr>
              <a:spLocks/>
            </p:cNvSpPr>
            <p:nvPr/>
          </p:nvSpPr>
          <p:spPr bwMode="gray">
            <a:xfrm>
              <a:off x="-6471" y="-11388"/>
              <a:ext cx="215" cy="638"/>
            </a:xfrm>
            <a:custGeom>
              <a:avLst/>
              <a:gdLst>
                <a:gd name="T0" fmla="*/ 82 w 91"/>
                <a:gd name="T1" fmla="*/ 239 h 270"/>
                <a:gd name="T2" fmla="*/ 80 w 91"/>
                <a:gd name="T3" fmla="*/ 195 h 270"/>
                <a:gd name="T4" fmla="*/ 85 w 91"/>
                <a:gd name="T5" fmla="*/ 188 h 270"/>
                <a:gd name="T6" fmla="*/ 79 w 91"/>
                <a:gd name="T7" fmla="*/ 182 h 270"/>
                <a:gd name="T8" fmla="*/ 80 w 91"/>
                <a:gd name="T9" fmla="*/ 143 h 270"/>
                <a:gd name="T10" fmla="*/ 85 w 91"/>
                <a:gd name="T11" fmla="*/ 135 h 270"/>
                <a:gd name="T12" fmla="*/ 81 w 91"/>
                <a:gd name="T13" fmla="*/ 108 h 270"/>
                <a:gd name="T14" fmla="*/ 69 w 91"/>
                <a:gd name="T15" fmla="*/ 91 h 270"/>
                <a:gd name="T16" fmla="*/ 69 w 91"/>
                <a:gd name="T17" fmla="*/ 60 h 270"/>
                <a:gd name="T18" fmla="*/ 42 w 91"/>
                <a:gd name="T19" fmla="*/ 37 h 270"/>
                <a:gd name="T20" fmla="*/ 41 w 91"/>
                <a:gd name="T21" fmla="*/ 18 h 270"/>
                <a:gd name="T22" fmla="*/ 47 w 91"/>
                <a:gd name="T23" fmla="*/ 6 h 270"/>
                <a:gd name="T24" fmla="*/ 33 w 91"/>
                <a:gd name="T25" fmla="*/ 7 h 270"/>
                <a:gd name="T26" fmla="*/ 18 w 91"/>
                <a:gd name="T27" fmla="*/ 0 h 270"/>
                <a:gd name="T28" fmla="*/ 7 w 91"/>
                <a:gd name="T29" fmla="*/ 1 h 270"/>
                <a:gd name="T30" fmla="*/ 7 w 91"/>
                <a:gd name="T31" fmla="*/ 12 h 270"/>
                <a:gd name="T32" fmla="*/ 0 w 91"/>
                <a:gd name="T33" fmla="*/ 21 h 270"/>
                <a:gd name="T34" fmla="*/ 22 w 91"/>
                <a:gd name="T35" fmla="*/ 39 h 270"/>
                <a:gd name="T36" fmla="*/ 14 w 91"/>
                <a:gd name="T37" fmla="*/ 88 h 270"/>
                <a:gd name="T38" fmla="*/ 30 w 91"/>
                <a:gd name="T39" fmla="*/ 85 h 270"/>
                <a:gd name="T40" fmla="*/ 26 w 91"/>
                <a:gd name="T41" fmla="*/ 110 h 270"/>
                <a:gd name="T42" fmla="*/ 33 w 91"/>
                <a:gd name="T43" fmla="*/ 120 h 270"/>
                <a:gd name="T44" fmla="*/ 21 w 91"/>
                <a:gd name="T45" fmla="*/ 131 h 270"/>
                <a:gd name="T46" fmla="*/ 39 w 91"/>
                <a:gd name="T47" fmla="*/ 145 h 270"/>
                <a:gd name="T48" fmla="*/ 35 w 91"/>
                <a:gd name="T49" fmla="*/ 154 h 270"/>
                <a:gd name="T50" fmla="*/ 33 w 91"/>
                <a:gd name="T51" fmla="*/ 183 h 270"/>
                <a:gd name="T52" fmla="*/ 30 w 91"/>
                <a:gd name="T53" fmla="*/ 195 h 270"/>
                <a:gd name="T54" fmla="*/ 38 w 91"/>
                <a:gd name="T55" fmla="*/ 202 h 270"/>
                <a:gd name="T56" fmla="*/ 33 w 91"/>
                <a:gd name="T57" fmla="*/ 225 h 270"/>
                <a:gd name="T58" fmla="*/ 41 w 91"/>
                <a:gd name="T59" fmla="*/ 253 h 270"/>
                <a:gd name="T60" fmla="*/ 61 w 91"/>
                <a:gd name="T61" fmla="*/ 270 h 270"/>
                <a:gd name="T62" fmla="*/ 78 w 91"/>
                <a:gd name="T63" fmla="*/ 259 h 270"/>
                <a:gd name="T64" fmla="*/ 91 w 91"/>
                <a:gd name="T65" fmla="*/ 258 h 270"/>
                <a:gd name="T66" fmla="*/ 82 w 91"/>
                <a:gd name="T67" fmla="*/ 239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270">
                  <a:moveTo>
                    <a:pt x="82" y="239"/>
                  </a:moveTo>
                  <a:cubicBezTo>
                    <a:pt x="80" y="195"/>
                    <a:pt x="80" y="195"/>
                    <a:pt x="80" y="195"/>
                  </a:cubicBezTo>
                  <a:cubicBezTo>
                    <a:pt x="85" y="188"/>
                    <a:pt x="85" y="188"/>
                    <a:pt x="85" y="188"/>
                  </a:cubicBezTo>
                  <a:cubicBezTo>
                    <a:pt x="79" y="182"/>
                    <a:pt x="79" y="182"/>
                    <a:pt x="79" y="182"/>
                  </a:cubicBezTo>
                  <a:cubicBezTo>
                    <a:pt x="80" y="143"/>
                    <a:pt x="80" y="143"/>
                    <a:pt x="80" y="143"/>
                  </a:cubicBezTo>
                  <a:cubicBezTo>
                    <a:pt x="85" y="135"/>
                    <a:pt x="85" y="135"/>
                    <a:pt x="85" y="135"/>
                  </a:cubicBezTo>
                  <a:cubicBezTo>
                    <a:pt x="85" y="135"/>
                    <a:pt x="80" y="116"/>
                    <a:pt x="81" y="108"/>
                  </a:cubicBezTo>
                  <a:cubicBezTo>
                    <a:pt x="82" y="100"/>
                    <a:pt x="69" y="91"/>
                    <a:pt x="69" y="91"/>
                  </a:cubicBezTo>
                  <a:cubicBezTo>
                    <a:pt x="69" y="91"/>
                    <a:pt x="71" y="68"/>
                    <a:pt x="69" y="60"/>
                  </a:cubicBezTo>
                  <a:cubicBezTo>
                    <a:pt x="67" y="52"/>
                    <a:pt x="42" y="37"/>
                    <a:pt x="42" y="37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88"/>
                    <a:pt x="26" y="78"/>
                    <a:pt x="30" y="85"/>
                  </a:cubicBezTo>
                  <a:cubicBezTo>
                    <a:pt x="34" y="92"/>
                    <a:pt x="26" y="110"/>
                    <a:pt x="26" y="110"/>
                  </a:cubicBezTo>
                  <a:cubicBezTo>
                    <a:pt x="26" y="110"/>
                    <a:pt x="34" y="117"/>
                    <a:pt x="33" y="120"/>
                  </a:cubicBezTo>
                  <a:cubicBezTo>
                    <a:pt x="32" y="123"/>
                    <a:pt x="21" y="131"/>
                    <a:pt x="21" y="131"/>
                  </a:cubicBezTo>
                  <a:cubicBezTo>
                    <a:pt x="21" y="131"/>
                    <a:pt x="38" y="139"/>
                    <a:pt x="39" y="145"/>
                  </a:cubicBezTo>
                  <a:cubicBezTo>
                    <a:pt x="40" y="151"/>
                    <a:pt x="35" y="154"/>
                    <a:pt x="35" y="154"/>
                  </a:cubicBezTo>
                  <a:cubicBezTo>
                    <a:pt x="33" y="183"/>
                    <a:pt x="33" y="183"/>
                    <a:pt x="33" y="183"/>
                  </a:cubicBezTo>
                  <a:cubicBezTo>
                    <a:pt x="33" y="183"/>
                    <a:pt x="30" y="190"/>
                    <a:pt x="30" y="195"/>
                  </a:cubicBezTo>
                  <a:cubicBezTo>
                    <a:pt x="30" y="200"/>
                    <a:pt x="37" y="196"/>
                    <a:pt x="38" y="202"/>
                  </a:cubicBezTo>
                  <a:cubicBezTo>
                    <a:pt x="39" y="208"/>
                    <a:pt x="33" y="225"/>
                    <a:pt x="33" y="225"/>
                  </a:cubicBezTo>
                  <a:cubicBezTo>
                    <a:pt x="41" y="253"/>
                    <a:pt x="41" y="253"/>
                    <a:pt x="41" y="253"/>
                  </a:cubicBezTo>
                  <a:cubicBezTo>
                    <a:pt x="61" y="270"/>
                    <a:pt x="61" y="270"/>
                    <a:pt x="61" y="270"/>
                  </a:cubicBezTo>
                  <a:cubicBezTo>
                    <a:pt x="66" y="264"/>
                    <a:pt x="72" y="260"/>
                    <a:pt x="78" y="259"/>
                  </a:cubicBezTo>
                  <a:cubicBezTo>
                    <a:pt x="82" y="258"/>
                    <a:pt x="86" y="258"/>
                    <a:pt x="91" y="258"/>
                  </a:cubicBezTo>
                  <a:cubicBezTo>
                    <a:pt x="91" y="248"/>
                    <a:pt x="82" y="239"/>
                    <a:pt x="82" y="239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9" name="Freeform 297">
              <a:extLst>
                <a:ext uri="{FF2B5EF4-FFF2-40B4-BE49-F238E27FC236}">
                  <a16:creationId xmlns:a16="http://schemas.microsoft.com/office/drawing/2014/main" id="{ABE20966-A757-13A0-AC68-868E61D851EE}"/>
                </a:ext>
              </a:extLst>
            </p:cNvPr>
            <p:cNvSpPr>
              <a:spLocks/>
            </p:cNvSpPr>
            <p:nvPr/>
          </p:nvSpPr>
          <p:spPr bwMode="gray">
            <a:xfrm>
              <a:off x="-6374" y="-11555"/>
              <a:ext cx="355" cy="784"/>
            </a:xfrm>
            <a:custGeom>
              <a:avLst/>
              <a:gdLst>
                <a:gd name="T0" fmla="*/ 94 w 150"/>
                <a:gd name="T1" fmla="*/ 247 h 332"/>
                <a:gd name="T2" fmla="*/ 97 w 150"/>
                <a:gd name="T3" fmla="*/ 228 h 332"/>
                <a:gd name="T4" fmla="*/ 94 w 150"/>
                <a:gd name="T5" fmla="*/ 206 h 332"/>
                <a:gd name="T6" fmla="*/ 96 w 150"/>
                <a:gd name="T7" fmla="*/ 183 h 332"/>
                <a:gd name="T8" fmla="*/ 112 w 150"/>
                <a:gd name="T9" fmla="*/ 177 h 332"/>
                <a:gd name="T10" fmla="*/ 118 w 150"/>
                <a:gd name="T11" fmla="*/ 148 h 332"/>
                <a:gd name="T12" fmla="*/ 133 w 150"/>
                <a:gd name="T13" fmla="*/ 132 h 332"/>
                <a:gd name="T14" fmla="*/ 135 w 150"/>
                <a:gd name="T15" fmla="*/ 105 h 332"/>
                <a:gd name="T16" fmla="*/ 148 w 150"/>
                <a:gd name="T17" fmla="*/ 95 h 332"/>
                <a:gd name="T18" fmla="*/ 144 w 150"/>
                <a:gd name="T19" fmla="*/ 85 h 332"/>
                <a:gd name="T20" fmla="*/ 145 w 150"/>
                <a:gd name="T21" fmla="*/ 76 h 332"/>
                <a:gd name="T22" fmla="*/ 131 w 150"/>
                <a:gd name="T23" fmla="*/ 51 h 332"/>
                <a:gd name="T24" fmla="*/ 139 w 150"/>
                <a:gd name="T25" fmla="*/ 31 h 332"/>
                <a:gd name="T26" fmla="*/ 118 w 150"/>
                <a:gd name="T27" fmla="*/ 22 h 332"/>
                <a:gd name="T28" fmla="*/ 96 w 150"/>
                <a:gd name="T29" fmla="*/ 0 h 332"/>
                <a:gd name="T30" fmla="*/ 79 w 150"/>
                <a:gd name="T31" fmla="*/ 7 h 332"/>
                <a:gd name="T32" fmla="*/ 76 w 150"/>
                <a:gd name="T33" fmla="*/ 23 h 332"/>
                <a:gd name="T34" fmla="*/ 83 w 150"/>
                <a:gd name="T35" fmla="*/ 26 h 332"/>
                <a:gd name="T36" fmla="*/ 77 w 150"/>
                <a:gd name="T37" fmla="*/ 28 h 332"/>
                <a:gd name="T38" fmla="*/ 74 w 150"/>
                <a:gd name="T39" fmla="*/ 39 h 332"/>
                <a:gd name="T40" fmla="*/ 63 w 150"/>
                <a:gd name="T41" fmla="*/ 43 h 332"/>
                <a:gd name="T42" fmla="*/ 58 w 150"/>
                <a:gd name="T43" fmla="*/ 53 h 332"/>
                <a:gd name="T44" fmla="*/ 32 w 150"/>
                <a:gd name="T45" fmla="*/ 51 h 332"/>
                <a:gd name="T46" fmla="*/ 19 w 150"/>
                <a:gd name="T47" fmla="*/ 70 h 332"/>
                <a:gd name="T48" fmla="*/ 11 w 150"/>
                <a:gd name="T49" fmla="*/ 70 h 332"/>
                <a:gd name="T50" fmla="*/ 6 w 150"/>
                <a:gd name="T51" fmla="*/ 77 h 332"/>
                <a:gd name="T52" fmla="*/ 0 w 150"/>
                <a:gd name="T53" fmla="*/ 89 h 332"/>
                <a:gd name="T54" fmla="*/ 1 w 150"/>
                <a:gd name="T55" fmla="*/ 108 h 332"/>
                <a:gd name="T56" fmla="*/ 28 w 150"/>
                <a:gd name="T57" fmla="*/ 131 h 332"/>
                <a:gd name="T58" fmla="*/ 28 w 150"/>
                <a:gd name="T59" fmla="*/ 162 h 332"/>
                <a:gd name="T60" fmla="*/ 40 w 150"/>
                <a:gd name="T61" fmla="*/ 179 h 332"/>
                <a:gd name="T62" fmla="*/ 44 w 150"/>
                <a:gd name="T63" fmla="*/ 206 h 332"/>
                <a:gd name="T64" fmla="*/ 39 w 150"/>
                <a:gd name="T65" fmla="*/ 214 h 332"/>
                <a:gd name="T66" fmla="*/ 38 w 150"/>
                <a:gd name="T67" fmla="*/ 253 h 332"/>
                <a:gd name="T68" fmla="*/ 44 w 150"/>
                <a:gd name="T69" fmla="*/ 259 h 332"/>
                <a:gd name="T70" fmla="*/ 39 w 150"/>
                <a:gd name="T71" fmla="*/ 266 h 332"/>
                <a:gd name="T72" fmla="*/ 41 w 150"/>
                <a:gd name="T73" fmla="*/ 310 h 332"/>
                <a:gd name="T74" fmla="*/ 50 w 150"/>
                <a:gd name="T75" fmla="*/ 329 h 332"/>
                <a:gd name="T76" fmla="*/ 50 w 150"/>
                <a:gd name="T77" fmla="*/ 329 h 332"/>
                <a:gd name="T78" fmla="*/ 73 w 150"/>
                <a:gd name="T79" fmla="*/ 332 h 332"/>
                <a:gd name="T80" fmla="*/ 81 w 150"/>
                <a:gd name="T81" fmla="*/ 318 h 332"/>
                <a:gd name="T82" fmla="*/ 91 w 150"/>
                <a:gd name="T83" fmla="*/ 323 h 332"/>
                <a:gd name="T84" fmla="*/ 95 w 150"/>
                <a:gd name="T85" fmla="*/ 306 h 332"/>
                <a:gd name="T86" fmla="*/ 94 w 150"/>
                <a:gd name="T87" fmla="*/ 24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0" h="332">
                  <a:moveTo>
                    <a:pt x="94" y="247"/>
                  </a:moveTo>
                  <a:cubicBezTo>
                    <a:pt x="97" y="228"/>
                    <a:pt x="97" y="228"/>
                    <a:pt x="97" y="228"/>
                  </a:cubicBezTo>
                  <a:cubicBezTo>
                    <a:pt x="94" y="206"/>
                    <a:pt x="94" y="206"/>
                    <a:pt x="94" y="206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6" y="183"/>
                    <a:pt x="104" y="187"/>
                    <a:pt x="112" y="177"/>
                  </a:cubicBezTo>
                  <a:cubicBezTo>
                    <a:pt x="120" y="167"/>
                    <a:pt x="115" y="155"/>
                    <a:pt x="118" y="148"/>
                  </a:cubicBezTo>
                  <a:cubicBezTo>
                    <a:pt x="121" y="141"/>
                    <a:pt x="133" y="132"/>
                    <a:pt x="133" y="132"/>
                  </a:cubicBezTo>
                  <a:cubicBezTo>
                    <a:pt x="135" y="105"/>
                    <a:pt x="135" y="105"/>
                    <a:pt x="135" y="105"/>
                  </a:cubicBezTo>
                  <a:cubicBezTo>
                    <a:pt x="135" y="105"/>
                    <a:pt x="146" y="102"/>
                    <a:pt x="148" y="95"/>
                  </a:cubicBezTo>
                  <a:cubicBezTo>
                    <a:pt x="150" y="88"/>
                    <a:pt x="144" y="85"/>
                    <a:pt x="144" y="85"/>
                  </a:cubicBezTo>
                  <a:cubicBezTo>
                    <a:pt x="144" y="85"/>
                    <a:pt x="145" y="82"/>
                    <a:pt x="145" y="76"/>
                  </a:cubicBezTo>
                  <a:cubicBezTo>
                    <a:pt x="145" y="70"/>
                    <a:pt x="130" y="58"/>
                    <a:pt x="131" y="51"/>
                  </a:cubicBezTo>
                  <a:cubicBezTo>
                    <a:pt x="132" y="44"/>
                    <a:pt x="139" y="31"/>
                    <a:pt x="139" y="31"/>
                  </a:cubicBezTo>
                  <a:cubicBezTo>
                    <a:pt x="139" y="31"/>
                    <a:pt x="123" y="25"/>
                    <a:pt x="118" y="22"/>
                  </a:cubicBezTo>
                  <a:cubicBezTo>
                    <a:pt x="113" y="19"/>
                    <a:pt x="96" y="0"/>
                    <a:pt x="96" y="0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67" y="40"/>
                    <a:pt x="63" y="43"/>
                  </a:cubicBezTo>
                  <a:cubicBezTo>
                    <a:pt x="59" y="46"/>
                    <a:pt x="58" y="53"/>
                    <a:pt x="58" y="53"/>
                  </a:cubicBezTo>
                  <a:cubicBezTo>
                    <a:pt x="58" y="53"/>
                    <a:pt x="32" y="52"/>
                    <a:pt x="32" y="51"/>
                  </a:cubicBezTo>
                  <a:cubicBezTo>
                    <a:pt x="21" y="56"/>
                    <a:pt x="19" y="70"/>
                    <a:pt x="19" y="70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8"/>
                    <a:pt x="26" y="123"/>
                    <a:pt x="28" y="131"/>
                  </a:cubicBezTo>
                  <a:cubicBezTo>
                    <a:pt x="30" y="139"/>
                    <a:pt x="28" y="162"/>
                    <a:pt x="28" y="162"/>
                  </a:cubicBezTo>
                  <a:cubicBezTo>
                    <a:pt x="28" y="162"/>
                    <a:pt x="41" y="171"/>
                    <a:pt x="40" y="179"/>
                  </a:cubicBezTo>
                  <a:cubicBezTo>
                    <a:pt x="39" y="187"/>
                    <a:pt x="44" y="206"/>
                    <a:pt x="44" y="206"/>
                  </a:cubicBezTo>
                  <a:cubicBezTo>
                    <a:pt x="39" y="214"/>
                    <a:pt x="39" y="214"/>
                    <a:pt x="39" y="214"/>
                  </a:cubicBezTo>
                  <a:cubicBezTo>
                    <a:pt x="38" y="253"/>
                    <a:pt x="38" y="253"/>
                    <a:pt x="38" y="253"/>
                  </a:cubicBezTo>
                  <a:cubicBezTo>
                    <a:pt x="44" y="259"/>
                    <a:pt x="44" y="259"/>
                    <a:pt x="44" y="259"/>
                  </a:cubicBezTo>
                  <a:cubicBezTo>
                    <a:pt x="39" y="266"/>
                    <a:pt x="39" y="266"/>
                    <a:pt x="39" y="266"/>
                  </a:cubicBezTo>
                  <a:cubicBezTo>
                    <a:pt x="41" y="310"/>
                    <a:pt x="41" y="310"/>
                    <a:pt x="41" y="310"/>
                  </a:cubicBezTo>
                  <a:cubicBezTo>
                    <a:pt x="41" y="310"/>
                    <a:pt x="50" y="319"/>
                    <a:pt x="50" y="329"/>
                  </a:cubicBezTo>
                  <a:cubicBezTo>
                    <a:pt x="50" y="329"/>
                    <a:pt x="50" y="329"/>
                    <a:pt x="50" y="329"/>
                  </a:cubicBezTo>
                  <a:cubicBezTo>
                    <a:pt x="61" y="330"/>
                    <a:pt x="73" y="332"/>
                    <a:pt x="73" y="332"/>
                  </a:cubicBezTo>
                  <a:cubicBezTo>
                    <a:pt x="81" y="318"/>
                    <a:pt x="81" y="318"/>
                    <a:pt x="81" y="318"/>
                  </a:cubicBezTo>
                  <a:cubicBezTo>
                    <a:pt x="81" y="318"/>
                    <a:pt x="85" y="320"/>
                    <a:pt x="91" y="323"/>
                  </a:cubicBezTo>
                  <a:cubicBezTo>
                    <a:pt x="95" y="306"/>
                    <a:pt x="95" y="306"/>
                    <a:pt x="95" y="306"/>
                  </a:cubicBezTo>
                  <a:lnTo>
                    <a:pt x="94" y="247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Freeform 298">
              <a:extLst>
                <a:ext uri="{FF2B5EF4-FFF2-40B4-BE49-F238E27FC236}">
                  <a16:creationId xmlns:a16="http://schemas.microsoft.com/office/drawing/2014/main" id="{2C7F01BA-56C6-72C9-8DC7-D37A40F5F839}"/>
                </a:ext>
              </a:extLst>
            </p:cNvPr>
            <p:cNvSpPr>
              <a:spLocks/>
            </p:cNvSpPr>
            <p:nvPr/>
          </p:nvSpPr>
          <p:spPr bwMode="gray">
            <a:xfrm>
              <a:off x="-6159" y="-11742"/>
              <a:ext cx="1340" cy="1207"/>
            </a:xfrm>
            <a:custGeom>
              <a:avLst/>
              <a:gdLst>
                <a:gd name="T0" fmla="*/ 290 w 567"/>
                <a:gd name="T1" fmla="*/ 469 h 511"/>
                <a:gd name="T2" fmla="*/ 333 w 567"/>
                <a:gd name="T3" fmla="*/ 394 h 511"/>
                <a:gd name="T4" fmla="*/ 372 w 567"/>
                <a:gd name="T5" fmla="*/ 375 h 511"/>
                <a:gd name="T6" fmla="*/ 396 w 567"/>
                <a:gd name="T7" fmla="*/ 383 h 511"/>
                <a:gd name="T8" fmla="*/ 417 w 567"/>
                <a:gd name="T9" fmla="*/ 378 h 511"/>
                <a:gd name="T10" fmla="*/ 434 w 567"/>
                <a:gd name="T11" fmla="*/ 343 h 511"/>
                <a:gd name="T12" fmla="*/ 458 w 567"/>
                <a:gd name="T13" fmla="*/ 291 h 511"/>
                <a:gd name="T14" fmla="*/ 484 w 567"/>
                <a:gd name="T15" fmla="*/ 239 h 511"/>
                <a:gd name="T16" fmla="*/ 504 w 567"/>
                <a:gd name="T17" fmla="*/ 200 h 511"/>
                <a:gd name="T18" fmla="*/ 513 w 567"/>
                <a:gd name="T19" fmla="*/ 177 h 511"/>
                <a:gd name="T20" fmla="*/ 533 w 567"/>
                <a:gd name="T21" fmla="*/ 141 h 511"/>
                <a:gd name="T22" fmla="*/ 559 w 567"/>
                <a:gd name="T23" fmla="*/ 111 h 511"/>
                <a:gd name="T24" fmla="*/ 540 w 567"/>
                <a:gd name="T25" fmla="*/ 84 h 511"/>
                <a:gd name="T26" fmla="*/ 517 w 567"/>
                <a:gd name="T27" fmla="*/ 8 h 511"/>
                <a:gd name="T28" fmla="*/ 499 w 567"/>
                <a:gd name="T29" fmla="*/ 22 h 511"/>
                <a:gd name="T30" fmla="*/ 458 w 567"/>
                <a:gd name="T31" fmla="*/ 40 h 511"/>
                <a:gd name="T32" fmla="*/ 382 w 567"/>
                <a:gd name="T33" fmla="*/ 25 h 511"/>
                <a:gd name="T34" fmla="*/ 293 w 567"/>
                <a:gd name="T35" fmla="*/ 55 h 511"/>
                <a:gd name="T36" fmla="*/ 205 w 567"/>
                <a:gd name="T37" fmla="*/ 47 h 511"/>
                <a:gd name="T38" fmla="*/ 174 w 567"/>
                <a:gd name="T39" fmla="*/ 12 h 511"/>
                <a:gd name="T40" fmla="*/ 135 w 567"/>
                <a:gd name="T41" fmla="*/ 1 h 511"/>
                <a:gd name="T42" fmla="*/ 88 w 567"/>
                <a:gd name="T43" fmla="*/ 7 h 511"/>
                <a:gd name="T44" fmla="*/ 68 w 567"/>
                <a:gd name="T45" fmla="*/ 50 h 511"/>
                <a:gd name="T46" fmla="*/ 48 w 567"/>
                <a:gd name="T47" fmla="*/ 110 h 511"/>
                <a:gd name="T48" fmla="*/ 54 w 567"/>
                <a:gd name="T49" fmla="*/ 155 h 511"/>
                <a:gd name="T50" fmla="*/ 57 w 567"/>
                <a:gd name="T51" fmla="*/ 174 h 511"/>
                <a:gd name="T52" fmla="*/ 42 w 567"/>
                <a:gd name="T53" fmla="*/ 211 h 511"/>
                <a:gd name="T54" fmla="*/ 21 w 567"/>
                <a:gd name="T55" fmla="*/ 256 h 511"/>
                <a:gd name="T56" fmla="*/ 3 w 567"/>
                <a:gd name="T57" fmla="*/ 285 h 511"/>
                <a:gd name="T58" fmla="*/ 3 w 567"/>
                <a:gd name="T59" fmla="*/ 326 h 511"/>
                <a:gd name="T60" fmla="*/ 0 w 567"/>
                <a:gd name="T61" fmla="*/ 402 h 511"/>
                <a:gd name="T62" fmla="*/ 44 w 567"/>
                <a:gd name="T63" fmla="*/ 394 h 511"/>
                <a:gd name="T64" fmla="*/ 96 w 567"/>
                <a:gd name="T65" fmla="*/ 413 h 511"/>
                <a:gd name="T66" fmla="*/ 127 w 567"/>
                <a:gd name="T67" fmla="*/ 440 h 511"/>
                <a:gd name="T68" fmla="*/ 133 w 567"/>
                <a:gd name="T69" fmla="*/ 453 h 511"/>
                <a:gd name="T70" fmla="*/ 157 w 567"/>
                <a:gd name="T71" fmla="*/ 510 h 511"/>
                <a:gd name="T72" fmla="*/ 194 w 567"/>
                <a:gd name="T73" fmla="*/ 491 h 511"/>
                <a:gd name="T74" fmla="*/ 228 w 567"/>
                <a:gd name="T75" fmla="*/ 496 h 511"/>
                <a:gd name="T76" fmla="*/ 265 w 567"/>
                <a:gd name="T77" fmla="*/ 504 h 511"/>
                <a:gd name="T78" fmla="*/ 282 w 567"/>
                <a:gd name="T79" fmla="*/ 48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67" h="511">
                  <a:moveTo>
                    <a:pt x="281" y="490"/>
                  </a:moveTo>
                  <a:cubicBezTo>
                    <a:pt x="281" y="490"/>
                    <a:pt x="288" y="475"/>
                    <a:pt x="290" y="469"/>
                  </a:cubicBezTo>
                  <a:cubicBezTo>
                    <a:pt x="292" y="463"/>
                    <a:pt x="290" y="431"/>
                    <a:pt x="290" y="431"/>
                  </a:cubicBezTo>
                  <a:cubicBezTo>
                    <a:pt x="333" y="394"/>
                    <a:pt x="333" y="394"/>
                    <a:pt x="333" y="394"/>
                  </a:cubicBezTo>
                  <a:cubicBezTo>
                    <a:pt x="333" y="394"/>
                    <a:pt x="343" y="374"/>
                    <a:pt x="349" y="369"/>
                  </a:cubicBezTo>
                  <a:cubicBezTo>
                    <a:pt x="355" y="364"/>
                    <a:pt x="363" y="377"/>
                    <a:pt x="372" y="375"/>
                  </a:cubicBezTo>
                  <a:cubicBezTo>
                    <a:pt x="381" y="373"/>
                    <a:pt x="368" y="359"/>
                    <a:pt x="375" y="359"/>
                  </a:cubicBezTo>
                  <a:cubicBezTo>
                    <a:pt x="382" y="359"/>
                    <a:pt x="396" y="383"/>
                    <a:pt x="396" y="383"/>
                  </a:cubicBezTo>
                  <a:cubicBezTo>
                    <a:pt x="396" y="383"/>
                    <a:pt x="393" y="399"/>
                    <a:pt x="405" y="399"/>
                  </a:cubicBezTo>
                  <a:cubicBezTo>
                    <a:pt x="417" y="399"/>
                    <a:pt x="417" y="378"/>
                    <a:pt x="417" y="378"/>
                  </a:cubicBezTo>
                  <a:cubicBezTo>
                    <a:pt x="417" y="378"/>
                    <a:pt x="428" y="369"/>
                    <a:pt x="433" y="363"/>
                  </a:cubicBezTo>
                  <a:cubicBezTo>
                    <a:pt x="438" y="357"/>
                    <a:pt x="434" y="343"/>
                    <a:pt x="434" y="343"/>
                  </a:cubicBezTo>
                  <a:cubicBezTo>
                    <a:pt x="450" y="323"/>
                    <a:pt x="450" y="323"/>
                    <a:pt x="450" y="323"/>
                  </a:cubicBezTo>
                  <a:cubicBezTo>
                    <a:pt x="458" y="291"/>
                    <a:pt x="458" y="291"/>
                    <a:pt x="458" y="291"/>
                  </a:cubicBezTo>
                  <a:cubicBezTo>
                    <a:pt x="458" y="291"/>
                    <a:pt x="477" y="284"/>
                    <a:pt x="482" y="274"/>
                  </a:cubicBezTo>
                  <a:cubicBezTo>
                    <a:pt x="487" y="264"/>
                    <a:pt x="482" y="246"/>
                    <a:pt x="484" y="239"/>
                  </a:cubicBezTo>
                  <a:cubicBezTo>
                    <a:pt x="486" y="232"/>
                    <a:pt x="496" y="239"/>
                    <a:pt x="501" y="230"/>
                  </a:cubicBezTo>
                  <a:cubicBezTo>
                    <a:pt x="506" y="221"/>
                    <a:pt x="504" y="200"/>
                    <a:pt x="504" y="200"/>
                  </a:cubicBezTo>
                  <a:cubicBezTo>
                    <a:pt x="511" y="196"/>
                    <a:pt x="511" y="196"/>
                    <a:pt x="511" y="196"/>
                  </a:cubicBezTo>
                  <a:cubicBezTo>
                    <a:pt x="513" y="177"/>
                    <a:pt x="513" y="177"/>
                    <a:pt x="513" y="177"/>
                  </a:cubicBezTo>
                  <a:cubicBezTo>
                    <a:pt x="513" y="177"/>
                    <a:pt x="523" y="164"/>
                    <a:pt x="524" y="161"/>
                  </a:cubicBezTo>
                  <a:cubicBezTo>
                    <a:pt x="525" y="158"/>
                    <a:pt x="533" y="141"/>
                    <a:pt x="533" y="141"/>
                  </a:cubicBezTo>
                  <a:cubicBezTo>
                    <a:pt x="533" y="141"/>
                    <a:pt x="547" y="138"/>
                    <a:pt x="557" y="129"/>
                  </a:cubicBezTo>
                  <a:cubicBezTo>
                    <a:pt x="567" y="120"/>
                    <a:pt x="559" y="111"/>
                    <a:pt x="559" y="111"/>
                  </a:cubicBezTo>
                  <a:cubicBezTo>
                    <a:pt x="559" y="111"/>
                    <a:pt x="563" y="98"/>
                    <a:pt x="562" y="87"/>
                  </a:cubicBezTo>
                  <a:cubicBezTo>
                    <a:pt x="561" y="76"/>
                    <a:pt x="542" y="87"/>
                    <a:pt x="540" y="84"/>
                  </a:cubicBezTo>
                  <a:cubicBezTo>
                    <a:pt x="538" y="81"/>
                    <a:pt x="536" y="40"/>
                    <a:pt x="536" y="40"/>
                  </a:cubicBezTo>
                  <a:cubicBezTo>
                    <a:pt x="517" y="8"/>
                    <a:pt x="517" y="8"/>
                    <a:pt x="517" y="8"/>
                  </a:cubicBezTo>
                  <a:cubicBezTo>
                    <a:pt x="517" y="8"/>
                    <a:pt x="511" y="8"/>
                    <a:pt x="507" y="8"/>
                  </a:cubicBezTo>
                  <a:cubicBezTo>
                    <a:pt x="503" y="8"/>
                    <a:pt x="499" y="22"/>
                    <a:pt x="499" y="22"/>
                  </a:cubicBezTo>
                  <a:cubicBezTo>
                    <a:pt x="499" y="22"/>
                    <a:pt x="490" y="19"/>
                    <a:pt x="483" y="23"/>
                  </a:cubicBezTo>
                  <a:cubicBezTo>
                    <a:pt x="476" y="27"/>
                    <a:pt x="458" y="40"/>
                    <a:pt x="458" y="40"/>
                  </a:cubicBezTo>
                  <a:cubicBezTo>
                    <a:pt x="440" y="39"/>
                    <a:pt x="440" y="39"/>
                    <a:pt x="440" y="39"/>
                  </a:cubicBezTo>
                  <a:cubicBezTo>
                    <a:pt x="440" y="39"/>
                    <a:pt x="424" y="25"/>
                    <a:pt x="382" y="25"/>
                  </a:cubicBezTo>
                  <a:cubicBezTo>
                    <a:pt x="340" y="25"/>
                    <a:pt x="328" y="60"/>
                    <a:pt x="328" y="60"/>
                  </a:cubicBezTo>
                  <a:cubicBezTo>
                    <a:pt x="328" y="60"/>
                    <a:pt x="312" y="56"/>
                    <a:pt x="293" y="55"/>
                  </a:cubicBezTo>
                  <a:cubicBezTo>
                    <a:pt x="274" y="54"/>
                    <a:pt x="262" y="26"/>
                    <a:pt x="250" y="26"/>
                  </a:cubicBezTo>
                  <a:cubicBezTo>
                    <a:pt x="238" y="26"/>
                    <a:pt x="214" y="46"/>
                    <a:pt x="205" y="47"/>
                  </a:cubicBezTo>
                  <a:cubicBezTo>
                    <a:pt x="196" y="48"/>
                    <a:pt x="191" y="26"/>
                    <a:pt x="191" y="26"/>
                  </a:cubicBezTo>
                  <a:cubicBezTo>
                    <a:pt x="174" y="12"/>
                    <a:pt x="174" y="12"/>
                    <a:pt x="174" y="12"/>
                  </a:cubicBezTo>
                  <a:cubicBezTo>
                    <a:pt x="174" y="12"/>
                    <a:pt x="162" y="12"/>
                    <a:pt x="155" y="11"/>
                  </a:cubicBezTo>
                  <a:cubicBezTo>
                    <a:pt x="148" y="10"/>
                    <a:pt x="149" y="0"/>
                    <a:pt x="135" y="1"/>
                  </a:cubicBezTo>
                  <a:cubicBezTo>
                    <a:pt x="121" y="2"/>
                    <a:pt x="122" y="8"/>
                    <a:pt x="122" y="8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35"/>
                    <a:pt x="68" y="50"/>
                  </a:cubicBezTo>
                  <a:cubicBezTo>
                    <a:pt x="67" y="65"/>
                    <a:pt x="45" y="76"/>
                    <a:pt x="45" y="76"/>
                  </a:cubicBezTo>
                  <a:cubicBezTo>
                    <a:pt x="48" y="110"/>
                    <a:pt x="48" y="110"/>
                    <a:pt x="48" y="110"/>
                  </a:cubicBezTo>
                  <a:cubicBezTo>
                    <a:pt x="48" y="110"/>
                    <a:pt x="41" y="123"/>
                    <a:pt x="40" y="130"/>
                  </a:cubicBezTo>
                  <a:cubicBezTo>
                    <a:pt x="39" y="137"/>
                    <a:pt x="54" y="149"/>
                    <a:pt x="54" y="155"/>
                  </a:cubicBezTo>
                  <a:cubicBezTo>
                    <a:pt x="54" y="161"/>
                    <a:pt x="53" y="164"/>
                    <a:pt x="53" y="164"/>
                  </a:cubicBezTo>
                  <a:cubicBezTo>
                    <a:pt x="53" y="164"/>
                    <a:pt x="59" y="167"/>
                    <a:pt x="57" y="174"/>
                  </a:cubicBezTo>
                  <a:cubicBezTo>
                    <a:pt x="55" y="181"/>
                    <a:pt x="44" y="184"/>
                    <a:pt x="44" y="184"/>
                  </a:cubicBezTo>
                  <a:cubicBezTo>
                    <a:pt x="42" y="211"/>
                    <a:pt x="42" y="211"/>
                    <a:pt x="42" y="211"/>
                  </a:cubicBezTo>
                  <a:cubicBezTo>
                    <a:pt x="42" y="211"/>
                    <a:pt x="30" y="220"/>
                    <a:pt x="27" y="227"/>
                  </a:cubicBezTo>
                  <a:cubicBezTo>
                    <a:pt x="24" y="234"/>
                    <a:pt x="29" y="246"/>
                    <a:pt x="21" y="256"/>
                  </a:cubicBezTo>
                  <a:cubicBezTo>
                    <a:pt x="13" y="266"/>
                    <a:pt x="5" y="262"/>
                    <a:pt x="5" y="262"/>
                  </a:cubicBezTo>
                  <a:cubicBezTo>
                    <a:pt x="3" y="285"/>
                    <a:pt x="3" y="285"/>
                    <a:pt x="3" y="285"/>
                  </a:cubicBezTo>
                  <a:cubicBezTo>
                    <a:pt x="6" y="307"/>
                    <a:pt x="6" y="307"/>
                    <a:pt x="6" y="307"/>
                  </a:cubicBezTo>
                  <a:cubicBezTo>
                    <a:pt x="3" y="326"/>
                    <a:pt x="3" y="326"/>
                    <a:pt x="3" y="326"/>
                  </a:cubicBezTo>
                  <a:cubicBezTo>
                    <a:pt x="4" y="385"/>
                    <a:pt x="4" y="385"/>
                    <a:pt x="4" y="385"/>
                  </a:cubicBezTo>
                  <a:cubicBezTo>
                    <a:pt x="0" y="402"/>
                    <a:pt x="0" y="402"/>
                    <a:pt x="0" y="402"/>
                  </a:cubicBezTo>
                  <a:cubicBezTo>
                    <a:pt x="7" y="405"/>
                    <a:pt x="17" y="408"/>
                    <a:pt x="23" y="406"/>
                  </a:cubicBezTo>
                  <a:cubicBezTo>
                    <a:pt x="34" y="402"/>
                    <a:pt x="44" y="394"/>
                    <a:pt x="44" y="394"/>
                  </a:cubicBezTo>
                  <a:cubicBezTo>
                    <a:pt x="47" y="401"/>
                    <a:pt x="47" y="401"/>
                    <a:pt x="47" y="401"/>
                  </a:cubicBezTo>
                  <a:cubicBezTo>
                    <a:pt x="47" y="401"/>
                    <a:pt x="80" y="394"/>
                    <a:pt x="96" y="413"/>
                  </a:cubicBezTo>
                  <a:cubicBezTo>
                    <a:pt x="112" y="432"/>
                    <a:pt x="113" y="441"/>
                    <a:pt x="113" y="441"/>
                  </a:cubicBezTo>
                  <a:cubicBezTo>
                    <a:pt x="127" y="440"/>
                    <a:pt x="127" y="440"/>
                    <a:pt x="127" y="440"/>
                  </a:cubicBezTo>
                  <a:cubicBezTo>
                    <a:pt x="127" y="440"/>
                    <a:pt x="117" y="455"/>
                    <a:pt x="120" y="456"/>
                  </a:cubicBezTo>
                  <a:cubicBezTo>
                    <a:pt x="123" y="457"/>
                    <a:pt x="133" y="450"/>
                    <a:pt x="133" y="453"/>
                  </a:cubicBezTo>
                  <a:cubicBezTo>
                    <a:pt x="133" y="456"/>
                    <a:pt x="128" y="464"/>
                    <a:pt x="128" y="472"/>
                  </a:cubicBezTo>
                  <a:cubicBezTo>
                    <a:pt x="128" y="480"/>
                    <a:pt x="136" y="509"/>
                    <a:pt x="157" y="510"/>
                  </a:cubicBezTo>
                  <a:cubicBezTo>
                    <a:pt x="178" y="511"/>
                    <a:pt x="191" y="509"/>
                    <a:pt x="191" y="509"/>
                  </a:cubicBezTo>
                  <a:cubicBezTo>
                    <a:pt x="194" y="491"/>
                    <a:pt x="194" y="491"/>
                    <a:pt x="194" y="491"/>
                  </a:cubicBezTo>
                  <a:cubicBezTo>
                    <a:pt x="212" y="501"/>
                    <a:pt x="212" y="501"/>
                    <a:pt x="212" y="501"/>
                  </a:cubicBezTo>
                  <a:cubicBezTo>
                    <a:pt x="228" y="496"/>
                    <a:pt x="228" y="496"/>
                    <a:pt x="228" y="496"/>
                  </a:cubicBezTo>
                  <a:cubicBezTo>
                    <a:pt x="237" y="505"/>
                    <a:pt x="237" y="505"/>
                    <a:pt x="237" y="505"/>
                  </a:cubicBezTo>
                  <a:cubicBezTo>
                    <a:pt x="265" y="504"/>
                    <a:pt x="265" y="504"/>
                    <a:pt x="265" y="504"/>
                  </a:cubicBezTo>
                  <a:cubicBezTo>
                    <a:pt x="265" y="488"/>
                    <a:pt x="265" y="488"/>
                    <a:pt x="265" y="488"/>
                  </a:cubicBezTo>
                  <a:cubicBezTo>
                    <a:pt x="282" y="487"/>
                    <a:pt x="282" y="487"/>
                    <a:pt x="282" y="487"/>
                  </a:cubicBezTo>
                  <a:cubicBezTo>
                    <a:pt x="281" y="490"/>
                    <a:pt x="281" y="490"/>
                    <a:pt x="281" y="490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chemeClr val="tx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299">
              <a:extLst>
                <a:ext uri="{FF2B5EF4-FFF2-40B4-BE49-F238E27FC236}">
                  <a16:creationId xmlns:a16="http://schemas.microsoft.com/office/drawing/2014/main" id="{B8E5C802-C478-988B-3374-5486771494D2}"/>
                </a:ext>
              </a:extLst>
            </p:cNvPr>
            <p:cNvSpPr>
              <a:spLocks/>
            </p:cNvSpPr>
            <p:nvPr/>
          </p:nvSpPr>
          <p:spPr bwMode="gray">
            <a:xfrm>
              <a:off x="-4961" y="-12966"/>
              <a:ext cx="1172" cy="2046"/>
            </a:xfrm>
            <a:custGeom>
              <a:avLst/>
              <a:gdLst>
                <a:gd name="T0" fmla="*/ 496 w 496"/>
                <a:gd name="T1" fmla="*/ 420 h 866"/>
                <a:gd name="T2" fmla="*/ 119 w 496"/>
                <a:gd name="T3" fmla="*/ 0 h 866"/>
                <a:gd name="T4" fmla="*/ 83 w 496"/>
                <a:gd name="T5" fmla="*/ 72 h 866"/>
                <a:gd name="T6" fmla="*/ 95 w 496"/>
                <a:gd name="T7" fmla="*/ 129 h 866"/>
                <a:gd name="T8" fmla="*/ 120 w 496"/>
                <a:gd name="T9" fmla="*/ 169 h 866"/>
                <a:gd name="T10" fmla="*/ 96 w 496"/>
                <a:gd name="T11" fmla="*/ 356 h 866"/>
                <a:gd name="T12" fmla="*/ 13 w 496"/>
                <a:gd name="T13" fmla="*/ 479 h 866"/>
                <a:gd name="T14" fmla="*/ 3 w 496"/>
                <a:gd name="T15" fmla="*/ 526 h 866"/>
                <a:gd name="T16" fmla="*/ 29 w 496"/>
                <a:gd name="T17" fmla="*/ 558 h 866"/>
                <a:gd name="T18" fmla="*/ 29 w 496"/>
                <a:gd name="T19" fmla="*/ 561 h 866"/>
                <a:gd name="T20" fmla="*/ 50 w 496"/>
                <a:gd name="T21" fmla="*/ 576 h 866"/>
                <a:gd name="T22" fmla="*/ 66 w 496"/>
                <a:gd name="T23" fmla="*/ 611 h 866"/>
                <a:gd name="T24" fmla="*/ 74 w 496"/>
                <a:gd name="T25" fmla="*/ 650 h 866"/>
                <a:gd name="T26" fmla="*/ 106 w 496"/>
                <a:gd name="T27" fmla="*/ 724 h 866"/>
                <a:gd name="T28" fmla="*/ 31 w 496"/>
                <a:gd name="T29" fmla="*/ 733 h 866"/>
                <a:gd name="T30" fmla="*/ 87 w 496"/>
                <a:gd name="T31" fmla="*/ 802 h 866"/>
                <a:gd name="T32" fmla="*/ 123 w 496"/>
                <a:gd name="T33" fmla="*/ 860 h 866"/>
                <a:gd name="T34" fmla="*/ 165 w 496"/>
                <a:gd name="T35" fmla="*/ 858 h 866"/>
                <a:gd name="T36" fmla="*/ 248 w 496"/>
                <a:gd name="T37" fmla="*/ 833 h 866"/>
                <a:gd name="T38" fmla="*/ 253 w 496"/>
                <a:gd name="T39" fmla="*/ 788 h 866"/>
                <a:gd name="T40" fmla="*/ 338 w 496"/>
                <a:gd name="T41" fmla="*/ 765 h 866"/>
                <a:gd name="T42" fmla="*/ 378 w 496"/>
                <a:gd name="T43" fmla="*/ 723 h 866"/>
                <a:gd name="T44" fmla="*/ 393 w 496"/>
                <a:gd name="T45" fmla="*/ 691 h 866"/>
                <a:gd name="T46" fmla="*/ 446 w 496"/>
                <a:gd name="T47" fmla="*/ 674 h 866"/>
                <a:gd name="T48" fmla="*/ 451 w 496"/>
                <a:gd name="T49" fmla="*/ 656 h 866"/>
                <a:gd name="T50" fmla="*/ 426 w 496"/>
                <a:gd name="T51" fmla="*/ 625 h 866"/>
                <a:gd name="T52" fmla="*/ 428 w 496"/>
                <a:gd name="T53" fmla="*/ 612 h 866"/>
                <a:gd name="T54" fmla="*/ 406 w 496"/>
                <a:gd name="T55" fmla="*/ 587 h 866"/>
                <a:gd name="T56" fmla="*/ 417 w 496"/>
                <a:gd name="T57" fmla="*/ 549 h 866"/>
                <a:gd name="T58" fmla="*/ 419 w 496"/>
                <a:gd name="T59" fmla="*/ 508 h 866"/>
                <a:gd name="T60" fmla="*/ 425 w 496"/>
                <a:gd name="T61" fmla="*/ 490 h 866"/>
                <a:gd name="T62" fmla="*/ 432 w 496"/>
                <a:gd name="T63" fmla="*/ 474 h 866"/>
                <a:gd name="T64" fmla="*/ 449 w 496"/>
                <a:gd name="T65" fmla="*/ 442 h 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96" h="866">
                  <a:moveTo>
                    <a:pt x="451" y="419"/>
                  </a:moveTo>
                  <a:cubicBezTo>
                    <a:pt x="464" y="415"/>
                    <a:pt x="496" y="420"/>
                    <a:pt x="496" y="420"/>
                  </a:cubicBezTo>
                  <a:cubicBezTo>
                    <a:pt x="492" y="216"/>
                    <a:pt x="492" y="216"/>
                    <a:pt x="492" y="216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94" y="15"/>
                    <a:pt x="71" y="28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76" y="105"/>
                    <a:pt x="76" y="105"/>
                    <a:pt x="76" y="105"/>
                  </a:cubicBezTo>
                  <a:cubicBezTo>
                    <a:pt x="95" y="129"/>
                    <a:pt x="95" y="129"/>
                    <a:pt x="95" y="129"/>
                  </a:cubicBezTo>
                  <a:cubicBezTo>
                    <a:pt x="100" y="145"/>
                    <a:pt x="100" y="145"/>
                    <a:pt x="100" y="145"/>
                  </a:cubicBezTo>
                  <a:cubicBezTo>
                    <a:pt x="120" y="169"/>
                    <a:pt x="120" y="169"/>
                    <a:pt x="120" y="169"/>
                  </a:cubicBezTo>
                  <a:cubicBezTo>
                    <a:pt x="106" y="194"/>
                    <a:pt x="106" y="194"/>
                    <a:pt x="106" y="194"/>
                  </a:cubicBezTo>
                  <a:cubicBezTo>
                    <a:pt x="96" y="356"/>
                    <a:pt x="96" y="356"/>
                    <a:pt x="96" y="356"/>
                  </a:cubicBezTo>
                  <a:cubicBezTo>
                    <a:pt x="96" y="356"/>
                    <a:pt x="46" y="409"/>
                    <a:pt x="35" y="426"/>
                  </a:cubicBezTo>
                  <a:cubicBezTo>
                    <a:pt x="23" y="442"/>
                    <a:pt x="13" y="479"/>
                    <a:pt x="13" y="479"/>
                  </a:cubicBezTo>
                  <a:cubicBezTo>
                    <a:pt x="0" y="484"/>
                    <a:pt x="0" y="484"/>
                    <a:pt x="0" y="484"/>
                  </a:cubicBezTo>
                  <a:cubicBezTo>
                    <a:pt x="3" y="526"/>
                    <a:pt x="3" y="526"/>
                    <a:pt x="3" y="526"/>
                  </a:cubicBezTo>
                  <a:cubicBezTo>
                    <a:pt x="7" y="526"/>
                    <a:pt x="10" y="526"/>
                    <a:pt x="10" y="526"/>
                  </a:cubicBezTo>
                  <a:cubicBezTo>
                    <a:pt x="29" y="558"/>
                    <a:pt x="29" y="558"/>
                    <a:pt x="29" y="558"/>
                  </a:cubicBezTo>
                  <a:cubicBezTo>
                    <a:pt x="29" y="558"/>
                    <a:pt x="29" y="560"/>
                    <a:pt x="29" y="563"/>
                  </a:cubicBezTo>
                  <a:cubicBezTo>
                    <a:pt x="29" y="562"/>
                    <a:pt x="29" y="561"/>
                    <a:pt x="29" y="561"/>
                  </a:cubicBezTo>
                  <a:cubicBezTo>
                    <a:pt x="45" y="559"/>
                    <a:pt x="45" y="559"/>
                    <a:pt x="45" y="559"/>
                  </a:cubicBezTo>
                  <a:cubicBezTo>
                    <a:pt x="45" y="559"/>
                    <a:pt x="46" y="571"/>
                    <a:pt x="50" y="576"/>
                  </a:cubicBezTo>
                  <a:cubicBezTo>
                    <a:pt x="54" y="581"/>
                    <a:pt x="70" y="584"/>
                    <a:pt x="70" y="584"/>
                  </a:cubicBezTo>
                  <a:cubicBezTo>
                    <a:pt x="66" y="611"/>
                    <a:pt x="66" y="611"/>
                    <a:pt x="66" y="611"/>
                  </a:cubicBezTo>
                  <a:cubicBezTo>
                    <a:pt x="66" y="611"/>
                    <a:pt x="80" y="618"/>
                    <a:pt x="80" y="629"/>
                  </a:cubicBezTo>
                  <a:cubicBezTo>
                    <a:pt x="80" y="640"/>
                    <a:pt x="74" y="650"/>
                    <a:pt x="74" y="650"/>
                  </a:cubicBezTo>
                  <a:cubicBezTo>
                    <a:pt x="74" y="650"/>
                    <a:pt x="75" y="678"/>
                    <a:pt x="80" y="692"/>
                  </a:cubicBezTo>
                  <a:cubicBezTo>
                    <a:pt x="85" y="706"/>
                    <a:pt x="106" y="724"/>
                    <a:pt x="106" y="724"/>
                  </a:cubicBezTo>
                  <a:cubicBezTo>
                    <a:pt x="106" y="724"/>
                    <a:pt x="92" y="725"/>
                    <a:pt x="84" y="726"/>
                  </a:cubicBezTo>
                  <a:cubicBezTo>
                    <a:pt x="76" y="727"/>
                    <a:pt x="36" y="720"/>
                    <a:pt x="31" y="733"/>
                  </a:cubicBezTo>
                  <a:cubicBezTo>
                    <a:pt x="26" y="746"/>
                    <a:pt x="41" y="767"/>
                    <a:pt x="49" y="775"/>
                  </a:cubicBezTo>
                  <a:cubicBezTo>
                    <a:pt x="57" y="783"/>
                    <a:pt x="78" y="792"/>
                    <a:pt x="87" y="802"/>
                  </a:cubicBezTo>
                  <a:cubicBezTo>
                    <a:pt x="96" y="812"/>
                    <a:pt x="101" y="859"/>
                    <a:pt x="101" y="859"/>
                  </a:cubicBezTo>
                  <a:cubicBezTo>
                    <a:pt x="101" y="859"/>
                    <a:pt x="113" y="866"/>
                    <a:pt x="123" y="860"/>
                  </a:cubicBezTo>
                  <a:cubicBezTo>
                    <a:pt x="133" y="853"/>
                    <a:pt x="153" y="838"/>
                    <a:pt x="153" y="838"/>
                  </a:cubicBezTo>
                  <a:cubicBezTo>
                    <a:pt x="153" y="838"/>
                    <a:pt x="146" y="863"/>
                    <a:pt x="165" y="858"/>
                  </a:cubicBezTo>
                  <a:cubicBezTo>
                    <a:pt x="183" y="853"/>
                    <a:pt x="178" y="833"/>
                    <a:pt x="196" y="833"/>
                  </a:cubicBezTo>
                  <a:cubicBezTo>
                    <a:pt x="215" y="833"/>
                    <a:pt x="248" y="833"/>
                    <a:pt x="248" y="833"/>
                  </a:cubicBezTo>
                  <a:cubicBezTo>
                    <a:pt x="248" y="833"/>
                    <a:pt x="263" y="811"/>
                    <a:pt x="268" y="805"/>
                  </a:cubicBezTo>
                  <a:cubicBezTo>
                    <a:pt x="273" y="798"/>
                    <a:pt x="253" y="788"/>
                    <a:pt x="253" y="788"/>
                  </a:cubicBezTo>
                  <a:cubicBezTo>
                    <a:pt x="267" y="780"/>
                    <a:pt x="267" y="780"/>
                    <a:pt x="267" y="780"/>
                  </a:cubicBezTo>
                  <a:cubicBezTo>
                    <a:pt x="267" y="780"/>
                    <a:pt x="307" y="780"/>
                    <a:pt x="338" y="765"/>
                  </a:cubicBezTo>
                  <a:cubicBezTo>
                    <a:pt x="370" y="750"/>
                    <a:pt x="365" y="728"/>
                    <a:pt x="365" y="728"/>
                  </a:cubicBezTo>
                  <a:cubicBezTo>
                    <a:pt x="378" y="723"/>
                    <a:pt x="378" y="723"/>
                    <a:pt x="378" y="723"/>
                  </a:cubicBezTo>
                  <a:cubicBezTo>
                    <a:pt x="390" y="711"/>
                    <a:pt x="390" y="711"/>
                    <a:pt x="390" y="711"/>
                  </a:cubicBezTo>
                  <a:cubicBezTo>
                    <a:pt x="393" y="691"/>
                    <a:pt x="393" y="691"/>
                    <a:pt x="393" y="691"/>
                  </a:cubicBezTo>
                  <a:cubicBezTo>
                    <a:pt x="430" y="673"/>
                    <a:pt x="430" y="673"/>
                    <a:pt x="430" y="673"/>
                  </a:cubicBezTo>
                  <a:cubicBezTo>
                    <a:pt x="446" y="674"/>
                    <a:pt x="446" y="674"/>
                    <a:pt x="446" y="674"/>
                  </a:cubicBezTo>
                  <a:cubicBezTo>
                    <a:pt x="445" y="665"/>
                    <a:pt x="445" y="665"/>
                    <a:pt x="445" y="665"/>
                  </a:cubicBezTo>
                  <a:cubicBezTo>
                    <a:pt x="445" y="665"/>
                    <a:pt x="463" y="669"/>
                    <a:pt x="451" y="656"/>
                  </a:cubicBezTo>
                  <a:cubicBezTo>
                    <a:pt x="439" y="643"/>
                    <a:pt x="430" y="642"/>
                    <a:pt x="430" y="642"/>
                  </a:cubicBezTo>
                  <a:cubicBezTo>
                    <a:pt x="426" y="625"/>
                    <a:pt x="426" y="625"/>
                    <a:pt x="426" y="625"/>
                  </a:cubicBezTo>
                  <a:cubicBezTo>
                    <a:pt x="437" y="620"/>
                    <a:pt x="437" y="620"/>
                    <a:pt x="437" y="620"/>
                  </a:cubicBezTo>
                  <a:cubicBezTo>
                    <a:pt x="428" y="612"/>
                    <a:pt x="428" y="612"/>
                    <a:pt x="428" y="612"/>
                  </a:cubicBezTo>
                  <a:cubicBezTo>
                    <a:pt x="428" y="612"/>
                    <a:pt x="430" y="585"/>
                    <a:pt x="423" y="582"/>
                  </a:cubicBezTo>
                  <a:cubicBezTo>
                    <a:pt x="416" y="579"/>
                    <a:pt x="411" y="589"/>
                    <a:pt x="406" y="587"/>
                  </a:cubicBezTo>
                  <a:cubicBezTo>
                    <a:pt x="401" y="585"/>
                    <a:pt x="395" y="580"/>
                    <a:pt x="398" y="569"/>
                  </a:cubicBezTo>
                  <a:cubicBezTo>
                    <a:pt x="401" y="558"/>
                    <a:pt x="415" y="558"/>
                    <a:pt x="417" y="549"/>
                  </a:cubicBezTo>
                  <a:cubicBezTo>
                    <a:pt x="419" y="540"/>
                    <a:pt x="416" y="536"/>
                    <a:pt x="410" y="526"/>
                  </a:cubicBezTo>
                  <a:cubicBezTo>
                    <a:pt x="404" y="516"/>
                    <a:pt x="419" y="508"/>
                    <a:pt x="419" y="508"/>
                  </a:cubicBezTo>
                  <a:cubicBezTo>
                    <a:pt x="430" y="501"/>
                    <a:pt x="430" y="501"/>
                    <a:pt x="430" y="501"/>
                  </a:cubicBezTo>
                  <a:cubicBezTo>
                    <a:pt x="425" y="490"/>
                    <a:pt x="425" y="490"/>
                    <a:pt x="425" y="490"/>
                  </a:cubicBezTo>
                  <a:cubicBezTo>
                    <a:pt x="422" y="474"/>
                    <a:pt x="422" y="474"/>
                    <a:pt x="422" y="474"/>
                  </a:cubicBezTo>
                  <a:cubicBezTo>
                    <a:pt x="432" y="474"/>
                    <a:pt x="432" y="474"/>
                    <a:pt x="432" y="474"/>
                  </a:cubicBezTo>
                  <a:cubicBezTo>
                    <a:pt x="432" y="474"/>
                    <a:pt x="430" y="462"/>
                    <a:pt x="436" y="456"/>
                  </a:cubicBezTo>
                  <a:cubicBezTo>
                    <a:pt x="442" y="450"/>
                    <a:pt x="451" y="450"/>
                    <a:pt x="449" y="442"/>
                  </a:cubicBezTo>
                  <a:cubicBezTo>
                    <a:pt x="447" y="434"/>
                    <a:pt x="438" y="423"/>
                    <a:pt x="451" y="419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Freeform 300">
              <a:extLst>
                <a:ext uri="{FF2B5EF4-FFF2-40B4-BE49-F238E27FC236}">
                  <a16:creationId xmlns:a16="http://schemas.microsoft.com/office/drawing/2014/main" id="{18D5A1B9-5D03-8034-4693-AD5979987224}"/>
                </a:ext>
              </a:extLst>
            </p:cNvPr>
            <p:cNvSpPr>
              <a:spLocks/>
            </p:cNvSpPr>
            <p:nvPr/>
          </p:nvSpPr>
          <p:spPr bwMode="gray">
            <a:xfrm>
              <a:off x="-7817" y="-13159"/>
              <a:ext cx="1838" cy="1889"/>
            </a:xfrm>
            <a:custGeom>
              <a:avLst/>
              <a:gdLst>
                <a:gd name="T0" fmla="*/ 424 w 778"/>
                <a:gd name="T1" fmla="*/ 631 h 800"/>
                <a:gd name="T2" fmla="*/ 437 w 778"/>
                <a:gd name="T3" fmla="*/ 607 h 800"/>
                <a:gd name="T4" fmla="*/ 481 w 778"/>
                <a:gd name="T5" fmla="*/ 585 h 800"/>
                <a:gd name="T6" fmla="*/ 502 w 778"/>
                <a:gd name="T7" fmla="*/ 563 h 800"/>
                <a:gd name="T8" fmla="*/ 527 w 778"/>
                <a:gd name="T9" fmla="*/ 547 h 800"/>
                <a:gd name="T10" fmla="*/ 572 w 778"/>
                <a:gd name="T11" fmla="*/ 537 h 800"/>
                <a:gd name="T12" fmla="*/ 620 w 778"/>
                <a:gd name="T13" fmla="*/ 537 h 800"/>
                <a:gd name="T14" fmla="*/ 680 w 778"/>
                <a:gd name="T15" fmla="*/ 526 h 800"/>
                <a:gd name="T16" fmla="*/ 712 w 778"/>
                <a:gd name="T17" fmla="*/ 519 h 800"/>
                <a:gd name="T18" fmla="*/ 748 w 778"/>
                <a:gd name="T19" fmla="*/ 509 h 800"/>
                <a:gd name="T20" fmla="*/ 778 w 778"/>
                <a:gd name="T21" fmla="*/ 454 h 800"/>
                <a:gd name="T22" fmla="*/ 766 w 778"/>
                <a:gd name="T23" fmla="*/ 320 h 800"/>
                <a:gd name="T24" fmla="*/ 738 w 778"/>
                <a:gd name="T25" fmla="*/ 300 h 800"/>
                <a:gd name="T26" fmla="*/ 694 w 778"/>
                <a:gd name="T27" fmla="*/ 270 h 800"/>
                <a:gd name="T28" fmla="*/ 666 w 778"/>
                <a:gd name="T29" fmla="*/ 251 h 800"/>
                <a:gd name="T30" fmla="*/ 637 w 778"/>
                <a:gd name="T31" fmla="*/ 229 h 800"/>
                <a:gd name="T32" fmla="*/ 364 w 778"/>
                <a:gd name="T33" fmla="*/ 3 h 800"/>
                <a:gd name="T34" fmla="*/ 314 w 778"/>
                <a:gd name="T35" fmla="*/ 459 h 800"/>
                <a:gd name="T36" fmla="*/ 323 w 778"/>
                <a:gd name="T37" fmla="*/ 483 h 800"/>
                <a:gd name="T38" fmla="*/ 141 w 778"/>
                <a:gd name="T39" fmla="*/ 513 h 800"/>
                <a:gd name="T40" fmla="*/ 127 w 778"/>
                <a:gd name="T41" fmla="*/ 517 h 800"/>
                <a:gd name="T42" fmla="*/ 96 w 778"/>
                <a:gd name="T43" fmla="*/ 515 h 800"/>
                <a:gd name="T44" fmla="*/ 64 w 778"/>
                <a:gd name="T45" fmla="*/ 532 h 800"/>
                <a:gd name="T46" fmla="*/ 24 w 778"/>
                <a:gd name="T47" fmla="*/ 535 h 800"/>
                <a:gd name="T48" fmla="*/ 0 w 778"/>
                <a:gd name="T49" fmla="*/ 550 h 800"/>
                <a:gd name="T50" fmla="*/ 9 w 778"/>
                <a:gd name="T51" fmla="*/ 578 h 800"/>
                <a:gd name="T52" fmla="*/ 14 w 778"/>
                <a:gd name="T53" fmla="*/ 623 h 800"/>
                <a:gd name="T54" fmla="*/ 37 w 778"/>
                <a:gd name="T55" fmla="*/ 644 h 800"/>
                <a:gd name="T56" fmla="*/ 44 w 778"/>
                <a:gd name="T57" fmla="*/ 703 h 800"/>
                <a:gd name="T58" fmla="*/ 73 w 778"/>
                <a:gd name="T59" fmla="*/ 706 h 800"/>
                <a:gd name="T60" fmla="*/ 119 w 778"/>
                <a:gd name="T61" fmla="*/ 698 h 800"/>
                <a:gd name="T62" fmla="*/ 145 w 778"/>
                <a:gd name="T63" fmla="*/ 673 h 800"/>
                <a:gd name="T64" fmla="*/ 163 w 778"/>
                <a:gd name="T65" fmla="*/ 697 h 800"/>
                <a:gd name="T66" fmla="*/ 180 w 778"/>
                <a:gd name="T67" fmla="*/ 730 h 800"/>
                <a:gd name="T68" fmla="*/ 182 w 778"/>
                <a:gd name="T69" fmla="*/ 752 h 800"/>
                <a:gd name="T70" fmla="*/ 201 w 778"/>
                <a:gd name="T71" fmla="*/ 796 h 800"/>
                <a:gd name="T72" fmla="*/ 220 w 778"/>
                <a:gd name="T73" fmla="*/ 784 h 800"/>
                <a:gd name="T74" fmla="*/ 250 w 778"/>
                <a:gd name="T75" fmla="*/ 788 h 800"/>
                <a:gd name="T76" fmla="*/ 264 w 778"/>
                <a:gd name="T77" fmla="*/ 770 h 800"/>
                <a:gd name="T78" fmla="*/ 281 w 778"/>
                <a:gd name="T79" fmla="*/ 769 h 800"/>
                <a:gd name="T80" fmla="*/ 296 w 778"/>
                <a:gd name="T81" fmla="*/ 795 h 800"/>
                <a:gd name="T82" fmla="*/ 312 w 778"/>
                <a:gd name="T83" fmla="*/ 744 h 800"/>
                <a:gd name="T84" fmla="*/ 335 w 778"/>
                <a:gd name="T85" fmla="*/ 729 h 800"/>
                <a:gd name="T86" fmla="*/ 333 w 778"/>
                <a:gd name="T87" fmla="*/ 700 h 800"/>
                <a:gd name="T88" fmla="*/ 359 w 778"/>
                <a:gd name="T89" fmla="*/ 685 h 800"/>
                <a:gd name="T90" fmla="*/ 367 w 778"/>
                <a:gd name="T91" fmla="*/ 659 h 800"/>
                <a:gd name="T92" fmla="*/ 375 w 778"/>
                <a:gd name="T93" fmla="*/ 637 h 800"/>
                <a:gd name="T94" fmla="*/ 409 w 778"/>
                <a:gd name="T95" fmla="*/ 63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8" h="800">
                  <a:moveTo>
                    <a:pt x="409" y="636"/>
                  </a:moveTo>
                  <a:cubicBezTo>
                    <a:pt x="424" y="631"/>
                    <a:pt x="424" y="631"/>
                    <a:pt x="424" y="631"/>
                  </a:cubicBezTo>
                  <a:cubicBezTo>
                    <a:pt x="424" y="607"/>
                    <a:pt x="424" y="607"/>
                    <a:pt x="424" y="607"/>
                  </a:cubicBezTo>
                  <a:cubicBezTo>
                    <a:pt x="437" y="607"/>
                    <a:pt x="437" y="607"/>
                    <a:pt x="437" y="607"/>
                  </a:cubicBezTo>
                  <a:cubicBezTo>
                    <a:pt x="437" y="607"/>
                    <a:pt x="454" y="578"/>
                    <a:pt x="460" y="576"/>
                  </a:cubicBezTo>
                  <a:cubicBezTo>
                    <a:pt x="466" y="574"/>
                    <a:pt x="478" y="586"/>
                    <a:pt x="481" y="585"/>
                  </a:cubicBezTo>
                  <a:cubicBezTo>
                    <a:pt x="484" y="584"/>
                    <a:pt x="485" y="563"/>
                    <a:pt x="485" y="563"/>
                  </a:cubicBezTo>
                  <a:cubicBezTo>
                    <a:pt x="502" y="563"/>
                    <a:pt x="502" y="563"/>
                    <a:pt x="502" y="563"/>
                  </a:cubicBezTo>
                  <a:cubicBezTo>
                    <a:pt x="513" y="549"/>
                    <a:pt x="513" y="549"/>
                    <a:pt x="513" y="549"/>
                  </a:cubicBezTo>
                  <a:cubicBezTo>
                    <a:pt x="513" y="549"/>
                    <a:pt x="517" y="551"/>
                    <a:pt x="527" y="547"/>
                  </a:cubicBezTo>
                  <a:cubicBezTo>
                    <a:pt x="537" y="543"/>
                    <a:pt x="539" y="535"/>
                    <a:pt x="539" y="535"/>
                  </a:cubicBezTo>
                  <a:cubicBezTo>
                    <a:pt x="572" y="537"/>
                    <a:pt x="572" y="537"/>
                    <a:pt x="572" y="537"/>
                  </a:cubicBezTo>
                  <a:cubicBezTo>
                    <a:pt x="588" y="544"/>
                    <a:pt x="588" y="544"/>
                    <a:pt x="588" y="544"/>
                  </a:cubicBezTo>
                  <a:cubicBezTo>
                    <a:pt x="620" y="537"/>
                    <a:pt x="620" y="537"/>
                    <a:pt x="620" y="537"/>
                  </a:cubicBezTo>
                  <a:cubicBezTo>
                    <a:pt x="638" y="525"/>
                    <a:pt x="638" y="525"/>
                    <a:pt x="638" y="525"/>
                  </a:cubicBezTo>
                  <a:cubicBezTo>
                    <a:pt x="680" y="526"/>
                    <a:pt x="680" y="526"/>
                    <a:pt x="680" y="526"/>
                  </a:cubicBezTo>
                  <a:cubicBezTo>
                    <a:pt x="681" y="517"/>
                    <a:pt x="681" y="517"/>
                    <a:pt x="681" y="517"/>
                  </a:cubicBezTo>
                  <a:cubicBezTo>
                    <a:pt x="712" y="519"/>
                    <a:pt x="712" y="519"/>
                    <a:pt x="712" y="519"/>
                  </a:cubicBezTo>
                  <a:cubicBezTo>
                    <a:pt x="719" y="514"/>
                    <a:pt x="719" y="514"/>
                    <a:pt x="719" y="514"/>
                  </a:cubicBezTo>
                  <a:cubicBezTo>
                    <a:pt x="719" y="514"/>
                    <a:pt x="726" y="520"/>
                    <a:pt x="748" y="509"/>
                  </a:cubicBezTo>
                  <a:cubicBezTo>
                    <a:pt x="763" y="502"/>
                    <a:pt x="763" y="469"/>
                    <a:pt x="763" y="469"/>
                  </a:cubicBezTo>
                  <a:cubicBezTo>
                    <a:pt x="778" y="454"/>
                    <a:pt x="778" y="454"/>
                    <a:pt x="778" y="454"/>
                  </a:cubicBezTo>
                  <a:cubicBezTo>
                    <a:pt x="778" y="317"/>
                    <a:pt x="778" y="317"/>
                    <a:pt x="778" y="317"/>
                  </a:cubicBezTo>
                  <a:cubicBezTo>
                    <a:pt x="771" y="319"/>
                    <a:pt x="766" y="320"/>
                    <a:pt x="766" y="320"/>
                  </a:cubicBezTo>
                  <a:cubicBezTo>
                    <a:pt x="766" y="320"/>
                    <a:pt x="744" y="328"/>
                    <a:pt x="729" y="321"/>
                  </a:cubicBezTo>
                  <a:cubicBezTo>
                    <a:pt x="714" y="314"/>
                    <a:pt x="738" y="300"/>
                    <a:pt x="738" y="300"/>
                  </a:cubicBezTo>
                  <a:cubicBezTo>
                    <a:pt x="738" y="300"/>
                    <a:pt x="737" y="280"/>
                    <a:pt x="727" y="272"/>
                  </a:cubicBezTo>
                  <a:cubicBezTo>
                    <a:pt x="717" y="264"/>
                    <a:pt x="694" y="270"/>
                    <a:pt x="694" y="270"/>
                  </a:cubicBezTo>
                  <a:cubicBezTo>
                    <a:pt x="689" y="252"/>
                    <a:pt x="689" y="252"/>
                    <a:pt x="689" y="252"/>
                  </a:cubicBezTo>
                  <a:cubicBezTo>
                    <a:pt x="689" y="252"/>
                    <a:pt x="676" y="254"/>
                    <a:pt x="666" y="251"/>
                  </a:cubicBezTo>
                  <a:cubicBezTo>
                    <a:pt x="656" y="248"/>
                    <a:pt x="658" y="241"/>
                    <a:pt x="656" y="233"/>
                  </a:cubicBezTo>
                  <a:cubicBezTo>
                    <a:pt x="654" y="225"/>
                    <a:pt x="637" y="229"/>
                    <a:pt x="637" y="229"/>
                  </a:cubicBezTo>
                  <a:cubicBezTo>
                    <a:pt x="638" y="212"/>
                    <a:pt x="638" y="212"/>
                    <a:pt x="638" y="212"/>
                  </a:cubicBezTo>
                  <a:cubicBezTo>
                    <a:pt x="364" y="3"/>
                    <a:pt x="364" y="3"/>
                    <a:pt x="364" y="3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4" y="459"/>
                    <a:pt x="314" y="459"/>
                    <a:pt x="314" y="459"/>
                  </a:cubicBezTo>
                  <a:cubicBezTo>
                    <a:pt x="314" y="459"/>
                    <a:pt x="327" y="465"/>
                    <a:pt x="328" y="472"/>
                  </a:cubicBezTo>
                  <a:cubicBezTo>
                    <a:pt x="329" y="479"/>
                    <a:pt x="323" y="483"/>
                    <a:pt x="323" y="483"/>
                  </a:cubicBezTo>
                  <a:cubicBezTo>
                    <a:pt x="318" y="510"/>
                    <a:pt x="318" y="510"/>
                    <a:pt x="318" y="510"/>
                  </a:cubicBezTo>
                  <a:cubicBezTo>
                    <a:pt x="141" y="513"/>
                    <a:pt x="141" y="513"/>
                    <a:pt x="141" y="513"/>
                  </a:cubicBezTo>
                  <a:cubicBezTo>
                    <a:pt x="141" y="513"/>
                    <a:pt x="141" y="502"/>
                    <a:pt x="137" y="503"/>
                  </a:cubicBezTo>
                  <a:cubicBezTo>
                    <a:pt x="133" y="504"/>
                    <a:pt x="135" y="516"/>
                    <a:pt x="127" y="517"/>
                  </a:cubicBezTo>
                  <a:cubicBezTo>
                    <a:pt x="119" y="518"/>
                    <a:pt x="102" y="521"/>
                    <a:pt x="102" y="521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74" y="515"/>
                    <a:pt x="74" y="515"/>
                    <a:pt x="74" y="515"/>
                  </a:cubicBezTo>
                  <a:cubicBezTo>
                    <a:pt x="64" y="532"/>
                    <a:pt x="64" y="532"/>
                    <a:pt x="64" y="532"/>
                  </a:cubicBezTo>
                  <a:cubicBezTo>
                    <a:pt x="64" y="532"/>
                    <a:pt x="52" y="507"/>
                    <a:pt x="39" y="507"/>
                  </a:cubicBezTo>
                  <a:cubicBezTo>
                    <a:pt x="26" y="507"/>
                    <a:pt x="24" y="516"/>
                    <a:pt x="24" y="535"/>
                  </a:cubicBezTo>
                  <a:cubicBezTo>
                    <a:pt x="25" y="536"/>
                    <a:pt x="28" y="546"/>
                    <a:pt x="20" y="549"/>
                  </a:cubicBezTo>
                  <a:cubicBezTo>
                    <a:pt x="12" y="552"/>
                    <a:pt x="0" y="550"/>
                    <a:pt x="0" y="550"/>
                  </a:cubicBezTo>
                  <a:cubicBezTo>
                    <a:pt x="1" y="568"/>
                    <a:pt x="1" y="568"/>
                    <a:pt x="1" y="568"/>
                  </a:cubicBezTo>
                  <a:cubicBezTo>
                    <a:pt x="9" y="578"/>
                    <a:pt x="9" y="578"/>
                    <a:pt x="9" y="578"/>
                  </a:cubicBezTo>
                  <a:cubicBezTo>
                    <a:pt x="9" y="578"/>
                    <a:pt x="21" y="600"/>
                    <a:pt x="16" y="604"/>
                  </a:cubicBezTo>
                  <a:cubicBezTo>
                    <a:pt x="11" y="608"/>
                    <a:pt x="7" y="612"/>
                    <a:pt x="14" y="623"/>
                  </a:cubicBezTo>
                  <a:cubicBezTo>
                    <a:pt x="21" y="634"/>
                    <a:pt x="25" y="622"/>
                    <a:pt x="30" y="625"/>
                  </a:cubicBezTo>
                  <a:cubicBezTo>
                    <a:pt x="35" y="628"/>
                    <a:pt x="37" y="644"/>
                    <a:pt x="37" y="644"/>
                  </a:cubicBezTo>
                  <a:cubicBezTo>
                    <a:pt x="36" y="678"/>
                    <a:pt x="36" y="678"/>
                    <a:pt x="36" y="678"/>
                  </a:cubicBezTo>
                  <a:cubicBezTo>
                    <a:pt x="36" y="678"/>
                    <a:pt x="40" y="705"/>
                    <a:pt x="44" y="703"/>
                  </a:cubicBezTo>
                  <a:cubicBezTo>
                    <a:pt x="48" y="701"/>
                    <a:pt x="52" y="685"/>
                    <a:pt x="61" y="685"/>
                  </a:cubicBezTo>
                  <a:cubicBezTo>
                    <a:pt x="70" y="685"/>
                    <a:pt x="73" y="706"/>
                    <a:pt x="73" y="706"/>
                  </a:cubicBezTo>
                  <a:cubicBezTo>
                    <a:pt x="73" y="706"/>
                    <a:pt x="87" y="683"/>
                    <a:pt x="92" y="685"/>
                  </a:cubicBezTo>
                  <a:cubicBezTo>
                    <a:pt x="97" y="687"/>
                    <a:pt x="119" y="698"/>
                    <a:pt x="119" y="698"/>
                  </a:cubicBezTo>
                  <a:cubicBezTo>
                    <a:pt x="131" y="689"/>
                    <a:pt x="131" y="689"/>
                    <a:pt x="131" y="689"/>
                  </a:cubicBezTo>
                  <a:cubicBezTo>
                    <a:pt x="131" y="689"/>
                    <a:pt x="129" y="665"/>
                    <a:pt x="145" y="673"/>
                  </a:cubicBezTo>
                  <a:cubicBezTo>
                    <a:pt x="161" y="681"/>
                    <a:pt x="154" y="688"/>
                    <a:pt x="154" y="688"/>
                  </a:cubicBezTo>
                  <a:cubicBezTo>
                    <a:pt x="163" y="697"/>
                    <a:pt x="163" y="697"/>
                    <a:pt x="163" y="697"/>
                  </a:cubicBezTo>
                  <a:cubicBezTo>
                    <a:pt x="157" y="714"/>
                    <a:pt x="157" y="714"/>
                    <a:pt x="157" y="714"/>
                  </a:cubicBezTo>
                  <a:cubicBezTo>
                    <a:pt x="180" y="730"/>
                    <a:pt x="180" y="730"/>
                    <a:pt x="180" y="730"/>
                  </a:cubicBezTo>
                  <a:cubicBezTo>
                    <a:pt x="163" y="753"/>
                    <a:pt x="163" y="753"/>
                    <a:pt x="163" y="753"/>
                  </a:cubicBezTo>
                  <a:cubicBezTo>
                    <a:pt x="182" y="752"/>
                    <a:pt x="182" y="752"/>
                    <a:pt x="182" y="752"/>
                  </a:cubicBezTo>
                  <a:cubicBezTo>
                    <a:pt x="182" y="777"/>
                    <a:pt x="182" y="777"/>
                    <a:pt x="182" y="777"/>
                  </a:cubicBezTo>
                  <a:cubicBezTo>
                    <a:pt x="201" y="796"/>
                    <a:pt x="201" y="796"/>
                    <a:pt x="201" y="796"/>
                  </a:cubicBezTo>
                  <a:cubicBezTo>
                    <a:pt x="207" y="799"/>
                    <a:pt x="207" y="799"/>
                    <a:pt x="207" y="799"/>
                  </a:cubicBezTo>
                  <a:cubicBezTo>
                    <a:pt x="207" y="799"/>
                    <a:pt x="204" y="782"/>
                    <a:pt x="220" y="784"/>
                  </a:cubicBezTo>
                  <a:cubicBezTo>
                    <a:pt x="236" y="786"/>
                    <a:pt x="246" y="800"/>
                    <a:pt x="246" y="800"/>
                  </a:cubicBezTo>
                  <a:cubicBezTo>
                    <a:pt x="250" y="788"/>
                    <a:pt x="250" y="788"/>
                    <a:pt x="250" y="788"/>
                  </a:cubicBezTo>
                  <a:cubicBezTo>
                    <a:pt x="260" y="788"/>
                    <a:pt x="260" y="788"/>
                    <a:pt x="260" y="788"/>
                  </a:cubicBezTo>
                  <a:cubicBezTo>
                    <a:pt x="264" y="770"/>
                    <a:pt x="264" y="770"/>
                    <a:pt x="264" y="770"/>
                  </a:cubicBezTo>
                  <a:cubicBezTo>
                    <a:pt x="273" y="782"/>
                    <a:pt x="273" y="782"/>
                    <a:pt x="273" y="782"/>
                  </a:cubicBezTo>
                  <a:cubicBezTo>
                    <a:pt x="281" y="769"/>
                    <a:pt x="281" y="769"/>
                    <a:pt x="281" y="769"/>
                  </a:cubicBezTo>
                  <a:cubicBezTo>
                    <a:pt x="281" y="793"/>
                    <a:pt x="281" y="793"/>
                    <a:pt x="281" y="793"/>
                  </a:cubicBezTo>
                  <a:cubicBezTo>
                    <a:pt x="296" y="795"/>
                    <a:pt x="296" y="795"/>
                    <a:pt x="296" y="795"/>
                  </a:cubicBezTo>
                  <a:cubicBezTo>
                    <a:pt x="296" y="795"/>
                    <a:pt x="300" y="781"/>
                    <a:pt x="315" y="781"/>
                  </a:cubicBezTo>
                  <a:cubicBezTo>
                    <a:pt x="312" y="744"/>
                    <a:pt x="312" y="744"/>
                    <a:pt x="312" y="744"/>
                  </a:cubicBezTo>
                  <a:cubicBezTo>
                    <a:pt x="327" y="744"/>
                    <a:pt x="327" y="744"/>
                    <a:pt x="327" y="744"/>
                  </a:cubicBezTo>
                  <a:cubicBezTo>
                    <a:pt x="335" y="729"/>
                    <a:pt x="335" y="729"/>
                    <a:pt x="335" y="729"/>
                  </a:cubicBezTo>
                  <a:cubicBezTo>
                    <a:pt x="320" y="708"/>
                    <a:pt x="320" y="708"/>
                    <a:pt x="320" y="708"/>
                  </a:cubicBezTo>
                  <a:cubicBezTo>
                    <a:pt x="333" y="700"/>
                    <a:pt x="333" y="700"/>
                    <a:pt x="333" y="700"/>
                  </a:cubicBezTo>
                  <a:cubicBezTo>
                    <a:pt x="333" y="700"/>
                    <a:pt x="348" y="697"/>
                    <a:pt x="360" y="696"/>
                  </a:cubicBezTo>
                  <a:cubicBezTo>
                    <a:pt x="372" y="695"/>
                    <a:pt x="359" y="685"/>
                    <a:pt x="359" y="685"/>
                  </a:cubicBezTo>
                  <a:cubicBezTo>
                    <a:pt x="359" y="685"/>
                    <a:pt x="366" y="684"/>
                    <a:pt x="369" y="680"/>
                  </a:cubicBezTo>
                  <a:cubicBezTo>
                    <a:pt x="372" y="676"/>
                    <a:pt x="367" y="659"/>
                    <a:pt x="367" y="659"/>
                  </a:cubicBezTo>
                  <a:cubicBezTo>
                    <a:pt x="367" y="659"/>
                    <a:pt x="379" y="661"/>
                    <a:pt x="381" y="656"/>
                  </a:cubicBezTo>
                  <a:cubicBezTo>
                    <a:pt x="383" y="651"/>
                    <a:pt x="375" y="637"/>
                    <a:pt x="375" y="637"/>
                  </a:cubicBezTo>
                  <a:cubicBezTo>
                    <a:pt x="388" y="617"/>
                    <a:pt x="388" y="617"/>
                    <a:pt x="388" y="617"/>
                  </a:cubicBezTo>
                  <a:lnTo>
                    <a:pt x="409" y="636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3" name="Freeform 301">
              <a:extLst>
                <a:ext uri="{FF2B5EF4-FFF2-40B4-BE49-F238E27FC236}">
                  <a16:creationId xmlns:a16="http://schemas.microsoft.com/office/drawing/2014/main" id="{8F07279F-B594-CD2B-3E87-C97047985FDE}"/>
                </a:ext>
              </a:extLst>
            </p:cNvPr>
            <p:cNvSpPr>
              <a:spLocks/>
            </p:cNvSpPr>
            <p:nvPr/>
          </p:nvSpPr>
          <p:spPr bwMode="gray">
            <a:xfrm>
              <a:off x="-8382" y="-12110"/>
              <a:ext cx="652" cy="581"/>
            </a:xfrm>
            <a:custGeom>
              <a:avLst/>
              <a:gdLst>
                <a:gd name="T0" fmla="*/ 269 w 276"/>
                <a:gd name="T1" fmla="*/ 181 h 246"/>
                <a:gd name="T2" fmla="*/ 253 w 276"/>
                <a:gd name="T3" fmla="*/ 179 h 246"/>
                <a:gd name="T4" fmla="*/ 255 w 276"/>
                <a:gd name="T5" fmla="*/ 160 h 246"/>
                <a:gd name="T6" fmla="*/ 248 w 276"/>
                <a:gd name="T7" fmla="*/ 134 h 246"/>
                <a:gd name="T8" fmla="*/ 240 w 276"/>
                <a:gd name="T9" fmla="*/ 124 h 246"/>
                <a:gd name="T10" fmla="*/ 239 w 276"/>
                <a:gd name="T11" fmla="*/ 106 h 246"/>
                <a:gd name="T12" fmla="*/ 230 w 276"/>
                <a:gd name="T13" fmla="*/ 92 h 246"/>
                <a:gd name="T14" fmla="*/ 213 w 276"/>
                <a:gd name="T15" fmla="*/ 86 h 246"/>
                <a:gd name="T16" fmla="*/ 210 w 276"/>
                <a:gd name="T17" fmla="*/ 70 h 246"/>
                <a:gd name="T18" fmla="*/ 196 w 276"/>
                <a:gd name="T19" fmla="*/ 68 h 246"/>
                <a:gd name="T20" fmla="*/ 188 w 276"/>
                <a:gd name="T21" fmla="*/ 31 h 246"/>
                <a:gd name="T22" fmla="*/ 167 w 276"/>
                <a:gd name="T23" fmla="*/ 34 h 246"/>
                <a:gd name="T24" fmla="*/ 146 w 276"/>
                <a:gd name="T25" fmla="*/ 10 h 246"/>
                <a:gd name="T26" fmla="*/ 122 w 276"/>
                <a:gd name="T27" fmla="*/ 7 h 246"/>
                <a:gd name="T28" fmla="*/ 109 w 276"/>
                <a:gd name="T29" fmla="*/ 0 h 246"/>
                <a:gd name="T30" fmla="*/ 109 w 276"/>
                <a:gd name="T31" fmla="*/ 10 h 246"/>
                <a:gd name="T32" fmla="*/ 86 w 276"/>
                <a:gd name="T33" fmla="*/ 9 h 246"/>
                <a:gd name="T34" fmla="*/ 78 w 276"/>
                <a:gd name="T35" fmla="*/ 13 h 246"/>
                <a:gd name="T36" fmla="*/ 59 w 276"/>
                <a:gd name="T37" fmla="*/ 11 h 246"/>
                <a:gd name="T38" fmla="*/ 41 w 276"/>
                <a:gd name="T39" fmla="*/ 43 h 246"/>
                <a:gd name="T40" fmla="*/ 40 w 276"/>
                <a:gd name="T41" fmla="*/ 57 h 246"/>
                <a:gd name="T42" fmla="*/ 22 w 276"/>
                <a:gd name="T43" fmla="*/ 80 h 246"/>
                <a:gd name="T44" fmla="*/ 0 w 276"/>
                <a:gd name="T45" fmla="*/ 106 h 246"/>
                <a:gd name="T46" fmla="*/ 2 w 276"/>
                <a:gd name="T47" fmla="*/ 113 h 246"/>
                <a:gd name="T48" fmla="*/ 8 w 276"/>
                <a:gd name="T49" fmla="*/ 112 h 246"/>
                <a:gd name="T50" fmla="*/ 17 w 276"/>
                <a:gd name="T51" fmla="*/ 128 h 246"/>
                <a:gd name="T52" fmla="*/ 20 w 276"/>
                <a:gd name="T53" fmla="*/ 141 h 246"/>
                <a:gd name="T54" fmla="*/ 29 w 276"/>
                <a:gd name="T55" fmla="*/ 149 h 246"/>
                <a:gd name="T56" fmla="*/ 28 w 276"/>
                <a:gd name="T57" fmla="*/ 157 h 246"/>
                <a:gd name="T58" fmla="*/ 34 w 276"/>
                <a:gd name="T59" fmla="*/ 169 h 246"/>
                <a:gd name="T60" fmla="*/ 84 w 276"/>
                <a:gd name="T61" fmla="*/ 169 h 246"/>
                <a:gd name="T62" fmla="*/ 84 w 276"/>
                <a:gd name="T63" fmla="*/ 159 h 246"/>
                <a:gd name="T64" fmla="*/ 109 w 276"/>
                <a:gd name="T65" fmla="*/ 158 h 246"/>
                <a:gd name="T66" fmla="*/ 120 w 276"/>
                <a:gd name="T67" fmla="*/ 166 h 246"/>
                <a:gd name="T68" fmla="*/ 128 w 276"/>
                <a:gd name="T69" fmla="*/ 164 h 246"/>
                <a:gd name="T70" fmla="*/ 141 w 276"/>
                <a:gd name="T71" fmla="*/ 176 h 246"/>
                <a:gd name="T72" fmla="*/ 162 w 276"/>
                <a:gd name="T73" fmla="*/ 171 h 246"/>
                <a:gd name="T74" fmla="*/ 143 w 276"/>
                <a:gd name="T75" fmla="*/ 190 h 246"/>
                <a:gd name="T76" fmla="*/ 109 w 276"/>
                <a:gd name="T77" fmla="*/ 171 h 246"/>
                <a:gd name="T78" fmla="*/ 97 w 276"/>
                <a:gd name="T79" fmla="*/ 183 h 246"/>
                <a:gd name="T80" fmla="*/ 72 w 276"/>
                <a:gd name="T81" fmla="*/ 186 h 246"/>
                <a:gd name="T82" fmla="*/ 68 w 276"/>
                <a:gd name="T83" fmla="*/ 195 h 246"/>
                <a:gd name="T84" fmla="*/ 25 w 276"/>
                <a:gd name="T85" fmla="*/ 195 h 246"/>
                <a:gd name="T86" fmla="*/ 24 w 276"/>
                <a:gd name="T87" fmla="*/ 212 h 246"/>
                <a:gd name="T88" fmla="*/ 18 w 276"/>
                <a:gd name="T89" fmla="*/ 215 h 246"/>
                <a:gd name="T90" fmla="*/ 31 w 276"/>
                <a:gd name="T91" fmla="*/ 241 h 246"/>
                <a:gd name="T92" fmla="*/ 50 w 276"/>
                <a:gd name="T93" fmla="*/ 241 h 246"/>
                <a:gd name="T94" fmla="*/ 58 w 276"/>
                <a:gd name="T95" fmla="*/ 231 h 246"/>
                <a:gd name="T96" fmla="*/ 85 w 276"/>
                <a:gd name="T97" fmla="*/ 231 h 246"/>
                <a:gd name="T98" fmla="*/ 102 w 276"/>
                <a:gd name="T99" fmla="*/ 216 h 246"/>
                <a:gd name="T100" fmla="*/ 196 w 276"/>
                <a:gd name="T101" fmla="*/ 219 h 246"/>
                <a:gd name="T102" fmla="*/ 204 w 276"/>
                <a:gd name="T103" fmla="*/ 232 h 246"/>
                <a:gd name="T104" fmla="*/ 215 w 276"/>
                <a:gd name="T105" fmla="*/ 226 h 246"/>
                <a:gd name="T106" fmla="*/ 231 w 276"/>
                <a:gd name="T107" fmla="*/ 242 h 246"/>
                <a:gd name="T108" fmla="*/ 247 w 276"/>
                <a:gd name="T109" fmla="*/ 235 h 246"/>
                <a:gd name="T110" fmla="*/ 275 w 276"/>
                <a:gd name="T111" fmla="*/ 234 h 246"/>
                <a:gd name="T112" fmla="*/ 276 w 276"/>
                <a:gd name="T113" fmla="*/ 200 h 246"/>
                <a:gd name="T114" fmla="*/ 269 w 276"/>
                <a:gd name="T115" fmla="*/ 181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6" h="246">
                  <a:moveTo>
                    <a:pt x="269" y="181"/>
                  </a:moveTo>
                  <a:cubicBezTo>
                    <a:pt x="264" y="178"/>
                    <a:pt x="260" y="190"/>
                    <a:pt x="253" y="179"/>
                  </a:cubicBezTo>
                  <a:cubicBezTo>
                    <a:pt x="246" y="168"/>
                    <a:pt x="250" y="164"/>
                    <a:pt x="255" y="160"/>
                  </a:cubicBezTo>
                  <a:cubicBezTo>
                    <a:pt x="260" y="156"/>
                    <a:pt x="248" y="134"/>
                    <a:pt x="248" y="134"/>
                  </a:cubicBezTo>
                  <a:cubicBezTo>
                    <a:pt x="240" y="124"/>
                    <a:pt x="240" y="124"/>
                    <a:pt x="240" y="124"/>
                  </a:cubicBezTo>
                  <a:cubicBezTo>
                    <a:pt x="239" y="106"/>
                    <a:pt x="239" y="106"/>
                    <a:pt x="239" y="106"/>
                  </a:cubicBezTo>
                  <a:cubicBezTo>
                    <a:pt x="230" y="92"/>
                    <a:pt x="230" y="92"/>
                    <a:pt x="230" y="92"/>
                  </a:cubicBezTo>
                  <a:cubicBezTo>
                    <a:pt x="213" y="86"/>
                    <a:pt x="213" y="86"/>
                    <a:pt x="213" y="86"/>
                  </a:cubicBezTo>
                  <a:cubicBezTo>
                    <a:pt x="213" y="86"/>
                    <a:pt x="213" y="71"/>
                    <a:pt x="210" y="70"/>
                  </a:cubicBezTo>
                  <a:cubicBezTo>
                    <a:pt x="207" y="69"/>
                    <a:pt x="196" y="68"/>
                    <a:pt x="196" y="68"/>
                  </a:cubicBezTo>
                  <a:cubicBezTo>
                    <a:pt x="196" y="68"/>
                    <a:pt x="195" y="32"/>
                    <a:pt x="188" y="31"/>
                  </a:cubicBezTo>
                  <a:cubicBezTo>
                    <a:pt x="181" y="30"/>
                    <a:pt x="167" y="34"/>
                    <a:pt x="167" y="34"/>
                  </a:cubicBezTo>
                  <a:cubicBezTo>
                    <a:pt x="167" y="34"/>
                    <a:pt x="156" y="12"/>
                    <a:pt x="146" y="10"/>
                  </a:cubicBezTo>
                  <a:cubicBezTo>
                    <a:pt x="136" y="8"/>
                    <a:pt x="122" y="7"/>
                    <a:pt x="122" y="7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8" y="13"/>
                    <a:pt x="68" y="5"/>
                    <a:pt x="59" y="11"/>
                  </a:cubicBezTo>
                  <a:cubicBezTo>
                    <a:pt x="50" y="17"/>
                    <a:pt x="53" y="41"/>
                    <a:pt x="41" y="43"/>
                  </a:cubicBezTo>
                  <a:cubicBezTo>
                    <a:pt x="40" y="50"/>
                    <a:pt x="40" y="56"/>
                    <a:pt x="40" y="57"/>
                  </a:cubicBezTo>
                  <a:cubicBezTo>
                    <a:pt x="39" y="60"/>
                    <a:pt x="29" y="67"/>
                    <a:pt x="22" y="80"/>
                  </a:cubicBezTo>
                  <a:cubicBezTo>
                    <a:pt x="15" y="93"/>
                    <a:pt x="0" y="106"/>
                    <a:pt x="0" y="106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8" y="112"/>
                    <a:pt x="8" y="112"/>
                    <a:pt x="8" y="112"/>
                  </a:cubicBezTo>
                  <a:cubicBezTo>
                    <a:pt x="8" y="112"/>
                    <a:pt x="17" y="121"/>
                    <a:pt x="17" y="128"/>
                  </a:cubicBezTo>
                  <a:cubicBezTo>
                    <a:pt x="17" y="135"/>
                    <a:pt x="20" y="141"/>
                    <a:pt x="20" y="141"/>
                  </a:cubicBezTo>
                  <a:cubicBezTo>
                    <a:pt x="29" y="149"/>
                    <a:pt x="29" y="149"/>
                    <a:pt x="29" y="149"/>
                  </a:cubicBezTo>
                  <a:cubicBezTo>
                    <a:pt x="29" y="149"/>
                    <a:pt x="28" y="150"/>
                    <a:pt x="28" y="157"/>
                  </a:cubicBezTo>
                  <a:cubicBezTo>
                    <a:pt x="28" y="162"/>
                    <a:pt x="32" y="166"/>
                    <a:pt x="34" y="169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84" y="159"/>
                    <a:pt x="84" y="159"/>
                    <a:pt x="84" y="159"/>
                  </a:cubicBezTo>
                  <a:cubicBezTo>
                    <a:pt x="84" y="159"/>
                    <a:pt x="96" y="160"/>
                    <a:pt x="109" y="158"/>
                  </a:cubicBezTo>
                  <a:cubicBezTo>
                    <a:pt x="122" y="156"/>
                    <a:pt x="120" y="166"/>
                    <a:pt x="120" y="166"/>
                  </a:cubicBezTo>
                  <a:cubicBezTo>
                    <a:pt x="128" y="164"/>
                    <a:pt x="128" y="164"/>
                    <a:pt x="128" y="164"/>
                  </a:cubicBezTo>
                  <a:cubicBezTo>
                    <a:pt x="128" y="164"/>
                    <a:pt x="136" y="175"/>
                    <a:pt x="141" y="176"/>
                  </a:cubicBezTo>
                  <a:cubicBezTo>
                    <a:pt x="146" y="177"/>
                    <a:pt x="145" y="167"/>
                    <a:pt x="162" y="171"/>
                  </a:cubicBezTo>
                  <a:cubicBezTo>
                    <a:pt x="179" y="175"/>
                    <a:pt x="161" y="190"/>
                    <a:pt x="143" y="190"/>
                  </a:cubicBezTo>
                  <a:cubicBezTo>
                    <a:pt x="125" y="190"/>
                    <a:pt x="109" y="171"/>
                    <a:pt x="109" y="171"/>
                  </a:cubicBezTo>
                  <a:cubicBezTo>
                    <a:pt x="109" y="171"/>
                    <a:pt x="103" y="182"/>
                    <a:pt x="97" y="183"/>
                  </a:cubicBezTo>
                  <a:cubicBezTo>
                    <a:pt x="91" y="184"/>
                    <a:pt x="72" y="186"/>
                    <a:pt x="72" y="186"/>
                  </a:cubicBezTo>
                  <a:cubicBezTo>
                    <a:pt x="72" y="186"/>
                    <a:pt x="71" y="195"/>
                    <a:pt x="68" y="195"/>
                  </a:cubicBezTo>
                  <a:cubicBezTo>
                    <a:pt x="66" y="195"/>
                    <a:pt x="36" y="195"/>
                    <a:pt x="25" y="195"/>
                  </a:cubicBezTo>
                  <a:cubicBezTo>
                    <a:pt x="24" y="202"/>
                    <a:pt x="24" y="212"/>
                    <a:pt x="24" y="212"/>
                  </a:cubicBezTo>
                  <a:cubicBezTo>
                    <a:pt x="18" y="215"/>
                    <a:pt x="18" y="215"/>
                    <a:pt x="18" y="215"/>
                  </a:cubicBezTo>
                  <a:cubicBezTo>
                    <a:pt x="18" y="215"/>
                    <a:pt x="22" y="236"/>
                    <a:pt x="31" y="241"/>
                  </a:cubicBezTo>
                  <a:cubicBezTo>
                    <a:pt x="40" y="246"/>
                    <a:pt x="50" y="241"/>
                    <a:pt x="50" y="241"/>
                  </a:cubicBezTo>
                  <a:cubicBezTo>
                    <a:pt x="58" y="231"/>
                    <a:pt x="58" y="231"/>
                    <a:pt x="58" y="231"/>
                  </a:cubicBezTo>
                  <a:cubicBezTo>
                    <a:pt x="85" y="231"/>
                    <a:pt x="85" y="231"/>
                    <a:pt x="85" y="231"/>
                  </a:cubicBezTo>
                  <a:cubicBezTo>
                    <a:pt x="102" y="216"/>
                    <a:pt x="102" y="216"/>
                    <a:pt x="102" y="216"/>
                  </a:cubicBezTo>
                  <a:cubicBezTo>
                    <a:pt x="196" y="219"/>
                    <a:pt x="196" y="219"/>
                    <a:pt x="196" y="219"/>
                  </a:cubicBezTo>
                  <a:cubicBezTo>
                    <a:pt x="196" y="219"/>
                    <a:pt x="196" y="230"/>
                    <a:pt x="204" y="232"/>
                  </a:cubicBezTo>
                  <a:cubicBezTo>
                    <a:pt x="212" y="234"/>
                    <a:pt x="215" y="226"/>
                    <a:pt x="215" y="226"/>
                  </a:cubicBezTo>
                  <a:cubicBezTo>
                    <a:pt x="215" y="226"/>
                    <a:pt x="224" y="242"/>
                    <a:pt x="231" y="242"/>
                  </a:cubicBezTo>
                  <a:cubicBezTo>
                    <a:pt x="238" y="242"/>
                    <a:pt x="247" y="235"/>
                    <a:pt x="247" y="235"/>
                  </a:cubicBezTo>
                  <a:cubicBezTo>
                    <a:pt x="275" y="234"/>
                    <a:pt x="275" y="234"/>
                    <a:pt x="275" y="234"/>
                  </a:cubicBezTo>
                  <a:cubicBezTo>
                    <a:pt x="276" y="200"/>
                    <a:pt x="276" y="200"/>
                    <a:pt x="276" y="200"/>
                  </a:cubicBezTo>
                  <a:cubicBezTo>
                    <a:pt x="276" y="200"/>
                    <a:pt x="274" y="184"/>
                    <a:pt x="269" y="181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Freeform 302">
              <a:extLst>
                <a:ext uri="{FF2B5EF4-FFF2-40B4-BE49-F238E27FC236}">
                  <a16:creationId xmlns:a16="http://schemas.microsoft.com/office/drawing/2014/main" id="{4192CB84-5C39-31A8-AFBA-15E5092191AF}"/>
                </a:ext>
              </a:extLst>
            </p:cNvPr>
            <p:cNvSpPr>
              <a:spLocks/>
            </p:cNvSpPr>
            <p:nvPr/>
          </p:nvSpPr>
          <p:spPr bwMode="gray">
            <a:xfrm>
              <a:off x="-8124" y="-11595"/>
              <a:ext cx="815" cy="699"/>
            </a:xfrm>
            <a:custGeom>
              <a:avLst/>
              <a:gdLst>
                <a:gd name="T0" fmla="*/ 61 w 345"/>
                <a:gd name="T1" fmla="*/ 17 h 296"/>
                <a:gd name="T2" fmla="*/ 61 w 345"/>
                <a:gd name="T3" fmla="*/ 47 h 296"/>
                <a:gd name="T4" fmla="*/ 22 w 345"/>
                <a:gd name="T5" fmla="*/ 65 h 296"/>
                <a:gd name="T6" fmla="*/ 0 w 345"/>
                <a:gd name="T7" fmla="*/ 86 h 296"/>
                <a:gd name="T8" fmla="*/ 19 w 345"/>
                <a:gd name="T9" fmla="*/ 103 h 296"/>
                <a:gd name="T10" fmla="*/ 45 w 345"/>
                <a:gd name="T11" fmla="*/ 138 h 296"/>
                <a:gd name="T12" fmla="*/ 59 w 345"/>
                <a:gd name="T13" fmla="*/ 149 h 296"/>
                <a:gd name="T14" fmla="*/ 86 w 345"/>
                <a:gd name="T15" fmla="*/ 194 h 296"/>
                <a:gd name="T16" fmla="*/ 142 w 345"/>
                <a:gd name="T17" fmla="*/ 152 h 296"/>
                <a:gd name="T18" fmla="*/ 172 w 345"/>
                <a:gd name="T19" fmla="*/ 140 h 296"/>
                <a:gd name="T20" fmla="*/ 197 w 345"/>
                <a:gd name="T21" fmla="*/ 190 h 296"/>
                <a:gd name="T22" fmla="*/ 197 w 345"/>
                <a:gd name="T23" fmla="*/ 226 h 296"/>
                <a:gd name="T24" fmla="*/ 215 w 345"/>
                <a:gd name="T25" fmla="*/ 228 h 296"/>
                <a:gd name="T26" fmla="*/ 247 w 345"/>
                <a:gd name="T27" fmla="*/ 227 h 296"/>
                <a:gd name="T28" fmla="*/ 265 w 345"/>
                <a:gd name="T29" fmla="*/ 286 h 296"/>
                <a:gd name="T30" fmla="*/ 293 w 345"/>
                <a:gd name="T31" fmla="*/ 270 h 296"/>
                <a:gd name="T32" fmla="*/ 320 w 345"/>
                <a:gd name="T33" fmla="*/ 255 h 296"/>
                <a:gd name="T34" fmla="*/ 314 w 345"/>
                <a:gd name="T35" fmla="*/ 229 h 296"/>
                <a:gd name="T36" fmla="*/ 345 w 345"/>
                <a:gd name="T37" fmla="*/ 220 h 296"/>
                <a:gd name="T38" fmla="*/ 338 w 345"/>
                <a:gd name="T39" fmla="*/ 193 h 296"/>
                <a:gd name="T40" fmla="*/ 335 w 345"/>
                <a:gd name="T41" fmla="*/ 176 h 296"/>
                <a:gd name="T42" fmla="*/ 318 w 345"/>
                <a:gd name="T43" fmla="*/ 148 h 296"/>
                <a:gd name="T44" fmla="*/ 312 w 345"/>
                <a:gd name="T45" fmla="*/ 115 h 296"/>
                <a:gd name="T46" fmla="*/ 293 w 345"/>
                <a:gd name="T47" fmla="*/ 91 h 296"/>
                <a:gd name="T48" fmla="*/ 287 w 345"/>
                <a:gd name="T49" fmla="*/ 52 h 296"/>
                <a:gd name="T50" fmla="*/ 284 w 345"/>
                <a:gd name="T51" fmla="*/ 26 h 296"/>
                <a:gd name="T52" fmla="*/ 261 w 345"/>
                <a:gd name="T53" fmla="*/ 27 h 296"/>
                <a:gd name="T54" fmla="*/ 222 w 345"/>
                <a:gd name="T55" fmla="*/ 23 h 296"/>
                <a:gd name="T56" fmla="*/ 191 w 345"/>
                <a:gd name="T57" fmla="*/ 23 h 296"/>
                <a:gd name="T58" fmla="*/ 166 w 345"/>
                <a:gd name="T59" fmla="*/ 16 h 296"/>
                <a:gd name="T60" fmla="*/ 122 w 345"/>
                <a:gd name="T61" fmla="*/ 24 h 296"/>
                <a:gd name="T62" fmla="*/ 95 w 345"/>
                <a:gd name="T63" fmla="*/ 14 h 296"/>
                <a:gd name="T64" fmla="*/ 60 w 345"/>
                <a:gd name="T65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5" h="296">
                  <a:moveTo>
                    <a:pt x="60" y="0"/>
                  </a:move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45" y="15"/>
                    <a:pt x="45" y="26"/>
                  </a:cubicBezTo>
                  <a:cubicBezTo>
                    <a:pt x="45" y="37"/>
                    <a:pt x="62" y="32"/>
                    <a:pt x="61" y="47"/>
                  </a:cubicBezTo>
                  <a:cubicBezTo>
                    <a:pt x="60" y="62"/>
                    <a:pt x="49" y="58"/>
                    <a:pt x="39" y="58"/>
                  </a:cubicBezTo>
                  <a:cubicBezTo>
                    <a:pt x="29" y="58"/>
                    <a:pt x="22" y="65"/>
                    <a:pt x="22" y="65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86"/>
                    <a:pt x="4" y="100"/>
                    <a:pt x="9" y="102"/>
                  </a:cubicBezTo>
                  <a:cubicBezTo>
                    <a:pt x="14" y="104"/>
                    <a:pt x="19" y="103"/>
                    <a:pt x="19" y="103"/>
                  </a:cubicBezTo>
                  <a:cubicBezTo>
                    <a:pt x="19" y="103"/>
                    <a:pt x="10" y="127"/>
                    <a:pt x="25" y="134"/>
                  </a:cubicBezTo>
                  <a:cubicBezTo>
                    <a:pt x="40" y="141"/>
                    <a:pt x="45" y="138"/>
                    <a:pt x="45" y="138"/>
                  </a:cubicBezTo>
                  <a:cubicBezTo>
                    <a:pt x="45" y="138"/>
                    <a:pt x="42" y="150"/>
                    <a:pt x="46" y="154"/>
                  </a:cubicBezTo>
                  <a:cubicBezTo>
                    <a:pt x="50" y="158"/>
                    <a:pt x="59" y="149"/>
                    <a:pt x="59" y="149"/>
                  </a:cubicBezTo>
                  <a:cubicBezTo>
                    <a:pt x="59" y="149"/>
                    <a:pt x="63" y="169"/>
                    <a:pt x="67" y="176"/>
                  </a:cubicBezTo>
                  <a:cubicBezTo>
                    <a:pt x="71" y="183"/>
                    <a:pt x="86" y="194"/>
                    <a:pt x="86" y="194"/>
                  </a:cubicBezTo>
                  <a:cubicBezTo>
                    <a:pt x="98" y="194"/>
                    <a:pt x="117" y="152"/>
                    <a:pt x="117" y="152"/>
                  </a:cubicBezTo>
                  <a:cubicBezTo>
                    <a:pt x="142" y="152"/>
                    <a:pt x="142" y="152"/>
                    <a:pt x="142" y="152"/>
                  </a:cubicBezTo>
                  <a:cubicBezTo>
                    <a:pt x="146" y="140"/>
                    <a:pt x="146" y="140"/>
                    <a:pt x="146" y="140"/>
                  </a:cubicBezTo>
                  <a:cubicBezTo>
                    <a:pt x="172" y="140"/>
                    <a:pt x="172" y="140"/>
                    <a:pt x="172" y="140"/>
                  </a:cubicBezTo>
                  <a:cubicBezTo>
                    <a:pt x="200" y="181"/>
                    <a:pt x="200" y="181"/>
                    <a:pt x="200" y="181"/>
                  </a:cubicBezTo>
                  <a:cubicBezTo>
                    <a:pt x="197" y="190"/>
                    <a:pt x="197" y="190"/>
                    <a:pt x="197" y="190"/>
                  </a:cubicBezTo>
                  <a:cubicBezTo>
                    <a:pt x="197" y="190"/>
                    <a:pt x="208" y="202"/>
                    <a:pt x="208" y="210"/>
                  </a:cubicBezTo>
                  <a:cubicBezTo>
                    <a:pt x="208" y="218"/>
                    <a:pt x="197" y="226"/>
                    <a:pt x="197" y="226"/>
                  </a:cubicBezTo>
                  <a:cubicBezTo>
                    <a:pt x="196" y="239"/>
                    <a:pt x="196" y="239"/>
                    <a:pt x="196" y="239"/>
                  </a:cubicBezTo>
                  <a:cubicBezTo>
                    <a:pt x="215" y="228"/>
                    <a:pt x="215" y="228"/>
                    <a:pt x="215" y="228"/>
                  </a:cubicBezTo>
                  <a:cubicBezTo>
                    <a:pt x="231" y="232"/>
                    <a:pt x="231" y="232"/>
                    <a:pt x="231" y="232"/>
                  </a:cubicBezTo>
                  <a:cubicBezTo>
                    <a:pt x="231" y="232"/>
                    <a:pt x="228" y="214"/>
                    <a:pt x="247" y="227"/>
                  </a:cubicBezTo>
                  <a:cubicBezTo>
                    <a:pt x="266" y="240"/>
                    <a:pt x="257" y="286"/>
                    <a:pt x="257" y="286"/>
                  </a:cubicBezTo>
                  <a:cubicBezTo>
                    <a:pt x="265" y="286"/>
                    <a:pt x="265" y="286"/>
                    <a:pt x="265" y="286"/>
                  </a:cubicBezTo>
                  <a:cubicBezTo>
                    <a:pt x="265" y="286"/>
                    <a:pt x="266" y="296"/>
                    <a:pt x="277" y="296"/>
                  </a:cubicBezTo>
                  <a:cubicBezTo>
                    <a:pt x="288" y="296"/>
                    <a:pt x="288" y="274"/>
                    <a:pt x="293" y="270"/>
                  </a:cubicBezTo>
                  <a:cubicBezTo>
                    <a:pt x="298" y="266"/>
                    <a:pt x="313" y="279"/>
                    <a:pt x="320" y="276"/>
                  </a:cubicBezTo>
                  <a:cubicBezTo>
                    <a:pt x="327" y="273"/>
                    <a:pt x="320" y="255"/>
                    <a:pt x="320" y="255"/>
                  </a:cubicBezTo>
                  <a:cubicBezTo>
                    <a:pt x="332" y="252"/>
                    <a:pt x="332" y="252"/>
                    <a:pt x="332" y="252"/>
                  </a:cubicBezTo>
                  <a:cubicBezTo>
                    <a:pt x="332" y="252"/>
                    <a:pt x="314" y="239"/>
                    <a:pt x="314" y="229"/>
                  </a:cubicBezTo>
                  <a:cubicBezTo>
                    <a:pt x="314" y="219"/>
                    <a:pt x="344" y="233"/>
                    <a:pt x="344" y="233"/>
                  </a:cubicBezTo>
                  <a:cubicBezTo>
                    <a:pt x="344" y="233"/>
                    <a:pt x="345" y="227"/>
                    <a:pt x="345" y="220"/>
                  </a:cubicBezTo>
                  <a:cubicBezTo>
                    <a:pt x="345" y="213"/>
                    <a:pt x="330" y="218"/>
                    <a:pt x="329" y="210"/>
                  </a:cubicBezTo>
                  <a:cubicBezTo>
                    <a:pt x="328" y="202"/>
                    <a:pt x="338" y="193"/>
                    <a:pt x="338" y="193"/>
                  </a:cubicBezTo>
                  <a:cubicBezTo>
                    <a:pt x="328" y="189"/>
                    <a:pt x="328" y="189"/>
                    <a:pt x="328" y="189"/>
                  </a:cubicBezTo>
                  <a:cubicBezTo>
                    <a:pt x="335" y="176"/>
                    <a:pt x="335" y="176"/>
                    <a:pt x="335" y="176"/>
                  </a:cubicBezTo>
                  <a:cubicBezTo>
                    <a:pt x="323" y="175"/>
                    <a:pt x="323" y="175"/>
                    <a:pt x="323" y="175"/>
                  </a:cubicBezTo>
                  <a:cubicBezTo>
                    <a:pt x="318" y="148"/>
                    <a:pt x="318" y="148"/>
                    <a:pt x="318" y="148"/>
                  </a:cubicBezTo>
                  <a:cubicBezTo>
                    <a:pt x="331" y="134"/>
                    <a:pt x="331" y="134"/>
                    <a:pt x="331" y="134"/>
                  </a:cubicBezTo>
                  <a:cubicBezTo>
                    <a:pt x="312" y="115"/>
                    <a:pt x="312" y="115"/>
                    <a:pt x="312" y="115"/>
                  </a:cubicBezTo>
                  <a:cubicBezTo>
                    <a:pt x="312" y="90"/>
                    <a:pt x="312" y="90"/>
                    <a:pt x="312" y="90"/>
                  </a:cubicBezTo>
                  <a:cubicBezTo>
                    <a:pt x="293" y="91"/>
                    <a:pt x="293" y="91"/>
                    <a:pt x="293" y="91"/>
                  </a:cubicBezTo>
                  <a:cubicBezTo>
                    <a:pt x="310" y="68"/>
                    <a:pt x="310" y="68"/>
                    <a:pt x="310" y="68"/>
                  </a:cubicBezTo>
                  <a:cubicBezTo>
                    <a:pt x="287" y="52"/>
                    <a:pt x="287" y="52"/>
                    <a:pt x="287" y="52"/>
                  </a:cubicBezTo>
                  <a:cubicBezTo>
                    <a:pt x="293" y="35"/>
                    <a:pt x="293" y="35"/>
                    <a:pt x="293" y="35"/>
                  </a:cubicBezTo>
                  <a:cubicBezTo>
                    <a:pt x="284" y="26"/>
                    <a:pt x="284" y="26"/>
                    <a:pt x="284" y="26"/>
                  </a:cubicBezTo>
                  <a:cubicBezTo>
                    <a:pt x="284" y="26"/>
                    <a:pt x="291" y="19"/>
                    <a:pt x="275" y="11"/>
                  </a:cubicBezTo>
                  <a:cubicBezTo>
                    <a:pt x="259" y="3"/>
                    <a:pt x="261" y="27"/>
                    <a:pt x="261" y="27"/>
                  </a:cubicBezTo>
                  <a:cubicBezTo>
                    <a:pt x="249" y="36"/>
                    <a:pt x="249" y="36"/>
                    <a:pt x="249" y="36"/>
                  </a:cubicBezTo>
                  <a:cubicBezTo>
                    <a:pt x="249" y="36"/>
                    <a:pt x="227" y="25"/>
                    <a:pt x="222" y="23"/>
                  </a:cubicBezTo>
                  <a:cubicBezTo>
                    <a:pt x="217" y="21"/>
                    <a:pt x="203" y="44"/>
                    <a:pt x="203" y="44"/>
                  </a:cubicBezTo>
                  <a:cubicBezTo>
                    <a:pt x="203" y="44"/>
                    <a:pt x="200" y="23"/>
                    <a:pt x="191" y="23"/>
                  </a:cubicBezTo>
                  <a:cubicBezTo>
                    <a:pt x="182" y="23"/>
                    <a:pt x="178" y="39"/>
                    <a:pt x="174" y="41"/>
                  </a:cubicBezTo>
                  <a:cubicBezTo>
                    <a:pt x="170" y="43"/>
                    <a:pt x="166" y="16"/>
                    <a:pt x="166" y="16"/>
                  </a:cubicBezTo>
                  <a:cubicBezTo>
                    <a:pt x="138" y="17"/>
                    <a:pt x="138" y="17"/>
                    <a:pt x="138" y="17"/>
                  </a:cubicBezTo>
                  <a:cubicBezTo>
                    <a:pt x="138" y="17"/>
                    <a:pt x="129" y="24"/>
                    <a:pt x="122" y="24"/>
                  </a:cubicBezTo>
                  <a:cubicBezTo>
                    <a:pt x="115" y="24"/>
                    <a:pt x="106" y="8"/>
                    <a:pt x="106" y="8"/>
                  </a:cubicBezTo>
                  <a:cubicBezTo>
                    <a:pt x="106" y="8"/>
                    <a:pt x="103" y="16"/>
                    <a:pt x="95" y="14"/>
                  </a:cubicBezTo>
                  <a:cubicBezTo>
                    <a:pt x="87" y="12"/>
                    <a:pt x="87" y="1"/>
                    <a:pt x="87" y="1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5" name="Freeform 303">
              <a:extLst>
                <a:ext uri="{FF2B5EF4-FFF2-40B4-BE49-F238E27FC236}">
                  <a16:creationId xmlns:a16="http://schemas.microsoft.com/office/drawing/2014/main" id="{5FA14F2A-F1A7-647F-D9FE-B2167EFE1E39}"/>
                </a:ext>
              </a:extLst>
            </p:cNvPr>
            <p:cNvSpPr>
              <a:spLocks/>
            </p:cNvSpPr>
            <p:nvPr/>
          </p:nvSpPr>
          <p:spPr bwMode="gray">
            <a:xfrm>
              <a:off x="-8308" y="-13438"/>
              <a:ext cx="1351" cy="1583"/>
            </a:xfrm>
            <a:custGeom>
              <a:avLst/>
              <a:gdLst>
                <a:gd name="T0" fmla="*/ 0 w 572"/>
                <a:gd name="T1" fmla="*/ 332 h 670"/>
                <a:gd name="T2" fmla="*/ 11 w 572"/>
                <a:gd name="T3" fmla="*/ 336 h 670"/>
                <a:gd name="T4" fmla="*/ 15 w 572"/>
                <a:gd name="T5" fmla="*/ 357 h 670"/>
                <a:gd name="T6" fmla="*/ 24 w 572"/>
                <a:gd name="T7" fmla="*/ 349 h 670"/>
                <a:gd name="T8" fmla="*/ 32 w 572"/>
                <a:gd name="T9" fmla="*/ 372 h 670"/>
                <a:gd name="T10" fmla="*/ 30 w 572"/>
                <a:gd name="T11" fmla="*/ 403 h 670"/>
                <a:gd name="T12" fmla="*/ 21 w 572"/>
                <a:gd name="T13" fmla="*/ 403 h 670"/>
                <a:gd name="T14" fmla="*/ 24 w 572"/>
                <a:gd name="T15" fmla="*/ 417 h 670"/>
                <a:gd name="T16" fmla="*/ 16 w 572"/>
                <a:gd name="T17" fmla="*/ 423 h 670"/>
                <a:gd name="T18" fmla="*/ 39 w 572"/>
                <a:gd name="T19" fmla="*/ 470 h 670"/>
                <a:gd name="T20" fmla="*/ 33 w 572"/>
                <a:gd name="T21" fmla="*/ 509 h 670"/>
                <a:gd name="T22" fmla="*/ 31 w 572"/>
                <a:gd name="T23" fmla="*/ 538 h 670"/>
                <a:gd name="T24" fmla="*/ 12 w 572"/>
                <a:gd name="T25" fmla="*/ 570 h 670"/>
                <a:gd name="T26" fmla="*/ 10 w 572"/>
                <a:gd name="T27" fmla="*/ 605 h 670"/>
                <a:gd name="T28" fmla="*/ 28 w 572"/>
                <a:gd name="T29" fmla="*/ 573 h 670"/>
                <a:gd name="T30" fmla="*/ 47 w 572"/>
                <a:gd name="T31" fmla="*/ 575 h 670"/>
                <a:gd name="T32" fmla="*/ 55 w 572"/>
                <a:gd name="T33" fmla="*/ 571 h 670"/>
                <a:gd name="T34" fmla="*/ 78 w 572"/>
                <a:gd name="T35" fmla="*/ 572 h 670"/>
                <a:gd name="T36" fmla="*/ 78 w 572"/>
                <a:gd name="T37" fmla="*/ 562 h 670"/>
                <a:gd name="T38" fmla="*/ 91 w 572"/>
                <a:gd name="T39" fmla="*/ 569 h 670"/>
                <a:gd name="T40" fmla="*/ 115 w 572"/>
                <a:gd name="T41" fmla="*/ 572 h 670"/>
                <a:gd name="T42" fmla="*/ 136 w 572"/>
                <a:gd name="T43" fmla="*/ 596 h 670"/>
                <a:gd name="T44" fmla="*/ 157 w 572"/>
                <a:gd name="T45" fmla="*/ 593 h 670"/>
                <a:gd name="T46" fmla="*/ 165 w 572"/>
                <a:gd name="T47" fmla="*/ 630 h 670"/>
                <a:gd name="T48" fmla="*/ 179 w 572"/>
                <a:gd name="T49" fmla="*/ 632 h 670"/>
                <a:gd name="T50" fmla="*/ 182 w 572"/>
                <a:gd name="T51" fmla="*/ 648 h 670"/>
                <a:gd name="T52" fmla="*/ 199 w 572"/>
                <a:gd name="T53" fmla="*/ 654 h 670"/>
                <a:gd name="T54" fmla="*/ 208 w 572"/>
                <a:gd name="T55" fmla="*/ 668 h 670"/>
                <a:gd name="T56" fmla="*/ 228 w 572"/>
                <a:gd name="T57" fmla="*/ 667 h 670"/>
                <a:gd name="T58" fmla="*/ 232 w 572"/>
                <a:gd name="T59" fmla="*/ 653 h 670"/>
                <a:gd name="T60" fmla="*/ 247 w 572"/>
                <a:gd name="T61" fmla="*/ 625 h 670"/>
                <a:gd name="T62" fmla="*/ 272 w 572"/>
                <a:gd name="T63" fmla="*/ 650 h 670"/>
                <a:gd name="T64" fmla="*/ 282 w 572"/>
                <a:gd name="T65" fmla="*/ 633 h 670"/>
                <a:gd name="T66" fmla="*/ 304 w 572"/>
                <a:gd name="T67" fmla="*/ 633 h 670"/>
                <a:gd name="T68" fmla="*/ 310 w 572"/>
                <a:gd name="T69" fmla="*/ 639 h 670"/>
                <a:gd name="T70" fmla="*/ 335 w 572"/>
                <a:gd name="T71" fmla="*/ 635 h 670"/>
                <a:gd name="T72" fmla="*/ 345 w 572"/>
                <a:gd name="T73" fmla="*/ 621 h 670"/>
                <a:gd name="T74" fmla="*/ 349 w 572"/>
                <a:gd name="T75" fmla="*/ 631 h 670"/>
                <a:gd name="T76" fmla="*/ 526 w 572"/>
                <a:gd name="T77" fmla="*/ 628 h 670"/>
                <a:gd name="T78" fmla="*/ 531 w 572"/>
                <a:gd name="T79" fmla="*/ 601 h 670"/>
                <a:gd name="T80" fmla="*/ 536 w 572"/>
                <a:gd name="T81" fmla="*/ 590 h 670"/>
                <a:gd name="T82" fmla="*/ 522 w 572"/>
                <a:gd name="T83" fmla="*/ 577 h 670"/>
                <a:gd name="T84" fmla="*/ 491 w 572"/>
                <a:gd name="T85" fmla="*/ 118 h 670"/>
                <a:gd name="T86" fmla="*/ 572 w 572"/>
                <a:gd name="T87" fmla="*/ 121 h 670"/>
                <a:gd name="T88" fmla="*/ 399 w 572"/>
                <a:gd name="T89" fmla="*/ 0 h 670"/>
                <a:gd name="T90" fmla="*/ 397 w 572"/>
                <a:gd name="T91" fmla="*/ 34 h 670"/>
                <a:gd name="T92" fmla="*/ 392 w 572"/>
                <a:gd name="T93" fmla="*/ 38 h 670"/>
                <a:gd name="T94" fmla="*/ 391 w 572"/>
                <a:gd name="T95" fmla="*/ 63 h 670"/>
                <a:gd name="T96" fmla="*/ 243 w 572"/>
                <a:gd name="T97" fmla="*/ 64 h 670"/>
                <a:gd name="T98" fmla="*/ 243 w 572"/>
                <a:gd name="T99" fmla="*/ 74 h 670"/>
                <a:gd name="T100" fmla="*/ 238 w 572"/>
                <a:gd name="T101" fmla="*/ 77 h 670"/>
                <a:gd name="T102" fmla="*/ 235 w 572"/>
                <a:gd name="T103" fmla="*/ 207 h 670"/>
                <a:gd name="T104" fmla="*/ 208 w 572"/>
                <a:gd name="T105" fmla="*/ 212 h 670"/>
                <a:gd name="T106" fmla="*/ 189 w 572"/>
                <a:gd name="T107" fmla="*/ 223 h 670"/>
                <a:gd name="T108" fmla="*/ 187 w 572"/>
                <a:gd name="T109" fmla="*/ 248 h 670"/>
                <a:gd name="T110" fmla="*/ 186 w 572"/>
                <a:gd name="T111" fmla="*/ 317 h 670"/>
                <a:gd name="T112" fmla="*/ 0 w 572"/>
                <a:gd name="T113" fmla="*/ 319 h 670"/>
                <a:gd name="T114" fmla="*/ 0 w 572"/>
                <a:gd name="T115" fmla="*/ 319 h 670"/>
                <a:gd name="T116" fmla="*/ 0 w 572"/>
                <a:gd name="T117" fmla="*/ 332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2" h="670">
                  <a:moveTo>
                    <a:pt x="0" y="332"/>
                  </a:moveTo>
                  <a:cubicBezTo>
                    <a:pt x="0" y="332"/>
                    <a:pt x="11" y="331"/>
                    <a:pt x="11" y="336"/>
                  </a:cubicBezTo>
                  <a:cubicBezTo>
                    <a:pt x="11" y="341"/>
                    <a:pt x="11" y="354"/>
                    <a:pt x="15" y="357"/>
                  </a:cubicBezTo>
                  <a:cubicBezTo>
                    <a:pt x="19" y="360"/>
                    <a:pt x="24" y="349"/>
                    <a:pt x="24" y="349"/>
                  </a:cubicBezTo>
                  <a:cubicBezTo>
                    <a:pt x="32" y="372"/>
                    <a:pt x="32" y="372"/>
                    <a:pt x="32" y="372"/>
                  </a:cubicBezTo>
                  <a:cubicBezTo>
                    <a:pt x="30" y="403"/>
                    <a:pt x="30" y="403"/>
                    <a:pt x="30" y="403"/>
                  </a:cubicBezTo>
                  <a:cubicBezTo>
                    <a:pt x="21" y="403"/>
                    <a:pt x="21" y="403"/>
                    <a:pt x="21" y="403"/>
                  </a:cubicBezTo>
                  <a:cubicBezTo>
                    <a:pt x="24" y="417"/>
                    <a:pt x="24" y="417"/>
                    <a:pt x="24" y="417"/>
                  </a:cubicBezTo>
                  <a:cubicBezTo>
                    <a:pt x="16" y="423"/>
                    <a:pt x="16" y="423"/>
                    <a:pt x="16" y="423"/>
                  </a:cubicBezTo>
                  <a:cubicBezTo>
                    <a:pt x="16" y="423"/>
                    <a:pt x="39" y="452"/>
                    <a:pt x="39" y="470"/>
                  </a:cubicBezTo>
                  <a:cubicBezTo>
                    <a:pt x="39" y="488"/>
                    <a:pt x="33" y="509"/>
                    <a:pt x="33" y="509"/>
                  </a:cubicBezTo>
                  <a:cubicBezTo>
                    <a:pt x="31" y="538"/>
                    <a:pt x="31" y="538"/>
                    <a:pt x="31" y="538"/>
                  </a:cubicBezTo>
                  <a:cubicBezTo>
                    <a:pt x="31" y="538"/>
                    <a:pt x="15" y="555"/>
                    <a:pt x="12" y="570"/>
                  </a:cubicBezTo>
                  <a:cubicBezTo>
                    <a:pt x="10" y="579"/>
                    <a:pt x="10" y="594"/>
                    <a:pt x="10" y="605"/>
                  </a:cubicBezTo>
                  <a:cubicBezTo>
                    <a:pt x="22" y="603"/>
                    <a:pt x="19" y="579"/>
                    <a:pt x="28" y="573"/>
                  </a:cubicBezTo>
                  <a:cubicBezTo>
                    <a:pt x="37" y="567"/>
                    <a:pt x="47" y="575"/>
                    <a:pt x="47" y="575"/>
                  </a:cubicBezTo>
                  <a:cubicBezTo>
                    <a:pt x="55" y="571"/>
                    <a:pt x="55" y="571"/>
                    <a:pt x="55" y="571"/>
                  </a:cubicBezTo>
                  <a:cubicBezTo>
                    <a:pt x="78" y="572"/>
                    <a:pt x="78" y="572"/>
                    <a:pt x="78" y="572"/>
                  </a:cubicBezTo>
                  <a:cubicBezTo>
                    <a:pt x="78" y="562"/>
                    <a:pt x="78" y="562"/>
                    <a:pt x="78" y="562"/>
                  </a:cubicBezTo>
                  <a:cubicBezTo>
                    <a:pt x="91" y="569"/>
                    <a:pt x="91" y="569"/>
                    <a:pt x="91" y="569"/>
                  </a:cubicBezTo>
                  <a:cubicBezTo>
                    <a:pt x="91" y="569"/>
                    <a:pt x="105" y="570"/>
                    <a:pt x="115" y="572"/>
                  </a:cubicBezTo>
                  <a:cubicBezTo>
                    <a:pt x="125" y="574"/>
                    <a:pt x="136" y="596"/>
                    <a:pt x="136" y="596"/>
                  </a:cubicBezTo>
                  <a:cubicBezTo>
                    <a:pt x="136" y="596"/>
                    <a:pt x="150" y="592"/>
                    <a:pt x="157" y="593"/>
                  </a:cubicBezTo>
                  <a:cubicBezTo>
                    <a:pt x="164" y="594"/>
                    <a:pt x="165" y="630"/>
                    <a:pt x="165" y="630"/>
                  </a:cubicBezTo>
                  <a:cubicBezTo>
                    <a:pt x="165" y="630"/>
                    <a:pt x="176" y="631"/>
                    <a:pt x="179" y="632"/>
                  </a:cubicBezTo>
                  <a:cubicBezTo>
                    <a:pt x="182" y="633"/>
                    <a:pt x="182" y="648"/>
                    <a:pt x="182" y="648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8" y="668"/>
                    <a:pt x="208" y="668"/>
                    <a:pt x="208" y="668"/>
                  </a:cubicBezTo>
                  <a:cubicBezTo>
                    <a:pt x="208" y="668"/>
                    <a:pt x="220" y="670"/>
                    <a:pt x="228" y="667"/>
                  </a:cubicBezTo>
                  <a:cubicBezTo>
                    <a:pt x="236" y="664"/>
                    <a:pt x="233" y="654"/>
                    <a:pt x="232" y="653"/>
                  </a:cubicBezTo>
                  <a:cubicBezTo>
                    <a:pt x="232" y="634"/>
                    <a:pt x="234" y="625"/>
                    <a:pt x="247" y="625"/>
                  </a:cubicBezTo>
                  <a:cubicBezTo>
                    <a:pt x="260" y="625"/>
                    <a:pt x="272" y="650"/>
                    <a:pt x="272" y="650"/>
                  </a:cubicBezTo>
                  <a:cubicBezTo>
                    <a:pt x="282" y="633"/>
                    <a:pt x="282" y="633"/>
                    <a:pt x="282" y="633"/>
                  </a:cubicBezTo>
                  <a:cubicBezTo>
                    <a:pt x="304" y="633"/>
                    <a:pt x="304" y="633"/>
                    <a:pt x="304" y="633"/>
                  </a:cubicBezTo>
                  <a:cubicBezTo>
                    <a:pt x="310" y="639"/>
                    <a:pt x="310" y="639"/>
                    <a:pt x="310" y="639"/>
                  </a:cubicBezTo>
                  <a:cubicBezTo>
                    <a:pt x="310" y="639"/>
                    <a:pt x="327" y="636"/>
                    <a:pt x="335" y="635"/>
                  </a:cubicBezTo>
                  <a:cubicBezTo>
                    <a:pt x="343" y="634"/>
                    <a:pt x="341" y="622"/>
                    <a:pt x="345" y="621"/>
                  </a:cubicBezTo>
                  <a:cubicBezTo>
                    <a:pt x="349" y="620"/>
                    <a:pt x="349" y="631"/>
                    <a:pt x="349" y="631"/>
                  </a:cubicBezTo>
                  <a:cubicBezTo>
                    <a:pt x="526" y="628"/>
                    <a:pt x="526" y="628"/>
                    <a:pt x="526" y="628"/>
                  </a:cubicBezTo>
                  <a:cubicBezTo>
                    <a:pt x="531" y="601"/>
                    <a:pt x="531" y="601"/>
                    <a:pt x="531" y="601"/>
                  </a:cubicBezTo>
                  <a:cubicBezTo>
                    <a:pt x="531" y="601"/>
                    <a:pt x="537" y="597"/>
                    <a:pt x="536" y="590"/>
                  </a:cubicBezTo>
                  <a:cubicBezTo>
                    <a:pt x="535" y="583"/>
                    <a:pt x="522" y="577"/>
                    <a:pt x="522" y="577"/>
                  </a:cubicBezTo>
                  <a:cubicBezTo>
                    <a:pt x="491" y="118"/>
                    <a:pt x="491" y="118"/>
                    <a:pt x="491" y="118"/>
                  </a:cubicBezTo>
                  <a:cubicBezTo>
                    <a:pt x="572" y="121"/>
                    <a:pt x="572" y="121"/>
                    <a:pt x="572" y="121"/>
                  </a:cubicBezTo>
                  <a:cubicBezTo>
                    <a:pt x="399" y="0"/>
                    <a:pt x="399" y="0"/>
                    <a:pt x="399" y="0"/>
                  </a:cubicBezTo>
                  <a:cubicBezTo>
                    <a:pt x="397" y="34"/>
                    <a:pt x="397" y="34"/>
                    <a:pt x="397" y="34"/>
                  </a:cubicBezTo>
                  <a:cubicBezTo>
                    <a:pt x="392" y="38"/>
                    <a:pt x="392" y="38"/>
                    <a:pt x="392" y="38"/>
                  </a:cubicBezTo>
                  <a:cubicBezTo>
                    <a:pt x="391" y="63"/>
                    <a:pt x="391" y="63"/>
                    <a:pt x="391" y="63"/>
                  </a:cubicBezTo>
                  <a:cubicBezTo>
                    <a:pt x="243" y="64"/>
                    <a:pt x="243" y="64"/>
                    <a:pt x="243" y="64"/>
                  </a:cubicBezTo>
                  <a:cubicBezTo>
                    <a:pt x="243" y="74"/>
                    <a:pt x="243" y="74"/>
                    <a:pt x="243" y="74"/>
                  </a:cubicBezTo>
                  <a:cubicBezTo>
                    <a:pt x="238" y="77"/>
                    <a:pt x="238" y="77"/>
                    <a:pt x="238" y="77"/>
                  </a:cubicBezTo>
                  <a:cubicBezTo>
                    <a:pt x="238" y="77"/>
                    <a:pt x="237" y="201"/>
                    <a:pt x="235" y="207"/>
                  </a:cubicBezTo>
                  <a:cubicBezTo>
                    <a:pt x="233" y="213"/>
                    <a:pt x="208" y="212"/>
                    <a:pt x="208" y="212"/>
                  </a:cubicBezTo>
                  <a:cubicBezTo>
                    <a:pt x="208" y="212"/>
                    <a:pt x="200" y="213"/>
                    <a:pt x="189" y="223"/>
                  </a:cubicBezTo>
                  <a:cubicBezTo>
                    <a:pt x="178" y="233"/>
                    <a:pt x="187" y="248"/>
                    <a:pt x="187" y="248"/>
                  </a:cubicBezTo>
                  <a:cubicBezTo>
                    <a:pt x="186" y="317"/>
                    <a:pt x="186" y="317"/>
                    <a:pt x="186" y="317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26"/>
                    <a:pt x="0" y="332"/>
                    <a:pt x="0" y="332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6" name="Freeform 304">
              <a:extLst>
                <a:ext uri="{FF2B5EF4-FFF2-40B4-BE49-F238E27FC236}">
                  <a16:creationId xmlns:a16="http://schemas.microsoft.com/office/drawing/2014/main" id="{E1CD1E89-1463-DDB2-F7B1-FB938E83FFFA}"/>
                </a:ext>
              </a:extLst>
            </p:cNvPr>
            <p:cNvSpPr>
              <a:spLocks/>
            </p:cNvSpPr>
            <p:nvPr/>
          </p:nvSpPr>
          <p:spPr bwMode="gray">
            <a:xfrm>
              <a:off x="-7080" y="-11896"/>
              <a:ext cx="902" cy="709"/>
            </a:xfrm>
            <a:custGeom>
              <a:avLst/>
              <a:gdLst>
                <a:gd name="T0" fmla="*/ 3 w 382"/>
                <a:gd name="T1" fmla="*/ 246 h 300"/>
                <a:gd name="T2" fmla="*/ 19 w 382"/>
                <a:gd name="T3" fmla="*/ 256 h 300"/>
                <a:gd name="T4" fmla="*/ 59 w 382"/>
                <a:gd name="T5" fmla="*/ 293 h 300"/>
                <a:gd name="T6" fmla="*/ 124 w 382"/>
                <a:gd name="T7" fmla="*/ 300 h 300"/>
                <a:gd name="T8" fmla="*/ 132 w 382"/>
                <a:gd name="T9" fmla="*/ 299 h 300"/>
                <a:gd name="T10" fmla="*/ 130 w 382"/>
                <a:gd name="T11" fmla="*/ 245 h 300"/>
                <a:gd name="T12" fmla="*/ 132 w 382"/>
                <a:gd name="T13" fmla="*/ 219 h 300"/>
                <a:gd name="T14" fmla="*/ 192 w 382"/>
                <a:gd name="T15" fmla="*/ 219 h 300"/>
                <a:gd name="T16" fmla="*/ 215 w 382"/>
                <a:gd name="T17" fmla="*/ 219 h 300"/>
                <a:gd name="T18" fmla="*/ 251 w 382"/>
                <a:gd name="T19" fmla="*/ 212 h 300"/>
                <a:gd name="T20" fmla="*/ 276 w 382"/>
                <a:gd name="T21" fmla="*/ 215 h 300"/>
                <a:gd name="T22" fmla="*/ 305 w 382"/>
                <a:gd name="T23" fmla="*/ 221 h 300"/>
                <a:gd name="T24" fmla="*/ 318 w 382"/>
                <a:gd name="T25" fmla="*/ 214 h 300"/>
                <a:gd name="T26" fmla="*/ 357 w 382"/>
                <a:gd name="T27" fmla="*/ 197 h 300"/>
                <a:gd name="T28" fmla="*/ 373 w 382"/>
                <a:gd name="T29" fmla="*/ 183 h 300"/>
                <a:gd name="T30" fmla="*/ 382 w 382"/>
                <a:gd name="T31" fmla="*/ 170 h 300"/>
                <a:gd name="T32" fmla="*/ 360 w 382"/>
                <a:gd name="T33" fmla="*/ 145 h 300"/>
                <a:gd name="T34" fmla="*/ 364 w 382"/>
                <a:gd name="T35" fmla="*/ 126 h 300"/>
                <a:gd name="T36" fmla="*/ 310 w 382"/>
                <a:gd name="T37" fmla="*/ 104 h 300"/>
                <a:gd name="T38" fmla="*/ 312 w 382"/>
                <a:gd name="T39" fmla="*/ 87 h 300"/>
                <a:gd name="T40" fmla="*/ 289 w 382"/>
                <a:gd name="T41" fmla="*/ 72 h 300"/>
                <a:gd name="T42" fmla="*/ 277 w 382"/>
                <a:gd name="T43" fmla="*/ 32 h 300"/>
                <a:gd name="T44" fmla="*/ 260 w 382"/>
                <a:gd name="T45" fmla="*/ 2 h 300"/>
                <a:gd name="T46" fmla="*/ 215 w 382"/>
                <a:gd name="T47" fmla="*/ 12 h 300"/>
                <a:gd name="T48" fmla="*/ 190 w 382"/>
                <a:gd name="T49" fmla="*/ 28 h 300"/>
                <a:gd name="T50" fmla="*/ 169 w 382"/>
                <a:gd name="T51" fmla="*/ 50 h 300"/>
                <a:gd name="T52" fmla="*/ 125 w 382"/>
                <a:gd name="T53" fmla="*/ 72 h 300"/>
                <a:gd name="T54" fmla="*/ 112 w 382"/>
                <a:gd name="T55" fmla="*/ 96 h 300"/>
                <a:gd name="T56" fmla="*/ 76 w 382"/>
                <a:gd name="T57" fmla="*/ 82 h 300"/>
                <a:gd name="T58" fmla="*/ 69 w 382"/>
                <a:gd name="T59" fmla="*/ 121 h 300"/>
                <a:gd name="T60" fmla="*/ 57 w 382"/>
                <a:gd name="T61" fmla="*/ 145 h 300"/>
                <a:gd name="T62" fmla="*/ 48 w 382"/>
                <a:gd name="T63" fmla="*/ 161 h 300"/>
                <a:gd name="T64" fmla="*/ 8 w 382"/>
                <a:gd name="T65" fmla="*/ 173 h 300"/>
                <a:gd name="T66" fmla="*/ 15 w 382"/>
                <a:gd name="T67" fmla="*/ 209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2" h="300">
                  <a:moveTo>
                    <a:pt x="0" y="209"/>
                  </a:moveTo>
                  <a:cubicBezTo>
                    <a:pt x="3" y="246"/>
                    <a:pt x="3" y="246"/>
                    <a:pt x="3" y="246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19" y="256"/>
                    <a:pt x="19" y="256"/>
                    <a:pt x="19" y="256"/>
                  </a:cubicBezTo>
                  <a:cubicBezTo>
                    <a:pt x="19" y="256"/>
                    <a:pt x="29" y="287"/>
                    <a:pt x="39" y="288"/>
                  </a:cubicBezTo>
                  <a:cubicBezTo>
                    <a:pt x="49" y="289"/>
                    <a:pt x="59" y="293"/>
                    <a:pt x="59" y="293"/>
                  </a:cubicBezTo>
                  <a:cubicBezTo>
                    <a:pt x="59" y="293"/>
                    <a:pt x="70" y="271"/>
                    <a:pt x="100" y="275"/>
                  </a:cubicBezTo>
                  <a:cubicBezTo>
                    <a:pt x="130" y="279"/>
                    <a:pt x="124" y="300"/>
                    <a:pt x="124" y="300"/>
                  </a:cubicBezTo>
                  <a:cubicBezTo>
                    <a:pt x="136" y="298"/>
                    <a:pt x="136" y="298"/>
                    <a:pt x="136" y="298"/>
                  </a:cubicBezTo>
                  <a:cubicBezTo>
                    <a:pt x="132" y="299"/>
                    <a:pt x="132" y="299"/>
                    <a:pt x="132" y="299"/>
                  </a:cubicBezTo>
                  <a:cubicBezTo>
                    <a:pt x="131" y="263"/>
                    <a:pt x="131" y="263"/>
                    <a:pt x="131" y="263"/>
                  </a:cubicBezTo>
                  <a:cubicBezTo>
                    <a:pt x="130" y="245"/>
                    <a:pt x="130" y="245"/>
                    <a:pt x="130" y="245"/>
                  </a:cubicBezTo>
                  <a:cubicBezTo>
                    <a:pt x="130" y="245"/>
                    <a:pt x="124" y="244"/>
                    <a:pt x="124" y="236"/>
                  </a:cubicBezTo>
                  <a:cubicBezTo>
                    <a:pt x="124" y="228"/>
                    <a:pt x="132" y="219"/>
                    <a:pt x="132" y="219"/>
                  </a:cubicBezTo>
                  <a:cubicBezTo>
                    <a:pt x="187" y="222"/>
                    <a:pt x="187" y="222"/>
                    <a:pt x="187" y="222"/>
                  </a:cubicBezTo>
                  <a:cubicBezTo>
                    <a:pt x="192" y="219"/>
                    <a:pt x="192" y="219"/>
                    <a:pt x="192" y="219"/>
                  </a:cubicBezTo>
                  <a:cubicBezTo>
                    <a:pt x="204" y="222"/>
                    <a:pt x="204" y="222"/>
                    <a:pt x="204" y="222"/>
                  </a:cubicBezTo>
                  <a:cubicBezTo>
                    <a:pt x="215" y="219"/>
                    <a:pt x="215" y="219"/>
                    <a:pt x="215" y="219"/>
                  </a:cubicBezTo>
                  <a:cubicBezTo>
                    <a:pt x="235" y="222"/>
                    <a:pt x="235" y="222"/>
                    <a:pt x="235" y="222"/>
                  </a:cubicBezTo>
                  <a:cubicBezTo>
                    <a:pt x="251" y="212"/>
                    <a:pt x="251" y="212"/>
                    <a:pt x="251" y="212"/>
                  </a:cubicBezTo>
                  <a:cubicBezTo>
                    <a:pt x="265" y="216"/>
                    <a:pt x="265" y="216"/>
                    <a:pt x="265" y="216"/>
                  </a:cubicBezTo>
                  <a:cubicBezTo>
                    <a:pt x="276" y="215"/>
                    <a:pt x="276" y="215"/>
                    <a:pt x="276" y="215"/>
                  </a:cubicBezTo>
                  <a:cubicBezTo>
                    <a:pt x="291" y="222"/>
                    <a:pt x="291" y="222"/>
                    <a:pt x="291" y="222"/>
                  </a:cubicBezTo>
                  <a:cubicBezTo>
                    <a:pt x="305" y="221"/>
                    <a:pt x="305" y="221"/>
                    <a:pt x="305" y="221"/>
                  </a:cubicBezTo>
                  <a:cubicBezTo>
                    <a:pt x="310" y="214"/>
                    <a:pt x="310" y="214"/>
                    <a:pt x="310" y="214"/>
                  </a:cubicBezTo>
                  <a:cubicBezTo>
                    <a:pt x="318" y="214"/>
                    <a:pt x="318" y="214"/>
                    <a:pt x="318" y="214"/>
                  </a:cubicBezTo>
                  <a:cubicBezTo>
                    <a:pt x="318" y="214"/>
                    <a:pt x="320" y="200"/>
                    <a:pt x="331" y="195"/>
                  </a:cubicBezTo>
                  <a:cubicBezTo>
                    <a:pt x="331" y="196"/>
                    <a:pt x="357" y="197"/>
                    <a:pt x="357" y="197"/>
                  </a:cubicBezTo>
                  <a:cubicBezTo>
                    <a:pt x="357" y="197"/>
                    <a:pt x="358" y="190"/>
                    <a:pt x="362" y="187"/>
                  </a:cubicBezTo>
                  <a:cubicBezTo>
                    <a:pt x="366" y="184"/>
                    <a:pt x="373" y="183"/>
                    <a:pt x="373" y="183"/>
                  </a:cubicBezTo>
                  <a:cubicBezTo>
                    <a:pt x="376" y="172"/>
                    <a:pt x="376" y="172"/>
                    <a:pt x="376" y="172"/>
                  </a:cubicBezTo>
                  <a:cubicBezTo>
                    <a:pt x="382" y="170"/>
                    <a:pt x="382" y="170"/>
                    <a:pt x="382" y="170"/>
                  </a:cubicBezTo>
                  <a:cubicBezTo>
                    <a:pt x="375" y="167"/>
                    <a:pt x="375" y="167"/>
                    <a:pt x="375" y="167"/>
                  </a:cubicBezTo>
                  <a:cubicBezTo>
                    <a:pt x="360" y="145"/>
                    <a:pt x="360" y="145"/>
                    <a:pt x="360" y="145"/>
                  </a:cubicBezTo>
                  <a:cubicBezTo>
                    <a:pt x="375" y="140"/>
                    <a:pt x="375" y="140"/>
                    <a:pt x="375" y="140"/>
                  </a:cubicBezTo>
                  <a:cubicBezTo>
                    <a:pt x="375" y="140"/>
                    <a:pt x="373" y="130"/>
                    <a:pt x="364" y="126"/>
                  </a:cubicBezTo>
                  <a:cubicBezTo>
                    <a:pt x="355" y="122"/>
                    <a:pt x="356" y="131"/>
                    <a:pt x="344" y="131"/>
                  </a:cubicBezTo>
                  <a:cubicBezTo>
                    <a:pt x="332" y="131"/>
                    <a:pt x="313" y="109"/>
                    <a:pt x="310" y="104"/>
                  </a:cubicBezTo>
                  <a:cubicBezTo>
                    <a:pt x="307" y="99"/>
                    <a:pt x="322" y="88"/>
                    <a:pt x="322" y="88"/>
                  </a:cubicBezTo>
                  <a:cubicBezTo>
                    <a:pt x="312" y="87"/>
                    <a:pt x="312" y="87"/>
                    <a:pt x="312" y="87"/>
                  </a:cubicBezTo>
                  <a:cubicBezTo>
                    <a:pt x="311" y="78"/>
                    <a:pt x="311" y="78"/>
                    <a:pt x="311" y="78"/>
                  </a:cubicBezTo>
                  <a:cubicBezTo>
                    <a:pt x="311" y="78"/>
                    <a:pt x="299" y="79"/>
                    <a:pt x="289" y="72"/>
                  </a:cubicBezTo>
                  <a:cubicBezTo>
                    <a:pt x="279" y="65"/>
                    <a:pt x="280" y="41"/>
                    <a:pt x="280" y="41"/>
                  </a:cubicBezTo>
                  <a:cubicBezTo>
                    <a:pt x="277" y="32"/>
                    <a:pt x="277" y="32"/>
                    <a:pt x="277" y="32"/>
                  </a:cubicBezTo>
                  <a:cubicBezTo>
                    <a:pt x="276" y="9"/>
                    <a:pt x="276" y="9"/>
                    <a:pt x="276" y="9"/>
                  </a:cubicBezTo>
                  <a:cubicBezTo>
                    <a:pt x="260" y="2"/>
                    <a:pt x="260" y="2"/>
                    <a:pt x="260" y="2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27" y="0"/>
                    <a:pt x="225" y="8"/>
                    <a:pt x="215" y="12"/>
                  </a:cubicBezTo>
                  <a:cubicBezTo>
                    <a:pt x="205" y="16"/>
                    <a:pt x="201" y="14"/>
                    <a:pt x="201" y="14"/>
                  </a:cubicBezTo>
                  <a:cubicBezTo>
                    <a:pt x="190" y="28"/>
                    <a:pt x="190" y="28"/>
                    <a:pt x="190" y="28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173" y="28"/>
                    <a:pt x="172" y="49"/>
                    <a:pt x="169" y="50"/>
                  </a:cubicBezTo>
                  <a:cubicBezTo>
                    <a:pt x="166" y="51"/>
                    <a:pt x="154" y="39"/>
                    <a:pt x="148" y="41"/>
                  </a:cubicBezTo>
                  <a:cubicBezTo>
                    <a:pt x="142" y="43"/>
                    <a:pt x="125" y="72"/>
                    <a:pt x="125" y="72"/>
                  </a:cubicBezTo>
                  <a:cubicBezTo>
                    <a:pt x="112" y="72"/>
                    <a:pt x="112" y="72"/>
                    <a:pt x="112" y="72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97" y="101"/>
                    <a:pt x="97" y="101"/>
                    <a:pt x="97" y="101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63" y="102"/>
                    <a:pt x="63" y="102"/>
                    <a:pt x="63" y="102"/>
                  </a:cubicBezTo>
                  <a:cubicBezTo>
                    <a:pt x="63" y="102"/>
                    <a:pt x="71" y="116"/>
                    <a:pt x="69" y="121"/>
                  </a:cubicBezTo>
                  <a:cubicBezTo>
                    <a:pt x="67" y="126"/>
                    <a:pt x="55" y="124"/>
                    <a:pt x="55" y="124"/>
                  </a:cubicBezTo>
                  <a:cubicBezTo>
                    <a:pt x="55" y="124"/>
                    <a:pt x="60" y="141"/>
                    <a:pt x="57" y="145"/>
                  </a:cubicBezTo>
                  <a:cubicBezTo>
                    <a:pt x="54" y="149"/>
                    <a:pt x="47" y="150"/>
                    <a:pt x="47" y="150"/>
                  </a:cubicBezTo>
                  <a:cubicBezTo>
                    <a:pt x="47" y="150"/>
                    <a:pt x="60" y="160"/>
                    <a:pt x="48" y="161"/>
                  </a:cubicBezTo>
                  <a:cubicBezTo>
                    <a:pt x="36" y="162"/>
                    <a:pt x="21" y="165"/>
                    <a:pt x="21" y="16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23" y="194"/>
                    <a:pt x="23" y="194"/>
                    <a:pt x="23" y="194"/>
                  </a:cubicBezTo>
                  <a:cubicBezTo>
                    <a:pt x="15" y="209"/>
                    <a:pt x="15" y="209"/>
                    <a:pt x="15" y="209"/>
                  </a:cubicBezTo>
                  <a:lnTo>
                    <a:pt x="0" y="209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7" name="Freeform 305">
              <a:extLst>
                <a:ext uri="{FF2B5EF4-FFF2-40B4-BE49-F238E27FC236}">
                  <a16:creationId xmlns:a16="http://schemas.microsoft.com/office/drawing/2014/main" id="{FBE581C6-D094-451F-0CD4-01A29A0ACC29}"/>
                </a:ext>
              </a:extLst>
            </p:cNvPr>
            <p:cNvSpPr>
              <a:spLocks/>
            </p:cNvSpPr>
            <p:nvPr/>
          </p:nvSpPr>
          <p:spPr bwMode="gray">
            <a:xfrm>
              <a:off x="-7427" y="-11343"/>
              <a:ext cx="687" cy="811"/>
            </a:xfrm>
            <a:custGeom>
              <a:avLst/>
              <a:gdLst>
                <a:gd name="T0" fmla="*/ 266 w 291"/>
                <a:gd name="T1" fmla="*/ 269 h 343"/>
                <a:gd name="T2" fmla="*/ 253 w 291"/>
                <a:gd name="T3" fmla="*/ 219 h 343"/>
                <a:gd name="T4" fmla="*/ 273 w 291"/>
                <a:gd name="T5" fmla="*/ 187 h 343"/>
                <a:gd name="T6" fmla="*/ 274 w 291"/>
                <a:gd name="T7" fmla="*/ 157 h 343"/>
                <a:gd name="T8" fmla="*/ 291 w 291"/>
                <a:gd name="T9" fmla="*/ 130 h 343"/>
                <a:gd name="T10" fmla="*/ 279 w 291"/>
                <a:gd name="T11" fmla="*/ 84 h 343"/>
                <a:gd name="T12" fmla="*/ 287 w 291"/>
                <a:gd name="T13" fmla="*/ 83 h 343"/>
                <a:gd name="T14" fmla="*/ 283 w 291"/>
                <a:gd name="T15" fmla="*/ 64 h 343"/>
                <a:gd name="T16" fmla="*/ 271 w 291"/>
                <a:gd name="T17" fmla="*/ 66 h 343"/>
                <a:gd name="T18" fmla="*/ 247 w 291"/>
                <a:gd name="T19" fmla="*/ 41 h 343"/>
                <a:gd name="T20" fmla="*/ 206 w 291"/>
                <a:gd name="T21" fmla="*/ 59 h 343"/>
                <a:gd name="T22" fmla="*/ 186 w 291"/>
                <a:gd name="T23" fmla="*/ 54 h 343"/>
                <a:gd name="T24" fmla="*/ 166 w 291"/>
                <a:gd name="T25" fmla="*/ 22 h 343"/>
                <a:gd name="T26" fmla="*/ 153 w 291"/>
                <a:gd name="T27" fmla="*/ 26 h 343"/>
                <a:gd name="T28" fmla="*/ 150 w 291"/>
                <a:gd name="T29" fmla="*/ 12 h 343"/>
                <a:gd name="T30" fmla="*/ 131 w 291"/>
                <a:gd name="T31" fmla="*/ 26 h 343"/>
                <a:gd name="T32" fmla="*/ 116 w 291"/>
                <a:gd name="T33" fmla="*/ 24 h 343"/>
                <a:gd name="T34" fmla="*/ 116 w 291"/>
                <a:gd name="T35" fmla="*/ 0 h 343"/>
                <a:gd name="T36" fmla="*/ 108 w 291"/>
                <a:gd name="T37" fmla="*/ 13 h 343"/>
                <a:gd name="T38" fmla="*/ 99 w 291"/>
                <a:gd name="T39" fmla="*/ 1 h 343"/>
                <a:gd name="T40" fmla="*/ 95 w 291"/>
                <a:gd name="T41" fmla="*/ 19 h 343"/>
                <a:gd name="T42" fmla="*/ 85 w 291"/>
                <a:gd name="T43" fmla="*/ 19 h 343"/>
                <a:gd name="T44" fmla="*/ 81 w 291"/>
                <a:gd name="T45" fmla="*/ 31 h 343"/>
                <a:gd name="T46" fmla="*/ 55 w 291"/>
                <a:gd name="T47" fmla="*/ 15 h 343"/>
                <a:gd name="T48" fmla="*/ 42 w 291"/>
                <a:gd name="T49" fmla="*/ 30 h 343"/>
                <a:gd name="T50" fmla="*/ 36 w 291"/>
                <a:gd name="T51" fmla="*/ 27 h 343"/>
                <a:gd name="T52" fmla="*/ 23 w 291"/>
                <a:gd name="T53" fmla="*/ 41 h 343"/>
                <a:gd name="T54" fmla="*/ 28 w 291"/>
                <a:gd name="T55" fmla="*/ 68 h 343"/>
                <a:gd name="T56" fmla="*/ 40 w 291"/>
                <a:gd name="T57" fmla="*/ 69 h 343"/>
                <a:gd name="T58" fmla="*/ 33 w 291"/>
                <a:gd name="T59" fmla="*/ 82 h 343"/>
                <a:gd name="T60" fmla="*/ 43 w 291"/>
                <a:gd name="T61" fmla="*/ 86 h 343"/>
                <a:gd name="T62" fmla="*/ 34 w 291"/>
                <a:gd name="T63" fmla="*/ 103 h 343"/>
                <a:gd name="T64" fmla="*/ 50 w 291"/>
                <a:gd name="T65" fmla="*/ 113 h 343"/>
                <a:gd name="T66" fmla="*/ 49 w 291"/>
                <a:gd name="T67" fmla="*/ 126 h 343"/>
                <a:gd name="T68" fmla="*/ 19 w 291"/>
                <a:gd name="T69" fmla="*/ 122 h 343"/>
                <a:gd name="T70" fmla="*/ 37 w 291"/>
                <a:gd name="T71" fmla="*/ 145 h 343"/>
                <a:gd name="T72" fmla="*/ 25 w 291"/>
                <a:gd name="T73" fmla="*/ 148 h 343"/>
                <a:gd name="T74" fmla="*/ 25 w 291"/>
                <a:gd name="T75" fmla="*/ 169 h 343"/>
                <a:gd name="T76" fmla="*/ 2 w 291"/>
                <a:gd name="T77" fmla="*/ 162 h 343"/>
                <a:gd name="T78" fmla="*/ 15 w 291"/>
                <a:gd name="T79" fmla="*/ 196 h 343"/>
                <a:gd name="T80" fmla="*/ 1 w 291"/>
                <a:gd name="T81" fmla="*/ 228 h 343"/>
                <a:gd name="T82" fmla="*/ 14 w 291"/>
                <a:gd name="T83" fmla="*/ 230 h 343"/>
                <a:gd name="T84" fmla="*/ 14 w 291"/>
                <a:gd name="T85" fmla="*/ 240 h 343"/>
                <a:gd name="T86" fmla="*/ 38 w 291"/>
                <a:gd name="T87" fmla="*/ 236 h 343"/>
                <a:gd name="T88" fmla="*/ 39 w 291"/>
                <a:gd name="T89" fmla="*/ 253 h 343"/>
                <a:gd name="T90" fmla="*/ 60 w 291"/>
                <a:gd name="T91" fmla="*/ 282 h 343"/>
                <a:gd name="T92" fmla="*/ 50 w 291"/>
                <a:gd name="T93" fmla="*/ 316 h 343"/>
                <a:gd name="T94" fmla="*/ 51 w 291"/>
                <a:gd name="T95" fmla="*/ 343 h 343"/>
                <a:gd name="T96" fmla="*/ 66 w 291"/>
                <a:gd name="T97" fmla="*/ 331 h 343"/>
                <a:gd name="T98" fmla="*/ 75 w 291"/>
                <a:gd name="T99" fmla="*/ 331 h 343"/>
                <a:gd name="T100" fmla="*/ 85 w 291"/>
                <a:gd name="T101" fmla="*/ 323 h 343"/>
                <a:gd name="T102" fmla="*/ 151 w 291"/>
                <a:gd name="T103" fmla="*/ 300 h 343"/>
                <a:gd name="T104" fmla="*/ 178 w 291"/>
                <a:gd name="T105" fmla="*/ 296 h 343"/>
                <a:gd name="T106" fmla="*/ 218 w 291"/>
                <a:gd name="T107" fmla="*/ 290 h 343"/>
                <a:gd name="T108" fmla="*/ 236 w 291"/>
                <a:gd name="T109" fmla="*/ 299 h 343"/>
                <a:gd name="T110" fmla="*/ 256 w 291"/>
                <a:gd name="T111" fmla="*/ 289 h 343"/>
                <a:gd name="T112" fmla="*/ 273 w 291"/>
                <a:gd name="T113" fmla="*/ 306 h 343"/>
                <a:gd name="T114" fmla="*/ 285 w 291"/>
                <a:gd name="T115" fmla="*/ 310 h 343"/>
                <a:gd name="T116" fmla="*/ 284 w 291"/>
                <a:gd name="T117" fmla="*/ 275 h 343"/>
                <a:gd name="T118" fmla="*/ 266 w 291"/>
                <a:gd name="T119" fmla="*/ 269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1" h="343">
                  <a:moveTo>
                    <a:pt x="266" y="269"/>
                  </a:moveTo>
                  <a:cubicBezTo>
                    <a:pt x="266" y="269"/>
                    <a:pt x="253" y="233"/>
                    <a:pt x="253" y="219"/>
                  </a:cubicBezTo>
                  <a:cubicBezTo>
                    <a:pt x="253" y="205"/>
                    <a:pt x="273" y="187"/>
                    <a:pt x="273" y="187"/>
                  </a:cubicBezTo>
                  <a:cubicBezTo>
                    <a:pt x="273" y="187"/>
                    <a:pt x="274" y="165"/>
                    <a:pt x="274" y="157"/>
                  </a:cubicBezTo>
                  <a:cubicBezTo>
                    <a:pt x="274" y="149"/>
                    <a:pt x="291" y="142"/>
                    <a:pt x="291" y="130"/>
                  </a:cubicBezTo>
                  <a:cubicBezTo>
                    <a:pt x="291" y="118"/>
                    <a:pt x="279" y="84"/>
                    <a:pt x="279" y="84"/>
                  </a:cubicBezTo>
                  <a:cubicBezTo>
                    <a:pt x="287" y="83"/>
                    <a:pt x="287" y="83"/>
                    <a:pt x="287" y="83"/>
                  </a:cubicBezTo>
                  <a:cubicBezTo>
                    <a:pt x="283" y="64"/>
                    <a:pt x="283" y="64"/>
                    <a:pt x="283" y="64"/>
                  </a:cubicBezTo>
                  <a:cubicBezTo>
                    <a:pt x="271" y="66"/>
                    <a:pt x="271" y="66"/>
                    <a:pt x="271" y="66"/>
                  </a:cubicBezTo>
                  <a:cubicBezTo>
                    <a:pt x="271" y="66"/>
                    <a:pt x="277" y="45"/>
                    <a:pt x="247" y="41"/>
                  </a:cubicBezTo>
                  <a:cubicBezTo>
                    <a:pt x="217" y="37"/>
                    <a:pt x="206" y="59"/>
                    <a:pt x="206" y="59"/>
                  </a:cubicBezTo>
                  <a:cubicBezTo>
                    <a:pt x="206" y="59"/>
                    <a:pt x="196" y="55"/>
                    <a:pt x="186" y="54"/>
                  </a:cubicBezTo>
                  <a:cubicBezTo>
                    <a:pt x="176" y="53"/>
                    <a:pt x="166" y="22"/>
                    <a:pt x="166" y="22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35" y="12"/>
                    <a:pt x="131" y="26"/>
                    <a:pt x="131" y="26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71" y="17"/>
                    <a:pt x="55" y="15"/>
                  </a:cubicBezTo>
                  <a:cubicBezTo>
                    <a:pt x="39" y="13"/>
                    <a:pt x="42" y="30"/>
                    <a:pt x="42" y="30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3" y="86"/>
                    <a:pt x="33" y="95"/>
                    <a:pt x="34" y="103"/>
                  </a:cubicBezTo>
                  <a:cubicBezTo>
                    <a:pt x="35" y="111"/>
                    <a:pt x="50" y="106"/>
                    <a:pt x="50" y="113"/>
                  </a:cubicBezTo>
                  <a:cubicBezTo>
                    <a:pt x="50" y="120"/>
                    <a:pt x="49" y="126"/>
                    <a:pt x="49" y="126"/>
                  </a:cubicBezTo>
                  <a:cubicBezTo>
                    <a:pt x="49" y="126"/>
                    <a:pt x="19" y="112"/>
                    <a:pt x="19" y="122"/>
                  </a:cubicBezTo>
                  <a:cubicBezTo>
                    <a:pt x="19" y="132"/>
                    <a:pt x="37" y="145"/>
                    <a:pt x="37" y="145"/>
                  </a:cubicBezTo>
                  <a:cubicBezTo>
                    <a:pt x="25" y="148"/>
                    <a:pt x="25" y="148"/>
                    <a:pt x="25" y="148"/>
                  </a:cubicBezTo>
                  <a:cubicBezTo>
                    <a:pt x="25" y="148"/>
                    <a:pt x="32" y="166"/>
                    <a:pt x="25" y="169"/>
                  </a:cubicBezTo>
                  <a:cubicBezTo>
                    <a:pt x="19" y="171"/>
                    <a:pt x="9" y="164"/>
                    <a:pt x="2" y="162"/>
                  </a:cubicBezTo>
                  <a:cubicBezTo>
                    <a:pt x="7" y="172"/>
                    <a:pt x="15" y="186"/>
                    <a:pt x="15" y="196"/>
                  </a:cubicBezTo>
                  <a:cubicBezTo>
                    <a:pt x="15" y="211"/>
                    <a:pt x="0" y="225"/>
                    <a:pt x="1" y="228"/>
                  </a:cubicBezTo>
                  <a:cubicBezTo>
                    <a:pt x="2" y="231"/>
                    <a:pt x="14" y="230"/>
                    <a:pt x="14" y="230"/>
                  </a:cubicBezTo>
                  <a:cubicBezTo>
                    <a:pt x="14" y="240"/>
                    <a:pt x="14" y="240"/>
                    <a:pt x="14" y="240"/>
                  </a:cubicBezTo>
                  <a:cubicBezTo>
                    <a:pt x="38" y="236"/>
                    <a:pt x="38" y="236"/>
                    <a:pt x="38" y="236"/>
                  </a:cubicBezTo>
                  <a:cubicBezTo>
                    <a:pt x="39" y="253"/>
                    <a:pt x="39" y="253"/>
                    <a:pt x="39" y="253"/>
                  </a:cubicBezTo>
                  <a:cubicBezTo>
                    <a:pt x="39" y="253"/>
                    <a:pt x="60" y="269"/>
                    <a:pt x="60" y="282"/>
                  </a:cubicBezTo>
                  <a:cubicBezTo>
                    <a:pt x="60" y="295"/>
                    <a:pt x="50" y="316"/>
                    <a:pt x="50" y="316"/>
                  </a:cubicBezTo>
                  <a:cubicBezTo>
                    <a:pt x="51" y="343"/>
                    <a:pt x="51" y="343"/>
                    <a:pt x="51" y="343"/>
                  </a:cubicBezTo>
                  <a:cubicBezTo>
                    <a:pt x="63" y="341"/>
                    <a:pt x="66" y="331"/>
                    <a:pt x="66" y="331"/>
                  </a:cubicBezTo>
                  <a:cubicBezTo>
                    <a:pt x="75" y="331"/>
                    <a:pt x="75" y="331"/>
                    <a:pt x="75" y="331"/>
                  </a:cubicBezTo>
                  <a:cubicBezTo>
                    <a:pt x="85" y="323"/>
                    <a:pt x="85" y="323"/>
                    <a:pt x="85" y="323"/>
                  </a:cubicBezTo>
                  <a:cubicBezTo>
                    <a:pt x="85" y="323"/>
                    <a:pt x="131" y="298"/>
                    <a:pt x="151" y="300"/>
                  </a:cubicBezTo>
                  <a:cubicBezTo>
                    <a:pt x="171" y="302"/>
                    <a:pt x="178" y="296"/>
                    <a:pt x="178" y="296"/>
                  </a:cubicBezTo>
                  <a:cubicBezTo>
                    <a:pt x="178" y="296"/>
                    <a:pt x="209" y="285"/>
                    <a:pt x="218" y="290"/>
                  </a:cubicBezTo>
                  <a:cubicBezTo>
                    <a:pt x="227" y="295"/>
                    <a:pt x="229" y="300"/>
                    <a:pt x="236" y="299"/>
                  </a:cubicBezTo>
                  <a:cubicBezTo>
                    <a:pt x="243" y="298"/>
                    <a:pt x="256" y="289"/>
                    <a:pt x="256" y="289"/>
                  </a:cubicBezTo>
                  <a:cubicBezTo>
                    <a:pt x="256" y="289"/>
                    <a:pt x="257" y="299"/>
                    <a:pt x="273" y="306"/>
                  </a:cubicBezTo>
                  <a:cubicBezTo>
                    <a:pt x="277" y="308"/>
                    <a:pt x="281" y="309"/>
                    <a:pt x="285" y="310"/>
                  </a:cubicBezTo>
                  <a:cubicBezTo>
                    <a:pt x="284" y="275"/>
                    <a:pt x="284" y="275"/>
                    <a:pt x="284" y="275"/>
                  </a:cubicBezTo>
                  <a:lnTo>
                    <a:pt x="266" y="269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8" name="Freeform 306">
              <a:extLst>
                <a:ext uri="{FF2B5EF4-FFF2-40B4-BE49-F238E27FC236}">
                  <a16:creationId xmlns:a16="http://schemas.microsoft.com/office/drawing/2014/main" id="{8C9192E5-7796-28D5-F0AA-AFBF39FDC8BE}"/>
                </a:ext>
              </a:extLst>
            </p:cNvPr>
            <p:cNvSpPr>
              <a:spLocks/>
            </p:cNvSpPr>
            <p:nvPr/>
          </p:nvSpPr>
          <p:spPr bwMode="gray">
            <a:xfrm>
              <a:off x="-6428" y="-12966"/>
              <a:ext cx="1750" cy="1484"/>
            </a:xfrm>
            <a:custGeom>
              <a:avLst/>
              <a:gdLst>
                <a:gd name="T0" fmla="*/ 36 w 741"/>
                <a:gd name="T1" fmla="*/ 540 h 628"/>
                <a:gd name="T2" fmla="*/ 34 w 741"/>
                <a:gd name="T3" fmla="*/ 557 h 628"/>
                <a:gd name="T4" fmla="*/ 88 w 741"/>
                <a:gd name="T5" fmla="*/ 579 h 628"/>
                <a:gd name="T6" fmla="*/ 84 w 741"/>
                <a:gd name="T7" fmla="*/ 598 h 628"/>
                <a:gd name="T8" fmla="*/ 102 w 741"/>
                <a:gd name="T9" fmla="*/ 604 h 628"/>
                <a:gd name="T10" fmla="*/ 141 w 741"/>
                <a:gd name="T11" fmla="*/ 619 h 628"/>
                <a:gd name="T12" fmla="*/ 159 w 741"/>
                <a:gd name="T13" fmla="*/ 594 h 628"/>
                <a:gd name="T14" fmla="*/ 183 w 741"/>
                <a:gd name="T15" fmla="*/ 542 h 628"/>
                <a:gd name="T16" fmla="*/ 236 w 741"/>
                <a:gd name="T17" fmla="*/ 526 h 628"/>
                <a:gd name="T18" fmla="*/ 269 w 741"/>
                <a:gd name="T19" fmla="*/ 529 h 628"/>
                <a:gd name="T20" fmla="*/ 305 w 741"/>
                <a:gd name="T21" fmla="*/ 544 h 628"/>
                <a:gd name="T22" fmla="*/ 364 w 741"/>
                <a:gd name="T23" fmla="*/ 544 h 628"/>
                <a:gd name="T24" fmla="*/ 442 w 741"/>
                <a:gd name="T25" fmla="*/ 578 h 628"/>
                <a:gd name="T26" fmla="*/ 554 w 741"/>
                <a:gd name="T27" fmla="*/ 557 h 628"/>
                <a:gd name="T28" fmla="*/ 597 w 741"/>
                <a:gd name="T29" fmla="*/ 541 h 628"/>
                <a:gd name="T30" fmla="*/ 621 w 741"/>
                <a:gd name="T31" fmla="*/ 526 h 628"/>
                <a:gd name="T32" fmla="*/ 621 w 741"/>
                <a:gd name="T33" fmla="*/ 484 h 628"/>
                <a:gd name="T34" fmla="*/ 656 w 741"/>
                <a:gd name="T35" fmla="*/ 426 h 628"/>
                <a:gd name="T36" fmla="*/ 727 w 741"/>
                <a:gd name="T37" fmla="*/ 194 h 628"/>
                <a:gd name="T38" fmla="*/ 721 w 741"/>
                <a:gd name="T39" fmla="*/ 145 h 628"/>
                <a:gd name="T40" fmla="*/ 697 w 741"/>
                <a:gd name="T41" fmla="*/ 105 h 628"/>
                <a:gd name="T42" fmla="*/ 692 w 741"/>
                <a:gd name="T43" fmla="*/ 28 h 628"/>
                <a:gd name="T44" fmla="*/ 623 w 741"/>
                <a:gd name="T45" fmla="*/ 16 h 628"/>
                <a:gd name="T46" fmla="*/ 551 w 741"/>
                <a:gd name="T47" fmla="*/ 0 h 628"/>
                <a:gd name="T48" fmla="*/ 261 w 741"/>
                <a:gd name="T49" fmla="*/ 221 h 628"/>
                <a:gd name="T50" fmla="*/ 190 w 741"/>
                <a:gd name="T51" fmla="*/ 372 h 628"/>
                <a:gd name="T52" fmla="*/ 160 w 741"/>
                <a:gd name="T53" fmla="*/ 427 h 628"/>
                <a:gd name="T54" fmla="*/ 124 w 741"/>
                <a:gd name="T55" fmla="*/ 437 h 628"/>
                <a:gd name="T56" fmla="*/ 92 w 741"/>
                <a:gd name="T57" fmla="*/ 444 h 628"/>
                <a:gd name="T58" fmla="*/ 32 w 741"/>
                <a:gd name="T59" fmla="*/ 455 h 628"/>
                <a:gd name="T60" fmla="*/ 1 w 741"/>
                <a:gd name="T61" fmla="*/ 485 h 628"/>
                <a:gd name="T62" fmla="*/ 13 w 741"/>
                <a:gd name="T63" fmla="*/ 525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41" h="628">
                  <a:moveTo>
                    <a:pt x="35" y="531"/>
                  </a:moveTo>
                  <a:cubicBezTo>
                    <a:pt x="36" y="540"/>
                    <a:pt x="36" y="540"/>
                    <a:pt x="36" y="540"/>
                  </a:cubicBezTo>
                  <a:cubicBezTo>
                    <a:pt x="46" y="541"/>
                    <a:pt x="46" y="541"/>
                    <a:pt x="46" y="541"/>
                  </a:cubicBezTo>
                  <a:cubicBezTo>
                    <a:pt x="46" y="541"/>
                    <a:pt x="31" y="552"/>
                    <a:pt x="34" y="557"/>
                  </a:cubicBezTo>
                  <a:cubicBezTo>
                    <a:pt x="37" y="562"/>
                    <a:pt x="56" y="584"/>
                    <a:pt x="68" y="584"/>
                  </a:cubicBezTo>
                  <a:cubicBezTo>
                    <a:pt x="80" y="584"/>
                    <a:pt x="79" y="575"/>
                    <a:pt x="88" y="579"/>
                  </a:cubicBezTo>
                  <a:cubicBezTo>
                    <a:pt x="97" y="583"/>
                    <a:pt x="99" y="593"/>
                    <a:pt x="99" y="593"/>
                  </a:cubicBezTo>
                  <a:cubicBezTo>
                    <a:pt x="84" y="598"/>
                    <a:pt x="84" y="598"/>
                    <a:pt x="84" y="598"/>
                  </a:cubicBezTo>
                  <a:cubicBezTo>
                    <a:pt x="99" y="620"/>
                    <a:pt x="99" y="620"/>
                    <a:pt x="99" y="620"/>
                  </a:cubicBezTo>
                  <a:cubicBezTo>
                    <a:pt x="102" y="604"/>
                    <a:pt x="102" y="604"/>
                    <a:pt x="102" y="604"/>
                  </a:cubicBezTo>
                  <a:cubicBezTo>
                    <a:pt x="119" y="597"/>
                    <a:pt x="119" y="597"/>
                    <a:pt x="119" y="597"/>
                  </a:cubicBezTo>
                  <a:cubicBezTo>
                    <a:pt x="119" y="597"/>
                    <a:pt x="136" y="616"/>
                    <a:pt x="141" y="619"/>
                  </a:cubicBezTo>
                  <a:cubicBezTo>
                    <a:pt x="146" y="622"/>
                    <a:pt x="162" y="628"/>
                    <a:pt x="162" y="628"/>
                  </a:cubicBezTo>
                  <a:cubicBezTo>
                    <a:pt x="159" y="594"/>
                    <a:pt x="159" y="594"/>
                    <a:pt x="159" y="594"/>
                  </a:cubicBezTo>
                  <a:cubicBezTo>
                    <a:pt x="159" y="594"/>
                    <a:pt x="181" y="583"/>
                    <a:pt x="182" y="568"/>
                  </a:cubicBezTo>
                  <a:cubicBezTo>
                    <a:pt x="183" y="553"/>
                    <a:pt x="183" y="542"/>
                    <a:pt x="183" y="542"/>
                  </a:cubicBezTo>
                  <a:cubicBezTo>
                    <a:pt x="202" y="525"/>
                    <a:pt x="202" y="525"/>
                    <a:pt x="202" y="525"/>
                  </a:cubicBezTo>
                  <a:cubicBezTo>
                    <a:pt x="236" y="526"/>
                    <a:pt x="236" y="526"/>
                    <a:pt x="236" y="526"/>
                  </a:cubicBezTo>
                  <a:cubicBezTo>
                    <a:pt x="236" y="526"/>
                    <a:pt x="235" y="520"/>
                    <a:pt x="249" y="519"/>
                  </a:cubicBezTo>
                  <a:cubicBezTo>
                    <a:pt x="263" y="518"/>
                    <a:pt x="262" y="528"/>
                    <a:pt x="269" y="529"/>
                  </a:cubicBezTo>
                  <a:cubicBezTo>
                    <a:pt x="276" y="530"/>
                    <a:pt x="288" y="530"/>
                    <a:pt x="288" y="530"/>
                  </a:cubicBezTo>
                  <a:cubicBezTo>
                    <a:pt x="305" y="544"/>
                    <a:pt x="305" y="544"/>
                    <a:pt x="305" y="544"/>
                  </a:cubicBezTo>
                  <a:cubicBezTo>
                    <a:pt x="305" y="544"/>
                    <a:pt x="310" y="566"/>
                    <a:pt x="319" y="565"/>
                  </a:cubicBezTo>
                  <a:cubicBezTo>
                    <a:pt x="328" y="564"/>
                    <a:pt x="352" y="544"/>
                    <a:pt x="364" y="544"/>
                  </a:cubicBezTo>
                  <a:cubicBezTo>
                    <a:pt x="376" y="544"/>
                    <a:pt x="388" y="572"/>
                    <a:pt x="407" y="573"/>
                  </a:cubicBezTo>
                  <a:cubicBezTo>
                    <a:pt x="426" y="574"/>
                    <a:pt x="442" y="578"/>
                    <a:pt x="442" y="578"/>
                  </a:cubicBezTo>
                  <a:cubicBezTo>
                    <a:pt x="442" y="578"/>
                    <a:pt x="454" y="543"/>
                    <a:pt x="496" y="543"/>
                  </a:cubicBezTo>
                  <a:cubicBezTo>
                    <a:pt x="538" y="543"/>
                    <a:pt x="554" y="557"/>
                    <a:pt x="554" y="557"/>
                  </a:cubicBezTo>
                  <a:cubicBezTo>
                    <a:pt x="572" y="558"/>
                    <a:pt x="572" y="558"/>
                    <a:pt x="572" y="558"/>
                  </a:cubicBezTo>
                  <a:cubicBezTo>
                    <a:pt x="572" y="558"/>
                    <a:pt x="590" y="545"/>
                    <a:pt x="597" y="541"/>
                  </a:cubicBezTo>
                  <a:cubicBezTo>
                    <a:pt x="604" y="537"/>
                    <a:pt x="613" y="540"/>
                    <a:pt x="613" y="540"/>
                  </a:cubicBezTo>
                  <a:cubicBezTo>
                    <a:pt x="613" y="540"/>
                    <a:pt x="617" y="526"/>
                    <a:pt x="621" y="526"/>
                  </a:cubicBezTo>
                  <a:cubicBezTo>
                    <a:pt x="622" y="526"/>
                    <a:pt x="623" y="526"/>
                    <a:pt x="624" y="526"/>
                  </a:cubicBezTo>
                  <a:cubicBezTo>
                    <a:pt x="621" y="484"/>
                    <a:pt x="621" y="484"/>
                    <a:pt x="621" y="484"/>
                  </a:cubicBezTo>
                  <a:cubicBezTo>
                    <a:pt x="634" y="479"/>
                    <a:pt x="634" y="479"/>
                    <a:pt x="634" y="479"/>
                  </a:cubicBezTo>
                  <a:cubicBezTo>
                    <a:pt x="634" y="479"/>
                    <a:pt x="644" y="442"/>
                    <a:pt x="656" y="426"/>
                  </a:cubicBezTo>
                  <a:cubicBezTo>
                    <a:pt x="667" y="409"/>
                    <a:pt x="717" y="356"/>
                    <a:pt x="717" y="356"/>
                  </a:cubicBezTo>
                  <a:cubicBezTo>
                    <a:pt x="727" y="194"/>
                    <a:pt x="727" y="194"/>
                    <a:pt x="727" y="194"/>
                  </a:cubicBezTo>
                  <a:cubicBezTo>
                    <a:pt x="741" y="169"/>
                    <a:pt x="741" y="169"/>
                    <a:pt x="741" y="169"/>
                  </a:cubicBezTo>
                  <a:cubicBezTo>
                    <a:pt x="721" y="145"/>
                    <a:pt x="721" y="145"/>
                    <a:pt x="721" y="145"/>
                  </a:cubicBezTo>
                  <a:cubicBezTo>
                    <a:pt x="716" y="129"/>
                    <a:pt x="716" y="129"/>
                    <a:pt x="716" y="129"/>
                  </a:cubicBezTo>
                  <a:cubicBezTo>
                    <a:pt x="697" y="105"/>
                    <a:pt x="697" y="105"/>
                    <a:pt x="697" y="105"/>
                  </a:cubicBezTo>
                  <a:cubicBezTo>
                    <a:pt x="704" y="72"/>
                    <a:pt x="704" y="72"/>
                    <a:pt x="704" y="72"/>
                  </a:cubicBezTo>
                  <a:cubicBezTo>
                    <a:pt x="692" y="28"/>
                    <a:pt x="692" y="28"/>
                    <a:pt x="692" y="28"/>
                  </a:cubicBezTo>
                  <a:cubicBezTo>
                    <a:pt x="676" y="37"/>
                    <a:pt x="662" y="44"/>
                    <a:pt x="657" y="45"/>
                  </a:cubicBezTo>
                  <a:cubicBezTo>
                    <a:pt x="646" y="46"/>
                    <a:pt x="630" y="18"/>
                    <a:pt x="623" y="16"/>
                  </a:cubicBezTo>
                  <a:cubicBezTo>
                    <a:pt x="616" y="14"/>
                    <a:pt x="576" y="6"/>
                    <a:pt x="576" y="6"/>
                  </a:cubicBezTo>
                  <a:cubicBezTo>
                    <a:pt x="551" y="0"/>
                    <a:pt x="551" y="0"/>
                    <a:pt x="551" y="0"/>
                  </a:cubicBezTo>
                  <a:cubicBezTo>
                    <a:pt x="551" y="0"/>
                    <a:pt x="364" y="136"/>
                    <a:pt x="342" y="151"/>
                  </a:cubicBezTo>
                  <a:cubicBezTo>
                    <a:pt x="320" y="166"/>
                    <a:pt x="275" y="219"/>
                    <a:pt x="261" y="221"/>
                  </a:cubicBezTo>
                  <a:cubicBezTo>
                    <a:pt x="251" y="222"/>
                    <a:pt x="210" y="231"/>
                    <a:pt x="190" y="235"/>
                  </a:cubicBezTo>
                  <a:cubicBezTo>
                    <a:pt x="190" y="372"/>
                    <a:pt x="190" y="372"/>
                    <a:pt x="190" y="372"/>
                  </a:cubicBezTo>
                  <a:cubicBezTo>
                    <a:pt x="175" y="387"/>
                    <a:pt x="175" y="387"/>
                    <a:pt x="175" y="387"/>
                  </a:cubicBezTo>
                  <a:cubicBezTo>
                    <a:pt x="175" y="387"/>
                    <a:pt x="175" y="420"/>
                    <a:pt x="160" y="427"/>
                  </a:cubicBezTo>
                  <a:cubicBezTo>
                    <a:pt x="138" y="438"/>
                    <a:pt x="131" y="432"/>
                    <a:pt x="131" y="432"/>
                  </a:cubicBezTo>
                  <a:cubicBezTo>
                    <a:pt x="124" y="437"/>
                    <a:pt x="124" y="437"/>
                    <a:pt x="124" y="437"/>
                  </a:cubicBezTo>
                  <a:cubicBezTo>
                    <a:pt x="93" y="435"/>
                    <a:pt x="93" y="435"/>
                    <a:pt x="93" y="435"/>
                  </a:cubicBezTo>
                  <a:cubicBezTo>
                    <a:pt x="92" y="444"/>
                    <a:pt x="92" y="444"/>
                    <a:pt x="92" y="444"/>
                  </a:cubicBezTo>
                  <a:cubicBezTo>
                    <a:pt x="50" y="443"/>
                    <a:pt x="50" y="443"/>
                    <a:pt x="50" y="443"/>
                  </a:cubicBezTo>
                  <a:cubicBezTo>
                    <a:pt x="32" y="455"/>
                    <a:pt x="32" y="455"/>
                    <a:pt x="32" y="455"/>
                  </a:cubicBezTo>
                  <a:cubicBezTo>
                    <a:pt x="0" y="462"/>
                    <a:pt x="0" y="462"/>
                    <a:pt x="0" y="462"/>
                  </a:cubicBezTo>
                  <a:cubicBezTo>
                    <a:pt x="1" y="485"/>
                    <a:pt x="1" y="485"/>
                    <a:pt x="1" y="485"/>
                  </a:cubicBezTo>
                  <a:cubicBezTo>
                    <a:pt x="4" y="494"/>
                    <a:pt x="4" y="494"/>
                    <a:pt x="4" y="494"/>
                  </a:cubicBezTo>
                  <a:cubicBezTo>
                    <a:pt x="4" y="494"/>
                    <a:pt x="3" y="518"/>
                    <a:pt x="13" y="525"/>
                  </a:cubicBezTo>
                  <a:cubicBezTo>
                    <a:pt x="23" y="532"/>
                    <a:pt x="35" y="531"/>
                    <a:pt x="35" y="531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9" name="Freeform 307">
              <a:extLst>
                <a:ext uri="{FF2B5EF4-FFF2-40B4-BE49-F238E27FC236}">
                  <a16:creationId xmlns:a16="http://schemas.microsoft.com/office/drawing/2014/main" id="{F8C9631B-354F-3508-4201-E5F9A463DA25}"/>
                </a:ext>
              </a:extLst>
            </p:cNvPr>
            <p:cNvSpPr>
              <a:spLocks/>
            </p:cNvSpPr>
            <p:nvPr/>
          </p:nvSpPr>
          <p:spPr bwMode="gray">
            <a:xfrm>
              <a:off x="-7449" y="-14702"/>
              <a:ext cx="2323" cy="2318"/>
            </a:xfrm>
            <a:custGeom>
              <a:avLst/>
              <a:gdLst>
                <a:gd name="T0" fmla="*/ 212 w 983"/>
                <a:gd name="T1" fmla="*/ 357 h 981"/>
                <a:gd name="T2" fmla="*/ 155 w 983"/>
                <a:gd name="T3" fmla="*/ 390 h 981"/>
                <a:gd name="T4" fmla="*/ 136 w 983"/>
                <a:gd name="T5" fmla="*/ 399 h 981"/>
                <a:gd name="T6" fmla="*/ 111 w 983"/>
                <a:gd name="T7" fmla="*/ 404 h 981"/>
                <a:gd name="T8" fmla="*/ 81 w 983"/>
                <a:gd name="T9" fmla="*/ 417 h 981"/>
                <a:gd name="T10" fmla="*/ 40 w 983"/>
                <a:gd name="T11" fmla="*/ 454 h 981"/>
                <a:gd name="T12" fmla="*/ 35 w 983"/>
                <a:gd name="T13" fmla="*/ 511 h 981"/>
                <a:gd name="T14" fmla="*/ 37 w 983"/>
                <a:gd name="T15" fmla="*/ 513 h 981"/>
                <a:gd name="T16" fmla="*/ 208 w 983"/>
                <a:gd name="T17" fmla="*/ 656 h 981"/>
                <a:gd name="T18" fmla="*/ 481 w 983"/>
                <a:gd name="T19" fmla="*/ 882 h 981"/>
                <a:gd name="T20" fmla="*/ 510 w 983"/>
                <a:gd name="T21" fmla="*/ 904 h 981"/>
                <a:gd name="T22" fmla="*/ 538 w 983"/>
                <a:gd name="T23" fmla="*/ 923 h 981"/>
                <a:gd name="T24" fmla="*/ 582 w 983"/>
                <a:gd name="T25" fmla="*/ 953 h 981"/>
                <a:gd name="T26" fmla="*/ 610 w 983"/>
                <a:gd name="T27" fmla="*/ 973 h 981"/>
                <a:gd name="T28" fmla="*/ 774 w 983"/>
                <a:gd name="T29" fmla="*/ 886 h 981"/>
                <a:gd name="T30" fmla="*/ 963 w 983"/>
                <a:gd name="T31" fmla="*/ 691 h 981"/>
                <a:gd name="T32" fmla="*/ 909 w 983"/>
                <a:gd name="T33" fmla="*/ 684 h 981"/>
                <a:gd name="T34" fmla="*/ 893 w 983"/>
                <a:gd name="T35" fmla="*/ 639 h 981"/>
                <a:gd name="T36" fmla="*/ 889 w 983"/>
                <a:gd name="T37" fmla="*/ 569 h 981"/>
                <a:gd name="T38" fmla="*/ 880 w 983"/>
                <a:gd name="T39" fmla="*/ 515 h 981"/>
                <a:gd name="T40" fmla="*/ 883 w 983"/>
                <a:gd name="T41" fmla="*/ 488 h 981"/>
                <a:gd name="T42" fmla="*/ 862 w 983"/>
                <a:gd name="T43" fmla="*/ 381 h 981"/>
                <a:gd name="T44" fmla="*/ 870 w 983"/>
                <a:gd name="T45" fmla="*/ 373 h 981"/>
                <a:gd name="T46" fmla="*/ 817 w 983"/>
                <a:gd name="T47" fmla="*/ 252 h 981"/>
                <a:gd name="T48" fmla="*/ 789 w 983"/>
                <a:gd name="T49" fmla="*/ 213 h 981"/>
                <a:gd name="T50" fmla="*/ 782 w 983"/>
                <a:gd name="T51" fmla="*/ 194 h 981"/>
                <a:gd name="T52" fmla="*/ 798 w 983"/>
                <a:gd name="T53" fmla="*/ 148 h 981"/>
                <a:gd name="T54" fmla="*/ 820 w 983"/>
                <a:gd name="T55" fmla="*/ 105 h 981"/>
                <a:gd name="T56" fmla="*/ 820 w 983"/>
                <a:gd name="T57" fmla="*/ 38 h 981"/>
                <a:gd name="T58" fmla="*/ 835 w 983"/>
                <a:gd name="T59" fmla="*/ 21 h 981"/>
                <a:gd name="T60" fmla="*/ 815 w 983"/>
                <a:gd name="T61" fmla="*/ 10 h 981"/>
                <a:gd name="T62" fmla="*/ 779 w 983"/>
                <a:gd name="T63" fmla="*/ 3 h 981"/>
                <a:gd name="T64" fmla="*/ 769 w 983"/>
                <a:gd name="T65" fmla="*/ 14 h 981"/>
                <a:gd name="T66" fmla="*/ 728 w 983"/>
                <a:gd name="T67" fmla="*/ 0 h 981"/>
                <a:gd name="T68" fmla="*/ 704 w 983"/>
                <a:gd name="T69" fmla="*/ 14 h 981"/>
                <a:gd name="T70" fmla="*/ 631 w 983"/>
                <a:gd name="T71" fmla="*/ 18 h 981"/>
                <a:gd name="T72" fmla="*/ 545 w 983"/>
                <a:gd name="T73" fmla="*/ 27 h 981"/>
                <a:gd name="T74" fmla="*/ 503 w 983"/>
                <a:gd name="T75" fmla="*/ 33 h 981"/>
                <a:gd name="T76" fmla="*/ 446 w 983"/>
                <a:gd name="T77" fmla="*/ 72 h 981"/>
                <a:gd name="T78" fmla="*/ 355 w 983"/>
                <a:gd name="T79" fmla="*/ 113 h 981"/>
                <a:gd name="T80" fmla="*/ 349 w 983"/>
                <a:gd name="T81" fmla="*/ 112 h 981"/>
                <a:gd name="T82" fmla="*/ 360 w 983"/>
                <a:gd name="T83" fmla="*/ 141 h 981"/>
                <a:gd name="T84" fmla="*/ 365 w 983"/>
                <a:gd name="T85" fmla="*/ 186 h 981"/>
                <a:gd name="T86" fmla="*/ 364 w 983"/>
                <a:gd name="T87" fmla="*/ 218 h 981"/>
                <a:gd name="T88" fmla="*/ 375 w 983"/>
                <a:gd name="T89" fmla="*/ 238 h 981"/>
                <a:gd name="T90" fmla="*/ 382 w 983"/>
                <a:gd name="T91" fmla="*/ 259 h 981"/>
                <a:gd name="T92" fmla="*/ 343 w 983"/>
                <a:gd name="T93" fmla="*/ 274 h 981"/>
                <a:gd name="T94" fmla="*/ 321 w 983"/>
                <a:gd name="T95" fmla="*/ 275 h 981"/>
                <a:gd name="T96" fmla="*/ 303 w 983"/>
                <a:gd name="T97" fmla="*/ 288 h 981"/>
                <a:gd name="T98" fmla="*/ 267 w 983"/>
                <a:gd name="T99" fmla="*/ 318 h 981"/>
                <a:gd name="T100" fmla="*/ 260 w 983"/>
                <a:gd name="T101" fmla="*/ 337 h 9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83" h="981">
                  <a:moveTo>
                    <a:pt x="242" y="356"/>
                  </a:moveTo>
                  <a:cubicBezTo>
                    <a:pt x="236" y="356"/>
                    <a:pt x="212" y="357"/>
                    <a:pt x="212" y="357"/>
                  </a:cubicBezTo>
                  <a:cubicBezTo>
                    <a:pt x="212" y="357"/>
                    <a:pt x="197" y="388"/>
                    <a:pt x="189" y="391"/>
                  </a:cubicBezTo>
                  <a:cubicBezTo>
                    <a:pt x="181" y="394"/>
                    <a:pt x="155" y="390"/>
                    <a:pt x="155" y="390"/>
                  </a:cubicBezTo>
                  <a:cubicBezTo>
                    <a:pt x="154" y="398"/>
                    <a:pt x="154" y="398"/>
                    <a:pt x="154" y="398"/>
                  </a:cubicBezTo>
                  <a:cubicBezTo>
                    <a:pt x="136" y="399"/>
                    <a:pt x="136" y="399"/>
                    <a:pt x="136" y="399"/>
                  </a:cubicBezTo>
                  <a:cubicBezTo>
                    <a:pt x="136" y="399"/>
                    <a:pt x="136" y="411"/>
                    <a:pt x="130" y="412"/>
                  </a:cubicBezTo>
                  <a:cubicBezTo>
                    <a:pt x="124" y="413"/>
                    <a:pt x="111" y="404"/>
                    <a:pt x="111" y="404"/>
                  </a:cubicBezTo>
                  <a:cubicBezTo>
                    <a:pt x="93" y="418"/>
                    <a:pt x="93" y="418"/>
                    <a:pt x="93" y="418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81" y="417"/>
                    <a:pt x="67" y="437"/>
                    <a:pt x="60" y="442"/>
                  </a:cubicBezTo>
                  <a:cubicBezTo>
                    <a:pt x="53" y="447"/>
                    <a:pt x="40" y="454"/>
                    <a:pt x="40" y="454"/>
                  </a:cubicBezTo>
                  <a:cubicBezTo>
                    <a:pt x="37" y="472"/>
                    <a:pt x="37" y="472"/>
                    <a:pt x="37" y="472"/>
                  </a:cubicBezTo>
                  <a:cubicBezTo>
                    <a:pt x="35" y="511"/>
                    <a:pt x="35" y="511"/>
                    <a:pt x="35" y="511"/>
                  </a:cubicBezTo>
                  <a:cubicBezTo>
                    <a:pt x="0" y="511"/>
                    <a:pt x="0" y="511"/>
                    <a:pt x="0" y="511"/>
                  </a:cubicBezTo>
                  <a:cubicBezTo>
                    <a:pt x="37" y="513"/>
                    <a:pt x="37" y="513"/>
                    <a:pt x="37" y="513"/>
                  </a:cubicBezTo>
                  <a:cubicBezTo>
                    <a:pt x="35" y="535"/>
                    <a:pt x="35" y="535"/>
                    <a:pt x="35" y="535"/>
                  </a:cubicBezTo>
                  <a:cubicBezTo>
                    <a:pt x="208" y="656"/>
                    <a:pt x="208" y="656"/>
                    <a:pt x="208" y="656"/>
                  </a:cubicBezTo>
                  <a:cubicBezTo>
                    <a:pt x="482" y="865"/>
                    <a:pt x="482" y="865"/>
                    <a:pt x="482" y="865"/>
                  </a:cubicBezTo>
                  <a:cubicBezTo>
                    <a:pt x="481" y="882"/>
                    <a:pt x="481" y="882"/>
                    <a:pt x="481" y="882"/>
                  </a:cubicBezTo>
                  <a:cubicBezTo>
                    <a:pt x="481" y="882"/>
                    <a:pt x="498" y="878"/>
                    <a:pt x="500" y="886"/>
                  </a:cubicBezTo>
                  <a:cubicBezTo>
                    <a:pt x="502" y="894"/>
                    <a:pt x="500" y="901"/>
                    <a:pt x="510" y="904"/>
                  </a:cubicBezTo>
                  <a:cubicBezTo>
                    <a:pt x="520" y="907"/>
                    <a:pt x="533" y="905"/>
                    <a:pt x="533" y="905"/>
                  </a:cubicBezTo>
                  <a:cubicBezTo>
                    <a:pt x="538" y="923"/>
                    <a:pt x="538" y="923"/>
                    <a:pt x="538" y="923"/>
                  </a:cubicBezTo>
                  <a:cubicBezTo>
                    <a:pt x="538" y="923"/>
                    <a:pt x="561" y="917"/>
                    <a:pt x="571" y="925"/>
                  </a:cubicBezTo>
                  <a:cubicBezTo>
                    <a:pt x="581" y="933"/>
                    <a:pt x="582" y="953"/>
                    <a:pt x="582" y="953"/>
                  </a:cubicBezTo>
                  <a:cubicBezTo>
                    <a:pt x="582" y="953"/>
                    <a:pt x="558" y="967"/>
                    <a:pt x="573" y="974"/>
                  </a:cubicBezTo>
                  <a:cubicBezTo>
                    <a:pt x="588" y="981"/>
                    <a:pt x="610" y="973"/>
                    <a:pt x="610" y="973"/>
                  </a:cubicBezTo>
                  <a:cubicBezTo>
                    <a:pt x="610" y="973"/>
                    <a:pt x="679" y="958"/>
                    <a:pt x="693" y="956"/>
                  </a:cubicBezTo>
                  <a:cubicBezTo>
                    <a:pt x="707" y="954"/>
                    <a:pt x="752" y="901"/>
                    <a:pt x="774" y="886"/>
                  </a:cubicBezTo>
                  <a:cubicBezTo>
                    <a:pt x="796" y="871"/>
                    <a:pt x="983" y="735"/>
                    <a:pt x="983" y="735"/>
                  </a:cubicBezTo>
                  <a:cubicBezTo>
                    <a:pt x="983" y="735"/>
                    <a:pt x="968" y="694"/>
                    <a:pt x="963" y="691"/>
                  </a:cubicBezTo>
                  <a:cubicBezTo>
                    <a:pt x="958" y="688"/>
                    <a:pt x="930" y="675"/>
                    <a:pt x="924" y="678"/>
                  </a:cubicBezTo>
                  <a:cubicBezTo>
                    <a:pt x="918" y="681"/>
                    <a:pt x="913" y="686"/>
                    <a:pt x="909" y="684"/>
                  </a:cubicBezTo>
                  <a:cubicBezTo>
                    <a:pt x="905" y="682"/>
                    <a:pt x="893" y="671"/>
                    <a:pt x="893" y="664"/>
                  </a:cubicBezTo>
                  <a:cubicBezTo>
                    <a:pt x="893" y="657"/>
                    <a:pt x="898" y="647"/>
                    <a:pt x="893" y="639"/>
                  </a:cubicBezTo>
                  <a:cubicBezTo>
                    <a:pt x="888" y="631"/>
                    <a:pt x="861" y="595"/>
                    <a:pt x="862" y="589"/>
                  </a:cubicBezTo>
                  <a:cubicBezTo>
                    <a:pt x="863" y="583"/>
                    <a:pt x="889" y="581"/>
                    <a:pt x="889" y="569"/>
                  </a:cubicBezTo>
                  <a:cubicBezTo>
                    <a:pt x="889" y="557"/>
                    <a:pt x="885" y="551"/>
                    <a:pt x="885" y="551"/>
                  </a:cubicBezTo>
                  <a:cubicBezTo>
                    <a:pt x="880" y="515"/>
                    <a:pt x="880" y="515"/>
                    <a:pt x="880" y="515"/>
                  </a:cubicBezTo>
                  <a:cubicBezTo>
                    <a:pt x="889" y="502"/>
                    <a:pt x="889" y="502"/>
                    <a:pt x="889" y="502"/>
                  </a:cubicBezTo>
                  <a:cubicBezTo>
                    <a:pt x="883" y="488"/>
                    <a:pt x="883" y="488"/>
                    <a:pt x="883" y="488"/>
                  </a:cubicBezTo>
                  <a:cubicBezTo>
                    <a:pt x="883" y="488"/>
                    <a:pt x="892" y="458"/>
                    <a:pt x="891" y="448"/>
                  </a:cubicBezTo>
                  <a:cubicBezTo>
                    <a:pt x="890" y="438"/>
                    <a:pt x="863" y="387"/>
                    <a:pt x="862" y="381"/>
                  </a:cubicBezTo>
                  <a:cubicBezTo>
                    <a:pt x="862" y="378"/>
                    <a:pt x="866" y="376"/>
                    <a:pt x="870" y="373"/>
                  </a:cubicBezTo>
                  <a:cubicBezTo>
                    <a:pt x="870" y="373"/>
                    <a:pt x="870" y="373"/>
                    <a:pt x="870" y="373"/>
                  </a:cubicBezTo>
                  <a:cubicBezTo>
                    <a:pt x="864" y="350"/>
                    <a:pt x="849" y="288"/>
                    <a:pt x="849" y="277"/>
                  </a:cubicBezTo>
                  <a:cubicBezTo>
                    <a:pt x="849" y="264"/>
                    <a:pt x="817" y="252"/>
                    <a:pt x="817" y="252"/>
                  </a:cubicBezTo>
                  <a:cubicBezTo>
                    <a:pt x="817" y="252"/>
                    <a:pt x="817" y="234"/>
                    <a:pt x="816" y="226"/>
                  </a:cubicBezTo>
                  <a:cubicBezTo>
                    <a:pt x="815" y="218"/>
                    <a:pt x="789" y="213"/>
                    <a:pt x="789" y="213"/>
                  </a:cubicBezTo>
                  <a:cubicBezTo>
                    <a:pt x="789" y="194"/>
                    <a:pt x="789" y="194"/>
                    <a:pt x="789" y="194"/>
                  </a:cubicBezTo>
                  <a:cubicBezTo>
                    <a:pt x="782" y="194"/>
                    <a:pt x="782" y="194"/>
                    <a:pt x="782" y="194"/>
                  </a:cubicBezTo>
                  <a:cubicBezTo>
                    <a:pt x="782" y="194"/>
                    <a:pt x="782" y="181"/>
                    <a:pt x="782" y="171"/>
                  </a:cubicBezTo>
                  <a:cubicBezTo>
                    <a:pt x="782" y="161"/>
                    <a:pt x="798" y="148"/>
                    <a:pt x="798" y="148"/>
                  </a:cubicBezTo>
                  <a:cubicBezTo>
                    <a:pt x="812" y="137"/>
                    <a:pt x="812" y="137"/>
                    <a:pt x="812" y="137"/>
                  </a:cubicBezTo>
                  <a:cubicBezTo>
                    <a:pt x="812" y="137"/>
                    <a:pt x="819" y="115"/>
                    <a:pt x="820" y="105"/>
                  </a:cubicBezTo>
                  <a:cubicBezTo>
                    <a:pt x="821" y="95"/>
                    <a:pt x="819" y="83"/>
                    <a:pt x="815" y="76"/>
                  </a:cubicBezTo>
                  <a:cubicBezTo>
                    <a:pt x="811" y="69"/>
                    <a:pt x="820" y="38"/>
                    <a:pt x="820" y="38"/>
                  </a:cubicBezTo>
                  <a:cubicBezTo>
                    <a:pt x="807" y="34"/>
                    <a:pt x="807" y="34"/>
                    <a:pt x="807" y="34"/>
                  </a:cubicBezTo>
                  <a:cubicBezTo>
                    <a:pt x="835" y="21"/>
                    <a:pt x="835" y="21"/>
                    <a:pt x="835" y="21"/>
                  </a:cubicBezTo>
                  <a:cubicBezTo>
                    <a:pt x="835" y="11"/>
                    <a:pt x="835" y="11"/>
                    <a:pt x="835" y="11"/>
                  </a:cubicBezTo>
                  <a:cubicBezTo>
                    <a:pt x="826" y="11"/>
                    <a:pt x="815" y="10"/>
                    <a:pt x="815" y="10"/>
                  </a:cubicBezTo>
                  <a:cubicBezTo>
                    <a:pt x="806" y="15"/>
                    <a:pt x="806" y="15"/>
                    <a:pt x="806" y="15"/>
                  </a:cubicBezTo>
                  <a:cubicBezTo>
                    <a:pt x="779" y="3"/>
                    <a:pt x="779" y="3"/>
                    <a:pt x="779" y="3"/>
                  </a:cubicBezTo>
                  <a:cubicBezTo>
                    <a:pt x="769" y="5"/>
                    <a:pt x="769" y="5"/>
                    <a:pt x="769" y="5"/>
                  </a:cubicBezTo>
                  <a:cubicBezTo>
                    <a:pt x="769" y="14"/>
                    <a:pt x="769" y="14"/>
                    <a:pt x="769" y="14"/>
                  </a:cubicBezTo>
                  <a:cubicBezTo>
                    <a:pt x="744" y="12"/>
                    <a:pt x="744" y="12"/>
                    <a:pt x="744" y="12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724" y="19"/>
                    <a:pt x="724" y="19"/>
                    <a:pt x="724" y="19"/>
                  </a:cubicBezTo>
                  <a:cubicBezTo>
                    <a:pt x="704" y="14"/>
                    <a:pt x="704" y="14"/>
                    <a:pt x="704" y="14"/>
                  </a:cubicBezTo>
                  <a:cubicBezTo>
                    <a:pt x="686" y="29"/>
                    <a:pt x="686" y="29"/>
                    <a:pt x="686" y="29"/>
                  </a:cubicBezTo>
                  <a:cubicBezTo>
                    <a:pt x="686" y="29"/>
                    <a:pt x="662" y="17"/>
                    <a:pt x="631" y="18"/>
                  </a:cubicBezTo>
                  <a:cubicBezTo>
                    <a:pt x="600" y="19"/>
                    <a:pt x="599" y="26"/>
                    <a:pt x="585" y="27"/>
                  </a:cubicBezTo>
                  <a:cubicBezTo>
                    <a:pt x="571" y="28"/>
                    <a:pt x="545" y="27"/>
                    <a:pt x="545" y="27"/>
                  </a:cubicBezTo>
                  <a:cubicBezTo>
                    <a:pt x="542" y="34"/>
                    <a:pt x="542" y="34"/>
                    <a:pt x="542" y="34"/>
                  </a:cubicBezTo>
                  <a:cubicBezTo>
                    <a:pt x="503" y="33"/>
                    <a:pt x="503" y="33"/>
                    <a:pt x="503" y="33"/>
                  </a:cubicBezTo>
                  <a:cubicBezTo>
                    <a:pt x="503" y="33"/>
                    <a:pt x="456" y="43"/>
                    <a:pt x="455" y="51"/>
                  </a:cubicBezTo>
                  <a:cubicBezTo>
                    <a:pt x="454" y="59"/>
                    <a:pt x="446" y="72"/>
                    <a:pt x="446" y="72"/>
                  </a:cubicBezTo>
                  <a:cubicBezTo>
                    <a:pt x="446" y="72"/>
                    <a:pt x="396" y="74"/>
                    <a:pt x="394" y="83"/>
                  </a:cubicBezTo>
                  <a:cubicBezTo>
                    <a:pt x="392" y="92"/>
                    <a:pt x="370" y="113"/>
                    <a:pt x="355" y="113"/>
                  </a:cubicBezTo>
                  <a:cubicBezTo>
                    <a:pt x="353" y="113"/>
                    <a:pt x="351" y="113"/>
                    <a:pt x="349" y="112"/>
                  </a:cubicBezTo>
                  <a:cubicBezTo>
                    <a:pt x="349" y="112"/>
                    <a:pt x="349" y="112"/>
                    <a:pt x="349" y="112"/>
                  </a:cubicBezTo>
                  <a:cubicBezTo>
                    <a:pt x="350" y="116"/>
                    <a:pt x="354" y="125"/>
                    <a:pt x="364" y="129"/>
                  </a:cubicBezTo>
                  <a:cubicBezTo>
                    <a:pt x="364" y="130"/>
                    <a:pt x="360" y="141"/>
                    <a:pt x="360" y="141"/>
                  </a:cubicBezTo>
                  <a:cubicBezTo>
                    <a:pt x="368" y="141"/>
                    <a:pt x="368" y="141"/>
                    <a:pt x="368" y="141"/>
                  </a:cubicBezTo>
                  <a:cubicBezTo>
                    <a:pt x="365" y="186"/>
                    <a:pt x="365" y="186"/>
                    <a:pt x="365" y="186"/>
                  </a:cubicBezTo>
                  <a:cubicBezTo>
                    <a:pt x="371" y="197"/>
                    <a:pt x="371" y="197"/>
                    <a:pt x="371" y="197"/>
                  </a:cubicBezTo>
                  <a:cubicBezTo>
                    <a:pt x="364" y="218"/>
                    <a:pt x="364" y="218"/>
                    <a:pt x="364" y="218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5" y="238"/>
                    <a:pt x="375" y="238"/>
                    <a:pt x="375" y="238"/>
                  </a:cubicBezTo>
                  <a:cubicBezTo>
                    <a:pt x="393" y="250"/>
                    <a:pt x="393" y="250"/>
                    <a:pt x="393" y="250"/>
                  </a:cubicBezTo>
                  <a:cubicBezTo>
                    <a:pt x="393" y="250"/>
                    <a:pt x="384" y="256"/>
                    <a:pt x="382" y="259"/>
                  </a:cubicBezTo>
                  <a:cubicBezTo>
                    <a:pt x="380" y="262"/>
                    <a:pt x="381" y="269"/>
                    <a:pt x="381" y="269"/>
                  </a:cubicBezTo>
                  <a:cubicBezTo>
                    <a:pt x="343" y="274"/>
                    <a:pt x="343" y="274"/>
                    <a:pt x="343" y="274"/>
                  </a:cubicBezTo>
                  <a:cubicBezTo>
                    <a:pt x="343" y="274"/>
                    <a:pt x="333" y="268"/>
                    <a:pt x="329" y="268"/>
                  </a:cubicBezTo>
                  <a:cubicBezTo>
                    <a:pt x="325" y="268"/>
                    <a:pt x="321" y="275"/>
                    <a:pt x="321" y="275"/>
                  </a:cubicBezTo>
                  <a:cubicBezTo>
                    <a:pt x="321" y="275"/>
                    <a:pt x="313" y="270"/>
                    <a:pt x="308" y="273"/>
                  </a:cubicBezTo>
                  <a:cubicBezTo>
                    <a:pt x="303" y="276"/>
                    <a:pt x="310" y="283"/>
                    <a:pt x="303" y="288"/>
                  </a:cubicBezTo>
                  <a:cubicBezTo>
                    <a:pt x="296" y="293"/>
                    <a:pt x="274" y="287"/>
                    <a:pt x="266" y="294"/>
                  </a:cubicBezTo>
                  <a:cubicBezTo>
                    <a:pt x="258" y="301"/>
                    <a:pt x="267" y="318"/>
                    <a:pt x="267" y="318"/>
                  </a:cubicBezTo>
                  <a:cubicBezTo>
                    <a:pt x="277" y="330"/>
                    <a:pt x="277" y="330"/>
                    <a:pt x="277" y="330"/>
                  </a:cubicBezTo>
                  <a:cubicBezTo>
                    <a:pt x="260" y="337"/>
                    <a:pt x="260" y="337"/>
                    <a:pt x="260" y="337"/>
                  </a:cubicBezTo>
                  <a:cubicBezTo>
                    <a:pt x="260" y="337"/>
                    <a:pt x="248" y="356"/>
                    <a:pt x="242" y="356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Freeform 308">
              <a:extLst>
                <a:ext uri="{FF2B5EF4-FFF2-40B4-BE49-F238E27FC236}">
                  <a16:creationId xmlns:a16="http://schemas.microsoft.com/office/drawing/2014/main" id="{76536006-09E6-3532-CC40-E2E6382A0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-5415" y="-14196"/>
              <a:ext cx="1727" cy="1741"/>
            </a:xfrm>
            <a:custGeom>
              <a:avLst/>
              <a:gdLst>
                <a:gd name="T0" fmla="*/ 104 w 731"/>
                <a:gd name="T1" fmla="*/ 37 h 737"/>
                <a:gd name="T2" fmla="*/ 69 w 731"/>
                <a:gd name="T3" fmla="*/ 55 h 737"/>
                <a:gd name="T4" fmla="*/ 50 w 731"/>
                <a:gd name="T5" fmla="*/ 78 h 737"/>
                <a:gd name="T6" fmla="*/ 35 w 731"/>
                <a:gd name="T7" fmla="*/ 89 h 737"/>
                <a:gd name="T8" fmla="*/ 44 w 731"/>
                <a:gd name="T9" fmla="*/ 127 h 737"/>
                <a:gd name="T10" fmla="*/ 25 w 731"/>
                <a:gd name="T11" fmla="*/ 153 h 737"/>
                <a:gd name="T12" fmla="*/ 1 w 731"/>
                <a:gd name="T13" fmla="*/ 167 h 737"/>
                <a:gd name="T14" fmla="*/ 30 w 731"/>
                <a:gd name="T15" fmla="*/ 234 h 737"/>
                <a:gd name="T16" fmla="*/ 22 w 731"/>
                <a:gd name="T17" fmla="*/ 274 h 737"/>
                <a:gd name="T18" fmla="*/ 28 w 731"/>
                <a:gd name="T19" fmla="*/ 288 h 737"/>
                <a:gd name="T20" fmla="*/ 19 w 731"/>
                <a:gd name="T21" fmla="*/ 301 h 737"/>
                <a:gd name="T22" fmla="*/ 24 w 731"/>
                <a:gd name="T23" fmla="*/ 337 h 737"/>
                <a:gd name="T24" fmla="*/ 28 w 731"/>
                <a:gd name="T25" fmla="*/ 355 h 737"/>
                <a:gd name="T26" fmla="*/ 1 w 731"/>
                <a:gd name="T27" fmla="*/ 375 h 737"/>
                <a:gd name="T28" fmla="*/ 32 w 731"/>
                <a:gd name="T29" fmla="*/ 425 h 737"/>
                <a:gd name="T30" fmla="*/ 32 w 731"/>
                <a:gd name="T31" fmla="*/ 450 h 737"/>
                <a:gd name="T32" fmla="*/ 48 w 731"/>
                <a:gd name="T33" fmla="*/ 470 h 737"/>
                <a:gd name="T34" fmla="*/ 63 w 731"/>
                <a:gd name="T35" fmla="*/ 464 h 737"/>
                <a:gd name="T36" fmla="*/ 102 w 731"/>
                <a:gd name="T37" fmla="*/ 477 h 737"/>
                <a:gd name="T38" fmla="*/ 122 w 731"/>
                <a:gd name="T39" fmla="*/ 521 h 737"/>
                <a:gd name="T40" fmla="*/ 147 w 731"/>
                <a:gd name="T41" fmla="*/ 527 h 737"/>
                <a:gd name="T42" fmla="*/ 194 w 731"/>
                <a:gd name="T43" fmla="*/ 537 h 737"/>
                <a:gd name="T44" fmla="*/ 228 w 731"/>
                <a:gd name="T45" fmla="*/ 566 h 737"/>
                <a:gd name="T46" fmla="*/ 311 w 731"/>
                <a:gd name="T47" fmla="*/ 521 h 737"/>
                <a:gd name="T48" fmla="*/ 684 w 731"/>
                <a:gd name="T49" fmla="*/ 737 h 737"/>
                <a:gd name="T50" fmla="*/ 683 w 731"/>
                <a:gd name="T51" fmla="*/ 708 h 737"/>
                <a:gd name="T52" fmla="*/ 731 w 731"/>
                <a:gd name="T53" fmla="*/ 707 h 737"/>
                <a:gd name="T54" fmla="*/ 730 w 731"/>
                <a:gd name="T55" fmla="*/ 599 h 737"/>
                <a:gd name="T56" fmla="*/ 717 w 731"/>
                <a:gd name="T57" fmla="*/ 201 h 737"/>
                <a:gd name="T58" fmla="*/ 699 w 731"/>
                <a:gd name="T59" fmla="*/ 163 h 737"/>
                <a:gd name="T60" fmla="*/ 713 w 731"/>
                <a:gd name="T61" fmla="*/ 135 h 737"/>
                <a:gd name="T62" fmla="*/ 703 w 731"/>
                <a:gd name="T63" fmla="*/ 115 h 737"/>
                <a:gd name="T64" fmla="*/ 707 w 731"/>
                <a:gd name="T65" fmla="*/ 94 h 737"/>
                <a:gd name="T66" fmla="*/ 720 w 731"/>
                <a:gd name="T67" fmla="*/ 81 h 737"/>
                <a:gd name="T68" fmla="*/ 716 w 731"/>
                <a:gd name="T69" fmla="*/ 63 h 737"/>
                <a:gd name="T70" fmla="*/ 701 w 731"/>
                <a:gd name="T71" fmla="*/ 68 h 737"/>
                <a:gd name="T72" fmla="*/ 694 w 731"/>
                <a:gd name="T73" fmla="*/ 59 h 737"/>
                <a:gd name="T74" fmla="*/ 682 w 731"/>
                <a:gd name="T75" fmla="*/ 67 h 737"/>
                <a:gd name="T76" fmla="*/ 658 w 731"/>
                <a:gd name="T77" fmla="*/ 50 h 737"/>
                <a:gd name="T78" fmla="*/ 628 w 731"/>
                <a:gd name="T79" fmla="*/ 49 h 737"/>
                <a:gd name="T80" fmla="*/ 617 w 731"/>
                <a:gd name="T81" fmla="*/ 28 h 737"/>
                <a:gd name="T82" fmla="*/ 590 w 731"/>
                <a:gd name="T83" fmla="*/ 23 h 737"/>
                <a:gd name="T84" fmla="*/ 561 w 731"/>
                <a:gd name="T85" fmla="*/ 15 h 737"/>
                <a:gd name="T86" fmla="*/ 553 w 731"/>
                <a:gd name="T87" fmla="*/ 23 h 737"/>
                <a:gd name="T88" fmla="*/ 510 w 731"/>
                <a:gd name="T89" fmla="*/ 31 h 737"/>
                <a:gd name="T90" fmla="*/ 480 w 731"/>
                <a:gd name="T91" fmla="*/ 70 h 737"/>
                <a:gd name="T92" fmla="*/ 496 w 731"/>
                <a:gd name="T93" fmla="*/ 114 h 737"/>
                <a:gd name="T94" fmla="*/ 463 w 731"/>
                <a:gd name="T95" fmla="*/ 154 h 737"/>
                <a:gd name="T96" fmla="*/ 419 w 731"/>
                <a:gd name="T97" fmla="*/ 144 h 737"/>
                <a:gd name="T98" fmla="*/ 351 w 731"/>
                <a:gd name="T99" fmla="*/ 105 h 737"/>
                <a:gd name="T100" fmla="*/ 289 w 731"/>
                <a:gd name="T101" fmla="*/ 97 h 737"/>
                <a:gd name="T102" fmla="*/ 271 w 731"/>
                <a:gd name="T103" fmla="*/ 53 h 737"/>
                <a:gd name="T104" fmla="*/ 244 w 731"/>
                <a:gd name="T105" fmla="*/ 40 h 737"/>
                <a:gd name="T106" fmla="*/ 212 w 731"/>
                <a:gd name="T107" fmla="*/ 21 h 737"/>
                <a:gd name="T108" fmla="*/ 173 w 731"/>
                <a:gd name="T109" fmla="*/ 20 h 737"/>
                <a:gd name="T110" fmla="*/ 143 w 731"/>
                <a:gd name="T111" fmla="*/ 24 h 737"/>
                <a:gd name="T112" fmla="*/ 107 w 731"/>
                <a:gd name="T113" fmla="*/ 3 h 737"/>
                <a:gd name="T114" fmla="*/ 96 w 731"/>
                <a:gd name="T115" fmla="*/ 0 h 737"/>
                <a:gd name="T116" fmla="*/ 93 w 731"/>
                <a:gd name="T117" fmla="*/ 27 h 737"/>
                <a:gd name="T118" fmla="*/ 104 w 731"/>
                <a:gd name="T119" fmla="*/ 37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31" h="737">
                  <a:moveTo>
                    <a:pt x="104" y="37"/>
                  </a:moveTo>
                  <a:cubicBezTo>
                    <a:pt x="100" y="45"/>
                    <a:pt x="75" y="49"/>
                    <a:pt x="69" y="55"/>
                  </a:cubicBezTo>
                  <a:cubicBezTo>
                    <a:pt x="63" y="61"/>
                    <a:pt x="50" y="78"/>
                    <a:pt x="50" y="78"/>
                  </a:cubicBezTo>
                  <a:cubicBezTo>
                    <a:pt x="50" y="78"/>
                    <a:pt x="37" y="83"/>
                    <a:pt x="35" y="89"/>
                  </a:cubicBezTo>
                  <a:cubicBezTo>
                    <a:pt x="33" y="95"/>
                    <a:pt x="43" y="115"/>
                    <a:pt x="44" y="127"/>
                  </a:cubicBezTo>
                  <a:cubicBezTo>
                    <a:pt x="45" y="139"/>
                    <a:pt x="25" y="153"/>
                    <a:pt x="25" y="153"/>
                  </a:cubicBezTo>
                  <a:cubicBezTo>
                    <a:pt x="25" y="153"/>
                    <a:pt x="0" y="161"/>
                    <a:pt x="1" y="167"/>
                  </a:cubicBezTo>
                  <a:cubicBezTo>
                    <a:pt x="2" y="173"/>
                    <a:pt x="29" y="224"/>
                    <a:pt x="30" y="234"/>
                  </a:cubicBezTo>
                  <a:cubicBezTo>
                    <a:pt x="31" y="244"/>
                    <a:pt x="22" y="274"/>
                    <a:pt x="22" y="274"/>
                  </a:cubicBezTo>
                  <a:cubicBezTo>
                    <a:pt x="28" y="288"/>
                    <a:pt x="28" y="288"/>
                    <a:pt x="28" y="288"/>
                  </a:cubicBezTo>
                  <a:cubicBezTo>
                    <a:pt x="19" y="301"/>
                    <a:pt x="19" y="301"/>
                    <a:pt x="19" y="301"/>
                  </a:cubicBezTo>
                  <a:cubicBezTo>
                    <a:pt x="24" y="337"/>
                    <a:pt x="24" y="337"/>
                    <a:pt x="24" y="337"/>
                  </a:cubicBezTo>
                  <a:cubicBezTo>
                    <a:pt x="24" y="337"/>
                    <a:pt x="28" y="343"/>
                    <a:pt x="28" y="355"/>
                  </a:cubicBezTo>
                  <a:cubicBezTo>
                    <a:pt x="28" y="367"/>
                    <a:pt x="2" y="369"/>
                    <a:pt x="1" y="375"/>
                  </a:cubicBezTo>
                  <a:cubicBezTo>
                    <a:pt x="0" y="381"/>
                    <a:pt x="27" y="417"/>
                    <a:pt x="32" y="425"/>
                  </a:cubicBezTo>
                  <a:cubicBezTo>
                    <a:pt x="37" y="433"/>
                    <a:pt x="32" y="443"/>
                    <a:pt x="32" y="450"/>
                  </a:cubicBezTo>
                  <a:cubicBezTo>
                    <a:pt x="32" y="457"/>
                    <a:pt x="44" y="468"/>
                    <a:pt x="48" y="470"/>
                  </a:cubicBezTo>
                  <a:cubicBezTo>
                    <a:pt x="52" y="472"/>
                    <a:pt x="57" y="467"/>
                    <a:pt x="63" y="464"/>
                  </a:cubicBezTo>
                  <a:cubicBezTo>
                    <a:pt x="69" y="461"/>
                    <a:pt x="97" y="474"/>
                    <a:pt x="102" y="477"/>
                  </a:cubicBezTo>
                  <a:cubicBezTo>
                    <a:pt x="107" y="480"/>
                    <a:pt x="122" y="521"/>
                    <a:pt x="122" y="521"/>
                  </a:cubicBezTo>
                  <a:cubicBezTo>
                    <a:pt x="147" y="527"/>
                    <a:pt x="147" y="527"/>
                    <a:pt x="147" y="527"/>
                  </a:cubicBezTo>
                  <a:cubicBezTo>
                    <a:pt x="147" y="527"/>
                    <a:pt x="187" y="535"/>
                    <a:pt x="194" y="537"/>
                  </a:cubicBezTo>
                  <a:cubicBezTo>
                    <a:pt x="201" y="539"/>
                    <a:pt x="217" y="567"/>
                    <a:pt x="228" y="566"/>
                  </a:cubicBezTo>
                  <a:cubicBezTo>
                    <a:pt x="239" y="565"/>
                    <a:pt x="311" y="521"/>
                    <a:pt x="311" y="521"/>
                  </a:cubicBezTo>
                  <a:cubicBezTo>
                    <a:pt x="684" y="737"/>
                    <a:pt x="684" y="737"/>
                    <a:pt x="684" y="737"/>
                  </a:cubicBezTo>
                  <a:cubicBezTo>
                    <a:pt x="683" y="708"/>
                    <a:pt x="683" y="708"/>
                    <a:pt x="683" y="708"/>
                  </a:cubicBezTo>
                  <a:cubicBezTo>
                    <a:pt x="731" y="707"/>
                    <a:pt x="731" y="707"/>
                    <a:pt x="731" y="707"/>
                  </a:cubicBezTo>
                  <a:cubicBezTo>
                    <a:pt x="730" y="599"/>
                    <a:pt x="730" y="599"/>
                    <a:pt x="730" y="599"/>
                  </a:cubicBezTo>
                  <a:cubicBezTo>
                    <a:pt x="730" y="599"/>
                    <a:pt x="717" y="214"/>
                    <a:pt x="717" y="201"/>
                  </a:cubicBezTo>
                  <a:cubicBezTo>
                    <a:pt x="717" y="188"/>
                    <a:pt x="702" y="170"/>
                    <a:pt x="699" y="163"/>
                  </a:cubicBezTo>
                  <a:cubicBezTo>
                    <a:pt x="696" y="156"/>
                    <a:pt x="710" y="144"/>
                    <a:pt x="713" y="135"/>
                  </a:cubicBezTo>
                  <a:cubicBezTo>
                    <a:pt x="716" y="126"/>
                    <a:pt x="704" y="119"/>
                    <a:pt x="703" y="115"/>
                  </a:cubicBezTo>
                  <a:cubicBezTo>
                    <a:pt x="702" y="111"/>
                    <a:pt x="702" y="97"/>
                    <a:pt x="707" y="94"/>
                  </a:cubicBezTo>
                  <a:cubicBezTo>
                    <a:pt x="711" y="92"/>
                    <a:pt x="717" y="85"/>
                    <a:pt x="720" y="81"/>
                  </a:cubicBezTo>
                  <a:cubicBezTo>
                    <a:pt x="714" y="72"/>
                    <a:pt x="716" y="63"/>
                    <a:pt x="716" y="63"/>
                  </a:cubicBezTo>
                  <a:cubicBezTo>
                    <a:pt x="701" y="68"/>
                    <a:pt x="701" y="68"/>
                    <a:pt x="701" y="68"/>
                  </a:cubicBezTo>
                  <a:cubicBezTo>
                    <a:pt x="694" y="59"/>
                    <a:pt x="694" y="59"/>
                    <a:pt x="694" y="59"/>
                  </a:cubicBezTo>
                  <a:cubicBezTo>
                    <a:pt x="694" y="59"/>
                    <a:pt x="689" y="67"/>
                    <a:pt x="682" y="67"/>
                  </a:cubicBezTo>
                  <a:cubicBezTo>
                    <a:pt x="675" y="67"/>
                    <a:pt x="667" y="50"/>
                    <a:pt x="658" y="50"/>
                  </a:cubicBezTo>
                  <a:cubicBezTo>
                    <a:pt x="649" y="50"/>
                    <a:pt x="639" y="57"/>
                    <a:pt x="628" y="49"/>
                  </a:cubicBezTo>
                  <a:cubicBezTo>
                    <a:pt x="617" y="41"/>
                    <a:pt x="626" y="32"/>
                    <a:pt x="617" y="28"/>
                  </a:cubicBezTo>
                  <a:cubicBezTo>
                    <a:pt x="608" y="24"/>
                    <a:pt x="590" y="23"/>
                    <a:pt x="590" y="23"/>
                  </a:cubicBezTo>
                  <a:cubicBezTo>
                    <a:pt x="590" y="23"/>
                    <a:pt x="569" y="15"/>
                    <a:pt x="561" y="15"/>
                  </a:cubicBezTo>
                  <a:cubicBezTo>
                    <a:pt x="553" y="15"/>
                    <a:pt x="553" y="23"/>
                    <a:pt x="553" y="23"/>
                  </a:cubicBezTo>
                  <a:cubicBezTo>
                    <a:pt x="553" y="23"/>
                    <a:pt x="523" y="21"/>
                    <a:pt x="510" y="31"/>
                  </a:cubicBezTo>
                  <a:cubicBezTo>
                    <a:pt x="497" y="41"/>
                    <a:pt x="480" y="54"/>
                    <a:pt x="480" y="70"/>
                  </a:cubicBezTo>
                  <a:cubicBezTo>
                    <a:pt x="480" y="86"/>
                    <a:pt x="496" y="105"/>
                    <a:pt x="496" y="114"/>
                  </a:cubicBezTo>
                  <a:cubicBezTo>
                    <a:pt x="496" y="123"/>
                    <a:pt x="475" y="152"/>
                    <a:pt x="463" y="154"/>
                  </a:cubicBezTo>
                  <a:cubicBezTo>
                    <a:pt x="451" y="156"/>
                    <a:pt x="433" y="159"/>
                    <a:pt x="419" y="144"/>
                  </a:cubicBezTo>
                  <a:cubicBezTo>
                    <a:pt x="405" y="129"/>
                    <a:pt x="366" y="106"/>
                    <a:pt x="351" y="105"/>
                  </a:cubicBezTo>
                  <a:cubicBezTo>
                    <a:pt x="336" y="104"/>
                    <a:pt x="302" y="113"/>
                    <a:pt x="289" y="97"/>
                  </a:cubicBezTo>
                  <a:cubicBezTo>
                    <a:pt x="276" y="81"/>
                    <a:pt x="280" y="69"/>
                    <a:pt x="271" y="53"/>
                  </a:cubicBezTo>
                  <a:cubicBezTo>
                    <a:pt x="262" y="37"/>
                    <a:pt x="244" y="40"/>
                    <a:pt x="244" y="40"/>
                  </a:cubicBezTo>
                  <a:cubicBezTo>
                    <a:pt x="244" y="40"/>
                    <a:pt x="220" y="22"/>
                    <a:pt x="212" y="21"/>
                  </a:cubicBezTo>
                  <a:cubicBezTo>
                    <a:pt x="204" y="20"/>
                    <a:pt x="180" y="19"/>
                    <a:pt x="173" y="20"/>
                  </a:cubicBezTo>
                  <a:cubicBezTo>
                    <a:pt x="166" y="21"/>
                    <a:pt x="154" y="28"/>
                    <a:pt x="143" y="24"/>
                  </a:cubicBezTo>
                  <a:cubicBezTo>
                    <a:pt x="132" y="20"/>
                    <a:pt x="112" y="4"/>
                    <a:pt x="107" y="3"/>
                  </a:cubicBezTo>
                  <a:cubicBezTo>
                    <a:pt x="104" y="2"/>
                    <a:pt x="100" y="1"/>
                    <a:pt x="96" y="0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7"/>
                    <a:pt x="108" y="29"/>
                    <a:pt x="104" y="37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Freeform 309">
              <a:extLst>
                <a:ext uri="{FF2B5EF4-FFF2-40B4-BE49-F238E27FC236}">
                  <a16:creationId xmlns:a16="http://schemas.microsoft.com/office/drawing/2014/main" id="{CF5685A9-8714-4CCC-9471-2CF02916B0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5164" y="-9436"/>
              <a:ext cx="1410" cy="1736"/>
            </a:xfrm>
            <a:custGeom>
              <a:avLst/>
              <a:gdLst>
                <a:gd name="T0" fmla="*/ 32 w 597"/>
                <a:gd name="T1" fmla="*/ 79 h 735"/>
                <a:gd name="T2" fmla="*/ 41 w 597"/>
                <a:gd name="T3" fmla="*/ 42 h 735"/>
                <a:gd name="T4" fmla="*/ 68 w 597"/>
                <a:gd name="T5" fmla="*/ 17 h 735"/>
                <a:gd name="T6" fmla="*/ 38 w 597"/>
                <a:gd name="T7" fmla="*/ 15 h 735"/>
                <a:gd name="T8" fmla="*/ 27 w 597"/>
                <a:gd name="T9" fmla="*/ 29 h 735"/>
                <a:gd name="T10" fmla="*/ 26 w 597"/>
                <a:gd name="T11" fmla="*/ 39 h 735"/>
                <a:gd name="T12" fmla="*/ 583 w 597"/>
                <a:gd name="T13" fmla="*/ 362 h 735"/>
                <a:gd name="T14" fmla="*/ 558 w 597"/>
                <a:gd name="T15" fmla="*/ 357 h 735"/>
                <a:gd name="T16" fmla="*/ 535 w 597"/>
                <a:gd name="T17" fmla="*/ 367 h 735"/>
                <a:gd name="T18" fmla="*/ 511 w 597"/>
                <a:gd name="T19" fmla="*/ 375 h 735"/>
                <a:gd name="T20" fmla="*/ 503 w 597"/>
                <a:gd name="T21" fmla="*/ 346 h 735"/>
                <a:gd name="T22" fmla="*/ 496 w 597"/>
                <a:gd name="T23" fmla="*/ 299 h 735"/>
                <a:gd name="T24" fmla="*/ 488 w 597"/>
                <a:gd name="T25" fmla="*/ 256 h 735"/>
                <a:gd name="T26" fmla="*/ 493 w 597"/>
                <a:gd name="T27" fmla="*/ 224 h 735"/>
                <a:gd name="T28" fmla="*/ 477 w 597"/>
                <a:gd name="T29" fmla="*/ 190 h 735"/>
                <a:gd name="T30" fmla="*/ 484 w 597"/>
                <a:gd name="T31" fmla="*/ 162 h 735"/>
                <a:gd name="T32" fmla="*/ 423 w 597"/>
                <a:gd name="T33" fmla="*/ 155 h 735"/>
                <a:gd name="T34" fmla="*/ 409 w 597"/>
                <a:gd name="T35" fmla="*/ 148 h 735"/>
                <a:gd name="T36" fmla="*/ 381 w 597"/>
                <a:gd name="T37" fmla="*/ 170 h 735"/>
                <a:gd name="T38" fmla="*/ 369 w 597"/>
                <a:gd name="T39" fmla="*/ 197 h 735"/>
                <a:gd name="T40" fmla="*/ 335 w 597"/>
                <a:gd name="T41" fmla="*/ 195 h 735"/>
                <a:gd name="T42" fmla="*/ 313 w 597"/>
                <a:gd name="T43" fmla="*/ 201 h 735"/>
                <a:gd name="T44" fmla="*/ 302 w 597"/>
                <a:gd name="T45" fmla="*/ 203 h 735"/>
                <a:gd name="T46" fmla="*/ 278 w 597"/>
                <a:gd name="T47" fmla="*/ 194 h 735"/>
                <a:gd name="T48" fmla="*/ 265 w 597"/>
                <a:gd name="T49" fmla="*/ 172 h 735"/>
                <a:gd name="T50" fmla="*/ 255 w 597"/>
                <a:gd name="T51" fmla="*/ 141 h 735"/>
                <a:gd name="T52" fmla="*/ 243 w 597"/>
                <a:gd name="T53" fmla="*/ 98 h 735"/>
                <a:gd name="T54" fmla="*/ 209 w 597"/>
                <a:gd name="T55" fmla="*/ 84 h 735"/>
                <a:gd name="T56" fmla="*/ 185 w 597"/>
                <a:gd name="T57" fmla="*/ 86 h 735"/>
                <a:gd name="T58" fmla="*/ 155 w 597"/>
                <a:gd name="T59" fmla="*/ 84 h 735"/>
                <a:gd name="T60" fmla="*/ 112 w 597"/>
                <a:gd name="T61" fmla="*/ 82 h 735"/>
                <a:gd name="T62" fmla="*/ 89 w 597"/>
                <a:gd name="T63" fmla="*/ 84 h 735"/>
                <a:gd name="T64" fmla="*/ 67 w 597"/>
                <a:gd name="T65" fmla="*/ 84 h 735"/>
                <a:gd name="T66" fmla="*/ 43 w 597"/>
                <a:gd name="T67" fmla="*/ 97 h 735"/>
                <a:gd name="T68" fmla="*/ 48 w 597"/>
                <a:gd name="T69" fmla="*/ 128 h 735"/>
                <a:gd name="T70" fmla="*/ 56 w 597"/>
                <a:gd name="T71" fmla="*/ 157 h 735"/>
                <a:gd name="T72" fmla="*/ 69 w 597"/>
                <a:gd name="T73" fmla="*/ 254 h 735"/>
                <a:gd name="T74" fmla="*/ 75 w 597"/>
                <a:gd name="T75" fmla="*/ 270 h 735"/>
                <a:gd name="T76" fmla="*/ 108 w 597"/>
                <a:gd name="T77" fmla="*/ 388 h 735"/>
                <a:gd name="T78" fmla="*/ 93 w 597"/>
                <a:gd name="T79" fmla="*/ 442 h 735"/>
                <a:gd name="T80" fmla="*/ 66 w 597"/>
                <a:gd name="T81" fmla="*/ 460 h 735"/>
                <a:gd name="T82" fmla="*/ 44 w 597"/>
                <a:gd name="T83" fmla="*/ 484 h 735"/>
                <a:gd name="T84" fmla="*/ 34 w 597"/>
                <a:gd name="T85" fmla="*/ 524 h 735"/>
                <a:gd name="T86" fmla="*/ 21 w 597"/>
                <a:gd name="T87" fmla="*/ 579 h 735"/>
                <a:gd name="T88" fmla="*/ 6 w 597"/>
                <a:gd name="T89" fmla="*/ 618 h 735"/>
                <a:gd name="T90" fmla="*/ 13 w 597"/>
                <a:gd name="T91" fmla="*/ 654 h 735"/>
                <a:gd name="T92" fmla="*/ 3 w 597"/>
                <a:gd name="T93" fmla="*/ 696 h 735"/>
                <a:gd name="T94" fmla="*/ 24 w 597"/>
                <a:gd name="T95" fmla="*/ 691 h 735"/>
                <a:gd name="T96" fmla="*/ 50 w 597"/>
                <a:gd name="T97" fmla="*/ 695 h 735"/>
                <a:gd name="T98" fmla="*/ 81 w 597"/>
                <a:gd name="T99" fmla="*/ 681 h 735"/>
                <a:gd name="T100" fmla="*/ 322 w 597"/>
                <a:gd name="T101" fmla="*/ 703 h 735"/>
                <a:gd name="T102" fmla="*/ 361 w 597"/>
                <a:gd name="T103" fmla="*/ 724 h 735"/>
                <a:gd name="T104" fmla="*/ 411 w 597"/>
                <a:gd name="T105" fmla="*/ 729 h 735"/>
                <a:gd name="T106" fmla="*/ 463 w 597"/>
                <a:gd name="T107" fmla="*/ 735 h 735"/>
                <a:gd name="T108" fmla="*/ 493 w 597"/>
                <a:gd name="T109" fmla="*/ 657 h 735"/>
                <a:gd name="T110" fmla="*/ 487 w 597"/>
                <a:gd name="T111" fmla="*/ 635 h 735"/>
                <a:gd name="T112" fmla="*/ 571 w 597"/>
                <a:gd name="T113" fmla="*/ 470 h 735"/>
                <a:gd name="T114" fmla="*/ 580 w 597"/>
                <a:gd name="T115" fmla="*/ 440 h 735"/>
                <a:gd name="T116" fmla="*/ 585 w 597"/>
                <a:gd name="T117" fmla="*/ 426 h 735"/>
                <a:gd name="T118" fmla="*/ 594 w 597"/>
                <a:gd name="T119" fmla="*/ 386 h 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7" h="735">
                  <a:moveTo>
                    <a:pt x="30" y="77"/>
                  </a:moveTo>
                  <a:cubicBezTo>
                    <a:pt x="30" y="77"/>
                    <a:pt x="31" y="78"/>
                    <a:pt x="32" y="79"/>
                  </a:cubicBezTo>
                  <a:cubicBezTo>
                    <a:pt x="37" y="76"/>
                    <a:pt x="42" y="74"/>
                    <a:pt x="45" y="72"/>
                  </a:cubicBezTo>
                  <a:cubicBezTo>
                    <a:pt x="53" y="68"/>
                    <a:pt x="41" y="42"/>
                    <a:pt x="41" y="42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8" y="17"/>
                    <a:pt x="66" y="0"/>
                    <a:pt x="59" y="1"/>
                  </a:cubicBezTo>
                  <a:cubicBezTo>
                    <a:pt x="52" y="2"/>
                    <a:pt x="38" y="15"/>
                    <a:pt x="38" y="15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6" y="39"/>
                    <a:pt x="26" y="39"/>
                    <a:pt x="26" y="39"/>
                  </a:cubicBezTo>
                  <a:lnTo>
                    <a:pt x="30" y="77"/>
                  </a:lnTo>
                  <a:close/>
                  <a:moveTo>
                    <a:pt x="583" y="362"/>
                  </a:moveTo>
                  <a:cubicBezTo>
                    <a:pt x="569" y="364"/>
                    <a:pt x="569" y="364"/>
                    <a:pt x="569" y="364"/>
                  </a:cubicBezTo>
                  <a:cubicBezTo>
                    <a:pt x="569" y="364"/>
                    <a:pt x="565" y="357"/>
                    <a:pt x="558" y="357"/>
                  </a:cubicBezTo>
                  <a:cubicBezTo>
                    <a:pt x="551" y="357"/>
                    <a:pt x="551" y="362"/>
                    <a:pt x="551" y="362"/>
                  </a:cubicBezTo>
                  <a:cubicBezTo>
                    <a:pt x="535" y="367"/>
                    <a:pt x="535" y="367"/>
                    <a:pt x="535" y="367"/>
                  </a:cubicBezTo>
                  <a:cubicBezTo>
                    <a:pt x="517" y="363"/>
                    <a:pt x="517" y="363"/>
                    <a:pt x="517" y="363"/>
                  </a:cubicBezTo>
                  <a:cubicBezTo>
                    <a:pt x="511" y="375"/>
                    <a:pt x="511" y="375"/>
                    <a:pt x="511" y="375"/>
                  </a:cubicBezTo>
                  <a:cubicBezTo>
                    <a:pt x="511" y="375"/>
                    <a:pt x="503" y="373"/>
                    <a:pt x="500" y="369"/>
                  </a:cubicBezTo>
                  <a:cubicBezTo>
                    <a:pt x="497" y="365"/>
                    <a:pt x="500" y="353"/>
                    <a:pt x="503" y="346"/>
                  </a:cubicBezTo>
                  <a:cubicBezTo>
                    <a:pt x="506" y="339"/>
                    <a:pt x="507" y="324"/>
                    <a:pt x="507" y="324"/>
                  </a:cubicBezTo>
                  <a:cubicBezTo>
                    <a:pt x="507" y="324"/>
                    <a:pt x="503" y="306"/>
                    <a:pt x="496" y="299"/>
                  </a:cubicBezTo>
                  <a:cubicBezTo>
                    <a:pt x="489" y="292"/>
                    <a:pt x="483" y="284"/>
                    <a:pt x="483" y="276"/>
                  </a:cubicBezTo>
                  <a:cubicBezTo>
                    <a:pt x="483" y="268"/>
                    <a:pt x="488" y="256"/>
                    <a:pt x="488" y="256"/>
                  </a:cubicBezTo>
                  <a:cubicBezTo>
                    <a:pt x="485" y="240"/>
                    <a:pt x="485" y="240"/>
                    <a:pt x="485" y="240"/>
                  </a:cubicBezTo>
                  <a:cubicBezTo>
                    <a:pt x="485" y="240"/>
                    <a:pt x="493" y="231"/>
                    <a:pt x="493" y="224"/>
                  </a:cubicBezTo>
                  <a:cubicBezTo>
                    <a:pt x="493" y="217"/>
                    <a:pt x="480" y="204"/>
                    <a:pt x="480" y="204"/>
                  </a:cubicBezTo>
                  <a:cubicBezTo>
                    <a:pt x="477" y="190"/>
                    <a:pt x="477" y="190"/>
                    <a:pt x="477" y="190"/>
                  </a:cubicBezTo>
                  <a:cubicBezTo>
                    <a:pt x="484" y="180"/>
                    <a:pt x="484" y="180"/>
                    <a:pt x="484" y="180"/>
                  </a:cubicBezTo>
                  <a:cubicBezTo>
                    <a:pt x="484" y="162"/>
                    <a:pt x="484" y="162"/>
                    <a:pt x="484" y="162"/>
                  </a:cubicBezTo>
                  <a:cubicBezTo>
                    <a:pt x="424" y="163"/>
                    <a:pt x="424" y="163"/>
                    <a:pt x="424" y="163"/>
                  </a:cubicBezTo>
                  <a:cubicBezTo>
                    <a:pt x="423" y="155"/>
                    <a:pt x="423" y="155"/>
                    <a:pt x="423" y="155"/>
                  </a:cubicBezTo>
                  <a:cubicBezTo>
                    <a:pt x="423" y="155"/>
                    <a:pt x="427" y="146"/>
                    <a:pt x="418" y="143"/>
                  </a:cubicBezTo>
                  <a:cubicBezTo>
                    <a:pt x="409" y="140"/>
                    <a:pt x="409" y="148"/>
                    <a:pt x="409" y="148"/>
                  </a:cubicBezTo>
                  <a:cubicBezTo>
                    <a:pt x="409" y="148"/>
                    <a:pt x="380" y="145"/>
                    <a:pt x="375" y="149"/>
                  </a:cubicBezTo>
                  <a:cubicBezTo>
                    <a:pt x="370" y="153"/>
                    <a:pt x="381" y="165"/>
                    <a:pt x="381" y="170"/>
                  </a:cubicBezTo>
                  <a:cubicBezTo>
                    <a:pt x="381" y="175"/>
                    <a:pt x="374" y="175"/>
                    <a:pt x="371" y="179"/>
                  </a:cubicBezTo>
                  <a:cubicBezTo>
                    <a:pt x="368" y="183"/>
                    <a:pt x="369" y="197"/>
                    <a:pt x="369" y="197"/>
                  </a:cubicBezTo>
                  <a:cubicBezTo>
                    <a:pt x="339" y="200"/>
                    <a:pt x="339" y="200"/>
                    <a:pt x="339" y="200"/>
                  </a:cubicBezTo>
                  <a:cubicBezTo>
                    <a:pt x="335" y="195"/>
                    <a:pt x="335" y="195"/>
                    <a:pt x="335" y="195"/>
                  </a:cubicBezTo>
                  <a:cubicBezTo>
                    <a:pt x="328" y="201"/>
                    <a:pt x="328" y="201"/>
                    <a:pt x="328" y="201"/>
                  </a:cubicBezTo>
                  <a:cubicBezTo>
                    <a:pt x="313" y="201"/>
                    <a:pt x="313" y="201"/>
                    <a:pt x="313" y="201"/>
                  </a:cubicBezTo>
                  <a:cubicBezTo>
                    <a:pt x="309" y="208"/>
                    <a:pt x="309" y="208"/>
                    <a:pt x="309" y="208"/>
                  </a:cubicBezTo>
                  <a:cubicBezTo>
                    <a:pt x="302" y="203"/>
                    <a:pt x="302" y="203"/>
                    <a:pt x="302" y="203"/>
                  </a:cubicBezTo>
                  <a:cubicBezTo>
                    <a:pt x="281" y="204"/>
                    <a:pt x="281" y="204"/>
                    <a:pt x="281" y="204"/>
                  </a:cubicBezTo>
                  <a:cubicBezTo>
                    <a:pt x="278" y="194"/>
                    <a:pt x="278" y="194"/>
                    <a:pt x="278" y="194"/>
                  </a:cubicBezTo>
                  <a:cubicBezTo>
                    <a:pt x="272" y="186"/>
                    <a:pt x="272" y="186"/>
                    <a:pt x="272" y="186"/>
                  </a:cubicBezTo>
                  <a:cubicBezTo>
                    <a:pt x="272" y="186"/>
                    <a:pt x="270" y="178"/>
                    <a:pt x="265" y="172"/>
                  </a:cubicBezTo>
                  <a:cubicBezTo>
                    <a:pt x="260" y="166"/>
                    <a:pt x="254" y="163"/>
                    <a:pt x="254" y="163"/>
                  </a:cubicBezTo>
                  <a:cubicBezTo>
                    <a:pt x="254" y="163"/>
                    <a:pt x="256" y="147"/>
                    <a:pt x="255" y="141"/>
                  </a:cubicBezTo>
                  <a:cubicBezTo>
                    <a:pt x="254" y="135"/>
                    <a:pt x="244" y="128"/>
                    <a:pt x="244" y="128"/>
                  </a:cubicBezTo>
                  <a:cubicBezTo>
                    <a:pt x="243" y="98"/>
                    <a:pt x="243" y="98"/>
                    <a:pt x="243" y="98"/>
                  </a:cubicBezTo>
                  <a:cubicBezTo>
                    <a:pt x="243" y="98"/>
                    <a:pt x="237" y="94"/>
                    <a:pt x="232" y="85"/>
                  </a:cubicBezTo>
                  <a:cubicBezTo>
                    <a:pt x="227" y="76"/>
                    <a:pt x="209" y="84"/>
                    <a:pt x="209" y="84"/>
                  </a:cubicBezTo>
                  <a:cubicBezTo>
                    <a:pt x="195" y="83"/>
                    <a:pt x="195" y="83"/>
                    <a:pt x="195" y="83"/>
                  </a:cubicBezTo>
                  <a:cubicBezTo>
                    <a:pt x="185" y="86"/>
                    <a:pt x="185" y="86"/>
                    <a:pt x="185" y="86"/>
                  </a:cubicBezTo>
                  <a:cubicBezTo>
                    <a:pt x="185" y="86"/>
                    <a:pt x="178" y="86"/>
                    <a:pt x="173" y="86"/>
                  </a:cubicBezTo>
                  <a:cubicBezTo>
                    <a:pt x="168" y="86"/>
                    <a:pt x="155" y="84"/>
                    <a:pt x="155" y="84"/>
                  </a:cubicBezTo>
                  <a:cubicBezTo>
                    <a:pt x="155" y="84"/>
                    <a:pt x="137" y="87"/>
                    <a:pt x="130" y="88"/>
                  </a:cubicBezTo>
                  <a:cubicBezTo>
                    <a:pt x="123" y="89"/>
                    <a:pt x="112" y="82"/>
                    <a:pt x="112" y="82"/>
                  </a:cubicBezTo>
                  <a:cubicBezTo>
                    <a:pt x="97" y="86"/>
                    <a:pt x="97" y="86"/>
                    <a:pt x="97" y="86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84" y="86"/>
                    <a:pt x="84" y="86"/>
                    <a:pt x="84" y="86"/>
                  </a:cubicBezTo>
                  <a:cubicBezTo>
                    <a:pt x="67" y="84"/>
                    <a:pt x="67" y="84"/>
                    <a:pt x="67" y="84"/>
                  </a:cubicBezTo>
                  <a:cubicBezTo>
                    <a:pt x="44" y="94"/>
                    <a:pt x="44" y="94"/>
                    <a:pt x="44" y="94"/>
                  </a:cubicBezTo>
                  <a:cubicBezTo>
                    <a:pt x="44" y="95"/>
                    <a:pt x="44" y="96"/>
                    <a:pt x="43" y="97"/>
                  </a:cubicBezTo>
                  <a:cubicBezTo>
                    <a:pt x="37" y="101"/>
                    <a:pt x="32" y="102"/>
                    <a:pt x="32" y="102"/>
                  </a:cubicBezTo>
                  <a:cubicBezTo>
                    <a:pt x="32" y="102"/>
                    <a:pt x="45" y="121"/>
                    <a:pt x="48" y="128"/>
                  </a:cubicBezTo>
                  <a:cubicBezTo>
                    <a:pt x="51" y="135"/>
                    <a:pt x="60" y="138"/>
                    <a:pt x="60" y="138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157"/>
                    <a:pt x="88" y="194"/>
                    <a:pt x="85" y="221"/>
                  </a:cubicBezTo>
                  <a:cubicBezTo>
                    <a:pt x="82" y="248"/>
                    <a:pt x="69" y="254"/>
                    <a:pt x="69" y="254"/>
                  </a:cubicBezTo>
                  <a:cubicBezTo>
                    <a:pt x="68" y="271"/>
                    <a:pt x="68" y="271"/>
                    <a:pt x="68" y="271"/>
                  </a:cubicBezTo>
                  <a:cubicBezTo>
                    <a:pt x="75" y="270"/>
                    <a:pt x="75" y="270"/>
                    <a:pt x="75" y="270"/>
                  </a:cubicBezTo>
                  <a:cubicBezTo>
                    <a:pt x="75" y="270"/>
                    <a:pt x="71" y="293"/>
                    <a:pt x="85" y="314"/>
                  </a:cubicBezTo>
                  <a:cubicBezTo>
                    <a:pt x="99" y="335"/>
                    <a:pt x="111" y="373"/>
                    <a:pt x="108" y="388"/>
                  </a:cubicBezTo>
                  <a:cubicBezTo>
                    <a:pt x="105" y="403"/>
                    <a:pt x="94" y="420"/>
                    <a:pt x="94" y="420"/>
                  </a:cubicBezTo>
                  <a:cubicBezTo>
                    <a:pt x="94" y="420"/>
                    <a:pt x="101" y="436"/>
                    <a:pt x="93" y="442"/>
                  </a:cubicBezTo>
                  <a:cubicBezTo>
                    <a:pt x="85" y="448"/>
                    <a:pt x="72" y="446"/>
                    <a:pt x="72" y="446"/>
                  </a:cubicBezTo>
                  <a:cubicBezTo>
                    <a:pt x="66" y="460"/>
                    <a:pt x="66" y="460"/>
                    <a:pt x="66" y="460"/>
                  </a:cubicBezTo>
                  <a:cubicBezTo>
                    <a:pt x="68" y="475"/>
                    <a:pt x="68" y="475"/>
                    <a:pt x="68" y="475"/>
                  </a:cubicBezTo>
                  <a:cubicBezTo>
                    <a:pt x="68" y="475"/>
                    <a:pt x="43" y="472"/>
                    <a:pt x="44" y="484"/>
                  </a:cubicBezTo>
                  <a:cubicBezTo>
                    <a:pt x="45" y="496"/>
                    <a:pt x="41" y="514"/>
                    <a:pt x="41" y="514"/>
                  </a:cubicBezTo>
                  <a:cubicBezTo>
                    <a:pt x="34" y="524"/>
                    <a:pt x="34" y="524"/>
                    <a:pt x="34" y="524"/>
                  </a:cubicBezTo>
                  <a:cubicBezTo>
                    <a:pt x="34" y="524"/>
                    <a:pt x="38" y="556"/>
                    <a:pt x="35" y="566"/>
                  </a:cubicBezTo>
                  <a:cubicBezTo>
                    <a:pt x="32" y="576"/>
                    <a:pt x="21" y="579"/>
                    <a:pt x="21" y="579"/>
                  </a:cubicBezTo>
                  <a:cubicBezTo>
                    <a:pt x="21" y="606"/>
                    <a:pt x="21" y="606"/>
                    <a:pt x="21" y="606"/>
                  </a:cubicBezTo>
                  <a:cubicBezTo>
                    <a:pt x="6" y="618"/>
                    <a:pt x="6" y="618"/>
                    <a:pt x="6" y="618"/>
                  </a:cubicBezTo>
                  <a:cubicBezTo>
                    <a:pt x="6" y="645"/>
                    <a:pt x="6" y="645"/>
                    <a:pt x="6" y="645"/>
                  </a:cubicBezTo>
                  <a:cubicBezTo>
                    <a:pt x="13" y="654"/>
                    <a:pt x="13" y="654"/>
                    <a:pt x="13" y="654"/>
                  </a:cubicBezTo>
                  <a:cubicBezTo>
                    <a:pt x="0" y="669"/>
                    <a:pt x="0" y="669"/>
                    <a:pt x="0" y="669"/>
                  </a:cubicBezTo>
                  <a:cubicBezTo>
                    <a:pt x="3" y="696"/>
                    <a:pt x="3" y="696"/>
                    <a:pt x="3" y="696"/>
                  </a:cubicBezTo>
                  <a:cubicBezTo>
                    <a:pt x="13" y="695"/>
                    <a:pt x="13" y="695"/>
                    <a:pt x="13" y="695"/>
                  </a:cubicBezTo>
                  <a:cubicBezTo>
                    <a:pt x="24" y="691"/>
                    <a:pt x="24" y="691"/>
                    <a:pt x="24" y="691"/>
                  </a:cubicBezTo>
                  <a:cubicBezTo>
                    <a:pt x="31" y="696"/>
                    <a:pt x="31" y="696"/>
                    <a:pt x="31" y="696"/>
                  </a:cubicBezTo>
                  <a:cubicBezTo>
                    <a:pt x="31" y="696"/>
                    <a:pt x="43" y="696"/>
                    <a:pt x="50" y="695"/>
                  </a:cubicBezTo>
                  <a:cubicBezTo>
                    <a:pt x="57" y="694"/>
                    <a:pt x="61" y="680"/>
                    <a:pt x="61" y="680"/>
                  </a:cubicBezTo>
                  <a:cubicBezTo>
                    <a:pt x="61" y="680"/>
                    <a:pt x="82" y="682"/>
                    <a:pt x="81" y="681"/>
                  </a:cubicBezTo>
                  <a:cubicBezTo>
                    <a:pt x="85" y="692"/>
                    <a:pt x="119" y="705"/>
                    <a:pt x="119" y="705"/>
                  </a:cubicBezTo>
                  <a:cubicBezTo>
                    <a:pt x="322" y="703"/>
                    <a:pt x="322" y="703"/>
                    <a:pt x="322" y="703"/>
                  </a:cubicBezTo>
                  <a:cubicBezTo>
                    <a:pt x="322" y="703"/>
                    <a:pt x="331" y="722"/>
                    <a:pt x="338" y="724"/>
                  </a:cubicBezTo>
                  <a:cubicBezTo>
                    <a:pt x="345" y="726"/>
                    <a:pt x="361" y="724"/>
                    <a:pt x="361" y="724"/>
                  </a:cubicBezTo>
                  <a:cubicBezTo>
                    <a:pt x="365" y="730"/>
                    <a:pt x="365" y="730"/>
                    <a:pt x="365" y="730"/>
                  </a:cubicBezTo>
                  <a:cubicBezTo>
                    <a:pt x="411" y="729"/>
                    <a:pt x="411" y="729"/>
                    <a:pt x="411" y="729"/>
                  </a:cubicBezTo>
                  <a:cubicBezTo>
                    <a:pt x="417" y="735"/>
                    <a:pt x="417" y="735"/>
                    <a:pt x="417" y="735"/>
                  </a:cubicBezTo>
                  <a:cubicBezTo>
                    <a:pt x="417" y="735"/>
                    <a:pt x="435" y="735"/>
                    <a:pt x="463" y="735"/>
                  </a:cubicBezTo>
                  <a:cubicBezTo>
                    <a:pt x="491" y="735"/>
                    <a:pt x="551" y="715"/>
                    <a:pt x="551" y="715"/>
                  </a:cubicBezTo>
                  <a:cubicBezTo>
                    <a:pt x="493" y="657"/>
                    <a:pt x="493" y="657"/>
                    <a:pt x="493" y="657"/>
                  </a:cubicBezTo>
                  <a:cubicBezTo>
                    <a:pt x="493" y="645"/>
                    <a:pt x="493" y="645"/>
                    <a:pt x="493" y="645"/>
                  </a:cubicBezTo>
                  <a:cubicBezTo>
                    <a:pt x="487" y="635"/>
                    <a:pt x="487" y="635"/>
                    <a:pt x="487" y="635"/>
                  </a:cubicBezTo>
                  <a:cubicBezTo>
                    <a:pt x="488" y="468"/>
                    <a:pt x="488" y="468"/>
                    <a:pt x="488" y="468"/>
                  </a:cubicBezTo>
                  <a:cubicBezTo>
                    <a:pt x="571" y="470"/>
                    <a:pt x="571" y="470"/>
                    <a:pt x="571" y="470"/>
                  </a:cubicBezTo>
                  <a:cubicBezTo>
                    <a:pt x="571" y="470"/>
                    <a:pt x="582" y="470"/>
                    <a:pt x="584" y="463"/>
                  </a:cubicBezTo>
                  <a:cubicBezTo>
                    <a:pt x="586" y="456"/>
                    <a:pt x="580" y="440"/>
                    <a:pt x="580" y="440"/>
                  </a:cubicBezTo>
                  <a:cubicBezTo>
                    <a:pt x="593" y="437"/>
                    <a:pt x="593" y="437"/>
                    <a:pt x="593" y="437"/>
                  </a:cubicBezTo>
                  <a:cubicBezTo>
                    <a:pt x="585" y="426"/>
                    <a:pt x="585" y="426"/>
                    <a:pt x="585" y="426"/>
                  </a:cubicBezTo>
                  <a:cubicBezTo>
                    <a:pt x="583" y="391"/>
                    <a:pt x="583" y="391"/>
                    <a:pt x="583" y="391"/>
                  </a:cubicBezTo>
                  <a:cubicBezTo>
                    <a:pt x="583" y="391"/>
                    <a:pt x="591" y="389"/>
                    <a:pt x="594" y="386"/>
                  </a:cubicBezTo>
                  <a:cubicBezTo>
                    <a:pt x="597" y="383"/>
                    <a:pt x="583" y="362"/>
                    <a:pt x="583" y="362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Freeform 310">
              <a:extLst>
                <a:ext uri="{FF2B5EF4-FFF2-40B4-BE49-F238E27FC236}">
                  <a16:creationId xmlns:a16="http://schemas.microsoft.com/office/drawing/2014/main" id="{95A06A89-845C-F8DB-EACF-AF1C7B6998F5}"/>
                </a:ext>
              </a:extLst>
            </p:cNvPr>
            <p:cNvSpPr>
              <a:spLocks/>
            </p:cNvSpPr>
            <p:nvPr/>
          </p:nvSpPr>
          <p:spPr bwMode="gray">
            <a:xfrm>
              <a:off x="-3241" y="-9850"/>
              <a:ext cx="245" cy="232"/>
            </a:xfrm>
            <a:custGeom>
              <a:avLst/>
              <a:gdLst>
                <a:gd name="T0" fmla="*/ 35 w 104"/>
                <a:gd name="T1" fmla="*/ 98 h 98"/>
                <a:gd name="T2" fmla="*/ 52 w 104"/>
                <a:gd name="T3" fmla="*/ 91 h 98"/>
                <a:gd name="T4" fmla="*/ 57 w 104"/>
                <a:gd name="T5" fmla="*/ 74 h 98"/>
                <a:gd name="T6" fmla="*/ 87 w 104"/>
                <a:gd name="T7" fmla="*/ 74 h 98"/>
                <a:gd name="T8" fmla="*/ 90 w 104"/>
                <a:gd name="T9" fmla="*/ 74 h 98"/>
                <a:gd name="T10" fmla="*/ 104 w 104"/>
                <a:gd name="T11" fmla="*/ 64 h 98"/>
                <a:gd name="T12" fmla="*/ 98 w 104"/>
                <a:gd name="T13" fmla="*/ 44 h 98"/>
                <a:gd name="T14" fmla="*/ 100 w 104"/>
                <a:gd name="T15" fmla="*/ 31 h 98"/>
                <a:gd name="T16" fmla="*/ 86 w 104"/>
                <a:gd name="T17" fmla="*/ 13 h 98"/>
                <a:gd name="T18" fmla="*/ 91 w 104"/>
                <a:gd name="T19" fmla="*/ 0 h 98"/>
                <a:gd name="T20" fmla="*/ 75 w 104"/>
                <a:gd name="T21" fmla="*/ 1 h 98"/>
                <a:gd name="T22" fmla="*/ 64 w 104"/>
                <a:gd name="T23" fmla="*/ 25 h 98"/>
                <a:gd name="T24" fmla="*/ 52 w 104"/>
                <a:gd name="T25" fmla="*/ 17 h 98"/>
                <a:gd name="T26" fmla="*/ 42 w 104"/>
                <a:gd name="T27" fmla="*/ 17 h 98"/>
                <a:gd name="T28" fmla="*/ 17 w 104"/>
                <a:gd name="T29" fmla="*/ 36 h 98"/>
                <a:gd name="T30" fmla="*/ 24 w 104"/>
                <a:gd name="T31" fmla="*/ 58 h 98"/>
                <a:gd name="T32" fmla="*/ 4 w 104"/>
                <a:gd name="T33" fmla="*/ 80 h 98"/>
                <a:gd name="T34" fmla="*/ 22 w 104"/>
                <a:gd name="T35" fmla="*/ 85 h 98"/>
                <a:gd name="T36" fmla="*/ 35 w 104"/>
                <a:gd name="T3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4" h="98">
                  <a:moveTo>
                    <a:pt x="35" y="98"/>
                  </a:moveTo>
                  <a:cubicBezTo>
                    <a:pt x="39" y="98"/>
                    <a:pt x="52" y="91"/>
                    <a:pt x="52" y="91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87" y="74"/>
                    <a:pt x="87" y="74"/>
                    <a:pt x="87" y="74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96" y="73"/>
                    <a:pt x="104" y="71"/>
                    <a:pt x="104" y="64"/>
                  </a:cubicBezTo>
                  <a:cubicBezTo>
                    <a:pt x="104" y="52"/>
                    <a:pt x="98" y="44"/>
                    <a:pt x="98" y="44"/>
                  </a:cubicBezTo>
                  <a:cubicBezTo>
                    <a:pt x="98" y="44"/>
                    <a:pt x="104" y="39"/>
                    <a:pt x="100" y="31"/>
                  </a:cubicBezTo>
                  <a:cubicBezTo>
                    <a:pt x="96" y="23"/>
                    <a:pt x="86" y="13"/>
                    <a:pt x="86" y="1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1" y="17"/>
                    <a:pt x="64" y="25"/>
                  </a:cubicBezTo>
                  <a:cubicBezTo>
                    <a:pt x="58" y="32"/>
                    <a:pt x="52" y="17"/>
                    <a:pt x="5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18" y="28"/>
                    <a:pt x="17" y="36"/>
                  </a:cubicBezTo>
                  <a:cubicBezTo>
                    <a:pt x="15" y="44"/>
                    <a:pt x="25" y="55"/>
                    <a:pt x="24" y="58"/>
                  </a:cubicBezTo>
                  <a:cubicBezTo>
                    <a:pt x="22" y="62"/>
                    <a:pt x="0" y="72"/>
                    <a:pt x="4" y="80"/>
                  </a:cubicBezTo>
                  <a:cubicBezTo>
                    <a:pt x="8" y="88"/>
                    <a:pt x="22" y="85"/>
                    <a:pt x="22" y="85"/>
                  </a:cubicBezTo>
                  <a:cubicBezTo>
                    <a:pt x="22" y="85"/>
                    <a:pt x="31" y="98"/>
                    <a:pt x="35" y="98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chemeClr val="tx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Freeform 311">
              <a:extLst>
                <a:ext uri="{FF2B5EF4-FFF2-40B4-BE49-F238E27FC236}">
                  <a16:creationId xmlns:a16="http://schemas.microsoft.com/office/drawing/2014/main" id="{44CBFBDB-3394-1B36-467E-304DC61A39A1}"/>
                </a:ext>
              </a:extLst>
            </p:cNvPr>
            <p:cNvSpPr>
              <a:spLocks/>
            </p:cNvSpPr>
            <p:nvPr/>
          </p:nvSpPr>
          <p:spPr bwMode="gray">
            <a:xfrm>
              <a:off x="-4855" y="-11376"/>
              <a:ext cx="1451" cy="1103"/>
            </a:xfrm>
            <a:custGeom>
              <a:avLst/>
              <a:gdLst>
                <a:gd name="T0" fmla="*/ 589 w 614"/>
                <a:gd name="T1" fmla="*/ 267 h 467"/>
                <a:gd name="T2" fmla="*/ 575 w 614"/>
                <a:gd name="T3" fmla="*/ 253 h 467"/>
                <a:gd name="T4" fmla="*/ 573 w 614"/>
                <a:gd name="T5" fmla="*/ 236 h 467"/>
                <a:gd name="T6" fmla="*/ 542 w 614"/>
                <a:gd name="T7" fmla="*/ 203 h 467"/>
                <a:gd name="T8" fmla="*/ 521 w 614"/>
                <a:gd name="T9" fmla="*/ 175 h 467"/>
                <a:gd name="T10" fmla="*/ 502 w 614"/>
                <a:gd name="T11" fmla="*/ 152 h 467"/>
                <a:gd name="T12" fmla="*/ 467 w 614"/>
                <a:gd name="T13" fmla="*/ 130 h 467"/>
                <a:gd name="T14" fmla="*/ 433 w 614"/>
                <a:gd name="T15" fmla="*/ 120 h 467"/>
                <a:gd name="T16" fmla="*/ 431 w 614"/>
                <a:gd name="T17" fmla="*/ 102 h 467"/>
                <a:gd name="T18" fmla="*/ 402 w 614"/>
                <a:gd name="T19" fmla="*/ 8 h 467"/>
                <a:gd name="T20" fmla="*/ 385 w 614"/>
                <a:gd name="T21" fmla="*/ 0 h 467"/>
                <a:gd name="T22" fmla="*/ 345 w 614"/>
                <a:gd name="T23" fmla="*/ 38 h 467"/>
                <a:gd name="T24" fmla="*/ 320 w 614"/>
                <a:gd name="T25" fmla="*/ 55 h 467"/>
                <a:gd name="T26" fmla="*/ 222 w 614"/>
                <a:gd name="T27" fmla="*/ 107 h 467"/>
                <a:gd name="T28" fmla="*/ 223 w 614"/>
                <a:gd name="T29" fmla="*/ 132 h 467"/>
                <a:gd name="T30" fmla="*/ 151 w 614"/>
                <a:gd name="T31" fmla="*/ 160 h 467"/>
                <a:gd name="T32" fmla="*/ 108 w 614"/>
                <a:gd name="T33" fmla="*/ 165 h 467"/>
                <a:gd name="T34" fmla="*/ 56 w 614"/>
                <a:gd name="T35" fmla="*/ 186 h 467"/>
                <a:gd name="T36" fmla="*/ 35 w 614"/>
                <a:gd name="T37" fmla="*/ 224 h 467"/>
                <a:gd name="T38" fmla="*/ 24 w 614"/>
                <a:gd name="T39" fmla="*/ 249 h 467"/>
                <a:gd name="T40" fmla="*/ 15 w 614"/>
                <a:gd name="T41" fmla="*/ 273 h 467"/>
                <a:gd name="T42" fmla="*/ 7 w 614"/>
                <a:gd name="T43" fmla="*/ 306 h 467"/>
                <a:gd name="T44" fmla="*/ 19 w 614"/>
                <a:gd name="T45" fmla="*/ 344 h 467"/>
                <a:gd name="T46" fmla="*/ 36 w 614"/>
                <a:gd name="T47" fmla="*/ 381 h 467"/>
                <a:gd name="T48" fmla="*/ 79 w 614"/>
                <a:gd name="T49" fmla="*/ 428 h 467"/>
                <a:gd name="T50" fmla="*/ 83 w 614"/>
                <a:gd name="T51" fmla="*/ 461 h 467"/>
                <a:gd name="T52" fmla="*/ 106 w 614"/>
                <a:gd name="T53" fmla="*/ 441 h 467"/>
                <a:gd name="T54" fmla="*/ 108 w 614"/>
                <a:gd name="T55" fmla="*/ 400 h 467"/>
                <a:gd name="T56" fmla="*/ 147 w 614"/>
                <a:gd name="T57" fmla="*/ 390 h 467"/>
                <a:gd name="T58" fmla="*/ 193 w 614"/>
                <a:gd name="T59" fmla="*/ 394 h 467"/>
                <a:gd name="T60" fmla="*/ 203 w 614"/>
                <a:gd name="T61" fmla="*/ 370 h 467"/>
                <a:gd name="T62" fmla="*/ 218 w 614"/>
                <a:gd name="T63" fmla="*/ 344 h 467"/>
                <a:gd name="T64" fmla="*/ 273 w 614"/>
                <a:gd name="T65" fmla="*/ 330 h 467"/>
                <a:gd name="T66" fmla="*/ 295 w 614"/>
                <a:gd name="T67" fmla="*/ 351 h 467"/>
                <a:gd name="T68" fmla="*/ 335 w 614"/>
                <a:gd name="T69" fmla="*/ 362 h 467"/>
                <a:gd name="T70" fmla="*/ 385 w 614"/>
                <a:gd name="T71" fmla="*/ 368 h 467"/>
                <a:gd name="T72" fmla="*/ 410 w 614"/>
                <a:gd name="T73" fmla="*/ 328 h 467"/>
                <a:gd name="T74" fmla="*/ 449 w 614"/>
                <a:gd name="T75" fmla="*/ 330 h 467"/>
                <a:gd name="T76" fmla="*/ 477 w 614"/>
                <a:gd name="T77" fmla="*/ 316 h 467"/>
                <a:gd name="T78" fmla="*/ 512 w 614"/>
                <a:gd name="T79" fmla="*/ 321 h 467"/>
                <a:gd name="T80" fmla="*/ 539 w 614"/>
                <a:gd name="T81" fmla="*/ 311 h 467"/>
                <a:gd name="T82" fmla="*/ 586 w 614"/>
                <a:gd name="T83" fmla="*/ 319 h 467"/>
                <a:gd name="T84" fmla="*/ 606 w 614"/>
                <a:gd name="T85" fmla="*/ 281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14" h="467">
                  <a:moveTo>
                    <a:pt x="606" y="281"/>
                  </a:moveTo>
                  <a:cubicBezTo>
                    <a:pt x="598" y="273"/>
                    <a:pt x="589" y="267"/>
                    <a:pt x="589" y="267"/>
                  </a:cubicBezTo>
                  <a:cubicBezTo>
                    <a:pt x="574" y="266"/>
                    <a:pt x="574" y="266"/>
                    <a:pt x="574" y="266"/>
                  </a:cubicBezTo>
                  <a:cubicBezTo>
                    <a:pt x="575" y="253"/>
                    <a:pt x="575" y="253"/>
                    <a:pt x="575" y="253"/>
                  </a:cubicBezTo>
                  <a:cubicBezTo>
                    <a:pt x="575" y="253"/>
                    <a:pt x="568" y="250"/>
                    <a:pt x="567" y="244"/>
                  </a:cubicBezTo>
                  <a:cubicBezTo>
                    <a:pt x="566" y="238"/>
                    <a:pt x="573" y="244"/>
                    <a:pt x="573" y="236"/>
                  </a:cubicBezTo>
                  <a:cubicBezTo>
                    <a:pt x="573" y="228"/>
                    <a:pt x="558" y="227"/>
                    <a:pt x="558" y="227"/>
                  </a:cubicBezTo>
                  <a:cubicBezTo>
                    <a:pt x="558" y="227"/>
                    <a:pt x="549" y="204"/>
                    <a:pt x="542" y="203"/>
                  </a:cubicBezTo>
                  <a:cubicBezTo>
                    <a:pt x="535" y="202"/>
                    <a:pt x="521" y="200"/>
                    <a:pt x="515" y="190"/>
                  </a:cubicBezTo>
                  <a:cubicBezTo>
                    <a:pt x="509" y="180"/>
                    <a:pt x="524" y="186"/>
                    <a:pt x="521" y="175"/>
                  </a:cubicBezTo>
                  <a:cubicBezTo>
                    <a:pt x="518" y="164"/>
                    <a:pt x="502" y="165"/>
                    <a:pt x="502" y="165"/>
                  </a:cubicBezTo>
                  <a:cubicBezTo>
                    <a:pt x="502" y="152"/>
                    <a:pt x="502" y="152"/>
                    <a:pt x="502" y="152"/>
                  </a:cubicBezTo>
                  <a:cubicBezTo>
                    <a:pt x="502" y="152"/>
                    <a:pt x="472" y="154"/>
                    <a:pt x="466" y="146"/>
                  </a:cubicBezTo>
                  <a:cubicBezTo>
                    <a:pt x="460" y="138"/>
                    <a:pt x="467" y="130"/>
                    <a:pt x="467" y="130"/>
                  </a:cubicBezTo>
                  <a:cubicBezTo>
                    <a:pt x="467" y="123"/>
                    <a:pt x="467" y="123"/>
                    <a:pt x="467" y="123"/>
                  </a:cubicBezTo>
                  <a:cubicBezTo>
                    <a:pt x="433" y="120"/>
                    <a:pt x="433" y="120"/>
                    <a:pt x="433" y="120"/>
                  </a:cubicBezTo>
                  <a:cubicBezTo>
                    <a:pt x="439" y="109"/>
                    <a:pt x="439" y="109"/>
                    <a:pt x="439" y="109"/>
                  </a:cubicBezTo>
                  <a:cubicBezTo>
                    <a:pt x="439" y="109"/>
                    <a:pt x="430" y="112"/>
                    <a:pt x="431" y="102"/>
                  </a:cubicBezTo>
                  <a:cubicBezTo>
                    <a:pt x="432" y="92"/>
                    <a:pt x="447" y="85"/>
                    <a:pt x="443" y="63"/>
                  </a:cubicBezTo>
                  <a:cubicBezTo>
                    <a:pt x="439" y="41"/>
                    <a:pt x="402" y="8"/>
                    <a:pt x="402" y="8"/>
                  </a:cubicBezTo>
                  <a:cubicBezTo>
                    <a:pt x="401" y="1"/>
                    <a:pt x="401" y="1"/>
                    <a:pt x="401" y="1"/>
                  </a:cubicBezTo>
                  <a:cubicBezTo>
                    <a:pt x="385" y="0"/>
                    <a:pt x="385" y="0"/>
                    <a:pt x="385" y="0"/>
                  </a:cubicBezTo>
                  <a:cubicBezTo>
                    <a:pt x="348" y="18"/>
                    <a:pt x="348" y="18"/>
                    <a:pt x="348" y="18"/>
                  </a:cubicBezTo>
                  <a:cubicBezTo>
                    <a:pt x="345" y="38"/>
                    <a:pt x="345" y="38"/>
                    <a:pt x="345" y="38"/>
                  </a:cubicBezTo>
                  <a:cubicBezTo>
                    <a:pt x="333" y="50"/>
                    <a:pt x="333" y="50"/>
                    <a:pt x="333" y="50"/>
                  </a:cubicBezTo>
                  <a:cubicBezTo>
                    <a:pt x="320" y="55"/>
                    <a:pt x="320" y="55"/>
                    <a:pt x="320" y="55"/>
                  </a:cubicBezTo>
                  <a:cubicBezTo>
                    <a:pt x="320" y="55"/>
                    <a:pt x="325" y="77"/>
                    <a:pt x="293" y="92"/>
                  </a:cubicBezTo>
                  <a:cubicBezTo>
                    <a:pt x="262" y="107"/>
                    <a:pt x="222" y="107"/>
                    <a:pt x="222" y="107"/>
                  </a:cubicBezTo>
                  <a:cubicBezTo>
                    <a:pt x="208" y="115"/>
                    <a:pt x="208" y="115"/>
                    <a:pt x="208" y="115"/>
                  </a:cubicBezTo>
                  <a:cubicBezTo>
                    <a:pt x="208" y="115"/>
                    <a:pt x="228" y="125"/>
                    <a:pt x="223" y="132"/>
                  </a:cubicBezTo>
                  <a:cubicBezTo>
                    <a:pt x="218" y="138"/>
                    <a:pt x="203" y="160"/>
                    <a:pt x="203" y="160"/>
                  </a:cubicBezTo>
                  <a:cubicBezTo>
                    <a:pt x="203" y="160"/>
                    <a:pt x="170" y="160"/>
                    <a:pt x="151" y="160"/>
                  </a:cubicBezTo>
                  <a:cubicBezTo>
                    <a:pt x="133" y="160"/>
                    <a:pt x="138" y="180"/>
                    <a:pt x="120" y="185"/>
                  </a:cubicBezTo>
                  <a:cubicBezTo>
                    <a:pt x="101" y="190"/>
                    <a:pt x="108" y="165"/>
                    <a:pt x="108" y="165"/>
                  </a:cubicBezTo>
                  <a:cubicBezTo>
                    <a:pt x="108" y="165"/>
                    <a:pt x="88" y="180"/>
                    <a:pt x="78" y="187"/>
                  </a:cubicBezTo>
                  <a:cubicBezTo>
                    <a:pt x="68" y="193"/>
                    <a:pt x="56" y="186"/>
                    <a:pt x="56" y="186"/>
                  </a:cubicBezTo>
                  <a:cubicBezTo>
                    <a:pt x="56" y="186"/>
                    <a:pt x="38" y="196"/>
                    <a:pt x="37" y="204"/>
                  </a:cubicBezTo>
                  <a:cubicBezTo>
                    <a:pt x="36" y="212"/>
                    <a:pt x="35" y="224"/>
                    <a:pt x="35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24" y="249"/>
                    <a:pt x="24" y="249"/>
                    <a:pt x="24" y="249"/>
                  </a:cubicBezTo>
                  <a:cubicBezTo>
                    <a:pt x="24" y="249"/>
                    <a:pt x="2" y="256"/>
                    <a:pt x="1" y="264"/>
                  </a:cubicBezTo>
                  <a:cubicBezTo>
                    <a:pt x="0" y="272"/>
                    <a:pt x="15" y="273"/>
                    <a:pt x="15" y="273"/>
                  </a:cubicBezTo>
                  <a:cubicBezTo>
                    <a:pt x="14" y="298"/>
                    <a:pt x="14" y="298"/>
                    <a:pt x="14" y="298"/>
                  </a:cubicBezTo>
                  <a:cubicBezTo>
                    <a:pt x="7" y="306"/>
                    <a:pt x="7" y="306"/>
                    <a:pt x="7" y="306"/>
                  </a:cubicBezTo>
                  <a:cubicBezTo>
                    <a:pt x="19" y="313"/>
                    <a:pt x="19" y="313"/>
                    <a:pt x="19" y="313"/>
                  </a:cubicBezTo>
                  <a:cubicBezTo>
                    <a:pt x="19" y="344"/>
                    <a:pt x="19" y="344"/>
                    <a:pt x="19" y="344"/>
                  </a:cubicBezTo>
                  <a:cubicBezTo>
                    <a:pt x="19" y="344"/>
                    <a:pt x="36" y="355"/>
                    <a:pt x="38" y="358"/>
                  </a:cubicBezTo>
                  <a:cubicBezTo>
                    <a:pt x="40" y="361"/>
                    <a:pt x="36" y="381"/>
                    <a:pt x="36" y="381"/>
                  </a:cubicBezTo>
                  <a:cubicBezTo>
                    <a:pt x="36" y="381"/>
                    <a:pt x="47" y="404"/>
                    <a:pt x="57" y="412"/>
                  </a:cubicBezTo>
                  <a:cubicBezTo>
                    <a:pt x="67" y="420"/>
                    <a:pt x="79" y="428"/>
                    <a:pt x="79" y="428"/>
                  </a:cubicBezTo>
                  <a:cubicBezTo>
                    <a:pt x="83" y="442"/>
                    <a:pt x="83" y="442"/>
                    <a:pt x="83" y="442"/>
                  </a:cubicBezTo>
                  <a:cubicBezTo>
                    <a:pt x="83" y="461"/>
                    <a:pt x="83" y="461"/>
                    <a:pt x="83" y="461"/>
                  </a:cubicBezTo>
                  <a:cubicBezTo>
                    <a:pt x="88" y="467"/>
                    <a:pt x="88" y="467"/>
                    <a:pt x="88" y="467"/>
                  </a:cubicBezTo>
                  <a:cubicBezTo>
                    <a:pt x="88" y="467"/>
                    <a:pt x="104" y="448"/>
                    <a:pt x="106" y="441"/>
                  </a:cubicBezTo>
                  <a:cubicBezTo>
                    <a:pt x="108" y="434"/>
                    <a:pt x="98" y="421"/>
                    <a:pt x="98" y="421"/>
                  </a:cubicBezTo>
                  <a:cubicBezTo>
                    <a:pt x="108" y="400"/>
                    <a:pt x="108" y="400"/>
                    <a:pt x="108" y="400"/>
                  </a:cubicBezTo>
                  <a:cubicBezTo>
                    <a:pt x="128" y="401"/>
                    <a:pt x="128" y="401"/>
                    <a:pt x="128" y="401"/>
                  </a:cubicBezTo>
                  <a:cubicBezTo>
                    <a:pt x="128" y="401"/>
                    <a:pt x="141" y="390"/>
                    <a:pt x="147" y="390"/>
                  </a:cubicBezTo>
                  <a:cubicBezTo>
                    <a:pt x="153" y="390"/>
                    <a:pt x="167" y="398"/>
                    <a:pt x="178" y="399"/>
                  </a:cubicBezTo>
                  <a:cubicBezTo>
                    <a:pt x="189" y="400"/>
                    <a:pt x="193" y="394"/>
                    <a:pt x="193" y="394"/>
                  </a:cubicBezTo>
                  <a:cubicBezTo>
                    <a:pt x="203" y="380"/>
                    <a:pt x="203" y="380"/>
                    <a:pt x="203" y="380"/>
                  </a:cubicBezTo>
                  <a:cubicBezTo>
                    <a:pt x="203" y="370"/>
                    <a:pt x="203" y="370"/>
                    <a:pt x="203" y="370"/>
                  </a:cubicBezTo>
                  <a:cubicBezTo>
                    <a:pt x="203" y="370"/>
                    <a:pt x="193" y="367"/>
                    <a:pt x="201" y="357"/>
                  </a:cubicBezTo>
                  <a:cubicBezTo>
                    <a:pt x="209" y="347"/>
                    <a:pt x="208" y="358"/>
                    <a:pt x="218" y="344"/>
                  </a:cubicBezTo>
                  <a:cubicBezTo>
                    <a:pt x="228" y="330"/>
                    <a:pt x="218" y="311"/>
                    <a:pt x="247" y="313"/>
                  </a:cubicBezTo>
                  <a:cubicBezTo>
                    <a:pt x="276" y="315"/>
                    <a:pt x="273" y="330"/>
                    <a:pt x="273" y="330"/>
                  </a:cubicBezTo>
                  <a:cubicBezTo>
                    <a:pt x="273" y="330"/>
                    <a:pt x="286" y="328"/>
                    <a:pt x="289" y="332"/>
                  </a:cubicBezTo>
                  <a:cubicBezTo>
                    <a:pt x="292" y="336"/>
                    <a:pt x="280" y="351"/>
                    <a:pt x="295" y="351"/>
                  </a:cubicBezTo>
                  <a:cubicBezTo>
                    <a:pt x="310" y="351"/>
                    <a:pt x="319" y="351"/>
                    <a:pt x="319" y="351"/>
                  </a:cubicBezTo>
                  <a:cubicBezTo>
                    <a:pt x="319" y="351"/>
                    <a:pt x="325" y="363"/>
                    <a:pt x="335" y="362"/>
                  </a:cubicBezTo>
                  <a:cubicBezTo>
                    <a:pt x="345" y="361"/>
                    <a:pt x="363" y="361"/>
                    <a:pt x="363" y="361"/>
                  </a:cubicBezTo>
                  <a:cubicBezTo>
                    <a:pt x="363" y="361"/>
                    <a:pt x="376" y="375"/>
                    <a:pt x="385" y="368"/>
                  </a:cubicBezTo>
                  <a:cubicBezTo>
                    <a:pt x="394" y="361"/>
                    <a:pt x="389" y="347"/>
                    <a:pt x="396" y="344"/>
                  </a:cubicBezTo>
                  <a:cubicBezTo>
                    <a:pt x="403" y="341"/>
                    <a:pt x="410" y="328"/>
                    <a:pt x="410" y="328"/>
                  </a:cubicBezTo>
                  <a:cubicBezTo>
                    <a:pt x="410" y="328"/>
                    <a:pt x="424" y="349"/>
                    <a:pt x="430" y="344"/>
                  </a:cubicBezTo>
                  <a:cubicBezTo>
                    <a:pt x="436" y="339"/>
                    <a:pt x="449" y="330"/>
                    <a:pt x="449" y="330"/>
                  </a:cubicBezTo>
                  <a:cubicBezTo>
                    <a:pt x="461" y="330"/>
                    <a:pt x="461" y="330"/>
                    <a:pt x="461" y="330"/>
                  </a:cubicBezTo>
                  <a:cubicBezTo>
                    <a:pt x="477" y="316"/>
                    <a:pt x="477" y="316"/>
                    <a:pt x="477" y="316"/>
                  </a:cubicBezTo>
                  <a:cubicBezTo>
                    <a:pt x="477" y="316"/>
                    <a:pt x="486" y="326"/>
                    <a:pt x="490" y="326"/>
                  </a:cubicBezTo>
                  <a:cubicBezTo>
                    <a:pt x="494" y="326"/>
                    <a:pt x="512" y="321"/>
                    <a:pt x="512" y="321"/>
                  </a:cubicBezTo>
                  <a:cubicBezTo>
                    <a:pt x="512" y="321"/>
                    <a:pt x="517" y="300"/>
                    <a:pt x="524" y="299"/>
                  </a:cubicBezTo>
                  <a:cubicBezTo>
                    <a:pt x="531" y="298"/>
                    <a:pt x="539" y="311"/>
                    <a:pt x="539" y="311"/>
                  </a:cubicBezTo>
                  <a:cubicBezTo>
                    <a:pt x="560" y="308"/>
                    <a:pt x="560" y="308"/>
                    <a:pt x="560" y="308"/>
                  </a:cubicBezTo>
                  <a:cubicBezTo>
                    <a:pt x="560" y="308"/>
                    <a:pt x="566" y="324"/>
                    <a:pt x="586" y="319"/>
                  </a:cubicBezTo>
                  <a:cubicBezTo>
                    <a:pt x="606" y="314"/>
                    <a:pt x="610" y="303"/>
                    <a:pt x="610" y="303"/>
                  </a:cubicBezTo>
                  <a:cubicBezTo>
                    <a:pt x="610" y="303"/>
                    <a:pt x="614" y="289"/>
                    <a:pt x="606" y="281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 312">
              <a:extLst>
                <a:ext uri="{FF2B5EF4-FFF2-40B4-BE49-F238E27FC236}">
                  <a16:creationId xmlns:a16="http://schemas.microsoft.com/office/drawing/2014/main" id="{58A8A231-9E54-15F5-3095-A4919D9D4562}"/>
                </a:ext>
              </a:extLst>
            </p:cNvPr>
            <p:cNvSpPr>
              <a:spLocks/>
            </p:cNvSpPr>
            <p:nvPr/>
          </p:nvSpPr>
          <p:spPr bwMode="gray">
            <a:xfrm>
              <a:off x="-5219" y="-10455"/>
              <a:ext cx="841" cy="1101"/>
            </a:xfrm>
            <a:custGeom>
              <a:avLst/>
              <a:gdLst>
                <a:gd name="T0" fmla="*/ 238 w 356"/>
                <a:gd name="T1" fmla="*/ 83 h 466"/>
                <a:gd name="T2" fmla="*/ 219 w 356"/>
                <a:gd name="T3" fmla="*/ 95 h 466"/>
                <a:gd name="T4" fmla="*/ 166 w 356"/>
                <a:gd name="T5" fmla="*/ 83 h 466"/>
                <a:gd name="T6" fmla="*/ 96 w 356"/>
                <a:gd name="T7" fmla="*/ 108 h 466"/>
                <a:gd name="T8" fmla="*/ 115 w 356"/>
                <a:gd name="T9" fmla="*/ 134 h 466"/>
                <a:gd name="T10" fmla="*/ 149 w 356"/>
                <a:gd name="T11" fmla="*/ 128 h 466"/>
                <a:gd name="T12" fmla="*/ 159 w 356"/>
                <a:gd name="T13" fmla="*/ 146 h 466"/>
                <a:gd name="T14" fmla="*/ 140 w 356"/>
                <a:gd name="T15" fmla="*/ 172 h 466"/>
                <a:gd name="T16" fmla="*/ 130 w 356"/>
                <a:gd name="T17" fmla="*/ 212 h 466"/>
                <a:gd name="T18" fmla="*/ 147 w 356"/>
                <a:gd name="T19" fmla="*/ 225 h 466"/>
                <a:gd name="T20" fmla="*/ 158 w 356"/>
                <a:gd name="T21" fmla="*/ 243 h 466"/>
                <a:gd name="T22" fmla="*/ 155 w 356"/>
                <a:gd name="T23" fmla="*/ 284 h 466"/>
                <a:gd name="T24" fmla="*/ 146 w 356"/>
                <a:gd name="T25" fmla="*/ 316 h 466"/>
                <a:gd name="T26" fmla="*/ 127 w 356"/>
                <a:gd name="T27" fmla="*/ 311 h 466"/>
                <a:gd name="T28" fmla="*/ 90 w 356"/>
                <a:gd name="T29" fmla="*/ 327 h 466"/>
                <a:gd name="T30" fmla="*/ 64 w 356"/>
                <a:gd name="T31" fmla="*/ 297 h 466"/>
                <a:gd name="T32" fmla="*/ 58 w 356"/>
                <a:gd name="T33" fmla="*/ 329 h 466"/>
                <a:gd name="T34" fmla="*/ 25 w 356"/>
                <a:gd name="T35" fmla="*/ 346 h 466"/>
                <a:gd name="T36" fmla="*/ 35 w 356"/>
                <a:gd name="T37" fmla="*/ 359 h 466"/>
                <a:gd name="T38" fmla="*/ 38 w 356"/>
                <a:gd name="T39" fmla="*/ 376 h 466"/>
                <a:gd name="T40" fmla="*/ 19 w 356"/>
                <a:gd name="T41" fmla="*/ 389 h 466"/>
                <a:gd name="T42" fmla="*/ 0 w 356"/>
                <a:gd name="T43" fmla="*/ 411 h 466"/>
                <a:gd name="T44" fmla="*/ 37 w 356"/>
                <a:gd name="T45" fmla="*/ 454 h 466"/>
                <a:gd name="T46" fmla="*/ 50 w 356"/>
                <a:gd name="T47" fmla="*/ 460 h 466"/>
                <a:gd name="T48" fmla="*/ 61 w 356"/>
                <a:gd name="T49" fmla="*/ 446 h 466"/>
                <a:gd name="T50" fmla="*/ 91 w 356"/>
                <a:gd name="T51" fmla="*/ 448 h 466"/>
                <a:gd name="T52" fmla="*/ 114 w 356"/>
                <a:gd name="T53" fmla="*/ 461 h 466"/>
                <a:gd name="T54" fmla="*/ 138 w 356"/>
                <a:gd name="T55" fmla="*/ 441 h 466"/>
                <a:gd name="T56" fmla="*/ 159 w 356"/>
                <a:gd name="T57" fmla="*/ 462 h 466"/>
                <a:gd name="T58" fmla="*/ 209 w 356"/>
                <a:gd name="T59" fmla="*/ 418 h 466"/>
                <a:gd name="T60" fmla="*/ 242 w 356"/>
                <a:gd name="T61" fmla="*/ 385 h 466"/>
                <a:gd name="T62" fmla="*/ 260 w 356"/>
                <a:gd name="T63" fmla="*/ 302 h 466"/>
                <a:gd name="T64" fmla="*/ 298 w 356"/>
                <a:gd name="T65" fmla="*/ 251 h 466"/>
                <a:gd name="T66" fmla="*/ 317 w 356"/>
                <a:gd name="T67" fmla="*/ 197 h 466"/>
                <a:gd name="T68" fmla="*/ 320 w 356"/>
                <a:gd name="T69" fmla="*/ 152 h 466"/>
                <a:gd name="T70" fmla="*/ 332 w 356"/>
                <a:gd name="T71" fmla="*/ 77 h 466"/>
                <a:gd name="T72" fmla="*/ 356 w 356"/>
                <a:gd name="T73" fmla="*/ 11 h 466"/>
                <a:gd name="T74" fmla="*/ 332 w 356"/>
                <a:gd name="T75" fmla="*/ 9 h 466"/>
                <a:gd name="T76" fmla="*/ 282 w 356"/>
                <a:gd name="T77" fmla="*/ 11 h 466"/>
                <a:gd name="T78" fmla="*/ 252 w 356"/>
                <a:gd name="T79" fmla="*/ 31 h 466"/>
                <a:gd name="T80" fmla="*/ 242 w 356"/>
                <a:gd name="T81" fmla="*/ 77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6" h="466">
                  <a:moveTo>
                    <a:pt x="242" y="77"/>
                  </a:moveTo>
                  <a:cubicBezTo>
                    <a:pt x="238" y="83"/>
                    <a:pt x="238" y="83"/>
                    <a:pt x="238" y="83"/>
                  </a:cubicBezTo>
                  <a:cubicBezTo>
                    <a:pt x="237" y="110"/>
                    <a:pt x="237" y="110"/>
                    <a:pt x="237" y="110"/>
                  </a:cubicBezTo>
                  <a:cubicBezTo>
                    <a:pt x="219" y="95"/>
                    <a:pt x="219" y="95"/>
                    <a:pt x="219" y="95"/>
                  </a:cubicBezTo>
                  <a:cubicBezTo>
                    <a:pt x="199" y="96"/>
                    <a:pt x="199" y="96"/>
                    <a:pt x="199" y="96"/>
                  </a:cubicBezTo>
                  <a:cubicBezTo>
                    <a:pt x="199" y="96"/>
                    <a:pt x="171" y="83"/>
                    <a:pt x="166" y="83"/>
                  </a:cubicBezTo>
                  <a:cubicBezTo>
                    <a:pt x="161" y="83"/>
                    <a:pt x="106" y="86"/>
                    <a:pt x="106" y="8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98" y="129"/>
                    <a:pt x="106" y="134"/>
                    <a:pt x="115" y="134"/>
                  </a:cubicBezTo>
                  <a:cubicBezTo>
                    <a:pt x="124" y="134"/>
                    <a:pt x="124" y="119"/>
                    <a:pt x="129" y="119"/>
                  </a:cubicBezTo>
                  <a:cubicBezTo>
                    <a:pt x="134" y="119"/>
                    <a:pt x="146" y="124"/>
                    <a:pt x="149" y="128"/>
                  </a:cubicBezTo>
                  <a:cubicBezTo>
                    <a:pt x="152" y="132"/>
                    <a:pt x="153" y="142"/>
                    <a:pt x="153" y="142"/>
                  </a:cubicBezTo>
                  <a:cubicBezTo>
                    <a:pt x="159" y="146"/>
                    <a:pt x="159" y="146"/>
                    <a:pt x="159" y="146"/>
                  </a:cubicBezTo>
                  <a:cubicBezTo>
                    <a:pt x="159" y="146"/>
                    <a:pt x="159" y="159"/>
                    <a:pt x="153" y="166"/>
                  </a:cubicBezTo>
                  <a:cubicBezTo>
                    <a:pt x="147" y="173"/>
                    <a:pt x="140" y="172"/>
                    <a:pt x="140" y="172"/>
                  </a:cubicBezTo>
                  <a:cubicBezTo>
                    <a:pt x="131" y="188"/>
                    <a:pt x="131" y="188"/>
                    <a:pt x="131" y="188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7" y="225"/>
                    <a:pt x="147" y="225"/>
                    <a:pt x="147" y="225"/>
                  </a:cubicBezTo>
                  <a:cubicBezTo>
                    <a:pt x="147" y="225"/>
                    <a:pt x="163" y="226"/>
                    <a:pt x="165" y="232"/>
                  </a:cubicBezTo>
                  <a:cubicBezTo>
                    <a:pt x="167" y="238"/>
                    <a:pt x="158" y="243"/>
                    <a:pt x="158" y="243"/>
                  </a:cubicBezTo>
                  <a:cubicBezTo>
                    <a:pt x="159" y="273"/>
                    <a:pt x="159" y="273"/>
                    <a:pt x="159" y="273"/>
                  </a:cubicBezTo>
                  <a:cubicBezTo>
                    <a:pt x="155" y="284"/>
                    <a:pt x="155" y="284"/>
                    <a:pt x="155" y="284"/>
                  </a:cubicBezTo>
                  <a:cubicBezTo>
                    <a:pt x="159" y="298"/>
                    <a:pt x="159" y="298"/>
                    <a:pt x="159" y="298"/>
                  </a:cubicBezTo>
                  <a:cubicBezTo>
                    <a:pt x="159" y="298"/>
                    <a:pt x="146" y="302"/>
                    <a:pt x="146" y="316"/>
                  </a:cubicBezTo>
                  <a:cubicBezTo>
                    <a:pt x="146" y="330"/>
                    <a:pt x="144" y="336"/>
                    <a:pt x="134" y="336"/>
                  </a:cubicBezTo>
                  <a:cubicBezTo>
                    <a:pt x="124" y="336"/>
                    <a:pt x="131" y="314"/>
                    <a:pt x="127" y="311"/>
                  </a:cubicBezTo>
                  <a:cubicBezTo>
                    <a:pt x="123" y="308"/>
                    <a:pt x="120" y="324"/>
                    <a:pt x="112" y="326"/>
                  </a:cubicBezTo>
                  <a:cubicBezTo>
                    <a:pt x="104" y="328"/>
                    <a:pt x="90" y="327"/>
                    <a:pt x="90" y="327"/>
                  </a:cubicBezTo>
                  <a:cubicBezTo>
                    <a:pt x="81" y="298"/>
                    <a:pt x="81" y="298"/>
                    <a:pt x="81" y="298"/>
                  </a:cubicBezTo>
                  <a:cubicBezTo>
                    <a:pt x="81" y="298"/>
                    <a:pt x="70" y="296"/>
                    <a:pt x="64" y="297"/>
                  </a:cubicBezTo>
                  <a:cubicBezTo>
                    <a:pt x="58" y="298"/>
                    <a:pt x="71" y="316"/>
                    <a:pt x="71" y="316"/>
                  </a:cubicBezTo>
                  <a:cubicBezTo>
                    <a:pt x="71" y="316"/>
                    <a:pt x="62" y="324"/>
                    <a:pt x="58" y="329"/>
                  </a:cubicBezTo>
                  <a:cubicBezTo>
                    <a:pt x="54" y="334"/>
                    <a:pt x="30" y="325"/>
                    <a:pt x="24" y="323"/>
                  </a:cubicBezTo>
                  <a:cubicBezTo>
                    <a:pt x="18" y="321"/>
                    <a:pt x="25" y="346"/>
                    <a:pt x="25" y="346"/>
                  </a:cubicBezTo>
                  <a:cubicBezTo>
                    <a:pt x="18" y="346"/>
                    <a:pt x="18" y="346"/>
                    <a:pt x="18" y="346"/>
                  </a:cubicBezTo>
                  <a:cubicBezTo>
                    <a:pt x="35" y="359"/>
                    <a:pt x="35" y="359"/>
                    <a:pt x="35" y="359"/>
                  </a:cubicBezTo>
                  <a:cubicBezTo>
                    <a:pt x="26" y="368"/>
                    <a:pt x="26" y="368"/>
                    <a:pt x="26" y="368"/>
                  </a:cubicBezTo>
                  <a:cubicBezTo>
                    <a:pt x="38" y="376"/>
                    <a:pt x="38" y="376"/>
                    <a:pt x="38" y="376"/>
                  </a:cubicBezTo>
                  <a:cubicBezTo>
                    <a:pt x="38" y="376"/>
                    <a:pt x="42" y="389"/>
                    <a:pt x="38" y="398"/>
                  </a:cubicBezTo>
                  <a:cubicBezTo>
                    <a:pt x="34" y="407"/>
                    <a:pt x="19" y="389"/>
                    <a:pt x="19" y="389"/>
                  </a:cubicBezTo>
                  <a:cubicBezTo>
                    <a:pt x="5" y="398"/>
                    <a:pt x="5" y="398"/>
                    <a:pt x="5" y="398"/>
                  </a:cubicBezTo>
                  <a:cubicBezTo>
                    <a:pt x="0" y="411"/>
                    <a:pt x="0" y="411"/>
                    <a:pt x="0" y="411"/>
                  </a:cubicBezTo>
                  <a:cubicBezTo>
                    <a:pt x="36" y="442"/>
                    <a:pt x="36" y="442"/>
                    <a:pt x="36" y="442"/>
                  </a:cubicBezTo>
                  <a:cubicBezTo>
                    <a:pt x="37" y="454"/>
                    <a:pt x="37" y="454"/>
                    <a:pt x="37" y="454"/>
                  </a:cubicBezTo>
                  <a:cubicBezTo>
                    <a:pt x="46" y="466"/>
                    <a:pt x="46" y="466"/>
                    <a:pt x="46" y="466"/>
                  </a:cubicBezTo>
                  <a:cubicBezTo>
                    <a:pt x="50" y="460"/>
                    <a:pt x="50" y="460"/>
                    <a:pt x="50" y="460"/>
                  </a:cubicBezTo>
                  <a:cubicBezTo>
                    <a:pt x="61" y="460"/>
                    <a:pt x="61" y="460"/>
                    <a:pt x="61" y="460"/>
                  </a:cubicBezTo>
                  <a:cubicBezTo>
                    <a:pt x="61" y="446"/>
                    <a:pt x="61" y="446"/>
                    <a:pt x="61" y="446"/>
                  </a:cubicBezTo>
                  <a:cubicBezTo>
                    <a:pt x="61" y="446"/>
                    <a:pt x="75" y="433"/>
                    <a:pt x="82" y="432"/>
                  </a:cubicBezTo>
                  <a:cubicBezTo>
                    <a:pt x="89" y="431"/>
                    <a:pt x="91" y="448"/>
                    <a:pt x="91" y="448"/>
                  </a:cubicBezTo>
                  <a:cubicBezTo>
                    <a:pt x="98" y="445"/>
                    <a:pt x="98" y="445"/>
                    <a:pt x="98" y="445"/>
                  </a:cubicBezTo>
                  <a:cubicBezTo>
                    <a:pt x="98" y="445"/>
                    <a:pt x="102" y="466"/>
                    <a:pt x="114" y="461"/>
                  </a:cubicBezTo>
                  <a:cubicBezTo>
                    <a:pt x="126" y="456"/>
                    <a:pt x="125" y="440"/>
                    <a:pt x="125" y="440"/>
                  </a:cubicBezTo>
                  <a:cubicBezTo>
                    <a:pt x="138" y="441"/>
                    <a:pt x="138" y="441"/>
                    <a:pt x="138" y="441"/>
                  </a:cubicBezTo>
                  <a:cubicBezTo>
                    <a:pt x="138" y="441"/>
                    <a:pt x="148" y="425"/>
                    <a:pt x="155" y="432"/>
                  </a:cubicBezTo>
                  <a:cubicBezTo>
                    <a:pt x="162" y="439"/>
                    <a:pt x="144" y="462"/>
                    <a:pt x="159" y="462"/>
                  </a:cubicBezTo>
                  <a:cubicBezTo>
                    <a:pt x="174" y="462"/>
                    <a:pt x="177" y="457"/>
                    <a:pt x="184" y="448"/>
                  </a:cubicBezTo>
                  <a:cubicBezTo>
                    <a:pt x="191" y="439"/>
                    <a:pt x="203" y="418"/>
                    <a:pt x="209" y="418"/>
                  </a:cubicBezTo>
                  <a:cubicBezTo>
                    <a:pt x="215" y="418"/>
                    <a:pt x="225" y="415"/>
                    <a:pt x="225" y="415"/>
                  </a:cubicBezTo>
                  <a:cubicBezTo>
                    <a:pt x="242" y="385"/>
                    <a:pt x="242" y="385"/>
                    <a:pt x="242" y="385"/>
                  </a:cubicBezTo>
                  <a:cubicBezTo>
                    <a:pt x="241" y="318"/>
                    <a:pt x="241" y="318"/>
                    <a:pt x="241" y="318"/>
                  </a:cubicBezTo>
                  <a:cubicBezTo>
                    <a:pt x="241" y="318"/>
                    <a:pt x="259" y="311"/>
                    <a:pt x="260" y="302"/>
                  </a:cubicBezTo>
                  <a:cubicBezTo>
                    <a:pt x="261" y="293"/>
                    <a:pt x="261" y="270"/>
                    <a:pt x="268" y="267"/>
                  </a:cubicBezTo>
                  <a:cubicBezTo>
                    <a:pt x="275" y="264"/>
                    <a:pt x="288" y="258"/>
                    <a:pt x="298" y="251"/>
                  </a:cubicBezTo>
                  <a:cubicBezTo>
                    <a:pt x="308" y="244"/>
                    <a:pt x="314" y="229"/>
                    <a:pt x="314" y="229"/>
                  </a:cubicBezTo>
                  <a:cubicBezTo>
                    <a:pt x="317" y="197"/>
                    <a:pt x="317" y="197"/>
                    <a:pt x="317" y="197"/>
                  </a:cubicBezTo>
                  <a:cubicBezTo>
                    <a:pt x="317" y="197"/>
                    <a:pt x="327" y="189"/>
                    <a:pt x="327" y="178"/>
                  </a:cubicBezTo>
                  <a:cubicBezTo>
                    <a:pt x="327" y="167"/>
                    <a:pt x="318" y="160"/>
                    <a:pt x="320" y="152"/>
                  </a:cubicBezTo>
                  <a:cubicBezTo>
                    <a:pt x="322" y="144"/>
                    <a:pt x="332" y="136"/>
                    <a:pt x="331" y="125"/>
                  </a:cubicBezTo>
                  <a:cubicBezTo>
                    <a:pt x="330" y="114"/>
                    <a:pt x="323" y="87"/>
                    <a:pt x="332" y="77"/>
                  </a:cubicBezTo>
                  <a:cubicBezTo>
                    <a:pt x="341" y="67"/>
                    <a:pt x="356" y="38"/>
                    <a:pt x="356" y="30"/>
                  </a:cubicBezTo>
                  <a:cubicBezTo>
                    <a:pt x="356" y="22"/>
                    <a:pt x="356" y="11"/>
                    <a:pt x="356" y="11"/>
                  </a:cubicBezTo>
                  <a:cubicBezTo>
                    <a:pt x="347" y="4"/>
                    <a:pt x="347" y="4"/>
                    <a:pt x="347" y="4"/>
                  </a:cubicBezTo>
                  <a:cubicBezTo>
                    <a:pt x="347" y="4"/>
                    <a:pt x="343" y="10"/>
                    <a:pt x="332" y="9"/>
                  </a:cubicBezTo>
                  <a:cubicBezTo>
                    <a:pt x="321" y="8"/>
                    <a:pt x="307" y="0"/>
                    <a:pt x="301" y="0"/>
                  </a:cubicBezTo>
                  <a:cubicBezTo>
                    <a:pt x="295" y="0"/>
                    <a:pt x="282" y="11"/>
                    <a:pt x="282" y="11"/>
                  </a:cubicBezTo>
                  <a:cubicBezTo>
                    <a:pt x="262" y="10"/>
                    <a:pt x="262" y="10"/>
                    <a:pt x="262" y="10"/>
                  </a:cubicBezTo>
                  <a:cubicBezTo>
                    <a:pt x="252" y="31"/>
                    <a:pt x="252" y="31"/>
                    <a:pt x="252" y="31"/>
                  </a:cubicBezTo>
                  <a:cubicBezTo>
                    <a:pt x="252" y="31"/>
                    <a:pt x="262" y="44"/>
                    <a:pt x="260" y="51"/>
                  </a:cubicBezTo>
                  <a:cubicBezTo>
                    <a:pt x="258" y="58"/>
                    <a:pt x="242" y="77"/>
                    <a:pt x="242" y="77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 313">
              <a:extLst>
                <a:ext uri="{FF2B5EF4-FFF2-40B4-BE49-F238E27FC236}">
                  <a16:creationId xmlns:a16="http://schemas.microsoft.com/office/drawing/2014/main" id="{CEF7AF3A-9A7D-3B1A-14E9-2CB3B0DA3242}"/>
                </a:ext>
              </a:extLst>
            </p:cNvPr>
            <p:cNvSpPr>
              <a:spLocks/>
            </p:cNvSpPr>
            <p:nvPr/>
          </p:nvSpPr>
          <p:spPr bwMode="gray">
            <a:xfrm>
              <a:off x="-4028" y="-12914"/>
              <a:ext cx="1845" cy="2490"/>
            </a:xfrm>
            <a:custGeom>
              <a:avLst/>
              <a:gdLst>
                <a:gd name="T0" fmla="*/ 569 w 781"/>
                <a:gd name="T1" fmla="*/ 46 h 1054"/>
                <a:gd name="T2" fmla="*/ 443 w 781"/>
                <a:gd name="T3" fmla="*/ 56 h 1054"/>
                <a:gd name="T4" fmla="*/ 143 w 781"/>
                <a:gd name="T5" fmla="*/ 56 h 1054"/>
                <a:gd name="T6" fmla="*/ 101 w 781"/>
                <a:gd name="T7" fmla="*/ 398 h 1054"/>
                <a:gd name="T8" fmla="*/ 41 w 781"/>
                <a:gd name="T9" fmla="*/ 434 h 1054"/>
                <a:gd name="T10" fmla="*/ 30 w 781"/>
                <a:gd name="T11" fmla="*/ 468 h 1054"/>
                <a:gd name="T12" fmla="*/ 15 w 781"/>
                <a:gd name="T13" fmla="*/ 504 h 1054"/>
                <a:gd name="T14" fmla="*/ 11 w 781"/>
                <a:gd name="T15" fmla="*/ 565 h 1054"/>
                <a:gd name="T16" fmla="*/ 42 w 781"/>
                <a:gd name="T17" fmla="*/ 598 h 1054"/>
                <a:gd name="T18" fmla="*/ 56 w 781"/>
                <a:gd name="T19" fmla="*/ 634 h 1054"/>
                <a:gd name="T20" fmla="*/ 93 w 781"/>
                <a:gd name="T21" fmla="*/ 714 h 1054"/>
                <a:gd name="T22" fmla="*/ 83 w 781"/>
                <a:gd name="T23" fmla="*/ 771 h 1054"/>
                <a:gd name="T24" fmla="*/ 116 w 781"/>
                <a:gd name="T25" fmla="*/ 797 h 1054"/>
                <a:gd name="T26" fmla="*/ 171 w 781"/>
                <a:gd name="T27" fmla="*/ 826 h 1054"/>
                <a:gd name="T28" fmla="*/ 208 w 781"/>
                <a:gd name="T29" fmla="*/ 878 h 1054"/>
                <a:gd name="T30" fmla="*/ 225 w 781"/>
                <a:gd name="T31" fmla="*/ 904 h 1054"/>
                <a:gd name="T32" fmla="*/ 256 w 781"/>
                <a:gd name="T33" fmla="*/ 932 h 1054"/>
                <a:gd name="T34" fmla="*/ 285 w 781"/>
                <a:gd name="T35" fmla="*/ 981 h 1054"/>
                <a:gd name="T36" fmla="*/ 333 w 781"/>
                <a:gd name="T37" fmla="*/ 994 h 1054"/>
                <a:gd name="T38" fmla="*/ 390 w 781"/>
                <a:gd name="T39" fmla="*/ 1017 h 1054"/>
                <a:gd name="T40" fmla="*/ 431 w 781"/>
                <a:gd name="T41" fmla="*/ 1049 h 1054"/>
                <a:gd name="T42" fmla="*/ 474 w 781"/>
                <a:gd name="T43" fmla="*/ 1037 h 1054"/>
                <a:gd name="T44" fmla="*/ 508 w 781"/>
                <a:gd name="T45" fmla="*/ 1039 h 1054"/>
                <a:gd name="T46" fmla="*/ 553 w 781"/>
                <a:gd name="T47" fmla="*/ 1040 h 1054"/>
                <a:gd name="T48" fmla="*/ 597 w 781"/>
                <a:gd name="T49" fmla="*/ 995 h 1054"/>
                <a:gd name="T50" fmla="*/ 669 w 781"/>
                <a:gd name="T51" fmla="*/ 976 h 1054"/>
                <a:gd name="T52" fmla="*/ 628 w 781"/>
                <a:gd name="T53" fmla="*/ 912 h 1054"/>
                <a:gd name="T54" fmla="*/ 610 w 781"/>
                <a:gd name="T55" fmla="*/ 882 h 1054"/>
                <a:gd name="T56" fmla="*/ 587 w 781"/>
                <a:gd name="T57" fmla="*/ 846 h 1054"/>
                <a:gd name="T58" fmla="*/ 542 w 781"/>
                <a:gd name="T59" fmla="*/ 802 h 1054"/>
                <a:gd name="T60" fmla="*/ 568 w 781"/>
                <a:gd name="T61" fmla="*/ 792 h 1054"/>
                <a:gd name="T62" fmla="*/ 580 w 781"/>
                <a:gd name="T63" fmla="*/ 719 h 1054"/>
                <a:gd name="T64" fmla="*/ 603 w 781"/>
                <a:gd name="T65" fmla="*/ 656 h 1054"/>
                <a:gd name="T66" fmla="*/ 621 w 781"/>
                <a:gd name="T67" fmla="*/ 631 h 1054"/>
                <a:gd name="T68" fmla="*/ 642 w 781"/>
                <a:gd name="T69" fmla="*/ 596 h 1054"/>
                <a:gd name="T70" fmla="*/ 677 w 781"/>
                <a:gd name="T71" fmla="*/ 555 h 1054"/>
                <a:gd name="T72" fmla="*/ 691 w 781"/>
                <a:gd name="T73" fmla="*/ 471 h 1054"/>
                <a:gd name="T74" fmla="*/ 696 w 781"/>
                <a:gd name="T75" fmla="*/ 414 h 1054"/>
                <a:gd name="T76" fmla="*/ 703 w 781"/>
                <a:gd name="T77" fmla="*/ 346 h 1054"/>
                <a:gd name="T78" fmla="*/ 733 w 781"/>
                <a:gd name="T79" fmla="*/ 321 h 1054"/>
                <a:gd name="T80" fmla="*/ 781 w 781"/>
                <a:gd name="T81" fmla="*/ 271 h 1054"/>
                <a:gd name="T82" fmla="*/ 722 w 781"/>
                <a:gd name="T83" fmla="*/ 228 h 1054"/>
                <a:gd name="T84" fmla="*/ 708 w 781"/>
                <a:gd name="T85" fmla="*/ 127 h 1054"/>
                <a:gd name="T86" fmla="*/ 696 w 781"/>
                <a:gd name="T87" fmla="*/ 84 h 1054"/>
                <a:gd name="T88" fmla="*/ 661 w 781"/>
                <a:gd name="T89" fmla="*/ 23 h 1054"/>
                <a:gd name="T90" fmla="*/ 618 w 781"/>
                <a:gd name="T91" fmla="*/ 15 h 1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81" h="1054">
                  <a:moveTo>
                    <a:pt x="601" y="16"/>
                  </a:moveTo>
                  <a:cubicBezTo>
                    <a:pt x="601" y="16"/>
                    <a:pt x="601" y="39"/>
                    <a:pt x="591" y="43"/>
                  </a:cubicBezTo>
                  <a:cubicBezTo>
                    <a:pt x="581" y="47"/>
                    <a:pt x="579" y="43"/>
                    <a:pt x="569" y="46"/>
                  </a:cubicBezTo>
                  <a:cubicBezTo>
                    <a:pt x="559" y="49"/>
                    <a:pt x="560" y="70"/>
                    <a:pt x="547" y="77"/>
                  </a:cubicBezTo>
                  <a:cubicBezTo>
                    <a:pt x="534" y="84"/>
                    <a:pt x="522" y="59"/>
                    <a:pt x="522" y="59"/>
                  </a:cubicBezTo>
                  <a:cubicBezTo>
                    <a:pt x="443" y="56"/>
                    <a:pt x="443" y="56"/>
                    <a:pt x="443" y="56"/>
                  </a:cubicBezTo>
                  <a:cubicBezTo>
                    <a:pt x="443" y="56"/>
                    <a:pt x="445" y="46"/>
                    <a:pt x="438" y="48"/>
                  </a:cubicBezTo>
                  <a:cubicBezTo>
                    <a:pt x="431" y="50"/>
                    <a:pt x="429" y="60"/>
                    <a:pt x="429" y="60"/>
                  </a:cubicBezTo>
                  <a:cubicBezTo>
                    <a:pt x="143" y="56"/>
                    <a:pt x="143" y="56"/>
                    <a:pt x="143" y="56"/>
                  </a:cubicBezTo>
                  <a:cubicBezTo>
                    <a:pt x="144" y="164"/>
                    <a:pt x="144" y="164"/>
                    <a:pt x="144" y="164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101" y="398"/>
                    <a:pt x="101" y="398"/>
                    <a:pt x="101" y="398"/>
                  </a:cubicBezTo>
                  <a:cubicBezTo>
                    <a:pt x="101" y="398"/>
                    <a:pt x="69" y="393"/>
                    <a:pt x="56" y="397"/>
                  </a:cubicBezTo>
                  <a:cubicBezTo>
                    <a:pt x="43" y="401"/>
                    <a:pt x="52" y="412"/>
                    <a:pt x="54" y="420"/>
                  </a:cubicBezTo>
                  <a:cubicBezTo>
                    <a:pt x="56" y="428"/>
                    <a:pt x="47" y="428"/>
                    <a:pt x="41" y="434"/>
                  </a:cubicBezTo>
                  <a:cubicBezTo>
                    <a:pt x="35" y="440"/>
                    <a:pt x="37" y="452"/>
                    <a:pt x="37" y="452"/>
                  </a:cubicBezTo>
                  <a:cubicBezTo>
                    <a:pt x="27" y="452"/>
                    <a:pt x="27" y="452"/>
                    <a:pt x="27" y="452"/>
                  </a:cubicBezTo>
                  <a:cubicBezTo>
                    <a:pt x="30" y="468"/>
                    <a:pt x="30" y="468"/>
                    <a:pt x="30" y="468"/>
                  </a:cubicBezTo>
                  <a:cubicBezTo>
                    <a:pt x="35" y="479"/>
                    <a:pt x="35" y="479"/>
                    <a:pt x="35" y="479"/>
                  </a:cubicBezTo>
                  <a:cubicBezTo>
                    <a:pt x="24" y="486"/>
                    <a:pt x="24" y="486"/>
                    <a:pt x="24" y="486"/>
                  </a:cubicBezTo>
                  <a:cubicBezTo>
                    <a:pt x="24" y="486"/>
                    <a:pt x="9" y="494"/>
                    <a:pt x="15" y="504"/>
                  </a:cubicBezTo>
                  <a:cubicBezTo>
                    <a:pt x="21" y="514"/>
                    <a:pt x="24" y="518"/>
                    <a:pt x="22" y="527"/>
                  </a:cubicBezTo>
                  <a:cubicBezTo>
                    <a:pt x="20" y="536"/>
                    <a:pt x="6" y="536"/>
                    <a:pt x="3" y="547"/>
                  </a:cubicBezTo>
                  <a:cubicBezTo>
                    <a:pt x="0" y="558"/>
                    <a:pt x="6" y="563"/>
                    <a:pt x="11" y="565"/>
                  </a:cubicBezTo>
                  <a:cubicBezTo>
                    <a:pt x="16" y="567"/>
                    <a:pt x="21" y="557"/>
                    <a:pt x="28" y="560"/>
                  </a:cubicBezTo>
                  <a:cubicBezTo>
                    <a:pt x="35" y="563"/>
                    <a:pt x="33" y="590"/>
                    <a:pt x="33" y="590"/>
                  </a:cubicBezTo>
                  <a:cubicBezTo>
                    <a:pt x="42" y="598"/>
                    <a:pt x="42" y="598"/>
                    <a:pt x="42" y="598"/>
                  </a:cubicBezTo>
                  <a:cubicBezTo>
                    <a:pt x="31" y="603"/>
                    <a:pt x="31" y="603"/>
                    <a:pt x="31" y="603"/>
                  </a:cubicBezTo>
                  <a:cubicBezTo>
                    <a:pt x="35" y="620"/>
                    <a:pt x="35" y="620"/>
                    <a:pt x="35" y="620"/>
                  </a:cubicBezTo>
                  <a:cubicBezTo>
                    <a:pt x="35" y="620"/>
                    <a:pt x="44" y="621"/>
                    <a:pt x="56" y="634"/>
                  </a:cubicBezTo>
                  <a:cubicBezTo>
                    <a:pt x="68" y="647"/>
                    <a:pt x="50" y="643"/>
                    <a:pt x="50" y="643"/>
                  </a:cubicBezTo>
                  <a:cubicBezTo>
                    <a:pt x="52" y="659"/>
                    <a:pt x="52" y="659"/>
                    <a:pt x="52" y="659"/>
                  </a:cubicBezTo>
                  <a:cubicBezTo>
                    <a:pt x="52" y="659"/>
                    <a:pt x="89" y="692"/>
                    <a:pt x="93" y="714"/>
                  </a:cubicBezTo>
                  <a:cubicBezTo>
                    <a:pt x="97" y="736"/>
                    <a:pt x="82" y="743"/>
                    <a:pt x="81" y="753"/>
                  </a:cubicBezTo>
                  <a:cubicBezTo>
                    <a:pt x="80" y="763"/>
                    <a:pt x="89" y="760"/>
                    <a:pt x="89" y="760"/>
                  </a:cubicBezTo>
                  <a:cubicBezTo>
                    <a:pt x="83" y="771"/>
                    <a:pt x="83" y="771"/>
                    <a:pt x="83" y="771"/>
                  </a:cubicBezTo>
                  <a:cubicBezTo>
                    <a:pt x="117" y="774"/>
                    <a:pt x="117" y="774"/>
                    <a:pt x="117" y="774"/>
                  </a:cubicBezTo>
                  <a:cubicBezTo>
                    <a:pt x="117" y="781"/>
                    <a:pt x="117" y="781"/>
                    <a:pt x="117" y="781"/>
                  </a:cubicBezTo>
                  <a:cubicBezTo>
                    <a:pt x="117" y="781"/>
                    <a:pt x="110" y="789"/>
                    <a:pt x="116" y="797"/>
                  </a:cubicBezTo>
                  <a:cubicBezTo>
                    <a:pt x="122" y="805"/>
                    <a:pt x="152" y="803"/>
                    <a:pt x="152" y="803"/>
                  </a:cubicBezTo>
                  <a:cubicBezTo>
                    <a:pt x="152" y="816"/>
                    <a:pt x="152" y="816"/>
                    <a:pt x="152" y="816"/>
                  </a:cubicBezTo>
                  <a:cubicBezTo>
                    <a:pt x="152" y="816"/>
                    <a:pt x="168" y="815"/>
                    <a:pt x="171" y="826"/>
                  </a:cubicBezTo>
                  <a:cubicBezTo>
                    <a:pt x="174" y="837"/>
                    <a:pt x="159" y="831"/>
                    <a:pt x="165" y="841"/>
                  </a:cubicBezTo>
                  <a:cubicBezTo>
                    <a:pt x="171" y="851"/>
                    <a:pt x="185" y="853"/>
                    <a:pt x="192" y="854"/>
                  </a:cubicBezTo>
                  <a:cubicBezTo>
                    <a:pt x="199" y="855"/>
                    <a:pt x="208" y="878"/>
                    <a:pt x="208" y="878"/>
                  </a:cubicBezTo>
                  <a:cubicBezTo>
                    <a:pt x="208" y="878"/>
                    <a:pt x="223" y="879"/>
                    <a:pt x="223" y="887"/>
                  </a:cubicBezTo>
                  <a:cubicBezTo>
                    <a:pt x="223" y="895"/>
                    <a:pt x="216" y="889"/>
                    <a:pt x="217" y="895"/>
                  </a:cubicBezTo>
                  <a:cubicBezTo>
                    <a:pt x="218" y="901"/>
                    <a:pt x="225" y="904"/>
                    <a:pt x="225" y="904"/>
                  </a:cubicBezTo>
                  <a:cubicBezTo>
                    <a:pt x="224" y="917"/>
                    <a:pt x="224" y="917"/>
                    <a:pt x="224" y="917"/>
                  </a:cubicBezTo>
                  <a:cubicBezTo>
                    <a:pt x="239" y="918"/>
                    <a:pt x="239" y="918"/>
                    <a:pt x="239" y="918"/>
                  </a:cubicBezTo>
                  <a:cubicBezTo>
                    <a:pt x="239" y="918"/>
                    <a:pt x="248" y="924"/>
                    <a:pt x="256" y="932"/>
                  </a:cubicBezTo>
                  <a:cubicBezTo>
                    <a:pt x="264" y="940"/>
                    <a:pt x="260" y="954"/>
                    <a:pt x="260" y="954"/>
                  </a:cubicBezTo>
                  <a:cubicBezTo>
                    <a:pt x="264" y="962"/>
                    <a:pt x="264" y="962"/>
                    <a:pt x="264" y="962"/>
                  </a:cubicBezTo>
                  <a:cubicBezTo>
                    <a:pt x="285" y="981"/>
                    <a:pt x="285" y="981"/>
                    <a:pt x="285" y="981"/>
                  </a:cubicBezTo>
                  <a:cubicBezTo>
                    <a:pt x="285" y="995"/>
                    <a:pt x="285" y="995"/>
                    <a:pt x="285" y="995"/>
                  </a:cubicBezTo>
                  <a:cubicBezTo>
                    <a:pt x="316" y="1010"/>
                    <a:pt x="316" y="1010"/>
                    <a:pt x="316" y="1010"/>
                  </a:cubicBezTo>
                  <a:cubicBezTo>
                    <a:pt x="316" y="1010"/>
                    <a:pt x="324" y="994"/>
                    <a:pt x="333" y="994"/>
                  </a:cubicBezTo>
                  <a:cubicBezTo>
                    <a:pt x="342" y="994"/>
                    <a:pt x="343" y="1006"/>
                    <a:pt x="354" y="1006"/>
                  </a:cubicBezTo>
                  <a:cubicBezTo>
                    <a:pt x="365" y="1006"/>
                    <a:pt x="364" y="988"/>
                    <a:pt x="371" y="988"/>
                  </a:cubicBezTo>
                  <a:cubicBezTo>
                    <a:pt x="378" y="988"/>
                    <a:pt x="382" y="1005"/>
                    <a:pt x="390" y="1017"/>
                  </a:cubicBezTo>
                  <a:cubicBezTo>
                    <a:pt x="398" y="1029"/>
                    <a:pt x="417" y="1033"/>
                    <a:pt x="417" y="1033"/>
                  </a:cubicBezTo>
                  <a:cubicBezTo>
                    <a:pt x="420" y="1047"/>
                    <a:pt x="420" y="1047"/>
                    <a:pt x="420" y="1047"/>
                  </a:cubicBezTo>
                  <a:cubicBezTo>
                    <a:pt x="431" y="1049"/>
                    <a:pt x="431" y="1049"/>
                    <a:pt x="431" y="1049"/>
                  </a:cubicBezTo>
                  <a:cubicBezTo>
                    <a:pt x="431" y="1049"/>
                    <a:pt x="442" y="1036"/>
                    <a:pt x="447" y="1036"/>
                  </a:cubicBezTo>
                  <a:cubicBezTo>
                    <a:pt x="452" y="1036"/>
                    <a:pt x="461" y="1043"/>
                    <a:pt x="467" y="1044"/>
                  </a:cubicBezTo>
                  <a:cubicBezTo>
                    <a:pt x="473" y="1045"/>
                    <a:pt x="474" y="1037"/>
                    <a:pt x="474" y="1037"/>
                  </a:cubicBezTo>
                  <a:cubicBezTo>
                    <a:pt x="481" y="1036"/>
                    <a:pt x="481" y="1036"/>
                    <a:pt x="481" y="1036"/>
                  </a:cubicBezTo>
                  <a:cubicBezTo>
                    <a:pt x="495" y="1054"/>
                    <a:pt x="495" y="1054"/>
                    <a:pt x="495" y="1054"/>
                  </a:cubicBezTo>
                  <a:cubicBezTo>
                    <a:pt x="508" y="1039"/>
                    <a:pt x="508" y="1039"/>
                    <a:pt x="508" y="1039"/>
                  </a:cubicBezTo>
                  <a:cubicBezTo>
                    <a:pt x="524" y="1040"/>
                    <a:pt x="524" y="1040"/>
                    <a:pt x="524" y="1040"/>
                  </a:cubicBezTo>
                  <a:cubicBezTo>
                    <a:pt x="524" y="1040"/>
                    <a:pt x="531" y="1032"/>
                    <a:pt x="536" y="1032"/>
                  </a:cubicBezTo>
                  <a:cubicBezTo>
                    <a:pt x="541" y="1032"/>
                    <a:pt x="540" y="1038"/>
                    <a:pt x="553" y="1040"/>
                  </a:cubicBezTo>
                  <a:cubicBezTo>
                    <a:pt x="566" y="1042"/>
                    <a:pt x="575" y="1015"/>
                    <a:pt x="575" y="1015"/>
                  </a:cubicBezTo>
                  <a:cubicBezTo>
                    <a:pt x="583" y="1015"/>
                    <a:pt x="583" y="1015"/>
                    <a:pt x="583" y="1015"/>
                  </a:cubicBezTo>
                  <a:cubicBezTo>
                    <a:pt x="597" y="995"/>
                    <a:pt x="597" y="995"/>
                    <a:pt x="597" y="995"/>
                  </a:cubicBezTo>
                  <a:cubicBezTo>
                    <a:pt x="657" y="994"/>
                    <a:pt x="657" y="994"/>
                    <a:pt x="657" y="994"/>
                  </a:cubicBezTo>
                  <a:cubicBezTo>
                    <a:pt x="670" y="986"/>
                    <a:pt x="670" y="986"/>
                    <a:pt x="670" y="986"/>
                  </a:cubicBezTo>
                  <a:cubicBezTo>
                    <a:pt x="669" y="976"/>
                    <a:pt x="669" y="976"/>
                    <a:pt x="669" y="976"/>
                  </a:cubicBezTo>
                  <a:cubicBezTo>
                    <a:pt x="669" y="976"/>
                    <a:pt x="670" y="962"/>
                    <a:pt x="665" y="954"/>
                  </a:cubicBezTo>
                  <a:cubicBezTo>
                    <a:pt x="660" y="946"/>
                    <a:pt x="650" y="955"/>
                    <a:pt x="640" y="947"/>
                  </a:cubicBezTo>
                  <a:cubicBezTo>
                    <a:pt x="630" y="939"/>
                    <a:pt x="628" y="912"/>
                    <a:pt x="628" y="912"/>
                  </a:cubicBezTo>
                  <a:cubicBezTo>
                    <a:pt x="621" y="908"/>
                    <a:pt x="621" y="908"/>
                    <a:pt x="621" y="908"/>
                  </a:cubicBezTo>
                  <a:cubicBezTo>
                    <a:pt x="619" y="883"/>
                    <a:pt x="619" y="883"/>
                    <a:pt x="619" y="883"/>
                  </a:cubicBezTo>
                  <a:cubicBezTo>
                    <a:pt x="610" y="882"/>
                    <a:pt x="610" y="882"/>
                    <a:pt x="610" y="882"/>
                  </a:cubicBezTo>
                  <a:cubicBezTo>
                    <a:pt x="607" y="869"/>
                    <a:pt x="607" y="869"/>
                    <a:pt x="607" y="869"/>
                  </a:cubicBezTo>
                  <a:cubicBezTo>
                    <a:pt x="607" y="869"/>
                    <a:pt x="596" y="871"/>
                    <a:pt x="592" y="866"/>
                  </a:cubicBezTo>
                  <a:cubicBezTo>
                    <a:pt x="588" y="861"/>
                    <a:pt x="587" y="846"/>
                    <a:pt x="587" y="846"/>
                  </a:cubicBezTo>
                  <a:cubicBezTo>
                    <a:pt x="587" y="846"/>
                    <a:pt x="570" y="831"/>
                    <a:pt x="562" y="827"/>
                  </a:cubicBezTo>
                  <a:cubicBezTo>
                    <a:pt x="554" y="823"/>
                    <a:pt x="538" y="829"/>
                    <a:pt x="535" y="824"/>
                  </a:cubicBezTo>
                  <a:cubicBezTo>
                    <a:pt x="532" y="819"/>
                    <a:pt x="542" y="802"/>
                    <a:pt x="542" y="802"/>
                  </a:cubicBezTo>
                  <a:cubicBezTo>
                    <a:pt x="540" y="786"/>
                    <a:pt x="540" y="786"/>
                    <a:pt x="540" y="786"/>
                  </a:cubicBezTo>
                  <a:cubicBezTo>
                    <a:pt x="563" y="787"/>
                    <a:pt x="563" y="787"/>
                    <a:pt x="563" y="787"/>
                  </a:cubicBezTo>
                  <a:cubicBezTo>
                    <a:pt x="568" y="792"/>
                    <a:pt x="568" y="792"/>
                    <a:pt x="568" y="792"/>
                  </a:cubicBezTo>
                  <a:cubicBezTo>
                    <a:pt x="568" y="792"/>
                    <a:pt x="575" y="787"/>
                    <a:pt x="582" y="782"/>
                  </a:cubicBezTo>
                  <a:cubicBezTo>
                    <a:pt x="589" y="777"/>
                    <a:pt x="586" y="746"/>
                    <a:pt x="586" y="746"/>
                  </a:cubicBezTo>
                  <a:cubicBezTo>
                    <a:pt x="586" y="746"/>
                    <a:pt x="579" y="727"/>
                    <a:pt x="580" y="719"/>
                  </a:cubicBezTo>
                  <a:cubicBezTo>
                    <a:pt x="581" y="711"/>
                    <a:pt x="596" y="700"/>
                    <a:pt x="597" y="697"/>
                  </a:cubicBezTo>
                  <a:cubicBezTo>
                    <a:pt x="598" y="694"/>
                    <a:pt x="592" y="683"/>
                    <a:pt x="592" y="676"/>
                  </a:cubicBezTo>
                  <a:cubicBezTo>
                    <a:pt x="592" y="669"/>
                    <a:pt x="598" y="656"/>
                    <a:pt x="603" y="656"/>
                  </a:cubicBezTo>
                  <a:cubicBezTo>
                    <a:pt x="608" y="656"/>
                    <a:pt x="610" y="667"/>
                    <a:pt x="610" y="667"/>
                  </a:cubicBezTo>
                  <a:cubicBezTo>
                    <a:pt x="610" y="667"/>
                    <a:pt x="616" y="670"/>
                    <a:pt x="622" y="662"/>
                  </a:cubicBezTo>
                  <a:cubicBezTo>
                    <a:pt x="628" y="654"/>
                    <a:pt x="621" y="631"/>
                    <a:pt x="621" y="631"/>
                  </a:cubicBezTo>
                  <a:cubicBezTo>
                    <a:pt x="628" y="620"/>
                    <a:pt x="628" y="620"/>
                    <a:pt x="628" y="620"/>
                  </a:cubicBezTo>
                  <a:cubicBezTo>
                    <a:pt x="626" y="605"/>
                    <a:pt x="626" y="605"/>
                    <a:pt x="626" y="605"/>
                  </a:cubicBezTo>
                  <a:cubicBezTo>
                    <a:pt x="626" y="605"/>
                    <a:pt x="637" y="601"/>
                    <a:pt x="642" y="596"/>
                  </a:cubicBezTo>
                  <a:cubicBezTo>
                    <a:pt x="647" y="591"/>
                    <a:pt x="642" y="581"/>
                    <a:pt x="643" y="576"/>
                  </a:cubicBezTo>
                  <a:cubicBezTo>
                    <a:pt x="644" y="571"/>
                    <a:pt x="655" y="557"/>
                    <a:pt x="655" y="557"/>
                  </a:cubicBezTo>
                  <a:cubicBezTo>
                    <a:pt x="677" y="555"/>
                    <a:pt x="677" y="555"/>
                    <a:pt x="677" y="555"/>
                  </a:cubicBezTo>
                  <a:cubicBezTo>
                    <a:pt x="677" y="555"/>
                    <a:pt x="675" y="537"/>
                    <a:pt x="675" y="529"/>
                  </a:cubicBezTo>
                  <a:cubicBezTo>
                    <a:pt x="675" y="521"/>
                    <a:pt x="691" y="501"/>
                    <a:pt x="691" y="501"/>
                  </a:cubicBezTo>
                  <a:cubicBezTo>
                    <a:pt x="691" y="471"/>
                    <a:pt x="691" y="471"/>
                    <a:pt x="691" y="471"/>
                  </a:cubicBezTo>
                  <a:cubicBezTo>
                    <a:pt x="689" y="438"/>
                    <a:pt x="689" y="438"/>
                    <a:pt x="689" y="438"/>
                  </a:cubicBezTo>
                  <a:cubicBezTo>
                    <a:pt x="689" y="438"/>
                    <a:pt x="683" y="436"/>
                    <a:pt x="684" y="428"/>
                  </a:cubicBezTo>
                  <a:cubicBezTo>
                    <a:pt x="685" y="420"/>
                    <a:pt x="696" y="421"/>
                    <a:pt x="696" y="414"/>
                  </a:cubicBezTo>
                  <a:cubicBezTo>
                    <a:pt x="696" y="407"/>
                    <a:pt x="697" y="397"/>
                    <a:pt x="697" y="397"/>
                  </a:cubicBezTo>
                  <a:cubicBezTo>
                    <a:pt x="697" y="397"/>
                    <a:pt x="709" y="395"/>
                    <a:pt x="709" y="377"/>
                  </a:cubicBezTo>
                  <a:cubicBezTo>
                    <a:pt x="709" y="359"/>
                    <a:pt x="703" y="349"/>
                    <a:pt x="703" y="346"/>
                  </a:cubicBezTo>
                  <a:cubicBezTo>
                    <a:pt x="703" y="343"/>
                    <a:pt x="714" y="338"/>
                    <a:pt x="714" y="338"/>
                  </a:cubicBezTo>
                  <a:cubicBezTo>
                    <a:pt x="714" y="328"/>
                    <a:pt x="714" y="328"/>
                    <a:pt x="714" y="328"/>
                  </a:cubicBezTo>
                  <a:cubicBezTo>
                    <a:pt x="714" y="328"/>
                    <a:pt x="732" y="328"/>
                    <a:pt x="733" y="321"/>
                  </a:cubicBezTo>
                  <a:cubicBezTo>
                    <a:pt x="734" y="314"/>
                    <a:pt x="734" y="306"/>
                    <a:pt x="734" y="306"/>
                  </a:cubicBezTo>
                  <a:cubicBezTo>
                    <a:pt x="734" y="306"/>
                    <a:pt x="761" y="304"/>
                    <a:pt x="770" y="296"/>
                  </a:cubicBezTo>
                  <a:cubicBezTo>
                    <a:pt x="775" y="292"/>
                    <a:pt x="779" y="280"/>
                    <a:pt x="781" y="271"/>
                  </a:cubicBezTo>
                  <a:cubicBezTo>
                    <a:pt x="756" y="256"/>
                    <a:pt x="756" y="256"/>
                    <a:pt x="756" y="256"/>
                  </a:cubicBezTo>
                  <a:cubicBezTo>
                    <a:pt x="756" y="256"/>
                    <a:pt x="753" y="240"/>
                    <a:pt x="747" y="236"/>
                  </a:cubicBezTo>
                  <a:cubicBezTo>
                    <a:pt x="741" y="232"/>
                    <a:pt x="726" y="242"/>
                    <a:pt x="722" y="228"/>
                  </a:cubicBezTo>
                  <a:cubicBezTo>
                    <a:pt x="718" y="214"/>
                    <a:pt x="717" y="176"/>
                    <a:pt x="717" y="176"/>
                  </a:cubicBezTo>
                  <a:cubicBezTo>
                    <a:pt x="710" y="174"/>
                    <a:pt x="710" y="174"/>
                    <a:pt x="710" y="174"/>
                  </a:cubicBezTo>
                  <a:cubicBezTo>
                    <a:pt x="710" y="174"/>
                    <a:pt x="708" y="132"/>
                    <a:pt x="708" y="127"/>
                  </a:cubicBezTo>
                  <a:cubicBezTo>
                    <a:pt x="708" y="122"/>
                    <a:pt x="703" y="111"/>
                    <a:pt x="703" y="111"/>
                  </a:cubicBezTo>
                  <a:cubicBezTo>
                    <a:pt x="715" y="108"/>
                    <a:pt x="715" y="108"/>
                    <a:pt x="715" y="108"/>
                  </a:cubicBezTo>
                  <a:cubicBezTo>
                    <a:pt x="715" y="108"/>
                    <a:pt x="697" y="93"/>
                    <a:pt x="696" y="84"/>
                  </a:cubicBezTo>
                  <a:cubicBezTo>
                    <a:pt x="695" y="75"/>
                    <a:pt x="701" y="59"/>
                    <a:pt x="693" y="53"/>
                  </a:cubicBezTo>
                  <a:cubicBezTo>
                    <a:pt x="685" y="47"/>
                    <a:pt x="674" y="39"/>
                    <a:pt x="674" y="39"/>
                  </a:cubicBezTo>
                  <a:cubicBezTo>
                    <a:pt x="674" y="39"/>
                    <a:pt x="665" y="27"/>
                    <a:pt x="661" y="23"/>
                  </a:cubicBezTo>
                  <a:cubicBezTo>
                    <a:pt x="657" y="19"/>
                    <a:pt x="656" y="26"/>
                    <a:pt x="650" y="22"/>
                  </a:cubicBezTo>
                  <a:cubicBezTo>
                    <a:pt x="646" y="19"/>
                    <a:pt x="639" y="10"/>
                    <a:pt x="634" y="0"/>
                  </a:cubicBezTo>
                  <a:cubicBezTo>
                    <a:pt x="618" y="15"/>
                    <a:pt x="618" y="15"/>
                    <a:pt x="618" y="15"/>
                  </a:cubicBezTo>
                  <a:lnTo>
                    <a:pt x="601" y="16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 314">
              <a:extLst>
                <a:ext uri="{FF2B5EF4-FFF2-40B4-BE49-F238E27FC236}">
                  <a16:creationId xmlns:a16="http://schemas.microsoft.com/office/drawing/2014/main" id="{72292AD0-A527-5744-FE9F-561BBB3D76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369" y="-17411"/>
              <a:ext cx="470" cy="1875"/>
            </a:xfrm>
            <a:custGeom>
              <a:avLst/>
              <a:gdLst>
                <a:gd name="T0" fmla="*/ 0 w 199"/>
                <a:gd name="T1" fmla="*/ 794 h 794"/>
                <a:gd name="T2" fmla="*/ 9 w 199"/>
                <a:gd name="T3" fmla="*/ 791 h 794"/>
                <a:gd name="T4" fmla="*/ 25 w 199"/>
                <a:gd name="T5" fmla="*/ 764 h 794"/>
                <a:gd name="T6" fmla="*/ 12 w 199"/>
                <a:gd name="T7" fmla="*/ 755 h 794"/>
                <a:gd name="T8" fmla="*/ 0 w 199"/>
                <a:gd name="T9" fmla="*/ 794 h 794"/>
                <a:gd name="T10" fmla="*/ 76 w 199"/>
                <a:gd name="T11" fmla="*/ 712 h 794"/>
                <a:gd name="T12" fmla="*/ 49 w 199"/>
                <a:gd name="T13" fmla="*/ 708 h 794"/>
                <a:gd name="T14" fmla="*/ 36 w 199"/>
                <a:gd name="T15" fmla="*/ 755 h 794"/>
                <a:gd name="T16" fmla="*/ 43 w 199"/>
                <a:gd name="T17" fmla="*/ 757 h 794"/>
                <a:gd name="T18" fmla="*/ 55 w 199"/>
                <a:gd name="T19" fmla="*/ 733 h 794"/>
                <a:gd name="T20" fmla="*/ 88 w 199"/>
                <a:gd name="T21" fmla="*/ 715 h 794"/>
                <a:gd name="T22" fmla="*/ 79 w 199"/>
                <a:gd name="T23" fmla="*/ 699 h 794"/>
                <a:gd name="T24" fmla="*/ 76 w 199"/>
                <a:gd name="T25" fmla="*/ 712 h 794"/>
                <a:gd name="T26" fmla="*/ 128 w 199"/>
                <a:gd name="T27" fmla="*/ 672 h 794"/>
                <a:gd name="T28" fmla="*/ 117 w 199"/>
                <a:gd name="T29" fmla="*/ 697 h 794"/>
                <a:gd name="T30" fmla="*/ 128 w 199"/>
                <a:gd name="T31" fmla="*/ 672 h 794"/>
                <a:gd name="T32" fmla="*/ 189 w 199"/>
                <a:gd name="T33" fmla="*/ 423 h 794"/>
                <a:gd name="T34" fmla="*/ 177 w 199"/>
                <a:gd name="T35" fmla="*/ 434 h 794"/>
                <a:gd name="T36" fmla="*/ 185 w 199"/>
                <a:gd name="T37" fmla="*/ 449 h 794"/>
                <a:gd name="T38" fmla="*/ 173 w 199"/>
                <a:gd name="T39" fmla="*/ 449 h 794"/>
                <a:gd name="T40" fmla="*/ 173 w 199"/>
                <a:gd name="T41" fmla="*/ 469 h 794"/>
                <a:gd name="T42" fmla="*/ 189 w 199"/>
                <a:gd name="T43" fmla="*/ 467 h 794"/>
                <a:gd name="T44" fmla="*/ 198 w 199"/>
                <a:gd name="T45" fmla="*/ 456 h 794"/>
                <a:gd name="T46" fmla="*/ 189 w 199"/>
                <a:gd name="T47" fmla="*/ 437 h 794"/>
                <a:gd name="T48" fmla="*/ 199 w 199"/>
                <a:gd name="T49" fmla="*/ 435 h 794"/>
                <a:gd name="T50" fmla="*/ 189 w 199"/>
                <a:gd name="T51" fmla="*/ 423 h 794"/>
                <a:gd name="T52" fmla="*/ 184 w 199"/>
                <a:gd name="T53" fmla="*/ 513 h 794"/>
                <a:gd name="T54" fmla="*/ 195 w 199"/>
                <a:gd name="T55" fmla="*/ 499 h 794"/>
                <a:gd name="T56" fmla="*/ 178 w 199"/>
                <a:gd name="T57" fmla="*/ 485 h 794"/>
                <a:gd name="T58" fmla="*/ 184 w 199"/>
                <a:gd name="T59" fmla="*/ 513 h 794"/>
                <a:gd name="T60" fmla="*/ 170 w 199"/>
                <a:gd name="T61" fmla="*/ 636 h 794"/>
                <a:gd name="T62" fmla="*/ 171 w 199"/>
                <a:gd name="T63" fmla="*/ 615 h 794"/>
                <a:gd name="T64" fmla="*/ 162 w 199"/>
                <a:gd name="T65" fmla="*/ 632 h 794"/>
                <a:gd name="T66" fmla="*/ 170 w 199"/>
                <a:gd name="T67" fmla="*/ 636 h 794"/>
                <a:gd name="T68" fmla="*/ 169 w 199"/>
                <a:gd name="T69" fmla="*/ 573 h 794"/>
                <a:gd name="T70" fmla="*/ 181 w 199"/>
                <a:gd name="T71" fmla="*/ 571 h 794"/>
                <a:gd name="T72" fmla="*/ 169 w 199"/>
                <a:gd name="T73" fmla="*/ 559 h 794"/>
                <a:gd name="T74" fmla="*/ 169 w 199"/>
                <a:gd name="T75" fmla="*/ 573 h 794"/>
                <a:gd name="T76" fmla="*/ 82 w 199"/>
                <a:gd name="T77" fmla="*/ 14 h 794"/>
                <a:gd name="T78" fmla="*/ 94 w 199"/>
                <a:gd name="T79" fmla="*/ 38 h 794"/>
                <a:gd name="T80" fmla="*/ 114 w 199"/>
                <a:gd name="T81" fmla="*/ 14 h 794"/>
                <a:gd name="T82" fmla="*/ 106 w 199"/>
                <a:gd name="T83" fmla="*/ 0 h 794"/>
                <a:gd name="T84" fmla="*/ 82 w 199"/>
                <a:gd name="T85" fmla="*/ 1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9" h="794">
                  <a:moveTo>
                    <a:pt x="0" y="794"/>
                  </a:moveTo>
                  <a:cubicBezTo>
                    <a:pt x="9" y="791"/>
                    <a:pt x="9" y="791"/>
                    <a:pt x="9" y="791"/>
                  </a:cubicBezTo>
                  <a:cubicBezTo>
                    <a:pt x="25" y="764"/>
                    <a:pt x="25" y="764"/>
                    <a:pt x="25" y="764"/>
                  </a:cubicBezTo>
                  <a:cubicBezTo>
                    <a:pt x="12" y="755"/>
                    <a:pt x="12" y="755"/>
                    <a:pt x="12" y="755"/>
                  </a:cubicBezTo>
                  <a:lnTo>
                    <a:pt x="0" y="794"/>
                  </a:lnTo>
                  <a:close/>
                  <a:moveTo>
                    <a:pt x="76" y="712"/>
                  </a:moveTo>
                  <a:cubicBezTo>
                    <a:pt x="49" y="708"/>
                    <a:pt x="49" y="708"/>
                    <a:pt x="49" y="708"/>
                  </a:cubicBezTo>
                  <a:cubicBezTo>
                    <a:pt x="36" y="755"/>
                    <a:pt x="36" y="755"/>
                    <a:pt x="36" y="755"/>
                  </a:cubicBezTo>
                  <a:cubicBezTo>
                    <a:pt x="43" y="757"/>
                    <a:pt x="43" y="757"/>
                    <a:pt x="43" y="757"/>
                  </a:cubicBezTo>
                  <a:cubicBezTo>
                    <a:pt x="55" y="733"/>
                    <a:pt x="55" y="733"/>
                    <a:pt x="55" y="733"/>
                  </a:cubicBezTo>
                  <a:cubicBezTo>
                    <a:pt x="88" y="715"/>
                    <a:pt x="88" y="715"/>
                    <a:pt x="88" y="715"/>
                  </a:cubicBezTo>
                  <a:cubicBezTo>
                    <a:pt x="79" y="699"/>
                    <a:pt x="79" y="699"/>
                    <a:pt x="79" y="699"/>
                  </a:cubicBezTo>
                  <a:lnTo>
                    <a:pt x="76" y="712"/>
                  </a:lnTo>
                  <a:close/>
                  <a:moveTo>
                    <a:pt x="128" y="672"/>
                  </a:moveTo>
                  <a:cubicBezTo>
                    <a:pt x="119" y="670"/>
                    <a:pt x="109" y="694"/>
                    <a:pt x="117" y="697"/>
                  </a:cubicBezTo>
                  <a:cubicBezTo>
                    <a:pt x="128" y="701"/>
                    <a:pt x="138" y="675"/>
                    <a:pt x="128" y="672"/>
                  </a:cubicBezTo>
                  <a:close/>
                  <a:moveTo>
                    <a:pt x="189" y="423"/>
                  </a:moveTo>
                  <a:cubicBezTo>
                    <a:pt x="177" y="434"/>
                    <a:pt x="177" y="434"/>
                    <a:pt x="177" y="434"/>
                  </a:cubicBezTo>
                  <a:cubicBezTo>
                    <a:pt x="185" y="449"/>
                    <a:pt x="185" y="449"/>
                    <a:pt x="185" y="449"/>
                  </a:cubicBezTo>
                  <a:cubicBezTo>
                    <a:pt x="173" y="449"/>
                    <a:pt x="173" y="449"/>
                    <a:pt x="173" y="449"/>
                  </a:cubicBezTo>
                  <a:cubicBezTo>
                    <a:pt x="173" y="469"/>
                    <a:pt x="173" y="469"/>
                    <a:pt x="173" y="469"/>
                  </a:cubicBezTo>
                  <a:cubicBezTo>
                    <a:pt x="189" y="467"/>
                    <a:pt x="189" y="467"/>
                    <a:pt x="189" y="467"/>
                  </a:cubicBezTo>
                  <a:cubicBezTo>
                    <a:pt x="198" y="456"/>
                    <a:pt x="198" y="456"/>
                    <a:pt x="198" y="456"/>
                  </a:cubicBezTo>
                  <a:cubicBezTo>
                    <a:pt x="189" y="437"/>
                    <a:pt x="189" y="437"/>
                    <a:pt x="189" y="437"/>
                  </a:cubicBezTo>
                  <a:cubicBezTo>
                    <a:pt x="199" y="435"/>
                    <a:pt x="199" y="435"/>
                    <a:pt x="199" y="435"/>
                  </a:cubicBezTo>
                  <a:lnTo>
                    <a:pt x="189" y="423"/>
                  </a:lnTo>
                  <a:close/>
                  <a:moveTo>
                    <a:pt x="184" y="513"/>
                  </a:moveTo>
                  <a:cubicBezTo>
                    <a:pt x="195" y="499"/>
                    <a:pt x="195" y="499"/>
                    <a:pt x="195" y="499"/>
                  </a:cubicBezTo>
                  <a:cubicBezTo>
                    <a:pt x="178" y="485"/>
                    <a:pt x="178" y="485"/>
                    <a:pt x="178" y="485"/>
                  </a:cubicBezTo>
                  <a:lnTo>
                    <a:pt x="184" y="513"/>
                  </a:lnTo>
                  <a:close/>
                  <a:moveTo>
                    <a:pt x="170" y="636"/>
                  </a:moveTo>
                  <a:cubicBezTo>
                    <a:pt x="171" y="615"/>
                    <a:pt x="171" y="615"/>
                    <a:pt x="171" y="615"/>
                  </a:cubicBezTo>
                  <a:cubicBezTo>
                    <a:pt x="162" y="632"/>
                    <a:pt x="162" y="632"/>
                    <a:pt x="162" y="632"/>
                  </a:cubicBezTo>
                  <a:lnTo>
                    <a:pt x="170" y="636"/>
                  </a:lnTo>
                  <a:close/>
                  <a:moveTo>
                    <a:pt x="169" y="573"/>
                  </a:moveTo>
                  <a:cubicBezTo>
                    <a:pt x="181" y="571"/>
                    <a:pt x="181" y="571"/>
                    <a:pt x="181" y="571"/>
                  </a:cubicBezTo>
                  <a:cubicBezTo>
                    <a:pt x="169" y="559"/>
                    <a:pt x="169" y="559"/>
                    <a:pt x="169" y="559"/>
                  </a:cubicBezTo>
                  <a:lnTo>
                    <a:pt x="169" y="573"/>
                  </a:lnTo>
                  <a:close/>
                  <a:moveTo>
                    <a:pt x="82" y="14"/>
                  </a:moveTo>
                  <a:cubicBezTo>
                    <a:pt x="94" y="38"/>
                    <a:pt x="94" y="38"/>
                    <a:pt x="94" y="3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06" y="0"/>
                    <a:pt x="106" y="0"/>
                    <a:pt x="106" y="0"/>
                  </a:cubicBezTo>
                  <a:lnTo>
                    <a:pt x="82" y="14"/>
                  </a:lnTo>
                  <a:close/>
                </a:path>
              </a:pathLst>
            </a:custGeom>
            <a:grpFill/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 315">
              <a:extLst>
                <a:ext uri="{FF2B5EF4-FFF2-40B4-BE49-F238E27FC236}">
                  <a16:creationId xmlns:a16="http://schemas.microsoft.com/office/drawing/2014/main" id="{4C571BB3-34D0-A1EC-8207-44FAFD48CD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53" y="-12193"/>
              <a:ext cx="180" cy="123"/>
            </a:xfrm>
            <a:custGeom>
              <a:avLst/>
              <a:gdLst>
                <a:gd name="T0" fmla="*/ 16 w 76"/>
                <a:gd name="T1" fmla="*/ 34 h 52"/>
                <a:gd name="T2" fmla="*/ 11 w 76"/>
                <a:gd name="T3" fmla="*/ 52 h 52"/>
                <a:gd name="T4" fmla="*/ 16 w 76"/>
                <a:gd name="T5" fmla="*/ 34 h 52"/>
                <a:gd name="T6" fmla="*/ 35 w 76"/>
                <a:gd name="T7" fmla="*/ 8 h 52"/>
                <a:gd name="T8" fmla="*/ 47 w 76"/>
                <a:gd name="T9" fmla="*/ 26 h 52"/>
                <a:gd name="T10" fmla="*/ 58 w 76"/>
                <a:gd name="T11" fmla="*/ 21 h 52"/>
                <a:gd name="T12" fmla="*/ 35 w 76"/>
                <a:gd name="T13" fmla="*/ 8 h 52"/>
                <a:gd name="T14" fmla="*/ 71 w 76"/>
                <a:gd name="T15" fmla="*/ 32 h 52"/>
                <a:gd name="T16" fmla="*/ 58 w 76"/>
                <a:gd name="T17" fmla="*/ 42 h 52"/>
                <a:gd name="T18" fmla="*/ 71 w 76"/>
                <a:gd name="T19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52">
                  <a:moveTo>
                    <a:pt x="16" y="34"/>
                  </a:moveTo>
                  <a:cubicBezTo>
                    <a:pt x="0" y="34"/>
                    <a:pt x="11" y="52"/>
                    <a:pt x="11" y="52"/>
                  </a:cubicBezTo>
                  <a:cubicBezTo>
                    <a:pt x="23" y="52"/>
                    <a:pt x="32" y="34"/>
                    <a:pt x="16" y="34"/>
                  </a:cubicBezTo>
                  <a:close/>
                  <a:moveTo>
                    <a:pt x="35" y="8"/>
                  </a:moveTo>
                  <a:cubicBezTo>
                    <a:pt x="28" y="16"/>
                    <a:pt x="47" y="26"/>
                    <a:pt x="47" y="26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41" y="0"/>
                    <a:pt x="35" y="8"/>
                  </a:cubicBezTo>
                  <a:close/>
                  <a:moveTo>
                    <a:pt x="71" y="32"/>
                  </a:moveTo>
                  <a:cubicBezTo>
                    <a:pt x="66" y="26"/>
                    <a:pt x="51" y="38"/>
                    <a:pt x="58" y="42"/>
                  </a:cubicBezTo>
                  <a:cubicBezTo>
                    <a:pt x="68" y="48"/>
                    <a:pt x="76" y="37"/>
                    <a:pt x="71" y="32"/>
                  </a:cubicBezTo>
                  <a:close/>
                </a:path>
              </a:pathLst>
            </a:custGeom>
            <a:grpFill/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 316">
              <a:extLst>
                <a:ext uri="{FF2B5EF4-FFF2-40B4-BE49-F238E27FC236}">
                  <a16:creationId xmlns:a16="http://schemas.microsoft.com/office/drawing/2014/main" id="{B5590BB7-E11B-C130-A266-64EFA123CF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58" y="-15774"/>
              <a:ext cx="1396" cy="2723"/>
            </a:xfrm>
            <a:custGeom>
              <a:avLst/>
              <a:gdLst>
                <a:gd name="T0" fmla="*/ 529 w 591"/>
                <a:gd name="T1" fmla="*/ 401 h 1153"/>
                <a:gd name="T2" fmla="*/ 547 w 591"/>
                <a:gd name="T3" fmla="*/ 349 h 1153"/>
                <a:gd name="T4" fmla="*/ 492 w 591"/>
                <a:gd name="T5" fmla="*/ 276 h 1153"/>
                <a:gd name="T6" fmla="*/ 448 w 591"/>
                <a:gd name="T7" fmla="*/ 241 h 1153"/>
                <a:gd name="T8" fmla="*/ 441 w 591"/>
                <a:gd name="T9" fmla="*/ 258 h 1153"/>
                <a:gd name="T10" fmla="*/ 418 w 591"/>
                <a:gd name="T11" fmla="*/ 264 h 1153"/>
                <a:gd name="T12" fmla="*/ 456 w 591"/>
                <a:gd name="T13" fmla="*/ 373 h 1153"/>
                <a:gd name="T14" fmla="*/ 443 w 591"/>
                <a:gd name="T15" fmla="*/ 450 h 1153"/>
                <a:gd name="T16" fmla="*/ 383 w 591"/>
                <a:gd name="T17" fmla="*/ 448 h 1153"/>
                <a:gd name="T18" fmla="*/ 367 w 591"/>
                <a:gd name="T19" fmla="*/ 514 h 1153"/>
                <a:gd name="T20" fmla="*/ 259 w 591"/>
                <a:gd name="T21" fmla="*/ 546 h 1153"/>
                <a:gd name="T22" fmla="*/ 179 w 591"/>
                <a:gd name="T23" fmla="*/ 601 h 1153"/>
                <a:gd name="T24" fmla="*/ 241 w 591"/>
                <a:gd name="T25" fmla="*/ 607 h 1153"/>
                <a:gd name="T26" fmla="*/ 331 w 591"/>
                <a:gd name="T27" fmla="*/ 584 h 1153"/>
                <a:gd name="T28" fmla="*/ 407 w 591"/>
                <a:gd name="T29" fmla="*/ 654 h 1153"/>
                <a:gd name="T30" fmla="*/ 415 w 591"/>
                <a:gd name="T31" fmla="*/ 583 h 1153"/>
                <a:gd name="T32" fmla="*/ 464 w 591"/>
                <a:gd name="T33" fmla="*/ 585 h 1153"/>
                <a:gd name="T34" fmla="*/ 528 w 591"/>
                <a:gd name="T35" fmla="*/ 556 h 1153"/>
                <a:gd name="T36" fmla="*/ 578 w 591"/>
                <a:gd name="T37" fmla="*/ 538 h 1153"/>
                <a:gd name="T38" fmla="*/ 299 w 591"/>
                <a:gd name="T39" fmla="*/ 628 h 1153"/>
                <a:gd name="T40" fmla="*/ 276 w 591"/>
                <a:gd name="T41" fmla="*/ 674 h 1153"/>
                <a:gd name="T42" fmla="*/ 358 w 591"/>
                <a:gd name="T43" fmla="*/ 638 h 1153"/>
                <a:gd name="T44" fmla="*/ 256 w 591"/>
                <a:gd name="T45" fmla="*/ 689 h 1153"/>
                <a:gd name="T46" fmla="*/ 184 w 591"/>
                <a:gd name="T47" fmla="*/ 634 h 1153"/>
                <a:gd name="T48" fmla="*/ 174 w 591"/>
                <a:gd name="T49" fmla="*/ 687 h 1153"/>
                <a:gd name="T50" fmla="*/ 182 w 591"/>
                <a:gd name="T51" fmla="*/ 727 h 1153"/>
                <a:gd name="T52" fmla="*/ 233 w 591"/>
                <a:gd name="T53" fmla="*/ 780 h 1153"/>
                <a:gd name="T54" fmla="*/ 172 w 591"/>
                <a:gd name="T55" fmla="*/ 718 h 1153"/>
                <a:gd name="T56" fmla="*/ 432 w 591"/>
                <a:gd name="T57" fmla="*/ 423 h 1153"/>
                <a:gd name="T58" fmla="*/ 411 w 591"/>
                <a:gd name="T59" fmla="*/ 400 h 1153"/>
                <a:gd name="T60" fmla="*/ 374 w 591"/>
                <a:gd name="T61" fmla="*/ 72 h 1153"/>
                <a:gd name="T62" fmla="*/ 354 w 591"/>
                <a:gd name="T63" fmla="*/ 123 h 1153"/>
                <a:gd name="T64" fmla="*/ 390 w 591"/>
                <a:gd name="T65" fmla="*/ 198 h 1153"/>
                <a:gd name="T66" fmla="*/ 437 w 591"/>
                <a:gd name="T67" fmla="*/ 205 h 1153"/>
                <a:gd name="T68" fmla="*/ 409 w 591"/>
                <a:gd name="T69" fmla="*/ 179 h 1153"/>
                <a:gd name="T70" fmla="*/ 557 w 591"/>
                <a:gd name="T71" fmla="*/ 147 h 1153"/>
                <a:gd name="T72" fmla="*/ 523 w 591"/>
                <a:gd name="T73" fmla="*/ 96 h 1153"/>
                <a:gd name="T74" fmla="*/ 194 w 591"/>
                <a:gd name="T75" fmla="*/ 984 h 1153"/>
                <a:gd name="T76" fmla="*/ 208 w 591"/>
                <a:gd name="T77" fmla="*/ 933 h 1153"/>
                <a:gd name="T78" fmla="*/ 208 w 591"/>
                <a:gd name="T79" fmla="*/ 933 h 1153"/>
                <a:gd name="T80" fmla="*/ 230 w 591"/>
                <a:gd name="T81" fmla="*/ 810 h 1153"/>
                <a:gd name="T82" fmla="*/ 252 w 591"/>
                <a:gd name="T83" fmla="*/ 792 h 1153"/>
                <a:gd name="T84" fmla="*/ 252 w 591"/>
                <a:gd name="T85" fmla="*/ 792 h 1153"/>
                <a:gd name="T86" fmla="*/ 32 w 591"/>
                <a:gd name="T87" fmla="*/ 1144 h 1153"/>
                <a:gd name="T88" fmla="*/ 90 w 591"/>
                <a:gd name="T89" fmla="*/ 1125 h 1153"/>
                <a:gd name="T90" fmla="*/ 16 w 591"/>
                <a:gd name="T91" fmla="*/ 1134 h 1153"/>
                <a:gd name="T92" fmla="*/ 184 w 591"/>
                <a:gd name="T93" fmla="*/ 1008 h 1153"/>
                <a:gd name="T94" fmla="*/ 198 w 591"/>
                <a:gd name="T95" fmla="*/ 1014 h 1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91" h="1153">
                  <a:moveTo>
                    <a:pt x="591" y="531"/>
                  </a:moveTo>
                  <a:cubicBezTo>
                    <a:pt x="591" y="531"/>
                    <a:pt x="559" y="513"/>
                    <a:pt x="560" y="499"/>
                  </a:cubicBezTo>
                  <a:cubicBezTo>
                    <a:pt x="561" y="485"/>
                    <a:pt x="562" y="459"/>
                    <a:pt x="556" y="447"/>
                  </a:cubicBezTo>
                  <a:cubicBezTo>
                    <a:pt x="550" y="435"/>
                    <a:pt x="526" y="418"/>
                    <a:pt x="529" y="401"/>
                  </a:cubicBezTo>
                  <a:cubicBezTo>
                    <a:pt x="532" y="384"/>
                    <a:pt x="548" y="389"/>
                    <a:pt x="548" y="389"/>
                  </a:cubicBezTo>
                  <a:cubicBezTo>
                    <a:pt x="545" y="362"/>
                    <a:pt x="545" y="362"/>
                    <a:pt x="545" y="362"/>
                  </a:cubicBezTo>
                  <a:cubicBezTo>
                    <a:pt x="537" y="356"/>
                    <a:pt x="537" y="356"/>
                    <a:pt x="537" y="356"/>
                  </a:cubicBezTo>
                  <a:cubicBezTo>
                    <a:pt x="547" y="349"/>
                    <a:pt x="547" y="349"/>
                    <a:pt x="547" y="349"/>
                  </a:cubicBezTo>
                  <a:cubicBezTo>
                    <a:pt x="547" y="349"/>
                    <a:pt x="542" y="331"/>
                    <a:pt x="538" y="321"/>
                  </a:cubicBezTo>
                  <a:cubicBezTo>
                    <a:pt x="534" y="311"/>
                    <a:pt x="520" y="303"/>
                    <a:pt x="520" y="303"/>
                  </a:cubicBezTo>
                  <a:cubicBezTo>
                    <a:pt x="516" y="290"/>
                    <a:pt x="516" y="290"/>
                    <a:pt x="516" y="290"/>
                  </a:cubicBezTo>
                  <a:cubicBezTo>
                    <a:pt x="516" y="290"/>
                    <a:pt x="501" y="283"/>
                    <a:pt x="492" y="276"/>
                  </a:cubicBezTo>
                  <a:cubicBezTo>
                    <a:pt x="483" y="269"/>
                    <a:pt x="468" y="253"/>
                    <a:pt x="468" y="244"/>
                  </a:cubicBezTo>
                  <a:cubicBezTo>
                    <a:pt x="468" y="235"/>
                    <a:pt x="465" y="231"/>
                    <a:pt x="465" y="231"/>
                  </a:cubicBezTo>
                  <a:cubicBezTo>
                    <a:pt x="465" y="231"/>
                    <a:pt x="442" y="214"/>
                    <a:pt x="439" y="226"/>
                  </a:cubicBezTo>
                  <a:cubicBezTo>
                    <a:pt x="436" y="238"/>
                    <a:pt x="448" y="241"/>
                    <a:pt x="448" y="241"/>
                  </a:cubicBezTo>
                  <a:cubicBezTo>
                    <a:pt x="455" y="237"/>
                    <a:pt x="455" y="237"/>
                    <a:pt x="455" y="237"/>
                  </a:cubicBezTo>
                  <a:cubicBezTo>
                    <a:pt x="455" y="237"/>
                    <a:pt x="463" y="256"/>
                    <a:pt x="459" y="256"/>
                  </a:cubicBezTo>
                  <a:cubicBezTo>
                    <a:pt x="455" y="256"/>
                    <a:pt x="450" y="249"/>
                    <a:pt x="450" y="249"/>
                  </a:cubicBezTo>
                  <a:cubicBezTo>
                    <a:pt x="441" y="258"/>
                    <a:pt x="441" y="258"/>
                    <a:pt x="441" y="258"/>
                  </a:cubicBezTo>
                  <a:cubicBezTo>
                    <a:pt x="428" y="237"/>
                    <a:pt x="428" y="237"/>
                    <a:pt x="428" y="237"/>
                  </a:cubicBezTo>
                  <a:cubicBezTo>
                    <a:pt x="416" y="237"/>
                    <a:pt x="416" y="237"/>
                    <a:pt x="416" y="237"/>
                  </a:cubicBezTo>
                  <a:cubicBezTo>
                    <a:pt x="430" y="261"/>
                    <a:pt x="430" y="261"/>
                    <a:pt x="430" y="261"/>
                  </a:cubicBezTo>
                  <a:cubicBezTo>
                    <a:pt x="418" y="264"/>
                    <a:pt x="418" y="264"/>
                    <a:pt x="418" y="264"/>
                  </a:cubicBezTo>
                  <a:cubicBezTo>
                    <a:pt x="437" y="296"/>
                    <a:pt x="437" y="296"/>
                    <a:pt x="437" y="296"/>
                  </a:cubicBezTo>
                  <a:cubicBezTo>
                    <a:pt x="430" y="304"/>
                    <a:pt x="430" y="304"/>
                    <a:pt x="430" y="304"/>
                  </a:cubicBezTo>
                  <a:cubicBezTo>
                    <a:pt x="430" y="304"/>
                    <a:pt x="466" y="322"/>
                    <a:pt x="464" y="337"/>
                  </a:cubicBezTo>
                  <a:cubicBezTo>
                    <a:pt x="462" y="352"/>
                    <a:pt x="456" y="373"/>
                    <a:pt x="456" y="373"/>
                  </a:cubicBezTo>
                  <a:cubicBezTo>
                    <a:pt x="454" y="391"/>
                    <a:pt x="454" y="391"/>
                    <a:pt x="454" y="391"/>
                  </a:cubicBezTo>
                  <a:cubicBezTo>
                    <a:pt x="454" y="391"/>
                    <a:pt x="475" y="404"/>
                    <a:pt x="465" y="411"/>
                  </a:cubicBezTo>
                  <a:cubicBezTo>
                    <a:pt x="455" y="418"/>
                    <a:pt x="447" y="414"/>
                    <a:pt x="447" y="414"/>
                  </a:cubicBezTo>
                  <a:cubicBezTo>
                    <a:pt x="447" y="414"/>
                    <a:pt x="454" y="444"/>
                    <a:pt x="443" y="450"/>
                  </a:cubicBezTo>
                  <a:cubicBezTo>
                    <a:pt x="432" y="456"/>
                    <a:pt x="409" y="464"/>
                    <a:pt x="409" y="464"/>
                  </a:cubicBezTo>
                  <a:cubicBezTo>
                    <a:pt x="409" y="473"/>
                    <a:pt x="409" y="473"/>
                    <a:pt x="409" y="473"/>
                  </a:cubicBezTo>
                  <a:cubicBezTo>
                    <a:pt x="409" y="473"/>
                    <a:pt x="398" y="477"/>
                    <a:pt x="389" y="467"/>
                  </a:cubicBezTo>
                  <a:cubicBezTo>
                    <a:pt x="380" y="457"/>
                    <a:pt x="383" y="448"/>
                    <a:pt x="383" y="448"/>
                  </a:cubicBezTo>
                  <a:cubicBezTo>
                    <a:pt x="386" y="435"/>
                    <a:pt x="386" y="435"/>
                    <a:pt x="386" y="435"/>
                  </a:cubicBezTo>
                  <a:cubicBezTo>
                    <a:pt x="386" y="435"/>
                    <a:pt x="360" y="440"/>
                    <a:pt x="364" y="450"/>
                  </a:cubicBezTo>
                  <a:cubicBezTo>
                    <a:pt x="368" y="460"/>
                    <a:pt x="381" y="474"/>
                    <a:pt x="379" y="481"/>
                  </a:cubicBezTo>
                  <a:cubicBezTo>
                    <a:pt x="377" y="488"/>
                    <a:pt x="363" y="504"/>
                    <a:pt x="367" y="514"/>
                  </a:cubicBezTo>
                  <a:cubicBezTo>
                    <a:pt x="371" y="524"/>
                    <a:pt x="384" y="539"/>
                    <a:pt x="374" y="540"/>
                  </a:cubicBezTo>
                  <a:cubicBezTo>
                    <a:pt x="364" y="541"/>
                    <a:pt x="338" y="529"/>
                    <a:pt x="329" y="530"/>
                  </a:cubicBezTo>
                  <a:cubicBezTo>
                    <a:pt x="320" y="531"/>
                    <a:pt x="281" y="546"/>
                    <a:pt x="278" y="546"/>
                  </a:cubicBezTo>
                  <a:cubicBezTo>
                    <a:pt x="275" y="546"/>
                    <a:pt x="259" y="546"/>
                    <a:pt x="259" y="546"/>
                  </a:cubicBezTo>
                  <a:cubicBezTo>
                    <a:pt x="251" y="538"/>
                    <a:pt x="251" y="538"/>
                    <a:pt x="251" y="538"/>
                  </a:cubicBezTo>
                  <a:cubicBezTo>
                    <a:pt x="229" y="555"/>
                    <a:pt x="229" y="555"/>
                    <a:pt x="229" y="555"/>
                  </a:cubicBezTo>
                  <a:cubicBezTo>
                    <a:pt x="229" y="555"/>
                    <a:pt x="202" y="600"/>
                    <a:pt x="198" y="600"/>
                  </a:cubicBezTo>
                  <a:cubicBezTo>
                    <a:pt x="194" y="600"/>
                    <a:pt x="179" y="601"/>
                    <a:pt x="179" y="601"/>
                  </a:cubicBezTo>
                  <a:cubicBezTo>
                    <a:pt x="179" y="601"/>
                    <a:pt x="184" y="625"/>
                    <a:pt x="191" y="625"/>
                  </a:cubicBezTo>
                  <a:cubicBezTo>
                    <a:pt x="198" y="625"/>
                    <a:pt x="210" y="621"/>
                    <a:pt x="210" y="621"/>
                  </a:cubicBezTo>
                  <a:cubicBezTo>
                    <a:pt x="210" y="621"/>
                    <a:pt x="229" y="632"/>
                    <a:pt x="234" y="630"/>
                  </a:cubicBezTo>
                  <a:cubicBezTo>
                    <a:pt x="239" y="628"/>
                    <a:pt x="241" y="607"/>
                    <a:pt x="241" y="607"/>
                  </a:cubicBezTo>
                  <a:cubicBezTo>
                    <a:pt x="256" y="615"/>
                    <a:pt x="256" y="615"/>
                    <a:pt x="256" y="615"/>
                  </a:cubicBezTo>
                  <a:cubicBezTo>
                    <a:pt x="256" y="615"/>
                    <a:pt x="290" y="598"/>
                    <a:pt x="295" y="595"/>
                  </a:cubicBezTo>
                  <a:cubicBezTo>
                    <a:pt x="300" y="592"/>
                    <a:pt x="313" y="601"/>
                    <a:pt x="321" y="600"/>
                  </a:cubicBezTo>
                  <a:cubicBezTo>
                    <a:pt x="329" y="599"/>
                    <a:pt x="314" y="584"/>
                    <a:pt x="331" y="584"/>
                  </a:cubicBezTo>
                  <a:cubicBezTo>
                    <a:pt x="348" y="584"/>
                    <a:pt x="352" y="593"/>
                    <a:pt x="352" y="593"/>
                  </a:cubicBezTo>
                  <a:cubicBezTo>
                    <a:pt x="352" y="593"/>
                    <a:pt x="372" y="580"/>
                    <a:pt x="376" y="588"/>
                  </a:cubicBezTo>
                  <a:cubicBezTo>
                    <a:pt x="380" y="596"/>
                    <a:pt x="367" y="615"/>
                    <a:pt x="367" y="615"/>
                  </a:cubicBezTo>
                  <a:cubicBezTo>
                    <a:pt x="367" y="615"/>
                    <a:pt x="387" y="654"/>
                    <a:pt x="407" y="654"/>
                  </a:cubicBezTo>
                  <a:cubicBezTo>
                    <a:pt x="427" y="654"/>
                    <a:pt x="425" y="616"/>
                    <a:pt x="425" y="616"/>
                  </a:cubicBezTo>
                  <a:cubicBezTo>
                    <a:pt x="447" y="612"/>
                    <a:pt x="447" y="612"/>
                    <a:pt x="447" y="612"/>
                  </a:cubicBezTo>
                  <a:cubicBezTo>
                    <a:pt x="447" y="612"/>
                    <a:pt x="430" y="592"/>
                    <a:pt x="427" y="591"/>
                  </a:cubicBezTo>
                  <a:cubicBezTo>
                    <a:pt x="424" y="590"/>
                    <a:pt x="415" y="583"/>
                    <a:pt x="415" y="583"/>
                  </a:cubicBezTo>
                  <a:cubicBezTo>
                    <a:pt x="426" y="568"/>
                    <a:pt x="426" y="568"/>
                    <a:pt x="426" y="568"/>
                  </a:cubicBezTo>
                  <a:cubicBezTo>
                    <a:pt x="435" y="567"/>
                    <a:pt x="429" y="581"/>
                    <a:pt x="439" y="581"/>
                  </a:cubicBezTo>
                  <a:cubicBezTo>
                    <a:pt x="449" y="581"/>
                    <a:pt x="452" y="594"/>
                    <a:pt x="452" y="594"/>
                  </a:cubicBezTo>
                  <a:cubicBezTo>
                    <a:pt x="464" y="585"/>
                    <a:pt x="464" y="585"/>
                    <a:pt x="464" y="585"/>
                  </a:cubicBezTo>
                  <a:cubicBezTo>
                    <a:pt x="464" y="585"/>
                    <a:pt x="479" y="593"/>
                    <a:pt x="494" y="589"/>
                  </a:cubicBezTo>
                  <a:cubicBezTo>
                    <a:pt x="509" y="585"/>
                    <a:pt x="491" y="564"/>
                    <a:pt x="508" y="566"/>
                  </a:cubicBezTo>
                  <a:cubicBezTo>
                    <a:pt x="525" y="568"/>
                    <a:pt x="516" y="596"/>
                    <a:pt x="527" y="590"/>
                  </a:cubicBezTo>
                  <a:cubicBezTo>
                    <a:pt x="538" y="584"/>
                    <a:pt x="520" y="561"/>
                    <a:pt x="528" y="556"/>
                  </a:cubicBezTo>
                  <a:cubicBezTo>
                    <a:pt x="536" y="551"/>
                    <a:pt x="541" y="553"/>
                    <a:pt x="541" y="553"/>
                  </a:cubicBezTo>
                  <a:cubicBezTo>
                    <a:pt x="541" y="553"/>
                    <a:pt x="543" y="522"/>
                    <a:pt x="555" y="534"/>
                  </a:cubicBezTo>
                  <a:cubicBezTo>
                    <a:pt x="567" y="546"/>
                    <a:pt x="548" y="571"/>
                    <a:pt x="568" y="570"/>
                  </a:cubicBezTo>
                  <a:cubicBezTo>
                    <a:pt x="588" y="569"/>
                    <a:pt x="578" y="538"/>
                    <a:pt x="578" y="538"/>
                  </a:cubicBezTo>
                  <a:lnTo>
                    <a:pt x="591" y="531"/>
                  </a:lnTo>
                  <a:close/>
                  <a:moveTo>
                    <a:pt x="338" y="618"/>
                  </a:moveTo>
                  <a:cubicBezTo>
                    <a:pt x="338" y="618"/>
                    <a:pt x="321" y="605"/>
                    <a:pt x="312" y="606"/>
                  </a:cubicBezTo>
                  <a:cubicBezTo>
                    <a:pt x="292" y="608"/>
                    <a:pt x="299" y="628"/>
                    <a:pt x="299" y="628"/>
                  </a:cubicBezTo>
                  <a:cubicBezTo>
                    <a:pt x="299" y="628"/>
                    <a:pt x="282" y="622"/>
                    <a:pt x="272" y="624"/>
                  </a:cubicBezTo>
                  <a:cubicBezTo>
                    <a:pt x="262" y="626"/>
                    <a:pt x="269" y="648"/>
                    <a:pt x="269" y="648"/>
                  </a:cubicBezTo>
                  <a:cubicBezTo>
                    <a:pt x="257" y="659"/>
                    <a:pt x="257" y="659"/>
                    <a:pt x="257" y="659"/>
                  </a:cubicBezTo>
                  <a:cubicBezTo>
                    <a:pt x="257" y="659"/>
                    <a:pt x="270" y="667"/>
                    <a:pt x="276" y="674"/>
                  </a:cubicBezTo>
                  <a:cubicBezTo>
                    <a:pt x="282" y="681"/>
                    <a:pt x="305" y="695"/>
                    <a:pt x="305" y="695"/>
                  </a:cubicBezTo>
                  <a:cubicBezTo>
                    <a:pt x="305" y="695"/>
                    <a:pt x="299" y="664"/>
                    <a:pt x="314" y="654"/>
                  </a:cubicBezTo>
                  <a:cubicBezTo>
                    <a:pt x="329" y="644"/>
                    <a:pt x="351" y="672"/>
                    <a:pt x="351" y="672"/>
                  </a:cubicBezTo>
                  <a:cubicBezTo>
                    <a:pt x="351" y="672"/>
                    <a:pt x="356" y="650"/>
                    <a:pt x="358" y="638"/>
                  </a:cubicBezTo>
                  <a:cubicBezTo>
                    <a:pt x="360" y="626"/>
                    <a:pt x="351" y="615"/>
                    <a:pt x="351" y="615"/>
                  </a:cubicBezTo>
                  <a:lnTo>
                    <a:pt x="338" y="618"/>
                  </a:lnTo>
                  <a:close/>
                  <a:moveTo>
                    <a:pt x="241" y="709"/>
                  </a:moveTo>
                  <a:cubicBezTo>
                    <a:pt x="241" y="698"/>
                    <a:pt x="256" y="689"/>
                    <a:pt x="256" y="689"/>
                  </a:cubicBezTo>
                  <a:cubicBezTo>
                    <a:pt x="255" y="677"/>
                    <a:pt x="232" y="662"/>
                    <a:pt x="232" y="662"/>
                  </a:cubicBezTo>
                  <a:cubicBezTo>
                    <a:pt x="232" y="662"/>
                    <a:pt x="231" y="652"/>
                    <a:pt x="224" y="649"/>
                  </a:cubicBezTo>
                  <a:cubicBezTo>
                    <a:pt x="217" y="646"/>
                    <a:pt x="212" y="648"/>
                    <a:pt x="212" y="648"/>
                  </a:cubicBezTo>
                  <a:cubicBezTo>
                    <a:pt x="212" y="648"/>
                    <a:pt x="191" y="634"/>
                    <a:pt x="184" y="634"/>
                  </a:cubicBezTo>
                  <a:cubicBezTo>
                    <a:pt x="177" y="634"/>
                    <a:pt x="168" y="646"/>
                    <a:pt x="168" y="646"/>
                  </a:cubicBezTo>
                  <a:cubicBezTo>
                    <a:pt x="143" y="660"/>
                    <a:pt x="143" y="660"/>
                    <a:pt x="143" y="660"/>
                  </a:cubicBezTo>
                  <a:cubicBezTo>
                    <a:pt x="162" y="693"/>
                    <a:pt x="162" y="693"/>
                    <a:pt x="162" y="693"/>
                  </a:cubicBezTo>
                  <a:cubicBezTo>
                    <a:pt x="174" y="687"/>
                    <a:pt x="174" y="687"/>
                    <a:pt x="174" y="687"/>
                  </a:cubicBezTo>
                  <a:cubicBezTo>
                    <a:pt x="174" y="687"/>
                    <a:pt x="167" y="668"/>
                    <a:pt x="175" y="672"/>
                  </a:cubicBezTo>
                  <a:cubicBezTo>
                    <a:pt x="183" y="676"/>
                    <a:pt x="195" y="697"/>
                    <a:pt x="195" y="697"/>
                  </a:cubicBezTo>
                  <a:cubicBezTo>
                    <a:pt x="194" y="722"/>
                    <a:pt x="194" y="722"/>
                    <a:pt x="194" y="722"/>
                  </a:cubicBezTo>
                  <a:cubicBezTo>
                    <a:pt x="182" y="727"/>
                    <a:pt x="182" y="727"/>
                    <a:pt x="182" y="727"/>
                  </a:cubicBezTo>
                  <a:cubicBezTo>
                    <a:pt x="182" y="727"/>
                    <a:pt x="193" y="774"/>
                    <a:pt x="203" y="776"/>
                  </a:cubicBezTo>
                  <a:cubicBezTo>
                    <a:pt x="213" y="778"/>
                    <a:pt x="211" y="746"/>
                    <a:pt x="211" y="746"/>
                  </a:cubicBezTo>
                  <a:cubicBezTo>
                    <a:pt x="232" y="753"/>
                    <a:pt x="232" y="753"/>
                    <a:pt x="232" y="753"/>
                  </a:cubicBezTo>
                  <a:cubicBezTo>
                    <a:pt x="232" y="753"/>
                    <a:pt x="229" y="780"/>
                    <a:pt x="233" y="780"/>
                  </a:cubicBezTo>
                  <a:cubicBezTo>
                    <a:pt x="237" y="780"/>
                    <a:pt x="251" y="756"/>
                    <a:pt x="251" y="756"/>
                  </a:cubicBezTo>
                  <a:cubicBezTo>
                    <a:pt x="251" y="756"/>
                    <a:pt x="241" y="720"/>
                    <a:pt x="241" y="709"/>
                  </a:cubicBezTo>
                  <a:close/>
                  <a:moveTo>
                    <a:pt x="183" y="693"/>
                  </a:moveTo>
                  <a:cubicBezTo>
                    <a:pt x="172" y="718"/>
                    <a:pt x="172" y="718"/>
                    <a:pt x="172" y="718"/>
                  </a:cubicBezTo>
                  <a:cubicBezTo>
                    <a:pt x="184" y="715"/>
                    <a:pt x="184" y="715"/>
                    <a:pt x="184" y="715"/>
                  </a:cubicBezTo>
                  <a:lnTo>
                    <a:pt x="183" y="693"/>
                  </a:lnTo>
                  <a:close/>
                  <a:moveTo>
                    <a:pt x="424" y="424"/>
                  </a:moveTo>
                  <a:cubicBezTo>
                    <a:pt x="432" y="423"/>
                    <a:pt x="432" y="423"/>
                    <a:pt x="432" y="423"/>
                  </a:cubicBezTo>
                  <a:cubicBezTo>
                    <a:pt x="431" y="407"/>
                    <a:pt x="431" y="407"/>
                    <a:pt x="431" y="407"/>
                  </a:cubicBezTo>
                  <a:cubicBezTo>
                    <a:pt x="425" y="405"/>
                    <a:pt x="425" y="405"/>
                    <a:pt x="425" y="405"/>
                  </a:cubicBezTo>
                  <a:cubicBezTo>
                    <a:pt x="415" y="392"/>
                    <a:pt x="415" y="392"/>
                    <a:pt x="415" y="392"/>
                  </a:cubicBezTo>
                  <a:cubicBezTo>
                    <a:pt x="411" y="400"/>
                    <a:pt x="411" y="400"/>
                    <a:pt x="411" y="400"/>
                  </a:cubicBezTo>
                  <a:cubicBezTo>
                    <a:pt x="419" y="409"/>
                    <a:pt x="419" y="409"/>
                    <a:pt x="419" y="409"/>
                  </a:cubicBezTo>
                  <a:lnTo>
                    <a:pt x="424" y="424"/>
                  </a:lnTo>
                  <a:close/>
                  <a:moveTo>
                    <a:pt x="372" y="57"/>
                  </a:moveTo>
                  <a:cubicBezTo>
                    <a:pt x="374" y="72"/>
                    <a:pt x="374" y="72"/>
                    <a:pt x="374" y="72"/>
                  </a:cubicBezTo>
                  <a:cubicBezTo>
                    <a:pt x="374" y="72"/>
                    <a:pt x="391" y="83"/>
                    <a:pt x="391" y="90"/>
                  </a:cubicBezTo>
                  <a:cubicBezTo>
                    <a:pt x="391" y="97"/>
                    <a:pt x="384" y="110"/>
                    <a:pt x="384" y="110"/>
                  </a:cubicBezTo>
                  <a:cubicBezTo>
                    <a:pt x="384" y="110"/>
                    <a:pt x="402" y="132"/>
                    <a:pt x="397" y="133"/>
                  </a:cubicBezTo>
                  <a:cubicBezTo>
                    <a:pt x="391" y="134"/>
                    <a:pt x="359" y="125"/>
                    <a:pt x="354" y="123"/>
                  </a:cubicBezTo>
                  <a:cubicBezTo>
                    <a:pt x="348" y="122"/>
                    <a:pt x="369" y="143"/>
                    <a:pt x="369" y="143"/>
                  </a:cubicBezTo>
                  <a:cubicBezTo>
                    <a:pt x="352" y="161"/>
                    <a:pt x="352" y="161"/>
                    <a:pt x="352" y="161"/>
                  </a:cubicBezTo>
                  <a:cubicBezTo>
                    <a:pt x="352" y="161"/>
                    <a:pt x="358" y="173"/>
                    <a:pt x="361" y="179"/>
                  </a:cubicBezTo>
                  <a:cubicBezTo>
                    <a:pt x="363" y="184"/>
                    <a:pt x="390" y="198"/>
                    <a:pt x="390" y="198"/>
                  </a:cubicBezTo>
                  <a:cubicBezTo>
                    <a:pt x="390" y="198"/>
                    <a:pt x="381" y="231"/>
                    <a:pt x="404" y="230"/>
                  </a:cubicBezTo>
                  <a:cubicBezTo>
                    <a:pt x="414" y="229"/>
                    <a:pt x="398" y="211"/>
                    <a:pt x="410" y="211"/>
                  </a:cubicBezTo>
                  <a:cubicBezTo>
                    <a:pt x="423" y="211"/>
                    <a:pt x="433" y="211"/>
                    <a:pt x="433" y="211"/>
                  </a:cubicBezTo>
                  <a:cubicBezTo>
                    <a:pt x="437" y="205"/>
                    <a:pt x="437" y="205"/>
                    <a:pt x="437" y="205"/>
                  </a:cubicBezTo>
                  <a:cubicBezTo>
                    <a:pt x="412" y="189"/>
                    <a:pt x="412" y="189"/>
                    <a:pt x="412" y="189"/>
                  </a:cubicBezTo>
                  <a:cubicBezTo>
                    <a:pt x="399" y="189"/>
                    <a:pt x="399" y="189"/>
                    <a:pt x="399" y="189"/>
                  </a:cubicBezTo>
                  <a:cubicBezTo>
                    <a:pt x="399" y="189"/>
                    <a:pt x="365" y="176"/>
                    <a:pt x="381" y="169"/>
                  </a:cubicBezTo>
                  <a:cubicBezTo>
                    <a:pt x="398" y="162"/>
                    <a:pt x="409" y="179"/>
                    <a:pt x="409" y="179"/>
                  </a:cubicBezTo>
                  <a:cubicBezTo>
                    <a:pt x="409" y="179"/>
                    <a:pt x="423" y="168"/>
                    <a:pt x="433" y="166"/>
                  </a:cubicBezTo>
                  <a:cubicBezTo>
                    <a:pt x="442" y="165"/>
                    <a:pt x="513" y="202"/>
                    <a:pt x="519" y="198"/>
                  </a:cubicBezTo>
                  <a:cubicBezTo>
                    <a:pt x="524" y="194"/>
                    <a:pt x="505" y="155"/>
                    <a:pt x="523" y="148"/>
                  </a:cubicBezTo>
                  <a:cubicBezTo>
                    <a:pt x="541" y="141"/>
                    <a:pt x="539" y="157"/>
                    <a:pt x="557" y="147"/>
                  </a:cubicBezTo>
                  <a:cubicBezTo>
                    <a:pt x="575" y="137"/>
                    <a:pt x="578" y="130"/>
                    <a:pt x="578" y="130"/>
                  </a:cubicBezTo>
                  <a:cubicBezTo>
                    <a:pt x="542" y="107"/>
                    <a:pt x="542" y="107"/>
                    <a:pt x="542" y="107"/>
                  </a:cubicBezTo>
                  <a:cubicBezTo>
                    <a:pt x="542" y="107"/>
                    <a:pt x="542" y="83"/>
                    <a:pt x="535" y="78"/>
                  </a:cubicBezTo>
                  <a:cubicBezTo>
                    <a:pt x="528" y="72"/>
                    <a:pt x="523" y="96"/>
                    <a:pt x="523" y="96"/>
                  </a:cubicBezTo>
                  <a:cubicBezTo>
                    <a:pt x="523" y="96"/>
                    <a:pt x="455" y="80"/>
                    <a:pt x="440" y="69"/>
                  </a:cubicBezTo>
                  <a:cubicBezTo>
                    <a:pt x="424" y="58"/>
                    <a:pt x="350" y="0"/>
                    <a:pt x="340" y="11"/>
                  </a:cubicBezTo>
                  <a:cubicBezTo>
                    <a:pt x="330" y="22"/>
                    <a:pt x="372" y="57"/>
                    <a:pt x="372" y="57"/>
                  </a:cubicBezTo>
                  <a:close/>
                  <a:moveTo>
                    <a:pt x="194" y="984"/>
                  </a:moveTo>
                  <a:cubicBezTo>
                    <a:pt x="209" y="984"/>
                    <a:pt x="209" y="984"/>
                    <a:pt x="209" y="984"/>
                  </a:cubicBezTo>
                  <a:cubicBezTo>
                    <a:pt x="192" y="972"/>
                    <a:pt x="192" y="972"/>
                    <a:pt x="192" y="972"/>
                  </a:cubicBezTo>
                  <a:lnTo>
                    <a:pt x="194" y="984"/>
                  </a:lnTo>
                  <a:close/>
                  <a:moveTo>
                    <a:pt x="208" y="933"/>
                  </a:moveTo>
                  <a:cubicBezTo>
                    <a:pt x="210" y="942"/>
                    <a:pt x="214" y="942"/>
                    <a:pt x="214" y="942"/>
                  </a:cubicBezTo>
                  <a:cubicBezTo>
                    <a:pt x="224" y="944"/>
                    <a:pt x="225" y="934"/>
                    <a:pt x="225" y="934"/>
                  </a:cubicBezTo>
                  <a:cubicBezTo>
                    <a:pt x="225" y="934"/>
                    <a:pt x="240" y="933"/>
                    <a:pt x="233" y="922"/>
                  </a:cubicBezTo>
                  <a:cubicBezTo>
                    <a:pt x="226" y="912"/>
                    <a:pt x="205" y="924"/>
                    <a:pt x="208" y="933"/>
                  </a:cubicBezTo>
                  <a:close/>
                  <a:moveTo>
                    <a:pt x="214" y="956"/>
                  </a:moveTo>
                  <a:cubicBezTo>
                    <a:pt x="204" y="952"/>
                    <a:pt x="205" y="961"/>
                    <a:pt x="205" y="961"/>
                  </a:cubicBezTo>
                  <a:cubicBezTo>
                    <a:pt x="220" y="968"/>
                    <a:pt x="225" y="960"/>
                    <a:pt x="214" y="956"/>
                  </a:cubicBezTo>
                  <a:close/>
                  <a:moveTo>
                    <a:pt x="230" y="810"/>
                  </a:moveTo>
                  <a:cubicBezTo>
                    <a:pt x="230" y="814"/>
                    <a:pt x="217" y="820"/>
                    <a:pt x="217" y="820"/>
                  </a:cubicBezTo>
                  <a:cubicBezTo>
                    <a:pt x="234" y="829"/>
                    <a:pt x="234" y="829"/>
                    <a:pt x="234" y="829"/>
                  </a:cubicBezTo>
                  <a:cubicBezTo>
                    <a:pt x="234" y="829"/>
                    <a:pt x="230" y="806"/>
                    <a:pt x="230" y="810"/>
                  </a:cubicBezTo>
                  <a:close/>
                  <a:moveTo>
                    <a:pt x="252" y="792"/>
                  </a:moveTo>
                  <a:cubicBezTo>
                    <a:pt x="252" y="796"/>
                    <a:pt x="248" y="805"/>
                    <a:pt x="248" y="805"/>
                  </a:cubicBezTo>
                  <a:cubicBezTo>
                    <a:pt x="257" y="825"/>
                    <a:pt x="257" y="825"/>
                    <a:pt x="257" y="825"/>
                  </a:cubicBezTo>
                  <a:cubicBezTo>
                    <a:pt x="258" y="814"/>
                    <a:pt x="258" y="814"/>
                    <a:pt x="258" y="814"/>
                  </a:cubicBezTo>
                  <a:cubicBezTo>
                    <a:pt x="258" y="814"/>
                    <a:pt x="252" y="788"/>
                    <a:pt x="252" y="792"/>
                  </a:cubicBezTo>
                  <a:close/>
                  <a:moveTo>
                    <a:pt x="32" y="1144"/>
                  </a:moveTo>
                  <a:cubicBezTo>
                    <a:pt x="36" y="1144"/>
                    <a:pt x="54" y="1138"/>
                    <a:pt x="54" y="1138"/>
                  </a:cubicBezTo>
                  <a:cubicBezTo>
                    <a:pt x="36" y="1129"/>
                    <a:pt x="36" y="1129"/>
                    <a:pt x="36" y="1129"/>
                  </a:cubicBezTo>
                  <a:cubicBezTo>
                    <a:pt x="36" y="1129"/>
                    <a:pt x="28" y="1144"/>
                    <a:pt x="32" y="1144"/>
                  </a:cubicBezTo>
                  <a:close/>
                  <a:moveTo>
                    <a:pt x="81" y="1117"/>
                  </a:moveTo>
                  <a:cubicBezTo>
                    <a:pt x="72" y="1100"/>
                    <a:pt x="72" y="1100"/>
                    <a:pt x="72" y="1100"/>
                  </a:cubicBezTo>
                  <a:cubicBezTo>
                    <a:pt x="72" y="1110"/>
                    <a:pt x="72" y="1110"/>
                    <a:pt x="72" y="1110"/>
                  </a:cubicBezTo>
                  <a:cubicBezTo>
                    <a:pt x="70" y="1126"/>
                    <a:pt x="85" y="1133"/>
                    <a:pt x="90" y="1125"/>
                  </a:cubicBezTo>
                  <a:cubicBezTo>
                    <a:pt x="96" y="1117"/>
                    <a:pt x="81" y="1117"/>
                    <a:pt x="81" y="1117"/>
                  </a:cubicBezTo>
                  <a:close/>
                  <a:moveTo>
                    <a:pt x="16" y="1134"/>
                  </a:moveTo>
                  <a:cubicBezTo>
                    <a:pt x="0" y="1133"/>
                    <a:pt x="9" y="1150"/>
                    <a:pt x="9" y="1150"/>
                  </a:cubicBezTo>
                  <a:cubicBezTo>
                    <a:pt x="21" y="1153"/>
                    <a:pt x="32" y="1136"/>
                    <a:pt x="16" y="1134"/>
                  </a:cubicBezTo>
                  <a:close/>
                  <a:moveTo>
                    <a:pt x="118" y="1033"/>
                  </a:moveTo>
                  <a:cubicBezTo>
                    <a:pt x="118" y="1041"/>
                    <a:pt x="129" y="1041"/>
                    <a:pt x="129" y="1041"/>
                  </a:cubicBezTo>
                  <a:cubicBezTo>
                    <a:pt x="136" y="1029"/>
                    <a:pt x="118" y="1025"/>
                    <a:pt x="118" y="1033"/>
                  </a:cubicBezTo>
                  <a:close/>
                  <a:moveTo>
                    <a:pt x="184" y="1008"/>
                  </a:moveTo>
                  <a:cubicBezTo>
                    <a:pt x="174" y="1018"/>
                    <a:pt x="165" y="1050"/>
                    <a:pt x="165" y="1050"/>
                  </a:cubicBezTo>
                  <a:cubicBezTo>
                    <a:pt x="178" y="1053"/>
                    <a:pt x="178" y="1053"/>
                    <a:pt x="178" y="1053"/>
                  </a:cubicBezTo>
                  <a:cubicBezTo>
                    <a:pt x="178" y="1053"/>
                    <a:pt x="190" y="1032"/>
                    <a:pt x="186" y="1032"/>
                  </a:cubicBezTo>
                  <a:cubicBezTo>
                    <a:pt x="182" y="1032"/>
                    <a:pt x="198" y="1014"/>
                    <a:pt x="198" y="1014"/>
                  </a:cubicBezTo>
                  <a:cubicBezTo>
                    <a:pt x="198" y="1014"/>
                    <a:pt x="193" y="997"/>
                    <a:pt x="184" y="1008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 317">
              <a:extLst>
                <a:ext uri="{FF2B5EF4-FFF2-40B4-BE49-F238E27FC236}">
                  <a16:creationId xmlns:a16="http://schemas.microsoft.com/office/drawing/2014/main" id="{26F079B2-D242-0F31-346D-7B3FCE5B05F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4425" y="-19748"/>
              <a:ext cx="14280" cy="4543"/>
            </a:xfrm>
            <a:custGeom>
              <a:avLst/>
              <a:gdLst>
                <a:gd name="T0" fmla="*/ 1604 w 6045"/>
                <a:gd name="T1" fmla="*/ 319 h 1923"/>
                <a:gd name="T2" fmla="*/ 1125 w 6045"/>
                <a:gd name="T3" fmla="*/ 38 h 1923"/>
                <a:gd name="T4" fmla="*/ 1119 w 6045"/>
                <a:gd name="T5" fmla="*/ 335 h 1923"/>
                <a:gd name="T6" fmla="*/ 1136 w 6045"/>
                <a:gd name="T7" fmla="*/ 227 h 1923"/>
                <a:gd name="T8" fmla="*/ 1032 w 6045"/>
                <a:gd name="T9" fmla="*/ 349 h 1923"/>
                <a:gd name="T10" fmla="*/ 4026 w 6045"/>
                <a:gd name="T11" fmla="*/ 259 h 1923"/>
                <a:gd name="T12" fmla="*/ 2394 w 6045"/>
                <a:gd name="T13" fmla="*/ 103 h 1923"/>
                <a:gd name="T14" fmla="*/ 3618 w 6045"/>
                <a:gd name="T15" fmla="*/ 235 h 1923"/>
                <a:gd name="T16" fmla="*/ 113 w 6045"/>
                <a:gd name="T17" fmla="*/ 1236 h 1923"/>
                <a:gd name="T18" fmla="*/ 755 w 6045"/>
                <a:gd name="T19" fmla="*/ 45 h 1923"/>
                <a:gd name="T20" fmla="*/ 5033 w 6045"/>
                <a:gd name="T21" fmla="*/ 1361 h 1923"/>
                <a:gd name="T22" fmla="*/ 5193 w 6045"/>
                <a:gd name="T23" fmla="*/ 1629 h 1923"/>
                <a:gd name="T24" fmla="*/ 5935 w 6045"/>
                <a:gd name="T25" fmla="*/ 632 h 1923"/>
                <a:gd name="T26" fmla="*/ 5061 w 6045"/>
                <a:gd name="T27" fmla="*/ 515 h 1923"/>
                <a:gd name="T28" fmla="*/ 4321 w 6045"/>
                <a:gd name="T29" fmla="*/ 409 h 1923"/>
                <a:gd name="T30" fmla="*/ 3936 w 6045"/>
                <a:gd name="T31" fmla="*/ 365 h 1923"/>
                <a:gd name="T32" fmla="*/ 3577 w 6045"/>
                <a:gd name="T33" fmla="*/ 386 h 1923"/>
                <a:gd name="T34" fmla="*/ 3251 w 6045"/>
                <a:gd name="T35" fmla="*/ 351 h 1923"/>
                <a:gd name="T36" fmla="*/ 2915 w 6045"/>
                <a:gd name="T37" fmla="*/ 313 h 1923"/>
                <a:gd name="T38" fmla="*/ 2906 w 6045"/>
                <a:gd name="T39" fmla="*/ 254 h 1923"/>
                <a:gd name="T40" fmla="*/ 2423 w 6045"/>
                <a:gd name="T41" fmla="*/ 210 h 1923"/>
                <a:gd name="T42" fmla="*/ 2038 w 6045"/>
                <a:gd name="T43" fmla="*/ 402 h 1923"/>
                <a:gd name="T44" fmla="*/ 1740 w 6045"/>
                <a:gd name="T45" fmla="*/ 389 h 1923"/>
                <a:gd name="T46" fmla="*/ 1845 w 6045"/>
                <a:gd name="T47" fmla="*/ 542 h 1923"/>
                <a:gd name="T48" fmla="*/ 1684 w 6045"/>
                <a:gd name="T49" fmla="*/ 417 h 1923"/>
                <a:gd name="T50" fmla="*/ 1499 w 6045"/>
                <a:gd name="T51" fmla="*/ 522 h 1923"/>
                <a:gd name="T52" fmla="*/ 1060 w 6045"/>
                <a:gd name="T53" fmla="*/ 545 h 1923"/>
                <a:gd name="T54" fmla="*/ 795 w 6045"/>
                <a:gd name="T55" fmla="*/ 644 h 1923"/>
                <a:gd name="T56" fmla="*/ 508 w 6045"/>
                <a:gd name="T57" fmla="*/ 670 h 1923"/>
                <a:gd name="T58" fmla="*/ 357 w 6045"/>
                <a:gd name="T59" fmla="*/ 475 h 1923"/>
                <a:gd name="T60" fmla="*/ 323 w 6045"/>
                <a:gd name="T61" fmla="*/ 703 h 1923"/>
                <a:gd name="T62" fmla="*/ 303 w 6045"/>
                <a:gd name="T63" fmla="*/ 980 h 1923"/>
                <a:gd name="T64" fmla="*/ 382 w 6045"/>
                <a:gd name="T65" fmla="*/ 1163 h 1923"/>
                <a:gd name="T66" fmla="*/ 538 w 6045"/>
                <a:gd name="T67" fmla="*/ 1342 h 1923"/>
                <a:gd name="T68" fmla="*/ 827 w 6045"/>
                <a:gd name="T69" fmla="*/ 1472 h 1923"/>
                <a:gd name="T70" fmla="*/ 752 w 6045"/>
                <a:gd name="T71" fmla="*/ 1694 h 1923"/>
                <a:gd name="T72" fmla="*/ 1214 w 6045"/>
                <a:gd name="T73" fmla="*/ 1892 h 1923"/>
                <a:gd name="T74" fmla="*/ 1231 w 6045"/>
                <a:gd name="T75" fmla="*/ 1631 h 1923"/>
                <a:gd name="T76" fmla="*/ 1419 w 6045"/>
                <a:gd name="T77" fmla="*/ 1396 h 1923"/>
                <a:gd name="T78" fmla="*/ 1765 w 6045"/>
                <a:gd name="T79" fmla="*/ 1244 h 1923"/>
                <a:gd name="T80" fmla="*/ 2222 w 6045"/>
                <a:gd name="T81" fmla="*/ 1256 h 1923"/>
                <a:gd name="T82" fmla="*/ 2847 w 6045"/>
                <a:gd name="T83" fmla="*/ 1496 h 1923"/>
                <a:gd name="T84" fmla="*/ 3152 w 6045"/>
                <a:gd name="T85" fmla="*/ 1456 h 1923"/>
                <a:gd name="T86" fmla="*/ 3428 w 6045"/>
                <a:gd name="T87" fmla="*/ 1441 h 1923"/>
                <a:gd name="T88" fmla="*/ 3929 w 6045"/>
                <a:gd name="T89" fmla="*/ 1447 h 1923"/>
                <a:gd name="T90" fmla="*/ 4174 w 6045"/>
                <a:gd name="T91" fmla="*/ 1268 h 1923"/>
                <a:gd name="T92" fmla="*/ 4630 w 6045"/>
                <a:gd name="T93" fmla="*/ 1533 h 1923"/>
                <a:gd name="T94" fmla="*/ 4843 w 6045"/>
                <a:gd name="T95" fmla="*/ 1667 h 1923"/>
                <a:gd name="T96" fmla="*/ 4985 w 6045"/>
                <a:gd name="T97" fmla="*/ 1754 h 1923"/>
                <a:gd name="T98" fmla="*/ 4903 w 6045"/>
                <a:gd name="T99" fmla="*/ 1298 h 1923"/>
                <a:gd name="T100" fmla="*/ 4580 w 6045"/>
                <a:gd name="T101" fmla="*/ 1205 h 1923"/>
                <a:gd name="T102" fmla="*/ 4885 w 6045"/>
                <a:gd name="T103" fmla="*/ 977 h 1923"/>
                <a:gd name="T104" fmla="*/ 5110 w 6045"/>
                <a:gd name="T105" fmla="*/ 890 h 1923"/>
                <a:gd name="T106" fmla="*/ 5374 w 6045"/>
                <a:gd name="T107" fmla="*/ 897 h 1923"/>
                <a:gd name="T108" fmla="*/ 5630 w 6045"/>
                <a:gd name="T109" fmla="*/ 1386 h 1923"/>
                <a:gd name="T110" fmla="*/ 5463 w 6045"/>
                <a:gd name="T111" fmla="*/ 992 h 1923"/>
                <a:gd name="T112" fmla="*/ 5791 w 6045"/>
                <a:gd name="T113" fmla="*/ 813 h 1923"/>
                <a:gd name="T114" fmla="*/ 5719 w 6045"/>
                <a:gd name="T115" fmla="*/ 660 h 1923"/>
                <a:gd name="T116" fmla="*/ 3494 w 6045"/>
                <a:gd name="T117" fmla="*/ 1368 h 1923"/>
                <a:gd name="T118" fmla="*/ 3579 w 6045"/>
                <a:gd name="T119" fmla="*/ 1259 h 1923"/>
                <a:gd name="T120" fmla="*/ 943 w 6045"/>
                <a:gd name="T121" fmla="*/ 537 h 1923"/>
                <a:gd name="T122" fmla="*/ 924 w 6045"/>
                <a:gd name="T123" fmla="*/ 25 h 1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45" h="1923">
                  <a:moveTo>
                    <a:pt x="1866" y="364"/>
                  </a:moveTo>
                  <a:cubicBezTo>
                    <a:pt x="1845" y="359"/>
                    <a:pt x="1845" y="359"/>
                    <a:pt x="1845" y="359"/>
                  </a:cubicBezTo>
                  <a:cubicBezTo>
                    <a:pt x="1828" y="373"/>
                    <a:pt x="1828" y="373"/>
                    <a:pt x="1828" y="373"/>
                  </a:cubicBezTo>
                  <a:cubicBezTo>
                    <a:pt x="1854" y="380"/>
                    <a:pt x="1854" y="380"/>
                    <a:pt x="1854" y="380"/>
                  </a:cubicBezTo>
                  <a:lnTo>
                    <a:pt x="1866" y="364"/>
                  </a:lnTo>
                  <a:close/>
                  <a:moveTo>
                    <a:pt x="1894" y="346"/>
                  </a:moveTo>
                  <a:cubicBezTo>
                    <a:pt x="1869" y="329"/>
                    <a:pt x="1876" y="352"/>
                    <a:pt x="1876" y="352"/>
                  </a:cubicBezTo>
                  <a:cubicBezTo>
                    <a:pt x="1901" y="362"/>
                    <a:pt x="1919" y="363"/>
                    <a:pt x="1894" y="346"/>
                  </a:cubicBezTo>
                  <a:close/>
                  <a:moveTo>
                    <a:pt x="1138" y="13"/>
                  </a:moveTo>
                  <a:cubicBezTo>
                    <a:pt x="1148" y="11"/>
                    <a:pt x="1162" y="1"/>
                    <a:pt x="1155" y="1"/>
                  </a:cubicBezTo>
                  <a:cubicBezTo>
                    <a:pt x="1148" y="1"/>
                    <a:pt x="1100" y="1"/>
                    <a:pt x="1100" y="1"/>
                  </a:cubicBezTo>
                  <a:cubicBezTo>
                    <a:pt x="1097" y="10"/>
                    <a:pt x="1097" y="10"/>
                    <a:pt x="1097" y="10"/>
                  </a:cubicBezTo>
                  <a:cubicBezTo>
                    <a:pt x="1124" y="7"/>
                    <a:pt x="1124" y="7"/>
                    <a:pt x="1124" y="7"/>
                  </a:cubicBezTo>
                  <a:cubicBezTo>
                    <a:pt x="1124" y="7"/>
                    <a:pt x="1128" y="14"/>
                    <a:pt x="1138" y="13"/>
                  </a:cubicBezTo>
                  <a:close/>
                  <a:moveTo>
                    <a:pt x="1163" y="39"/>
                  </a:moveTo>
                  <a:cubicBezTo>
                    <a:pt x="1168" y="39"/>
                    <a:pt x="1176" y="34"/>
                    <a:pt x="1176" y="34"/>
                  </a:cubicBezTo>
                  <a:cubicBezTo>
                    <a:pt x="1176" y="34"/>
                    <a:pt x="1203" y="42"/>
                    <a:pt x="1210" y="35"/>
                  </a:cubicBezTo>
                  <a:cubicBezTo>
                    <a:pt x="1217" y="28"/>
                    <a:pt x="1211" y="17"/>
                    <a:pt x="1189" y="17"/>
                  </a:cubicBezTo>
                  <a:cubicBezTo>
                    <a:pt x="1166" y="17"/>
                    <a:pt x="1145" y="34"/>
                    <a:pt x="1145" y="34"/>
                  </a:cubicBezTo>
                  <a:cubicBezTo>
                    <a:pt x="1149" y="39"/>
                    <a:pt x="1159" y="39"/>
                    <a:pt x="1163" y="39"/>
                  </a:cubicBezTo>
                  <a:close/>
                  <a:moveTo>
                    <a:pt x="1590" y="341"/>
                  </a:moveTo>
                  <a:cubicBezTo>
                    <a:pt x="1623" y="333"/>
                    <a:pt x="1612" y="323"/>
                    <a:pt x="1604" y="319"/>
                  </a:cubicBezTo>
                  <a:cubicBezTo>
                    <a:pt x="1596" y="315"/>
                    <a:pt x="1566" y="319"/>
                    <a:pt x="1566" y="319"/>
                  </a:cubicBezTo>
                  <a:cubicBezTo>
                    <a:pt x="1566" y="319"/>
                    <a:pt x="1572" y="345"/>
                    <a:pt x="1590" y="341"/>
                  </a:cubicBezTo>
                  <a:close/>
                  <a:moveTo>
                    <a:pt x="1062" y="20"/>
                  </a:moveTo>
                  <a:cubicBezTo>
                    <a:pt x="1034" y="17"/>
                    <a:pt x="1034" y="17"/>
                    <a:pt x="1034" y="17"/>
                  </a:cubicBezTo>
                  <a:cubicBezTo>
                    <a:pt x="1041" y="25"/>
                    <a:pt x="1041" y="25"/>
                    <a:pt x="1041" y="25"/>
                  </a:cubicBezTo>
                  <a:lnTo>
                    <a:pt x="1062" y="20"/>
                  </a:lnTo>
                  <a:close/>
                  <a:moveTo>
                    <a:pt x="1264" y="465"/>
                  </a:moveTo>
                  <a:cubicBezTo>
                    <a:pt x="1259" y="473"/>
                    <a:pt x="1324" y="507"/>
                    <a:pt x="1330" y="491"/>
                  </a:cubicBezTo>
                  <a:cubicBezTo>
                    <a:pt x="1336" y="475"/>
                    <a:pt x="1270" y="455"/>
                    <a:pt x="1264" y="465"/>
                  </a:cubicBezTo>
                  <a:close/>
                  <a:moveTo>
                    <a:pt x="2074" y="83"/>
                  </a:moveTo>
                  <a:cubicBezTo>
                    <a:pt x="2084" y="73"/>
                    <a:pt x="2084" y="73"/>
                    <a:pt x="2084" y="73"/>
                  </a:cubicBezTo>
                  <a:cubicBezTo>
                    <a:pt x="2024" y="73"/>
                    <a:pt x="2024" y="73"/>
                    <a:pt x="2024" y="73"/>
                  </a:cubicBezTo>
                  <a:lnTo>
                    <a:pt x="2074" y="83"/>
                  </a:lnTo>
                  <a:close/>
                  <a:moveTo>
                    <a:pt x="1044" y="68"/>
                  </a:moveTo>
                  <a:cubicBezTo>
                    <a:pt x="1090" y="66"/>
                    <a:pt x="1090" y="66"/>
                    <a:pt x="1090" y="66"/>
                  </a:cubicBezTo>
                  <a:cubicBezTo>
                    <a:pt x="1075" y="56"/>
                    <a:pt x="1075" y="56"/>
                    <a:pt x="1075" y="56"/>
                  </a:cubicBezTo>
                  <a:lnTo>
                    <a:pt x="1044" y="68"/>
                  </a:lnTo>
                  <a:close/>
                  <a:moveTo>
                    <a:pt x="1051" y="39"/>
                  </a:moveTo>
                  <a:cubicBezTo>
                    <a:pt x="1064" y="48"/>
                    <a:pt x="1066" y="52"/>
                    <a:pt x="1066" y="52"/>
                  </a:cubicBezTo>
                  <a:cubicBezTo>
                    <a:pt x="1083" y="44"/>
                    <a:pt x="1083" y="44"/>
                    <a:pt x="1083" y="44"/>
                  </a:cubicBezTo>
                  <a:cubicBezTo>
                    <a:pt x="1083" y="44"/>
                    <a:pt x="1076" y="49"/>
                    <a:pt x="1090" y="49"/>
                  </a:cubicBezTo>
                  <a:cubicBezTo>
                    <a:pt x="1104" y="49"/>
                    <a:pt x="1125" y="38"/>
                    <a:pt x="1125" y="38"/>
                  </a:cubicBezTo>
                  <a:cubicBezTo>
                    <a:pt x="1089" y="32"/>
                    <a:pt x="1089" y="32"/>
                    <a:pt x="1089" y="32"/>
                  </a:cubicBezTo>
                  <a:cubicBezTo>
                    <a:pt x="1079" y="38"/>
                    <a:pt x="1079" y="38"/>
                    <a:pt x="1079" y="38"/>
                  </a:cubicBezTo>
                  <a:cubicBezTo>
                    <a:pt x="1079" y="38"/>
                    <a:pt x="1065" y="32"/>
                    <a:pt x="1061" y="34"/>
                  </a:cubicBezTo>
                  <a:cubicBezTo>
                    <a:pt x="1057" y="35"/>
                    <a:pt x="1051" y="39"/>
                    <a:pt x="1051" y="39"/>
                  </a:cubicBezTo>
                  <a:close/>
                  <a:moveTo>
                    <a:pt x="1113" y="23"/>
                  </a:moveTo>
                  <a:cubicBezTo>
                    <a:pt x="1071" y="23"/>
                    <a:pt x="1071" y="23"/>
                    <a:pt x="1071" y="23"/>
                  </a:cubicBezTo>
                  <a:cubicBezTo>
                    <a:pt x="1106" y="31"/>
                    <a:pt x="1106" y="31"/>
                    <a:pt x="1106" y="31"/>
                  </a:cubicBezTo>
                  <a:lnTo>
                    <a:pt x="1113" y="23"/>
                  </a:lnTo>
                  <a:close/>
                  <a:moveTo>
                    <a:pt x="1032" y="349"/>
                  </a:moveTo>
                  <a:cubicBezTo>
                    <a:pt x="1002" y="354"/>
                    <a:pt x="1002" y="354"/>
                    <a:pt x="1002" y="354"/>
                  </a:cubicBezTo>
                  <a:cubicBezTo>
                    <a:pt x="1011" y="366"/>
                    <a:pt x="1011" y="366"/>
                    <a:pt x="1011" y="366"/>
                  </a:cubicBezTo>
                  <a:cubicBezTo>
                    <a:pt x="1030" y="357"/>
                    <a:pt x="1030" y="357"/>
                    <a:pt x="1030" y="357"/>
                  </a:cubicBezTo>
                  <a:cubicBezTo>
                    <a:pt x="1020" y="373"/>
                    <a:pt x="1020" y="373"/>
                    <a:pt x="1020" y="373"/>
                  </a:cubicBezTo>
                  <a:cubicBezTo>
                    <a:pt x="1020" y="373"/>
                    <a:pt x="992" y="379"/>
                    <a:pt x="994" y="390"/>
                  </a:cubicBezTo>
                  <a:cubicBezTo>
                    <a:pt x="996" y="401"/>
                    <a:pt x="1023" y="405"/>
                    <a:pt x="1035" y="405"/>
                  </a:cubicBezTo>
                  <a:cubicBezTo>
                    <a:pt x="1048" y="405"/>
                    <a:pt x="1065" y="408"/>
                    <a:pt x="1076" y="414"/>
                  </a:cubicBezTo>
                  <a:cubicBezTo>
                    <a:pt x="1086" y="420"/>
                    <a:pt x="1085" y="437"/>
                    <a:pt x="1088" y="438"/>
                  </a:cubicBezTo>
                  <a:cubicBezTo>
                    <a:pt x="1091" y="440"/>
                    <a:pt x="1140" y="447"/>
                    <a:pt x="1140" y="447"/>
                  </a:cubicBezTo>
                  <a:cubicBezTo>
                    <a:pt x="1214" y="443"/>
                    <a:pt x="1214" y="443"/>
                    <a:pt x="1214" y="443"/>
                  </a:cubicBezTo>
                  <a:cubicBezTo>
                    <a:pt x="1214" y="443"/>
                    <a:pt x="1154" y="437"/>
                    <a:pt x="1138" y="411"/>
                  </a:cubicBezTo>
                  <a:cubicBezTo>
                    <a:pt x="1122" y="385"/>
                    <a:pt x="1106" y="385"/>
                    <a:pt x="1122" y="361"/>
                  </a:cubicBezTo>
                  <a:cubicBezTo>
                    <a:pt x="1138" y="337"/>
                    <a:pt x="1119" y="335"/>
                    <a:pt x="1119" y="335"/>
                  </a:cubicBezTo>
                  <a:cubicBezTo>
                    <a:pt x="1146" y="331"/>
                    <a:pt x="1146" y="331"/>
                    <a:pt x="1146" y="331"/>
                  </a:cubicBezTo>
                  <a:cubicBezTo>
                    <a:pt x="1135" y="319"/>
                    <a:pt x="1135" y="319"/>
                    <a:pt x="1135" y="319"/>
                  </a:cubicBezTo>
                  <a:cubicBezTo>
                    <a:pt x="1158" y="322"/>
                    <a:pt x="1158" y="322"/>
                    <a:pt x="1158" y="322"/>
                  </a:cubicBezTo>
                  <a:cubicBezTo>
                    <a:pt x="1145" y="314"/>
                    <a:pt x="1145" y="314"/>
                    <a:pt x="1145" y="314"/>
                  </a:cubicBezTo>
                  <a:cubicBezTo>
                    <a:pt x="1161" y="316"/>
                    <a:pt x="1161" y="316"/>
                    <a:pt x="1161" y="316"/>
                  </a:cubicBezTo>
                  <a:cubicBezTo>
                    <a:pt x="1165" y="306"/>
                    <a:pt x="1165" y="306"/>
                    <a:pt x="1165" y="306"/>
                  </a:cubicBezTo>
                  <a:cubicBezTo>
                    <a:pt x="1151" y="299"/>
                    <a:pt x="1151" y="299"/>
                    <a:pt x="1151" y="299"/>
                  </a:cubicBezTo>
                  <a:cubicBezTo>
                    <a:pt x="1151" y="299"/>
                    <a:pt x="1178" y="303"/>
                    <a:pt x="1182" y="299"/>
                  </a:cubicBezTo>
                  <a:cubicBezTo>
                    <a:pt x="1186" y="295"/>
                    <a:pt x="1171" y="285"/>
                    <a:pt x="1171" y="285"/>
                  </a:cubicBezTo>
                  <a:cubicBezTo>
                    <a:pt x="1193" y="287"/>
                    <a:pt x="1193" y="287"/>
                    <a:pt x="1193" y="287"/>
                  </a:cubicBezTo>
                  <a:cubicBezTo>
                    <a:pt x="1191" y="268"/>
                    <a:pt x="1191" y="268"/>
                    <a:pt x="1191" y="268"/>
                  </a:cubicBezTo>
                  <a:cubicBezTo>
                    <a:pt x="1191" y="268"/>
                    <a:pt x="1205" y="279"/>
                    <a:pt x="1223" y="271"/>
                  </a:cubicBezTo>
                  <a:cubicBezTo>
                    <a:pt x="1242" y="264"/>
                    <a:pt x="1254" y="250"/>
                    <a:pt x="1254" y="250"/>
                  </a:cubicBezTo>
                  <a:cubicBezTo>
                    <a:pt x="1254" y="250"/>
                    <a:pt x="1399" y="229"/>
                    <a:pt x="1420" y="220"/>
                  </a:cubicBezTo>
                  <a:cubicBezTo>
                    <a:pt x="1442" y="210"/>
                    <a:pt x="1463" y="195"/>
                    <a:pt x="1430" y="184"/>
                  </a:cubicBezTo>
                  <a:cubicBezTo>
                    <a:pt x="1397" y="172"/>
                    <a:pt x="1363" y="188"/>
                    <a:pt x="1348" y="194"/>
                  </a:cubicBezTo>
                  <a:cubicBezTo>
                    <a:pt x="1334" y="200"/>
                    <a:pt x="1290" y="215"/>
                    <a:pt x="1270" y="212"/>
                  </a:cubicBezTo>
                  <a:cubicBezTo>
                    <a:pt x="1249" y="210"/>
                    <a:pt x="1218" y="206"/>
                    <a:pt x="1218" y="206"/>
                  </a:cubicBezTo>
                  <a:cubicBezTo>
                    <a:pt x="1207" y="223"/>
                    <a:pt x="1207" y="223"/>
                    <a:pt x="1207" y="223"/>
                  </a:cubicBezTo>
                  <a:cubicBezTo>
                    <a:pt x="1190" y="214"/>
                    <a:pt x="1190" y="214"/>
                    <a:pt x="1190" y="214"/>
                  </a:cubicBezTo>
                  <a:cubicBezTo>
                    <a:pt x="1155" y="228"/>
                    <a:pt x="1155" y="228"/>
                    <a:pt x="1155" y="228"/>
                  </a:cubicBezTo>
                  <a:cubicBezTo>
                    <a:pt x="1136" y="227"/>
                    <a:pt x="1136" y="227"/>
                    <a:pt x="1136" y="227"/>
                  </a:cubicBezTo>
                  <a:cubicBezTo>
                    <a:pt x="1117" y="242"/>
                    <a:pt x="1117" y="242"/>
                    <a:pt x="1117" y="242"/>
                  </a:cubicBezTo>
                  <a:cubicBezTo>
                    <a:pt x="1131" y="247"/>
                    <a:pt x="1131" y="247"/>
                    <a:pt x="1131" y="247"/>
                  </a:cubicBezTo>
                  <a:cubicBezTo>
                    <a:pt x="1098" y="248"/>
                    <a:pt x="1098" y="248"/>
                    <a:pt x="1098" y="248"/>
                  </a:cubicBezTo>
                  <a:cubicBezTo>
                    <a:pt x="1079" y="254"/>
                    <a:pt x="1079" y="254"/>
                    <a:pt x="1079" y="254"/>
                  </a:cubicBezTo>
                  <a:cubicBezTo>
                    <a:pt x="1080" y="263"/>
                    <a:pt x="1080" y="263"/>
                    <a:pt x="1080" y="263"/>
                  </a:cubicBezTo>
                  <a:cubicBezTo>
                    <a:pt x="1097" y="254"/>
                    <a:pt x="1097" y="254"/>
                    <a:pt x="1097" y="254"/>
                  </a:cubicBezTo>
                  <a:cubicBezTo>
                    <a:pt x="1098" y="263"/>
                    <a:pt x="1098" y="263"/>
                    <a:pt x="1098" y="263"/>
                  </a:cubicBezTo>
                  <a:cubicBezTo>
                    <a:pt x="1117" y="265"/>
                    <a:pt x="1117" y="265"/>
                    <a:pt x="1117" y="265"/>
                  </a:cubicBezTo>
                  <a:cubicBezTo>
                    <a:pt x="1111" y="273"/>
                    <a:pt x="1111" y="273"/>
                    <a:pt x="1111" y="273"/>
                  </a:cubicBezTo>
                  <a:cubicBezTo>
                    <a:pt x="1085" y="273"/>
                    <a:pt x="1085" y="273"/>
                    <a:pt x="1085" y="273"/>
                  </a:cubicBezTo>
                  <a:cubicBezTo>
                    <a:pt x="1081" y="282"/>
                    <a:pt x="1081" y="282"/>
                    <a:pt x="1081" y="282"/>
                  </a:cubicBezTo>
                  <a:cubicBezTo>
                    <a:pt x="1099" y="285"/>
                    <a:pt x="1099" y="285"/>
                    <a:pt x="1099" y="285"/>
                  </a:cubicBezTo>
                  <a:cubicBezTo>
                    <a:pt x="1068" y="287"/>
                    <a:pt x="1068" y="287"/>
                    <a:pt x="1068" y="287"/>
                  </a:cubicBezTo>
                  <a:cubicBezTo>
                    <a:pt x="1090" y="293"/>
                    <a:pt x="1090" y="293"/>
                    <a:pt x="1090" y="293"/>
                  </a:cubicBezTo>
                  <a:cubicBezTo>
                    <a:pt x="1061" y="295"/>
                    <a:pt x="1061" y="295"/>
                    <a:pt x="1061" y="295"/>
                  </a:cubicBezTo>
                  <a:cubicBezTo>
                    <a:pt x="1059" y="309"/>
                    <a:pt x="1059" y="309"/>
                    <a:pt x="1059" y="309"/>
                  </a:cubicBezTo>
                  <a:cubicBezTo>
                    <a:pt x="1039" y="316"/>
                    <a:pt x="1039" y="316"/>
                    <a:pt x="1039" y="316"/>
                  </a:cubicBezTo>
                  <a:cubicBezTo>
                    <a:pt x="1046" y="326"/>
                    <a:pt x="1046" y="326"/>
                    <a:pt x="1046" y="326"/>
                  </a:cubicBezTo>
                  <a:cubicBezTo>
                    <a:pt x="1073" y="314"/>
                    <a:pt x="1073" y="314"/>
                    <a:pt x="1073" y="314"/>
                  </a:cubicBezTo>
                  <a:cubicBezTo>
                    <a:pt x="1062" y="332"/>
                    <a:pt x="1062" y="332"/>
                    <a:pt x="1062" y="332"/>
                  </a:cubicBezTo>
                  <a:cubicBezTo>
                    <a:pt x="1062" y="332"/>
                    <a:pt x="1041" y="327"/>
                    <a:pt x="1033" y="334"/>
                  </a:cubicBezTo>
                  <a:cubicBezTo>
                    <a:pt x="1026" y="341"/>
                    <a:pt x="1032" y="349"/>
                    <a:pt x="1032" y="349"/>
                  </a:cubicBezTo>
                  <a:close/>
                  <a:moveTo>
                    <a:pt x="3856" y="331"/>
                  </a:moveTo>
                  <a:cubicBezTo>
                    <a:pt x="3904" y="325"/>
                    <a:pt x="3904" y="325"/>
                    <a:pt x="3904" y="325"/>
                  </a:cubicBezTo>
                  <a:cubicBezTo>
                    <a:pt x="3976" y="335"/>
                    <a:pt x="3976" y="335"/>
                    <a:pt x="3976" y="335"/>
                  </a:cubicBezTo>
                  <a:cubicBezTo>
                    <a:pt x="3976" y="335"/>
                    <a:pt x="3954" y="311"/>
                    <a:pt x="3938" y="307"/>
                  </a:cubicBezTo>
                  <a:cubicBezTo>
                    <a:pt x="3922" y="303"/>
                    <a:pt x="3866" y="311"/>
                    <a:pt x="3866" y="311"/>
                  </a:cubicBezTo>
                  <a:lnTo>
                    <a:pt x="3856" y="331"/>
                  </a:lnTo>
                  <a:close/>
                  <a:moveTo>
                    <a:pt x="3858" y="253"/>
                  </a:moveTo>
                  <a:cubicBezTo>
                    <a:pt x="3896" y="257"/>
                    <a:pt x="3896" y="257"/>
                    <a:pt x="3896" y="257"/>
                  </a:cubicBezTo>
                  <a:cubicBezTo>
                    <a:pt x="3906" y="247"/>
                    <a:pt x="3904" y="235"/>
                    <a:pt x="3886" y="235"/>
                  </a:cubicBezTo>
                  <a:cubicBezTo>
                    <a:pt x="3868" y="235"/>
                    <a:pt x="3808" y="221"/>
                    <a:pt x="3816" y="233"/>
                  </a:cubicBezTo>
                  <a:cubicBezTo>
                    <a:pt x="3824" y="245"/>
                    <a:pt x="3858" y="253"/>
                    <a:pt x="3858" y="253"/>
                  </a:cubicBezTo>
                  <a:close/>
                  <a:moveTo>
                    <a:pt x="3818" y="289"/>
                  </a:moveTo>
                  <a:cubicBezTo>
                    <a:pt x="3792" y="315"/>
                    <a:pt x="3848" y="313"/>
                    <a:pt x="3856" y="303"/>
                  </a:cubicBezTo>
                  <a:cubicBezTo>
                    <a:pt x="3864" y="293"/>
                    <a:pt x="3825" y="282"/>
                    <a:pt x="3818" y="289"/>
                  </a:cubicBezTo>
                  <a:close/>
                  <a:moveTo>
                    <a:pt x="2050" y="65"/>
                  </a:moveTo>
                  <a:cubicBezTo>
                    <a:pt x="2050" y="65"/>
                    <a:pt x="2106" y="69"/>
                    <a:pt x="2118" y="65"/>
                  </a:cubicBezTo>
                  <a:cubicBezTo>
                    <a:pt x="2130" y="61"/>
                    <a:pt x="2172" y="65"/>
                    <a:pt x="2164" y="49"/>
                  </a:cubicBezTo>
                  <a:cubicBezTo>
                    <a:pt x="2156" y="33"/>
                    <a:pt x="2082" y="11"/>
                    <a:pt x="2082" y="11"/>
                  </a:cubicBezTo>
                  <a:cubicBezTo>
                    <a:pt x="2082" y="11"/>
                    <a:pt x="2026" y="1"/>
                    <a:pt x="2024" y="21"/>
                  </a:cubicBezTo>
                  <a:cubicBezTo>
                    <a:pt x="2022" y="41"/>
                    <a:pt x="2050" y="65"/>
                    <a:pt x="2050" y="65"/>
                  </a:cubicBezTo>
                  <a:close/>
                  <a:moveTo>
                    <a:pt x="4094" y="273"/>
                  </a:moveTo>
                  <a:cubicBezTo>
                    <a:pt x="4122" y="259"/>
                    <a:pt x="4026" y="259"/>
                    <a:pt x="4026" y="259"/>
                  </a:cubicBezTo>
                  <a:cubicBezTo>
                    <a:pt x="4026" y="259"/>
                    <a:pt x="4006" y="241"/>
                    <a:pt x="3998" y="241"/>
                  </a:cubicBezTo>
                  <a:cubicBezTo>
                    <a:pt x="3990" y="241"/>
                    <a:pt x="3966" y="245"/>
                    <a:pt x="3966" y="245"/>
                  </a:cubicBezTo>
                  <a:cubicBezTo>
                    <a:pt x="3942" y="243"/>
                    <a:pt x="3942" y="243"/>
                    <a:pt x="3942" y="243"/>
                  </a:cubicBezTo>
                  <a:cubicBezTo>
                    <a:pt x="3966" y="259"/>
                    <a:pt x="3966" y="259"/>
                    <a:pt x="3966" y="259"/>
                  </a:cubicBezTo>
                  <a:cubicBezTo>
                    <a:pt x="3966" y="259"/>
                    <a:pt x="4066" y="287"/>
                    <a:pt x="4094" y="273"/>
                  </a:cubicBezTo>
                  <a:close/>
                  <a:moveTo>
                    <a:pt x="5070" y="495"/>
                  </a:moveTo>
                  <a:cubicBezTo>
                    <a:pt x="5078" y="485"/>
                    <a:pt x="5004" y="475"/>
                    <a:pt x="5004" y="475"/>
                  </a:cubicBezTo>
                  <a:cubicBezTo>
                    <a:pt x="5004" y="483"/>
                    <a:pt x="5062" y="505"/>
                    <a:pt x="5070" y="495"/>
                  </a:cubicBezTo>
                  <a:close/>
                  <a:moveTo>
                    <a:pt x="2112" y="81"/>
                  </a:moveTo>
                  <a:cubicBezTo>
                    <a:pt x="2112" y="89"/>
                    <a:pt x="2178" y="95"/>
                    <a:pt x="2178" y="95"/>
                  </a:cubicBezTo>
                  <a:cubicBezTo>
                    <a:pt x="2212" y="91"/>
                    <a:pt x="2212" y="91"/>
                    <a:pt x="2212" y="91"/>
                  </a:cubicBezTo>
                  <a:cubicBezTo>
                    <a:pt x="2250" y="105"/>
                    <a:pt x="2250" y="105"/>
                    <a:pt x="2250" y="105"/>
                  </a:cubicBezTo>
                  <a:cubicBezTo>
                    <a:pt x="2292" y="103"/>
                    <a:pt x="2292" y="103"/>
                    <a:pt x="2292" y="103"/>
                  </a:cubicBezTo>
                  <a:cubicBezTo>
                    <a:pt x="2286" y="85"/>
                    <a:pt x="2268" y="59"/>
                    <a:pt x="2250" y="61"/>
                  </a:cubicBezTo>
                  <a:cubicBezTo>
                    <a:pt x="2232" y="63"/>
                    <a:pt x="2214" y="75"/>
                    <a:pt x="2214" y="75"/>
                  </a:cubicBezTo>
                  <a:cubicBezTo>
                    <a:pt x="2200" y="59"/>
                    <a:pt x="2200" y="59"/>
                    <a:pt x="2200" y="59"/>
                  </a:cubicBezTo>
                  <a:cubicBezTo>
                    <a:pt x="2200" y="59"/>
                    <a:pt x="2112" y="73"/>
                    <a:pt x="2112" y="81"/>
                  </a:cubicBezTo>
                  <a:close/>
                  <a:moveTo>
                    <a:pt x="2392" y="133"/>
                  </a:moveTo>
                  <a:cubicBezTo>
                    <a:pt x="2498" y="127"/>
                    <a:pt x="2498" y="127"/>
                    <a:pt x="2498" y="127"/>
                  </a:cubicBezTo>
                  <a:cubicBezTo>
                    <a:pt x="2470" y="111"/>
                    <a:pt x="2470" y="111"/>
                    <a:pt x="2470" y="111"/>
                  </a:cubicBezTo>
                  <a:cubicBezTo>
                    <a:pt x="2470" y="111"/>
                    <a:pt x="2432" y="91"/>
                    <a:pt x="2422" y="91"/>
                  </a:cubicBezTo>
                  <a:cubicBezTo>
                    <a:pt x="2412" y="91"/>
                    <a:pt x="2394" y="103"/>
                    <a:pt x="2394" y="103"/>
                  </a:cubicBezTo>
                  <a:cubicBezTo>
                    <a:pt x="2394" y="103"/>
                    <a:pt x="2388" y="75"/>
                    <a:pt x="2366" y="75"/>
                  </a:cubicBezTo>
                  <a:cubicBezTo>
                    <a:pt x="2344" y="75"/>
                    <a:pt x="2332" y="141"/>
                    <a:pt x="2332" y="141"/>
                  </a:cubicBezTo>
                  <a:cubicBezTo>
                    <a:pt x="2348" y="149"/>
                    <a:pt x="2348" y="149"/>
                    <a:pt x="2348" y="149"/>
                  </a:cubicBezTo>
                  <a:cubicBezTo>
                    <a:pt x="2366" y="145"/>
                    <a:pt x="2392" y="133"/>
                    <a:pt x="2392" y="133"/>
                  </a:cubicBezTo>
                  <a:close/>
                  <a:moveTo>
                    <a:pt x="3752" y="279"/>
                  </a:moveTo>
                  <a:cubicBezTo>
                    <a:pt x="3762" y="261"/>
                    <a:pt x="3762" y="261"/>
                    <a:pt x="3762" y="261"/>
                  </a:cubicBezTo>
                  <a:cubicBezTo>
                    <a:pt x="3762" y="261"/>
                    <a:pt x="3788" y="261"/>
                    <a:pt x="3798" y="261"/>
                  </a:cubicBezTo>
                  <a:cubicBezTo>
                    <a:pt x="3808" y="261"/>
                    <a:pt x="3838" y="259"/>
                    <a:pt x="3838" y="259"/>
                  </a:cubicBezTo>
                  <a:cubicBezTo>
                    <a:pt x="3796" y="239"/>
                    <a:pt x="3796" y="239"/>
                    <a:pt x="3796" y="239"/>
                  </a:cubicBezTo>
                  <a:cubicBezTo>
                    <a:pt x="3804" y="225"/>
                    <a:pt x="3804" y="225"/>
                    <a:pt x="3804" y="225"/>
                  </a:cubicBezTo>
                  <a:cubicBezTo>
                    <a:pt x="3744" y="213"/>
                    <a:pt x="3744" y="213"/>
                    <a:pt x="3744" y="213"/>
                  </a:cubicBezTo>
                  <a:cubicBezTo>
                    <a:pt x="3754" y="231"/>
                    <a:pt x="3754" y="231"/>
                    <a:pt x="3754" y="231"/>
                  </a:cubicBezTo>
                  <a:cubicBezTo>
                    <a:pt x="3754" y="231"/>
                    <a:pt x="3632" y="191"/>
                    <a:pt x="3634" y="221"/>
                  </a:cubicBezTo>
                  <a:cubicBezTo>
                    <a:pt x="3636" y="251"/>
                    <a:pt x="3752" y="279"/>
                    <a:pt x="3752" y="279"/>
                  </a:cubicBezTo>
                  <a:close/>
                  <a:moveTo>
                    <a:pt x="2882" y="289"/>
                  </a:moveTo>
                  <a:cubicBezTo>
                    <a:pt x="2914" y="295"/>
                    <a:pt x="2914" y="295"/>
                    <a:pt x="2914" y="295"/>
                  </a:cubicBezTo>
                  <a:cubicBezTo>
                    <a:pt x="2934" y="297"/>
                    <a:pt x="2954" y="285"/>
                    <a:pt x="2924" y="279"/>
                  </a:cubicBezTo>
                  <a:cubicBezTo>
                    <a:pt x="2894" y="273"/>
                    <a:pt x="2882" y="289"/>
                    <a:pt x="2882" y="289"/>
                  </a:cubicBezTo>
                  <a:close/>
                  <a:moveTo>
                    <a:pt x="3618" y="235"/>
                  </a:moveTo>
                  <a:cubicBezTo>
                    <a:pt x="3582" y="223"/>
                    <a:pt x="3582" y="223"/>
                    <a:pt x="3582" y="223"/>
                  </a:cubicBezTo>
                  <a:cubicBezTo>
                    <a:pt x="3598" y="245"/>
                    <a:pt x="3598" y="245"/>
                    <a:pt x="3598" y="245"/>
                  </a:cubicBezTo>
                  <a:lnTo>
                    <a:pt x="3618" y="235"/>
                  </a:lnTo>
                  <a:close/>
                  <a:moveTo>
                    <a:pt x="5328" y="443"/>
                  </a:moveTo>
                  <a:cubicBezTo>
                    <a:pt x="5340" y="439"/>
                    <a:pt x="5358" y="437"/>
                    <a:pt x="5384" y="437"/>
                  </a:cubicBezTo>
                  <a:cubicBezTo>
                    <a:pt x="5410" y="437"/>
                    <a:pt x="5414" y="421"/>
                    <a:pt x="5396" y="419"/>
                  </a:cubicBezTo>
                  <a:cubicBezTo>
                    <a:pt x="5378" y="417"/>
                    <a:pt x="5346" y="405"/>
                    <a:pt x="5334" y="405"/>
                  </a:cubicBezTo>
                  <a:cubicBezTo>
                    <a:pt x="5322" y="405"/>
                    <a:pt x="5294" y="405"/>
                    <a:pt x="5294" y="427"/>
                  </a:cubicBezTo>
                  <a:cubicBezTo>
                    <a:pt x="5294" y="451"/>
                    <a:pt x="5316" y="447"/>
                    <a:pt x="5328" y="443"/>
                  </a:cubicBezTo>
                  <a:close/>
                  <a:moveTo>
                    <a:pt x="111" y="1194"/>
                  </a:moveTo>
                  <a:cubicBezTo>
                    <a:pt x="103" y="1195"/>
                    <a:pt x="79" y="1198"/>
                    <a:pt x="79" y="1198"/>
                  </a:cubicBezTo>
                  <a:cubicBezTo>
                    <a:pt x="77" y="1192"/>
                    <a:pt x="77" y="1192"/>
                    <a:pt x="77" y="1192"/>
                  </a:cubicBezTo>
                  <a:cubicBezTo>
                    <a:pt x="69" y="1193"/>
                    <a:pt x="69" y="1193"/>
                    <a:pt x="69" y="1193"/>
                  </a:cubicBezTo>
                  <a:cubicBezTo>
                    <a:pt x="66" y="1187"/>
                    <a:pt x="66" y="1187"/>
                    <a:pt x="66" y="1187"/>
                  </a:cubicBezTo>
                  <a:cubicBezTo>
                    <a:pt x="61" y="1187"/>
                    <a:pt x="61" y="1187"/>
                    <a:pt x="61" y="1187"/>
                  </a:cubicBezTo>
                  <a:cubicBezTo>
                    <a:pt x="61" y="1192"/>
                    <a:pt x="53" y="1201"/>
                    <a:pt x="53" y="1201"/>
                  </a:cubicBezTo>
                  <a:cubicBezTo>
                    <a:pt x="53" y="1201"/>
                    <a:pt x="12" y="1196"/>
                    <a:pt x="6" y="1203"/>
                  </a:cubicBezTo>
                  <a:cubicBezTo>
                    <a:pt x="0" y="1210"/>
                    <a:pt x="13" y="1219"/>
                    <a:pt x="13" y="1219"/>
                  </a:cubicBezTo>
                  <a:cubicBezTo>
                    <a:pt x="8" y="1228"/>
                    <a:pt x="8" y="1228"/>
                    <a:pt x="8" y="1228"/>
                  </a:cubicBezTo>
                  <a:cubicBezTo>
                    <a:pt x="8" y="1227"/>
                    <a:pt x="8" y="1227"/>
                    <a:pt x="8" y="1227"/>
                  </a:cubicBezTo>
                  <a:cubicBezTo>
                    <a:pt x="13" y="1232"/>
                    <a:pt x="13" y="1232"/>
                    <a:pt x="13" y="1232"/>
                  </a:cubicBezTo>
                  <a:cubicBezTo>
                    <a:pt x="13" y="1232"/>
                    <a:pt x="25" y="1227"/>
                    <a:pt x="34" y="1229"/>
                  </a:cubicBezTo>
                  <a:cubicBezTo>
                    <a:pt x="43" y="1231"/>
                    <a:pt x="51" y="1236"/>
                    <a:pt x="51" y="1236"/>
                  </a:cubicBezTo>
                  <a:cubicBezTo>
                    <a:pt x="51" y="1236"/>
                    <a:pt x="82" y="1234"/>
                    <a:pt x="90" y="1235"/>
                  </a:cubicBezTo>
                  <a:cubicBezTo>
                    <a:pt x="98" y="1236"/>
                    <a:pt x="113" y="1236"/>
                    <a:pt x="113" y="1236"/>
                  </a:cubicBezTo>
                  <a:cubicBezTo>
                    <a:pt x="113" y="1236"/>
                    <a:pt x="109" y="1230"/>
                    <a:pt x="117" y="1231"/>
                  </a:cubicBezTo>
                  <a:cubicBezTo>
                    <a:pt x="112" y="1221"/>
                    <a:pt x="112" y="1221"/>
                    <a:pt x="112" y="1221"/>
                  </a:cubicBezTo>
                  <a:cubicBezTo>
                    <a:pt x="112" y="1221"/>
                    <a:pt x="120" y="1214"/>
                    <a:pt x="121" y="1209"/>
                  </a:cubicBezTo>
                  <a:cubicBezTo>
                    <a:pt x="122" y="1204"/>
                    <a:pt x="119" y="1193"/>
                    <a:pt x="111" y="1194"/>
                  </a:cubicBezTo>
                  <a:close/>
                  <a:moveTo>
                    <a:pt x="698" y="59"/>
                  </a:moveTo>
                  <a:cubicBezTo>
                    <a:pt x="712" y="49"/>
                    <a:pt x="712" y="49"/>
                    <a:pt x="712" y="49"/>
                  </a:cubicBezTo>
                  <a:cubicBezTo>
                    <a:pt x="712" y="49"/>
                    <a:pt x="677" y="42"/>
                    <a:pt x="698" y="59"/>
                  </a:cubicBezTo>
                  <a:close/>
                  <a:moveTo>
                    <a:pt x="664" y="48"/>
                  </a:moveTo>
                  <a:cubicBezTo>
                    <a:pt x="720" y="35"/>
                    <a:pt x="720" y="35"/>
                    <a:pt x="720" y="35"/>
                  </a:cubicBezTo>
                  <a:cubicBezTo>
                    <a:pt x="702" y="30"/>
                    <a:pt x="702" y="30"/>
                    <a:pt x="702" y="30"/>
                  </a:cubicBezTo>
                  <a:cubicBezTo>
                    <a:pt x="668" y="38"/>
                    <a:pt x="668" y="38"/>
                    <a:pt x="668" y="38"/>
                  </a:cubicBezTo>
                  <a:cubicBezTo>
                    <a:pt x="634" y="37"/>
                    <a:pt x="634" y="37"/>
                    <a:pt x="634" y="37"/>
                  </a:cubicBezTo>
                  <a:cubicBezTo>
                    <a:pt x="650" y="44"/>
                    <a:pt x="650" y="44"/>
                    <a:pt x="650" y="44"/>
                  </a:cubicBezTo>
                  <a:lnTo>
                    <a:pt x="664" y="48"/>
                  </a:lnTo>
                  <a:close/>
                  <a:moveTo>
                    <a:pt x="754" y="61"/>
                  </a:moveTo>
                  <a:cubicBezTo>
                    <a:pt x="757" y="51"/>
                    <a:pt x="757" y="51"/>
                    <a:pt x="757" y="51"/>
                  </a:cubicBezTo>
                  <a:cubicBezTo>
                    <a:pt x="774" y="51"/>
                    <a:pt x="774" y="51"/>
                    <a:pt x="774" y="51"/>
                  </a:cubicBezTo>
                  <a:cubicBezTo>
                    <a:pt x="779" y="45"/>
                    <a:pt x="779" y="45"/>
                    <a:pt x="779" y="45"/>
                  </a:cubicBezTo>
                  <a:cubicBezTo>
                    <a:pt x="779" y="45"/>
                    <a:pt x="806" y="48"/>
                    <a:pt x="816" y="42"/>
                  </a:cubicBezTo>
                  <a:cubicBezTo>
                    <a:pt x="826" y="37"/>
                    <a:pt x="791" y="37"/>
                    <a:pt x="791" y="37"/>
                  </a:cubicBezTo>
                  <a:cubicBezTo>
                    <a:pt x="791" y="37"/>
                    <a:pt x="791" y="27"/>
                    <a:pt x="774" y="27"/>
                  </a:cubicBezTo>
                  <a:cubicBezTo>
                    <a:pt x="757" y="27"/>
                    <a:pt x="755" y="45"/>
                    <a:pt x="755" y="45"/>
                  </a:cubicBezTo>
                  <a:cubicBezTo>
                    <a:pt x="755" y="45"/>
                    <a:pt x="719" y="51"/>
                    <a:pt x="722" y="56"/>
                  </a:cubicBezTo>
                  <a:cubicBezTo>
                    <a:pt x="724" y="62"/>
                    <a:pt x="754" y="61"/>
                    <a:pt x="754" y="61"/>
                  </a:cubicBezTo>
                  <a:close/>
                  <a:moveTo>
                    <a:pt x="786" y="53"/>
                  </a:moveTo>
                  <a:cubicBezTo>
                    <a:pt x="776" y="59"/>
                    <a:pt x="776" y="59"/>
                    <a:pt x="776" y="59"/>
                  </a:cubicBezTo>
                  <a:cubicBezTo>
                    <a:pt x="789" y="66"/>
                    <a:pt x="789" y="66"/>
                    <a:pt x="789" y="66"/>
                  </a:cubicBezTo>
                  <a:cubicBezTo>
                    <a:pt x="802" y="72"/>
                    <a:pt x="802" y="72"/>
                    <a:pt x="802" y="72"/>
                  </a:cubicBezTo>
                  <a:cubicBezTo>
                    <a:pt x="834" y="69"/>
                    <a:pt x="834" y="69"/>
                    <a:pt x="834" y="69"/>
                  </a:cubicBezTo>
                  <a:cubicBezTo>
                    <a:pt x="833" y="61"/>
                    <a:pt x="833" y="61"/>
                    <a:pt x="833" y="61"/>
                  </a:cubicBezTo>
                  <a:cubicBezTo>
                    <a:pt x="810" y="61"/>
                    <a:pt x="810" y="61"/>
                    <a:pt x="810" y="61"/>
                  </a:cubicBezTo>
                  <a:lnTo>
                    <a:pt x="786" y="53"/>
                  </a:lnTo>
                  <a:close/>
                  <a:moveTo>
                    <a:pt x="5213" y="1622"/>
                  </a:moveTo>
                  <a:cubicBezTo>
                    <a:pt x="5191" y="1599"/>
                    <a:pt x="5191" y="1599"/>
                    <a:pt x="5191" y="1599"/>
                  </a:cubicBezTo>
                  <a:cubicBezTo>
                    <a:pt x="5191" y="1599"/>
                    <a:pt x="5169" y="1593"/>
                    <a:pt x="5156" y="1575"/>
                  </a:cubicBezTo>
                  <a:cubicBezTo>
                    <a:pt x="5144" y="1557"/>
                    <a:pt x="5136" y="1516"/>
                    <a:pt x="5136" y="1516"/>
                  </a:cubicBezTo>
                  <a:cubicBezTo>
                    <a:pt x="5136" y="1516"/>
                    <a:pt x="5112" y="1502"/>
                    <a:pt x="5125" y="1495"/>
                  </a:cubicBezTo>
                  <a:cubicBezTo>
                    <a:pt x="5137" y="1488"/>
                    <a:pt x="5213" y="1526"/>
                    <a:pt x="5213" y="1526"/>
                  </a:cubicBezTo>
                  <a:cubicBezTo>
                    <a:pt x="5163" y="1489"/>
                    <a:pt x="5163" y="1489"/>
                    <a:pt x="5163" y="1489"/>
                  </a:cubicBezTo>
                  <a:cubicBezTo>
                    <a:pt x="5163" y="1489"/>
                    <a:pt x="5144" y="1459"/>
                    <a:pt x="5134" y="1452"/>
                  </a:cubicBezTo>
                  <a:cubicBezTo>
                    <a:pt x="5125" y="1445"/>
                    <a:pt x="5109" y="1435"/>
                    <a:pt x="5109" y="1435"/>
                  </a:cubicBezTo>
                  <a:cubicBezTo>
                    <a:pt x="5057" y="1379"/>
                    <a:pt x="5057" y="1379"/>
                    <a:pt x="5057" y="1379"/>
                  </a:cubicBezTo>
                  <a:cubicBezTo>
                    <a:pt x="5040" y="1380"/>
                    <a:pt x="5040" y="1380"/>
                    <a:pt x="5040" y="1380"/>
                  </a:cubicBezTo>
                  <a:cubicBezTo>
                    <a:pt x="5033" y="1361"/>
                    <a:pt x="5033" y="1361"/>
                    <a:pt x="5033" y="1361"/>
                  </a:cubicBezTo>
                  <a:cubicBezTo>
                    <a:pt x="5033" y="1361"/>
                    <a:pt x="5023" y="1363"/>
                    <a:pt x="5011" y="1351"/>
                  </a:cubicBezTo>
                  <a:cubicBezTo>
                    <a:pt x="4999" y="1338"/>
                    <a:pt x="5003" y="1322"/>
                    <a:pt x="5003" y="1322"/>
                  </a:cubicBezTo>
                  <a:cubicBezTo>
                    <a:pt x="4983" y="1297"/>
                    <a:pt x="4983" y="1297"/>
                    <a:pt x="4983" y="1297"/>
                  </a:cubicBezTo>
                  <a:cubicBezTo>
                    <a:pt x="4969" y="1298"/>
                    <a:pt x="4969" y="1298"/>
                    <a:pt x="4969" y="1298"/>
                  </a:cubicBezTo>
                  <a:cubicBezTo>
                    <a:pt x="4960" y="1279"/>
                    <a:pt x="4960" y="1279"/>
                    <a:pt x="4960" y="1279"/>
                  </a:cubicBezTo>
                  <a:cubicBezTo>
                    <a:pt x="4933" y="1259"/>
                    <a:pt x="4933" y="1259"/>
                    <a:pt x="4933" y="1259"/>
                  </a:cubicBezTo>
                  <a:cubicBezTo>
                    <a:pt x="4925" y="1243"/>
                    <a:pt x="4925" y="1243"/>
                    <a:pt x="4925" y="1243"/>
                  </a:cubicBezTo>
                  <a:cubicBezTo>
                    <a:pt x="4925" y="1243"/>
                    <a:pt x="4907" y="1230"/>
                    <a:pt x="4900" y="1235"/>
                  </a:cubicBezTo>
                  <a:cubicBezTo>
                    <a:pt x="4893" y="1239"/>
                    <a:pt x="4939" y="1272"/>
                    <a:pt x="4933" y="1275"/>
                  </a:cubicBezTo>
                  <a:cubicBezTo>
                    <a:pt x="4928" y="1277"/>
                    <a:pt x="4915" y="1262"/>
                    <a:pt x="4913" y="1277"/>
                  </a:cubicBezTo>
                  <a:cubicBezTo>
                    <a:pt x="4910" y="1293"/>
                    <a:pt x="4939" y="1322"/>
                    <a:pt x="4939" y="1322"/>
                  </a:cubicBezTo>
                  <a:cubicBezTo>
                    <a:pt x="4939" y="1322"/>
                    <a:pt x="4946" y="1340"/>
                    <a:pt x="4953" y="1347"/>
                  </a:cubicBezTo>
                  <a:cubicBezTo>
                    <a:pt x="4960" y="1354"/>
                    <a:pt x="5007" y="1384"/>
                    <a:pt x="5018" y="1398"/>
                  </a:cubicBezTo>
                  <a:cubicBezTo>
                    <a:pt x="5029" y="1412"/>
                    <a:pt x="5028" y="1434"/>
                    <a:pt x="5041" y="1445"/>
                  </a:cubicBezTo>
                  <a:cubicBezTo>
                    <a:pt x="5055" y="1456"/>
                    <a:pt x="5087" y="1512"/>
                    <a:pt x="5087" y="1512"/>
                  </a:cubicBezTo>
                  <a:cubicBezTo>
                    <a:pt x="5087" y="1512"/>
                    <a:pt x="5093" y="1535"/>
                    <a:pt x="5100" y="1535"/>
                  </a:cubicBezTo>
                  <a:cubicBezTo>
                    <a:pt x="5107" y="1535"/>
                    <a:pt x="5120" y="1545"/>
                    <a:pt x="5127" y="1555"/>
                  </a:cubicBezTo>
                  <a:cubicBezTo>
                    <a:pt x="5134" y="1564"/>
                    <a:pt x="5134" y="1584"/>
                    <a:pt x="5134" y="1584"/>
                  </a:cubicBezTo>
                  <a:cubicBezTo>
                    <a:pt x="5162" y="1607"/>
                    <a:pt x="5162" y="1607"/>
                    <a:pt x="5162" y="1607"/>
                  </a:cubicBezTo>
                  <a:cubicBezTo>
                    <a:pt x="5172" y="1643"/>
                    <a:pt x="5172" y="1643"/>
                    <a:pt x="5172" y="1643"/>
                  </a:cubicBezTo>
                  <a:cubicBezTo>
                    <a:pt x="5198" y="1671"/>
                    <a:pt x="5198" y="1671"/>
                    <a:pt x="5198" y="1671"/>
                  </a:cubicBezTo>
                  <a:cubicBezTo>
                    <a:pt x="5198" y="1671"/>
                    <a:pt x="5184" y="1632"/>
                    <a:pt x="5193" y="1629"/>
                  </a:cubicBezTo>
                  <a:cubicBezTo>
                    <a:pt x="5201" y="1627"/>
                    <a:pt x="5205" y="1636"/>
                    <a:pt x="5205" y="1636"/>
                  </a:cubicBezTo>
                  <a:cubicBezTo>
                    <a:pt x="5226" y="1636"/>
                    <a:pt x="5226" y="1636"/>
                    <a:pt x="5226" y="1636"/>
                  </a:cubicBezTo>
                  <a:cubicBezTo>
                    <a:pt x="5248" y="1663"/>
                    <a:pt x="5248" y="1663"/>
                    <a:pt x="5248" y="1663"/>
                  </a:cubicBezTo>
                  <a:cubicBezTo>
                    <a:pt x="5249" y="1646"/>
                    <a:pt x="5249" y="1646"/>
                    <a:pt x="5249" y="1646"/>
                  </a:cubicBezTo>
                  <a:cubicBezTo>
                    <a:pt x="5229" y="1621"/>
                    <a:pt x="5229" y="1621"/>
                    <a:pt x="5229" y="1621"/>
                  </a:cubicBezTo>
                  <a:lnTo>
                    <a:pt x="5213" y="1622"/>
                  </a:lnTo>
                  <a:close/>
                  <a:moveTo>
                    <a:pt x="899" y="58"/>
                  </a:moveTo>
                  <a:cubicBezTo>
                    <a:pt x="905" y="46"/>
                    <a:pt x="905" y="46"/>
                    <a:pt x="905" y="46"/>
                  </a:cubicBezTo>
                  <a:cubicBezTo>
                    <a:pt x="876" y="42"/>
                    <a:pt x="876" y="42"/>
                    <a:pt x="876" y="42"/>
                  </a:cubicBezTo>
                  <a:cubicBezTo>
                    <a:pt x="861" y="52"/>
                    <a:pt x="861" y="52"/>
                    <a:pt x="861" y="52"/>
                  </a:cubicBezTo>
                  <a:cubicBezTo>
                    <a:pt x="864" y="61"/>
                    <a:pt x="864" y="61"/>
                    <a:pt x="864" y="61"/>
                  </a:cubicBezTo>
                  <a:lnTo>
                    <a:pt x="899" y="58"/>
                  </a:lnTo>
                  <a:close/>
                  <a:moveTo>
                    <a:pt x="771" y="1607"/>
                  </a:moveTo>
                  <a:cubicBezTo>
                    <a:pt x="771" y="1607"/>
                    <a:pt x="773" y="1608"/>
                    <a:pt x="774" y="1608"/>
                  </a:cubicBezTo>
                  <a:cubicBezTo>
                    <a:pt x="773" y="1608"/>
                    <a:pt x="771" y="1607"/>
                    <a:pt x="771" y="1607"/>
                  </a:cubicBezTo>
                  <a:close/>
                  <a:moveTo>
                    <a:pt x="771" y="1607"/>
                  </a:moveTo>
                  <a:cubicBezTo>
                    <a:pt x="770" y="1607"/>
                    <a:pt x="770" y="1607"/>
                    <a:pt x="770" y="1607"/>
                  </a:cubicBezTo>
                  <a:cubicBezTo>
                    <a:pt x="770" y="1607"/>
                    <a:pt x="770" y="1607"/>
                    <a:pt x="771" y="1607"/>
                  </a:cubicBezTo>
                  <a:close/>
                  <a:moveTo>
                    <a:pt x="6034" y="664"/>
                  </a:moveTo>
                  <a:cubicBezTo>
                    <a:pt x="6023" y="650"/>
                    <a:pt x="5993" y="645"/>
                    <a:pt x="5993" y="645"/>
                  </a:cubicBezTo>
                  <a:cubicBezTo>
                    <a:pt x="5962" y="631"/>
                    <a:pt x="5962" y="631"/>
                    <a:pt x="5962" y="631"/>
                  </a:cubicBezTo>
                  <a:cubicBezTo>
                    <a:pt x="5935" y="632"/>
                    <a:pt x="5935" y="632"/>
                    <a:pt x="5935" y="632"/>
                  </a:cubicBezTo>
                  <a:cubicBezTo>
                    <a:pt x="5915" y="619"/>
                    <a:pt x="5915" y="619"/>
                    <a:pt x="5915" y="619"/>
                  </a:cubicBezTo>
                  <a:cubicBezTo>
                    <a:pt x="5854" y="615"/>
                    <a:pt x="5854" y="615"/>
                    <a:pt x="5854" y="615"/>
                  </a:cubicBezTo>
                  <a:cubicBezTo>
                    <a:pt x="5829" y="603"/>
                    <a:pt x="5829" y="603"/>
                    <a:pt x="5829" y="603"/>
                  </a:cubicBezTo>
                  <a:cubicBezTo>
                    <a:pt x="5805" y="605"/>
                    <a:pt x="5805" y="605"/>
                    <a:pt x="5805" y="605"/>
                  </a:cubicBezTo>
                  <a:cubicBezTo>
                    <a:pt x="5838" y="630"/>
                    <a:pt x="5838" y="630"/>
                    <a:pt x="5838" y="630"/>
                  </a:cubicBezTo>
                  <a:cubicBezTo>
                    <a:pt x="5874" y="646"/>
                    <a:pt x="5874" y="646"/>
                    <a:pt x="5874" y="646"/>
                  </a:cubicBezTo>
                  <a:cubicBezTo>
                    <a:pt x="5874" y="646"/>
                    <a:pt x="5834" y="652"/>
                    <a:pt x="5822" y="642"/>
                  </a:cubicBezTo>
                  <a:cubicBezTo>
                    <a:pt x="5810" y="632"/>
                    <a:pt x="5809" y="610"/>
                    <a:pt x="5756" y="592"/>
                  </a:cubicBezTo>
                  <a:cubicBezTo>
                    <a:pt x="5703" y="574"/>
                    <a:pt x="5687" y="567"/>
                    <a:pt x="5633" y="558"/>
                  </a:cubicBezTo>
                  <a:cubicBezTo>
                    <a:pt x="5579" y="549"/>
                    <a:pt x="5466" y="523"/>
                    <a:pt x="5412" y="510"/>
                  </a:cubicBezTo>
                  <a:cubicBezTo>
                    <a:pt x="5358" y="497"/>
                    <a:pt x="5297" y="488"/>
                    <a:pt x="5297" y="488"/>
                  </a:cubicBezTo>
                  <a:cubicBezTo>
                    <a:pt x="5175" y="490"/>
                    <a:pt x="5175" y="490"/>
                    <a:pt x="5175" y="490"/>
                  </a:cubicBezTo>
                  <a:cubicBezTo>
                    <a:pt x="5166" y="478"/>
                    <a:pt x="5166" y="478"/>
                    <a:pt x="5166" y="478"/>
                  </a:cubicBezTo>
                  <a:cubicBezTo>
                    <a:pt x="5135" y="480"/>
                    <a:pt x="5135" y="480"/>
                    <a:pt x="5135" y="480"/>
                  </a:cubicBezTo>
                  <a:cubicBezTo>
                    <a:pt x="5124" y="472"/>
                    <a:pt x="5124" y="472"/>
                    <a:pt x="5124" y="472"/>
                  </a:cubicBezTo>
                  <a:cubicBezTo>
                    <a:pt x="5088" y="471"/>
                    <a:pt x="5088" y="471"/>
                    <a:pt x="5088" y="471"/>
                  </a:cubicBezTo>
                  <a:cubicBezTo>
                    <a:pt x="5105" y="483"/>
                    <a:pt x="5105" y="483"/>
                    <a:pt x="5105" y="483"/>
                  </a:cubicBezTo>
                  <a:cubicBezTo>
                    <a:pt x="5100" y="497"/>
                    <a:pt x="5100" y="497"/>
                    <a:pt x="5100" y="497"/>
                  </a:cubicBezTo>
                  <a:cubicBezTo>
                    <a:pt x="5100" y="497"/>
                    <a:pt x="5199" y="520"/>
                    <a:pt x="5170" y="533"/>
                  </a:cubicBezTo>
                  <a:cubicBezTo>
                    <a:pt x="5141" y="546"/>
                    <a:pt x="5123" y="529"/>
                    <a:pt x="5123" y="529"/>
                  </a:cubicBezTo>
                  <a:cubicBezTo>
                    <a:pt x="5106" y="515"/>
                    <a:pt x="5106" y="515"/>
                    <a:pt x="5106" y="515"/>
                  </a:cubicBezTo>
                  <a:cubicBezTo>
                    <a:pt x="5061" y="515"/>
                    <a:pt x="5061" y="515"/>
                    <a:pt x="5061" y="515"/>
                  </a:cubicBezTo>
                  <a:cubicBezTo>
                    <a:pt x="5024" y="492"/>
                    <a:pt x="5024" y="492"/>
                    <a:pt x="5024" y="492"/>
                  </a:cubicBezTo>
                  <a:cubicBezTo>
                    <a:pt x="5024" y="492"/>
                    <a:pt x="5006" y="496"/>
                    <a:pt x="5002" y="499"/>
                  </a:cubicBezTo>
                  <a:cubicBezTo>
                    <a:pt x="4998" y="502"/>
                    <a:pt x="4966" y="501"/>
                    <a:pt x="4966" y="501"/>
                  </a:cubicBezTo>
                  <a:cubicBezTo>
                    <a:pt x="4962" y="493"/>
                    <a:pt x="4962" y="493"/>
                    <a:pt x="4962" y="493"/>
                  </a:cubicBezTo>
                  <a:cubicBezTo>
                    <a:pt x="4900" y="496"/>
                    <a:pt x="4900" y="496"/>
                    <a:pt x="4900" y="496"/>
                  </a:cubicBezTo>
                  <a:cubicBezTo>
                    <a:pt x="4884" y="484"/>
                    <a:pt x="4884" y="484"/>
                    <a:pt x="4884" y="484"/>
                  </a:cubicBezTo>
                  <a:cubicBezTo>
                    <a:pt x="4879" y="490"/>
                    <a:pt x="4879" y="490"/>
                    <a:pt x="4879" y="490"/>
                  </a:cubicBezTo>
                  <a:cubicBezTo>
                    <a:pt x="4879" y="490"/>
                    <a:pt x="4801" y="483"/>
                    <a:pt x="4806" y="493"/>
                  </a:cubicBezTo>
                  <a:cubicBezTo>
                    <a:pt x="4811" y="503"/>
                    <a:pt x="4840" y="527"/>
                    <a:pt x="4840" y="527"/>
                  </a:cubicBezTo>
                  <a:cubicBezTo>
                    <a:pt x="4840" y="527"/>
                    <a:pt x="4804" y="506"/>
                    <a:pt x="4799" y="501"/>
                  </a:cubicBezTo>
                  <a:cubicBezTo>
                    <a:pt x="4794" y="496"/>
                    <a:pt x="4728" y="488"/>
                    <a:pt x="4728" y="488"/>
                  </a:cubicBezTo>
                  <a:cubicBezTo>
                    <a:pt x="4728" y="488"/>
                    <a:pt x="4718" y="470"/>
                    <a:pt x="4693" y="457"/>
                  </a:cubicBezTo>
                  <a:cubicBezTo>
                    <a:pt x="4668" y="444"/>
                    <a:pt x="4630" y="438"/>
                    <a:pt x="4613" y="437"/>
                  </a:cubicBezTo>
                  <a:cubicBezTo>
                    <a:pt x="4596" y="436"/>
                    <a:pt x="4561" y="432"/>
                    <a:pt x="4561" y="432"/>
                  </a:cubicBezTo>
                  <a:cubicBezTo>
                    <a:pt x="4527" y="425"/>
                    <a:pt x="4527" y="425"/>
                    <a:pt x="4527" y="425"/>
                  </a:cubicBezTo>
                  <a:cubicBezTo>
                    <a:pt x="4518" y="429"/>
                    <a:pt x="4518" y="429"/>
                    <a:pt x="4518" y="429"/>
                  </a:cubicBezTo>
                  <a:cubicBezTo>
                    <a:pt x="4478" y="427"/>
                    <a:pt x="4478" y="427"/>
                    <a:pt x="4478" y="427"/>
                  </a:cubicBezTo>
                  <a:cubicBezTo>
                    <a:pt x="4478" y="427"/>
                    <a:pt x="4473" y="447"/>
                    <a:pt x="4451" y="444"/>
                  </a:cubicBezTo>
                  <a:cubicBezTo>
                    <a:pt x="4429" y="441"/>
                    <a:pt x="4400" y="439"/>
                    <a:pt x="4400" y="439"/>
                  </a:cubicBezTo>
                  <a:cubicBezTo>
                    <a:pt x="4400" y="439"/>
                    <a:pt x="4370" y="419"/>
                    <a:pt x="4353" y="418"/>
                  </a:cubicBezTo>
                  <a:cubicBezTo>
                    <a:pt x="4336" y="417"/>
                    <a:pt x="4327" y="420"/>
                    <a:pt x="4327" y="420"/>
                  </a:cubicBezTo>
                  <a:cubicBezTo>
                    <a:pt x="4321" y="409"/>
                    <a:pt x="4321" y="409"/>
                    <a:pt x="4321" y="409"/>
                  </a:cubicBezTo>
                  <a:cubicBezTo>
                    <a:pt x="4296" y="407"/>
                    <a:pt x="4296" y="407"/>
                    <a:pt x="4296" y="407"/>
                  </a:cubicBezTo>
                  <a:cubicBezTo>
                    <a:pt x="4253" y="403"/>
                    <a:pt x="4253" y="403"/>
                    <a:pt x="4253" y="403"/>
                  </a:cubicBezTo>
                  <a:cubicBezTo>
                    <a:pt x="4277" y="395"/>
                    <a:pt x="4277" y="395"/>
                    <a:pt x="4277" y="395"/>
                  </a:cubicBezTo>
                  <a:cubicBezTo>
                    <a:pt x="4251" y="382"/>
                    <a:pt x="4251" y="382"/>
                    <a:pt x="4251" y="382"/>
                  </a:cubicBezTo>
                  <a:cubicBezTo>
                    <a:pt x="4251" y="382"/>
                    <a:pt x="4158" y="369"/>
                    <a:pt x="4155" y="375"/>
                  </a:cubicBezTo>
                  <a:cubicBezTo>
                    <a:pt x="4152" y="381"/>
                    <a:pt x="4164" y="400"/>
                    <a:pt x="4149" y="401"/>
                  </a:cubicBezTo>
                  <a:cubicBezTo>
                    <a:pt x="4134" y="402"/>
                    <a:pt x="4114" y="398"/>
                    <a:pt x="4114" y="398"/>
                  </a:cubicBezTo>
                  <a:cubicBezTo>
                    <a:pt x="4126" y="390"/>
                    <a:pt x="4126" y="390"/>
                    <a:pt x="4126" y="390"/>
                  </a:cubicBezTo>
                  <a:cubicBezTo>
                    <a:pt x="4116" y="380"/>
                    <a:pt x="4116" y="380"/>
                    <a:pt x="4116" y="380"/>
                  </a:cubicBezTo>
                  <a:cubicBezTo>
                    <a:pt x="4116" y="380"/>
                    <a:pt x="4110" y="380"/>
                    <a:pt x="4096" y="382"/>
                  </a:cubicBezTo>
                  <a:cubicBezTo>
                    <a:pt x="4082" y="384"/>
                    <a:pt x="4068" y="379"/>
                    <a:pt x="4068" y="379"/>
                  </a:cubicBezTo>
                  <a:cubicBezTo>
                    <a:pt x="4079" y="374"/>
                    <a:pt x="4079" y="374"/>
                    <a:pt x="4079" y="374"/>
                  </a:cubicBezTo>
                  <a:cubicBezTo>
                    <a:pt x="4109" y="371"/>
                    <a:pt x="4109" y="371"/>
                    <a:pt x="4109" y="371"/>
                  </a:cubicBezTo>
                  <a:cubicBezTo>
                    <a:pt x="4147" y="394"/>
                    <a:pt x="4147" y="394"/>
                    <a:pt x="4147" y="394"/>
                  </a:cubicBezTo>
                  <a:cubicBezTo>
                    <a:pt x="4149" y="375"/>
                    <a:pt x="4149" y="375"/>
                    <a:pt x="4149" y="375"/>
                  </a:cubicBezTo>
                  <a:cubicBezTo>
                    <a:pt x="4110" y="362"/>
                    <a:pt x="4110" y="362"/>
                    <a:pt x="4110" y="362"/>
                  </a:cubicBezTo>
                  <a:cubicBezTo>
                    <a:pt x="4037" y="366"/>
                    <a:pt x="4037" y="366"/>
                    <a:pt x="4037" y="366"/>
                  </a:cubicBezTo>
                  <a:cubicBezTo>
                    <a:pt x="4036" y="357"/>
                    <a:pt x="4036" y="357"/>
                    <a:pt x="4036" y="357"/>
                  </a:cubicBezTo>
                  <a:cubicBezTo>
                    <a:pt x="3955" y="362"/>
                    <a:pt x="3955" y="362"/>
                    <a:pt x="3955" y="362"/>
                  </a:cubicBezTo>
                  <a:cubicBezTo>
                    <a:pt x="3924" y="349"/>
                    <a:pt x="3924" y="349"/>
                    <a:pt x="3924" y="349"/>
                  </a:cubicBezTo>
                  <a:cubicBezTo>
                    <a:pt x="3911" y="349"/>
                    <a:pt x="3911" y="349"/>
                    <a:pt x="3911" y="349"/>
                  </a:cubicBezTo>
                  <a:cubicBezTo>
                    <a:pt x="3936" y="365"/>
                    <a:pt x="3936" y="365"/>
                    <a:pt x="3936" y="365"/>
                  </a:cubicBezTo>
                  <a:cubicBezTo>
                    <a:pt x="3936" y="365"/>
                    <a:pt x="3884" y="364"/>
                    <a:pt x="3892" y="372"/>
                  </a:cubicBezTo>
                  <a:cubicBezTo>
                    <a:pt x="3900" y="380"/>
                    <a:pt x="3910" y="385"/>
                    <a:pt x="3910" y="385"/>
                  </a:cubicBezTo>
                  <a:cubicBezTo>
                    <a:pt x="3931" y="383"/>
                    <a:pt x="3931" y="383"/>
                    <a:pt x="3931" y="383"/>
                  </a:cubicBezTo>
                  <a:cubicBezTo>
                    <a:pt x="3931" y="388"/>
                    <a:pt x="3931" y="388"/>
                    <a:pt x="3931" y="388"/>
                  </a:cubicBezTo>
                  <a:cubicBezTo>
                    <a:pt x="3970" y="414"/>
                    <a:pt x="3970" y="414"/>
                    <a:pt x="3970" y="414"/>
                  </a:cubicBezTo>
                  <a:cubicBezTo>
                    <a:pt x="3970" y="414"/>
                    <a:pt x="3964" y="415"/>
                    <a:pt x="3949" y="414"/>
                  </a:cubicBezTo>
                  <a:cubicBezTo>
                    <a:pt x="3934" y="413"/>
                    <a:pt x="3914" y="398"/>
                    <a:pt x="3909" y="403"/>
                  </a:cubicBezTo>
                  <a:cubicBezTo>
                    <a:pt x="3904" y="408"/>
                    <a:pt x="3900" y="411"/>
                    <a:pt x="3900" y="411"/>
                  </a:cubicBezTo>
                  <a:cubicBezTo>
                    <a:pt x="3917" y="425"/>
                    <a:pt x="3917" y="425"/>
                    <a:pt x="3917" y="425"/>
                  </a:cubicBezTo>
                  <a:cubicBezTo>
                    <a:pt x="3881" y="420"/>
                    <a:pt x="3881" y="420"/>
                    <a:pt x="3881" y="420"/>
                  </a:cubicBezTo>
                  <a:cubicBezTo>
                    <a:pt x="3881" y="420"/>
                    <a:pt x="3832" y="404"/>
                    <a:pt x="3824" y="405"/>
                  </a:cubicBezTo>
                  <a:cubicBezTo>
                    <a:pt x="3816" y="406"/>
                    <a:pt x="3788" y="418"/>
                    <a:pt x="3788" y="418"/>
                  </a:cubicBezTo>
                  <a:cubicBezTo>
                    <a:pt x="3743" y="414"/>
                    <a:pt x="3743" y="414"/>
                    <a:pt x="3743" y="414"/>
                  </a:cubicBezTo>
                  <a:cubicBezTo>
                    <a:pt x="3743" y="414"/>
                    <a:pt x="3705" y="396"/>
                    <a:pt x="3702" y="392"/>
                  </a:cubicBezTo>
                  <a:cubicBezTo>
                    <a:pt x="3699" y="388"/>
                    <a:pt x="3692" y="398"/>
                    <a:pt x="3695" y="406"/>
                  </a:cubicBezTo>
                  <a:cubicBezTo>
                    <a:pt x="3698" y="414"/>
                    <a:pt x="3725" y="442"/>
                    <a:pt x="3709" y="443"/>
                  </a:cubicBezTo>
                  <a:cubicBezTo>
                    <a:pt x="3693" y="444"/>
                    <a:pt x="3614" y="415"/>
                    <a:pt x="3611" y="413"/>
                  </a:cubicBezTo>
                  <a:cubicBezTo>
                    <a:pt x="3608" y="411"/>
                    <a:pt x="3589" y="394"/>
                    <a:pt x="3589" y="394"/>
                  </a:cubicBezTo>
                  <a:cubicBezTo>
                    <a:pt x="3587" y="404"/>
                    <a:pt x="3587" y="404"/>
                    <a:pt x="3587" y="404"/>
                  </a:cubicBezTo>
                  <a:cubicBezTo>
                    <a:pt x="3550" y="393"/>
                    <a:pt x="3550" y="393"/>
                    <a:pt x="3550" y="393"/>
                  </a:cubicBezTo>
                  <a:cubicBezTo>
                    <a:pt x="3533" y="381"/>
                    <a:pt x="3533" y="381"/>
                    <a:pt x="3533" y="381"/>
                  </a:cubicBezTo>
                  <a:cubicBezTo>
                    <a:pt x="3533" y="381"/>
                    <a:pt x="3571" y="391"/>
                    <a:pt x="3577" y="386"/>
                  </a:cubicBezTo>
                  <a:cubicBezTo>
                    <a:pt x="3583" y="381"/>
                    <a:pt x="3554" y="367"/>
                    <a:pt x="3554" y="367"/>
                  </a:cubicBezTo>
                  <a:cubicBezTo>
                    <a:pt x="3531" y="367"/>
                    <a:pt x="3531" y="367"/>
                    <a:pt x="3531" y="367"/>
                  </a:cubicBezTo>
                  <a:cubicBezTo>
                    <a:pt x="3531" y="367"/>
                    <a:pt x="3542" y="361"/>
                    <a:pt x="3535" y="356"/>
                  </a:cubicBezTo>
                  <a:cubicBezTo>
                    <a:pt x="3528" y="351"/>
                    <a:pt x="3508" y="351"/>
                    <a:pt x="3508" y="351"/>
                  </a:cubicBezTo>
                  <a:cubicBezTo>
                    <a:pt x="3516" y="342"/>
                    <a:pt x="3516" y="342"/>
                    <a:pt x="3516" y="342"/>
                  </a:cubicBezTo>
                  <a:cubicBezTo>
                    <a:pt x="3516" y="342"/>
                    <a:pt x="3484" y="333"/>
                    <a:pt x="3480" y="333"/>
                  </a:cubicBezTo>
                  <a:cubicBezTo>
                    <a:pt x="3476" y="333"/>
                    <a:pt x="3461" y="323"/>
                    <a:pt x="3461" y="323"/>
                  </a:cubicBezTo>
                  <a:cubicBezTo>
                    <a:pt x="3430" y="323"/>
                    <a:pt x="3430" y="323"/>
                    <a:pt x="3430" y="323"/>
                  </a:cubicBezTo>
                  <a:cubicBezTo>
                    <a:pt x="3430" y="323"/>
                    <a:pt x="3439" y="326"/>
                    <a:pt x="3416" y="327"/>
                  </a:cubicBezTo>
                  <a:cubicBezTo>
                    <a:pt x="3393" y="328"/>
                    <a:pt x="3378" y="320"/>
                    <a:pt x="3378" y="320"/>
                  </a:cubicBezTo>
                  <a:cubicBezTo>
                    <a:pt x="3364" y="326"/>
                    <a:pt x="3364" y="326"/>
                    <a:pt x="3364" y="326"/>
                  </a:cubicBezTo>
                  <a:cubicBezTo>
                    <a:pt x="3362" y="317"/>
                    <a:pt x="3362" y="317"/>
                    <a:pt x="3362" y="317"/>
                  </a:cubicBezTo>
                  <a:cubicBezTo>
                    <a:pt x="3330" y="311"/>
                    <a:pt x="3330" y="311"/>
                    <a:pt x="3330" y="311"/>
                  </a:cubicBezTo>
                  <a:cubicBezTo>
                    <a:pt x="3323" y="305"/>
                    <a:pt x="3323" y="305"/>
                    <a:pt x="3323" y="305"/>
                  </a:cubicBezTo>
                  <a:cubicBezTo>
                    <a:pt x="3318" y="318"/>
                    <a:pt x="3318" y="318"/>
                    <a:pt x="3318" y="318"/>
                  </a:cubicBezTo>
                  <a:cubicBezTo>
                    <a:pt x="3309" y="319"/>
                    <a:pt x="3309" y="319"/>
                    <a:pt x="3309" y="319"/>
                  </a:cubicBezTo>
                  <a:cubicBezTo>
                    <a:pt x="3327" y="334"/>
                    <a:pt x="3327" y="334"/>
                    <a:pt x="3327" y="334"/>
                  </a:cubicBezTo>
                  <a:cubicBezTo>
                    <a:pt x="3344" y="354"/>
                    <a:pt x="3344" y="354"/>
                    <a:pt x="3344" y="354"/>
                  </a:cubicBezTo>
                  <a:cubicBezTo>
                    <a:pt x="3310" y="350"/>
                    <a:pt x="3310" y="350"/>
                    <a:pt x="3310" y="350"/>
                  </a:cubicBezTo>
                  <a:cubicBezTo>
                    <a:pt x="3306" y="344"/>
                    <a:pt x="3306" y="344"/>
                    <a:pt x="3306" y="344"/>
                  </a:cubicBezTo>
                  <a:cubicBezTo>
                    <a:pt x="3262" y="347"/>
                    <a:pt x="3262" y="347"/>
                    <a:pt x="3262" y="347"/>
                  </a:cubicBezTo>
                  <a:cubicBezTo>
                    <a:pt x="3251" y="351"/>
                    <a:pt x="3251" y="351"/>
                    <a:pt x="3251" y="351"/>
                  </a:cubicBezTo>
                  <a:cubicBezTo>
                    <a:pt x="3250" y="343"/>
                    <a:pt x="3250" y="343"/>
                    <a:pt x="3250" y="343"/>
                  </a:cubicBezTo>
                  <a:cubicBezTo>
                    <a:pt x="3221" y="349"/>
                    <a:pt x="3221" y="349"/>
                    <a:pt x="3221" y="349"/>
                  </a:cubicBezTo>
                  <a:cubicBezTo>
                    <a:pt x="3216" y="341"/>
                    <a:pt x="3216" y="341"/>
                    <a:pt x="3216" y="341"/>
                  </a:cubicBezTo>
                  <a:cubicBezTo>
                    <a:pt x="3178" y="342"/>
                    <a:pt x="3178" y="342"/>
                    <a:pt x="3178" y="342"/>
                  </a:cubicBezTo>
                  <a:cubicBezTo>
                    <a:pt x="3156" y="335"/>
                    <a:pt x="3156" y="335"/>
                    <a:pt x="3156" y="335"/>
                  </a:cubicBezTo>
                  <a:cubicBezTo>
                    <a:pt x="3167" y="321"/>
                    <a:pt x="3167" y="321"/>
                    <a:pt x="3167" y="321"/>
                  </a:cubicBezTo>
                  <a:cubicBezTo>
                    <a:pt x="3082" y="320"/>
                    <a:pt x="3082" y="320"/>
                    <a:pt x="3082" y="320"/>
                  </a:cubicBezTo>
                  <a:cubicBezTo>
                    <a:pt x="3077" y="314"/>
                    <a:pt x="3077" y="314"/>
                    <a:pt x="3077" y="314"/>
                  </a:cubicBezTo>
                  <a:cubicBezTo>
                    <a:pt x="3071" y="317"/>
                    <a:pt x="3071" y="317"/>
                    <a:pt x="3071" y="317"/>
                  </a:cubicBezTo>
                  <a:cubicBezTo>
                    <a:pt x="3065" y="313"/>
                    <a:pt x="3065" y="313"/>
                    <a:pt x="3065" y="313"/>
                  </a:cubicBezTo>
                  <a:cubicBezTo>
                    <a:pt x="3030" y="315"/>
                    <a:pt x="3030" y="315"/>
                    <a:pt x="3030" y="315"/>
                  </a:cubicBezTo>
                  <a:cubicBezTo>
                    <a:pt x="3034" y="323"/>
                    <a:pt x="3034" y="323"/>
                    <a:pt x="3034" y="323"/>
                  </a:cubicBezTo>
                  <a:cubicBezTo>
                    <a:pt x="2997" y="319"/>
                    <a:pt x="2997" y="319"/>
                    <a:pt x="2997" y="319"/>
                  </a:cubicBezTo>
                  <a:cubicBezTo>
                    <a:pt x="2987" y="324"/>
                    <a:pt x="2987" y="324"/>
                    <a:pt x="2987" y="324"/>
                  </a:cubicBezTo>
                  <a:cubicBezTo>
                    <a:pt x="3008" y="331"/>
                    <a:pt x="3008" y="331"/>
                    <a:pt x="3008" y="331"/>
                  </a:cubicBezTo>
                  <a:cubicBezTo>
                    <a:pt x="2981" y="330"/>
                    <a:pt x="2981" y="330"/>
                    <a:pt x="2981" y="330"/>
                  </a:cubicBezTo>
                  <a:cubicBezTo>
                    <a:pt x="2978" y="318"/>
                    <a:pt x="2978" y="318"/>
                    <a:pt x="2978" y="318"/>
                  </a:cubicBezTo>
                  <a:cubicBezTo>
                    <a:pt x="2961" y="303"/>
                    <a:pt x="2961" y="303"/>
                    <a:pt x="2961" y="303"/>
                  </a:cubicBezTo>
                  <a:cubicBezTo>
                    <a:pt x="2947" y="303"/>
                    <a:pt x="2947" y="303"/>
                    <a:pt x="2947" y="303"/>
                  </a:cubicBezTo>
                  <a:cubicBezTo>
                    <a:pt x="2954" y="318"/>
                    <a:pt x="2954" y="318"/>
                    <a:pt x="2954" y="318"/>
                  </a:cubicBezTo>
                  <a:cubicBezTo>
                    <a:pt x="2919" y="318"/>
                    <a:pt x="2919" y="318"/>
                    <a:pt x="2919" y="318"/>
                  </a:cubicBezTo>
                  <a:cubicBezTo>
                    <a:pt x="2915" y="313"/>
                    <a:pt x="2915" y="313"/>
                    <a:pt x="2915" y="313"/>
                  </a:cubicBezTo>
                  <a:cubicBezTo>
                    <a:pt x="2906" y="313"/>
                    <a:pt x="2906" y="313"/>
                    <a:pt x="2906" y="313"/>
                  </a:cubicBezTo>
                  <a:cubicBezTo>
                    <a:pt x="2902" y="303"/>
                    <a:pt x="2902" y="303"/>
                    <a:pt x="2902" y="303"/>
                  </a:cubicBezTo>
                  <a:cubicBezTo>
                    <a:pt x="2893" y="303"/>
                    <a:pt x="2893" y="303"/>
                    <a:pt x="2893" y="303"/>
                  </a:cubicBezTo>
                  <a:cubicBezTo>
                    <a:pt x="2882" y="306"/>
                    <a:pt x="2882" y="306"/>
                    <a:pt x="2882" y="306"/>
                  </a:cubicBezTo>
                  <a:cubicBezTo>
                    <a:pt x="2866" y="298"/>
                    <a:pt x="2866" y="298"/>
                    <a:pt x="2866" y="298"/>
                  </a:cubicBezTo>
                  <a:cubicBezTo>
                    <a:pt x="2846" y="312"/>
                    <a:pt x="2846" y="312"/>
                    <a:pt x="2846" y="312"/>
                  </a:cubicBezTo>
                  <a:cubicBezTo>
                    <a:pt x="2882" y="316"/>
                    <a:pt x="2882" y="316"/>
                    <a:pt x="2882" y="316"/>
                  </a:cubicBezTo>
                  <a:cubicBezTo>
                    <a:pt x="2890" y="317"/>
                    <a:pt x="2890" y="317"/>
                    <a:pt x="2890" y="317"/>
                  </a:cubicBezTo>
                  <a:cubicBezTo>
                    <a:pt x="2890" y="317"/>
                    <a:pt x="2877" y="328"/>
                    <a:pt x="2870" y="328"/>
                  </a:cubicBezTo>
                  <a:cubicBezTo>
                    <a:pt x="2863" y="328"/>
                    <a:pt x="2858" y="327"/>
                    <a:pt x="2852" y="329"/>
                  </a:cubicBezTo>
                  <a:cubicBezTo>
                    <a:pt x="2846" y="331"/>
                    <a:pt x="2844" y="337"/>
                    <a:pt x="2839" y="337"/>
                  </a:cubicBezTo>
                  <a:cubicBezTo>
                    <a:pt x="2834" y="337"/>
                    <a:pt x="2790" y="338"/>
                    <a:pt x="2790" y="338"/>
                  </a:cubicBezTo>
                  <a:cubicBezTo>
                    <a:pt x="2768" y="341"/>
                    <a:pt x="2768" y="341"/>
                    <a:pt x="2768" y="341"/>
                  </a:cubicBezTo>
                  <a:cubicBezTo>
                    <a:pt x="2758" y="358"/>
                    <a:pt x="2758" y="358"/>
                    <a:pt x="2758" y="358"/>
                  </a:cubicBezTo>
                  <a:cubicBezTo>
                    <a:pt x="2742" y="354"/>
                    <a:pt x="2742" y="354"/>
                    <a:pt x="2742" y="354"/>
                  </a:cubicBezTo>
                  <a:cubicBezTo>
                    <a:pt x="2742" y="354"/>
                    <a:pt x="2745" y="338"/>
                    <a:pt x="2753" y="334"/>
                  </a:cubicBezTo>
                  <a:cubicBezTo>
                    <a:pt x="2761" y="330"/>
                    <a:pt x="2773" y="330"/>
                    <a:pt x="2773" y="330"/>
                  </a:cubicBezTo>
                  <a:cubicBezTo>
                    <a:pt x="2778" y="319"/>
                    <a:pt x="2778" y="319"/>
                    <a:pt x="2778" y="319"/>
                  </a:cubicBezTo>
                  <a:cubicBezTo>
                    <a:pt x="2806" y="316"/>
                    <a:pt x="2806" y="316"/>
                    <a:pt x="2806" y="316"/>
                  </a:cubicBezTo>
                  <a:cubicBezTo>
                    <a:pt x="2836" y="294"/>
                    <a:pt x="2836" y="294"/>
                    <a:pt x="2836" y="294"/>
                  </a:cubicBezTo>
                  <a:cubicBezTo>
                    <a:pt x="2836" y="294"/>
                    <a:pt x="2835" y="281"/>
                    <a:pt x="2847" y="276"/>
                  </a:cubicBezTo>
                  <a:cubicBezTo>
                    <a:pt x="2859" y="271"/>
                    <a:pt x="2908" y="272"/>
                    <a:pt x="2906" y="254"/>
                  </a:cubicBezTo>
                  <a:cubicBezTo>
                    <a:pt x="2904" y="236"/>
                    <a:pt x="2889" y="232"/>
                    <a:pt x="2889" y="232"/>
                  </a:cubicBezTo>
                  <a:cubicBezTo>
                    <a:pt x="2862" y="234"/>
                    <a:pt x="2862" y="234"/>
                    <a:pt x="2862" y="234"/>
                  </a:cubicBezTo>
                  <a:cubicBezTo>
                    <a:pt x="2885" y="224"/>
                    <a:pt x="2885" y="224"/>
                    <a:pt x="2885" y="224"/>
                  </a:cubicBezTo>
                  <a:cubicBezTo>
                    <a:pt x="2885" y="224"/>
                    <a:pt x="2865" y="209"/>
                    <a:pt x="2860" y="210"/>
                  </a:cubicBezTo>
                  <a:cubicBezTo>
                    <a:pt x="2855" y="211"/>
                    <a:pt x="2838" y="212"/>
                    <a:pt x="2838" y="212"/>
                  </a:cubicBezTo>
                  <a:cubicBezTo>
                    <a:pt x="2838" y="212"/>
                    <a:pt x="2832" y="196"/>
                    <a:pt x="2819" y="196"/>
                  </a:cubicBezTo>
                  <a:cubicBezTo>
                    <a:pt x="2806" y="196"/>
                    <a:pt x="2792" y="201"/>
                    <a:pt x="2792" y="201"/>
                  </a:cubicBezTo>
                  <a:cubicBezTo>
                    <a:pt x="2756" y="192"/>
                    <a:pt x="2756" y="192"/>
                    <a:pt x="2756" y="192"/>
                  </a:cubicBezTo>
                  <a:cubicBezTo>
                    <a:pt x="2662" y="189"/>
                    <a:pt x="2662" y="189"/>
                    <a:pt x="2662" y="189"/>
                  </a:cubicBezTo>
                  <a:cubicBezTo>
                    <a:pt x="2665" y="201"/>
                    <a:pt x="2665" y="201"/>
                    <a:pt x="2665" y="201"/>
                  </a:cubicBezTo>
                  <a:cubicBezTo>
                    <a:pt x="2620" y="201"/>
                    <a:pt x="2620" y="201"/>
                    <a:pt x="2620" y="201"/>
                  </a:cubicBezTo>
                  <a:cubicBezTo>
                    <a:pt x="2620" y="201"/>
                    <a:pt x="2639" y="184"/>
                    <a:pt x="2627" y="179"/>
                  </a:cubicBezTo>
                  <a:cubicBezTo>
                    <a:pt x="2615" y="174"/>
                    <a:pt x="2564" y="180"/>
                    <a:pt x="2564" y="180"/>
                  </a:cubicBezTo>
                  <a:cubicBezTo>
                    <a:pt x="2523" y="176"/>
                    <a:pt x="2523" y="176"/>
                    <a:pt x="2523" y="176"/>
                  </a:cubicBezTo>
                  <a:cubicBezTo>
                    <a:pt x="2523" y="176"/>
                    <a:pt x="2570" y="174"/>
                    <a:pt x="2564" y="165"/>
                  </a:cubicBezTo>
                  <a:cubicBezTo>
                    <a:pt x="2558" y="156"/>
                    <a:pt x="2511" y="155"/>
                    <a:pt x="2511" y="155"/>
                  </a:cubicBezTo>
                  <a:cubicBezTo>
                    <a:pt x="2483" y="151"/>
                    <a:pt x="2483" y="151"/>
                    <a:pt x="2483" y="151"/>
                  </a:cubicBezTo>
                  <a:cubicBezTo>
                    <a:pt x="2480" y="161"/>
                    <a:pt x="2480" y="161"/>
                    <a:pt x="2480" y="161"/>
                  </a:cubicBezTo>
                  <a:cubicBezTo>
                    <a:pt x="2480" y="161"/>
                    <a:pt x="2431" y="159"/>
                    <a:pt x="2435" y="173"/>
                  </a:cubicBezTo>
                  <a:cubicBezTo>
                    <a:pt x="2439" y="187"/>
                    <a:pt x="2485" y="202"/>
                    <a:pt x="2485" y="202"/>
                  </a:cubicBezTo>
                  <a:cubicBezTo>
                    <a:pt x="2389" y="196"/>
                    <a:pt x="2389" y="196"/>
                    <a:pt x="2389" y="196"/>
                  </a:cubicBezTo>
                  <a:cubicBezTo>
                    <a:pt x="2423" y="210"/>
                    <a:pt x="2423" y="210"/>
                    <a:pt x="2423" y="210"/>
                  </a:cubicBezTo>
                  <a:cubicBezTo>
                    <a:pt x="2388" y="215"/>
                    <a:pt x="2388" y="215"/>
                    <a:pt x="2388" y="215"/>
                  </a:cubicBezTo>
                  <a:cubicBezTo>
                    <a:pt x="2388" y="215"/>
                    <a:pt x="2331" y="233"/>
                    <a:pt x="2321" y="227"/>
                  </a:cubicBezTo>
                  <a:cubicBezTo>
                    <a:pt x="2311" y="221"/>
                    <a:pt x="2326" y="209"/>
                    <a:pt x="2326" y="209"/>
                  </a:cubicBezTo>
                  <a:cubicBezTo>
                    <a:pt x="2326" y="209"/>
                    <a:pt x="2278" y="209"/>
                    <a:pt x="2269" y="211"/>
                  </a:cubicBezTo>
                  <a:cubicBezTo>
                    <a:pt x="2260" y="213"/>
                    <a:pt x="2246" y="225"/>
                    <a:pt x="2246" y="225"/>
                  </a:cubicBezTo>
                  <a:cubicBezTo>
                    <a:pt x="2246" y="225"/>
                    <a:pt x="2183" y="230"/>
                    <a:pt x="2168" y="233"/>
                  </a:cubicBezTo>
                  <a:cubicBezTo>
                    <a:pt x="2153" y="236"/>
                    <a:pt x="2120" y="243"/>
                    <a:pt x="2120" y="243"/>
                  </a:cubicBezTo>
                  <a:cubicBezTo>
                    <a:pt x="2091" y="266"/>
                    <a:pt x="2091" y="266"/>
                    <a:pt x="2091" y="266"/>
                  </a:cubicBezTo>
                  <a:cubicBezTo>
                    <a:pt x="2091" y="266"/>
                    <a:pt x="2059" y="264"/>
                    <a:pt x="2073" y="278"/>
                  </a:cubicBezTo>
                  <a:cubicBezTo>
                    <a:pt x="2087" y="292"/>
                    <a:pt x="2112" y="302"/>
                    <a:pt x="2112" y="302"/>
                  </a:cubicBezTo>
                  <a:cubicBezTo>
                    <a:pt x="2082" y="308"/>
                    <a:pt x="2082" y="308"/>
                    <a:pt x="2082" y="308"/>
                  </a:cubicBezTo>
                  <a:cubicBezTo>
                    <a:pt x="2068" y="317"/>
                    <a:pt x="2068" y="317"/>
                    <a:pt x="2068" y="317"/>
                  </a:cubicBezTo>
                  <a:cubicBezTo>
                    <a:pt x="2001" y="315"/>
                    <a:pt x="2001" y="315"/>
                    <a:pt x="2001" y="315"/>
                  </a:cubicBezTo>
                  <a:cubicBezTo>
                    <a:pt x="1996" y="320"/>
                    <a:pt x="1996" y="320"/>
                    <a:pt x="1996" y="320"/>
                  </a:cubicBezTo>
                  <a:cubicBezTo>
                    <a:pt x="1971" y="311"/>
                    <a:pt x="1971" y="311"/>
                    <a:pt x="1971" y="311"/>
                  </a:cubicBezTo>
                  <a:cubicBezTo>
                    <a:pt x="1960" y="318"/>
                    <a:pt x="1960" y="318"/>
                    <a:pt x="1960" y="318"/>
                  </a:cubicBezTo>
                  <a:cubicBezTo>
                    <a:pt x="1960" y="318"/>
                    <a:pt x="1922" y="314"/>
                    <a:pt x="1920" y="322"/>
                  </a:cubicBezTo>
                  <a:cubicBezTo>
                    <a:pt x="1918" y="330"/>
                    <a:pt x="1919" y="345"/>
                    <a:pt x="1930" y="347"/>
                  </a:cubicBezTo>
                  <a:cubicBezTo>
                    <a:pt x="1941" y="349"/>
                    <a:pt x="1947" y="365"/>
                    <a:pt x="1947" y="365"/>
                  </a:cubicBezTo>
                  <a:cubicBezTo>
                    <a:pt x="1947" y="365"/>
                    <a:pt x="1982" y="375"/>
                    <a:pt x="1991" y="375"/>
                  </a:cubicBezTo>
                  <a:cubicBezTo>
                    <a:pt x="2000" y="375"/>
                    <a:pt x="2019" y="380"/>
                    <a:pt x="2026" y="383"/>
                  </a:cubicBezTo>
                  <a:cubicBezTo>
                    <a:pt x="2033" y="386"/>
                    <a:pt x="2049" y="402"/>
                    <a:pt x="2038" y="402"/>
                  </a:cubicBezTo>
                  <a:cubicBezTo>
                    <a:pt x="2027" y="402"/>
                    <a:pt x="2003" y="404"/>
                    <a:pt x="2003" y="404"/>
                  </a:cubicBezTo>
                  <a:cubicBezTo>
                    <a:pt x="2003" y="404"/>
                    <a:pt x="1957" y="384"/>
                    <a:pt x="1941" y="380"/>
                  </a:cubicBezTo>
                  <a:cubicBezTo>
                    <a:pt x="1925" y="376"/>
                    <a:pt x="1901" y="373"/>
                    <a:pt x="1893" y="373"/>
                  </a:cubicBezTo>
                  <a:cubicBezTo>
                    <a:pt x="1885" y="373"/>
                    <a:pt x="1864" y="371"/>
                    <a:pt x="1866" y="379"/>
                  </a:cubicBezTo>
                  <a:cubicBezTo>
                    <a:pt x="1868" y="387"/>
                    <a:pt x="1894" y="397"/>
                    <a:pt x="1877" y="398"/>
                  </a:cubicBezTo>
                  <a:cubicBezTo>
                    <a:pt x="1860" y="399"/>
                    <a:pt x="1854" y="387"/>
                    <a:pt x="1844" y="387"/>
                  </a:cubicBezTo>
                  <a:cubicBezTo>
                    <a:pt x="1834" y="387"/>
                    <a:pt x="1820" y="377"/>
                    <a:pt x="1819" y="390"/>
                  </a:cubicBezTo>
                  <a:cubicBezTo>
                    <a:pt x="1818" y="403"/>
                    <a:pt x="1832" y="416"/>
                    <a:pt x="1847" y="415"/>
                  </a:cubicBezTo>
                  <a:cubicBezTo>
                    <a:pt x="1862" y="414"/>
                    <a:pt x="1885" y="421"/>
                    <a:pt x="1895" y="421"/>
                  </a:cubicBezTo>
                  <a:cubicBezTo>
                    <a:pt x="1905" y="421"/>
                    <a:pt x="1921" y="437"/>
                    <a:pt x="1921" y="437"/>
                  </a:cubicBezTo>
                  <a:cubicBezTo>
                    <a:pt x="1900" y="437"/>
                    <a:pt x="1900" y="437"/>
                    <a:pt x="1900" y="437"/>
                  </a:cubicBezTo>
                  <a:cubicBezTo>
                    <a:pt x="1900" y="437"/>
                    <a:pt x="1894" y="427"/>
                    <a:pt x="1880" y="427"/>
                  </a:cubicBezTo>
                  <a:cubicBezTo>
                    <a:pt x="1866" y="427"/>
                    <a:pt x="1823" y="425"/>
                    <a:pt x="1823" y="425"/>
                  </a:cubicBezTo>
                  <a:cubicBezTo>
                    <a:pt x="1820" y="417"/>
                    <a:pt x="1820" y="417"/>
                    <a:pt x="1820" y="417"/>
                  </a:cubicBezTo>
                  <a:cubicBezTo>
                    <a:pt x="1803" y="417"/>
                    <a:pt x="1803" y="417"/>
                    <a:pt x="1803" y="417"/>
                  </a:cubicBezTo>
                  <a:cubicBezTo>
                    <a:pt x="1800" y="406"/>
                    <a:pt x="1800" y="406"/>
                    <a:pt x="1800" y="406"/>
                  </a:cubicBezTo>
                  <a:cubicBezTo>
                    <a:pt x="1778" y="395"/>
                    <a:pt x="1778" y="395"/>
                    <a:pt x="1778" y="395"/>
                  </a:cubicBezTo>
                  <a:cubicBezTo>
                    <a:pt x="1778" y="395"/>
                    <a:pt x="1803" y="383"/>
                    <a:pt x="1793" y="374"/>
                  </a:cubicBezTo>
                  <a:cubicBezTo>
                    <a:pt x="1783" y="365"/>
                    <a:pt x="1769" y="354"/>
                    <a:pt x="1769" y="354"/>
                  </a:cubicBezTo>
                  <a:cubicBezTo>
                    <a:pt x="1748" y="353"/>
                    <a:pt x="1748" y="353"/>
                    <a:pt x="1748" y="353"/>
                  </a:cubicBezTo>
                  <a:cubicBezTo>
                    <a:pt x="1748" y="353"/>
                    <a:pt x="1778" y="370"/>
                    <a:pt x="1769" y="378"/>
                  </a:cubicBezTo>
                  <a:cubicBezTo>
                    <a:pt x="1760" y="386"/>
                    <a:pt x="1740" y="389"/>
                    <a:pt x="1740" y="389"/>
                  </a:cubicBezTo>
                  <a:cubicBezTo>
                    <a:pt x="1727" y="416"/>
                    <a:pt x="1727" y="416"/>
                    <a:pt x="1727" y="416"/>
                  </a:cubicBezTo>
                  <a:cubicBezTo>
                    <a:pt x="1776" y="441"/>
                    <a:pt x="1776" y="441"/>
                    <a:pt x="1776" y="441"/>
                  </a:cubicBezTo>
                  <a:cubicBezTo>
                    <a:pt x="1776" y="441"/>
                    <a:pt x="1789" y="436"/>
                    <a:pt x="1789" y="442"/>
                  </a:cubicBezTo>
                  <a:cubicBezTo>
                    <a:pt x="1789" y="448"/>
                    <a:pt x="1782" y="479"/>
                    <a:pt x="1782" y="479"/>
                  </a:cubicBezTo>
                  <a:cubicBezTo>
                    <a:pt x="1789" y="492"/>
                    <a:pt x="1789" y="492"/>
                    <a:pt x="1789" y="492"/>
                  </a:cubicBezTo>
                  <a:cubicBezTo>
                    <a:pt x="1813" y="496"/>
                    <a:pt x="1813" y="496"/>
                    <a:pt x="1813" y="496"/>
                  </a:cubicBezTo>
                  <a:cubicBezTo>
                    <a:pt x="1812" y="514"/>
                    <a:pt x="1812" y="514"/>
                    <a:pt x="1812" y="514"/>
                  </a:cubicBezTo>
                  <a:cubicBezTo>
                    <a:pt x="1852" y="522"/>
                    <a:pt x="1852" y="522"/>
                    <a:pt x="1852" y="522"/>
                  </a:cubicBezTo>
                  <a:cubicBezTo>
                    <a:pt x="1852" y="522"/>
                    <a:pt x="1882" y="510"/>
                    <a:pt x="1896" y="511"/>
                  </a:cubicBezTo>
                  <a:cubicBezTo>
                    <a:pt x="1910" y="512"/>
                    <a:pt x="1928" y="524"/>
                    <a:pt x="1928" y="524"/>
                  </a:cubicBezTo>
                  <a:cubicBezTo>
                    <a:pt x="1928" y="524"/>
                    <a:pt x="1957" y="528"/>
                    <a:pt x="1970" y="537"/>
                  </a:cubicBezTo>
                  <a:cubicBezTo>
                    <a:pt x="1983" y="546"/>
                    <a:pt x="1986" y="557"/>
                    <a:pt x="1986" y="557"/>
                  </a:cubicBezTo>
                  <a:cubicBezTo>
                    <a:pt x="1986" y="557"/>
                    <a:pt x="1953" y="561"/>
                    <a:pt x="1966" y="569"/>
                  </a:cubicBezTo>
                  <a:cubicBezTo>
                    <a:pt x="1979" y="577"/>
                    <a:pt x="1993" y="584"/>
                    <a:pt x="1993" y="584"/>
                  </a:cubicBezTo>
                  <a:cubicBezTo>
                    <a:pt x="2021" y="583"/>
                    <a:pt x="2021" y="583"/>
                    <a:pt x="2021" y="583"/>
                  </a:cubicBezTo>
                  <a:cubicBezTo>
                    <a:pt x="2021" y="583"/>
                    <a:pt x="2005" y="591"/>
                    <a:pt x="1992" y="591"/>
                  </a:cubicBezTo>
                  <a:cubicBezTo>
                    <a:pt x="1979" y="591"/>
                    <a:pt x="1963" y="582"/>
                    <a:pt x="1963" y="582"/>
                  </a:cubicBezTo>
                  <a:cubicBezTo>
                    <a:pt x="1963" y="582"/>
                    <a:pt x="1964" y="559"/>
                    <a:pt x="1949" y="550"/>
                  </a:cubicBezTo>
                  <a:cubicBezTo>
                    <a:pt x="1934" y="541"/>
                    <a:pt x="1922" y="536"/>
                    <a:pt x="1922" y="536"/>
                  </a:cubicBezTo>
                  <a:cubicBezTo>
                    <a:pt x="1922" y="536"/>
                    <a:pt x="1918" y="521"/>
                    <a:pt x="1906" y="522"/>
                  </a:cubicBezTo>
                  <a:cubicBezTo>
                    <a:pt x="1894" y="523"/>
                    <a:pt x="1862" y="529"/>
                    <a:pt x="1862" y="529"/>
                  </a:cubicBezTo>
                  <a:cubicBezTo>
                    <a:pt x="1862" y="529"/>
                    <a:pt x="1844" y="531"/>
                    <a:pt x="1845" y="542"/>
                  </a:cubicBezTo>
                  <a:cubicBezTo>
                    <a:pt x="1846" y="553"/>
                    <a:pt x="1878" y="571"/>
                    <a:pt x="1878" y="575"/>
                  </a:cubicBezTo>
                  <a:cubicBezTo>
                    <a:pt x="1878" y="579"/>
                    <a:pt x="1859" y="591"/>
                    <a:pt x="1859" y="591"/>
                  </a:cubicBezTo>
                  <a:cubicBezTo>
                    <a:pt x="1857" y="620"/>
                    <a:pt x="1857" y="620"/>
                    <a:pt x="1857" y="620"/>
                  </a:cubicBezTo>
                  <a:cubicBezTo>
                    <a:pt x="1829" y="634"/>
                    <a:pt x="1829" y="634"/>
                    <a:pt x="1829" y="634"/>
                  </a:cubicBezTo>
                  <a:cubicBezTo>
                    <a:pt x="1829" y="634"/>
                    <a:pt x="1823" y="655"/>
                    <a:pt x="1810" y="649"/>
                  </a:cubicBezTo>
                  <a:cubicBezTo>
                    <a:pt x="1797" y="643"/>
                    <a:pt x="1771" y="645"/>
                    <a:pt x="1771" y="645"/>
                  </a:cubicBezTo>
                  <a:cubicBezTo>
                    <a:pt x="1733" y="641"/>
                    <a:pt x="1733" y="641"/>
                    <a:pt x="1733" y="641"/>
                  </a:cubicBezTo>
                  <a:cubicBezTo>
                    <a:pt x="1733" y="641"/>
                    <a:pt x="1690" y="626"/>
                    <a:pt x="1701" y="625"/>
                  </a:cubicBezTo>
                  <a:cubicBezTo>
                    <a:pt x="1712" y="624"/>
                    <a:pt x="1735" y="623"/>
                    <a:pt x="1735" y="623"/>
                  </a:cubicBezTo>
                  <a:cubicBezTo>
                    <a:pt x="1748" y="627"/>
                    <a:pt x="1748" y="627"/>
                    <a:pt x="1748" y="627"/>
                  </a:cubicBezTo>
                  <a:cubicBezTo>
                    <a:pt x="1763" y="616"/>
                    <a:pt x="1763" y="616"/>
                    <a:pt x="1763" y="616"/>
                  </a:cubicBezTo>
                  <a:cubicBezTo>
                    <a:pt x="1763" y="616"/>
                    <a:pt x="1801" y="625"/>
                    <a:pt x="1801" y="614"/>
                  </a:cubicBezTo>
                  <a:cubicBezTo>
                    <a:pt x="1801" y="603"/>
                    <a:pt x="1803" y="588"/>
                    <a:pt x="1803" y="588"/>
                  </a:cubicBezTo>
                  <a:cubicBezTo>
                    <a:pt x="1819" y="583"/>
                    <a:pt x="1819" y="583"/>
                    <a:pt x="1819" y="583"/>
                  </a:cubicBezTo>
                  <a:cubicBezTo>
                    <a:pt x="1821" y="569"/>
                    <a:pt x="1821" y="569"/>
                    <a:pt x="1821" y="569"/>
                  </a:cubicBezTo>
                  <a:cubicBezTo>
                    <a:pt x="1810" y="567"/>
                    <a:pt x="1810" y="567"/>
                    <a:pt x="1810" y="567"/>
                  </a:cubicBezTo>
                  <a:cubicBezTo>
                    <a:pt x="1810" y="567"/>
                    <a:pt x="1826" y="547"/>
                    <a:pt x="1816" y="543"/>
                  </a:cubicBezTo>
                  <a:cubicBezTo>
                    <a:pt x="1806" y="539"/>
                    <a:pt x="1763" y="541"/>
                    <a:pt x="1761" y="525"/>
                  </a:cubicBezTo>
                  <a:cubicBezTo>
                    <a:pt x="1759" y="509"/>
                    <a:pt x="1761" y="490"/>
                    <a:pt x="1752" y="485"/>
                  </a:cubicBezTo>
                  <a:cubicBezTo>
                    <a:pt x="1743" y="480"/>
                    <a:pt x="1730" y="464"/>
                    <a:pt x="1730" y="464"/>
                  </a:cubicBezTo>
                  <a:cubicBezTo>
                    <a:pt x="1726" y="440"/>
                    <a:pt x="1726" y="440"/>
                    <a:pt x="1726" y="440"/>
                  </a:cubicBezTo>
                  <a:cubicBezTo>
                    <a:pt x="1684" y="417"/>
                    <a:pt x="1684" y="417"/>
                    <a:pt x="1684" y="417"/>
                  </a:cubicBezTo>
                  <a:cubicBezTo>
                    <a:pt x="1684" y="417"/>
                    <a:pt x="1711" y="396"/>
                    <a:pt x="1697" y="376"/>
                  </a:cubicBezTo>
                  <a:cubicBezTo>
                    <a:pt x="1683" y="356"/>
                    <a:pt x="1651" y="356"/>
                    <a:pt x="1651" y="356"/>
                  </a:cubicBezTo>
                  <a:cubicBezTo>
                    <a:pt x="1562" y="348"/>
                    <a:pt x="1562" y="348"/>
                    <a:pt x="1562" y="348"/>
                  </a:cubicBezTo>
                  <a:cubicBezTo>
                    <a:pt x="1555" y="368"/>
                    <a:pt x="1555" y="368"/>
                    <a:pt x="1555" y="368"/>
                  </a:cubicBezTo>
                  <a:cubicBezTo>
                    <a:pt x="1566" y="379"/>
                    <a:pt x="1566" y="379"/>
                    <a:pt x="1566" y="379"/>
                  </a:cubicBezTo>
                  <a:cubicBezTo>
                    <a:pt x="1561" y="402"/>
                    <a:pt x="1561" y="402"/>
                    <a:pt x="1561" y="402"/>
                  </a:cubicBezTo>
                  <a:cubicBezTo>
                    <a:pt x="1523" y="418"/>
                    <a:pt x="1523" y="418"/>
                    <a:pt x="1523" y="418"/>
                  </a:cubicBezTo>
                  <a:cubicBezTo>
                    <a:pt x="1517" y="437"/>
                    <a:pt x="1517" y="437"/>
                    <a:pt x="1517" y="437"/>
                  </a:cubicBezTo>
                  <a:cubicBezTo>
                    <a:pt x="1538" y="439"/>
                    <a:pt x="1538" y="439"/>
                    <a:pt x="1538" y="439"/>
                  </a:cubicBezTo>
                  <a:cubicBezTo>
                    <a:pt x="1561" y="474"/>
                    <a:pt x="1561" y="474"/>
                    <a:pt x="1561" y="474"/>
                  </a:cubicBezTo>
                  <a:cubicBezTo>
                    <a:pt x="1552" y="486"/>
                    <a:pt x="1552" y="486"/>
                    <a:pt x="1552" y="486"/>
                  </a:cubicBezTo>
                  <a:cubicBezTo>
                    <a:pt x="1571" y="501"/>
                    <a:pt x="1571" y="501"/>
                    <a:pt x="1571" y="501"/>
                  </a:cubicBezTo>
                  <a:cubicBezTo>
                    <a:pt x="1594" y="495"/>
                    <a:pt x="1594" y="495"/>
                    <a:pt x="1594" y="495"/>
                  </a:cubicBezTo>
                  <a:cubicBezTo>
                    <a:pt x="1594" y="495"/>
                    <a:pt x="1612" y="516"/>
                    <a:pt x="1625" y="519"/>
                  </a:cubicBezTo>
                  <a:cubicBezTo>
                    <a:pt x="1638" y="522"/>
                    <a:pt x="1651" y="522"/>
                    <a:pt x="1651" y="522"/>
                  </a:cubicBezTo>
                  <a:cubicBezTo>
                    <a:pt x="1648" y="559"/>
                    <a:pt x="1648" y="559"/>
                    <a:pt x="1648" y="559"/>
                  </a:cubicBezTo>
                  <a:cubicBezTo>
                    <a:pt x="1635" y="545"/>
                    <a:pt x="1635" y="545"/>
                    <a:pt x="1635" y="545"/>
                  </a:cubicBezTo>
                  <a:cubicBezTo>
                    <a:pt x="1625" y="551"/>
                    <a:pt x="1625" y="551"/>
                    <a:pt x="1625" y="551"/>
                  </a:cubicBezTo>
                  <a:cubicBezTo>
                    <a:pt x="1625" y="551"/>
                    <a:pt x="1572" y="524"/>
                    <a:pt x="1556" y="521"/>
                  </a:cubicBezTo>
                  <a:cubicBezTo>
                    <a:pt x="1540" y="518"/>
                    <a:pt x="1516" y="520"/>
                    <a:pt x="1516" y="520"/>
                  </a:cubicBezTo>
                  <a:cubicBezTo>
                    <a:pt x="1505" y="508"/>
                    <a:pt x="1505" y="508"/>
                    <a:pt x="1505" y="508"/>
                  </a:cubicBezTo>
                  <a:cubicBezTo>
                    <a:pt x="1499" y="522"/>
                    <a:pt x="1499" y="522"/>
                    <a:pt x="1499" y="522"/>
                  </a:cubicBezTo>
                  <a:cubicBezTo>
                    <a:pt x="1483" y="504"/>
                    <a:pt x="1483" y="504"/>
                    <a:pt x="1483" y="504"/>
                  </a:cubicBezTo>
                  <a:cubicBezTo>
                    <a:pt x="1483" y="504"/>
                    <a:pt x="1441" y="490"/>
                    <a:pt x="1434" y="490"/>
                  </a:cubicBezTo>
                  <a:cubicBezTo>
                    <a:pt x="1427" y="490"/>
                    <a:pt x="1406" y="491"/>
                    <a:pt x="1406" y="491"/>
                  </a:cubicBezTo>
                  <a:cubicBezTo>
                    <a:pt x="1406" y="491"/>
                    <a:pt x="1357" y="485"/>
                    <a:pt x="1353" y="488"/>
                  </a:cubicBezTo>
                  <a:cubicBezTo>
                    <a:pt x="1349" y="491"/>
                    <a:pt x="1340" y="491"/>
                    <a:pt x="1340" y="499"/>
                  </a:cubicBezTo>
                  <a:cubicBezTo>
                    <a:pt x="1340" y="507"/>
                    <a:pt x="1366" y="521"/>
                    <a:pt x="1366" y="521"/>
                  </a:cubicBezTo>
                  <a:cubicBezTo>
                    <a:pt x="1353" y="541"/>
                    <a:pt x="1353" y="541"/>
                    <a:pt x="1353" y="541"/>
                  </a:cubicBezTo>
                  <a:cubicBezTo>
                    <a:pt x="1344" y="534"/>
                    <a:pt x="1344" y="534"/>
                    <a:pt x="1344" y="534"/>
                  </a:cubicBezTo>
                  <a:cubicBezTo>
                    <a:pt x="1344" y="551"/>
                    <a:pt x="1344" y="551"/>
                    <a:pt x="1344" y="551"/>
                  </a:cubicBezTo>
                  <a:cubicBezTo>
                    <a:pt x="1344" y="551"/>
                    <a:pt x="1320" y="550"/>
                    <a:pt x="1320" y="545"/>
                  </a:cubicBezTo>
                  <a:cubicBezTo>
                    <a:pt x="1320" y="540"/>
                    <a:pt x="1325" y="518"/>
                    <a:pt x="1311" y="519"/>
                  </a:cubicBezTo>
                  <a:cubicBezTo>
                    <a:pt x="1297" y="520"/>
                    <a:pt x="1261" y="543"/>
                    <a:pt x="1256" y="546"/>
                  </a:cubicBezTo>
                  <a:cubicBezTo>
                    <a:pt x="1251" y="549"/>
                    <a:pt x="1240" y="535"/>
                    <a:pt x="1219" y="537"/>
                  </a:cubicBezTo>
                  <a:cubicBezTo>
                    <a:pt x="1198" y="539"/>
                    <a:pt x="1174" y="550"/>
                    <a:pt x="1172" y="558"/>
                  </a:cubicBezTo>
                  <a:cubicBezTo>
                    <a:pt x="1170" y="566"/>
                    <a:pt x="1123" y="562"/>
                    <a:pt x="1123" y="562"/>
                  </a:cubicBezTo>
                  <a:cubicBezTo>
                    <a:pt x="1131" y="545"/>
                    <a:pt x="1131" y="545"/>
                    <a:pt x="1131" y="545"/>
                  </a:cubicBezTo>
                  <a:cubicBezTo>
                    <a:pt x="1130" y="521"/>
                    <a:pt x="1130" y="521"/>
                    <a:pt x="1130" y="521"/>
                  </a:cubicBezTo>
                  <a:cubicBezTo>
                    <a:pt x="1130" y="521"/>
                    <a:pt x="1086" y="529"/>
                    <a:pt x="1086" y="538"/>
                  </a:cubicBezTo>
                  <a:cubicBezTo>
                    <a:pt x="1086" y="547"/>
                    <a:pt x="1092" y="554"/>
                    <a:pt x="1092" y="554"/>
                  </a:cubicBezTo>
                  <a:cubicBezTo>
                    <a:pt x="1074" y="555"/>
                    <a:pt x="1074" y="555"/>
                    <a:pt x="1074" y="555"/>
                  </a:cubicBezTo>
                  <a:cubicBezTo>
                    <a:pt x="1074" y="540"/>
                    <a:pt x="1074" y="540"/>
                    <a:pt x="1074" y="540"/>
                  </a:cubicBezTo>
                  <a:cubicBezTo>
                    <a:pt x="1060" y="545"/>
                    <a:pt x="1060" y="545"/>
                    <a:pt x="1060" y="545"/>
                  </a:cubicBezTo>
                  <a:cubicBezTo>
                    <a:pt x="1025" y="548"/>
                    <a:pt x="1025" y="548"/>
                    <a:pt x="1025" y="548"/>
                  </a:cubicBezTo>
                  <a:cubicBezTo>
                    <a:pt x="996" y="568"/>
                    <a:pt x="996" y="568"/>
                    <a:pt x="996" y="568"/>
                  </a:cubicBezTo>
                  <a:cubicBezTo>
                    <a:pt x="963" y="571"/>
                    <a:pt x="963" y="571"/>
                    <a:pt x="963" y="571"/>
                  </a:cubicBezTo>
                  <a:cubicBezTo>
                    <a:pt x="970" y="584"/>
                    <a:pt x="970" y="584"/>
                    <a:pt x="970" y="584"/>
                  </a:cubicBezTo>
                  <a:cubicBezTo>
                    <a:pt x="970" y="584"/>
                    <a:pt x="944" y="578"/>
                    <a:pt x="941" y="589"/>
                  </a:cubicBezTo>
                  <a:cubicBezTo>
                    <a:pt x="938" y="600"/>
                    <a:pt x="941" y="615"/>
                    <a:pt x="941" y="615"/>
                  </a:cubicBezTo>
                  <a:cubicBezTo>
                    <a:pt x="890" y="621"/>
                    <a:pt x="890" y="621"/>
                    <a:pt x="890" y="621"/>
                  </a:cubicBezTo>
                  <a:cubicBezTo>
                    <a:pt x="890" y="621"/>
                    <a:pt x="875" y="610"/>
                    <a:pt x="870" y="609"/>
                  </a:cubicBezTo>
                  <a:cubicBezTo>
                    <a:pt x="865" y="608"/>
                    <a:pt x="843" y="614"/>
                    <a:pt x="843" y="600"/>
                  </a:cubicBezTo>
                  <a:cubicBezTo>
                    <a:pt x="843" y="586"/>
                    <a:pt x="843" y="569"/>
                    <a:pt x="860" y="575"/>
                  </a:cubicBezTo>
                  <a:cubicBezTo>
                    <a:pt x="877" y="581"/>
                    <a:pt x="898" y="575"/>
                    <a:pt x="898" y="575"/>
                  </a:cubicBezTo>
                  <a:cubicBezTo>
                    <a:pt x="898" y="575"/>
                    <a:pt x="860" y="544"/>
                    <a:pt x="854" y="541"/>
                  </a:cubicBezTo>
                  <a:cubicBezTo>
                    <a:pt x="848" y="538"/>
                    <a:pt x="773" y="539"/>
                    <a:pt x="773" y="539"/>
                  </a:cubicBezTo>
                  <a:cubicBezTo>
                    <a:pt x="779" y="548"/>
                    <a:pt x="779" y="548"/>
                    <a:pt x="779" y="548"/>
                  </a:cubicBezTo>
                  <a:cubicBezTo>
                    <a:pt x="779" y="548"/>
                    <a:pt x="810" y="543"/>
                    <a:pt x="805" y="563"/>
                  </a:cubicBezTo>
                  <a:cubicBezTo>
                    <a:pt x="800" y="583"/>
                    <a:pt x="790" y="612"/>
                    <a:pt x="797" y="612"/>
                  </a:cubicBezTo>
                  <a:cubicBezTo>
                    <a:pt x="804" y="612"/>
                    <a:pt x="830" y="620"/>
                    <a:pt x="830" y="620"/>
                  </a:cubicBezTo>
                  <a:cubicBezTo>
                    <a:pt x="828" y="645"/>
                    <a:pt x="828" y="645"/>
                    <a:pt x="828" y="645"/>
                  </a:cubicBezTo>
                  <a:cubicBezTo>
                    <a:pt x="834" y="664"/>
                    <a:pt x="834" y="664"/>
                    <a:pt x="834" y="664"/>
                  </a:cubicBezTo>
                  <a:cubicBezTo>
                    <a:pt x="813" y="650"/>
                    <a:pt x="813" y="650"/>
                    <a:pt x="813" y="650"/>
                  </a:cubicBezTo>
                  <a:cubicBezTo>
                    <a:pt x="798" y="666"/>
                    <a:pt x="798" y="666"/>
                    <a:pt x="798" y="666"/>
                  </a:cubicBezTo>
                  <a:cubicBezTo>
                    <a:pt x="795" y="644"/>
                    <a:pt x="795" y="644"/>
                    <a:pt x="795" y="644"/>
                  </a:cubicBezTo>
                  <a:cubicBezTo>
                    <a:pt x="749" y="632"/>
                    <a:pt x="749" y="632"/>
                    <a:pt x="749" y="632"/>
                  </a:cubicBezTo>
                  <a:cubicBezTo>
                    <a:pt x="729" y="657"/>
                    <a:pt x="729" y="657"/>
                    <a:pt x="729" y="657"/>
                  </a:cubicBezTo>
                  <a:cubicBezTo>
                    <a:pt x="711" y="658"/>
                    <a:pt x="711" y="658"/>
                    <a:pt x="711" y="658"/>
                  </a:cubicBezTo>
                  <a:cubicBezTo>
                    <a:pt x="711" y="658"/>
                    <a:pt x="705" y="669"/>
                    <a:pt x="695" y="673"/>
                  </a:cubicBezTo>
                  <a:cubicBezTo>
                    <a:pt x="685" y="677"/>
                    <a:pt x="665" y="681"/>
                    <a:pt x="673" y="688"/>
                  </a:cubicBezTo>
                  <a:cubicBezTo>
                    <a:pt x="681" y="695"/>
                    <a:pt x="713" y="718"/>
                    <a:pt x="713" y="718"/>
                  </a:cubicBezTo>
                  <a:cubicBezTo>
                    <a:pt x="725" y="735"/>
                    <a:pt x="725" y="735"/>
                    <a:pt x="725" y="735"/>
                  </a:cubicBezTo>
                  <a:cubicBezTo>
                    <a:pt x="705" y="726"/>
                    <a:pt x="705" y="726"/>
                    <a:pt x="705" y="726"/>
                  </a:cubicBezTo>
                  <a:cubicBezTo>
                    <a:pt x="705" y="726"/>
                    <a:pt x="687" y="736"/>
                    <a:pt x="674" y="730"/>
                  </a:cubicBezTo>
                  <a:cubicBezTo>
                    <a:pt x="661" y="724"/>
                    <a:pt x="618" y="717"/>
                    <a:pt x="618" y="717"/>
                  </a:cubicBezTo>
                  <a:cubicBezTo>
                    <a:pt x="618" y="717"/>
                    <a:pt x="612" y="693"/>
                    <a:pt x="597" y="699"/>
                  </a:cubicBezTo>
                  <a:cubicBezTo>
                    <a:pt x="582" y="705"/>
                    <a:pt x="574" y="711"/>
                    <a:pt x="574" y="711"/>
                  </a:cubicBezTo>
                  <a:cubicBezTo>
                    <a:pt x="562" y="712"/>
                    <a:pt x="562" y="712"/>
                    <a:pt x="562" y="712"/>
                  </a:cubicBezTo>
                  <a:cubicBezTo>
                    <a:pt x="592" y="738"/>
                    <a:pt x="592" y="738"/>
                    <a:pt x="592" y="738"/>
                  </a:cubicBezTo>
                  <a:cubicBezTo>
                    <a:pt x="592" y="738"/>
                    <a:pt x="632" y="739"/>
                    <a:pt x="632" y="746"/>
                  </a:cubicBezTo>
                  <a:cubicBezTo>
                    <a:pt x="632" y="753"/>
                    <a:pt x="614" y="764"/>
                    <a:pt x="614" y="764"/>
                  </a:cubicBezTo>
                  <a:cubicBezTo>
                    <a:pt x="572" y="754"/>
                    <a:pt x="572" y="754"/>
                    <a:pt x="572" y="754"/>
                  </a:cubicBezTo>
                  <a:cubicBezTo>
                    <a:pt x="572" y="754"/>
                    <a:pt x="557" y="740"/>
                    <a:pt x="547" y="739"/>
                  </a:cubicBezTo>
                  <a:cubicBezTo>
                    <a:pt x="537" y="738"/>
                    <a:pt x="511" y="749"/>
                    <a:pt x="509" y="735"/>
                  </a:cubicBezTo>
                  <a:cubicBezTo>
                    <a:pt x="507" y="721"/>
                    <a:pt x="508" y="705"/>
                    <a:pt x="508" y="705"/>
                  </a:cubicBezTo>
                  <a:cubicBezTo>
                    <a:pt x="495" y="697"/>
                    <a:pt x="495" y="697"/>
                    <a:pt x="495" y="697"/>
                  </a:cubicBezTo>
                  <a:cubicBezTo>
                    <a:pt x="495" y="697"/>
                    <a:pt x="516" y="679"/>
                    <a:pt x="508" y="670"/>
                  </a:cubicBezTo>
                  <a:cubicBezTo>
                    <a:pt x="500" y="661"/>
                    <a:pt x="444" y="646"/>
                    <a:pt x="444" y="646"/>
                  </a:cubicBezTo>
                  <a:cubicBezTo>
                    <a:pt x="424" y="631"/>
                    <a:pt x="424" y="631"/>
                    <a:pt x="424" y="631"/>
                  </a:cubicBezTo>
                  <a:cubicBezTo>
                    <a:pt x="408" y="620"/>
                    <a:pt x="408" y="620"/>
                    <a:pt x="408" y="620"/>
                  </a:cubicBezTo>
                  <a:cubicBezTo>
                    <a:pt x="398" y="610"/>
                    <a:pt x="398" y="610"/>
                    <a:pt x="398" y="610"/>
                  </a:cubicBezTo>
                  <a:cubicBezTo>
                    <a:pt x="424" y="609"/>
                    <a:pt x="424" y="609"/>
                    <a:pt x="424" y="609"/>
                  </a:cubicBezTo>
                  <a:cubicBezTo>
                    <a:pt x="424" y="609"/>
                    <a:pt x="419" y="618"/>
                    <a:pt x="438" y="622"/>
                  </a:cubicBezTo>
                  <a:cubicBezTo>
                    <a:pt x="457" y="626"/>
                    <a:pt x="482" y="623"/>
                    <a:pt x="482" y="623"/>
                  </a:cubicBezTo>
                  <a:cubicBezTo>
                    <a:pt x="482" y="623"/>
                    <a:pt x="498" y="641"/>
                    <a:pt x="510" y="643"/>
                  </a:cubicBezTo>
                  <a:cubicBezTo>
                    <a:pt x="522" y="645"/>
                    <a:pt x="576" y="650"/>
                    <a:pt x="576" y="650"/>
                  </a:cubicBezTo>
                  <a:cubicBezTo>
                    <a:pt x="576" y="650"/>
                    <a:pt x="613" y="666"/>
                    <a:pt x="656" y="655"/>
                  </a:cubicBezTo>
                  <a:cubicBezTo>
                    <a:pt x="699" y="644"/>
                    <a:pt x="741" y="629"/>
                    <a:pt x="719" y="609"/>
                  </a:cubicBezTo>
                  <a:cubicBezTo>
                    <a:pt x="697" y="589"/>
                    <a:pt x="696" y="576"/>
                    <a:pt x="667" y="570"/>
                  </a:cubicBezTo>
                  <a:cubicBezTo>
                    <a:pt x="638" y="564"/>
                    <a:pt x="598" y="549"/>
                    <a:pt x="579" y="542"/>
                  </a:cubicBezTo>
                  <a:cubicBezTo>
                    <a:pt x="560" y="535"/>
                    <a:pt x="526" y="518"/>
                    <a:pt x="506" y="517"/>
                  </a:cubicBezTo>
                  <a:cubicBezTo>
                    <a:pt x="486" y="516"/>
                    <a:pt x="467" y="516"/>
                    <a:pt x="455" y="516"/>
                  </a:cubicBezTo>
                  <a:cubicBezTo>
                    <a:pt x="443" y="516"/>
                    <a:pt x="421" y="516"/>
                    <a:pt x="421" y="516"/>
                  </a:cubicBezTo>
                  <a:cubicBezTo>
                    <a:pt x="413" y="506"/>
                    <a:pt x="413" y="506"/>
                    <a:pt x="413" y="506"/>
                  </a:cubicBezTo>
                  <a:cubicBezTo>
                    <a:pt x="394" y="507"/>
                    <a:pt x="394" y="507"/>
                    <a:pt x="394" y="507"/>
                  </a:cubicBezTo>
                  <a:cubicBezTo>
                    <a:pt x="373" y="498"/>
                    <a:pt x="373" y="498"/>
                    <a:pt x="373" y="498"/>
                  </a:cubicBezTo>
                  <a:cubicBezTo>
                    <a:pt x="394" y="493"/>
                    <a:pt x="394" y="493"/>
                    <a:pt x="394" y="493"/>
                  </a:cubicBezTo>
                  <a:cubicBezTo>
                    <a:pt x="406" y="485"/>
                    <a:pt x="406" y="485"/>
                    <a:pt x="406" y="485"/>
                  </a:cubicBezTo>
                  <a:cubicBezTo>
                    <a:pt x="406" y="485"/>
                    <a:pt x="363" y="469"/>
                    <a:pt x="357" y="475"/>
                  </a:cubicBezTo>
                  <a:cubicBezTo>
                    <a:pt x="351" y="481"/>
                    <a:pt x="348" y="490"/>
                    <a:pt x="348" y="490"/>
                  </a:cubicBezTo>
                  <a:cubicBezTo>
                    <a:pt x="335" y="490"/>
                    <a:pt x="335" y="490"/>
                    <a:pt x="335" y="490"/>
                  </a:cubicBezTo>
                  <a:cubicBezTo>
                    <a:pt x="333" y="493"/>
                    <a:pt x="329" y="497"/>
                    <a:pt x="321" y="498"/>
                  </a:cubicBezTo>
                  <a:cubicBezTo>
                    <a:pt x="303" y="501"/>
                    <a:pt x="304" y="498"/>
                    <a:pt x="304" y="498"/>
                  </a:cubicBezTo>
                  <a:cubicBezTo>
                    <a:pt x="300" y="506"/>
                    <a:pt x="300" y="506"/>
                    <a:pt x="300" y="506"/>
                  </a:cubicBezTo>
                  <a:cubicBezTo>
                    <a:pt x="285" y="507"/>
                    <a:pt x="285" y="507"/>
                    <a:pt x="285" y="507"/>
                  </a:cubicBezTo>
                  <a:cubicBezTo>
                    <a:pt x="285" y="507"/>
                    <a:pt x="284" y="521"/>
                    <a:pt x="275" y="522"/>
                  </a:cubicBezTo>
                  <a:cubicBezTo>
                    <a:pt x="270" y="522"/>
                    <a:pt x="266" y="521"/>
                    <a:pt x="262" y="519"/>
                  </a:cubicBezTo>
                  <a:cubicBezTo>
                    <a:pt x="261" y="528"/>
                    <a:pt x="261" y="528"/>
                    <a:pt x="261" y="528"/>
                  </a:cubicBezTo>
                  <a:cubicBezTo>
                    <a:pt x="261" y="528"/>
                    <a:pt x="265" y="534"/>
                    <a:pt x="266" y="537"/>
                  </a:cubicBezTo>
                  <a:cubicBezTo>
                    <a:pt x="267" y="540"/>
                    <a:pt x="254" y="542"/>
                    <a:pt x="254" y="542"/>
                  </a:cubicBezTo>
                  <a:cubicBezTo>
                    <a:pt x="254" y="542"/>
                    <a:pt x="257" y="545"/>
                    <a:pt x="259" y="557"/>
                  </a:cubicBezTo>
                  <a:cubicBezTo>
                    <a:pt x="261" y="569"/>
                    <a:pt x="275" y="561"/>
                    <a:pt x="281" y="561"/>
                  </a:cubicBezTo>
                  <a:cubicBezTo>
                    <a:pt x="287" y="561"/>
                    <a:pt x="292" y="568"/>
                    <a:pt x="296" y="573"/>
                  </a:cubicBezTo>
                  <a:cubicBezTo>
                    <a:pt x="300" y="578"/>
                    <a:pt x="306" y="581"/>
                    <a:pt x="315" y="591"/>
                  </a:cubicBezTo>
                  <a:cubicBezTo>
                    <a:pt x="324" y="601"/>
                    <a:pt x="300" y="603"/>
                    <a:pt x="300" y="608"/>
                  </a:cubicBezTo>
                  <a:cubicBezTo>
                    <a:pt x="300" y="613"/>
                    <a:pt x="283" y="620"/>
                    <a:pt x="283" y="620"/>
                  </a:cubicBezTo>
                  <a:cubicBezTo>
                    <a:pt x="296" y="631"/>
                    <a:pt x="296" y="631"/>
                    <a:pt x="296" y="631"/>
                  </a:cubicBezTo>
                  <a:cubicBezTo>
                    <a:pt x="296" y="631"/>
                    <a:pt x="337" y="663"/>
                    <a:pt x="343" y="673"/>
                  </a:cubicBezTo>
                  <a:cubicBezTo>
                    <a:pt x="349" y="683"/>
                    <a:pt x="321" y="677"/>
                    <a:pt x="321" y="677"/>
                  </a:cubicBezTo>
                  <a:cubicBezTo>
                    <a:pt x="316" y="697"/>
                    <a:pt x="316" y="697"/>
                    <a:pt x="316" y="697"/>
                  </a:cubicBezTo>
                  <a:cubicBezTo>
                    <a:pt x="323" y="703"/>
                    <a:pt x="323" y="703"/>
                    <a:pt x="323" y="703"/>
                  </a:cubicBezTo>
                  <a:cubicBezTo>
                    <a:pt x="323" y="713"/>
                    <a:pt x="323" y="713"/>
                    <a:pt x="323" y="713"/>
                  </a:cubicBezTo>
                  <a:cubicBezTo>
                    <a:pt x="323" y="713"/>
                    <a:pt x="342" y="718"/>
                    <a:pt x="343" y="722"/>
                  </a:cubicBezTo>
                  <a:cubicBezTo>
                    <a:pt x="344" y="726"/>
                    <a:pt x="337" y="737"/>
                    <a:pt x="337" y="737"/>
                  </a:cubicBezTo>
                  <a:cubicBezTo>
                    <a:pt x="352" y="740"/>
                    <a:pt x="352" y="740"/>
                    <a:pt x="352" y="740"/>
                  </a:cubicBezTo>
                  <a:cubicBezTo>
                    <a:pt x="352" y="740"/>
                    <a:pt x="363" y="748"/>
                    <a:pt x="364" y="752"/>
                  </a:cubicBezTo>
                  <a:cubicBezTo>
                    <a:pt x="365" y="756"/>
                    <a:pt x="344" y="770"/>
                    <a:pt x="344" y="770"/>
                  </a:cubicBezTo>
                  <a:cubicBezTo>
                    <a:pt x="383" y="788"/>
                    <a:pt x="383" y="788"/>
                    <a:pt x="383" y="788"/>
                  </a:cubicBezTo>
                  <a:cubicBezTo>
                    <a:pt x="383" y="788"/>
                    <a:pt x="406" y="807"/>
                    <a:pt x="405" y="815"/>
                  </a:cubicBezTo>
                  <a:cubicBezTo>
                    <a:pt x="404" y="823"/>
                    <a:pt x="395" y="830"/>
                    <a:pt x="391" y="837"/>
                  </a:cubicBezTo>
                  <a:cubicBezTo>
                    <a:pt x="387" y="844"/>
                    <a:pt x="366" y="856"/>
                    <a:pt x="366" y="856"/>
                  </a:cubicBezTo>
                  <a:cubicBezTo>
                    <a:pt x="366" y="856"/>
                    <a:pt x="338" y="882"/>
                    <a:pt x="334" y="887"/>
                  </a:cubicBezTo>
                  <a:cubicBezTo>
                    <a:pt x="330" y="892"/>
                    <a:pt x="289" y="916"/>
                    <a:pt x="289" y="916"/>
                  </a:cubicBezTo>
                  <a:cubicBezTo>
                    <a:pt x="293" y="923"/>
                    <a:pt x="293" y="923"/>
                    <a:pt x="293" y="923"/>
                  </a:cubicBezTo>
                  <a:cubicBezTo>
                    <a:pt x="313" y="912"/>
                    <a:pt x="313" y="912"/>
                    <a:pt x="313" y="912"/>
                  </a:cubicBezTo>
                  <a:cubicBezTo>
                    <a:pt x="315" y="923"/>
                    <a:pt x="315" y="923"/>
                    <a:pt x="315" y="923"/>
                  </a:cubicBezTo>
                  <a:cubicBezTo>
                    <a:pt x="315" y="923"/>
                    <a:pt x="328" y="936"/>
                    <a:pt x="334" y="939"/>
                  </a:cubicBezTo>
                  <a:cubicBezTo>
                    <a:pt x="340" y="942"/>
                    <a:pt x="367" y="942"/>
                    <a:pt x="367" y="942"/>
                  </a:cubicBezTo>
                  <a:cubicBezTo>
                    <a:pt x="376" y="954"/>
                    <a:pt x="376" y="954"/>
                    <a:pt x="376" y="954"/>
                  </a:cubicBezTo>
                  <a:cubicBezTo>
                    <a:pt x="376" y="954"/>
                    <a:pt x="337" y="945"/>
                    <a:pt x="335" y="951"/>
                  </a:cubicBezTo>
                  <a:cubicBezTo>
                    <a:pt x="333" y="957"/>
                    <a:pt x="333" y="961"/>
                    <a:pt x="333" y="961"/>
                  </a:cubicBezTo>
                  <a:cubicBezTo>
                    <a:pt x="307" y="962"/>
                    <a:pt x="307" y="962"/>
                    <a:pt x="307" y="962"/>
                  </a:cubicBezTo>
                  <a:cubicBezTo>
                    <a:pt x="303" y="980"/>
                    <a:pt x="303" y="980"/>
                    <a:pt x="303" y="980"/>
                  </a:cubicBezTo>
                  <a:cubicBezTo>
                    <a:pt x="303" y="980"/>
                    <a:pt x="300" y="979"/>
                    <a:pt x="295" y="978"/>
                  </a:cubicBezTo>
                  <a:cubicBezTo>
                    <a:pt x="292" y="988"/>
                    <a:pt x="292" y="988"/>
                    <a:pt x="292" y="988"/>
                  </a:cubicBezTo>
                  <a:cubicBezTo>
                    <a:pt x="295" y="997"/>
                    <a:pt x="295" y="997"/>
                    <a:pt x="295" y="997"/>
                  </a:cubicBezTo>
                  <a:cubicBezTo>
                    <a:pt x="295" y="997"/>
                    <a:pt x="288" y="1001"/>
                    <a:pt x="284" y="1003"/>
                  </a:cubicBezTo>
                  <a:cubicBezTo>
                    <a:pt x="280" y="1005"/>
                    <a:pt x="281" y="1019"/>
                    <a:pt x="281" y="1019"/>
                  </a:cubicBezTo>
                  <a:cubicBezTo>
                    <a:pt x="290" y="1023"/>
                    <a:pt x="290" y="1023"/>
                    <a:pt x="290" y="1023"/>
                  </a:cubicBezTo>
                  <a:cubicBezTo>
                    <a:pt x="285" y="1041"/>
                    <a:pt x="285" y="1041"/>
                    <a:pt x="285" y="1041"/>
                  </a:cubicBezTo>
                  <a:cubicBezTo>
                    <a:pt x="292" y="1043"/>
                    <a:pt x="292" y="1043"/>
                    <a:pt x="292" y="1043"/>
                  </a:cubicBezTo>
                  <a:cubicBezTo>
                    <a:pt x="301" y="1055"/>
                    <a:pt x="301" y="1055"/>
                    <a:pt x="301" y="1055"/>
                  </a:cubicBezTo>
                  <a:cubicBezTo>
                    <a:pt x="288" y="1064"/>
                    <a:pt x="288" y="1064"/>
                    <a:pt x="288" y="1064"/>
                  </a:cubicBezTo>
                  <a:cubicBezTo>
                    <a:pt x="288" y="1072"/>
                    <a:pt x="288" y="1072"/>
                    <a:pt x="288" y="1072"/>
                  </a:cubicBezTo>
                  <a:cubicBezTo>
                    <a:pt x="288" y="1072"/>
                    <a:pt x="309" y="1082"/>
                    <a:pt x="310" y="1087"/>
                  </a:cubicBezTo>
                  <a:cubicBezTo>
                    <a:pt x="311" y="1092"/>
                    <a:pt x="298" y="1094"/>
                    <a:pt x="298" y="1094"/>
                  </a:cubicBezTo>
                  <a:cubicBezTo>
                    <a:pt x="297" y="1103"/>
                    <a:pt x="297" y="1103"/>
                    <a:pt x="297" y="1103"/>
                  </a:cubicBezTo>
                  <a:cubicBezTo>
                    <a:pt x="310" y="1107"/>
                    <a:pt x="310" y="1107"/>
                    <a:pt x="310" y="1107"/>
                  </a:cubicBezTo>
                  <a:cubicBezTo>
                    <a:pt x="310" y="1107"/>
                    <a:pt x="315" y="1118"/>
                    <a:pt x="322" y="1124"/>
                  </a:cubicBezTo>
                  <a:cubicBezTo>
                    <a:pt x="328" y="1129"/>
                    <a:pt x="328" y="1139"/>
                    <a:pt x="328" y="1143"/>
                  </a:cubicBezTo>
                  <a:cubicBezTo>
                    <a:pt x="332" y="1144"/>
                    <a:pt x="336" y="1144"/>
                    <a:pt x="339" y="1145"/>
                  </a:cubicBezTo>
                  <a:cubicBezTo>
                    <a:pt x="347" y="1146"/>
                    <a:pt x="348" y="1153"/>
                    <a:pt x="348" y="1153"/>
                  </a:cubicBezTo>
                  <a:cubicBezTo>
                    <a:pt x="354" y="1147"/>
                    <a:pt x="354" y="1147"/>
                    <a:pt x="354" y="1147"/>
                  </a:cubicBezTo>
                  <a:cubicBezTo>
                    <a:pt x="380" y="1153"/>
                    <a:pt x="380" y="1153"/>
                    <a:pt x="380" y="1153"/>
                  </a:cubicBezTo>
                  <a:cubicBezTo>
                    <a:pt x="382" y="1163"/>
                    <a:pt x="382" y="1163"/>
                    <a:pt x="382" y="1163"/>
                  </a:cubicBezTo>
                  <a:cubicBezTo>
                    <a:pt x="404" y="1151"/>
                    <a:pt x="404" y="1151"/>
                    <a:pt x="404" y="1151"/>
                  </a:cubicBezTo>
                  <a:cubicBezTo>
                    <a:pt x="404" y="1151"/>
                    <a:pt x="426" y="1162"/>
                    <a:pt x="437" y="1167"/>
                  </a:cubicBezTo>
                  <a:cubicBezTo>
                    <a:pt x="448" y="1172"/>
                    <a:pt x="434" y="1186"/>
                    <a:pt x="434" y="1186"/>
                  </a:cubicBezTo>
                  <a:cubicBezTo>
                    <a:pt x="442" y="1196"/>
                    <a:pt x="442" y="1196"/>
                    <a:pt x="442" y="1196"/>
                  </a:cubicBezTo>
                  <a:cubicBezTo>
                    <a:pt x="438" y="1208"/>
                    <a:pt x="438" y="1208"/>
                    <a:pt x="438" y="1208"/>
                  </a:cubicBezTo>
                  <a:cubicBezTo>
                    <a:pt x="438" y="1208"/>
                    <a:pt x="443" y="1213"/>
                    <a:pt x="451" y="1215"/>
                  </a:cubicBezTo>
                  <a:cubicBezTo>
                    <a:pt x="459" y="1217"/>
                    <a:pt x="462" y="1238"/>
                    <a:pt x="462" y="1238"/>
                  </a:cubicBezTo>
                  <a:cubicBezTo>
                    <a:pt x="482" y="1245"/>
                    <a:pt x="482" y="1245"/>
                    <a:pt x="482" y="1245"/>
                  </a:cubicBezTo>
                  <a:cubicBezTo>
                    <a:pt x="484" y="1260"/>
                    <a:pt x="484" y="1260"/>
                    <a:pt x="484" y="1260"/>
                  </a:cubicBezTo>
                  <a:cubicBezTo>
                    <a:pt x="484" y="1260"/>
                    <a:pt x="494" y="1258"/>
                    <a:pt x="507" y="1261"/>
                  </a:cubicBezTo>
                  <a:cubicBezTo>
                    <a:pt x="520" y="1264"/>
                    <a:pt x="512" y="1273"/>
                    <a:pt x="512" y="1273"/>
                  </a:cubicBezTo>
                  <a:cubicBezTo>
                    <a:pt x="526" y="1281"/>
                    <a:pt x="526" y="1281"/>
                    <a:pt x="526" y="1281"/>
                  </a:cubicBezTo>
                  <a:cubicBezTo>
                    <a:pt x="526" y="1281"/>
                    <a:pt x="517" y="1290"/>
                    <a:pt x="509" y="1297"/>
                  </a:cubicBezTo>
                  <a:cubicBezTo>
                    <a:pt x="501" y="1304"/>
                    <a:pt x="488" y="1296"/>
                    <a:pt x="488" y="1296"/>
                  </a:cubicBezTo>
                  <a:cubicBezTo>
                    <a:pt x="488" y="1296"/>
                    <a:pt x="486" y="1290"/>
                    <a:pt x="472" y="1293"/>
                  </a:cubicBezTo>
                  <a:cubicBezTo>
                    <a:pt x="458" y="1296"/>
                    <a:pt x="485" y="1318"/>
                    <a:pt x="485" y="1318"/>
                  </a:cubicBezTo>
                  <a:cubicBezTo>
                    <a:pt x="485" y="1318"/>
                    <a:pt x="485" y="1332"/>
                    <a:pt x="488" y="1333"/>
                  </a:cubicBezTo>
                  <a:cubicBezTo>
                    <a:pt x="490" y="1333"/>
                    <a:pt x="490" y="1343"/>
                    <a:pt x="491" y="1351"/>
                  </a:cubicBezTo>
                  <a:cubicBezTo>
                    <a:pt x="486" y="1351"/>
                    <a:pt x="481" y="1350"/>
                    <a:pt x="477" y="1349"/>
                  </a:cubicBezTo>
                  <a:cubicBezTo>
                    <a:pt x="490" y="1351"/>
                    <a:pt x="510" y="1355"/>
                    <a:pt x="516" y="1352"/>
                  </a:cubicBezTo>
                  <a:cubicBezTo>
                    <a:pt x="524" y="1348"/>
                    <a:pt x="520" y="1339"/>
                    <a:pt x="520" y="1339"/>
                  </a:cubicBezTo>
                  <a:cubicBezTo>
                    <a:pt x="538" y="1342"/>
                    <a:pt x="538" y="1342"/>
                    <a:pt x="538" y="1342"/>
                  </a:cubicBezTo>
                  <a:cubicBezTo>
                    <a:pt x="549" y="1337"/>
                    <a:pt x="549" y="1337"/>
                    <a:pt x="549" y="1337"/>
                  </a:cubicBezTo>
                  <a:cubicBezTo>
                    <a:pt x="579" y="1336"/>
                    <a:pt x="579" y="1336"/>
                    <a:pt x="579" y="1336"/>
                  </a:cubicBezTo>
                  <a:cubicBezTo>
                    <a:pt x="585" y="1350"/>
                    <a:pt x="585" y="1350"/>
                    <a:pt x="585" y="1350"/>
                  </a:cubicBezTo>
                  <a:cubicBezTo>
                    <a:pt x="585" y="1350"/>
                    <a:pt x="606" y="1356"/>
                    <a:pt x="604" y="1362"/>
                  </a:cubicBezTo>
                  <a:cubicBezTo>
                    <a:pt x="602" y="1368"/>
                    <a:pt x="594" y="1369"/>
                    <a:pt x="594" y="1369"/>
                  </a:cubicBezTo>
                  <a:cubicBezTo>
                    <a:pt x="599" y="1381"/>
                    <a:pt x="599" y="1381"/>
                    <a:pt x="599" y="1381"/>
                  </a:cubicBezTo>
                  <a:cubicBezTo>
                    <a:pt x="600" y="1392"/>
                    <a:pt x="600" y="1392"/>
                    <a:pt x="600" y="1392"/>
                  </a:cubicBezTo>
                  <a:cubicBezTo>
                    <a:pt x="623" y="1394"/>
                    <a:pt x="623" y="1394"/>
                    <a:pt x="623" y="1394"/>
                  </a:cubicBezTo>
                  <a:cubicBezTo>
                    <a:pt x="651" y="1406"/>
                    <a:pt x="651" y="1406"/>
                    <a:pt x="651" y="1406"/>
                  </a:cubicBezTo>
                  <a:cubicBezTo>
                    <a:pt x="658" y="1435"/>
                    <a:pt x="658" y="1435"/>
                    <a:pt x="658" y="1435"/>
                  </a:cubicBezTo>
                  <a:cubicBezTo>
                    <a:pt x="662" y="1438"/>
                    <a:pt x="662" y="1438"/>
                    <a:pt x="662" y="1438"/>
                  </a:cubicBezTo>
                  <a:cubicBezTo>
                    <a:pt x="680" y="1434"/>
                    <a:pt x="680" y="1434"/>
                    <a:pt x="680" y="1434"/>
                  </a:cubicBezTo>
                  <a:cubicBezTo>
                    <a:pt x="680" y="1434"/>
                    <a:pt x="688" y="1438"/>
                    <a:pt x="696" y="1442"/>
                  </a:cubicBezTo>
                  <a:cubicBezTo>
                    <a:pt x="704" y="1446"/>
                    <a:pt x="702" y="1441"/>
                    <a:pt x="713" y="1440"/>
                  </a:cubicBezTo>
                  <a:cubicBezTo>
                    <a:pt x="724" y="1439"/>
                    <a:pt x="733" y="1445"/>
                    <a:pt x="733" y="1445"/>
                  </a:cubicBezTo>
                  <a:cubicBezTo>
                    <a:pt x="733" y="1445"/>
                    <a:pt x="729" y="1435"/>
                    <a:pt x="738" y="1436"/>
                  </a:cubicBezTo>
                  <a:cubicBezTo>
                    <a:pt x="747" y="1437"/>
                    <a:pt x="749" y="1448"/>
                    <a:pt x="755" y="1452"/>
                  </a:cubicBezTo>
                  <a:cubicBezTo>
                    <a:pt x="761" y="1456"/>
                    <a:pt x="764" y="1461"/>
                    <a:pt x="764" y="1461"/>
                  </a:cubicBezTo>
                  <a:cubicBezTo>
                    <a:pt x="764" y="1461"/>
                    <a:pt x="776" y="1455"/>
                    <a:pt x="780" y="1455"/>
                  </a:cubicBezTo>
                  <a:cubicBezTo>
                    <a:pt x="784" y="1455"/>
                    <a:pt x="797" y="1464"/>
                    <a:pt x="797" y="1464"/>
                  </a:cubicBezTo>
                  <a:cubicBezTo>
                    <a:pt x="797" y="1464"/>
                    <a:pt x="811" y="1462"/>
                    <a:pt x="818" y="1464"/>
                  </a:cubicBezTo>
                  <a:cubicBezTo>
                    <a:pt x="825" y="1466"/>
                    <a:pt x="827" y="1472"/>
                    <a:pt x="827" y="1472"/>
                  </a:cubicBezTo>
                  <a:cubicBezTo>
                    <a:pt x="840" y="1481"/>
                    <a:pt x="840" y="1481"/>
                    <a:pt x="840" y="1481"/>
                  </a:cubicBezTo>
                  <a:cubicBezTo>
                    <a:pt x="840" y="1481"/>
                    <a:pt x="857" y="1475"/>
                    <a:pt x="858" y="1485"/>
                  </a:cubicBezTo>
                  <a:cubicBezTo>
                    <a:pt x="859" y="1495"/>
                    <a:pt x="860" y="1502"/>
                    <a:pt x="860" y="1502"/>
                  </a:cubicBezTo>
                  <a:cubicBezTo>
                    <a:pt x="846" y="1509"/>
                    <a:pt x="846" y="1509"/>
                    <a:pt x="846" y="1509"/>
                  </a:cubicBezTo>
                  <a:cubicBezTo>
                    <a:pt x="846" y="1509"/>
                    <a:pt x="863" y="1512"/>
                    <a:pt x="862" y="1518"/>
                  </a:cubicBezTo>
                  <a:cubicBezTo>
                    <a:pt x="861" y="1524"/>
                    <a:pt x="844" y="1522"/>
                    <a:pt x="845" y="1525"/>
                  </a:cubicBezTo>
                  <a:cubicBezTo>
                    <a:pt x="846" y="1528"/>
                    <a:pt x="858" y="1536"/>
                    <a:pt x="859" y="1542"/>
                  </a:cubicBezTo>
                  <a:cubicBezTo>
                    <a:pt x="860" y="1548"/>
                    <a:pt x="868" y="1561"/>
                    <a:pt x="856" y="1565"/>
                  </a:cubicBezTo>
                  <a:cubicBezTo>
                    <a:pt x="844" y="1569"/>
                    <a:pt x="821" y="1567"/>
                    <a:pt x="821" y="1567"/>
                  </a:cubicBezTo>
                  <a:cubicBezTo>
                    <a:pt x="821" y="1567"/>
                    <a:pt x="813" y="1576"/>
                    <a:pt x="810" y="1580"/>
                  </a:cubicBezTo>
                  <a:cubicBezTo>
                    <a:pt x="807" y="1584"/>
                    <a:pt x="794" y="1584"/>
                    <a:pt x="794" y="1584"/>
                  </a:cubicBezTo>
                  <a:cubicBezTo>
                    <a:pt x="797" y="1609"/>
                    <a:pt x="797" y="1609"/>
                    <a:pt x="797" y="1609"/>
                  </a:cubicBezTo>
                  <a:cubicBezTo>
                    <a:pt x="796" y="1610"/>
                    <a:pt x="795" y="1610"/>
                    <a:pt x="795" y="1610"/>
                  </a:cubicBezTo>
                  <a:cubicBezTo>
                    <a:pt x="796" y="1610"/>
                    <a:pt x="797" y="1609"/>
                    <a:pt x="799" y="1609"/>
                  </a:cubicBezTo>
                  <a:cubicBezTo>
                    <a:pt x="810" y="1603"/>
                    <a:pt x="839" y="1594"/>
                    <a:pt x="840" y="1603"/>
                  </a:cubicBezTo>
                  <a:cubicBezTo>
                    <a:pt x="841" y="1611"/>
                    <a:pt x="819" y="1627"/>
                    <a:pt x="819" y="1627"/>
                  </a:cubicBezTo>
                  <a:cubicBezTo>
                    <a:pt x="786" y="1637"/>
                    <a:pt x="786" y="1637"/>
                    <a:pt x="786" y="1637"/>
                  </a:cubicBezTo>
                  <a:cubicBezTo>
                    <a:pt x="816" y="1660"/>
                    <a:pt x="816" y="1660"/>
                    <a:pt x="816" y="1660"/>
                  </a:cubicBezTo>
                  <a:cubicBezTo>
                    <a:pt x="816" y="1660"/>
                    <a:pt x="792" y="1665"/>
                    <a:pt x="791" y="1675"/>
                  </a:cubicBezTo>
                  <a:cubicBezTo>
                    <a:pt x="790" y="1685"/>
                    <a:pt x="790" y="1696"/>
                    <a:pt x="790" y="1696"/>
                  </a:cubicBezTo>
                  <a:cubicBezTo>
                    <a:pt x="790" y="1696"/>
                    <a:pt x="777" y="1705"/>
                    <a:pt x="772" y="1705"/>
                  </a:cubicBezTo>
                  <a:cubicBezTo>
                    <a:pt x="767" y="1705"/>
                    <a:pt x="752" y="1694"/>
                    <a:pt x="752" y="1694"/>
                  </a:cubicBezTo>
                  <a:cubicBezTo>
                    <a:pt x="748" y="1705"/>
                    <a:pt x="748" y="1705"/>
                    <a:pt x="748" y="1705"/>
                  </a:cubicBezTo>
                  <a:cubicBezTo>
                    <a:pt x="748" y="1705"/>
                    <a:pt x="760" y="1718"/>
                    <a:pt x="763" y="1718"/>
                  </a:cubicBezTo>
                  <a:cubicBezTo>
                    <a:pt x="766" y="1718"/>
                    <a:pt x="775" y="1737"/>
                    <a:pt x="775" y="1737"/>
                  </a:cubicBezTo>
                  <a:cubicBezTo>
                    <a:pt x="800" y="1735"/>
                    <a:pt x="800" y="1735"/>
                    <a:pt x="800" y="1735"/>
                  </a:cubicBezTo>
                  <a:cubicBezTo>
                    <a:pt x="800" y="1735"/>
                    <a:pt x="818" y="1754"/>
                    <a:pt x="824" y="1754"/>
                  </a:cubicBezTo>
                  <a:cubicBezTo>
                    <a:pt x="830" y="1754"/>
                    <a:pt x="842" y="1755"/>
                    <a:pt x="842" y="1755"/>
                  </a:cubicBezTo>
                  <a:cubicBezTo>
                    <a:pt x="842" y="1755"/>
                    <a:pt x="873" y="1792"/>
                    <a:pt x="881" y="1795"/>
                  </a:cubicBezTo>
                  <a:cubicBezTo>
                    <a:pt x="889" y="1798"/>
                    <a:pt x="905" y="1805"/>
                    <a:pt x="905" y="1805"/>
                  </a:cubicBezTo>
                  <a:cubicBezTo>
                    <a:pt x="905" y="1805"/>
                    <a:pt x="904" y="1805"/>
                    <a:pt x="901" y="1804"/>
                  </a:cubicBezTo>
                  <a:cubicBezTo>
                    <a:pt x="914" y="1793"/>
                    <a:pt x="914" y="1793"/>
                    <a:pt x="914" y="1793"/>
                  </a:cubicBezTo>
                  <a:cubicBezTo>
                    <a:pt x="914" y="1793"/>
                    <a:pt x="939" y="1796"/>
                    <a:pt x="955" y="1803"/>
                  </a:cubicBezTo>
                  <a:cubicBezTo>
                    <a:pt x="971" y="1810"/>
                    <a:pt x="983" y="1812"/>
                    <a:pt x="996" y="1811"/>
                  </a:cubicBezTo>
                  <a:cubicBezTo>
                    <a:pt x="1009" y="1810"/>
                    <a:pt x="1029" y="1815"/>
                    <a:pt x="1029" y="1815"/>
                  </a:cubicBezTo>
                  <a:cubicBezTo>
                    <a:pt x="1061" y="1835"/>
                    <a:pt x="1061" y="1835"/>
                    <a:pt x="1061" y="1835"/>
                  </a:cubicBezTo>
                  <a:cubicBezTo>
                    <a:pt x="1061" y="1835"/>
                    <a:pt x="1061" y="1846"/>
                    <a:pt x="1080" y="1846"/>
                  </a:cubicBezTo>
                  <a:cubicBezTo>
                    <a:pt x="1099" y="1846"/>
                    <a:pt x="1091" y="1837"/>
                    <a:pt x="1109" y="1835"/>
                  </a:cubicBezTo>
                  <a:cubicBezTo>
                    <a:pt x="1127" y="1833"/>
                    <a:pt x="1137" y="1848"/>
                    <a:pt x="1137" y="1848"/>
                  </a:cubicBezTo>
                  <a:cubicBezTo>
                    <a:pt x="1157" y="1851"/>
                    <a:pt x="1157" y="1851"/>
                    <a:pt x="1157" y="1851"/>
                  </a:cubicBezTo>
                  <a:cubicBezTo>
                    <a:pt x="1157" y="1851"/>
                    <a:pt x="1152" y="1869"/>
                    <a:pt x="1152" y="1868"/>
                  </a:cubicBezTo>
                  <a:cubicBezTo>
                    <a:pt x="1169" y="1869"/>
                    <a:pt x="1180" y="1879"/>
                    <a:pt x="1187" y="1886"/>
                  </a:cubicBezTo>
                  <a:cubicBezTo>
                    <a:pt x="1187" y="1886"/>
                    <a:pt x="1187" y="1886"/>
                    <a:pt x="1187" y="1886"/>
                  </a:cubicBezTo>
                  <a:cubicBezTo>
                    <a:pt x="1194" y="1885"/>
                    <a:pt x="1205" y="1886"/>
                    <a:pt x="1214" y="1892"/>
                  </a:cubicBezTo>
                  <a:cubicBezTo>
                    <a:pt x="1227" y="1901"/>
                    <a:pt x="1236" y="1923"/>
                    <a:pt x="1252" y="1921"/>
                  </a:cubicBezTo>
                  <a:cubicBezTo>
                    <a:pt x="1268" y="1919"/>
                    <a:pt x="1262" y="1907"/>
                    <a:pt x="1262" y="1907"/>
                  </a:cubicBezTo>
                  <a:cubicBezTo>
                    <a:pt x="1262" y="1907"/>
                    <a:pt x="1278" y="1910"/>
                    <a:pt x="1279" y="1903"/>
                  </a:cubicBezTo>
                  <a:cubicBezTo>
                    <a:pt x="1280" y="1896"/>
                    <a:pt x="1281" y="1885"/>
                    <a:pt x="1281" y="1885"/>
                  </a:cubicBezTo>
                  <a:cubicBezTo>
                    <a:pt x="1274" y="1882"/>
                    <a:pt x="1274" y="1882"/>
                    <a:pt x="1274" y="1882"/>
                  </a:cubicBezTo>
                  <a:cubicBezTo>
                    <a:pt x="1274" y="1882"/>
                    <a:pt x="1269" y="1868"/>
                    <a:pt x="1264" y="1860"/>
                  </a:cubicBezTo>
                  <a:cubicBezTo>
                    <a:pt x="1259" y="1852"/>
                    <a:pt x="1240" y="1848"/>
                    <a:pt x="1240" y="1848"/>
                  </a:cubicBezTo>
                  <a:cubicBezTo>
                    <a:pt x="1240" y="1833"/>
                    <a:pt x="1240" y="1833"/>
                    <a:pt x="1240" y="1833"/>
                  </a:cubicBezTo>
                  <a:cubicBezTo>
                    <a:pt x="1240" y="1833"/>
                    <a:pt x="1232" y="1829"/>
                    <a:pt x="1223" y="1818"/>
                  </a:cubicBezTo>
                  <a:cubicBezTo>
                    <a:pt x="1214" y="1807"/>
                    <a:pt x="1226" y="1793"/>
                    <a:pt x="1221" y="1780"/>
                  </a:cubicBezTo>
                  <a:cubicBezTo>
                    <a:pt x="1216" y="1767"/>
                    <a:pt x="1195" y="1753"/>
                    <a:pt x="1195" y="1753"/>
                  </a:cubicBezTo>
                  <a:cubicBezTo>
                    <a:pt x="1195" y="1753"/>
                    <a:pt x="1186" y="1752"/>
                    <a:pt x="1177" y="1747"/>
                  </a:cubicBezTo>
                  <a:cubicBezTo>
                    <a:pt x="1168" y="1742"/>
                    <a:pt x="1190" y="1721"/>
                    <a:pt x="1190" y="1721"/>
                  </a:cubicBezTo>
                  <a:cubicBezTo>
                    <a:pt x="1190" y="1721"/>
                    <a:pt x="1205" y="1708"/>
                    <a:pt x="1208" y="1701"/>
                  </a:cubicBezTo>
                  <a:cubicBezTo>
                    <a:pt x="1211" y="1694"/>
                    <a:pt x="1197" y="1679"/>
                    <a:pt x="1197" y="1679"/>
                  </a:cubicBezTo>
                  <a:cubicBezTo>
                    <a:pt x="1197" y="1679"/>
                    <a:pt x="1211" y="1685"/>
                    <a:pt x="1214" y="1685"/>
                  </a:cubicBezTo>
                  <a:cubicBezTo>
                    <a:pt x="1217" y="1685"/>
                    <a:pt x="1229" y="1684"/>
                    <a:pt x="1232" y="1678"/>
                  </a:cubicBezTo>
                  <a:cubicBezTo>
                    <a:pt x="1235" y="1672"/>
                    <a:pt x="1238" y="1678"/>
                    <a:pt x="1250" y="1676"/>
                  </a:cubicBezTo>
                  <a:cubicBezTo>
                    <a:pt x="1262" y="1674"/>
                    <a:pt x="1245" y="1661"/>
                    <a:pt x="1245" y="1661"/>
                  </a:cubicBezTo>
                  <a:cubicBezTo>
                    <a:pt x="1245" y="1661"/>
                    <a:pt x="1261" y="1662"/>
                    <a:pt x="1264" y="1662"/>
                  </a:cubicBezTo>
                  <a:cubicBezTo>
                    <a:pt x="1266" y="1662"/>
                    <a:pt x="1265" y="1652"/>
                    <a:pt x="1264" y="1649"/>
                  </a:cubicBezTo>
                  <a:cubicBezTo>
                    <a:pt x="1257" y="1647"/>
                    <a:pt x="1231" y="1638"/>
                    <a:pt x="1231" y="1631"/>
                  </a:cubicBezTo>
                  <a:cubicBezTo>
                    <a:pt x="1231" y="1623"/>
                    <a:pt x="1254" y="1632"/>
                    <a:pt x="1254" y="1624"/>
                  </a:cubicBezTo>
                  <a:cubicBezTo>
                    <a:pt x="1254" y="1616"/>
                    <a:pt x="1215" y="1576"/>
                    <a:pt x="1210" y="1574"/>
                  </a:cubicBezTo>
                  <a:cubicBezTo>
                    <a:pt x="1205" y="1571"/>
                    <a:pt x="1181" y="1580"/>
                    <a:pt x="1169" y="1575"/>
                  </a:cubicBezTo>
                  <a:cubicBezTo>
                    <a:pt x="1157" y="1570"/>
                    <a:pt x="1171" y="1555"/>
                    <a:pt x="1159" y="1550"/>
                  </a:cubicBezTo>
                  <a:cubicBezTo>
                    <a:pt x="1147" y="1544"/>
                    <a:pt x="1137" y="1554"/>
                    <a:pt x="1137" y="1538"/>
                  </a:cubicBezTo>
                  <a:cubicBezTo>
                    <a:pt x="1137" y="1522"/>
                    <a:pt x="1145" y="1510"/>
                    <a:pt x="1145" y="1502"/>
                  </a:cubicBezTo>
                  <a:cubicBezTo>
                    <a:pt x="1145" y="1494"/>
                    <a:pt x="1139" y="1488"/>
                    <a:pt x="1139" y="1488"/>
                  </a:cubicBezTo>
                  <a:cubicBezTo>
                    <a:pt x="1137" y="1464"/>
                    <a:pt x="1137" y="1464"/>
                    <a:pt x="1137" y="1464"/>
                  </a:cubicBezTo>
                  <a:cubicBezTo>
                    <a:pt x="1137" y="1464"/>
                    <a:pt x="1150" y="1467"/>
                    <a:pt x="1150" y="1459"/>
                  </a:cubicBezTo>
                  <a:cubicBezTo>
                    <a:pt x="1150" y="1451"/>
                    <a:pt x="1142" y="1432"/>
                    <a:pt x="1154" y="1431"/>
                  </a:cubicBezTo>
                  <a:cubicBezTo>
                    <a:pt x="1166" y="1430"/>
                    <a:pt x="1194" y="1472"/>
                    <a:pt x="1209" y="1458"/>
                  </a:cubicBezTo>
                  <a:cubicBezTo>
                    <a:pt x="1223" y="1443"/>
                    <a:pt x="1205" y="1428"/>
                    <a:pt x="1205" y="1428"/>
                  </a:cubicBezTo>
                  <a:cubicBezTo>
                    <a:pt x="1223" y="1419"/>
                    <a:pt x="1223" y="1419"/>
                    <a:pt x="1223" y="1419"/>
                  </a:cubicBezTo>
                  <a:cubicBezTo>
                    <a:pt x="1223" y="1404"/>
                    <a:pt x="1223" y="1404"/>
                    <a:pt x="1223" y="1404"/>
                  </a:cubicBezTo>
                  <a:cubicBezTo>
                    <a:pt x="1223" y="1404"/>
                    <a:pt x="1251" y="1399"/>
                    <a:pt x="1259" y="1388"/>
                  </a:cubicBezTo>
                  <a:cubicBezTo>
                    <a:pt x="1267" y="1378"/>
                    <a:pt x="1245" y="1370"/>
                    <a:pt x="1267" y="1368"/>
                  </a:cubicBezTo>
                  <a:cubicBezTo>
                    <a:pt x="1290" y="1367"/>
                    <a:pt x="1282" y="1380"/>
                    <a:pt x="1298" y="1380"/>
                  </a:cubicBezTo>
                  <a:cubicBezTo>
                    <a:pt x="1314" y="1380"/>
                    <a:pt x="1327" y="1367"/>
                    <a:pt x="1334" y="1367"/>
                  </a:cubicBezTo>
                  <a:cubicBezTo>
                    <a:pt x="1341" y="1367"/>
                    <a:pt x="1342" y="1380"/>
                    <a:pt x="1351" y="1382"/>
                  </a:cubicBezTo>
                  <a:cubicBezTo>
                    <a:pt x="1361" y="1383"/>
                    <a:pt x="1385" y="1378"/>
                    <a:pt x="1389" y="1382"/>
                  </a:cubicBezTo>
                  <a:cubicBezTo>
                    <a:pt x="1393" y="1386"/>
                    <a:pt x="1395" y="1398"/>
                    <a:pt x="1395" y="1398"/>
                  </a:cubicBezTo>
                  <a:cubicBezTo>
                    <a:pt x="1419" y="1396"/>
                    <a:pt x="1419" y="1396"/>
                    <a:pt x="1419" y="1396"/>
                  </a:cubicBezTo>
                  <a:cubicBezTo>
                    <a:pt x="1426" y="1416"/>
                    <a:pt x="1426" y="1416"/>
                    <a:pt x="1426" y="1416"/>
                  </a:cubicBezTo>
                  <a:cubicBezTo>
                    <a:pt x="1426" y="1416"/>
                    <a:pt x="1434" y="1436"/>
                    <a:pt x="1442" y="1430"/>
                  </a:cubicBezTo>
                  <a:cubicBezTo>
                    <a:pt x="1450" y="1423"/>
                    <a:pt x="1427" y="1406"/>
                    <a:pt x="1438" y="1403"/>
                  </a:cubicBezTo>
                  <a:cubicBezTo>
                    <a:pt x="1449" y="1400"/>
                    <a:pt x="1490" y="1431"/>
                    <a:pt x="1493" y="1427"/>
                  </a:cubicBezTo>
                  <a:cubicBezTo>
                    <a:pt x="1495" y="1423"/>
                    <a:pt x="1513" y="1403"/>
                    <a:pt x="1522" y="1402"/>
                  </a:cubicBezTo>
                  <a:cubicBezTo>
                    <a:pt x="1531" y="1400"/>
                    <a:pt x="1542" y="1416"/>
                    <a:pt x="1558" y="1412"/>
                  </a:cubicBezTo>
                  <a:cubicBezTo>
                    <a:pt x="1574" y="1408"/>
                    <a:pt x="1585" y="1399"/>
                    <a:pt x="1593" y="1400"/>
                  </a:cubicBezTo>
                  <a:cubicBezTo>
                    <a:pt x="1601" y="1402"/>
                    <a:pt x="1613" y="1423"/>
                    <a:pt x="1623" y="1424"/>
                  </a:cubicBezTo>
                  <a:cubicBezTo>
                    <a:pt x="1634" y="1426"/>
                    <a:pt x="1657" y="1430"/>
                    <a:pt x="1657" y="1430"/>
                  </a:cubicBezTo>
                  <a:cubicBezTo>
                    <a:pt x="1663" y="1414"/>
                    <a:pt x="1663" y="1414"/>
                    <a:pt x="1663" y="1414"/>
                  </a:cubicBezTo>
                  <a:cubicBezTo>
                    <a:pt x="1663" y="1414"/>
                    <a:pt x="1723" y="1444"/>
                    <a:pt x="1719" y="1406"/>
                  </a:cubicBezTo>
                  <a:cubicBezTo>
                    <a:pt x="1715" y="1367"/>
                    <a:pt x="1665" y="1370"/>
                    <a:pt x="1665" y="1370"/>
                  </a:cubicBezTo>
                  <a:cubicBezTo>
                    <a:pt x="1642" y="1350"/>
                    <a:pt x="1642" y="1350"/>
                    <a:pt x="1642" y="1350"/>
                  </a:cubicBezTo>
                  <a:cubicBezTo>
                    <a:pt x="1642" y="1350"/>
                    <a:pt x="1675" y="1344"/>
                    <a:pt x="1677" y="1338"/>
                  </a:cubicBezTo>
                  <a:cubicBezTo>
                    <a:pt x="1678" y="1331"/>
                    <a:pt x="1665" y="1314"/>
                    <a:pt x="1665" y="1314"/>
                  </a:cubicBezTo>
                  <a:cubicBezTo>
                    <a:pt x="1671" y="1303"/>
                    <a:pt x="1671" y="1303"/>
                    <a:pt x="1671" y="1303"/>
                  </a:cubicBezTo>
                  <a:cubicBezTo>
                    <a:pt x="1671" y="1303"/>
                    <a:pt x="1709" y="1310"/>
                    <a:pt x="1709" y="1303"/>
                  </a:cubicBezTo>
                  <a:cubicBezTo>
                    <a:pt x="1709" y="1296"/>
                    <a:pt x="1666" y="1288"/>
                    <a:pt x="1666" y="1288"/>
                  </a:cubicBezTo>
                  <a:cubicBezTo>
                    <a:pt x="1677" y="1276"/>
                    <a:pt x="1677" y="1276"/>
                    <a:pt x="1677" y="1276"/>
                  </a:cubicBezTo>
                  <a:cubicBezTo>
                    <a:pt x="1658" y="1275"/>
                    <a:pt x="1658" y="1275"/>
                    <a:pt x="1658" y="1275"/>
                  </a:cubicBezTo>
                  <a:cubicBezTo>
                    <a:pt x="1658" y="1275"/>
                    <a:pt x="1642" y="1256"/>
                    <a:pt x="1687" y="1250"/>
                  </a:cubicBezTo>
                  <a:cubicBezTo>
                    <a:pt x="1733" y="1243"/>
                    <a:pt x="1765" y="1244"/>
                    <a:pt x="1765" y="1244"/>
                  </a:cubicBezTo>
                  <a:cubicBezTo>
                    <a:pt x="1769" y="1232"/>
                    <a:pt x="1769" y="1232"/>
                    <a:pt x="1769" y="1232"/>
                  </a:cubicBezTo>
                  <a:cubicBezTo>
                    <a:pt x="1811" y="1232"/>
                    <a:pt x="1811" y="1232"/>
                    <a:pt x="1811" y="1232"/>
                  </a:cubicBezTo>
                  <a:cubicBezTo>
                    <a:pt x="1811" y="1232"/>
                    <a:pt x="1811" y="1216"/>
                    <a:pt x="1819" y="1216"/>
                  </a:cubicBezTo>
                  <a:cubicBezTo>
                    <a:pt x="1827" y="1216"/>
                    <a:pt x="1855" y="1220"/>
                    <a:pt x="1877" y="1215"/>
                  </a:cubicBezTo>
                  <a:cubicBezTo>
                    <a:pt x="1898" y="1210"/>
                    <a:pt x="1918" y="1203"/>
                    <a:pt x="1918" y="1203"/>
                  </a:cubicBezTo>
                  <a:cubicBezTo>
                    <a:pt x="1918" y="1203"/>
                    <a:pt x="1915" y="1183"/>
                    <a:pt x="1949" y="1182"/>
                  </a:cubicBezTo>
                  <a:cubicBezTo>
                    <a:pt x="1982" y="1180"/>
                    <a:pt x="1995" y="1191"/>
                    <a:pt x="2001" y="1191"/>
                  </a:cubicBezTo>
                  <a:cubicBezTo>
                    <a:pt x="2006" y="1191"/>
                    <a:pt x="2013" y="1182"/>
                    <a:pt x="2021" y="1187"/>
                  </a:cubicBezTo>
                  <a:cubicBezTo>
                    <a:pt x="2029" y="1192"/>
                    <a:pt x="2034" y="1210"/>
                    <a:pt x="2034" y="1210"/>
                  </a:cubicBezTo>
                  <a:cubicBezTo>
                    <a:pt x="2034" y="1210"/>
                    <a:pt x="2046" y="1210"/>
                    <a:pt x="2046" y="1216"/>
                  </a:cubicBezTo>
                  <a:cubicBezTo>
                    <a:pt x="2046" y="1223"/>
                    <a:pt x="2045" y="1244"/>
                    <a:pt x="2050" y="1244"/>
                  </a:cubicBezTo>
                  <a:cubicBezTo>
                    <a:pt x="2055" y="1244"/>
                    <a:pt x="2083" y="1240"/>
                    <a:pt x="2083" y="1240"/>
                  </a:cubicBezTo>
                  <a:cubicBezTo>
                    <a:pt x="2090" y="1230"/>
                    <a:pt x="2090" y="1230"/>
                    <a:pt x="2090" y="1230"/>
                  </a:cubicBezTo>
                  <a:cubicBezTo>
                    <a:pt x="2109" y="1251"/>
                    <a:pt x="2109" y="1251"/>
                    <a:pt x="2109" y="1251"/>
                  </a:cubicBezTo>
                  <a:cubicBezTo>
                    <a:pt x="2122" y="1243"/>
                    <a:pt x="2122" y="1243"/>
                    <a:pt x="2122" y="1243"/>
                  </a:cubicBezTo>
                  <a:cubicBezTo>
                    <a:pt x="2139" y="1254"/>
                    <a:pt x="2139" y="1254"/>
                    <a:pt x="2139" y="1254"/>
                  </a:cubicBezTo>
                  <a:cubicBezTo>
                    <a:pt x="2139" y="1254"/>
                    <a:pt x="2145" y="1242"/>
                    <a:pt x="2154" y="1251"/>
                  </a:cubicBezTo>
                  <a:cubicBezTo>
                    <a:pt x="2163" y="1260"/>
                    <a:pt x="2142" y="1276"/>
                    <a:pt x="2153" y="1278"/>
                  </a:cubicBezTo>
                  <a:cubicBezTo>
                    <a:pt x="2163" y="1279"/>
                    <a:pt x="2165" y="1266"/>
                    <a:pt x="2171" y="1268"/>
                  </a:cubicBezTo>
                  <a:cubicBezTo>
                    <a:pt x="2178" y="1271"/>
                    <a:pt x="2193" y="1287"/>
                    <a:pt x="2201" y="1280"/>
                  </a:cubicBezTo>
                  <a:cubicBezTo>
                    <a:pt x="2209" y="1274"/>
                    <a:pt x="2201" y="1266"/>
                    <a:pt x="2207" y="1262"/>
                  </a:cubicBezTo>
                  <a:cubicBezTo>
                    <a:pt x="2214" y="1258"/>
                    <a:pt x="2222" y="1256"/>
                    <a:pt x="2222" y="1256"/>
                  </a:cubicBezTo>
                  <a:cubicBezTo>
                    <a:pt x="2231" y="1246"/>
                    <a:pt x="2231" y="1246"/>
                    <a:pt x="2231" y="1246"/>
                  </a:cubicBezTo>
                  <a:cubicBezTo>
                    <a:pt x="2255" y="1238"/>
                    <a:pt x="2255" y="1238"/>
                    <a:pt x="2255" y="1238"/>
                  </a:cubicBezTo>
                  <a:cubicBezTo>
                    <a:pt x="2255" y="1238"/>
                    <a:pt x="2267" y="1216"/>
                    <a:pt x="2275" y="1227"/>
                  </a:cubicBezTo>
                  <a:cubicBezTo>
                    <a:pt x="2283" y="1238"/>
                    <a:pt x="2263" y="1250"/>
                    <a:pt x="2263" y="1250"/>
                  </a:cubicBezTo>
                  <a:cubicBezTo>
                    <a:pt x="2263" y="1250"/>
                    <a:pt x="2331" y="1282"/>
                    <a:pt x="2337" y="1284"/>
                  </a:cubicBezTo>
                  <a:cubicBezTo>
                    <a:pt x="2342" y="1287"/>
                    <a:pt x="2414" y="1354"/>
                    <a:pt x="2429" y="1367"/>
                  </a:cubicBezTo>
                  <a:cubicBezTo>
                    <a:pt x="2443" y="1380"/>
                    <a:pt x="2467" y="1419"/>
                    <a:pt x="2485" y="1416"/>
                  </a:cubicBezTo>
                  <a:cubicBezTo>
                    <a:pt x="2502" y="1414"/>
                    <a:pt x="2498" y="1384"/>
                    <a:pt x="2509" y="1387"/>
                  </a:cubicBezTo>
                  <a:cubicBezTo>
                    <a:pt x="2519" y="1390"/>
                    <a:pt x="2515" y="1406"/>
                    <a:pt x="2519" y="1407"/>
                  </a:cubicBezTo>
                  <a:cubicBezTo>
                    <a:pt x="2523" y="1408"/>
                    <a:pt x="2541" y="1410"/>
                    <a:pt x="2541" y="1410"/>
                  </a:cubicBezTo>
                  <a:cubicBezTo>
                    <a:pt x="2541" y="1410"/>
                    <a:pt x="2555" y="1426"/>
                    <a:pt x="2567" y="1424"/>
                  </a:cubicBezTo>
                  <a:cubicBezTo>
                    <a:pt x="2579" y="1423"/>
                    <a:pt x="2595" y="1402"/>
                    <a:pt x="2618" y="1406"/>
                  </a:cubicBezTo>
                  <a:cubicBezTo>
                    <a:pt x="2641" y="1410"/>
                    <a:pt x="2662" y="1439"/>
                    <a:pt x="2662" y="1439"/>
                  </a:cubicBezTo>
                  <a:cubicBezTo>
                    <a:pt x="2662" y="1439"/>
                    <a:pt x="2697" y="1444"/>
                    <a:pt x="2698" y="1448"/>
                  </a:cubicBezTo>
                  <a:cubicBezTo>
                    <a:pt x="2699" y="1452"/>
                    <a:pt x="2715" y="1480"/>
                    <a:pt x="2715" y="1480"/>
                  </a:cubicBezTo>
                  <a:cubicBezTo>
                    <a:pt x="2762" y="1484"/>
                    <a:pt x="2762" y="1484"/>
                    <a:pt x="2762" y="1484"/>
                  </a:cubicBezTo>
                  <a:cubicBezTo>
                    <a:pt x="2773" y="1462"/>
                    <a:pt x="2773" y="1462"/>
                    <a:pt x="2773" y="1462"/>
                  </a:cubicBezTo>
                  <a:cubicBezTo>
                    <a:pt x="2786" y="1478"/>
                    <a:pt x="2786" y="1478"/>
                    <a:pt x="2786" y="1478"/>
                  </a:cubicBezTo>
                  <a:cubicBezTo>
                    <a:pt x="2810" y="1504"/>
                    <a:pt x="2810" y="1504"/>
                    <a:pt x="2810" y="1504"/>
                  </a:cubicBezTo>
                  <a:cubicBezTo>
                    <a:pt x="2815" y="1505"/>
                    <a:pt x="2819" y="1506"/>
                    <a:pt x="2819" y="1506"/>
                  </a:cubicBezTo>
                  <a:cubicBezTo>
                    <a:pt x="2819" y="1506"/>
                    <a:pt x="2832" y="1499"/>
                    <a:pt x="2840" y="1503"/>
                  </a:cubicBezTo>
                  <a:cubicBezTo>
                    <a:pt x="2847" y="1496"/>
                    <a:pt x="2847" y="1496"/>
                    <a:pt x="2847" y="1496"/>
                  </a:cubicBezTo>
                  <a:cubicBezTo>
                    <a:pt x="2846" y="1484"/>
                    <a:pt x="2846" y="1484"/>
                    <a:pt x="2846" y="1484"/>
                  </a:cubicBezTo>
                  <a:cubicBezTo>
                    <a:pt x="2887" y="1484"/>
                    <a:pt x="2887" y="1484"/>
                    <a:pt x="2887" y="1484"/>
                  </a:cubicBezTo>
                  <a:cubicBezTo>
                    <a:pt x="2885" y="1475"/>
                    <a:pt x="2885" y="1475"/>
                    <a:pt x="2885" y="1475"/>
                  </a:cubicBezTo>
                  <a:cubicBezTo>
                    <a:pt x="2901" y="1475"/>
                    <a:pt x="2901" y="1475"/>
                    <a:pt x="2901" y="1475"/>
                  </a:cubicBezTo>
                  <a:cubicBezTo>
                    <a:pt x="2901" y="1475"/>
                    <a:pt x="2892" y="1473"/>
                    <a:pt x="2901" y="1463"/>
                  </a:cubicBezTo>
                  <a:cubicBezTo>
                    <a:pt x="2910" y="1453"/>
                    <a:pt x="2921" y="1445"/>
                    <a:pt x="2921" y="1445"/>
                  </a:cubicBezTo>
                  <a:cubicBezTo>
                    <a:pt x="2930" y="1446"/>
                    <a:pt x="2930" y="1446"/>
                    <a:pt x="2930" y="1446"/>
                  </a:cubicBezTo>
                  <a:cubicBezTo>
                    <a:pt x="2941" y="1433"/>
                    <a:pt x="2941" y="1433"/>
                    <a:pt x="2941" y="1433"/>
                  </a:cubicBezTo>
                  <a:cubicBezTo>
                    <a:pt x="2957" y="1433"/>
                    <a:pt x="2957" y="1433"/>
                    <a:pt x="2957" y="1433"/>
                  </a:cubicBezTo>
                  <a:cubicBezTo>
                    <a:pt x="2957" y="1433"/>
                    <a:pt x="2958" y="1416"/>
                    <a:pt x="2965" y="1416"/>
                  </a:cubicBezTo>
                  <a:cubicBezTo>
                    <a:pt x="2972" y="1416"/>
                    <a:pt x="2981" y="1422"/>
                    <a:pt x="2981" y="1422"/>
                  </a:cubicBezTo>
                  <a:cubicBezTo>
                    <a:pt x="2993" y="1415"/>
                    <a:pt x="2993" y="1415"/>
                    <a:pt x="2993" y="1415"/>
                  </a:cubicBezTo>
                  <a:cubicBezTo>
                    <a:pt x="2993" y="1415"/>
                    <a:pt x="2993" y="1420"/>
                    <a:pt x="2996" y="1420"/>
                  </a:cubicBezTo>
                  <a:cubicBezTo>
                    <a:pt x="2999" y="1420"/>
                    <a:pt x="3015" y="1420"/>
                    <a:pt x="3015" y="1420"/>
                  </a:cubicBezTo>
                  <a:cubicBezTo>
                    <a:pt x="3020" y="1431"/>
                    <a:pt x="3020" y="1431"/>
                    <a:pt x="3020" y="1431"/>
                  </a:cubicBezTo>
                  <a:cubicBezTo>
                    <a:pt x="3020" y="1431"/>
                    <a:pt x="3064" y="1427"/>
                    <a:pt x="3071" y="1427"/>
                  </a:cubicBezTo>
                  <a:cubicBezTo>
                    <a:pt x="3078" y="1427"/>
                    <a:pt x="3076" y="1440"/>
                    <a:pt x="3085" y="1447"/>
                  </a:cubicBezTo>
                  <a:cubicBezTo>
                    <a:pt x="3094" y="1454"/>
                    <a:pt x="3116" y="1452"/>
                    <a:pt x="3116" y="1452"/>
                  </a:cubicBezTo>
                  <a:cubicBezTo>
                    <a:pt x="3118" y="1461"/>
                    <a:pt x="3118" y="1461"/>
                    <a:pt x="3118" y="1461"/>
                  </a:cubicBezTo>
                  <a:cubicBezTo>
                    <a:pt x="3137" y="1458"/>
                    <a:pt x="3137" y="1458"/>
                    <a:pt x="3137" y="1458"/>
                  </a:cubicBezTo>
                  <a:cubicBezTo>
                    <a:pt x="3139" y="1463"/>
                    <a:pt x="3139" y="1463"/>
                    <a:pt x="3139" y="1463"/>
                  </a:cubicBezTo>
                  <a:cubicBezTo>
                    <a:pt x="3139" y="1463"/>
                    <a:pt x="3141" y="1457"/>
                    <a:pt x="3152" y="1456"/>
                  </a:cubicBezTo>
                  <a:cubicBezTo>
                    <a:pt x="3163" y="1455"/>
                    <a:pt x="3172" y="1456"/>
                    <a:pt x="3172" y="1456"/>
                  </a:cubicBezTo>
                  <a:cubicBezTo>
                    <a:pt x="3173" y="1464"/>
                    <a:pt x="3173" y="1464"/>
                    <a:pt x="3173" y="1464"/>
                  </a:cubicBezTo>
                  <a:cubicBezTo>
                    <a:pt x="3203" y="1462"/>
                    <a:pt x="3203" y="1462"/>
                    <a:pt x="3203" y="1462"/>
                  </a:cubicBezTo>
                  <a:cubicBezTo>
                    <a:pt x="3203" y="1462"/>
                    <a:pt x="3197" y="1478"/>
                    <a:pt x="3214" y="1470"/>
                  </a:cubicBezTo>
                  <a:cubicBezTo>
                    <a:pt x="3231" y="1462"/>
                    <a:pt x="3229" y="1455"/>
                    <a:pt x="3229" y="1455"/>
                  </a:cubicBezTo>
                  <a:cubicBezTo>
                    <a:pt x="3229" y="1455"/>
                    <a:pt x="3241" y="1465"/>
                    <a:pt x="3241" y="1447"/>
                  </a:cubicBezTo>
                  <a:cubicBezTo>
                    <a:pt x="3241" y="1429"/>
                    <a:pt x="3226" y="1429"/>
                    <a:pt x="3226" y="1429"/>
                  </a:cubicBezTo>
                  <a:cubicBezTo>
                    <a:pt x="3210" y="1405"/>
                    <a:pt x="3210" y="1405"/>
                    <a:pt x="3210" y="1405"/>
                  </a:cubicBezTo>
                  <a:cubicBezTo>
                    <a:pt x="3206" y="1391"/>
                    <a:pt x="3206" y="1391"/>
                    <a:pt x="3206" y="1391"/>
                  </a:cubicBezTo>
                  <a:cubicBezTo>
                    <a:pt x="3206" y="1391"/>
                    <a:pt x="3200" y="1388"/>
                    <a:pt x="3200" y="1382"/>
                  </a:cubicBezTo>
                  <a:cubicBezTo>
                    <a:pt x="3200" y="1376"/>
                    <a:pt x="3211" y="1378"/>
                    <a:pt x="3211" y="1378"/>
                  </a:cubicBezTo>
                  <a:cubicBezTo>
                    <a:pt x="3209" y="1367"/>
                    <a:pt x="3209" y="1367"/>
                    <a:pt x="3209" y="1367"/>
                  </a:cubicBezTo>
                  <a:cubicBezTo>
                    <a:pt x="3209" y="1367"/>
                    <a:pt x="3213" y="1369"/>
                    <a:pt x="3218" y="1363"/>
                  </a:cubicBezTo>
                  <a:cubicBezTo>
                    <a:pt x="3223" y="1357"/>
                    <a:pt x="3222" y="1345"/>
                    <a:pt x="3222" y="1345"/>
                  </a:cubicBezTo>
                  <a:cubicBezTo>
                    <a:pt x="3231" y="1347"/>
                    <a:pt x="3231" y="1347"/>
                    <a:pt x="3231" y="1347"/>
                  </a:cubicBezTo>
                  <a:cubicBezTo>
                    <a:pt x="3231" y="1347"/>
                    <a:pt x="3254" y="1364"/>
                    <a:pt x="3272" y="1366"/>
                  </a:cubicBezTo>
                  <a:cubicBezTo>
                    <a:pt x="3290" y="1368"/>
                    <a:pt x="3310" y="1367"/>
                    <a:pt x="3310" y="1367"/>
                  </a:cubicBezTo>
                  <a:cubicBezTo>
                    <a:pt x="3310" y="1367"/>
                    <a:pt x="3329" y="1381"/>
                    <a:pt x="3339" y="1383"/>
                  </a:cubicBezTo>
                  <a:cubicBezTo>
                    <a:pt x="3349" y="1385"/>
                    <a:pt x="3361" y="1372"/>
                    <a:pt x="3370" y="1383"/>
                  </a:cubicBezTo>
                  <a:cubicBezTo>
                    <a:pt x="3379" y="1394"/>
                    <a:pt x="3401" y="1428"/>
                    <a:pt x="3401" y="1428"/>
                  </a:cubicBezTo>
                  <a:cubicBezTo>
                    <a:pt x="3416" y="1425"/>
                    <a:pt x="3416" y="1425"/>
                    <a:pt x="3416" y="1425"/>
                  </a:cubicBezTo>
                  <a:cubicBezTo>
                    <a:pt x="3416" y="1425"/>
                    <a:pt x="3418" y="1441"/>
                    <a:pt x="3428" y="1441"/>
                  </a:cubicBezTo>
                  <a:cubicBezTo>
                    <a:pt x="3438" y="1441"/>
                    <a:pt x="3445" y="1440"/>
                    <a:pt x="3445" y="1440"/>
                  </a:cubicBezTo>
                  <a:cubicBezTo>
                    <a:pt x="3445" y="1440"/>
                    <a:pt x="3462" y="1450"/>
                    <a:pt x="3475" y="1449"/>
                  </a:cubicBezTo>
                  <a:cubicBezTo>
                    <a:pt x="3488" y="1448"/>
                    <a:pt x="3506" y="1430"/>
                    <a:pt x="3535" y="1432"/>
                  </a:cubicBezTo>
                  <a:cubicBezTo>
                    <a:pt x="3564" y="1434"/>
                    <a:pt x="3566" y="1442"/>
                    <a:pt x="3566" y="1442"/>
                  </a:cubicBezTo>
                  <a:cubicBezTo>
                    <a:pt x="3593" y="1439"/>
                    <a:pt x="3593" y="1439"/>
                    <a:pt x="3593" y="1439"/>
                  </a:cubicBezTo>
                  <a:cubicBezTo>
                    <a:pt x="3593" y="1439"/>
                    <a:pt x="3604" y="1458"/>
                    <a:pt x="3616" y="1458"/>
                  </a:cubicBezTo>
                  <a:cubicBezTo>
                    <a:pt x="3628" y="1458"/>
                    <a:pt x="3647" y="1458"/>
                    <a:pt x="3650" y="1459"/>
                  </a:cubicBezTo>
                  <a:cubicBezTo>
                    <a:pt x="3653" y="1460"/>
                    <a:pt x="3661" y="1479"/>
                    <a:pt x="3664" y="1478"/>
                  </a:cubicBezTo>
                  <a:cubicBezTo>
                    <a:pt x="3667" y="1477"/>
                    <a:pt x="3678" y="1480"/>
                    <a:pt x="3678" y="1480"/>
                  </a:cubicBezTo>
                  <a:cubicBezTo>
                    <a:pt x="3678" y="1480"/>
                    <a:pt x="3673" y="1491"/>
                    <a:pt x="3693" y="1493"/>
                  </a:cubicBezTo>
                  <a:cubicBezTo>
                    <a:pt x="3713" y="1495"/>
                    <a:pt x="3723" y="1492"/>
                    <a:pt x="3723" y="1492"/>
                  </a:cubicBezTo>
                  <a:cubicBezTo>
                    <a:pt x="3723" y="1492"/>
                    <a:pt x="3730" y="1495"/>
                    <a:pt x="3733" y="1498"/>
                  </a:cubicBezTo>
                  <a:cubicBezTo>
                    <a:pt x="3736" y="1501"/>
                    <a:pt x="3760" y="1501"/>
                    <a:pt x="3760" y="1501"/>
                  </a:cubicBezTo>
                  <a:cubicBezTo>
                    <a:pt x="3760" y="1501"/>
                    <a:pt x="3772" y="1494"/>
                    <a:pt x="3776" y="1496"/>
                  </a:cubicBezTo>
                  <a:cubicBezTo>
                    <a:pt x="3780" y="1498"/>
                    <a:pt x="3788" y="1507"/>
                    <a:pt x="3793" y="1501"/>
                  </a:cubicBezTo>
                  <a:cubicBezTo>
                    <a:pt x="3798" y="1495"/>
                    <a:pt x="3796" y="1490"/>
                    <a:pt x="3805" y="1488"/>
                  </a:cubicBezTo>
                  <a:cubicBezTo>
                    <a:pt x="3814" y="1486"/>
                    <a:pt x="3831" y="1487"/>
                    <a:pt x="3831" y="1487"/>
                  </a:cubicBezTo>
                  <a:cubicBezTo>
                    <a:pt x="3841" y="1482"/>
                    <a:pt x="3841" y="1482"/>
                    <a:pt x="3841" y="1482"/>
                  </a:cubicBezTo>
                  <a:cubicBezTo>
                    <a:pt x="3841" y="1482"/>
                    <a:pt x="3853" y="1485"/>
                    <a:pt x="3863" y="1481"/>
                  </a:cubicBezTo>
                  <a:cubicBezTo>
                    <a:pt x="3873" y="1477"/>
                    <a:pt x="3870" y="1466"/>
                    <a:pt x="3870" y="1466"/>
                  </a:cubicBezTo>
                  <a:cubicBezTo>
                    <a:pt x="3893" y="1443"/>
                    <a:pt x="3893" y="1443"/>
                    <a:pt x="3893" y="1443"/>
                  </a:cubicBezTo>
                  <a:cubicBezTo>
                    <a:pt x="3893" y="1443"/>
                    <a:pt x="3920" y="1447"/>
                    <a:pt x="3929" y="1447"/>
                  </a:cubicBezTo>
                  <a:cubicBezTo>
                    <a:pt x="3938" y="1447"/>
                    <a:pt x="3948" y="1463"/>
                    <a:pt x="3962" y="1463"/>
                  </a:cubicBezTo>
                  <a:cubicBezTo>
                    <a:pt x="3976" y="1463"/>
                    <a:pt x="3982" y="1456"/>
                    <a:pt x="3982" y="1456"/>
                  </a:cubicBezTo>
                  <a:cubicBezTo>
                    <a:pt x="4000" y="1459"/>
                    <a:pt x="4000" y="1459"/>
                    <a:pt x="4000" y="1459"/>
                  </a:cubicBezTo>
                  <a:cubicBezTo>
                    <a:pt x="4011" y="1462"/>
                    <a:pt x="4011" y="1462"/>
                    <a:pt x="4011" y="1462"/>
                  </a:cubicBezTo>
                  <a:cubicBezTo>
                    <a:pt x="4034" y="1476"/>
                    <a:pt x="4034" y="1476"/>
                    <a:pt x="4034" y="1476"/>
                  </a:cubicBezTo>
                  <a:cubicBezTo>
                    <a:pt x="4058" y="1477"/>
                    <a:pt x="4058" y="1477"/>
                    <a:pt x="4058" y="1477"/>
                  </a:cubicBezTo>
                  <a:cubicBezTo>
                    <a:pt x="4058" y="1477"/>
                    <a:pt x="4061" y="1482"/>
                    <a:pt x="4071" y="1482"/>
                  </a:cubicBezTo>
                  <a:cubicBezTo>
                    <a:pt x="4081" y="1482"/>
                    <a:pt x="4085" y="1460"/>
                    <a:pt x="4085" y="1460"/>
                  </a:cubicBezTo>
                  <a:cubicBezTo>
                    <a:pt x="4085" y="1460"/>
                    <a:pt x="4096" y="1465"/>
                    <a:pt x="4109" y="1457"/>
                  </a:cubicBezTo>
                  <a:cubicBezTo>
                    <a:pt x="4122" y="1449"/>
                    <a:pt x="4098" y="1439"/>
                    <a:pt x="4098" y="1439"/>
                  </a:cubicBezTo>
                  <a:cubicBezTo>
                    <a:pt x="4097" y="1414"/>
                    <a:pt x="4097" y="1414"/>
                    <a:pt x="4097" y="1414"/>
                  </a:cubicBezTo>
                  <a:cubicBezTo>
                    <a:pt x="4097" y="1395"/>
                    <a:pt x="4097" y="1395"/>
                    <a:pt x="4097" y="1395"/>
                  </a:cubicBezTo>
                  <a:cubicBezTo>
                    <a:pt x="4097" y="1395"/>
                    <a:pt x="4092" y="1377"/>
                    <a:pt x="4094" y="1368"/>
                  </a:cubicBezTo>
                  <a:cubicBezTo>
                    <a:pt x="4096" y="1359"/>
                    <a:pt x="4108" y="1354"/>
                    <a:pt x="4109" y="1348"/>
                  </a:cubicBezTo>
                  <a:cubicBezTo>
                    <a:pt x="4110" y="1342"/>
                    <a:pt x="4083" y="1327"/>
                    <a:pt x="4083" y="1327"/>
                  </a:cubicBezTo>
                  <a:cubicBezTo>
                    <a:pt x="4083" y="1327"/>
                    <a:pt x="4071" y="1325"/>
                    <a:pt x="4056" y="1322"/>
                  </a:cubicBezTo>
                  <a:cubicBezTo>
                    <a:pt x="4041" y="1319"/>
                    <a:pt x="4063" y="1304"/>
                    <a:pt x="4063" y="1304"/>
                  </a:cubicBezTo>
                  <a:cubicBezTo>
                    <a:pt x="4083" y="1284"/>
                    <a:pt x="4083" y="1284"/>
                    <a:pt x="4083" y="1284"/>
                  </a:cubicBezTo>
                  <a:cubicBezTo>
                    <a:pt x="4107" y="1281"/>
                    <a:pt x="4107" y="1281"/>
                    <a:pt x="4107" y="1281"/>
                  </a:cubicBezTo>
                  <a:cubicBezTo>
                    <a:pt x="4111" y="1273"/>
                    <a:pt x="4111" y="1273"/>
                    <a:pt x="4111" y="1273"/>
                  </a:cubicBezTo>
                  <a:cubicBezTo>
                    <a:pt x="4139" y="1275"/>
                    <a:pt x="4139" y="1275"/>
                    <a:pt x="4139" y="1275"/>
                  </a:cubicBezTo>
                  <a:cubicBezTo>
                    <a:pt x="4174" y="1268"/>
                    <a:pt x="4174" y="1268"/>
                    <a:pt x="4174" y="1268"/>
                  </a:cubicBezTo>
                  <a:cubicBezTo>
                    <a:pt x="4199" y="1281"/>
                    <a:pt x="4199" y="1281"/>
                    <a:pt x="4199" y="1281"/>
                  </a:cubicBezTo>
                  <a:cubicBezTo>
                    <a:pt x="4225" y="1298"/>
                    <a:pt x="4225" y="1298"/>
                    <a:pt x="4225" y="1298"/>
                  </a:cubicBezTo>
                  <a:cubicBezTo>
                    <a:pt x="4240" y="1295"/>
                    <a:pt x="4240" y="1295"/>
                    <a:pt x="4240" y="1295"/>
                  </a:cubicBezTo>
                  <a:cubicBezTo>
                    <a:pt x="4240" y="1295"/>
                    <a:pt x="4259" y="1296"/>
                    <a:pt x="4266" y="1297"/>
                  </a:cubicBezTo>
                  <a:cubicBezTo>
                    <a:pt x="4273" y="1298"/>
                    <a:pt x="4294" y="1312"/>
                    <a:pt x="4294" y="1312"/>
                  </a:cubicBezTo>
                  <a:cubicBezTo>
                    <a:pt x="4296" y="1321"/>
                    <a:pt x="4296" y="1321"/>
                    <a:pt x="4296" y="1321"/>
                  </a:cubicBezTo>
                  <a:cubicBezTo>
                    <a:pt x="4296" y="1321"/>
                    <a:pt x="4314" y="1331"/>
                    <a:pt x="4319" y="1335"/>
                  </a:cubicBezTo>
                  <a:cubicBezTo>
                    <a:pt x="4324" y="1339"/>
                    <a:pt x="4339" y="1344"/>
                    <a:pt x="4339" y="1344"/>
                  </a:cubicBezTo>
                  <a:cubicBezTo>
                    <a:pt x="4342" y="1363"/>
                    <a:pt x="4342" y="1363"/>
                    <a:pt x="4342" y="1363"/>
                  </a:cubicBezTo>
                  <a:cubicBezTo>
                    <a:pt x="4374" y="1380"/>
                    <a:pt x="4374" y="1380"/>
                    <a:pt x="4374" y="1380"/>
                  </a:cubicBezTo>
                  <a:cubicBezTo>
                    <a:pt x="4385" y="1402"/>
                    <a:pt x="4385" y="1402"/>
                    <a:pt x="4385" y="1402"/>
                  </a:cubicBezTo>
                  <a:cubicBezTo>
                    <a:pt x="4385" y="1402"/>
                    <a:pt x="4406" y="1404"/>
                    <a:pt x="4416" y="1413"/>
                  </a:cubicBezTo>
                  <a:cubicBezTo>
                    <a:pt x="4426" y="1422"/>
                    <a:pt x="4444" y="1446"/>
                    <a:pt x="4444" y="1446"/>
                  </a:cubicBezTo>
                  <a:cubicBezTo>
                    <a:pt x="4451" y="1446"/>
                    <a:pt x="4451" y="1446"/>
                    <a:pt x="4451" y="1446"/>
                  </a:cubicBezTo>
                  <a:cubicBezTo>
                    <a:pt x="4455" y="1462"/>
                    <a:pt x="4455" y="1462"/>
                    <a:pt x="4455" y="1462"/>
                  </a:cubicBezTo>
                  <a:cubicBezTo>
                    <a:pt x="4455" y="1462"/>
                    <a:pt x="4474" y="1472"/>
                    <a:pt x="4482" y="1477"/>
                  </a:cubicBezTo>
                  <a:cubicBezTo>
                    <a:pt x="4490" y="1482"/>
                    <a:pt x="4507" y="1481"/>
                    <a:pt x="4517" y="1479"/>
                  </a:cubicBezTo>
                  <a:cubicBezTo>
                    <a:pt x="4527" y="1477"/>
                    <a:pt x="4543" y="1493"/>
                    <a:pt x="4543" y="1493"/>
                  </a:cubicBezTo>
                  <a:cubicBezTo>
                    <a:pt x="4543" y="1493"/>
                    <a:pt x="4551" y="1486"/>
                    <a:pt x="4555" y="1486"/>
                  </a:cubicBezTo>
                  <a:cubicBezTo>
                    <a:pt x="4559" y="1486"/>
                    <a:pt x="4597" y="1514"/>
                    <a:pt x="4597" y="1514"/>
                  </a:cubicBezTo>
                  <a:cubicBezTo>
                    <a:pt x="4621" y="1514"/>
                    <a:pt x="4621" y="1514"/>
                    <a:pt x="4621" y="1514"/>
                  </a:cubicBezTo>
                  <a:cubicBezTo>
                    <a:pt x="4630" y="1533"/>
                    <a:pt x="4630" y="1533"/>
                    <a:pt x="4630" y="1533"/>
                  </a:cubicBezTo>
                  <a:cubicBezTo>
                    <a:pt x="4630" y="1533"/>
                    <a:pt x="4646" y="1534"/>
                    <a:pt x="4649" y="1541"/>
                  </a:cubicBezTo>
                  <a:cubicBezTo>
                    <a:pt x="4652" y="1548"/>
                    <a:pt x="4653" y="1556"/>
                    <a:pt x="4653" y="1556"/>
                  </a:cubicBezTo>
                  <a:cubicBezTo>
                    <a:pt x="4678" y="1576"/>
                    <a:pt x="4678" y="1576"/>
                    <a:pt x="4678" y="1576"/>
                  </a:cubicBezTo>
                  <a:cubicBezTo>
                    <a:pt x="4695" y="1572"/>
                    <a:pt x="4695" y="1572"/>
                    <a:pt x="4695" y="1572"/>
                  </a:cubicBezTo>
                  <a:cubicBezTo>
                    <a:pt x="4703" y="1582"/>
                    <a:pt x="4703" y="1582"/>
                    <a:pt x="4703" y="1582"/>
                  </a:cubicBezTo>
                  <a:cubicBezTo>
                    <a:pt x="4716" y="1581"/>
                    <a:pt x="4716" y="1581"/>
                    <a:pt x="4716" y="1581"/>
                  </a:cubicBezTo>
                  <a:cubicBezTo>
                    <a:pt x="4716" y="1574"/>
                    <a:pt x="4716" y="1574"/>
                    <a:pt x="4716" y="1574"/>
                  </a:cubicBezTo>
                  <a:cubicBezTo>
                    <a:pt x="4735" y="1576"/>
                    <a:pt x="4735" y="1576"/>
                    <a:pt x="4735" y="1576"/>
                  </a:cubicBezTo>
                  <a:cubicBezTo>
                    <a:pt x="4735" y="1576"/>
                    <a:pt x="4736" y="1565"/>
                    <a:pt x="4739" y="1560"/>
                  </a:cubicBezTo>
                  <a:cubicBezTo>
                    <a:pt x="4742" y="1555"/>
                    <a:pt x="4770" y="1556"/>
                    <a:pt x="4770" y="1556"/>
                  </a:cubicBezTo>
                  <a:cubicBezTo>
                    <a:pt x="4775" y="1542"/>
                    <a:pt x="4775" y="1542"/>
                    <a:pt x="4775" y="1542"/>
                  </a:cubicBezTo>
                  <a:cubicBezTo>
                    <a:pt x="4775" y="1542"/>
                    <a:pt x="4800" y="1536"/>
                    <a:pt x="4810" y="1544"/>
                  </a:cubicBezTo>
                  <a:cubicBezTo>
                    <a:pt x="4820" y="1552"/>
                    <a:pt x="4814" y="1565"/>
                    <a:pt x="4814" y="1565"/>
                  </a:cubicBezTo>
                  <a:cubicBezTo>
                    <a:pt x="4832" y="1573"/>
                    <a:pt x="4832" y="1573"/>
                    <a:pt x="4832" y="1573"/>
                  </a:cubicBezTo>
                  <a:cubicBezTo>
                    <a:pt x="4832" y="1593"/>
                    <a:pt x="4832" y="1593"/>
                    <a:pt x="4832" y="1593"/>
                  </a:cubicBezTo>
                  <a:cubicBezTo>
                    <a:pt x="4820" y="1598"/>
                    <a:pt x="4820" y="1598"/>
                    <a:pt x="4820" y="1598"/>
                  </a:cubicBezTo>
                  <a:cubicBezTo>
                    <a:pt x="4828" y="1608"/>
                    <a:pt x="4828" y="1608"/>
                    <a:pt x="4828" y="1608"/>
                  </a:cubicBezTo>
                  <a:cubicBezTo>
                    <a:pt x="4828" y="1620"/>
                    <a:pt x="4828" y="1620"/>
                    <a:pt x="4828" y="1620"/>
                  </a:cubicBezTo>
                  <a:cubicBezTo>
                    <a:pt x="4835" y="1630"/>
                    <a:pt x="4835" y="1630"/>
                    <a:pt x="4835" y="1630"/>
                  </a:cubicBezTo>
                  <a:cubicBezTo>
                    <a:pt x="4835" y="1643"/>
                    <a:pt x="4835" y="1643"/>
                    <a:pt x="4835" y="1643"/>
                  </a:cubicBezTo>
                  <a:cubicBezTo>
                    <a:pt x="4846" y="1650"/>
                    <a:pt x="4846" y="1650"/>
                    <a:pt x="4846" y="1650"/>
                  </a:cubicBezTo>
                  <a:cubicBezTo>
                    <a:pt x="4843" y="1667"/>
                    <a:pt x="4843" y="1667"/>
                    <a:pt x="4843" y="1667"/>
                  </a:cubicBezTo>
                  <a:cubicBezTo>
                    <a:pt x="4846" y="1684"/>
                    <a:pt x="4846" y="1684"/>
                    <a:pt x="4846" y="1684"/>
                  </a:cubicBezTo>
                  <a:cubicBezTo>
                    <a:pt x="4846" y="1684"/>
                    <a:pt x="4834" y="1688"/>
                    <a:pt x="4839" y="1700"/>
                  </a:cubicBezTo>
                  <a:cubicBezTo>
                    <a:pt x="4844" y="1712"/>
                    <a:pt x="4846" y="1713"/>
                    <a:pt x="4839" y="1719"/>
                  </a:cubicBezTo>
                  <a:cubicBezTo>
                    <a:pt x="4832" y="1725"/>
                    <a:pt x="4796" y="1702"/>
                    <a:pt x="4785" y="1707"/>
                  </a:cubicBezTo>
                  <a:cubicBezTo>
                    <a:pt x="4774" y="1712"/>
                    <a:pt x="4786" y="1718"/>
                    <a:pt x="4784" y="1723"/>
                  </a:cubicBezTo>
                  <a:cubicBezTo>
                    <a:pt x="4782" y="1728"/>
                    <a:pt x="4769" y="1719"/>
                    <a:pt x="4766" y="1729"/>
                  </a:cubicBezTo>
                  <a:cubicBezTo>
                    <a:pt x="4763" y="1739"/>
                    <a:pt x="4778" y="1740"/>
                    <a:pt x="4792" y="1753"/>
                  </a:cubicBezTo>
                  <a:cubicBezTo>
                    <a:pt x="4806" y="1766"/>
                    <a:pt x="4810" y="1785"/>
                    <a:pt x="4812" y="1791"/>
                  </a:cubicBezTo>
                  <a:cubicBezTo>
                    <a:pt x="4814" y="1797"/>
                    <a:pt x="4825" y="1808"/>
                    <a:pt x="4825" y="1808"/>
                  </a:cubicBezTo>
                  <a:cubicBezTo>
                    <a:pt x="4826" y="1831"/>
                    <a:pt x="4826" y="1831"/>
                    <a:pt x="4826" y="1831"/>
                  </a:cubicBezTo>
                  <a:cubicBezTo>
                    <a:pt x="4809" y="1827"/>
                    <a:pt x="4809" y="1827"/>
                    <a:pt x="4809" y="1827"/>
                  </a:cubicBezTo>
                  <a:cubicBezTo>
                    <a:pt x="4802" y="1845"/>
                    <a:pt x="4802" y="1845"/>
                    <a:pt x="4802" y="1845"/>
                  </a:cubicBezTo>
                  <a:cubicBezTo>
                    <a:pt x="4821" y="1851"/>
                    <a:pt x="4821" y="1851"/>
                    <a:pt x="4821" y="1851"/>
                  </a:cubicBezTo>
                  <a:cubicBezTo>
                    <a:pt x="4844" y="1852"/>
                    <a:pt x="4844" y="1852"/>
                    <a:pt x="4844" y="1852"/>
                  </a:cubicBezTo>
                  <a:cubicBezTo>
                    <a:pt x="4844" y="1852"/>
                    <a:pt x="4838" y="1811"/>
                    <a:pt x="4847" y="1807"/>
                  </a:cubicBezTo>
                  <a:cubicBezTo>
                    <a:pt x="4856" y="1803"/>
                    <a:pt x="4863" y="1816"/>
                    <a:pt x="4863" y="1816"/>
                  </a:cubicBezTo>
                  <a:cubicBezTo>
                    <a:pt x="4872" y="1808"/>
                    <a:pt x="4872" y="1808"/>
                    <a:pt x="4872" y="1808"/>
                  </a:cubicBezTo>
                  <a:cubicBezTo>
                    <a:pt x="4872" y="1808"/>
                    <a:pt x="4888" y="1840"/>
                    <a:pt x="4896" y="1838"/>
                  </a:cubicBezTo>
                  <a:cubicBezTo>
                    <a:pt x="4904" y="1836"/>
                    <a:pt x="4923" y="1830"/>
                    <a:pt x="4923" y="1830"/>
                  </a:cubicBezTo>
                  <a:cubicBezTo>
                    <a:pt x="4923" y="1842"/>
                    <a:pt x="4923" y="1842"/>
                    <a:pt x="4923" y="1842"/>
                  </a:cubicBezTo>
                  <a:cubicBezTo>
                    <a:pt x="4923" y="1842"/>
                    <a:pt x="4978" y="1822"/>
                    <a:pt x="4980" y="1802"/>
                  </a:cubicBezTo>
                  <a:cubicBezTo>
                    <a:pt x="4982" y="1782"/>
                    <a:pt x="4985" y="1754"/>
                    <a:pt x="4985" y="1754"/>
                  </a:cubicBezTo>
                  <a:cubicBezTo>
                    <a:pt x="4999" y="1747"/>
                    <a:pt x="4999" y="1747"/>
                    <a:pt x="4999" y="1747"/>
                  </a:cubicBezTo>
                  <a:cubicBezTo>
                    <a:pt x="4999" y="1747"/>
                    <a:pt x="4997" y="1704"/>
                    <a:pt x="5006" y="1697"/>
                  </a:cubicBezTo>
                  <a:cubicBezTo>
                    <a:pt x="5015" y="1690"/>
                    <a:pt x="5017" y="1666"/>
                    <a:pt x="5019" y="1650"/>
                  </a:cubicBezTo>
                  <a:cubicBezTo>
                    <a:pt x="5021" y="1634"/>
                    <a:pt x="5010" y="1607"/>
                    <a:pt x="5010" y="1607"/>
                  </a:cubicBezTo>
                  <a:cubicBezTo>
                    <a:pt x="5010" y="1607"/>
                    <a:pt x="5024" y="1585"/>
                    <a:pt x="5024" y="1580"/>
                  </a:cubicBezTo>
                  <a:cubicBezTo>
                    <a:pt x="5024" y="1575"/>
                    <a:pt x="5016" y="1565"/>
                    <a:pt x="5016" y="1565"/>
                  </a:cubicBezTo>
                  <a:cubicBezTo>
                    <a:pt x="5016" y="1565"/>
                    <a:pt x="5033" y="1541"/>
                    <a:pt x="5029" y="1532"/>
                  </a:cubicBezTo>
                  <a:cubicBezTo>
                    <a:pt x="5025" y="1523"/>
                    <a:pt x="5013" y="1496"/>
                    <a:pt x="5013" y="1496"/>
                  </a:cubicBezTo>
                  <a:cubicBezTo>
                    <a:pt x="5013" y="1496"/>
                    <a:pt x="5005" y="1468"/>
                    <a:pt x="4998" y="1465"/>
                  </a:cubicBezTo>
                  <a:cubicBezTo>
                    <a:pt x="4991" y="1462"/>
                    <a:pt x="4986" y="1458"/>
                    <a:pt x="4986" y="1458"/>
                  </a:cubicBezTo>
                  <a:cubicBezTo>
                    <a:pt x="4990" y="1451"/>
                    <a:pt x="4990" y="1451"/>
                    <a:pt x="4990" y="1451"/>
                  </a:cubicBezTo>
                  <a:cubicBezTo>
                    <a:pt x="4990" y="1451"/>
                    <a:pt x="4971" y="1443"/>
                    <a:pt x="4965" y="1428"/>
                  </a:cubicBezTo>
                  <a:cubicBezTo>
                    <a:pt x="4959" y="1413"/>
                    <a:pt x="4957" y="1401"/>
                    <a:pt x="4957" y="1401"/>
                  </a:cubicBezTo>
                  <a:cubicBezTo>
                    <a:pt x="4948" y="1395"/>
                    <a:pt x="4948" y="1395"/>
                    <a:pt x="4948" y="1395"/>
                  </a:cubicBezTo>
                  <a:cubicBezTo>
                    <a:pt x="4948" y="1395"/>
                    <a:pt x="4955" y="1365"/>
                    <a:pt x="4948" y="1356"/>
                  </a:cubicBezTo>
                  <a:cubicBezTo>
                    <a:pt x="4941" y="1347"/>
                    <a:pt x="4936" y="1340"/>
                    <a:pt x="4936" y="1340"/>
                  </a:cubicBezTo>
                  <a:cubicBezTo>
                    <a:pt x="4924" y="1336"/>
                    <a:pt x="4924" y="1336"/>
                    <a:pt x="4924" y="1336"/>
                  </a:cubicBezTo>
                  <a:cubicBezTo>
                    <a:pt x="4924" y="1336"/>
                    <a:pt x="4920" y="1322"/>
                    <a:pt x="4913" y="1317"/>
                  </a:cubicBezTo>
                  <a:cubicBezTo>
                    <a:pt x="4906" y="1312"/>
                    <a:pt x="4889" y="1304"/>
                    <a:pt x="4889" y="1304"/>
                  </a:cubicBezTo>
                  <a:cubicBezTo>
                    <a:pt x="4875" y="1300"/>
                    <a:pt x="4875" y="1300"/>
                    <a:pt x="4875" y="1300"/>
                  </a:cubicBezTo>
                  <a:cubicBezTo>
                    <a:pt x="4872" y="1291"/>
                    <a:pt x="4872" y="1291"/>
                    <a:pt x="4872" y="1291"/>
                  </a:cubicBezTo>
                  <a:cubicBezTo>
                    <a:pt x="4872" y="1291"/>
                    <a:pt x="4900" y="1304"/>
                    <a:pt x="4903" y="1298"/>
                  </a:cubicBezTo>
                  <a:cubicBezTo>
                    <a:pt x="4906" y="1292"/>
                    <a:pt x="4885" y="1286"/>
                    <a:pt x="4885" y="1286"/>
                  </a:cubicBezTo>
                  <a:cubicBezTo>
                    <a:pt x="4830" y="1260"/>
                    <a:pt x="4830" y="1260"/>
                    <a:pt x="4830" y="1260"/>
                  </a:cubicBezTo>
                  <a:cubicBezTo>
                    <a:pt x="4830" y="1260"/>
                    <a:pt x="4802" y="1243"/>
                    <a:pt x="4794" y="1238"/>
                  </a:cubicBezTo>
                  <a:cubicBezTo>
                    <a:pt x="4786" y="1233"/>
                    <a:pt x="4772" y="1243"/>
                    <a:pt x="4772" y="1243"/>
                  </a:cubicBezTo>
                  <a:cubicBezTo>
                    <a:pt x="4746" y="1236"/>
                    <a:pt x="4746" y="1236"/>
                    <a:pt x="4746" y="1236"/>
                  </a:cubicBezTo>
                  <a:cubicBezTo>
                    <a:pt x="4771" y="1264"/>
                    <a:pt x="4771" y="1264"/>
                    <a:pt x="4771" y="1264"/>
                  </a:cubicBezTo>
                  <a:cubicBezTo>
                    <a:pt x="4767" y="1281"/>
                    <a:pt x="4767" y="1281"/>
                    <a:pt x="4767" y="1281"/>
                  </a:cubicBezTo>
                  <a:cubicBezTo>
                    <a:pt x="4759" y="1279"/>
                    <a:pt x="4759" y="1279"/>
                    <a:pt x="4759" y="1279"/>
                  </a:cubicBezTo>
                  <a:cubicBezTo>
                    <a:pt x="4758" y="1259"/>
                    <a:pt x="4758" y="1259"/>
                    <a:pt x="4758" y="1259"/>
                  </a:cubicBezTo>
                  <a:cubicBezTo>
                    <a:pt x="4748" y="1252"/>
                    <a:pt x="4748" y="1252"/>
                    <a:pt x="4748" y="1252"/>
                  </a:cubicBezTo>
                  <a:cubicBezTo>
                    <a:pt x="4746" y="1271"/>
                    <a:pt x="4746" y="1271"/>
                    <a:pt x="4746" y="1271"/>
                  </a:cubicBezTo>
                  <a:cubicBezTo>
                    <a:pt x="4717" y="1273"/>
                    <a:pt x="4717" y="1273"/>
                    <a:pt x="4717" y="1273"/>
                  </a:cubicBezTo>
                  <a:cubicBezTo>
                    <a:pt x="4717" y="1273"/>
                    <a:pt x="4724" y="1263"/>
                    <a:pt x="4719" y="1257"/>
                  </a:cubicBezTo>
                  <a:cubicBezTo>
                    <a:pt x="4714" y="1251"/>
                    <a:pt x="4701" y="1253"/>
                    <a:pt x="4701" y="1253"/>
                  </a:cubicBezTo>
                  <a:cubicBezTo>
                    <a:pt x="4696" y="1260"/>
                    <a:pt x="4696" y="1260"/>
                    <a:pt x="4696" y="1260"/>
                  </a:cubicBezTo>
                  <a:cubicBezTo>
                    <a:pt x="4681" y="1261"/>
                    <a:pt x="4681" y="1261"/>
                    <a:pt x="4681" y="1261"/>
                  </a:cubicBezTo>
                  <a:cubicBezTo>
                    <a:pt x="4672" y="1236"/>
                    <a:pt x="4672" y="1236"/>
                    <a:pt x="4672" y="1236"/>
                  </a:cubicBezTo>
                  <a:cubicBezTo>
                    <a:pt x="4668" y="1235"/>
                    <a:pt x="4668" y="1235"/>
                    <a:pt x="4668" y="1235"/>
                  </a:cubicBezTo>
                  <a:cubicBezTo>
                    <a:pt x="4660" y="1222"/>
                    <a:pt x="4660" y="1222"/>
                    <a:pt x="4660" y="1222"/>
                  </a:cubicBezTo>
                  <a:cubicBezTo>
                    <a:pt x="4612" y="1224"/>
                    <a:pt x="4612" y="1224"/>
                    <a:pt x="4612" y="1224"/>
                  </a:cubicBezTo>
                  <a:cubicBezTo>
                    <a:pt x="4606" y="1218"/>
                    <a:pt x="4606" y="1218"/>
                    <a:pt x="4606" y="1218"/>
                  </a:cubicBezTo>
                  <a:cubicBezTo>
                    <a:pt x="4606" y="1218"/>
                    <a:pt x="4580" y="1222"/>
                    <a:pt x="4580" y="1205"/>
                  </a:cubicBezTo>
                  <a:cubicBezTo>
                    <a:pt x="4580" y="1188"/>
                    <a:pt x="4602" y="1186"/>
                    <a:pt x="4602" y="1186"/>
                  </a:cubicBezTo>
                  <a:cubicBezTo>
                    <a:pt x="4602" y="1170"/>
                    <a:pt x="4602" y="1170"/>
                    <a:pt x="4602" y="1170"/>
                  </a:cubicBezTo>
                  <a:cubicBezTo>
                    <a:pt x="4602" y="1170"/>
                    <a:pt x="4621" y="1169"/>
                    <a:pt x="4622" y="1158"/>
                  </a:cubicBezTo>
                  <a:cubicBezTo>
                    <a:pt x="4623" y="1147"/>
                    <a:pt x="4633" y="1132"/>
                    <a:pt x="4633" y="1132"/>
                  </a:cubicBezTo>
                  <a:cubicBezTo>
                    <a:pt x="4623" y="1123"/>
                    <a:pt x="4623" y="1123"/>
                    <a:pt x="4623" y="1123"/>
                  </a:cubicBezTo>
                  <a:cubicBezTo>
                    <a:pt x="4630" y="1110"/>
                    <a:pt x="4630" y="1110"/>
                    <a:pt x="4630" y="1110"/>
                  </a:cubicBezTo>
                  <a:cubicBezTo>
                    <a:pt x="4623" y="1100"/>
                    <a:pt x="4623" y="1100"/>
                    <a:pt x="4623" y="1100"/>
                  </a:cubicBezTo>
                  <a:cubicBezTo>
                    <a:pt x="4637" y="1089"/>
                    <a:pt x="4637" y="1089"/>
                    <a:pt x="4637" y="1089"/>
                  </a:cubicBezTo>
                  <a:cubicBezTo>
                    <a:pt x="4651" y="1086"/>
                    <a:pt x="4651" y="1086"/>
                    <a:pt x="4651" y="1086"/>
                  </a:cubicBezTo>
                  <a:cubicBezTo>
                    <a:pt x="4645" y="1064"/>
                    <a:pt x="4645" y="1064"/>
                    <a:pt x="4645" y="1064"/>
                  </a:cubicBezTo>
                  <a:cubicBezTo>
                    <a:pt x="4660" y="1059"/>
                    <a:pt x="4660" y="1059"/>
                    <a:pt x="4660" y="1059"/>
                  </a:cubicBezTo>
                  <a:cubicBezTo>
                    <a:pt x="4642" y="1036"/>
                    <a:pt x="4642" y="1036"/>
                    <a:pt x="4642" y="1036"/>
                  </a:cubicBezTo>
                  <a:cubicBezTo>
                    <a:pt x="4664" y="1027"/>
                    <a:pt x="4664" y="1027"/>
                    <a:pt x="4664" y="1027"/>
                  </a:cubicBezTo>
                  <a:cubicBezTo>
                    <a:pt x="4664" y="1027"/>
                    <a:pt x="4657" y="997"/>
                    <a:pt x="4673" y="987"/>
                  </a:cubicBezTo>
                  <a:cubicBezTo>
                    <a:pt x="4689" y="977"/>
                    <a:pt x="4695" y="976"/>
                    <a:pt x="4695" y="976"/>
                  </a:cubicBezTo>
                  <a:cubicBezTo>
                    <a:pt x="4695" y="976"/>
                    <a:pt x="4720" y="980"/>
                    <a:pt x="4732" y="979"/>
                  </a:cubicBezTo>
                  <a:cubicBezTo>
                    <a:pt x="4744" y="978"/>
                    <a:pt x="4796" y="982"/>
                    <a:pt x="4796" y="982"/>
                  </a:cubicBezTo>
                  <a:cubicBezTo>
                    <a:pt x="4807" y="993"/>
                    <a:pt x="4807" y="993"/>
                    <a:pt x="4807" y="993"/>
                  </a:cubicBezTo>
                  <a:cubicBezTo>
                    <a:pt x="4820" y="988"/>
                    <a:pt x="4820" y="988"/>
                    <a:pt x="4820" y="988"/>
                  </a:cubicBezTo>
                  <a:cubicBezTo>
                    <a:pt x="4815" y="976"/>
                    <a:pt x="4815" y="976"/>
                    <a:pt x="4815" y="976"/>
                  </a:cubicBezTo>
                  <a:cubicBezTo>
                    <a:pt x="4865" y="989"/>
                    <a:pt x="4865" y="989"/>
                    <a:pt x="4865" y="989"/>
                  </a:cubicBezTo>
                  <a:cubicBezTo>
                    <a:pt x="4885" y="977"/>
                    <a:pt x="4885" y="977"/>
                    <a:pt x="4885" y="977"/>
                  </a:cubicBezTo>
                  <a:cubicBezTo>
                    <a:pt x="4904" y="992"/>
                    <a:pt x="4904" y="992"/>
                    <a:pt x="4904" y="992"/>
                  </a:cubicBezTo>
                  <a:cubicBezTo>
                    <a:pt x="4909" y="968"/>
                    <a:pt x="4909" y="968"/>
                    <a:pt x="4909" y="968"/>
                  </a:cubicBezTo>
                  <a:cubicBezTo>
                    <a:pt x="4909" y="968"/>
                    <a:pt x="4932" y="966"/>
                    <a:pt x="4948" y="967"/>
                  </a:cubicBezTo>
                  <a:cubicBezTo>
                    <a:pt x="4964" y="968"/>
                    <a:pt x="4970" y="982"/>
                    <a:pt x="4976" y="980"/>
                  </a:cubicBezTo>
                  <a:cubicBezTo>
                    <a:pt x="4982" y="978"/>
                    <a:pt x="5000" y="967"/>
                    <a:pt x="5000" y="967"/>
                  </a:cubicBezTo>
                  <a:cubicBezTo>
                    <a:pt x="5016" y="981"/>
                    <a:pt x="5016" y="981"/>
                    <a:pt x="5016" y="981"/>
                  </a:cubicBezTo>
                  <a:cubicBezTo>
                    <a:pt x="5044" y="986"/>
                    <a:pt x="5044" y="986"/>
                    <a:pt x="5044" y="986"/>
                  </a:cubicBezTo>
                  <a:cubicBezTo>
                    <a:pt x="5008" y="993"/>
                    <a:pt x="5008" y="993"/>
                    <a:pt x="5008" y="993"/>
                  </a:cubicBezTo>
                  <a:cubicBezTo>
                    <a:pt x="5008" y="993"/>
                    <a:pt x="5019" y="1014"/>
                    <a:pt x="5030" y="1009"/>
                  </a:cubicBezTo>
                  <a:cubicBezTo>
                    <a:pt x="5041" y="1004"/>
                    <a:pt x="5061" y="996"/>
                    <a:pt x="5061" y="996"/>
                  </a:cubicBezTo>
                  <a:cubicBezTo>
                    <a:pt x="5079" y="1005"/>
                    <a:pt x="5079" y="1005"/>
                    <a:pt x="5079" y="1005"/>
                  </a:cubicBezTo>
                  <a:cubicBezTo>
                    <a:pt x="5094" y="993"/>
                    <a:pt x="5094" y="993"/>
                    <a:pt x="5094" y="993"/>
                  </a:cubicBezTo>
                  <a:cubicBezTo>
                    <a:pt x="5094" y="993"/>
                    <a:pt x="5121" y="1002"/>
                    <a:pt x="5129" y="998"/>
                  </a:cubicBezTo>
                  <a:cubicBezTo>
                    <a:pt x="5137" y="994"/>
                    <a:pt x="5131" y="986"/>
                    <a:pt x="5131" y="986"/>
                  </a:cubicBezTo>
                  <a:cubicBezTo>
                    <a:pt x="5155" y="988"/>
                    <a:pt x="5155" y="988"/>
                    <a:pt x="5155" y="988"/>
                  </a:cubicBezTo>
                  <a:cubicBezTo>
                    <a:pt x="5122" y="970"/>
                    <a:pt x="5122" y="970"/>
                    <a:pt x="5122" y="970"/>
                  </a:cubicBezTo>
                  <a:cubicBezTo>
                    <a:pt x="5104" y="977"/>
                    <a:pt x="5104" y="977"/>
                    <a:pt x="5104" y="977"/>
                  </a:cubicBezTo>
                  <a:cubicBezTo>
                    <a:pt x="5099" y="965"/>
                    <a:pt x="5099" y="965"/>
                    <a:pt x="5099" y="965"/>
                  </a:cubicBezTo>
                  <a:cubicBezTo>
                    <a:pt x="5099" y="965"/>
                    <a:pt x="5084" y="942"/>
                    <a:pt x="5086" y="937"/>
                  </a:cubicBezTo>
                  <a:cubicBezTo>
                    <a:pt x="5088" y="932"/>
                    <a:pt x="5105" y="918"/>
                    <a:pt x="5105" y="918"/>
                  </a:cubicBezTo>
                  <a:cubicBezTo>
                    <a:pt x="5101" y="898"/>
                    <a:pt x="5101" y="898"/>
                    <a:pt x="5101" y="898"/>
                  </a:cubicBezTo>
                  <a:cubicBezTo>
                    <a:pt x="5110" y="890"/>
                    <a:pt x="5110" y="890"/>
                    <a:pt x="5110" y="890"/>
                  </a:cubicBezTo>
                  <a:cubicBezTo>
                    <a:pt x="5110" y="890"/>
                    <a:pt x="5084" y="877"/>
                    <a:pt x="5101" y="866"/>
                  </a:cubicBezTo>
                  <a:cubicBezTo>
                    <a:pt x="5118" y="855"/>
                    <a:pt x="5154" y="866"/>
                    <a:pt x="5154" y="866"/>
                  </a:cubicBezTo>
                  <a:cubicBezTo>
                    <a:pt x="5168" y="852"/>
                    <a:pt x="5168" y="852"/>
                    <a:pt x="5168" y="852"/>
                  </a:cubicBezTo>
                  <a:cubicBezTo>
                    <a:pt x="5190" y="871"/>
                    <a:pt x="5190" y="871"/>
                    <a:pt x="5190" y="871"/>
                  </a:cubicBezTo>
                  <a:cubicBezTo>
                    <a:pt x="5209" y="860"/>
                    <a:pt x="5209" y="860"/>
                    <a:pt x="5209" y="860"/>
                  </a:cubicBezTo>
                  <a:cubicBezTo>
                    <a:pt x="5209" y="860"/>
                    <a:pt x="5222" y="893"/>
                    <a:pt x="5229" y="896"/>
                  </a:cubicBezTo>
                  <a:cubicBezTo>
                    <a:pt x="5236" y="899"/>
                    <a:pt x="5257" y="895"/>
                    <a:pt x="5257" y="895"/>
                  </a:cubicBezTo>
                  <a:cubicBezTo>
                    <a:pt x="5257" y="895"/>
                    <a:pt x="5257" y="926"/>
                    <a:pt x="5268" y="922"/>
                  </a:cubicBezTo>
                  <a:cubicBezTo>
                    <a:pt x="5279" y="918"/>
                    <a:pt x="5294" y="878"/>
                    <a:pt x="5294" y="878"/>
                  </a:cubicBezTo>
                  <a:cubicBezTo>
                    <a:pt x="5310" y="869"/>
                    <a:pt x="5310" y="869"/>
                    <a:pt x="5310" y="869"/>
                  </a:cubicBezTo>
                  <a:cubicBezTo>
                    <a:pt x="5330" y="876"/>
                    <a:pt x="5330" y="876"/>
                    <a:pt x="5330" y="876"/>
                  </a:cubicBezTo>
                  <a:cubicBezTo>
                    <a:pt x="5329" y="867"/>
                    <a:pt x="5329" y="867"/>
                    <a:pt x="5329" y="867"/>
                  </a:cubicBezTo>
                  <a:cubicBezTo>
                    <a:pt x="5310" y="857"/>
                    <a:pt x="5310" y="857"/>
                    <a:pt x="5310" y="857"/>
                  </a:cubicBezTo>
                  <a:cubicBezTo>
                    <a:pt x="5310" y="857"/>
                    <a:pt x="5263" y="823"/>
                    <a:pt x="5274" y="822"/>
                  </a:cubicBezTo>
                  <a:cubicBezTo>
                    <a:pt x="5285" y="821"/>
                    <a:pt x="5339" y="823"/>
                    <a:pt x="5339" y="823"/>
                  </a:cubicBezTo>
                  <a:cubicBezTo>
                    <a:pt x="5373" y="823"/>
                    <a:pt x="5373" y="823"/>
                    <a:pt x="5373" y="823"/>
                  </a:cubicBezTo>
                  <a:cubicBezTo>
                    <a:pt x="5373" y="823"/>
                    <a:pt x="5376" y="837"/>
                    <a:pt x="5372" y="836"/>
                  </a:cubicBezTo>
                  <a:cubicBezTo>
                    <a:pt x="5368" y="835"/>
                    <a:pt x="5329" y="823"/>
                    <a:pt x="5331" y="837"/>
                  </a:cubicBezTo>
                  <a:cubicBezTo>
                    <a:pt x="5333" y="851"/>
                    <a:pt x="5356" y="864"/>
                    <a:pt x="5356" y="864"/>
                  </a:cubicBezTo>
                  <a:cubicBezTo>
                    <a:pt x="5358" y="881"/>
                    <a:pt x="5358" y="881"/>
                    <a:pt x="5358" y="881"/>
                  </a:cubicBezTo>
                  <a:cubicBezTo>
                    <a:pt x="5378" y="884"/>
                    <a:pt x="5378" y="884"/>
                    <a:pt x="5378" y="884"/>
                  </a:cubicBezTo>
                  <a:cubicBezTo>
                    <a:pt x="5374" y="897"/>
                    <a:pt x="5374" y="897"/>
                    <a:pt x="5374" y="897"/>
                  </a:cubicBezTo>
                  <a:cubicBezTo>
                    <a:pt x="5387" y="908"/>
                    <a:pt x="5387" y="908"/>
                    <a:pt x="5387" y="908"/>
                  </a:cubicBezTo>
                  <a:cubicBezTo>
                    <a:pt x="5369" y="911"/>
                    <a:pt x="5369" y="911"/>
                    <a:pt x="5369" y="911"/>
                  </a:cubicBezTo>
                  <a:cubicBezTo>
                    <a:pt x="5364" y="922"/>
                    <a:pt x="5364" y="922"/>
                    <a:pt x="5364" y="922"/>
                  </a:cubicBezTo>
                  <a:cubicBezTo>
                    <a:pt x="5352" y="926"/>
                    <a:pt x="5352" y="926"/>
                    <a:pt x="5352" y="926"/>
                  </a:cubicBezTo>
                  <a:cubicBezTo>
                    <a:pt x="5352" y="926"/>
                    <a:pt x="5365" y="948"/>
                    <a:pt x="5358" y="960"/>
                  </a:cubicBezTo>
                  <a:cubicBezTo>
                    <a:pt x="5351" y="972"/>
                    <a:pt x="5340" y="992"/>
                    <a:pt x="5340" y="999"/>
                  </a:cubicBezTo>
                  <a:cubicBezTo>
                    <a:pt x="5340" y="1006"/>
                    <a:pt x="5358" y="1012"/>
                    <a:pt x="5345" y="1029"/>
                  </a:cubicBezTo>
                  <a:cubicBezTo>
                    <a:pt x="5332" y="1046"/>
                    <a:pt x="5310" y="1051"/>
                    <a:pt x="5310" y="1051"/>
                  </a:cubicBezTo>
                  <a:cubicBezTo>
                    <a:pt x="5313" y="1063"/>
                    <a:pt x="5313" y="1063"/>
                    <a:pt x="5313" y="1063"/>
                  </a:cubicBezTo>
                  <a:cubicBezTo>
                    <a:pt x="5300" y="1063"/>
                    <a:pt x="5300" y="1063"/>
                    <a:pt x="5300" y="1063"/>
                  </a:cubicBezTo>
                  <a:cubicBezTo>
                    <a:pt x="5300" y="1063"/>
                    <a:pt x="5324" y="1073"/>
                    <a:pt x="5322" y="1090"/>
                  </a:cubicBezTo>
                  <a:cubicBezTo>
                    <a:pt x="5320" y="1107"/>
                    <a:pt x="5313" y="1118"/>
                    <a:pt x="5320" y="1135"/>
                  </a:cubicBezTo>
                  <a:cubicBezTo>
                    <a:pt x="5327" y="1152"/>
                    <a:pt x="5392" y="1206"/>
                    <a:pt x="5392" y="1206"/>
                  </a:cubicBezTo>
                  <a:cubicBezTo>
                    <a:pt x="5432" y="1247"/>
                    <a:pt x="5432" y="1247"/>
                    <a:pt x="5432" y="1247"/>
                  </a:cubicBezTo>
                  <a:cubicBezTo>
                    <a:pt x="5441" y="1244"/>
                    <a:pt x="5441" y="1244"/>
                    <a:pt x="5441" y="1244"/>
                  </a:cubicBezTo>
                  <a:cubicBezTo>
                    <a:pt x="5494" y="1308"/>
                    <a:pt x="5494" y="1308"/>
                    <a:pt x="5494" y="1308"/>
                  </a:cubicBezTo>
                  <a:cubicBezTo>
                    <a:pt x="5529" y="1319"/>
                    <a:pt x="5529" y="1319"/>
                    <a:pt x="5529" y="1319"/>
                  </a:cubicBezTo>
                  <a:cubicBezTo>
                    <a:pt x="5544" y="1337"/>
                    <a:pt x="5544" y="1337"/>
                    <a:pt x="5544" y="1337"/>
                  </a:cubicBezTo>
                  <a:cubicBezTo>
                    <a:pt x="5544" y="1337"/>
                    <a:pt x="5583" y="1385"/>
                    <a:pt x="5590" y="1389"/>
                  </a:cubicBezTo>
                  <a:cubicBezTo>
                    <a:pt x="5597" y="1393"/>
                    <a:pt x="5608" y="1393"/>
                    <a:pt x="5608" y="1393"/>
                  </a:cubicBezTo>
                  <a:cubicBezTo>
                    <a:pt x="5608" y="1393"/>
                    <a:pt x="5602" y="1411"/>
                    <a:pt x="5617" y="1405"/>
                  </a:cubicBezTo>
                  <a:cubicBezTo>
                    <a:pt x="5632" y="1399"/>
                    <a:pt x="5630" y="1386"/>
                    <a:pt x="5630" y="1386"/>
                  </a:cubicBezTo>
                  <a:cubicBezTo>
                    <a:pt x="5623" y="1378"/>
                    <a:pt x="5623" y="1378"/>
                    <a:pt x="5623" y="1378"/>
                  </a:cubicBezTo>
                  <a:cubicBezTo>
                    <a:pt x="5623" y="1378"/>
                    <a:pt x="5638" y="1358"/>
                    <a:pt x="5635" y="1349"/>
                  </a:cubicBezTo>
                  <a:cubicBezTo>
                    <a:pt x="5632" y="1340"/>
                    <a:pt x="5601" y="1323"/>
                    <a:pt x="5608" y="1310"/>
                  </a:cubicBezTo>
                  <a:cubicBezTo>
                    <a:pt x="5615" y="1297"/>
                    <a:pt x="5624" y="1289"/>
                    <a:pt x="5627" y="1288"/>
                  </a:cubicBezTo>
                  <a:cubicBezTo>
                    <a:pt x="5630" y="1287"/>
                    <a:pt x="5650" y="1295"/>
                    <a:pt x="5650" y="1295"/>
                  </a:cubicBezTo>
                  <a:cubicBezTo>
                    <a:pt x="5650" y="1295"/>
                    <a:pt x="5628" y="1269"/>
                    <a:pt x="5622" y="1265"/>
                  </a:cubicBezTo>
                  <a:cubicBezTo>
                    <a:pt x="5616" y="1261"/>
                    <a:pt x="5601" y="1255"/>
                    <a:pt x="5604" y="1240"/>
                  </a:cubicBezTo>
                  <a:cubicBezTo>
                    <a:pt x="5607" y="1225"/>
                    <a:pt x="5625" y="1220"/>
                    <a:pt x="5625" y="1220"/>
                  </a:cubicBezTo>
                  <a:cubicBezTo>
                    <a:pt x="5625" y="1220"/>
                    <a:pt x="5654" y="1232"/>
                    <a:pt x="5652" y="1217"/>
                  </a:cubicBezTo>
                  <a:cubicBezTo>
                    <a:pt x="5650" y="1202"/>
                    <a:pt x="5637" y="1198"/>
                    <a:pt x="5621" y="1190"/>
                  </a:cubicBezTo>
                  <a:cubicBezTo>
                    <a:pt x="5605" y="1182"/>
                    <a:pt x="5591" y="1163"/>
                    <a:pt x="5590" y="1152"/>
                  </a:cubicBezTo>
                  <a:cubicBezTo>
                    <a:pt x="5589" y="1141"/>
                    <a:pt x="5583" y="1129"/>
                    <a:pt x="5583" y="1129"/>
                  </a:cubicBezTo>
                  <a:cubicBezTo>
                    <a:pt x="5590" y="1126"/>
                    <a:pt x="5590" y="1126"/>
                    <a:pt x="5590" y="1126"/>
                  </a:cubicBezTo>
                  <a:cubicBezTo>
                    <a:pt x="5590" y="1126"/>
                    <a:pt x="5616" y="1151"/>
                    <a:pt x="5622" y="1146"/>
                  </a:cubicBezTo>
                  <a:cubicBezTo>
                    <a:pt x="5628" y="1141"/>
                    <a:pt x="5604" y="1114"/>
                    <a:pt x="5604" y="1114"/>
                  </a:cubicBezTo>
                  <a:cubicBezTo>
                    <a:pt x="5581" y="1111"/>
                    <a:pt x="5581" y="1111"/>
                    <a:pt x="5581" y="1111"/>
                  </a:cubicBezTo>
                  <a:cubicBezTo>
                    <a:pt x="5548" y="1083"/>
                    <a:pt x="5548" y="1083"/>
                    <a:pt x="5548" y="1083"/>
                  </a:cubicBezTo>
                  <a:cubicBezTo>
                    <a:pt x="5548" y="1083"/>
                    <a:pt x="5552" y="1062"/>
                    <a:pt x="5536" y="1055"/>
                  </a:cubicBezTo>
                  <a:cubicBezTo>
                    <a:pt x="5520" y="1048"/>
                    <a:pt x="5508" y="1048"/>
                    <a:pt x="5508" y="1048"/>
                  </a:cubicBezTo>
                  <a:cubicBezTo>
                    <a:pt x="5509" y="1060"/>
                    <a:pt x="5509" y="1060"/>
                    <a:pt x="5509" y="1060"/>
                  </a:cubicBezTo>
                  <a:cubicBezTo>
                    <a:pt x="5509" y="1060"/>
                    <a:pt x="5465" y="1050"/>
                    <a:pt x="5464" y="1034"/>
                  </a:cubicBezTo>
                  <a:cubicBezTo>
                    <a:pt x="5463" y="1018"/>
                    <a:pt x="5471" y="1007"/>
                    <a:pt x="5463" y="992"/>
                  </a:cubicBezTo>
                  <a:cubicBezTo>
                    <a:pt x="5455" y="977"/>
                    <a:pt x="5439" y="969"/>
                    <a:pt x="5439" y="969"/>
                  </a:cubicBezTo>
                  <a:cubicBezTo>
                    <a:pt x="5439" y="969"/>
                    <a:pt x="5441" y="953"/>
                    <a:pt x="5445" y="951"/>
                  </a:cubicBezTo>
                  <a:cubicBezTo>
                    <a:pt x="5449" y="949"/>
                    <a:pt x="5458" y="956"/>
                    <a:pt x="5458" y="956"/>
                  </a:cubicBezTo>
                  <a:cubicBezTo>
                    <a:pt x="5467" y="945"/>
                    <a:pt x="5467" y="945"/>
                    <a:pt x="5467" y="945"/>
                  </a:cubicBezTo>
                  <a:cubicBezTo>
                    <a:pt x="5492" y="964"/>
                    <a:pt x="5492" y="964"/>
                    <a:pt x="5492" y="964"/>
                  </a:cubicBezTo>
                  <a:cubicBezTo>
                    <a:pt x="5497" y="959"/>
                    <a:pt x="5497" y="959"/>
                    <a:pt x="5497" y="959"/>
                  </a:cubicBezTo>
                  <a:cubicBezTo>
                    <a:pt x="5489" y="951"/>
                    <a:pt x="5489" y="951"/>
                    <a:pt x="5489" y="951"/>
                  </a:cubicBezTo>
                  <a:cubicBezTo>
                    <a:pt x="5489" y="951"/>
                    <a:pt x="5495" y="919"/>
                    <a:pt x="5506" y="925"/>
                  </a:cubicBezTo>
                  <a:cubicBezTo>
                    <a:pt x="5517" y="931"/>
                    <a:pt x="5544" y="964"/>
                    <a:pt x="5544" y="964"/>
                  </a:cubicBezTo>
                  <a:cubicBezTo>
                    <a:pt x="5551" y="931"/>
                    <a:pt x="5551" y="931"/>
                    <a:pt x="5551" y="931"/>
                  </a:cubicBezTo>
                  <a:cubicBezTo>
                    <a:pt x="5551" y="931"/>
                    <a:pt x="5608" y="924"/>
                    <a:pt x="5617" y="924"/>
                  </a:cubicBezTo>
                  <a:cubicBezTo>
                    <a:pt x="5626" y="924"/>
                    <a:pt x="5663" y="944"/>
                    <a:pt x="5663" y="944"/>
                  </a:cubicBezTo>
                  <a:cubicBezTo>
                    <a:pt x="5691" y="955"/>
                    <a:pt x="5691" y="955"/>
                    <a:pt x="5691" y="955"/>
                  </a:cubicBezTo>
                  <a:cubicBezTo>
                    <a:pt x="5671" y="915"/>
                    <a:pt x="5671" y="915"/>
                    <a:pt x="5671" y="915"/>
                  </a:cubicBezTo>
                  <a:cubicBezTo>
                    <a:pt x="5671" y="915"/>
                    <a:pt x="5703" y="916"/>
                    <a:pt x="5705" y="905"/>
                  </a:cubicBezTo>
                  <a:cubicBezTo>
                    <a:pt x="5707" y="894"/>
                    <a:pt x="5697" y="876"/>
                    <a:pt x="5697" y="876"/>
                  </a:cubicBezTo>
                  <a:cubicBezTo>
                    <a:pt x="5710" y="877"/>
                    <a:pt x="5710" y="877"/>
                    <a:pt x="5710" y="877"/>
                  </a:cubicBezTo>
                  <a:cubicBezTo>
                    <a:pt x="5713" y="861"/>
                    <a:pt x="5713" y="861"/>
                    <a:pt x="5713" y="861"/>
                  </a:cubicBezTo>
                  <a:cubicBezTo>
                    <a:pt x="5713" y="861"/>
                    <a:pt x="5752" y="870"/>
                    <a:pt x="5758" y="855"/>
                  </a:cubicBezTo>
                  <a:cubicBezTo>
                    <a:pt x="5764" y="840"/>
                    <a:pt x="5784" y="828"/>
                    <a:pt x="5784" y="828"/>
                  </a:cubicBezTo>
                  <a:cubicBezTo>
                    <a:pt x="5770" y="811"/>
                    <a:pt x="5770" y="811"/>
                    <a:pt x="5770" y="811"/>
                  </a:cubicBezTo>
                  <a:cubicBezTo>
                    <a:pt x="5791" y="813"/>
                    <a:pt x="5791" y="813"/>
                    <a:pt x="5791" y="813"/>
                  </a:cubicBezTo>
                  <a:cubicBezTo>
                    <a:pt x="5794" y="825"/>
                    <a:pt x="5794" y="825"/>
                    <a:pt x="5794" y="825"/>
                  </a:cubicBezTo>
                  <a:cubicBezTo>
                    <a:pt x="5835" y="828"/>
                    <a:pt x="5835" y="828"/>
                    <a:pt x="5835" y="828"/>
                  </a:cubicBezTo>
                  <a:cubicBezTo>
                    <a:pt x="5835" y="828"/>
                    <a:pt x="5877" y="838"/>
                    <a:pt x="5877" y="832"/>
                  </a:cubicBezTo>
                  <a:cubicBezTo>
                    <a:pt x="5877" y="826"/>
                    <a:pt x="5873" y="814"/>
                    <a:pt x="5873" y="814"/>
                  </a:cubicBezTo>
                  <a:cubicBezTo>
                    <a:pt x="5848" y="811"/>
                    <a:pt x="5848" y="811"/>
                    <a:pt x="5848" y="811"/>
                  </a:cubicBezTo>
                  <a:cubicBezTo>
                    <a:pt x="5844" y="797"/>
                    <a:pt x="5844" y="797"/>
                    <a:pt x="5844" y="797"/>
                  </a:cubicBezTo>
                  <a:cubicBezTo>
                    <a:pt x="5844" y="797"/>
                    <a:pt x="5807" y="784"/>
                    <a:pt x="5795" y="780"/>
                  </a:cubicBezTo>
                  <a:cubicBezTo>
                    <a:pt x="5783" y="776"/>
                    <a:pt x="5774" y="782"/>
                    <a:pt x="5774" y="782"/>
                  </a:cubicBezTo>
                  <a:cubicBezTo>
                    <a:pt x="5778" y="770"/>
                    <a:pt x="5778" y="770"/>
                    <a:pt x="5778" y="770"/>
                  </a:cubicBezTo>
                  <a:cubicBezTo>
                    <a:pt x="5730" y="736"/>
                    <a:pt x="5730" y="736"/>
                    <a:pt x="5730" y="736"/>
                  </a:cubicBezTo>
                  <a:cubicBezTo>
                    <a:pt x="5719" y="747"/>
                    <a:pt x="5719" y="747"/>
                    <a:pt x="5719" y="747"/>
                  </a:cubicBezTo>
                  <a:cubicBezTo>
                    <a:pt x="5719" y="747"/>
                    <a:pt x="5699" y="742"/>
                    <a:pt x="5691" y="739"/>
                  </a:cubicBezTo>
                  <a:cubicBezTo>
                    <a:pt x="5683" y="736"/>
                    <a:pt x="5672" y="727"/>
                    <a:pt x="5672" y="727"/>
                  </a:cubicBezTo>
                  <a:cubicBezTo>
                    <a:pt x="5649" y="732"/>
                    <a:pt x="5649" y="732"/>
                    <a:pt x="5649" y="732"/>
                  </a:cubicBezTo>
                  <a:cubicBezTo>
                    <a:pt x="5630" y="730"/>
                    <a:pt x="5630" y="730"/>
                    <a:pt x="5630" y="730"/>
                  </a:cubicBezTo>
                  <a:cubicBezTo>
                    <a:pt x="5630" y="730"/>
                    <a:pt x="5599" y="712"/>
                    <a:pt x="5611" y="709"/>
                  </a:cubicBezTo>
                  <a:cubicBezTo>
                    <a:pt x="5623" y="706"/>
                    <a:pt x="5635" y="713"/>
                    <a:pt x="5644" y="715"/>
                  </a:cubicBezTo>
                  <a:cubicBezTo>
                    <a:pt x="5653" y="717"/>
                    <a:pt x="5697" y="724"/>
                    <a:pt x="5697" y="724"/>
                  </a:cubicBezTo>
                  <a:cubicBezTo>
                    <a:pt x="5697" y="724"/>
                    <a:pt x="5749" y="709"/>
                    <a:pt x="5749" y="702"/>
                  </a:cubicBezTo>
                  <a:cubicBezTo>
                    <a:pt x="5749" y="695"/>
                    <a:pt x="5719" y="679"/>
                    <a:pt x="5716" y="677"/>
                  </a:cubicBezTo>
                  <a:cubicBezTo>
                    <a:pt x="5713" y="675"/>
                    <a:pt x="5664" y="658"/>
                    <a:pt x="5679" y="649"/>
                  </a:cubicBezTo>
                  <a:cubicBezTo>
                    <a:pt x="5694" y="640"/>
                    <a:pt x="5719" y="660"/>
                    <a:pt x="5719" y="660"/>
                  </a:cubicBezTo>
                  <a:cubicBezTo>
                    <a:pt x="5719" y="660"/>
                    <a:pt x="5766" y="689"/>
                    <a:pt x="5780" y="687"/>
                  </a:cubicBezTo>
                  <a:cubicBezTo>
                    <a:pt x="5794" y="685"/>
                    <a:pt x="5799" y="671"/>
                    <a:pt x="5838" y="684"/>
                  </a:cubicBezTo>
                  <a:cubicBezTo>
                    <a:pt x="5877" y="697"/>
                    <a:pt x="5911" y="711"/>
                    <a:pt x="5922" y="713"/>
                  </a:cubicBezTo>
                  <a:cubicBezTo>
                    <a:pt x="5933" y="715"/>
                    <a:pt x="5976" y="727"/>
                    <a:pt x="5976" y="727"/>
                  </a:cubicBezTo>
                  <a:cubicBezTo>
                    <a:pt x="5976" y="727"/>
                    <a:pt x="6035" y="762"/>
                    <a:pt x="6031" y="744"/>
                  </a:cubicBezTo>
                  <a:cubicBezTo>
                    <a:pt x="6027" y="726"/>
                    <a:pt x="6007" y="715"/>
                    <a:pt x="6007" y="715"/>
                  </a:cubicBezTo>
                  <a:cubicBezTo>
                    <a:pt x="6019" y="706"/>
                    <a:pt x="6019" y="706"/>
                    <a:pt x="6019" y="706"/>
                  </a:cubicBezTo>
                  <a:cubicBezTo>
                    <a:pt x="5989" y="693"/>
                    <a:pt x="5989" y="693"/>
                    <a:pt x="5989" y="693"/>
                  </a:cubicBezTo>
                  <a:cubicBezTo>
                    <a:pt x="5995" y="689"/>
                    <a:pt x="5995" y="689"/>
                    <a:pt x="5995" y="689"/>
                  </a:cubicBezTo>
                  <a:cubicBezTo>
                    <a:pt x="5962" y="672"/>
                    <a:pt x="5962" y="672"/>
                    <a:pt x="5962" y="672"/>
                  </a:cubicBezTo>
                  <a:cubicBezTo>
                    <a:pt x="5998" y="679"/>
                    <a:pt x="5998" y="679"/>
                    <a:pt x="5998" y="679"/>
                  </a:cubicBezTo>
                  <a:cubicBezTo>
                    <a:pt x="5994" y="666"/>
                    <a:pt x="5994" y="666"/>
                    <a:pt x="5994" y="666"/>
                  </a:cubicBezTo>
                  <a:cubicBezTo>
                    <a:pt x="5994" y="666"/>
                    <a:pt x="6045" y="678"/>
                    <a:pt x="6034" y="664"/>
                  </a:cubicBezTo>
                  <a:close/>
                  <a:moveTo>
                    <a:pt x="3574" y="1289"/>
                  </a:moveTo>
                  <a:cubicBezTo>
                    <a:pt x="3574" y="1289"/>
                    <a:pt x="3571" y="1303"/>
                    <a:pt x="3570" y="1306"/>
                  </a:cubicBezTo>
                  <a:cubicBezTo>
                    <a:pt x="3569" y="1309"/>
                    <a:pt x="3556" y="1316"/>
                    <a:pt x="3556" y="1316"/>
                  </a:cubicBezTo>
                  <a:cubicBezTo>
                    <a:pt x="3556" y="1316"/>
                    <a:pt x="3544" y="1322"/>
                    <a:pt x="3540" y="1322"/>
                  </a:cubicBezTo>
                  <a:cubicBezTo>
                    <a:pt x="3535" y="1322"/>
                    <a:pt x="3536" y="1334"/>
                    <a:pt x="3536" y="1334"/>
                  </a:cubicBezTo>
                  <a:cubicBezTo>
                    <a:pt x="3536" y="1334"/>
                    <a:pt x="3534" y="1327"/>
                    <a:pt x="3514" y="1334"/>
                  </a:cubicBezTo>
                  <a:cubicBezTo>
                    <a:pt x="3493" y="1340"/>
                    <a:pt x="3522" y="1350"/>
                    <a:pt x="3522" y="1350"/>
                  </a:cubicBezTo>
                  <a:cubicBezTo>
                    <a:pt x="3522" y="1350"/>
                    <a:pt x="3512" y="1358"/>
                    <a:pt x="3510" y="1367"/>
                  </a:cubicBezTo>
                  <a:cubicBezTo>
                    <a:pt x="3509" y="1377"/>
                    <a:pt x="3494" y="1368"/>
                    <a:pt x="3494" y="1368"/>
                  </a:cubicBezTo>
                  <a:cubicBezTo>
                    <a:pt x="3494" y="1368"/>
                    <a:pt x="3491" y="1382"/>
                    <a:pt x="3471" y="1382"/>
                  </a:cubicBezTo>
                  <a:cubicBezTo>
                    <a:pt x="3450" y="1382"/>
                    <a:pt x="3451" y="1377"/>
                    <a:pt x="3451" y="1377"/>
                  </a:cubicBezTo>
                  <a:cubicBezTo>
                    <a:pt x="3428" y="1371"/>
                    <a:pt x="3428" y="1371"/>
                    <a:pt x="3428" y="1371"/>
                  </a:cubicBezTo>
                  <a:cubicBezTo>
                    <a:pt x="3439" y="1365"/>
                    <a:pt x="3439" y="1365"/>
                    <a:pt x="3439" y="1365"/>
                  </a:cubicBezTo>
                  <a:cubicBezTo>
                    <a:pt x="3461" y="1365"/>
                    <a:pt x="3461" y="1365"/>
                    <a:pt x="3461" y="1365"/>
                  </a:cubicBezTo>
                  <a:cubicBezTo>
                    <a:pt x="3462" y="1360"/>
                    <a:pt x="3462" y="1360"/>
                    <a:pt x="3462" y="1360"/>
                  </a:cubicBezTo>
                  <a:cubicBezTo>
                    <a:pt x="3462" y="1360"/>
                    <a:pt x="3478" y="1360"/>
                    <a:pt x="3485" y="1353"/>
                  </a:cubicBezTo>
                  <a:cubicBezTo>
                    <a:pt x="3491" y="1347"/>
                    <a:pt x="3492" y="1328"/>
                    <a:pt x="3492" y="1328"/>
                  </a:cubicBezTo>
                  <a:cubicBezTo>
                    <a:pt x="3492" y="1328"/>
                    <a:pt x="3496" y="1327"/>
                    <a:pt x="3505" y="1325"/>
                  </a:cubicBezTo>
                  <a:cubicBezTo>
                    <a:pt x="3514" y="1323"/>
                    <a:pt x="3514" y="1307"/>
                    <a:pt x="3514" y="1307"/>
                  </a:cubicBezTo>
                  <a:cubicBezTo>
                    <a:pt x="3514" y="1307"/>
                    <a:pt x="3507" y="1303"/>
                    <a:pt x="3508" y="1297"/>
                  </a:cubicBezTo>
                  <a:cubicBezTo>
                    <a:pt x="3509" y="1292"/>
                    <a:pt x="3528" y="1275"/>
                    <a:pt x="3528" y="1275"/>
                  </a:cubicBezTo>
                  <a:cubicBezTo>
                    <a:pt x="3528" y="1264"/>
                    <a:pt x="3528" y="1264"/>
                    <a:pt x="3528" y="1264"/>
                  </a:cubicBezTo>
                  <a:cubicBezTo>
                    <a:pt x="3542" y="1251"/>
                    <a:pt x="3542" y="1251"/>
                    <a:pt x="3542" y="1251"/>
                  </a:cubicBezTo>
                  <a:cubicBezTo>
                    <a:pt x="3534" y="1240"/>
                    <a:pt x="3534" y="1240"/>
                    <a:pt x="3534" y="1240"/>
                  </a:cubicBezTo>
                  <a:cubicBezTo>
                    <a:pt x="3533" y="1187"/>
                    <a:pt x="3533" y="1187"/>
                    <a:pt x="3533" y="1187"/>
                  </a:cubicBezTo>
                  <a:cubicBezTo>
                    <a:pt x="3533" y="1187"/>
                    <a:pt x="3518" y="1165"/>
                    <a:pt x="3536" y="1160"/>
                  </a:cubicBezTo>
                  <a:cubicBezTo>
                    <a:pt x="3555" y="1156"/>
                    <a:pt x="3551" y="1181"/>
                    <a:pt x="3551" y="1181"/>
                  </a:cubicBezTo>
                  <a:cubicBezTo>
                    <a:pt x="3551" y="1181"/>
                    <a:pt x="3560" y="1188"/>
                    <a:pt x="3564" y="1203"/>
                  </a:cubicBezTo>
                  <a:cubicBezTo>
                    <a:pt x="3569" y="1219"/>
                    <a:pt x="3571" y="1229"/>
                    <a:pt x="3571" y="1229"/>
                  </a:cubicBezTo>
                  <a:cubicBezTo>
                    <a:pt x="3585" y="1248"/>
                    <a:pt x="3585" y="1248"/>
                    <a:pt x="3585" y="1248"/>
                  </a:cubicBezTo>
                  <a:cubicBezTo>
                    <a:pt x="3579" y="1259"/>
                    <a:pt x="3579" y="1259"/>
                    <a:pt x="3579" y="1259"/>
                  </a:cubicBezTo>
                  <a:cubicBezTo>
                    <a:pt x="3579" y="1259"/>
                    <a:pt x="3566" y="1265"/>
                    <a:pt x="3568" y="1272"/>
                  </a:cubicBezTo>
                  <a:cubicBezTo>
                    <a:pt x="3569" y="1280"/>
                    <a:pt x="3585" y="1271"/>
                    <a:pt x="3585" y="1271"/>
                  </a:cubicBezTo>
                  <a:cubicBezTo>
                    <a:pt x="3587" y="1282"/>
                    <a:pt x="3587" y="1282"/>
                    <a:pt x="3587" y="1282"/>
                  </a:cubicBezTo>
                  <a:lnTo>
                    <a:pt x="3574" y="1289"/>
                  </a:lnTo>
                  <a:close/>
                  <a:moveTo>
                    <a:pt x="4656" y="1185"/>
                  </a:moveTo>
                  <a:cubicBezTo>
                    <a:pt x="4650" y="1193"/>
                    <a:pt x="4662" y="1221"/>
                    <a:pt x="4684" y="1223"/>
                  </a:cubicBezTo>
                  <a:cubicBezTo>
                    <a:pt x="4702" y="1225"/>
                    <a:pt x="4662" y="1177"/>
                    <a:pt x="4656" y="1185"/>
                  </a:cubicBezTo>
                  <a:close/>
                  <a:moveTo>
                    <a:pt x="1020" y="0"/>
                  </a:moveTo>
                  <a:cubicBezTo>
                    <a:pt x="986" y="0"/>
                    <a:pt x="986" y="0"/>
                    <a:pt x="986" y="0"/>
                  </a:cubicBezTo>
                  <a:cubicBezTo>
                    <a:pt x="986" y="10"/>
                    <a:pt x="986" y="10"/>
                    <a:pt x="986" y="10"/>
                  </a:cubicBezTo>
                  <a:cubicBezTo>
                    <a:pt x="1007" y="11"/>
                    <a:pt x="1007" y="11"/>
                    <a:pt x="1007" y="11"/>
                  </a:cubicBezTo>
                  <a:cubicBezTo>
                    <a:pt x="1021" y="10"/>
                    <a:pt x="1020" y="0"/>
                    <a:pt x="1020" y="0"/>
                  </a:cubicBezTo>
                  <a:close/>
                  <a:moveTo>
                    <a:pt x="1012" y="37"/>
                  </a:moveTo>
                  <a:cubicBezTo>
                    <a:pt x="1026" y="35"/>
                    <a:pt x="1035" y="23"/>
                    <a:pt x="1017" y="23"/>
                  </a:cubicBezTo>
                  <a:cubicBezTo>
                    <a:pt x="999" y="23"/>
                    <a:pt x="1002" y="38"/>
                    <a:pt x="1012" y="37"/>
                  </a:cubicBezTo>
                  <a:close/>
                  <a:moveTo>
                    <a:pt x="943" y="537"/>
                  </a:moveTo>
                  <a:cubicBezTo>
                    <a:pt x="965" y="542"/>
                    <a:pt x="973" y="535"/>
                    <a:pt x="980" y="531"/>
                  </a:cubicBezTo>
                  <a:cubicBezTo>
                    <a:pt x="987" y="527"/>
                    <a:pt x="993" y="519"/>
                    <a:pt x="993" y="519"/>
                  </a:cubicBezTo>
                  <a:cubicBezTo>
                    <a:pt x="1002" y="518"/>
                    <a:pt x="1002" y="518"/>
                    <a:pt x="1002" y="518"/>
                  </a:cubicBezTo>
                  <a:cubicBezTo>
                    <a:pt x="1002" y="518"/>
                    <a:pt x="994" y="507"/>
                    <a:pt x="968" y="501"/>
                  </a:cubicBezTo>
                  <a:cubicBezTo>
                    <a:pt x="942" y="495"/>
                    <a:pt x="927" y="518"/>
                    <a:pt x="927" y="518"/>
                  </a:cubicBezTo>
                  <a:cubicBezTo>
                    <a:pt x="927" y="521"/>
                    <a:pt x="921" y="533"/>
                    <a:pt x="943" y="537"/>
                  </a:cubicBezTo>
                  <a:close/>
                  <a:moveTo>
                    <a:pt x="996" y="48"/>
                  </a:moveTo>
                  <a:cubicBezTo>
                    <a:pt x="1007" y="61"/>
                    <a:pt x="1000" y="62"/>
                    <a:pt x="1023" y="55"/>
                  </a:cubicBezTo>
                  <a:cubicBezTo>
                    <a:pt x="1045" y="48"/>
                    <a:pt x="1020" y="45"/>
                    <a:pt x="1016" y="45"/>
                  </a:cubicBezTo>
                  <a:cubicBezTo>
                    <a:pt x="1012" y="45"/>
                    <a:pt x="996" y="48"/>
                    <a:pt x="996" y="48"/>
                  </a:cubicBezTo>
                  <a:close/>
                  <a:moveTo>
                    <a:pt x="966" y="65"/>
                  </a:moveTo>
                  <a:cubicBezTo>
                    <a:pt x="976" y="65"/>
                    <a:pt x="1009" y="63"/>
                    <a:pt x="1003" y="62"/>
                  </a:cubicBezTo>
                  <a:cubicBezTo>
                    <a:pt x="997" y="61"/>
                    <a:pt x="985" y="52"/>
                    <a:pt x="985" y="52"/>
                  </a:cubicBezTo>
                  <a:cubicBezTo>
                    <a:pt x="954" y="52"/>
                    <a:pt x="954" y="52"/>
                    <a:pt x="954" y="52"/>
                  </a:cubicBezTo>
                  <a:cubicBezTo>
                    <a:pt x="954" y="52"/>
                    <a:pt x="957" y="65"/>
                    <a:pt x="966" y="65"/>
                  </a:cubicBezTo>
                  <a:close/>
                  <a:moveTo>
                    <a:pt x="893" y="23"/>
                  </a:moveTo>
                  <a:cubicBezTo>
                    <a:pt x="876" y="24"/>
                    <a:pt x="885" y="35"/>
                    <a:pt x="885" y="35"/>
                  </a:cubicBezTo>
                  <a:cubicBezTo>
                    <a:pt x="910" y="30"/>
                    <a:pt x="910" y="21"/>
                    <a:pt x="893" y="23"/>
                  </a:cubicBezTo>
                  <a:close/>
                  <a:moveTo>
                    <a:pt x="940" y="48"/>
                  </a:moveTo>
                  <a:cubicBezTo>
                    <a:pt x="924" y="45"/>
                    <a:pt x="924" y="45"/>
                    <a:pt x="924" y="45"/>
                  </a:cubicBezTo>
                  <a:cubicBezTo>
                    <a:pt x="930" y="61"/>
                    <a:pt x="930" y="61"/>
                    <a:pt x="930" y="61"/>
                  </a:cubicBezTo>
                  <a:lnTo>
                    <a:pt x="940" y="48"/>
                  </a:lnTo>
                  <a:close/>
                  <a:moveTo>
                    <a:pt x="972" y="10"/>
                  </a:moveTo>
                  <a:cubicBezTo>
                    <a:pt x="972" y="27"/>
                    <a:pt x="972" y="27"/>
                    <a:pt x="972" y="27"/>
                  </a:cubicBezTo>
                  <a:cubicBezTo>
                    <a:pt x="995" y="20"/>
                    <a:pt x="995" y="20"/>
                    <a:pt x="995" y="20"/>
                  </a:cubicBezTo>
                  <a:lnTo>
                    <a:pt x="972" y="10"/>
                  </a:lnTo>
                  <a:close/>
                  <a:moveTo>
                    <a:pt x="936" y="31"/>
                  </a:moveTo>
                  <a:cubicBezTo>
                    <a:pt x="936" y="31"/>
                    <a:pt x="931" y="25"/>
                    <a:pt x="924" y="25"/>
                  </a:cubicBezTo>
                  <a:cubicBezTo>
                    <a:pt x="917" y="25"/>
                    <a:pt x="919" y="38"/>
                    <a:pt x="919" y="38"/>
                  </a:cubicBezTo>
                  <a:lnTo>
                    <a:pt x="936" y="31"/>
                  </a:lnTo>
                  <a:close/>
                  <a:moveTo>
                    <a:pt x="957" y="31"/>
                  </a:moveTo>
                  <a:cubicBezTo>
                    <a:pt x="938" y="39"/>
                    <a:pt x="938" y="39"/>
                    <a:pt x="938" y="39"/>
                  </a:cubicBezTo>
                  <a:cubicBezTo>
                    <a:pt x="957" y="39"/>
                    <a:pt x="957" y="39"/>
                    <a:pt x="957" y="39"/>
                  </a:cubicBezTo>
                  <a:lnTo>
                    <a:pt x="957" y="31"/>
                  </a:lnTo>
                  <a:close/>
                  <a:moveTo>
                    <a:pt x="979" y="42"/>
                  </a:moveTo>
                  <a:cubicBezTo>
                    <a:pt x="995" y="47"/>
                    <a:pt x="1009" y="30"/>
                    <a:pt x="990" y="28"/>
                  </a:cubicBezTo>
                  <a:cubicBezTo>
                    <a:pt x="972" y="27"/>
                    <a:pt x="964" y="38"/>
                    <a:pt x="979" y="42"/>
                  </a:cubicBezTo>
                  <a:close/>
                  <a:moveTo>
                    <a:pt x="966" y="23"/>
                  </a:moveTo>
                  <a:cubicBezTo>
                    <a:pt x="965" y="7"/>
                    <a:pt x="965" y="7"/>
                    <a:pt x="965" y="7"/>
                  </a:cubicBezTo>
                  <a:cubicBezTo>
                    <a:pt x="938" y="14"/>
                    <a:pt x="938" y="14"/>
                    <a:pt x="938" y="14"/>
                  </a:cubicBezTo>
                  <a:cubicBezTo>
                    <a:pt x="944" y="24"/>
                    <a:pt x="944" y="24"/>
                    <a:pt x="944" y="24"/>
                  </a:cubicBezTo>
                  <a:lnTo>
                    <a:pt x="966" y="23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 318">
              <a:extLst>
                <a:ext uri="{FF2B5EF4-FFF2-40B4-BE49-F238E27FC236}">
                  <a16:creationId xmlns:a16="http://schemas.microsoft.com/office/drawing/2014/main" id="{F5D902DA-0B24-7DF3-7077-48E2E642161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5221" y="-18515"/>
              <a:ext cx="1084" cy="1569"/>
            </a:xfrm>
            <a:custGeom>
              <a:avLst/>
              <a:gdLst>
                <a:gd name="T0" fmla="*/ 445 w 459"/>
                <a:gd name="T1" fmla="*/ 95 h 664"/>
                <a:gd name="T2" fmla="*/ 424 w 459"/>
                <a:gd name="T3" fmla="*/ 67 h 664"/>
                <a:gd name="T4" fmla="*/ 391 w 459"/>
                <a:gd name="T5" fmla="*/ 26 h 664"/>
                <a:gd name="T6" fmla="*/ 338 w 459"/>
                <a:gd name="T7" fmla="*/ 9 h 664"/>
                <a:gd name="T8" fmla="*/ 305 w 459"/>
                <a:gd name="T9" fmla="*/ 14 h 664"/>
                <a:gd name="T10" fmla="*/ 284 w 459"/>
                <a:gd name="T11" fmla="*/ 25 h 664"/>
                <a:gd name="T12" fmla="*/ 243 w 459"/>
                <a:gd name="T13" fmla="*/ 25 h 664"/>
                <a:gd name="T14" fmla="*/ 216 w 459"/>
                <a:gd name="T15" fmla="*/ 45 h 664"/>
                <a:gd name="T16" fmla="*/ 165 w 459"/>
                <a:gd name="T17" fmla="*/ 71 h 664"/>
                <a:gd name="T18" fmla="*/ 161 w 459"/>
                <a:gd name="T19" fmla="*/ 99 h 664"/>
                <a:gd name="T20" fmla="*/ 146 w 459"/>
                <a:gd name="T21" fmla="*/ 128 h 664"/>
                <a:gd name="T22" fmla="*/ 118 w 459"/>
                <a:gd name="T23" fmla="*/ 144 h 664"/>
                <a:gd name="T24" fmla="*/ 96 w 459"/>
                <a:gd name="T25" fmla="*/ 194 h 664"/>
                <a:gd name="T26" fmla="*/ 68 w 459"/>
                <a:gd name="T27" fmla="*/ 227 h 664"/>
                <a:gd name="T28" fmla="*/ 28 w 459"/>
                <a:gd name="T29" fmla="*/ 260 h 664"/>
                <a:gd name="T30" fmla="*/ 21 w 459"/>
                <a:gd name="T31" fmla="*/ 290 h 664"/>
                <a:gd name="T32" fmla="*/ 33 w 459"/>
                <a:gd name="T33" fmla="*/ 334 h 664"/>
                <a:gd name="T34" fmla="*/ 50 w 459"/>
                <a:gd name="T35" fmla="*/ 374 h 664"/>
                <a:gd name="T36" fmla="*/ 51 w 459"/>
                <a:gd name="T37" fmla="*/ 409 h 664"/>
                <a:gd name="T38" fmla="*/ 36 w 459"/>
                <a:gd name="T39" fmla="*/ 431 h 664"/>
                <a:gd name="T40" fmla="*/ 15 w 459"/>
                <a:gd name="T41" fmla="*/ 452 h 664"/>
                <a:gd name="T42" fmla="*/ 0 w 459"/>
                <a:gd name="T43" fmla="*/ 469 h 664"/>
                <a:gd name="T44" fmla="*/ 19 w 459"/>
                <a:gd name="T45" fmla="*/ 515 h 664"/>
                <a:gd name="T46" fmla="*/ 49 w 459"/>
                <a:gd name="T47" fmla="*/ 586 h 664"/>
                <a:gd name="T48" fmla="*/ 53 w 459"/>
                <a:gd name="T49" fmla="*/ 607 h 664"/>
                <a:gd name="T50" fmla="*/ 69 w 459"/>
                <a:gd name="T51" fmla="*/ 656 h 664"/>
                <a:gd name="T52" fmla="*/ 120 w 459"/>
                <a:gd name="T53" fmla="*/ 631 h 664"/>
                <a:gd name="T54" fmla="*/ 176 w 459"/>
                <a:gd name="T55" fmla="*/ 618 h 664"/>
                <a:gd name="T56" fmla="*/ 206 w 459"/>
                <a:gd name="T57" fmla="*/ 549 h 664"/>
                <a:gd name="T58" fmla="*/ 196 w 459"/>
                <a:gd name="T59" fmla="*/ 507 h 664"/>
                <a:gd name="T60" fmla="*/ 237 w 459"/>
                <a:gd name="T61" fmla="*/ 489 h 664"/>
                <a:gd name="T62" fmla="*/ 270 w 459"/>
                <a:gd name="T63" fmla="*/ 456 h 664"/>
                <a:gd name="T64" fmla="*/ 271 w 459"/>
                <a:gd name="T65" fmla="*/ 409 h 664"/>
                <a:gd name="T66" fmla="*/ 217 w 459"/>
                <a:gd name="T67" fmla="*/ 350 h 664"/>
                <a:gd name="T68" fmla="*/ 237 w 459"/>
                <a:gd name="T69" fmla="*/ 303 h 664"/>
                <a:gd name="T70" fmla="*/ 271 w 459"/>
                <a:gd name="T71" fmla="*/ 270 h 664"/>
                <a:gd name="T72" fmla="*/ 340 w 459"/>
                <a:gd name="T73" fmla="*/ 249 h 664"/>
                <a:gd name="T74" fmla="*/ 372 w 459"/>
                <a:gd name="T75" fmla="*/ 175 h 664"/>
                <a:gd name="T76" fmla="*/ 396 w 459"/>
                <a:gd name="T77" fmla="*/ 144 h 664"/>
                <a:gd name="T78" fmla="*/ 459 w 459"/>
                <a:gd name="T79" fmla="*/ 157 h 664"/>
                <a:gd name="T80" fmla="*/ 271 w 459"/>
                <a:gd name="T81" fmla="*/ 583 h 664"/>
                <a:gd name="T82" fmla="*/ 290 w 459"/>
                <a:gd name="T83" fmla="*/ 543 h 664"/>
                <a:gd name="T84" fmla="*/ 200 w 459"/>
                <a:gd name="T85" fmla="*/ 597 h 664"/>
                <a:gd name="T86" fmla="*/ 230 w 459"/>
                <a:gd name="T87" fmla="*/ 570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9" h="664">
                  <a:moveTo>
                    <a:pt x="451" y="136"/>
                  </a:moveTo>
                  <a:cubicBezTo>
                    <a:pt x="451" y="136"/>
                    <a:pt x="436" y="126"/>
                    <a:pt x="434" y="118"/>
                  </a:cubicBezTo>
                  <a:cubicBezTo>
                    <a:pt x="432" y="110"/>
                    <a:pt x="445" y="95"/>
                    <a:pt x="445" y="95"/>
                  </a:cubicBezTo>
                  <a:cubicBezTo>
                    <a:pt x="428" y="85"/>
                    <a:pt x="428" y="85"/>
                    <a:pt x="428" y="85"/>
                  </a:cubicBezTo>
                  <a:cubicBezTo>
                    <a:pt x="432" y="72"/>
                    <a:pt x="432" y="72"/>
                    <a:pt x="432" y="72"/>
                  </a:cubicBezTo>
                  <a:cubicBezTo>
                    <a:pt x="424" y="67"/>
                    <a:pt x="424" y="67"/>
                    <a:pt x="424" y="67"/>
                  </a:cubicBezTo>
                  <a:cubicBezTo>
                    <a:pt x="424" y="67"/>
                    <a:pt x="429" y="53"/>
                    <a:pt x="430" y="48"/>
                  </a:cubicBezTo>
                  <a:cubicBezTo>
                    <a:pt x="431" y="43"/>
                    <a:pt x="413" y="38"/>
                    <a:pt x="413" y="38"/>
                  </a:cubicBezTo>
                  <a:cubicBezTo>
                    <a:pt x="391" y="26"/>
                    <a:pt x="391" y="26"/>
                    <a:pt x="391" y="26"/>
                  </a:cubicBezTo>
                  <a:cubicBezTo>
                    <a:pt x="369" y="25"/>
                    <a:pt x="369" y="25"/>
                    <a:pt x="369" y="25"/>
                  </a:cubicBezTo>
                  <a:cubicBezTo>
                    <a:pt x="361" y="17"/>
                    <a:pt x="361" y="17"/>
                    <a:pt x="361" y="17"/>
                  </a:cubicBezTo>
                  <a:cubicBezTo>
                    <a:pt x="361" y="17"/>
                    <a:pt x="348" y="13"/>
                    <a:pt x="338" y="9"/>
                  </a:cubicBezTo>
                  <a:cubicBezTo>
                    <a:pt x="332" y="7"/>
                    <a:pt x="327" y="3"/>
                    <a:pt x="324" y="1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305" y="14"/>
                    <a:pt x="305" y="14"/>
                    <a:pt x="305" y="14"/>
                  </a:cubicBezTo>
                  <a:cubicBezTo>
                    <a:pt x="305" y="14"/>
                    <a:pt x="298" y="11"/>
                    <a:pt x="298" y="16"/>
                  </a:cubicBezTo>
                  <a:cubicBezTo>
                    <a:pt x="298" y="21"/>
                    <a:pt x="311" y="27"/>
                    <a:pt x="303" y="29"/>
                  </a:cubicBezTo>
                  <a:cubicBezTo>
                    <a:pt x="295" y="31"/>
                    <a:pt x="284" y="25"/>
                    <a:pt x="284" y="25"/>
                  </a:cubicBezTo>
                  <a:cubicBezTo>
                    <a:pt x="275" y="25"/>
                    <a:pt x="275" y="25"/>
                    <a:pt x="275" y="25"/>
                  </a:cubicBezTo>
                  <a:cubicBezTo>
                    <a:pt x="262" y="21"/>
                    <a:pt x="262" y="21"/>
                    <a:pt x="262" y="21"/>
                  </a:cubicBezTo>
                  <a:cubicBezTo>
                    <a:pt x="243" y="25"/>
                    <a:pt x="243" y="25"/>
                    <a:pt x="243" y="25"/>
                  </a:cubicBezTo>
                  <a:cubicBezTo>
                    <a:pt x="243" y="25"/>
                    <a:pt x="243" y="12"/>
                    <a:pt x="235" y="18"/>
                  </a:cubicBezTo>
                  <a:cubicBezTo>
                    <a:pt x="227" y="24"/>
                    <a:pt x="237" y="35"/>
                    <a:pt x="234" y="40"/>
                  </a:cubicBezTo>
                  <a:cubicBezTo>
                    <a:pt x="231" y="45"/>
                    <a:pt x="216" y="45"/>
                    <a:pt x="216" y="45"/>
                  </a:cubicBezTo>
                  <a:cubicBezTo>
                    <a:pt x="190" y="49"/>
                    <a:pt x="190" y="49"/>
                    <a:pt x="190" y="49"/>
                  </a:cubicBezTo>
                  <a:cubicBezTo>
                    <a:pt x="181" y="59"/>
                    <a:pt x="181" y="59"/>
                    <a:pt x="181" y="59"/>
                  </a:cubicBezTo>
                  <a:cubicBezTo>
                    <a:pt x="181" y="59"/>
                    <a:pt x="164" y="67"/>
                    <a:pt x="165" y="71"/>
                  </a:cubicBezTo>
                  <a:cubicBezTo>
                    <a:pt x="166" y="75"/>
                    <a:pt x="177" y="83"/>
                    <a:pt x="177" y="83"/>
                  </a:cubicBezTo>
                  <a:cubicBezTo>
                    <a:pt x="172" y="93"/>
                    <a:pt x="172" y="93"/>
                    <a:pt x="172" y="93"/>
                  </a:cubicBezTo>
                  <a:cubicBezTo>
                    <a:pt x="172" y="93"/>
                    <a:pt x="167" y="94"/>
                    <a:pt x="161" y="99"/>
                  </a:cubicBezTo>
                  <a:cubicBezTo>
                    <a:pt x="155" y="104"/>
                    <a:pt x="153" y="111"/>
                    <a:pt x="153" y="111"/>
                  </a:cubicBezTo>
                  <a:cubicBezTo>
                    <a:pt x="139" y="112"/>
                    <a:pt x="139" y="112"/>
                    <a:pt x="139" y="112"/>
                  </a:cubicBezTo>
                  <a:cubicBezTo>
                    <a:pt x="139" y="112"/>
                    <a:pt x="153" y="126"/>
                    <a:pt x="146" y="128"/>
                  </a:cubicBezTo>
                  <a:cubicBezTo>
                    <a:pt x="139" y="130"/>
                    <a:pt x="130" y="135"/>
                    <a:pt x="130" y="135"/>
                  </a:cubicBezTo>
                  <a:cubicBezTo>
                    <a:pt x="116" y="128"/>
                    <a:pt x="116" y="128"/>
                    <a:pt x="116" y="128"/>
                  </a:cubicBezTo>
                  <a:cubicBezTo>
                    <a:pt x="118" y="144"/>
                    <a:pt x="118" y="144"/>
                    <a:pt x="118" y="144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1" y="178"/>
                    <a:pt x="111" y="178"/>
                    <a:pt x="111" y="178"/>
                  </a:cubicBezTo>
                  <a:cubicBezTo>
                    <a:pt x="111" y="178"/>
                    <a:pt x="101" y="190"/>
                    <a:pt x="96" y="194"/>
                  </a:cubicBezTo>
                  <a:cubicBezTo>
                    <a:pt x="91" y="198"/>
                    <a:pt x="82" y="204"/>
                    <a:pt x="82" y="204"/>
                  </a:cubicBezTo>
                  <a:cubicBezTo>
                    <a:pt x="82" y="204"/>
                    <a:pt x="103" y="214"/>
                    <a:pt x="99" y="223"/>
                  </a:cubicBezTo>
                  <a:cubicBezTo>
                    <a:pt x="95" y="232"/>
                    <a:pt x="68" y="227"/>
                    <a:pt x="68" y="227"/>
                  </a:cubicBezTo>
                  <a:cubicBezTo>
                    <a:pt x="68" y="227"/>
                    <a:pt x="53" y="239"/>
                    <a:pt x="46" y="244"/>
                  </a:cubicBezTo>
                  <a:cubicBezTo>
                    <a:pt x="39" y="249"/>
                    <a:pt x="33" y="254"/>
                    <a:pt x="33" y="254"/>
                  </a:cubicBezTo>
                  <a:cubicBezTo>
                    <a:pt x="28" y="260"/>
                    <a:pt x="28" y="260"/>
                    <a:pt x="28" y="260"/>
                  </a:cubicBezTo>
                  <a:cubicBezTo>
                    <a:pt x="28" y="260"/>
                    <a:pt x="22" y="265"/>
                    <a:pt x="22" y="268"/>
                  </a:cubicBezTo>
                  <a:cubicBezTo>
                    <a:pt x="22" y="271"/>
                    <a:pt x="40" y="271"/>
                    <a:pt x="34" y="277"/>
                  </a:cubicBezTo>
                  <a:cubicBezTo>
                    <a:pt x="28" y="283"/>
                    <a:pt x="19" y="285"/>
                    <a:pt x="21" y="290"/>
                  </a:cubicBezTo>
                  <a:cubicBezTo>
                    <a:pt x="23" y="295"/>
                    <a:pt x="29" y="303"/>
                    <a:pt x="29" y="303"/>
                  </a:cubicBezTo>
                  <a:cubicBezTo>
                    <a:pt x="29" y="303"/>
                    <a:pt x="40" y="310"/>
                    <a:pt x="39" y="315"/>
                  </a:cubicBezTo>
                  <a:cubicBezTo>
                    <a:pt x="38" y="320"/>
                    <a:pt x="32" y="327"/>
                    <a:pt x="33" y="334"/>
                  </a:cubicBezTo>
                  <a:cubicBezTo>
                    <a:pt x="34" y="341"/>
                    <a:pt x="42" y="348"/>
                    <a:pt x="42" y="348"/>
                  </a:cubicBezTo>
                  <a:cubicBezTo>
                    <a:pt x="42" y="348"/>
                    <a:pt x="61" y="354"/>
                    <a:pt x="59" y="361"/>
                  </a:cubicBezTo>
                  <a:cubicBezTo>
                    <a:pt x="57" y="368"/>
                    <a:pt x="50" y="374"/>
                    <a:pt x="50" y="374"/>
                  </a:cubicBezTo>
                  <a:cubicBezTo>
                    <a:pt x="35" y="377"/>
                    <a:pt x="35" y="377"/>
                    <a:pt x="35" y="377"/>
                  </a:cubicBezTo>
                  <a:cubicBezTo>
                    <a:pt x="35" y="377"/>
                    <a:pt x="41" y="394"/>
                    <a:pt x="44" y="397"/>
                  </a:cubicBezTo>
                  <a:cubicBezTo>
                    <a:pt x="47" y="400"/>
                    <a:pt x="51" y="409"/>
                    <a:pt x="51" y="409"/>
                  </a:cubicBezTo>
                  <a:cubicBezTo>
                    <a:pt x="44" y="409"/>
                    <a:pt x="44" y="409"/>
                    <a:pt x="44" y="409"/>
                  </a:cubicBezTo>
                  <a:cubicBezTo>
                    <a:pt x="44" y="426"/>
                    <a:pt x="44" y="426"/>
                    <a:pt x="44" y="426"/>
                  </a:cubicBezTo>
                  <a:cubicBezTo>
                    <a:pt x="44" y="426"/>
                    <a:pt x="41" y="431"/>
                    <a:pt x="36" y="431"/>
                  </a:cubicBezTo>
                  <a:cubicBezTo>
                    <a:pt x="31" y="431"/>
                    <a:pt x="17" y="425"/>
                    <a:pt x="19" y="431"/>
                  </a:cubicBezTo>
                  <a:cubicBezTo>
                    <a:pt x="21" y="437"/>
                    <a:pt x="21" y="441"/>
                    <a:pt x="21" y="441"/>
                  </a:cubicBezTo>
                  <a:cubicBezTo>
                    <a:pt x="21" y="441"/>
                    <a:pt x="12" y="444"/>
                    <a:pt x="15" y="452"/>
                  </a:cubicBezTo>
                  <a:cubicBezTo>
                    <a:pt x="18" y="460"/>
                    <a:pt x="24" y="461"/>
                    <a:pt x="22" y="466"/>
                  </a:cubicBezTo>
                  <a:cubicBezTo>
                    <a:pt x="20" y="471"/>
                    <a:pt x="14" y="482"/>
                    <a:pt x="14" y="482"/>
                  </a:cubicBezTo>
                  <a:cubicBezTo>
                    <a:pt x="0" y="469"/>
                    <a:pt x="0" y="469"/>
                    <a:pt x="0" y="469"/>
                  </a:cubicBezTo>
                  <a:cubicBezTo>
                    <a:pt x="2" y="510"/>
                    <a:pt x="2" y="510"/>
                    <a:pt x="2" y="510"/>
                  </a:cubicBezTo>
                  <a:cubicBezTo>
                    <a:pt x="2" y="510"/>
                    <a:pt x="16" y="499"/>
                    <a:pt x="23" y="511"/>
                  </a:cubicBezTo>
                  <a:cubicBezTo>
                    <a:pt x="30" y="523"/>
                    <a:pt x="19" y="515"/>
                    <a:pt x="19" y="515"/>
                  </a:cubicBezTo>
                  <a:cubicBezTo>
                    <a:pt x="19" y="515"/>
                    <a:pt x="14" y="549"/>
                    <a:pt x="18" y="553"/>
                  </a:cubicBezTo>
                  <a:cubicBezTo>
                    <a:pt x="22" y="557"/>
                    <a:pt x="34" y="562"/>
                    <a:pt x="34" y="562"/>
                  </a:cubicBezTo>
                  <a:cubicBezTo>
                    <a:pt x="34" y="562"/>
                    <a:pt x="43" y="579"/>
                    <a:pt x="49" y="586"/>
                  </a:cubicBezTo>
                  <a:cubicBezTo>
                    <a:pt x="55" y="593"/>
                    <a:pt x="66" y="597"/>
                    <a:pt x="66" y="597"/>
                  </a:cubicBezTo>
                  <a:cubicBezTo>
                    <a:pt x="65" y="605"/>
                    <a:pt x="65" y="605"/>
                    <a:pt x="65" y="605"/>
                  </a:cubicBezTo>
                  <a:cubicBezTo>
                    <a:pt x="53" y="607"/>
                    <a:pt x="53" y="607"/>
                    <a:pt x="53" y="607"/>
                  </a:cubicBezTo>
                  <a:cubicBezTo>
                    <a:pt x="53" y="607"/>
                    <a:pt x="51" y="615"/>
                    <a:pt x="52" y="621"/>
                  </a:cubicBezTo>
                  <a:cubicBezTo>
                    <a:pt x="53" y="627"/>
                    <a:pt x="68" y="640"/>
                    <a:pt x="68" y="640"/>
                  </a:cubicBezTo>
                  <a:cubicBezTo>
                    <a:pt x="68" y="640"/>
                    <a:pt x="64" y="653"/>
                    <a:pt x="69" y="656"/>
                  </a:cubicBezTo>
                  <a:cubicBezTo>
                    <a:pt x="74" y="659"/>
                    <a:pt x="94" y="657"/>
                    <a:pt x="94" y="657"/>
                  </a:cubicBezTo>
                  <a:cubicBezTo>
                    <a:pt x="94" y="657"/>
                    <a:pt x="122" y="664"/>
                    <a:pt x="121" y="655"/>
                  </a:cubicBezTo>
                  <a:cubicBezTo>
                    <a:pt x="120" y="646"/>
                    <a:pt x="120" y="631"/>
                    <a:pt x="120" y="631"/>
                  </a:cubicBezTo>
                  <a:cubicBezTo>
                    <a:pt x="132" y="625"/>
                    <a:pt x="132" y="625"/>
                    <a:pt x="132" y="625"/>
                  </a:cubicBezTo>
                  <a:cubicBezTo>
                    <a:pt x="133" y="615"/>
                    <a:pt x="133" y="615"/>
                    <a:pt x="133" y="615"/>
                  </a:cubicBezTo>
                  <a:cubicBezTo>
                    <a:pt x="176" y="618"/>
                    <a:pt x="176" y="618"/>
                    <a:pt x="176" y="618"/>
                  </a:cubicBezTo>
                  <a:cubicBezTo>
                    <a:pt x="185" y="623"/>
                    <a:pt x="185" y="623"/>
                    <a:pt x="185" y="623"/>
                  </a:cubicBezTo>
                  <a:cubicBezTo>
                    <a:pt x="199" y="581"/>
                    <a:pt x="199" y="581"/>
                    <a:pt x="199" y="581"/>
                  </a:cubicBezTo>
                  <a:cubicBezTo>
                    <a:pt x="199" y="581"/>
                    <a:pt x="208" y="555"/>
                    <a:pt x="206" y="549"/>
                  </a:cubicBezTo>
                  <a:cubicBezTo>
                    <a:pt x="204" y="543"/>
                    <a:pt x="198" y="532"/>
                    <a:pt x="198" y="532"/>
                  </a:cubicBezTo>
                  <a:cubicBezTo>
                    <a:pt x="198" y="532"/>
                    <a:pt x="219" y="529"/>
                    <a:pt x="217" y="518"/>
                  </a:cubicBezTo>
                  <a:cubicBezTo>
                    <a:pt x="215" y="507"/>
                    <a:pt x="196" y="507"/>
                    <a:pt x="196" y="507"/>
                  </a:cubicBezTo>
                  <a:cubicBezTo>
                    <a:pt x="209" y="502"/>
                    <a:pt x="209" y="502"/>
                    <a:pt x="209" y="502"/>
                  </a:cubicBezTo>
                  <a:cubicBezTo>
                    <a:pt x="200" y="498"/>
                    <a:pt x="200" y="498"/>
                    <a:pt x="200" y="498"/>
                  </a:cubicBezTo>
                  <a:cubicBezTo>
                    <a:pt x="200" y="498"/>
                    <a:pt x="234" y="500"/>
                    <a:pt x="237" y="489"/>
                  </a:cubicBezTo>
                  <a:cubicBezTo>
                    <a:pt x="240" y="478"/>
                    <a:pt x="245" y="472"/>
                    <a:pt x="245" y="472"/>
                  </a:cubicBezTo>
                  <a:cubicBezTo>
                    <a:pt x="245" y="472"/>
                    <a:pt x="256" y="490"/>
                    <a:pt x="266" y="478"/>
                  </a:cubicBezTo>
                  <a:cubicBezTo>
                    <a:pt x="276" y="466"/>
                    <a:pt x="270" y="456"/>
                    <a:pt x="270" y="456"/>
                  </a:cubicBezTo>
                  <a:cubicBezTo>
                    <a:pt x="270" y="456"/>
                    <a:pt x="297" y="451"/>
                    <a:pt x="290" y="437"/>
                  </a:cubicBezTo>
                  <a:cubicBezTo>
                    <a:pt x="283" y="423"/>
                    <a:pt x="271" y="420"/>
                    <a:pt x="271" y="420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47" y="399"/>
                    <a:pt x="247" y="399"/>
                    <a:pt x="247" y="399"/>
                  </a:cubicBezTo>
                  <a:cubicBezTo>
                    <a:pt x="247" y="399"/>
                    <a:pt x="236" y="406"/>
                    <a:pt x="228" y="399"/>
                  </a:cubicBezTo>
                  <a:cubicBezTo>
                    <a:pt x="220" y="392"/>
                    <a:pt x="217" y="350"/>
                    <a:pt x="217" y="350"/>
                  </a:cubicBezTo>
                  <a:cubicBezTo>
                    <a:pt x="217" y="350"/>
                    <a:pt x="228" y="340"/>
                    <a:pt x="229" y="329"/>
                  </a:cubicBezTo>
                  <a:cubicBezTo>
                    <a:pt x="230" y="318"/>
                    <a:pt x="219" y="308"/>
                    <a:pt x="219" y="308"/>
                  </a:cubicBezTo>
                  <a:cubicBezTo>
                    <a:pt x="219" y="308"/>
                    <a:pt x="233" y="311"/>
                    <a:pt x="237" y="303"/>
                  </a:cubicBezTo>
                  <a:cubicBezTo>
                    <a:pt x="241" y="295"/>
                    <a:pt x="232" y="283"/>
                    <a:pt x="232" y="283"/>
                  </a:cubicBezTo>
                  <a:cubicBezTo>
                    <a:pt x="232" y="283"/>
                    <a:pt x="249" y="292"/>
                    <a:pt x="254" y="287"/>
                  </a:cubicBezTo>
                  <a:cubicBezTo>
                    <a:pt x="259" y="282"/>
                    <a:pt x="271" y="270"/>
                    <a:pt x="271" y="270"/>
                  </a:cubicBezTo>
                  <a:cubicBezTo>
                    <a:pt x="291" y="273"/>
                    <a:pt x="291" y="273"/>
                    <a:pt x="291" y="273"/>
                  </a:cubicBezTo>
                  <a:cubicBezTo>
                    <a:pt x="299" y="258"/>
                    <a:pt x="299" y="258"/>
                    <a:pt x="299" y="258"/>
                  </a:cubicBezTo>
                  <a:cubicBezTo>
                    <a:pt x="299" y="258"/>
                    <a:pt x="330" y="259"/>
                    <a:pt x="340" y="249"/>
                  </a:cubicBezTo>
                  <a:cubicBezTo>
                    <a:pt x="350" y="239"/>
                    <a:pt x="364" y="213"/>
                    <a:pt x="364" y="213"/>
                  </a:cubicBezTo>
                  <a:cubicBezTo>
                    <a:pt x="352" y="198"/>
                    <a:pt x="352" y="198"/>
                    <a:pt x="352" y="198"/>
                  </a:cubicBezTo>
                  <a:cubicBezTo>
                    <a:pt x="372" y="175"/>
                    <a:pt x="372" y="175"/>
                    <a:pt x="372" y="175"/>
                  </a:cubicBezTo>
                  <a:cubicBezTo>
                    <a:pt x="361" y="162"/>
                    <a:pt x="361" y="162"/>
                    <a:pt x="361" y="162"/>
                  </a:cubicBezTo>
                  <a:cubicBezTo>
                    <a:pt x="386" y="156"/>
                    <a:pt x="386" y="156"/>
                    <a:pt x="386" y="156"/>
                  </a:cubicBezTo>
                  <a:cubicBezTo>
                    <a:pt x="396" y="144"/>
                    <a:pt x="396" y="144"/>
                    <a:pt x="396" y="144"/>
                  </a:cubicBezTo>
                  <a:cubicBezTo>
                    <a:pt x="449" y="146"/>
                    <a:pt x="449" y="146"/>
                    <a:pt x="449" y="146"/>
                  </a:cubicBezTo>
                  <a:cubicBezTo>
                    <a:pt x="457" y="159"/>
                    <a:pt x="457" y="159"/>
                    <a:pt x="457" y="159"/>
                  </a:cubicBezTo>
                  <a:cubicBezTo>
                    <a:pt x="459" y="157"/>
                    <a:pt x="459" y="157"/>
                    <a:pt x="459" y="157"/>
                  </a:cubicBezTo>
                  <a:lnTo>
                    <a:pt x="451" y="136"/>
                  </a:lnTo>
                  <a:close/>
                  <a:moveTo>
                    <a:pt x="262" y="549"/>
                  </a:moveTo>
                  <a:cubicBezTo>
                    <a:pt x="259" y="560"/>
                    <a:pt x="271" y="583"/>
                    <a:pt x="271" y="583"/>
                  </a:cubicBezTo>
                  <a:cubicBezTo>
                    <a:pt x="279" y="566"/>
                    <a:pt x="279" y="566"/>
                    <a:pt x="279" y="566"/>
                  </a:cubicBezTo>
                  <a:cubicBezTo>
                    <a:pt x="279" y="566"/>
                    <a:pt x="285" y="569"/>
                    <a:pt x="290" y="560"/>
                  </a:cubicBezTo>
                  <a:cubicBezTo>
                    <a:pt x="296" y="552"/>
                    <a:pt x="290" y="543"/>
                    <a:pt x="290" y="543"/>
                  </a:cubicBezTo>
                  <a:cubicBezTo>
                    <a:pt x="302" y="531"/>
                    <a:pt x="302" y="531"/>
                    <a:pt x="302" y="531"/>
                  </a:cubicBezTo>
                  <a:cubicBezTo>
                    <a:pt x="302" y="531"/>
                    <a:pt x="265" y="538"/>
                    <a:pt x="262" y="549"/>
                  </a:cubicBezTo>
                  <a:close/>
                  <a:moveTo>
                    <a:pt x="200" y="597"/>
                  </a:moveTo>
                  <a:cubicBezTo>
                    <a:pt x="200" y="602"/>
                    <a:pt x="199" y="615"/>
                    <a:pt x="199" y="615"/>
                  </a:cubicBezTo>
                  <a:cubicBezTo>
                    <a:pt x="207" y="615"/>
                    <a:pt x="216" y="584"/>
                    <a:pt x="216" y="584"/>
                  </a:cubicBezTo>
                  <a:cubicBezTo>
                    <a:pt x="230" y="570"/>
                    <a:pt x="230" y="570"/>
                    <a:pt x="230" y="570"/>
                  </a:cubicBezTo>
                  <a:cubicBezTo>
                    <a:pt x="226" y="557"/>
                    <a:pt x="226" y="557"/>
                    <a:pt x="226" y="557"/>
                  </a:cubicBezTo>
                  <a:cubicBezTo>
                    <a:pt x="226" y="557"/>
                    <a:pt x="200" y="591"/>
                    <a:pt x="200" y="597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 319">
              <a:extLst>
                <a:ext uri="{FF2B5EF4-FFF2-40B4-BE49-F238E27FC236}">
                  <a16:creationId xmlns:a16="http://schemas.microsoft.com/office/drawing/2014/main" id="{7F1CB1A5-D64F-CC16-66A8-404873B99D5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5771" y="-19648"/>
              <a:ext cx="2137" cy="2385"/>
            </a:xfrm>
            <a:custGeom>
              <a:avLst/>
              <a:gdLst>
                <a:gd name="T0" fmla="*/ 453 w 905"/>
                <a:gd name="T1" fmla="*/ 40 h 1010"/>
                <a:gd name="T2" fmla="*/ 653 w 905"/>
                <a:gd name="T3" fmla="*/ 48 h 1010"/>
                <a:gd name="T4" fmla="*/ 558 w 905"/>
                <a:gd name="T5" fmla="*/ 4 h 1010"/>
                <a:gd name="T6" fmla="*/ 429 w 905"/>
                <a:gd name="T7" fmla="*/ 28 h 1010"/>
                <a:gd name="T8" fmla="*/ 281 w 905"/>
                <a:gd name="T9" fmla="*/ 93 h 1010"/>
                <a:gd name="T10" fmla="*/ 345 w 905"/>
                <a:gd name="T11" fmla="*/ 111 h 1010"/>
                <a:gd name="T12" fmla="*/ 432 w 905"/>
                <a:gd name="T13" fmla="*/ 100 h 1010"/>
                <a:gd name="T14" fmla="*/ 515 w 905"/>
                <a:gd name="T15" fmla="*/ 123 h 1010"/>
                <a:gd name="T16" fmla="*/ 551 w 905"/>
                <a:gd name="T17" fmla="*/ 82 h 1010"/>
                <a:gd name="T18" fmla="*/ 453 w 905"/>
                <a:gd name="T19" fmla="*/ 54 h 1010"/>
                <a:gd name="T20" fmla="*/ 328 w 905"/>
                <a:gd name="T21" fmla="*/ 27 h 1010"/>
                <a:gd name="T22" fmla="*/ 240 w 905"/>
                <a:gd name="T23" fmla="*/ 24 h 1010"/>
                <a:gd name="T24" fmla="*/ 417 w 905"/>
                <a:gd name="T25" fmla="*/ 467 h 1010"/>
                <a:gd name="T26" fmla="*/ 363 w 905"/>
                <a:gd name="T27" fmla="*/ 482 h 1010"/>
                <a:gd name="T28" fmla="*/ 611 w 905"/>
                <a:gd name="T29" fmla="*/ 404 h 1010"/>
                <a:gd name="T30" fmla="*/ 320 w 905"/>
                <a:gd name="T31" fmla="*/ 509 h 1010"/>
                <a:gd name="T32" fmla="*/ 902 w 905"/>
                <a:gd name="T33" fmla="*/ 421 h 1010"/>
                <a:gd name="T34" fmla="*/ 749 w 905"/>
                <a:gd name="T35" fmla="*/ 425 h 1010"/>
                <a:gd name="T36" fmla="*/ 683 w 905"/>
                <a:gd name="T37" fmla="*/ 393 h 1010"/>
                <a:gd name="T38" fmla="*/ 593 w 905"/>
                <a:gd name="T39" fmla="*/ 446 h 1010"/>
                <a:gd name="T40" fmla="*/ 507 w 905"/>
                <a:gd name="T41" fmla="*/ 444 h 1010"/>
                <a:gd name="T42" fmla="*/ 494 w 905"/>
                <a:gd name="T43" fmla="*/ 437 h 1010"/>
                <a:gd name="T44" fmla="*/ 446 w 905"/>
                <a:gd name="T45" fmla="*/ 491 h 1010"/>
                <a:gd name="T46" fmla="*/ 399 w 905"/>
                <a:gd name="T47" fmla="*/ 505 h 1010"/>
                <a:gd name="T48" fmla="*/ 360 w 905"/>
                <a:gd name="T49" fmla="*/ 526 h 1010"/>
                <a:gd name="T50" fmla="*/ 365 w 905"/>
                <a:gd name="T51" fmla="*/ 561 h 1010"/>
                <a:gd name="T52" fmla="*/ 293 w 905"/>
                <a:gd name="T53" fmla="*/ 606 h 1010"/>
                <a:gd name="T54" fmla="*/ 266 w 905"/>
                <a:gd name="T55" fmla="*/ 642 h 1010"/>
                <a:gd name="T56" fmla="*/ 237 w 905"/>
                <a:gd name="T57" fmla="*/ 689 h 1010"/>
                <a:gd name="T58" fmla="*/ 180 w 905"/>
                <a:gd name="T59" fmla="*/ 715 h 1010"/>
                <a:gd name="T60" fmla="*/ 118 w 905"/>
                <a:gd name="T61" fmla="*/ 741 h 1010"/>
                <a:gd name="T62" fmla="*/ 111 w 905"/>
                <a:gd name="T63" fmla="*/ 775 h 1010"/>
                <a:gd name="T64" fmla="*/ 72 w 905"/>
                <a:gd name="T65" fmla="*/ 808 h 1010"/>
                <a:gd name="T66" fmla="*/ 20 w 905"/>
                <a:gd name="T67" fmla="*/ 804 h 1010"/>
                <a:gd name="T68" fmla="*/ 21 w 905"/>
                <a:gd name="T69" fmla="*/ 834 h 1010"/>
                <a:gd name="T70" fmla="*/ 71 w 905"/>
                <a:gd name="T71" fmla="*/ 854 h 1010"/>
                <a:gd name="T72" fmla="*/ 0 w 905"/>
                <a:gd name="T73" fmla="*/ 858 h 1010"/>
                <a:gd name="T74" fmla="*/ 65 w 905"/>
                <a:gd name="T75" fmla="*/ 884 h 1010"/>
                <a:gd name="T76" fmla="*/ 14 w 905"/>
                <a:gd name="T77" fmla="*/ 926 h 1010"/>
                <a:gd name="T78" fmla="*/ 36 w 905"/>
                <a:gd name="T79" fmla="*/ 967 h 1010"/>
                <a:gd name="T80" fmla="*/ 103 w 905"/>
                <a:gd name="T81" fmla="*/ 1004 h 1010"/>
                <a:gd name="T82" fmla="*/ 207 w 905"/>
                <a:gd name="T83" fmla="*/ 942 h 1010"/>
                <a:gd name="T84" fmla="*/ 252 w 905"/>
                <a:gd name="T85" fmla="*/ 911 h 1010"/>
                <a:gd name="T86" fmla="*/ 268 w 905"/>
                <a:gd name="T87" fmla="*/ 857 h 1010"/>
                <a:gd name="T88" fmla="*/ 262 w 905"/>
                <a:gd name="T89" fmla="*/ 783 h 1010"/>
                <a:gd name="T90" fmla="*/ 279 w 905"/>
                <a:gd name="T91" fmla="*/ 724 h 1010"/>
                <a:gd name="T92" fmla="*/ 348 w 905"/>
                <a:gd name="T93" fmla="*/ 629 h 1010"/>
                <a:gd name="T94" fmla="*/ 386 w 905"/>
                <a:gd name="T95" fmla="*/ 591 h 1010"/>
                <a:gd name="T96" fmla="*/ 423 w 905"/>
                <a:gd name="T97" fmla="*/ 529 h 1010"/>
                <a:gd name="T98" fmla="*/ 508 w 905"/>
                <a:gd name="T99" fmla="*/ 505 h 1010"/>
                <a:gd name="T100" fmla="*/ 557 w 905"/>
                <a:gd name="T101" fmla="*/ 481 h 1010"/>
                <a:gd name="T102" fmla="*/ 594 w 905"/>
                <a:gd name="T103" fmla="*/ 480 h 1010"/>
                <a:gd name="T104" fmla="*/ 677 w 905"/>
                <a:gd name="T105" fmla="*/ 489 h 1010"/>
                <a:gd name="T106" fmla="*/ 752 w 905"/>
                <a:gd name="T107" fmla="*/ 438 h 1010"/>
                <a:gd name="T108" fmla="*/ 834 w 905"/>
                <a:gd name="T109" fmla="*/ 469 h 1010"/>
                <a:gd name="T110" fmla="*/ 891 w 905"/>
                <a:gd name="T111" fmla="*/ 456 h 1010"/>
                <a:gd name="T112" fmla="*/ 380 w 905"/>
                <a:gd name="T113" fmla="*/ 512 h 1010"/>
                <a:gd name="T114" fmla="*/ 346 w 905"/>
                <a:gd name="T115" fmla="*/ 483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05" h="1010">
                  <a:moveTo>
                    <a:pt x="215" y="87"/>
                  </a:moveTo>
                  <a:cubicBezTo>
                    <a:pt x="229" y="97"/>
                    <a:pt x="250" y="93"/>
                    <a:pt x="250" y="93"/>
                  </a:cubicBezTo>
                  <a:cubicBezTo>
                    <a:pt x="228" y="82"/>
                    <a:pt x="228" y="82"/>
                    <a:pt x="228" y="82"/>
                  </a:cubicBezTo>
                  <a:cubicBezTo>
                    <a:pt x="195" y="65"/>
                    <a:pt x="195" y="65"/>
                    <a:pt x="195" y="65"/>
                  </a:cubicBezTo>
                  <a:cubicBezTo>
                    <a:pt x="191" y="78"/>
                    <a:pt x="201" y="78"/>
                    <a:pt x="215" y="87"/>
                  </a:cubicBezTo>
                  <a:close/>
                  <a:moveTo>
                    <a:pt x="453" y="40"/>
                  </a:moveTo>
                  <a:cubicBezTo>
                    <a:pt x="481" y="40"/>
                    <a:pt x="481" y="40"/>
                    <a:pt x="481" y="40"/>
                  </a:cubicBezTo>
                  <a:cubicBezTo>
                    <a:pt x="481" y="40"/>
                    <a:pt x="512" y="51"/>
                    <a:pt x="516" y="49"/>
                  </a:cubicBezTo>
                  <a:cubicBezTo>
                    <a:pt x="520" y="48"/>
                    <a:pt x="542" y="44"/>
                    <a:pt x="547" y="44"/>
                  </a:cubicBezTo>
                  <a:cubicBezTo>
                    <a:pt x="553" y="44"/>
                    <a:pt x="599" y="62"/>
                    <a:pt x="599" y="62"/>
                  </a:cubicBezTo>
                  <a:cubicBezTo>
                    <a:pt x="613" y="47"/>
                    <a:pt x="613" y="47"/>
                    <a:pt x="613" y="47"/>
                  </a:cubicBezTo>
                  <a:cubicBezTo>
                    <a:pt x="653" y="48"/>
                    <a:pt x="653" y="48"/>
                    <a:pt x="653" y="48"/>
                  </a:cubicBezTo>
                  <a:cubicBezTo>
                    <a:pt x="656" y="35"/>
                    <a:pt x="656" y="35"/>
                    <a:pt x="656" y="35"/>
                  </a:cubicBezTo>
                  <a:cubicBezTo>
                    <a:pt x="656" y="35"/>
                    <a:pt x="677" y="42"/>
                    <a:pt x="688" y="21"/>
                  </a:cubicBezTo>
                  <a:cubicBezTo>
                    <a:pt x="699" y="0"/>
                    <a:pt x="653" y="17"/>
                    <a:pt x="653" y="17"/>
                  </a:cubicBezTo>
                  <a:cubicBezTo>
                    <a:pt x="653" y="17"/>
                    <a:pt x="650" y="7"/>
                    <a:pt x="626" y="7"/>
                  </a:cubicBezTo>
                  <a:cubicBezTo>
                    <a:pt x="602" y="7"/>
                    <a:pt x="585" y="19"/>
                    <a:pt x="578" y="17"/>
                  </a:cubicBezTo>
                  <a:cubicBezTo>
                    <a:pt x="571" y="16"/>
                    <a:pt x="577" y="4"/>
                    <a:pt x="558" y="4"/>
                  </a:cubicBezTo>
                  <a:cubicBezTo>
                    <a:pt x="540" y="4"/>
                    <a:pt x="535" y="20"/>
                    <a:pt x="535" y="20"/>
                  </a:cubicBezTo>
                  <a:cubicBezTo>
                    <a:pt x="491" y="4"/>
                    <a:pt x="491" y="4"/>
                    <a:pt x="491" y="4"/>
                  </a:cubicBezTo>
                  <a:cubicBezTo>
                    <a:pt x="491" y="4"/>
                    <a:pt x="470" y="11"/>
                    <a:pt x="447" y="16"/>
                  </a:cubicBezTo>
                  <a:cubicBezTo>
                    <a:pt x="425" y="20"/>
                    <a:pt x="440" y="4"/>
                    <a:pt x="440" y="4"/>
                  </a:cubicBezTo>
                  <a:cubicBezTo>
                    <a:pt x="419" y="14"/>
                    <a:pt x="419" y="14"/>
                    <a:pt x="419" y="14"/>
                  </a:cubicBezTo>
                  <a:cubicBezTo>
                    <a:pt x="429" y="28"/>
                    <a:pt x="429" y="28"/>
                    <a:pt x="429" y="28"/>
                  </a:cubicBezTo>
                  <a:lnTo>
                    <a:pt x="453" y="40"/>
                  </a:lnTo>
                  <a:close/>
                  <a:moveTo>
                    <a:pt x="214" y="49"/>
                  </a:moveTo>
                  <a:cubicBezTo>
                    <a:pt x="221" y="54"/>
                    <a:pt x="236" y="51"/>
                    <a:pt x="239" y="55"/>
                  </a:cubicBezTo>
                  <a:cubicBezTo>
                    <a:pt x="242" y="59"/>
                    <a:pt x="223" y="69"/>
                    <a:pt x="223" y="69"/>
                  </a:cubicBezTo>
                  <a:cubicBezTo>
                    <a:pt x="252" y="80"/>
                    <a:pt x="252" y="80"/>
                    <a:pt x="252" y="80"/>
                  </a:cubicBezTo>
                  <a:cubicBezTo>
                    <a:pt x="252" y="80"/>
                    <a:pt x="267" y="90"/>
                    <a:pt x="281" y="93"/>
                  </a:cubicBezTo>
                  <a:cubicBezTo>
                    <a:pt x="295" y="96"/>
                    <a:pt x="305" y="76"/>
                    <a:pt x="305" y="76"/>
                  </a:cubicBezTo>
                  <a:cubicBezTo>
                    <a:pt x="333" y="71"/>
                    <a:pt x="333" y="71"/>
                    <a:pt x="333" y="71"/>
                  </a:cubicBezTo>
                  <a:cubicBezTo>
                    <a:pt x="356" y="85"/>
                    <a:pt x="356" y="85"/>
                    <a:pt x="356" y="85"/>
                  </a:cubicBezTo>
                  <a:cubicBezTo>
                    <a:pt x="356" y="85"/>
                    <a:pt x="337" y="90"/>
                    <a:pt x="319" y="94"/>
                  </a:cubicBezTo>
                  <a:cubicBezTo>
                    <a:pt x="301" y="99"/>
                    <a:pt x="302" y="106"/>
                    <a:pt x="302" y="106"/>
                  </a:cubicBezTo>
                  <a:cubicBezTo>
                    <a:pt x="302" y="106"/>
                    <a:pt x="352" y="110"/>
                    <a:pt x="345" y="111"/>
                  </a:cubicBezTo>
                  <a:cubicBezTo>
                    <a:pt x="337" y="113"/>
                    <a:pt x="307" y="125"/>
                    <a:pt x="307" y="125"/>
                  </a:cubicBezTo>
                  <a:cubicBezTo>
                    <a:pt x="340" y="137"/>
                    <a:pt x="340" y="137"/>
                    <a:pt x="340" y="137"/>
                  </a:cubicBezTo>
                  <a:cubicBezTo>
                    <a:pt x="340" y="137"/>
                    <a:pt x="370" y="152"/>
                    <a:pt x="395" y="148"/>
                  </a:cubicBezTo>
                  <a:cubicBezTo>
                    <a:pt x="421" y="144"/>
                    <a:pt x="402" y="128"/>
                    <a:pt x="402" y="121"/>
                  </a:cubicBezTo>
                  <a:cubicBezTo>
                    <a:pt x="402" y="114"/>
                    <a:pt x="432" y="114"/>
                    <a:pt x="432" y="114"/>
                  </a:cubicBezTo>
                  <a:cubicBezTo>
                    <a:pt x="432" y="100"/>
                    <a:pt x="432" y="100"/>
                    <a:pt x="432" y="100"/>
                  </a:cubicBezTo>
                  <a:cubicBezTo>
                    <a:pt x="451" y="96"/>
                    <a:pt x="451" y="96"/>
                    <a:pt x="451" y="96"/>
                  </a:cubicBezTo>
                  <a:cubicBezTo>
                    <a:pt x="460" y="75"/>
                    <a:pt x="460" y="75"/>
                    <a:pt x="460" y="75"/>
                  </a:cubicBezTo>
                  <a:cubicBezTo>
                    <a:pt x="473" y="82"/>
                    <a:pt x="473" y="82"/>
                    <a:pt x="473" y="82"/>
                  </a:cubicBezTo>
                  <a:cubicBezTo>
                    <a:pt x="489" y="73"/>
                    <a:pt x="489" y="73"/>
                    <a:pt x="489" y="73"/>
                  </a:cubicBezTo>
                  <a:cubicBezTo>
                    <a:pt x="489" y="73"/>
                    <a:pt x="498" y="87"/>
                    <a:pt x="518" y="92"/>
                  </a:cubicBezTo>
                  <a:cubicBezTo>
                    <a:pt x="537" y="96"/>
                    <a:pt x="515" y="123"/>
                    <a:pt x="515" y="123"/>
                  </a:cubicBezTo>
                  <a:cubicBezTo>
                    <a:pt x="551" y="121"/>
                    <a:pt x="551" y="121"/>
                    <a:pt x="551" y="121"/>
                  </a:cubicBezTo>
                  <a:cubicBezTo>
                    <a:pt x="551" y="121"/>
                    <a:pt x="570" y="137"/>
                    <a:pt x="571" y="132"/>
                  </a:cubicBezTo>
                  <a:cubicBezTo>
                    <a:pt x="572" y="128"/>
                    <a:pt x="623" y="114"/>
                    <a:pt x="627" y="106"/>
                  </a:cubicBezTo>
                  <a:cubicBezTo>
                    <a:pt x="632" y="97"/>
                    <a:pt x="589" y="99"/>
                    <a:pt x="589" y="99"/>
                  </a:cubicBezTo>
                  <a:cubicBezTo>
                    <a:pt x="587" y="87"/>
                    <a:pt x="587" y="87"/>
                    <a:pt x="587" y="87"/>
                  </a:cubicBezTo>
                  <a:cubicBezTo>
                    <a:pt x="551" y="82"/>
                    <a:pt x="551" y="82"/>
                    <a:pt x="551" y="82"/>
                  </a:cubicBezTo>
                  <a:cubicBezTo>
                    <a:pt x="550" y="71"/>
                    <a:pt x="550" y="71"/>
                    <a:pt x="550" y="71"/>
                  </a:cubicBezTo>
                  <a:cubicBezTo>
                    <a:pt x="529" y="73"/>
                    <a:pt x="529" y="73"/>
                    <a:pt x="529" y="73"/>
                  </a:cubicBezTo>
                  <a:cubicBezTo>
                    <a:pt x="532" y="61"/>
                    <a:pt x="532" y="61"/>
                    <a:pt x="532" y="61"/>
                  </a:cubicBezTo>
                  <a:cubicBezTo>
                    <a:pt x="481" y="62"/>
                    <a:pt x="481" y="62"/>
                    <a:pt x="481" y="62"/>
                  </a:cubicBezTo>
                  <a:cubicBezTo>
                    <a:pt x="477" y="54"/>
                    <a:pt x="477" y="54"/>
                    <a:pt x="477" y="54"/>
                  </a:cubicBezTo>
                  <a:cubicBezTo>
                    <a:pt x="453" y="54"/>
                    <a:pt x="453" y="54"/>
                    <a:pt x="453" y="54"/>
                  </a:cubicBezTo>
                  <a:cubicBezTo>
                    <a:pt x="453" y="54"/>
                    <a:pt x="450" y="41"/>
                    <a:pt x="435" y="37"/>
                  </a:cubicBezTo>
                  <a:cubicBezTo>
                    <a:pt x="419" y="33"/>
                    <a:pt x="412" y="38"/>
                    <a:pt x="412" y="38"/>
                  </a:cubicBezTo>
                  <a:cubicBezTo>
                    <a:pt x="415" y="26"/>
                    <a:pt x="415" y="26"/>
                    <a:pt x="415" y="26"/>
                  </a:cubicBezTo>
                  <a:cubicBezTo>
                    <a:pt x="415" y="26"/>
                    <a:pt x="394" y="20"/>
                    <a:pt x="366" y="21"/>
                  </a:cubicBezTo>
                  <a:cubicBezTo>
                    <a:pt x="337" y="23"/>
                    <a:pt x="374" y="55"/>
                    <a:pt x="374" y="55"/>
                  </a:cubicBezTo>
                  <a:cubicBezTo>
                    <a:pt x="374" y="55"/>
                    <a:pt x="343" y="30"/>
                    <a:pt x="328" y="27"/>
                  </a:cubicBezTo>
                  <a:cubicBezTo>
                    <a:pt x="312" y="24"/>
                    <a:pt x="307" y="44"/>
                    <a:pt x="307" y="44"/>
                  </a:cubicBezTo>
                  <a:cubicBezTo>
                    <a:pt x="307" y="44"/>
                    <a:pt x="284" y="40"/>
                    <a:pt x="278" y="37"/>
                  </a:cubicBezTo>
                  <a:cubicBezTo>
                    <a:pt x="273" y="34"/>
                    <a:pt x="291" y="24"/>
                    <a:pt x="291" y="24"/>
                  </a:cubicBezTo>
                  <a:cubicBezTo>
                    <a:pt x="254" y="27"/>
                    <a:pt x="254" y="27"/>
                    <a:pt x="254" y="27"/>
                  </a:cubicBezTo>
                  <a:cubicBezTo>
                    <a:pt x="245" y="35"/>
                    <a:pt x="245" y="35"/>
                    <a:pt x="245" y="35"/>
                  </a:cubicBezTo>
                  <a:cubicBezTo>
                    <a:pt x="240" y="24"/>
                    <a:pt x="240" y="24"/>
                    <a:pt x="240" y="24"/>
                  </a:cubicBezTo>
                  <a:cubicBezTo>
                    <a:pt x="240" y="24"/>
                    <a:pt x="216" y="31"/>
                    <a:pt x="208" y="38"/>
                  </a:cubicBezTo>
                  <a:cubicBezTo>
                    <a:pt x="208" y="38"/>
                    <a:pt x="207" y="45"/>
                    <a:pt x="214" y="49"/>
                  </a:cubicBezTo>
                  <a:close/>
                  <a:moveTo>
                    <a:pt x="425" y="477"/>
                  </a:moveTo>
                  <a:cubicBezTo>
                    <a:pt x="441" y="474"/>
                    <a:pt x="440" y="464"/>
                    <a:pt x="447" y="464"/>
                  </a:cubicBezTo>
                  <a:cubicBezTo>
                    <a:pt x="453" y="464"/>
                    <a:pt x="447" y="453"/>
                    <a:pt x="447" y="453"/>
                  </a:cubicBezTo>
                  <a:cubicBezTo>
                    <a:pt x="417" y="467"/>
                    <a:pt x="417" y="467"/>
                    <a:pt x="417" y="467"/>
                  </a:cubicBezTo>
                  <a:lnTo>
                    <a:pt x="425" y="477"/>
                  </a:lnTo>
                  <a:close/>
                  <a:moveTo>
                    <a:pt x="513" y="437"/>
                  </a:moveTo>
                  <a:cubicBezTo>
                    <a:pt x="522" y="434"/>
                    <a:pt x="535" y="424"/>
                    <a:pt x="517" y="423"/>
                  </a:cubicBezTo>
                  <a:cubicBezTo>
                    <a:pt x="500" y="422"/>
                    <a:pt x="513" y="437"/>
                    <a:pt x="513" y="437"/>
                  </a:cubicBezTo>
                  <a:close/>
                  <a:moveTo>
                    <a:pt x="392" y="470"/>
                  </a:moveTo>
                  <a:cubicBezTo>
                    <a:pt x="373" y="465"/>
                    <a:pt x="363" y="482"/>
                    <a:pt x="363" y="482"/>
                  </a:cubicBezTo>
                  <a:cubicBezTo>
                    <a:pt x="379" y="486"/>
                    <a:pt x="379" y="486"/>
                    <a:pt x="379" y="486"/>
                  </a:cubicBezTo>
                  <a:cubicBezTo>
                    <a:pt x="385" y="482"/>
                    <a:pt x="411" y="474"/>
                    <a:pt x="392" y="470"/>
                  </a:cubicBezTo>
                  <a:close/>
                  <a:moveTo>
                    <a:pt x="610" y="414"/>
                  </a:moveTo>
                  <a:cubicBezTo>
                    <a:pt x="623" y="417"/>
                    <a:pt x="623" y="417"/>
                    <a:pt x="623" y="417"/>
                  </a:cubicBezTo>
                  <a:cubicBezTo>
                    <a:pt x="631" y="408"/>
                    <a:pt x="631" y="402"/>
                    <a:pt x="631" y="402"/>
                  </a:cubicBezTo>
                  <a:cubicBezTo>
                    <a:pt x="611" y="404"/>
                    <a:pt x="611" y="404"/>
                    <a:pt x="611" y="404"/>
                  </a:cubicBezTo>
                  <a:lnTo>
                    <a:pt x="610" y="414"/>
                  </a:lnTo>
                  <a:close/>
                  <a:moveTo>
                    <a:pt x="320" y="509"/>
                  </a:moveTo>
                  <a:cubicBezTo>
                    <a:pt x="304" y="509"/>
                    <a:pt x="279" y="528"/>
                    <a:pt x="285" y="532"/>
                  </a:cubicBezTo>
                  <a:cubicBezTo>
                    <a:pt x="290" y="535"/>
                    <a:pt x="315" y="520"/>
                    <a:pt x="315" y="520"/>
                  </a:cubicBezTo>
                  <a:cubicBezTo>
                    <a:pt x="338" y="516"/>
                    <a:pt x="338" y="516"/>
                    <a:pt x="338" y="516"/>
                  </a:cubicBezTo>
                  <a:cubicBezTo>
                    <a:pt x="335" y="516"/>
                    <a:pt x="336" y="509"/>
                    <a:pt x="320" y="509"/>
                  </a:cubicBezTo>
                  <a:close/>
                  <a:moveTo>
                    <a:pt x="901" y="448"/>
                  </a:moveTo>
                  <a:cubicBezTo>
                    <a:pt x="884" y="451"/>
                    <a:pt x="884" y="451"/>
                    <a:pt x="884" y="451"/>
                  </a:cubicBezTo>
                  <a:cubicBezTo>
                    <a:pt x="856" y="444"/>
                    <a:pt x="856" y="444"/>
                    <a:pt x="856" y="444"/>
                  </a:cubicBezTo>
                  <a:cubicBezTo>
                    <a:pt x="836" y="433"/>
                    <a:pt x="836" y="433"/>
                    <a:pt x="836" y="433"/>
                  </a:cubicBezTo>
                  <a:cubicBezTo>
                    <a:pt x="836" y="433"/>
                    <a:pt x="862" y="437"/>
                    <a:pt x="873" y="432"/>
                  </a:cubicBezTo>
                  <a:cubicBezTo>
                    <a:pt x="884" y="427"/>
                    <a:pt x="902" y="421"/>
                    <a:pt x="902" y="421"/>
                  </a:cubicBezTo>
                  <a:cubicBezTo>
                    <a:pt x="902" y="421"/>
                    <a:pt x="876" y="406"/>
                    <a:pt x="862" y="406"/>
                  </a:cubicBezTo>
                  <a:cubicBezTo>
                    <a:pt x="848" y="406"/>
                    <a:pt x="827" y="395"/>
                    <a:pt x="827" y="395"/>
                  </a:cubicBezTo>
                  <a:cubicBezTo>
                    <a:pt x="827" y="395"/>
                    <a:pt x="819" y="421"/>
                    <a:pt x="803" y="418"/>
                  </a:cubicBezTo>
                  <a:cubicBezTo>
                    <a:pt x="787" y="415"/>
                    <a:pt x="815" y="397"/>
                    <a:pt x="815" y="397"/>
                  </a:cubicBezTo>
                  <a:cubicBezTo>
                    <a:pt x="771" y="382"/>
                    <a:pt x="771" y="382"/>
                    <a:pt x="771" y="382"/>
                  </a:cubicBezTo>
                  <a:cubicBezTo>
                    <a:pt x="771" y="382"/>
                    <a:pt x="763" y="431"/>
                    <a:pt x="749" y="425"/>
                  </a:cubicBezTo>
                  <a:cubicBezTo>
                    <a:pt x="735" y="419"/>
                    <a:pt x="746" y="393"/>
                    <a:pt x="746" y="393"/>
                  </a:cubicBezTo>
                  <a:cubicBezTo>
                    <a:pt x="746" y="393"/>
                    <a:pt x="708" y="437"/>
                    <a:pt x="698" y="430"/>
                  </a:cubicBezTo>
                  <a:cubicBezTo>
                    <a:pt x="688" y="423"/>
                    <a:pt x="734" y="387"/>
                    <a:pt x="734" y="387"/>
                  </a:cubicBezTo>
                  <a:cubicBezTo>
                    <a:pt x="711" y="385"/>
                    <a:pt x="711" y="385"/>
                    <a:pt x="711" y="385"/>
                  </a:cubicBezTo>
                  <a:cubicBezTo>
                    <a:pt x="699" y="395"/>
                    <a:pt x="699" y="395"/>
                    <a:pt x="699" y="395"/>
                  </a:cubicBezTo>
                  <a:cubicBezTo>
                    <a:pt x="683" y="393"/>
                    <a:pt x="683" y="393"/>
                    <a:pt x="683" y="393"/>
                  </a:cubicBezTo>
                  <a:cubicBezTo>
                    <a:pt x="653" y="411"/>
                    <a:pt x="653" y="411"/>
                    <a:pt x="653" y="411"/>
                  </a:cubicBezTo>
                  <a:cubicBezTo>
                    <a:pt x="637" y="412"/>
                    <a:pt x="637" y="412"/>
                    <a:pt x="637" y="412"/>
                  </a:cubicBezTo>
                  <a:cubicBezTo>
                    <a:pt x="635" y="432"/>
                    <a:pt x="635" y="432"/>
                    <a:pt x="635" y="432"/>
                  </a:cubicBezTo>
                  <a:cubicBezTo>
                    <a:pt x="611" y="423"/>
                    <a:pt x="611" y="423"/>
                    <a:pt x="611" y="423"/>
                  </a:cubicBezTo>
                  <a:cubicBezTo>
                    <a:pt x="585" y="428"/>
                    <a:pt x="585" y="428"/>
                    <a:pt x="585" y="428"/>
                  </a:cubicBezTo>
                  <a:cubicBezTo>
                    <a:pt x="593" y="446"/>
                    <a:pt x="593" y="446"/>
                    <a:pt x="593" y="446"/>
                  </a:cubicBezTo>
                  <a:cubicBezTo>
                    <a:pt x="562" y="437"/>
                    <a:pt x="562" y="437"/>
                    <a:pt x="562" y="437"/>
                  </a:cubicBezTo>
                  <a:cubicBezTo>
                    <a:pt x="551" y="443"/>
                    <a:pt x="551" y="443"/>
                    <a:pt x="551" y="443"/>
                  </a:cubicBezTo>
                  <a:cubicBezTo>
                    <a:pt x="554" y="459"/>
                    <a:pt x="554" y="459"/>
                    <a:pt x="554" y="459"/>
                  </a:cubicBezTo>
                  <a:cubicBezTo>
                    <a:pt x="524" y="465"/>
                    <a:pt x="524" y="465"/>
                    <a:pt x="524" y="465"/>
                  </a:cubicBezTo>
                  <a:cubicBezTo>
                    <a:pt x="527" y="444"/>
                    <a:pt x="527" y="444"/>
                    <a:pt x="527" y="444"/>
                  </a:cubicBezTo>
                  <a:cubicBezTo>
                    <a:pt x="507" y="444"/>
                    <a:pt x="507" y="444"/>
                    <a:pt x="507" y="444"/>
                  </a:cubicBezTo>
                  <a:cubicBezTo>
                    <a:pt x="513" y="457"/>
                    <a:pt x="513" y="457"/>
                    <a:pt x="513" y="457"/>
                  </a:cubicBezTo>
                  <a:cubicBezTo>
                    <a:pt x="497" y="447"/>
                    <a:pt x="497" y="447"/>
                    <a:pt x="497" y="447"/>
                  </a:cubicBezTo>
                  <a:cubicBezTo>
                    <a:pt x="499" y="467"/>
                    <a:pt x="499" y="467"/>
                    <a:pt x="499" y="467"/>
                  </a:cubicBezTo>
                  <a:cubicBezTo>
                    <a:pt x="482" y="466"/>
                    <a:pt x="482" y="466"/>
                    <a:pt x="482" y="466"/>
                  </a:cubicBezTo>
                  <a:cubicBezTo>
                    <a:pt x="482" y="466"/>
                    <a:pt x="479" y="453"/>
                    <a:pt x="481" y="450"/>
                  </a:cubicBezTo>
                  <a:cubicBezTo>
                    <a:pt x="483" y="447"/>
                    <a:pt x="494" y="437"/>
                    <a:pt x="494" y="437"/>
                  </a:cubicBezTo>
                  <a:cubicBezTo>
                    <a:pt x="471" y="434"/>
                    <a:pt x="471" y="434"/>
                    <a:pt x="471" y="434"/>
                  </a:cubicBezTo>
                  <a:cubicBezTo>
                    <a:pt x="468" y="463"/>
                    <a:pt x="468" y="463"/>
                    <a:pt x="468" y="463"/>
                  </a:cubicBezTo>
                  <a:cubicBezTo>
                    <a:pt x="450" y="472"/>
                    <a:pt x="450" y="472"/>
                    <a:pt x="450" y="472"/>
                  </a:cubicBezTo>
                  <a:cubicBezTo>
                    <a:pt x="460" y="480"/>
                    <a:pt x="460" y="480"/>
                    <a:pt x="460" y="480"/>
                  </a:cubicBezTo>
                  <a:cubicBezTo>
                    <a:pt x="438" y="483"/>
                    <a:pt x="438" y="483"/>
                    <a:pt x="438" y="483"/>
                  </a:cubicBezTo>
                  <a:cubicBezTo>
                    <a:pt x="446" y="491"/>
                    <a:pt x="446" y="491"/>
                    <a:pt x="446" y="491"/>
                  </a:cubicBezTo>
                  <a:cubicBezTo>
                    <a:pt x="418" y="492"/>
                    <a:pt x="418" y="492"/>
                    <a:pt x="418" y="492"/>
                  </a:cubicBezTo>
                  <a:cubicBezTo>
                    <a:pt x="418" y="500"/>
                    <a:pt x="418" y="500"/>
                    <a:pt x="418" y="500"/>
                  </a:cubicBezTo>
                  <a:cubicBezTo>
                    <a:pt x="439" y="505"/>
                    <a:pt x="439" y="505"/>
                    <a:pt x="439" y="505"/>
                  </a:cubicBezTo>
                  <a:cubicBezTo>
                    <a:pt x="432" y="514"/>
                    <a:pt x="432" y="514"/>
                    <a:pt x="432" y="514"/>
                  </a:cubicBezTo>
                  <a:cubicBezTo>
                    <a:pt x="408" y="504"/>
                    <a:pt x="408" y="504"/>
                    <a:pt x="408" y="504"/>
                  </a:cubicBezTo>
                  <a:cubicBezTo>
                    <a:pt x="399" y="505"/>
                    <a:pt x="399" y="505"/>
                    <a:pt x="399" y="505"/>
                  </a:cubicBezTo>
                  <a:cubicBezTo>
                    <a:pt x="415" y="516"/>
                    <a:pt x="415" y="516"/>
                    <a:pt x="415" y="516"/>
                  </a:cubicBezTo>
                  <a:cubicBezTo>
                    <a:pt x="400" y="527"/>
                    <a:pt x="400" y="527"/>
                    <a:pt x="400" y="527"/>
                  </a:cubicBezTo>
                  <a:cubicBezTo>
                    <a:pt x="392" y="514"/>
                    <a:pt x="392" y="514"/>
                    <a:pt x="392" y="514"/>
                  </a:cubicBezTo>
                  <a:cubicBezTo>
                    <a:pt x="382" y="520"/>
                    <a:pt x="382" y="520"/>
                    <a:pt x="382" y="520"/>
                  </a:cubicBezTo>
                  <a:cubicBezTo>
                    <a:pt x="383" y="525"/>
                    <a:pt x="383" y="525"/>
                    <a:pt x="383" y="525"/>
                  </a:cubicBezTo>
                  <a:cubicBezTo>
                    <a:pt x="360" y="526"/>
                    <a:pt x="360" y="526"/>
                    <a:pt x="360" y="526"/>
                  </a:cubicBezTo>
                  <a:cubicBezTo>
                    <a:pt x="357" y="535"/>
                    <a:pt x="357" y="535"/>
                    <a:pt x="357" y="535"/>
                  </a:cubicBezTo>
                  <a:cubicBezTo>
                    <a:pt x="374" y="544"/>
                    <a:pt x="374" y="544"/>
                    <a:pt x="374" y="544"/>
                  </a:cubicBezTo>
                  <a:cubicBezTo>
                    <a:pt x="372" y="554"/>
                    <a:pt x="372" y="554"/>
                    <a:pt x="372" y="554"/>
                  </a:cubicBezTo>
                  <a:cubicBezTo>
                    <a:pt x="350" y="546"/>
                    <a:pt x="350" y="546"/>
                    <a:pt x="350" y="546"/>
                  </a:cubicBezTo>
                  <a:cubicBezTo>
                    <a:pt x="347" y="556"/>
                    <a:pt x="347" y="556"/>
                    <a:pt x="347" y="556"/>
                  </a:cubicBezTo>
                  <a:cubicBezTo>
                    <a:pt x="365" y="561"/>
                    <a:pt x="365" y="561"/>
                    <a:pt x="365" y="561"/>
                  </a:cubicBezTo>
                  <a:cubicBezTo>
                    <a:pt x="365" y="561"/>
                    <a:pt x="344" y="562"/>
                    <a:pt x="337" y="563"/>
                  </a:cubicBezTo>
                  <a:cubicBezTo>
                    <a:pt x="330" y="564"/>
                    <a:pt x="334" y="574"/>
                    <a:pt x="334" y="574"/>
                  </a:cubicBezTo>
                  <a:cubicBezTo>
                    <a:pt x="334" y="574"/>
                    <a:pt x="321" y="567"/>
                    <a:pt x="313" y="573"/>
                  </a:cubicBezTo>
                  <a:cubicBezTo>
                    <a:pt x="305" y="579"/>
                    <a:pt x="298" y="584"/>
                    <a:pt x="303" y="587"/>
                  </a:cubicBezTo>
                  <a:cubicBezTo>
                    <a:pt x="308" y="590"/>
                    <a:pt x="297" y="596"/>
                    <a:pt x="297" y="596"/>
                  </a:cubicBezTo>
                  <a:cubicBezTo>
                    <a:pt x="297" y="596"/>
                    <a:pt x="290" y="605"/>
                    <a:pt x="293" y="606"/>
                  </a:cubicBezTo>
                  <a:cubicBezTo>
                    <a:pt x="296" y="607"/>
                    <a:pt x="316" y="608"/>
                    <a:pt x="316" y="608"/>
                  </a:cubicBezTo>
                  <a:cubicBezTo>
                    <a:pt x="309" y="616"/>
                    <a:pt x="309" y="616"/>
                    <a:pt x="309" y="616"/>
                  </a:cubicBezTo>
                  <a:cubicBezTo>
                    <a:pt x="286" y="612"/>
                    <a:pt x="286" y="612"/>
                    <a:pt x="286" y="612"/>
                  </a:cubicBezTo>
                  <a:cubicBezTo>
                    <a:pt x="286" y="612"/>
                    <a:pt x="273" y="614"/>
                    <a:pt x="273" y="622"/>
                  </a:cubicBezTo>
                  <a:cubicBezTo>
                    <a:pt x="273" y="630"/>
                    <a:pt x="283" y="636"/>
                    <a:pt x="279" y="639"/>
                  </a:cubicBezTo>
                  <a:cubicBezTo>
                    <a:pt x="275" y="642"/>
                    <a:pt x="271" y="642"/>
                    <a:pt x="266" y="642"/>
                  </a:cubicBezTo>
                  <a:cubicBezTo>
                    <a:pt x="261" y="642"/>
                    <a:pt x="255" y="643"/>
                    <a:pt x="257" y="650"/>
                  </a:cubicBezTo>
                  <a:cubicBezTo>
                    <a:pt x="259" y="657"/>
                    <a:pt x="267" y="661"/>
                    <a:pt x="267" y="661"/>
                  </a:cubicBezTo>
                  <a:cubicBezTo>
                    <a:pt x="267" y="661"/>
                    <a:pt x="273" y="672"/>
                    <a:pt x="266" y="673"/>
                  </a:cubicBezTo>
                  <a:cubicBezTo>
                    <a:pt x="259" y="674"/>
                    <a:pt x="252" y="673"/>
                    <a:pt x="249" y="673"/>
                  </a:cubicBezTo>
                  <a:cubicBezTo>
                    <a:pt x="246" y="673"/>
                    <a:pt x="243" y="674"/>
                    <a:pt x="240" y="678"/>
                  </a:cubicBezTo>
                  <a:cubicBezTo>
                    <a:pt x="237" y="682"/>
                    <a:pt x="237" y="689"/>
                    <a:pt x="237" y="689"/>
                  </a:cubicBezTo>
                  <a:cubicBezTo>
                    <a:pt x="237" y="689"/>
                    <a:pt x="239" y="696"/>
                    <a:pt x="232" y="696"/>
                  </a:cubicBezTo>
                  <a:cubicBezTo>
                    <a:pt x="225" y="696"/>
                    <a:pt x="222" y="689"/>
                    <a:pt x="216" y="690"/>
                  </a:cubicBezTo>
                  <a:cubicBezTo>
                    <a:pt x="210" y="691"/>
                    <a:pt x="212" y="691"/>
                    <a:pt x="207" y="695"/>
                  </a:cubicBezTo>
                  <a:cubicBezTo>
                    <a:pt x="202" y="699"/>
                    <a:pt x="202" y="700"/>
                    <a:pt x="199" y="704"/>
                  </a:cubicBezTo>
                  <a:cubicBezTo>
                    <a:pt x="196" y="708"/>
                    <a:pt x="187" y="708"/>
                    <a:pt x="187" y="708"/>
                  </a:cubicBezTo>
                  <a:cubicBezTo>
                    <a:pt x="187" y="708"/>
                    <a:pt x="183" y="709"/>
                    <a:pt x="180" y="715"/>
                  </a:cubicBezTo>
                  <a:cubicBezTo>
                    <a:pt x="177" y="721"/>
                    <a:pt x="186" y="725"/>
                    <a:pt x="181" y="728"/>
                  </a:cubicBezTo>
                  <a:cubicBezTo>
                    <a:pt x="176" y="731"/>
                    <a:pt x="175" y="733"/>
                    <a:pt x="170" y="733"/>
                  </a:cubicBezTo>
                  <a:cubicBezTo>
                    <a:pt x="165" y="733"/>
                    <a:pt x="156" y="728"/>
                    <a:pt x="153" y="728"/>
                  </a:cubicBezTo>
                  <a:cubicBezTo>
                    <a:pt x="150" y="728"/>
                    <a:pt x="157" y="720"/>
                    <a:pt x="144" y="727"/>
                  </a:cubicBezTo>
                  <a:cubicBezTo>
                    <a:pt x="131" y="734"/>
                    <a:pt x="130" y="735"/>
                    <a:pt x="126" y="734"/>
                  </a:cubicBezTo>
                  <a:cubicBezTo>
                    <a:pt x="122" y="733"/>
                    <a:pt x="117" y="731"/>
                    <a:pt x="118" y="741"/>
                  </a:cubicBezTo>
                  <a:cubicBezTo>
                    <a:pt x="119" y="751"/>
                    <a:pt x="125" y="750"/>
                    <a:pt x="126" y="753"/>
                  </a:cubicBezTo>
                  <a:cubicBezTo>
                    <a:pt x="127" y="756"/>
                    <a:pt x="130" y="764"/>
                    <a:pt x="122" y="760"/>
                  </a:cubicBezTo>
                  <a:cubicBezTo>
                    <a:pt x="114" y="756"/>
                    <a:pt x="113" y="747"/>
                    <a:pt x="108" y="750"/>
                  </a:cubicBezTo>
                  <a:cubicBezTo>
                    <a:pt x="103" y="753"/>
                    <a:pt x="97" y="760"/>
                    <a:pt x="102" y="763"/>
                  </a:cubicBezTo>
                  <a:cubicBezTo>
                    <a:pt x="107" y="766"/>
                    <a:pt x="122" y="762"/>
                    <a:pt x="119" y="768"/>
                  </a:cubicBezTo>
                  <a:cubicBezTo>
                    <a:pt x="116" y="774"/>
                    <a:pt x="126" y="777"/>
                    <a:pt x="111" y="775"/>
                  </a:cubicBezTo>
                  <a:cubicBezTo>
                    <a:pt x="96" y="773"/>
                    <a:pt x="92" y="773"/>
                    <a:pt x="92" y="773"/>
                  </a:cubicBezTo>
                  <a:cubicBezTo>
                    <a:pt x="92" y="773"/>
                    <a:pt x="94" y="767"/>
                    <a:pt x="88" y="772"/>
                  </a:cubicBezTo>
                  <a:cubicBezTo>
                    <a:pt x="82" y="777"/>
                    <a:pt x="84" y="786"/>
                    <a:pt x="84" y="786"/>
                  </a:cubicBezTo>
                  <a:cubicBezTo>
                    <a:pt x="84" y="786"/>
                    <a:pt x="55" y="773"/>
                    <a:pt x="59" y="781"/>
                  </a:cubicBezTo>
                  <a:cubicBezTo>
                    <a:pt x="63" y="789"/>
                    <a:pt x="85" y="794"/>
                    <a:pt x="85" y="794"/>
                  </a:cubicBezTo>
                  <a:cubicBezTo>
                    <a:pt x="72" y="808"/>
                    <a:pt x="72" y="808"/>
                    <a:pt x="72" y="808"/>
                  </a:cubicBezTo>
                  <a:cubicBezTo>
                    <a:pt x="72" y="808"/>
                    <a:pt x="73" y="798"/>
                    <a:pt x="66" y="797"/>
                  </a:cubicBezTo>
                  <a:cubicBezTo>
                    <a:pt x="59" y="796"/>
                    <a:pt x="53" y="804"/>
                    <a:pt x="53" y="804"/>
                  </a:cubicBezTo>
                  <a:cubicBezTo>
                    <a:pt x="40" y="793"/>
                    <a:pt x="40" y="793"/>
                    <a:pt x="40" y="793"/>
                  </a:cubicBezTo>
                  <a:cubicBezTo>
                    <a:pt x="34" y="802"/>
                    <a:pt x="34" y="802"/>
                    <a:pt x="34" y="802"/>
                  </a:cubicBezTo>
                  <a:cubicBezTo>
                    <a:pt x="43" y="805"/>
                    <a:pt x="43" y="805"/>
                    <a:pt x="43" y="805"/>
                  </a:cubicBezTo>
                  <a:cubicBezTo>
                    <a:pt x="20" y="804"/>
                    <a:pt x="20" y="804"/>
                    <a:pt x="20" y="804"/>
                  </a:cubicBezTo>
                  <a:cubicBezTo>
                    <a:pt x="19" y="813"/>
                    <a:pt x="19" y="813"/>
                    <a:pt x="19" y="813"/>
                  </a:cubicBezTo>
                  <a:cubicBezTo>
                    <a:pt x="52" y="815"/>
                    <a:pt x="52" y="815"/>
                    <a:pt x="52" y="815"/>
                  </a:cubicBezTo>
                  <a:cubicBezTo>
                    <a:pt x="35" y="820"/>
                    <a:pt x="35" y="820"/>
                    <a:pt x="35" y="820"/>
                  </a:cubicBezTo>
                  <a:cubicBezTo>
                    <a:pt x="11" y="814"/>
                    <a:pt x="11" y="814"/>
                    <a:pt x="11" y="814"/>
                  </a:cubicBezTo>
                  <a:cubicBezTo>
                    <a:pt x="11" y="814"/>
                    <a:pt x="3" y="821"/>
                    <a:pt x="3" y="827"/>
                  </a:cubicBezTo>
                  <a:cubicBezTo>
                    <a:pt x="3" y="833"/>
                    <a:pt x="21" y="834"/>
                    <a:pt x="21" y="834"/>
                  </a:cubicBezTo>
                  <a:cubicBezTo>
                    <a:pt x="10" y="839"/>
                    <a:pt x="10" y="839"/>
                    <a:pt x="10" y="839"/>
                  </a:cubicBezTo>
                  <a:cubicBezTo>
                    <a:pt x="10" y="839"/>
                    <a:pt x="1" y="846"/>
                    <a:pt x="10" y="847"/>
                  </a:cubicBezTo>
                  <a:cubicBezTo>
                    <a:pt x="19" y="848"/>
                    <a:pt x="42" y="848"/>
                    <a:pt x="42" y="848"/>
                  </a:cubicBezTo>
                  <a:cubicBezTo>
                    <a:pt x="52" y="854"/>
                    <a:pt x="52" y="854"/>
                    <a:pt x="52" y="854"/>
                  </a:cubicBezTo>
                  <a:cubicBezTo>
                    <a:pt x="63" y="846"/>
                    <a:pt x="63" y="846"/>
                    <a:pt x="63" y="846"/>
                  </a:cubicBezTo>
                  <a:cubicBezTo>
                    <a:pt x="71" y="854"/>
                    <a:pt x="71" y="854"/>
                    <a:pt x="71" y="854"/>
                  </a:cubicBezTo>
                  <a:cubicBezTo>
                    <a:pt x="89" y="845"/>
                    <a:pt x="89" y="845"/>
                    <a:pt x="89" y="845"/>
                  </a:cubicBezTo>
                  <a:cubicBezTo>
                    <a:pt x="89" y="845"/>
                    <a:pt x="86" y="858"/>
                    <a:pt x="80" y="858"/>
                  </a:cubicBezTo>
                  <a:cubicBezTo>
                    <a:pt x="74" y="858"/>
                    <a:pt x="62" y="857"/>
                    <a:pt x="62" y="857"/>
                  </a:cubicBezTo>
                  <a:cubicBezTo>
                    <a:pt x="44" y="858"/>
                    <a:pt x="44" y="858"/>
                    <a:pt x="44" y="858"/>
                  </a:cubicBezTo>
                  <a:cubicBezTo>
                    <a:pt x="44" y="858"/>
                    <a:pt x="28" y="856"/>
                    <a:pt x="25" y="856"/>
                  </a:cubicBezTo>
                  <a:cubicBezTo>
                    <a:pt x="22" y="856"/>
                    <a:pt x="0" y="858"/>
                    <a:pt x="0" y="858"/>
                  </a:cubicBezTo>
                  <a:cubicBezTo>
                    <a:pt x="0" y="858"/>
                    <a:pt x="2" y="870"/>
                    <a:pt x="7" y="872"/>
                  </a:cubicBezTo>
                  <a:cubicBezTo>
                    <a:pt x="12" y="874"/>
                    <a:pt x="20" y="874"/>
                    <a:pt x="20" y="874"/>
                  </a:cubicBezTo>
                  <a:cubicBezTo>
                    <a:pt x="20" y="874"/>
                    <a:pt x="7" y="884"/>
                    <a:pt x="13" y="891"/>
                  </a:cubicBezTo>
                  <a:cubicBezTo>
                    <a:pt x="19" y="898"/>
                    <a:pt x="29" y="899"/>
                    <a:pt x="29" y="899"/>
                  </a:cubicBezTo>
                  <a:cubicBezTo>
                    <a:pt x="47" y="888"/>
                    <a:pt x="47" y="888"/>
                    <a:pt x="47" y="888"/>
                  </a:cubicBezTo>
                  <a:cubicBezTo>
                    <a:pt x="65" y="884"/>
                    <a:pt x="65" y="884"/>
                    <a:pt x="65" y="884"/>
                  </a:cubicBezTo>
                  <a:cubicBezTo>
                    <a:pt x="59" y="898"/>
                    <a:pt x="59" y="898"/>
                    <a:pt x="59" y="898"/>
                  </a:cubicBezTo>
                  <a:cubicBezTo>
                    <a:pt x="49" y="895"/>
                    <a:pt x="49" y="895"/>
                    <a:pt x="49" y="895"/>
                  </a:cubicBezTo>
                  <a:cubicBezTo>
                    <a:pt x="43" y="907"/>
                    <a:pt x="43" y="907"/>
                    <a:pt x="43" y="907"/>
                  </a:cubicBezTo>
                  <a:cubicBezTo>
                    <a:pt x="43" y="907"/>
                    <a:pt x="13" y="901"/>
                    <a:pt x="17" y="908"/>
                  </a:cubicBezTo>
                  <a:cubicBezTo>
                    <a:pt x="21" y="915"/>
                    <a:pt x="30" y="918"/>
                    <a:pt x="30" y="918"/>
                  </a:cubicBezTo>
                  <a:cubicBezTo>
                    <a:pt x="14" y="926"/>
                    <a:pt x="14" y="926"/>
                    <a:pt x="14" y="926"/>
                  </a:cubicBezTo>
                  <a:cubicBezTo>
                    <a:pt x="2" y="926"/>
                    <a:pt x="2" y="926"/>
                    <a:pt x="2" y="926"/>
                  </a:cubicBezTo>
                  <a:cubicBezTo>
                    <a:pt x="2" y="926"/>
                    <a:pt x="4" y="938"/>
                    <a:pt x="7" y="938"/>
                  </a:cubicBezTo>
                  <a:cubicBezTo>
                    <a:pt x="10" y="938"/>
                    <a:pt x="42" y="939"/>
                    <a:pt x="42" y="939"/>
                  </a:cubicBezTo>
                  <a:cubicBezTo>
                    <a:pt x="33" y="953"/>
                    <a:pt x="33" y="953"/>
                    <a:pt x="33" y="953"/>
                  </a:cubicBezTo>
                  <a:cubicBezTo>
                    <a:pt x="41" y="955"/>
                    <a:pt x="41" y="955"/>
                    <a:pt x="41" y="955"/>
                  </a:cubicBezTo>
                  <a:cubicBezTo>
                    <a:pt x="36" y="967"/>
                    <a:pt x="36" y="967"/>
                    <a:pt x="36" y="967"/>
                  </a:cubicBezTo>
                  <a:cubicBezTo>
                    <a:pt x="36" y="967"/>
                    <a:pt x="10" y="954"/>
                    <a:pt x="11" y="962"/>
                  </a:cubicBezTo>
                  <a:cubicBezTo>
                    <a:pt x="12" y="970"/>
                    <a:pt x="23" y="981"/>
                    <a:pt x="23" y="981"/>
                  </a:cubicBezTo>
                  <a:cubicBezTo>
                    <a:pt x="55" y="995"/>
                    <a:pt x="55" y="995"/>
                    <a:pt x="55" y="995"/>
                  </a:cubicBezTo>
                  <a:cubicBezTo>
                    <a:pt x="55" y="995"/>
                    <a:pt x="48" y="1000"/>
                    <a:pt x="55" y="1003"/>
                  </a:cubicBezTo>
                  <a:cubicBezTo>
                    <a:pt x="62" y="1006"/>
                    <a:pt x="83" y="1001"/>
                    <a:pt x="83" y="1001"/>
                  </a:cubicBezTo>
                  <a:cubicBezTo>
                    <a:pt x="83" y="1001"/>
                    <a:pt x="86" y="1010"/>
                    <a:pt x="103" y="1004"/>
                  </a:cubicBezTo>
                  <a:cubicBezTo>
                    <a:pt x="120" y="998"/>
                    <a:pt x="148" y="973"/>
                    <a:pt x="148" y="973"/>
                  </a:cubicBezTo>
                  <a:cubicBezTo>
                    <a:pt x="172" y="954"/>
                    <a:pt x="172" y="954"/>
                    <a:pt x="172" y="954"/>
                  </a:cubicBezTo>
                  <a:cubicBezTo>
                    <a:pt x="172" y="954"/>
                    <a:pt x="183" y="959"/>
                    <a:pt x="193" y="950"/>
                  </a:cubicBezTo>
                  <a:cubicBezTo>
                    <a:pt x="203" y="941"/>
                    <a:pt x="193" y="922"/>
                    <a:pt x="193" y="922"/>
                  </a:cubicBezTo>
                  <a:cubicBezTo>
                    <a:pt x="205" y="920"/>
                    <a:pt x="205" y="920"/>
                    <a:pt x="205" y="920"/>
                  </a:cubicBezTo>
                  <a:cubicBezTo>
                    <a:pt x="205" y="920"/>
                    <a:pt x="192" y="937"/>
                    <a:pt x="207" y="942"/>
                  </a:cubicBezTo>
                  <a:cubicBezTo>
                    <a:pt x="222" y="947"/>
                    <a:pt x="233" y="949"/>
                    <a:pt x="233" y="949"/>
                  </a:cubicBezTo>
                  <a:cubicBezTo>
                    <a:pt x="247" y="962"/>
                    <a:pt x="247" y="962"/>
                    <a:pt x="247" y="962"/>
                  </a:cubicBezTo>
                  <a:cubicBezTo>
                    <a:pt x="247" y="962"/>
                    <a:pt x="253" y="951"/>
                    <a:pt x="255" y="946"/>
                  </a:cubicBezTo>
                  <a:cubicBezTo>
                    <a:pt x="257" y="941"/>
                    <a:pt x="251" y="940"/>
                    <a:pt x="248" y="932"/>
                  </a:cubicBezTo>
                  <a:cubicBezTo>
                    <a:pt x="245" y="924"/>
                    <a:pt x="254" y="921"/>
                    <a:pt x="254" y="921"/>
                  </a:cubicBezTo>
                  <a:cubicBezTo>
                    <a:pt x="254" y="921"/>
                    <a:pt x="254" y="917"/>
                    <a:pt x="252" y="911"/>
                  </a:cubicBezTo>
                  <a:cubicBezTo>
                    <a:pt x="250" y="905"/>
                    <a:pt x="264" y="911"/>
                    <a:pt x="269" y="911"/>
                  </a:cubicBezTo>
                  <a:cubicBezTo>
                    <a:pt x="274" y="911"/>
                    <a:pt x="277" y="906"/>
                    <a:pt x="277" y="906"/>
                  </a:cubicBezTo>
                  <a:cubicBezTo>
                    <a:pt x="277" y="889"/>
                    <a:pt x="277" y="889"/>
                    <a:pt x="277" y="889"/>
                  </a:cubicBezTo>
                  <a:cubicBezTo>
                    <a:pt x="284" y="889"/>
                    <a:pt x="284" y="889"/>
                    <a:pt x="284" y="889"/>
                  </a:cubicBezTo>
                  <a:cubicBezTo>
                    <a:pt x="284" y="889"/>
                    <a:pt x="280" y="880"/>
                    <a:pt x="277" y="877"/>
                  </a:cubicBezTo>
                  <a:cubicBezTo>
                    <a:pt x="274" y="874"/>
                    <a:pt x="268" y="857"/>
                    <a:pt x="268" y="857"/>
                  </a:cubicBezTo>
                  <a:cubicBezTo>
                    <a:pt x="283" y="854"/>
                    <a:pt x="283" y="854"/>
                    <a:pt x="283" y="854"/>
                  </a:cubicBezTo>
                  <a:cubicBezTo>
                    <a:pt x="283" y="854"/>
                    <a:pt x="290" y="848"/>
                    <a:pt x="292" y="841"/>
                  </a:cubicBezTo>
                  <a:cubicBezTo>
                    <a:pt x="294" y="834"/>
                    <a:pt x="275" y="828"/>
                    <a:pt x="275" y="828"/>
                  </a:cubicBezTo>
                  <a:cubicBezTo>
                    <a:pt x="275" y="828"/>
                    <a:pt x="267" y="821"/>
                    <a:pt x="266" y="814"/>
                  </a:cubicBezTo>
                  <a:cubicBezTo>
                    <a:pt x="265" y="807"/>
                    <a:pt x="271" y="800"/>
                    <a:pt x="272" y="795"/>
                  </a:cubicBezTo>
                  <a:cubicBezTo>
                    <a:pt x="273" y="790"/>
                    <a:pt x="262" y="783"/>
                    <a:pt x="262" y="783"/>
                  </a:cubicBezTo>
                  <a:cubicBezTo>
                    <a:pt x="262" y="783"/>
                    <a:pt x="256" y="775"/>
                    <a:pt x="254" y="770"/>
                  </a:cubicBezTo>
                  <a:cubicBezTo>
                    <a:pt x="252" y="765"/>
                    <a:pt x="261" y="763"/>
                    <a:pt x="267" y="757"/>
                  </a:cubicBezTo>
                  <a:cubicBezTo>
                    <a:pt x="273" y="751"/>
                    <a:pt x="255" y="751"/>
                    <a:pt x="255" y="748"/>
                  </a:cubicBezTo>
                  <a:cubicBezTo>
                    <a:pt x="255" y="745"/>
                    <a:pt x="261" y="740"/>
                    <a:pt x="261" y="740"/>
                  </a:cubicBezTo>
                  <a:cubicBezTo>
                    <a:pt x="266" y="734"/>
                    <a:pt x="266" y="734"/>
                    <a:pt x="266" y="734"/>
                  </a:cubicBezTo>
                  <a:cubicBezTo>
                    <a:pt x="266" y="734"/>
                    <a:pt x="272" y="729"/>
                    <a:pt x="279" y="724"/>
                  </a:cubicBezTo>
                  <a:cubicBezTo>
                    <a:pt x="286" y="719"/>
                    <a:pt x="301" y="707"/>
                    <a:pt x="301" y="707"/>
                  </a:cubicBezTo>
                  <a:cubicBezTo>
                    <a:pt x="301" y="707"/>
                    <a:pt x="328" y="712"/>
                    <a:pt x="332" y="703"/>
                  </a:cubicBezTo>
                  <a:cubicBezTo>
                    <a:pt x="336" y="694"/>
                    <a:pt x="315" y="684"/>
                    <a:pt x="315" y="684"/>
                  </a:cubicBezTo>
                  <a:cubicBezTo>
                    <a:pt x="315" y="684"/>
                    <a:pt x="324" y="678"/>
                    <a:pt x="329" y="674"/>
                  </a:cubicBezTo>
                  <a:cubicBezTo>
                    <a:pt x="334" y="670"/>
                    <a:pt x="344" y="658"/>
                    <a:pt x="344" y="658"/>
                  </a:cubicBezTo>
                  <a:cubicBezTo>
                    <a:pt x="348" y="629"/>
                    <a:pt x="348" y="629"/>
                    <a:pt x="348" y="629"/>
                  </a:cubicBezTo>
                  <a:cubicBezTo>
                    <a:pt x="351" y="624"/>
                    <a:pt x="351" y="624"/>
                    <a:pt x="351" y="624"/>
                  </a:cubicBezTo>
                  <a:cubicBezTo>
                    <a:pt x="349" y="608"/>
                    <a:pt x="349" y="608"/>
                    <a:pt x="349" y="608"/>
                  </a:cubicBezTo>
                  <a:cubicBezTo>
                    <a:pt x="363" y="615"/>
                    <a:pt x="363" y="615"/>
                    <a:pt x="363" y="615"/>
                  </a:cubicBezTo>
                  <a:cubicBezTo>
                    <a:pt x="363" y="615"/>
                    <a:pt x="372" y="610"/>
                    <a:pt x="379" y="608"/>
                  </a:cubicBezTo>
                  <a:cubicBezTo>
                    <a:pt x="386" y="606"/>
                    <a:pt x="372" y="592"/>
                    <a:pt x="372" y="592"/>
                  </a:cubicBezTo>
                  <a:cubicBezTo>
                    <a:pt x="386" y="591"/>
                    <a:pt x="386" y="591"/>
                    <a:pt x="386" y="591"/>
                  </a:cubicBezTo>
                  <a:cubicBezTo>
                    <a:pt x="386" y="591"/>
                    <a:pt x="388" y="584"/>
                    <a:pt x="394" y="579"/>
                  </a:cubicBezTo>
                  <a:cubicBezTo>
                    <a:pt x="400" y="574"/>
                    <a:pt x="405" y="573"/>
                    <a:pt x="405" y="573"/>
                  </a:cubicBezTo>
                  <a:cubicBezTo>
                    <a:pt x="410" y="563"/>
                    <a:pt x="410" y="563"/>
                    <a:pt x="410" y="563"/>
                  </a:cubicBezTo>
                  <a:cubicBezTo>
                    <a:pt x="410" y="563"/>
                    <a:pt x="399" y="555"/>
                    <a:pt x="398" y="551"/>
                  </a:cubicBezTo>
                  <a:cubicBezTo>
                    <a:pt x="397" y="547"/>
                    <a:pt x="414" y="539"/>
                    <a:pt x="414" y="539"/>
                  </a:cubicBezTo>
                  <a:cubicBezTo>
                    <a:pt x="423" y="529"/>
                    <a:pt x="423" y="529"/>
                    <a:pt x="423" y="529"/>
                  </a:cubicBezTo>
                  <a:cubicBezTo>
                    <a:pt x="449" y="525"/>
                    <a:pt x="449" y="525"/>
                    <a:pt x="449" y="525"/>
                  </a:cubicBezTo>
                  <a:cubicBezTo>
                    <a:pt x="449" y="525"/>
                    <a:pt x="464" y="525"/>
                    <a:pt x="467" y="520"/>
                  </a:cubicBezTo>
                  <a:cubicBezTo>
                    <a:pt x="470" y="515"/>
                    <a:pt x="460" y="504"/>
                    <a:pt x="468" y="498"/>
                  </a:cubicBezTo>
                  <a:cubicBezTo>
                    <a:pt x="476" y="492"/>
                    <a:pt x="476" y="505"/>
                    <a:pt x="476" y="505"/>
                  </a:cubicBezTo>
                  <a:cubicBezTo>
                    <a:pt x="495" y="501"/>
                    <a:pt x="495" y="501"/>
                    <a:pt x="495" y="501"/>
                  </a:cubicBezTo>
                  <a:cubicBezTo>
                    <a:pt x="508" y="505"/>
                    <a:pt x="508" y="505"/>
                    <a:pt x="508" y="505"/>
                  </a:cubicBezTo>
                  <a:cubicBezTo>
                    <a:pt x="517" y="505"/>
                    <a:pt x="517" y="505"/>
                    <a:pt x="517" y="505"/>
                  </a:cubicBezTo>
                  <a:cubicBezTo>
                    <a:pt x="517" y="505"/>
                    <a:pt x="528" y="511"/>
                    <a:pt x="536" y="509"/>
                  </a:cubicBezTo>
                  <a:cubicBezTo>
                    <a:pt x="544" y="507"/>
                    <a:pt x="531" y="501"/>
                    <a:pt x="531" y="496"/>
                  </a:cubicBezTo>
                  <a:cubicBezTo>
                    <a:pt x="531" y="491"/>
                    <a:pt x="538" y="494"/>
                    <a:pt x="538" y="494"/>
                  </a:cubicBezTo>
                  <a:cubicBezTo>
                    <a:pt x="537" y="480"/>
                    <a:pt x="537" y="480"/>
                    <a:pt x="537" y="480"/>
                  </a:cubicBezTo>
                  <a:cubicBezTo>
                    <a:pt x="557" y="481"/>
                    <a:pt x="557" y="481"/>
                    <a:pt x="557" y="481"/>
                  </a:cubicBezTo>
                  <a:cubicBezTo>
                    <a:pt x="555" y="479"/>
                    <a:pt x="554" y="478"/>
                    <a:pt x="554" y="478"/>
                  </a:cubicBezTo>
                  <a:cubicBezTo>
                    <a:pt x="556" y="473"/>
                    <a:pt x="556" y="473"/>
                    <a:pt x="556" y="473"/>
                  </a:cubicBezTo>
                  <a:cubicBezTo>
                    <a:pt x="568" y="478"/>
                    <a:pt x="568" y="478"/>
                    <a:pt x="568" y="478"/>
                  </a:cubicBezTo>
                  <a:cubicBezTo>
                    <a:pt x="570" y="469"/>
                    <a:pt x="570" y="469"/>
                    <a:pt x="570" y="469"/>
                  </a:cubicBezTo>
                  <a:cubicBezTo>
                    <a:pt x="570" y="469"/>
                    <a:pt x="577" y="466"/>
                    <a:pt x="581" y="466"/>
                  </a:cubicBezTo>
                  <a:cubicBezTo>
                    <a:pt x="585" y="466"/>
                    <a:pt x="594" y="480"/>
                    <a:pt x="594" y="480"/>
                  </a:cubicBezTo>
                  <a:cubicBezTo>
                    <a:pt x="603" y="481"/>
                    <a:pt x="603" y="481"/>
                    <a:pt x="603" y="481"/>
                  </a:cubicBezTo>
                  <a:cubicBezTo>
                    <a:pt x="603" y="481"/>
                    <a:pt x="604" y="491"/>
                    <a:pt x="618" y="492"/>
                  </a:cubicBezTo>
                  <a:cubicBezTo>
                    <a:pt x="632" y="493"/>
                    <a:pt x="632" y="494"/>
                    <a:pt x="632" y="494"/>
                  </a:cubicBezTo>
                  <a:cubicBezTo>
                    <a:pt x="632" y="494"/>
                    <a:pt x="632" y="494"/>
                    <a:pt x="642" y="497"/>
                  </a:cubicBezTo>
                  <a:cubicBezTo>
                    <a:pt x="652" y="500"/>
                    <a:pt x="661" y="492"/>
                    <a:pt x="661" y="492"/>
                  </a:cubicBezTo>
                  <a:cubicBezTo>
                    <a:pt x="661" y="492"/>
                    <a:pt x="672" y="488"/>
                    <a:pt x="677" y="489"/>
                  </a:cubicBezTo>
                  <a:cubicBezTo>
                    <a:pt x="682" y="490"/>
                    <a:pt x="694" y="498"/>
                    <a:pt x="702" y="498"/>
                  </a:cubicBezTo>
                  <a:cubicBezTo>
                    <a:pt x="710" y="498"/>
                    <a:pt x="704" y="488"/>
                    <a:pt x="711" y="483"/>
                  </a:cubicBezTo>
                  <a:cubicBezTo>
                    <a:pt x="718" y="478"/>
                    <a:pt x="727" y="483"/>
                    <a:pt x="727" y="483"/>
                  </a:cubicBezTo>
                  <a:cubicBezTo>
                    <a:pt x="727" y="483"/>
                    <a:pt x="728" y="467"/>
                    <a:pt x="727" y="463"/>
                  </a:cubicBezTo>
                  <a:cubicBezTo>
                    <a:pt x="726" y="459"/>
                    <a:pt x="730" y="446"/>
                    <a:pt x="730" y="446"/>
                  </a:cubicBezTo>
                  <a:cubicBezTo>
                    <a:pt x="730" y="446"/>
                    <a:pt x="747" y="437"/>
                    <a:pt x="752" y="438"/>
                  </a:cubicBezTo>
                  <a:cubicBezTo>
                    <a:pt x="757" y="439"/>
                    <a:pt x="768" y="440"/>
                    <a:pt x="768" y="440"/>
                  </a:cubicBezTo>
                  <a:cubicBezTo>
                    <a:pt x="768" y="440"/>
                    <a:pt x="779" y="433"/>
                    <a:pt x="794" y="434"/>
                  </a:cubicBezTo>
                  <a:cubicBezTo>
                    <a:pt x="809" y="435"/>
                    <a:pt x="802" y="441"/>
                    <a:pt x="802" y="441"/>
                  </a:cubicBezTo>
                  <a:cubicBezTo>
                    <a:pt x="825" y="446"/>
                    <a:pt x="825" y="446"/>
                    <a:pt x="825" y="446"/>
                  </a:cubicBezTo>
                  <a:cubicBezTo>
                    <a:pt x="825" y="446"/>
                    <a:pt x="839" y="447"/>
                    <a:pt x="843" y="464"/>
                  </a:cubicBezTo>
                  <a:cubicBezTo>
                    <a:pt x="847" y="481"/>
                    <a:pt x="834" y="469"/>
                    <a:pt x="834" y="469"/>
                  </a:cubicBezTo>
                  <a:cubicBezTo>
                    <a:pt x="832" y="477"/>
                    <a:pt x="832" y="477"/>
                    <a:pt x="832" y="477"/>
                  </a:cubicBezTo>
                  <a:cubicBezTo>
                    <a:pt x="836" y="479"/>
                    <a:pt x="840" y="480"/>
                    <a:pt x="845" y="480"/>
                  </a:cubicBezTo>
                  <a:cubicBezTo>
                    <a:pt x="854" y="479"/>
                    <a:pt x="855" y="465"/>
                    <a:pt x="855" y="465"/>
                  </a:cubicBezTo>
                  <a:cubicBezTo>
                    <a:pt x="870" y="464"/>
                    <a:pt x="870" y="464"/>
                    <a:pt x="870" y="464"/>
                  </a:cubicBezTo>
                  <a:cubicBezTo>
                    <a:pt x="874" y="456"/>
                    <a:pt x="874" y="456"/>
                    <a:pt x="874" y="456"/>
                  </a:cubicBezTo>
                  <a:cubicBezTo>
                    <a:pt x="874" y="456"/>
                    <a:pt x="873" y="459"/>
                    <a:pt x="891" y="456"/>
                  </a:cubicBezTo>
                  <a:cubicBezTo>
                    <a:pt x="899" y="455"/>
                    <a:pt x="903" y="451"/>
                    <a:pt x="905" y="448"/>
                  </a:cubicBezTo>
                  <a:lnTo>
                    <a:pt x="901" y="448"/>
                  </a:lnTo>
                  <a:close/>
                  <a:moveTo>
                    <a:pt x="372" y="489"/>
                  </a:moveTo>
                  <a:cubicBezTo>
                    <a:pt x="357" y="498"/>
                    <a:pt x="357" y="498"/>
                    <a:pt x="357" y="498"/>
                  </a:cubicBezTo>
                  <a:cubicBezTo>
                    <a:pt x="362" y="511"/>
                    <a:pt x="362" y="511"/>
                    <a:pt x="362" y="511"/>
                  </a:cubicBezTo>
                  <a:cubicBezTo>
                    <a:pt x="380" y="512"/>
                    <a:pt x="380" y="512"/>
                    <a:pt x="380" y="512"/>
                  </a:cubicBezTo>
                  <a:cubicBezTo>
                    <a:pt x="376" y="499"/>
                    <a:pt x="376" y="499"/>
                    <a:pt x="376" y="499"/>
                  </a:cubicBezTo>
                  <a:lnTo>
                    <a:pt x="372" y="489"/>
                  </a:lnTo>
                  <a:close/>
                  <a:moveTo>
                    <a:pt x="346" y="483"/>
                  </a:moveTo>
                  <a:cubicBezTo>
                    <a:pt x="335" y="487"/>
                    <a:pt x="339" y="504"/>
                    <a:pt x="339" y="504"/>
                  </a:cubicBezTo>
                  <a:cubicBezTo>
                    <a:pt x="351" y="516"/>
                    <a:pt x="351" y="516"/>
                    <a:pt x="351" y="516"/>
                  </a:cubicBezTo>
                  <a:cubicBezTo>
                    <a:pt x="351" y="516"/>
                    <a:pt x="357" y="479"/>
                    <a:pt x="346" y="483"/>
                  </a:cubicBezTo>
                  <a:close/>
                  <a:moveTo>
                    <a:pt x="403" y="498"/>
                  </a:moveTo>
                  <a:cubicBezTo>
                    <a:pt x="412" y="493"/>
                    <a:pt x="427" y="490"/>
                    <a:pt x="408" y="486"/>
                  </a:cubicBezTo>
                  <a:cubicBezTo>
                    <a:pt x="389" y="483"/>
                    <a:pt x="380" y="494"/>
                    <a:pt x="380" y="494"/>
                  </a:cubicBezTo>
                  <a:cubicBezTo>
                    <a:pt x="386" y="501"/>
                    <a:pt x="386" y="501"/>
                    <a:pt x="386" y="501"/>
                  </a:cubicBezTo>
                  <a:lnTo>
                    <a:pt x="403" y="498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 320">
              <a:extLst>
                <a:ext uri="{FF2B5EF4-FFF2-40B4-BE49-F238E27FC236}">
                  <a16:creationId xmlns:a16="http://schemas.microsoft.com/office/drawing/2014/main" id="{3BFE3BA1-9FD3-898E-9790-D388B8F0DA54}"/>
                </a:ext>
              </a:extLst>
            </p:cNvPr>
            <p:cNvSpPr>
              <a:spLocks/>
            </p:cNvSpPr>
            <p:nvPr/>
          </p:nvSpPr>
          <p:spPr bwMode="gray">
            <a:xfrm>
              <a:off x="-1723" y="-12392"/>
              <a:ext cx="1151" cy="780"/>
            </a:xfrm>
            <a:custGeom>
              <a:avLst/>
              <a:gdLst>
                <a:gd name="T0" fmla="*/ 311 w 487"/>
                <a:gd name="T1" fmla="*/ 13 h 330"/>
                <a:gd name="T2" fmla="*/ 247 w 487"/>
                <a:gd name="T3" fmla="*/ 45 h 330"/>
                <a:gd name="T4" fmla="*/ 222 w 487"/>
                <a:gd name="T5" fmla="*/ 82 h 330"/>
                <a:gd name="T6" fmla="*/ 222 w 487"/>
                <a:gd name="T7" fmla="*/ 94 h 330"/>
                <a:gd name="T8" fmla="*/ 210 w 487"/>
                <a:gd name="T9" fmla="*/ 106 h 330"/>
                <a:gd name="T10" fmla="*/ 187 w 487"/>
                <a:gd name="T11" fmla="*/ 89 h 330"/>
                <a:gd name="T12" fmla="*/ 143 w 487"/>
                <a:gd name="T13" fmla="*/ 89 h 330"/>
                <a:gd name="T14" fmla="*/ 116 w 487"/>
                <a:gd name="T15" fmla="*/ 81 h 330"/>
                <a:gd name="T16" fmla="*/ 76 w 487"/>
                <a:gd name="T17" fmla="*/ 82 h 330"/>
                <a:gd name="T18" fmla="*/ 64 w 487"/>
                <a:gd name="T19" fmla="*/ 88 h 330"/>
                <a:gd name="T20" fmla="*/ 46 w 487"/>
                <a:gd name="T21" fmla="*/ 89 h 330"/>
                <a:gd name="T22" fmla="*/ 31 w 487"/>
                <a:gd name="T23" fmla="*/ 80 h 330"/>
                <a:gd name="T24" fmla="*/ 22 w 487"/>
                <a:gd name="T25" fmla="*/ 114 h 330"/>
                <a:gd name="T26" fmla="*/ 21 w 487"/>
                <a:gd name="T27" fmla="*/ 127 h 330"/>
                <a:gd name="T28" fmla="*/ 8 w 487"/>
                <a:gd name="T29" fmla="*/ 141 h 330"/>
                <a:gd name="T30" fmla="*/ 2 w 487"/>
                <a:gd name="T31" fmla="*/ 164 h 330"/>
                <a:gd name="T32" fmla="*/ 24 w 487"/>
                <a:gd name="T33" fmla="*/ 193 h 330"/>
                <a:gd name="T34" fmla="*/ 15 w 487"/>
                <a:gd name="T35" fmla="*/ 270 h 330"/>
                <a:gd name="T36" fmla="*/ 36 w 487"/>
                <a:gd name="T37" fmla="*/ 292 h 330"/>
                <a:gd name="T38" fmla="*/ 60 w 487"/>
                <a:gd name="T39" fmla="*/ 325 h 330"/>
                <a:gd name="T40" fmla="*/ 106 w 487"/>
                <a:gd name="T41" fmla="*/ 321 h 330"/>
                <a:gd name="T42" fmla="*/ 133 w 487"/>
                <a:gd name="T43" fmla="*/ 287 h 330"/>
                <a:gd name="T44" fmla="*/ 182 w 487"/>
                <a:gd name="T45" fmla="*/ 290 h 330"/>
                <a:gd name="T46" fmla="*/ 243 w 487"/>
                <a:gd name="T47" fmla="*/ 282 h 330"/>
                <a:gd name="T48" fmla="*/ 292 w 487"/>
                <a:gd name="T49" fmla="*/ 243 h 330"/>
                <a:gd name="T50" fmla="*/ 334 w 487"/>
                <a:gd name="T51" fmla="*/ 213 h 330"/>
                <a:gd name="T52" fmla="*/ 397 w 487"/>
                <a:gd name="T53" fmla="*/ 181 h 330"/>
                <a:gd name="T54" fmla="*/ 446 w 487"/>
                <a:gd name="T55" fmla="*/ 180 h 330"/>
                <a:gd name="T56" fmla="*/ 479 w 487"/>
                <a:gd name="T57" fmla="*/ 125 h 330"/>
                <a:gd name="T58" fmla="*/ 487 w 487"/>
                <a:gd name="T59" fmla="*/ 120 h 330"/>
                <a:gd name="T60" fmla="*/ 433 w 487"/>
                <a:gd name="T61" fmla="*/ 0 h 330"/>
                <a:gd name="T62" fmla="*/ 311 w 487"/>
                <a:gd name="T63" fmla="*/ 13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7" h="330">
                  <a:moveTo>
                    <a:pt x="311" y="13"/>
                  </a:moveTo>
                  <a:cubicBezTo>
                    <a:pt x="299" y="13"/>
                    <a:pt x="257" y="32"/>
                    <a:pt x="247" y="45"/>
                  </a:cubicBezTo>
                  <a:cubicBezTo>
                    <a:pt x="237" y="58"/>
                    <a:pt x="222" y="82"/>
                    <a:pt x="222" y="82"/>
                  </a:cubicBezTo>
                  <a:cubicBezTo>
                    <a:pt x="222" y="94"/>
                    <a:pt x="222" y="94"/>
                    <a:pt x="222" y="94"/>
                  </a:cubicBezTo>
                  <a:cubicBezTo>
                    <a:pt x="222" y="94"/>
                    <a:pt x="215" y="106"/>
                    <a:pt x="210" y="106"/>
                  </a:cubicBezTo>
                  <a:cubicBezTo>
                    <a:pt x="205" y="106"/>
                    <a:pt x="191" y="91"/>
                    <a:pt x="187" y="89"/>
                  </a:cubicBezTo>
                  <a:cubicBezTo>
                    <a:pt x="183" y="87"/>
                    <a:pt x="143" y="89"/>
                    <a:pt x="143" y="89"/>
                  </a:cubicBezTo>
                  <a:cubicBezTo>
                    <a:pt x="143" y="89"/>
                    <a:pt x="132" y="81"/>
                    <a:pt x="116" y="81"/>
                  </a:cubicBezTo>
                  <a:cubicBezTo>
                    <a:pt x="100" y="81"/>
                    <a:pt x="81" y="82"/>
                    <a:pt x="76" y="82"/>
                  </a:cubicBezTo>
                  <a:cubicBezTo>
                    <a:pt x="71" y="82"/>
                    <a:pt x="64" y="88"/>
                    <a:pt x="64" y="88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6" y="89"/>
                    <a:pt x="41" y="75"/>
                    <a:pt x="31" y="80"/>
                  </a:cubicBezTo>
                  <a:cubicBezTo>
                    <a:pt x="21" y="85"/>
                    <a:pt x="22" y="114"/>
                    <a:pt x="22" y="114"/>
                  </a:cubicBezTo>
                  <a:cubicBezTo>
                    <a:pt x="22" y="114"/>
                    <a:pt x="28" y="116"/>
                    <a:pt x="21" y="127"/>
                  </a:cubicBezTo>
                  <a:cubicBezTo>
                    <a:pt x="17" y="134"/>
                    <a:pt x="12" y="138"/>
                    <a:pt x="8" y="141"/>
                  </a:cubicBezTo>
                  <a:cubicBezTo>
                    <a:pt x="6" y="150"/>
                    <a:pt x="3" y="159"/>
                    <a:pt x="2" y="164"/>
                  </a:cubicBezTo>
                  <a:cubicBezTo>
                    <a:pt x="0" y="174"/>
                    <a:pt x="24" y="193"/>
                    <a:pt x="24" y="193"/>
                  </a:cubicBezTo>
                  <a:cubicBezTo>
                    <a:pt x="15" y="270"/>
                    <a:pt x="15" y="270"/>
                    <a:pt x="15" y="270"/>
                  </a:cubicBezTo>
                  <a:cubicBezTo>
                    <a:pt x="36" y="292"/>
                    <a:pt x="36" y="292"/>
                    <a:pt x="36" y="292"/>
                  </a:cubicBezTo>
                  <a:cubicBezTo>
                    <a:pt x="36" y="292"/>
                    <a:pt x="41" y="321"/>
                    <a:pt x="60" y="325"/>
                  </a:cubicBezTo>
                  <a:cubicBezTo>
                    <a:pt x="79" y="330"/>
                    <a:pt x="94" y="329"/>
                    <a:pt x="106" y="321"/>
                  </a:cubicBezTo>
                  <a:cubicBezTo>
                    <a:pt x="118" y="313"/>
                    <a:pt x="122" y="287"/>
                    <a:pt x="133" y="287"/>
                  </a:cubicBezTo>
                  <a:cubicBezTo>
                    <a:pt x="145" y="286"/>
                    <a:pt x="160" y="293"/>
                    <a:pt x="182" y="290"/>
                  </a:cubicBezTo>
                  <a:cubicBezTo>
                    <a:pt x="204" y="287"/>
                    <a:pt x="230" y="282"/>
                    <a:pt x="243" y="282"/>
                  </a:cubicBezTo>
                  <a:cubicBezTo>
                    <a:pt x="256" y="283"/>
                    <a:pt x="277" y="249"/>
                    <a:pt x="292" y="243"/>
                  </a:cubicBezTo>
                  <a:cubicBezTo>
                    <a:pt x="308" y="238"/>
                    <a:pt x="316" y="218"/>
                    <a:pt x="334" y="213"/>
                  </a:cubicBezTo>
                  <a:cubicBezTo>
                    <a:pt x="352" y="207"/>
                    <a:pt x="397" y="181"/>
                    <a:pt x="397" y="181"/>
                  </a:cubicBezTo>
                  <a:cubicBezTo>
                    <a:pt x="446" y="180"/>
                    <a:pt x="446" y="180"/>
                    <a:pt x="446" y="180"/>
                  </a:cubicBezTo>
                  <a:cubicBezTo>
                    <a:pt x="446" y="180"/>
                    <a:pt x="466" y="135"/>
                    <a:pt x="479" y="125"/>
                  </a:cubicBezTo>
                  <a:cubicBezTo>
                    <a:pt x="480" y="123"/>
                    <a:pt x="483" y="122"/>
                    <a:pt x="487" y="120"/>
                  </a:cubicBezTo>
                  <a:cubicBezTo>
                    <a:pt x="433" y="0"/>
                    <a:pt x="433" y="0"/>
                    <a:pt x="433" y="0"/>
                  </a:cubicBezTo>
                  <a:cubicBezTo>
                    <a:pt x="433" y="0"/>
                    <a:pt x="323" y="13"/>
                    <a:pt x="311" y="13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 321">
              <a:extLst>
                <a:ext uri="{FF2B5EF4-FFF2-40B4-BE49-F238E27FC236}">
                  <a16:creationId xmlns:a16="http://schemas.microsoft.com/office/drawing/2014/main" id="{4DA9457A-05F2-1A98-0C13-7C5D0D8DD5B1}"/>
                </a:ext>
              </a:extLst>
            </p:cNvPr>
            <p:cNvSpPr>
              <a:spLocks/>
            </p:cNvSpPr>
            <p:nvPr/>
          </p:nvSpPr>
          <p:spPr bwMode="gray">
            <a:xfrm>
              <a:off x="-5429" y="-10275"/>
              <a:ext cx="243" cy="168"/>
            </a:xfrm>
            <a:custGeom>
              <a:avLst/>
              <a:gdLst>
                <a:gd name="T0" fmla="*/ 97 w 103"/>
                <a:gd name="T1" fmla="*/ 29 h 71"/>
                <a:gd name="T2" fmla="*/ 100 w 103"/>
                <a:gd name="T3" fmla="*/ 6 h 71"/>
                <a:gd name="T4" fmla="*/ 36 w 103"/>
                <a:gd name="T5" fmla="*/ 6 h 71"/>
                <a:gd name="T6" fmla="*/ 30 w 103"/>
                <a:gd name="T7" fmla="*/ 0 h 71"/>
                <a:gd name="T8" fmla="*/ 24 w 103"/>
                <a:gd name="T9" fmla="*/ 3 h 71"/>
                <a:gd name="T10" fmla="*/ 23 w 103"/>
                <a:gd name="T11" fmla="*/ 29 h 71"/>
                <a:gd name="T12" fmla="*/ 4 w 103"/>
                <a:gd name="T13" fmla="*/ 57 h 71"/>
                <a:gd name="T14" fmla="*/ 21 w 103"/>
                <a:gd name="T15" fmla="*/ 67 h 71"/>
                <a:gd name="T16" fmla="*/ 29 w 103"/>
                <a:gd name="T17" fmla="*/ 65 h 71"/>
                <a:gd name="T18" fmla="*/ 31 w 103"/>
                <a:gd name="T19" fmla="*/ 71 h 71"/>
                <a:gd name="T20" fmla="*/ 98 w 103"/>
                <a:gd name="T21" fmla="*/ 69 h 71"/>
                <a:gd name="T22" fmla="*/ 103 w 103"/>
                <a:gd name="T23" fmla="*/ 33 h 71"/>
                <a:gd name="T24" fmla="*/ 97 w 103"/>
                <a:gd name="T25" fmla="*/ 2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71">
                  <a:moveTo>
                    <a:pt x="97" y="29"/>
                  </a:moveTo>
                  <a:cubicBezTo>
                    <a:pt x="100" y="6"/>
                    <a:pt x="100" y="6"/>
                    <a:pt x="100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8" y="21"/>
                    <a:pt x="23" y="29"/>
                  </a:cubicBezTo>
                  <a:cubicBezTo>
                    <a:pt x="18" y="37"/>
                    <a:pt x="0" y="50"/>
                    <a:pt x="4" y="57"/>
                  </a:cubicBezTo>
                  <a:cubicBezTo>
                    <a:pt x="7" y="63"/>
                    <a:pt x="17" y="66"/>
                    <a:pt x="21" y="67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93" y="70"/>
                    <a:pt x="98" y="69"/>
                  </a:cubicBezTo>
                  <a:cubicBezTo>
                    <a:pt x="103" y="68"/>
                    <a:pt x="103" y="33"/>
                    <a:pt x="103" y="33"/>
                  </a:cubicBezTo>
                  <a:lnTo>
                    <a:pt x="97" y="29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 322">
              <a:extLst>
                <a:ext uri="{FF2B5EF4-FFF2-40B4-BE49-F238E27FC236}">
                  <a16:creationId xmlns:a16="http://schemas.microsoft.com/office/drawing/2014/main" id="{90A29D60-4081-2437-2507-41E268BFE1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7307" y="-15531"/>
              <a:ext cx="1396" cy="976"/>
            </a:xfrm>
            <a:custGeom>
              <a:avLst/>
              <a:gdLst>
                <a:gd name="T0" fmla="*/ 527 w 591"/>
                <a:gd name="T1" fmla="*/ 205 h 413"/>
                <a:gd name="T2" fmla="*/ 511 w 591"/>
                <a:gd name="T3" fmla="*/ 226 h 413"/>
                <a:gd name="T4" fmla="*/ 531 w 591"/>
                <a:gd name="T5" fmla="*/ 237 h 413"/>
                <a:gd name="T6" fmla="*/ 536 w 591"/>
                <a:gd name="T7" fmla="*/ 212 h 413"/>
                <a:gd name="T8" fmla="*/ 461 w 591"/>
                <a:gd name="T9" fmla="*/ 249 h 413"/>
                <a:gd name="T10" fmla="*/ 560 w 591"/>
                <a:gd name="T11" fmla="*/ 198 h 413"/>
                <a:gd name="T12" fmla="*/ 560 w 591"/>
                <a:gd name="T13" fmla="*/ 198 h 413"/>
                <a:gd name="T14" fmla="*/ 534 w 591"/>
                <a:gd name="T15" fmla="*/ 86 h 413"/>
                <a:gd name="T16" fmla="*/ 527 w 591"/>
                <a:gd name="T17" fmla="*/ 67 h 413"/>
                <a:gd name="T18" fmla="*/ 514 w 591"/>
                <a:gd name="T19" fmla="*/ 77 h 413"/>
                <a:gd name="T20" fmla="*/ 496 w 591"/>
                <a:gd name="T21" fmla="*/ 70 h 413"/>
                <a:gd name="T22" fmla="*/ 479 w 591"/>
                <a:gd name="T23" fmla="*/ 68 h 413"/>
                <a:gd name="T24" fmla="*/ 459 w 591"/>
                <a:gd name="T25" fmla="*/ 56 h 413"/>
                <a:gd name="T26" fmla="*/ 437 w 591"/>
                <a:gd name="T27" fmla="*/ 48 h 413"/>
                <a:gd name="T28" fmla="*/ 417 w 591"/>
                <a:gd name="T29" fmla="*/ 63 h 413"/>
                <a:gd name="T30" fmla="*/ 395 w 591"/>
                <a:gd name="T31" fmla="*/ 54 h 413"/>
                <a:gd name="T32" fmla="*/ 376 w 591"/>
                <a:gd name="T33" fmla="*/ 51 h 413"/>
                <a:gd name="T34" fmla="*/ 342 w 591"/>
                <a:gd name="T35" fmla="*/ 38 h 413"/>
                <a:gd name="T36" fmla="*/ 327 w 591"/>
                <a:gd name="T37" fmla="*/ 29 h 413"/>
                <a:gd name="T38" fmla="*/ 320 w 591"/>
                <a:gd name="T39" fmla="*/ 23 h 413"/>
                <a:gd name="T40" fmla="*/ 234 w 591"/>
                <a:gd name="T41" fmla="*/ 22 h 413"/>
                <a:gd name="T42" fmla="*/ 156 w 591"/>
                <a:gd name="T43" fmla="*/ 7 h 413"/>
                <a:gd name="T44" fmla="*/ 91 w 591"/>
                <a:gd name="T45" fmla="*/ 8 h 413"/>
                <a:gd name="T46" fmla="*/ 49 w 591"/>
                <a:gd name="T47" fmla="*/ 18 h 413"/>
                <a:gd name="T48" fmla="*/ 21 w 591"/>
                <a:gd name="T49" fmla="*/ 67 h 413"/>
                <a:gd name="T50" fmla="*/ 15 w 591"/>
                <a:gd name="T51" fmla="*/ 101 h 413"/>
                <a:gd name="T52" fmla="*/ 50 w 591"/>
                <a:gd name="T53" fmla="*/ 94 h 413"/>
                <a:gd name="T54" fmla="*/ 61 w 591"/>
                <a:gd name="T55" fmla="*/ 99 h 413"/>
                <a:gd name="T56" fmla="*/ 85 w 591"/>
                <a:gd name="T57" fmla="*/ 96 h 413"/>
                <a:gd name="T58" fmla="*/ 115 w 591"/>
                <a:gd name="T59" fmla="*/ 108 h 413"/>
                <a:gd name="T60" fmla="*/ 94 w 591"/>
                <a:gd name="T61" fmla="*/ 144 h 413"/>
                <a:gd name="T62" fmla="*/ 96 w 591"/>
                <a:gd name="T63" fmla="*/ 181 h 413"/>
                <a:gd name="T64" fmla="*/ 94 w 591"/>
                <a:gd name="T65" fmla="*/ 205 h 413"/>
                <a:gd name="T66" fmla="*/ 61 w 591"/>
                <a:gd name="T67" fmla="*/ 217 h 413"/>
                <a:gd name="T68" fmla="*/ 77 w 591"/>
                <a:gd name="T69" fmla="*/ 240 h 413"/>
                <a:gd name="T70" fmla="*/ 66 w 591"/>
                <a:gd name="T71" fmla="*/ 276 h 413"/>
                <a:gd name="T72" fmla="*/ 84 w 591"/>
                <a:gd name="T73" fmla="*/ 301 h 413"/>
                <a:gd name="T74" fmla="*/ 60 w 591"/>
                <a:gd name="T75" fmla="*/ 325 h 413"/>
                <a:gd name="T76" fmla="*/ 61 w 591"/>
                <a:gd name="T77" fmla="*/ 351 h 413"/>
                <a:gd name="T78" fmla="*/ 81 w 591"/>
                <a:gd name="T79" fmla="*/ 350 h 413"/>
                <a:gd name="T80" fmla="*/ 109 w 591"/>
                <a:gd name="T81" fmla="*/ 365 h 413"/>
                <a:gd name="T82" fmla="*/ 110 w 591"/>
                <a:gd name="T83" fmla="*/ 383 h 413"/>
                <a:gd name="T84" fmla="*/ 136 w 591"/>
                <a:gd name="T85" fmla="*/ 413 h 413"/>
                <a:gd name="T86" fmla="*/ 177 w 591"/>
                <a:gd name="T87" fmla="*/ 389 h 413"/>
                <a:gd name="T88" fmla="*/ 235 w 591"/>
                <a:gd name="T89" fmla="*/ 377 h 413"/>
                <a:gd name="T90" fmla="*/ 265 w 591"/>
                <a:gd name="T91" fmla="*/ 378 h 413"/>
                <a:gd name="T92" fmla="*/ 297 w 591"/>
                <a:gd name="T93" fmla="*/ 374 h 413"/>
                <a:gd name="T94" fmla="*/ 331 w 591"/>
                <a:gd name="T95" fmla="*/ 329 h 413"/>
                <a:gd name="T96" fmla="*/ 356 w 591"/>
                <a:gd name="T97" fmla="*/ 315 h 413"/>
                <a:gd name="T98" fmla="*/ 401 w 591"/>
                <a:gd name="T99" fmla="*/ 270 h 413"/>
                <a:gd name="T100" fmla="*/ 385 w 591"/>
                <a:gd name="T101" fmla="*/ 215 h 413"/>
                <a:gd name="T102" fmla="*/ 424 w 591"/>
                <a:gd name="T103" fmla="*/ 172 h 413"/>
                <a:gd name="T104" fmla="*/ 438 w 591"/>
                <a:gd name="T105" fmla="*/ 146 h 413"/>
                <a:gd name="T106" fmla="*/ 514 w 591"/>
                <a:gd name="T107" fmla="*/ 113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1" h="413">
                  <a:moveTo>
                    <a:pt x="536" y="212"/>
                  </a:moveTo>
                  <a:cubicBezTo>
                    <a:pt x="536" y="212"/>
                    <a:pt x="533" y="205"/>
                    <a:pt x="527" y="205"/>
                  </a:cubicBezTo>
                  <a:cubicBezTo>
                    <a:pt x="521" y="205"/>
                    <a:pt x="498" y="218"/>
                    <a:pt x="501" y="223"/>
                  </a:cubicBezTo>
                  <a:cubicBezTo>
                    <a:pt x="504" y="228"/>
                    <a:pt x="511" y="226"/>
                    <a:pt x="511" y="226"/>
                  </a:cubicBezTo>
                  <a:cubicBezTo>
                    <a:pt x="511" y="226"/>
                    <a:pt x="515" y="235"/>
                    <a:pt x="519" y="236"/>
                  </a:cubicBezTo>
                  <a:cubicBezTo>
                    <a:pt x="523" y="237"/>
                    <a:pt x="531" y="237"/>
                    <a:pt x="531" y="237"/>
                  </a:cubicBezTo>
                  <a:cubicBezTo>
                    <a:pt x="537" y="235"/>
                    <a:pt x="547" y="225"/>
                    <a:pt x="546" y="218"/>
                  </a:cubicBezTo>
                  <a:cubicBezTo>
                    <a:pt x="545" y="211"/>
                    <a:pt x="536" y="212"/>
                    <a:pt x="536" y="212"/>
                  </a:cubicBezTo>
                  <a:close/>
                  <a:moveTo>
                    <a:pt x="447" y="261"/>
                  </a:moveTo>
                  <a:cubicBezTo>
                    <a:pt x="456" y="270"/>
                    <a:pt x="466" y="259"/>
                    <a:pt x="461" y="249"/>
                  </a:cubicBezTo>
                  <a:cubicBezTo>
                    <a:pt x="456" y="239"/>
                    <a:pt x="447" y="261"/>
                    <a:pt x="447" y="261"/>
                  </a:cubicBezTo>
                  <a:close/>
                  <a:moveTo>
                    <a:pt x="560" y="198"/>
                  </a:moveTo>
                  <a:cubicBezTo>
                    <a:pt x="560" y="198"/>
                    <a:pt x="573" y="218"/>
                    <a:pt x="582" y="213"/>
                  </a:cubicBezTo>
                  <a:cubicBezTo>
                    <a:pt x="591" y="208"/>
                    <a:pt x="570" y="191"/>
                    <a:pt x="560" y="198"/>
                  </a:cubicBezTo>
                  <a:close/>
                  <a:moveTo>
                    <a:pt x="535" y="101"/>
                  </a:moveTo>
                  <a:cubicBezTo>
                    <a:pt x="536" y="98"/>
                    <a:pt x="534" y="86"/>
                    <a:pt x="534" y="86"/>
                  </a:cubicBezTo>
                  <a:cubicBezTo>
                    <a:pt x="542" y="81"/>
                    <a:pt x="542" y="81"/>
                    <a:pt x="542" y="81"/>
                  </a:cubicBezTo>
                  <a:cubicBezTo>
                    <a:pt x="542" y="81"/>
                    <a:pt x="530" y="75"/>
                    <a:pt x="527" y="67"/>
                  </a:cubicBezTo>
                  <a:cubicBezTo>
                    <a:pt x="521" y="67"/>
                    <a:pt x="521" y="67"/>
                    <a:pt x="521" y="67"/>
                  </a:cubicBezTo>
                  <a:cubicBezTo>
                    <a:pt x="521" y="67"/>
                    <a:pt x="521" y="77"/>
                    <a:pt x="514" y="77"/>
                  </a:cubicBezTo>
                  <a:cubicBezTo>
                    <a:pt x="507" y="77"/>
                    <a:pt x="506" y="77"/>
                    <a:pt x="506" y="77"/>
                  </a:cubicBezTo>
                  <a:cubicBezTo>
                    <a:pt x="506" y="77"/>
                    <a:pt x="499" y="69"/>
                    <a:pt x="496" y="70"/>
                  </a:cubicBezTo>
                  <a:cubicBezTo>
                    <a:pt x="493" y="71"/>
                    <a:pt x="486" y="73"/>
                    <a:pt x="486" y="73"/>
                  </a:cubicBezTo>
                  <a:cubicBezTo>
                    <a:pt x="486" y="73"/>
                    <a:pt x="483" y="67"/>
                    <a:pt x="479" y="68"/>
                  </a:cubicBezTo>
                  <a:cubicBezTo>
                    <a:pt x="475" y="69"/>
                    <a:pt x="466" y="71"/>
                    <a:pt x="466" y="71"/>
                  </a:cubicBezTo>
                  <a:cubicBezTo>
                    <a:pt x="459" y="56"/>
                    <a:pt x="459" y="56"/>
                    <a:pt x="459" y="56"/>
                  </a:cubicBezTo>
                  <a:cubicBezTo>
                    <a:pt x="450" y="55"/>
                    <a:pt x="450" y="55"/>
                    <a:pt x="450" y="55"/>
                  </a:cubicBezTo>
                  <a:cubicBezTo>
                    <a:pt x="450" y="55"/>
                    <a:pt x="450" y="48"/>
                    <a:pt x="437" y="48"/>
                  </a:cubicBezTo>
                  <a:cubicBezTo>
                    <a:pt x="424" y="48"/>
                    <a:pt x="430" y="60"/>
                    <a:pt x="430" y="60"/>
                  </a:cubicBezTo>
                  <a:cubicBezTo>
                    <a:pt x="417" y="63"/>
                    <a:pt x="417" y="63"/>
                    <a:pt x="417" y="63"/>
                  </a:cubicBezTo>
                  <a:cubicBezTo>
                    <a:pt x="415" y="55"/>
                    <a:pt x="415" y="55"/>
                    <a:pt x="415" y="55"/>
                  </a:cubicBezTo>
                  <a:cubicBezTo>
                    <a:pt x="395" y="54"/>
                    <a:pt x="395" y="54"/>
                    <a:pt x="395" y="54"/>
                  </a:cubicBezTo>
                  <a:cubicBezTo>
                    <a:pt x="395" y="54"/>
                    <a:pt x="394" y="51"/>
                    <a:pt x="390" y="49"/>
                  </a:cubicBezTo>
                  <a:cubicBezTo>
                    <a:pt x="386" y="47"/>
                    <a:pt x="376" y="51"/>
                    <a:pt x="376" y="51"/>
                  </a:cubicBezTo>
                  <a:cubicBezTo>
                    <a:pt x="376" y="51"/>
                    <a:pt x="370" y="42"/>
                    <a:pt x="363" y="41"/>
                  </a:cubicBezTo>
                  <a:cubicBezTo>
                    <a:pt x="356" y="40"/>
                    <a:pt x="342" y="38"/>
                    <a:pt x="342" y="38"/>
                  </a:cubicBezTo>
                  <a:cubicBezTo>
                    <a:pt x="342" y="38"/>
                    <a:pt x="348" y="35"/>
                    <a:pt x="342" y="28"/>
                  </a:cubicBezTo>
                  <a:cubicBezTo>
                    <a:pt x="336" y="21"/>
                    <a:pt x="327" y="29"/>
                    <a:pt x="327" y="29"/>
                  </a:cubicBezTo>
                  <a:cubicBezTo>
                    <a:pt x="326" y="23"/>
                    <a:pt x="326" y="23"/>
                    <a:pt x="326" y="23"/>
                  </a:cubicBezTo>
                  <a:cubicBezTo>
                    <a:pt x="324" y="23"/>
                    <a:pt x="322" y="23"/>
                    <a:pt x="320" y="23"/>
                  </a:cubicBezTo>
                  <a:cubicBezTo>
                    <a:pt x="301" y="23"/>
                    <a:pt x="254" y="14"/>
                    <a:pt x="254" y="14"/>
                  </a:cubicBezTo>
                  <a:cubicBezTo>
                    <a:pt x="234" y="22"/>
                    <a:pt x="234" y="22"/>
                    <a:pt x="234" y="22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71" y="4"/>
                    <a:pt x="156" y="7"/>
                  </a:cubicBezTo>
                  <a:cubicBezTo>
                    <a:pt x="141" y="10"/>
                    <a:pt x="120" y="11"/>
                    <a:pt x="115" y="11"/>
                  </a:cubicBezTo>
                  <a:cubicBezTo>
                    <a:pt x="110" y="11"/>
                    <a:pt x="91" y="8"/>
                    <a:pt x="91" y="8"/>
                  </a:cubicBezTo>
                  <a:cubicBezTo>
                    <a:pt x="91" y="8"/>
                    <a:pt x="81" y="0"/>
                    <a:pt x="75" y="0"/>
                  </a:cubicBezTo>
                  <a:cubicBezTo>
                    <a:pt x="69" y="0"/>
                    <a:pt x="49" y="18"/>
                    <a:pt x="49" y="18"/>
                  </a:cubicBezTo>
                  <a:cubicBezTo>
                    <a:pt x="49" y="18"/>
                    <a:pt x="4" y="25"/>
                    <a:pt x="2" y="38"/>
                  </a:cubicBezTo>
                  <a:cubicBezTo>
                    <a:pt x="0" y="51"/>
                    <a:pt x="21" y="67"/>
                    <a:pt x="21" y="67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4" y="94"/>
                    <a:pt x="15" y="101"/>
                  </a:cubicBezTo>
                  <a:cubicBezTo>
                    <a:pt x="20" y="95"/>
                    <a:pt x="27" y="88"/>
                    <a:pt x="36" y="88"/>
                  </a:cubicBezTo>
                  <a:cubicBezTo>
                    <a:pt x="50" y="88"/>
                    <a:pt x="55" y="89"/>
                    <a:pt x="50" y="94"/>
                  </a:cubicBezTo>
                  <a:cubicBezTo>
                    <a:pt x="45" y="99"/>
                    <a:pt x="38" y="103"/>
                    <a:pt x="44" y="103"/>
                  </a:cubicBezTo>
                  <a:cubicBezTo>
                    <a:pt x="50" y="103"/>
                    <a:pt x="54" y="99"/>
                    <a:pt x="61" y="99"/>
                  </a:cubicBezTo>
                  <a:cubicBezTo>
                    <a:pt x="68" y="99"/>
                    <a:pt x="70" y="108"/>
                    <a:pt x="78" y="104"/>
                  </a:cubicBezTo>
                  <a:cubicBezTo>
                    <a:pt x="86" y="100"/>
                    <a:pt x="76" y="96"/>
                    <a:pt x="85" y="96"/>
                  </a:cubicBezTo>
                  <a:cubicBezTo>
                    <a:pt x="94" y="96"/>
                    <a:pt x="110" y="93"/>
                    <a:pt x="114" y="95"/>
                  </a:cubicBezTo>
                  <a:cubicBezTo>
                    <a:pt x="118" y="97"/>
                    <a:pt x="115" y="108"/>
                    <a:pt x="115" y="108"/>
                  </a:cubicBezTo>
                  <a:cubicBezTo>
                    <a:pt x="115" y="108"/>
                    <a:pt x="129" y="109"/>
                    <a:pt x="128" y="117"/>
                  </a:cubicBezTo>
                  <a:cubicBezTo>
                    <a:pt x="127" y="125"/>
                    <a:pt x="95" y="140"/>
                    <a:pt x="94" y="144"/>
                  </a:cubicBezTo>
                  <a:cubicBezTo>
                    <a:pt x="93" y="148"/>
                    <a:pt x="102" y="153"/>
                    <a:pt x="102" y="153"/>
                  </a:cubicBezTo>
                  <a:cubicBezTo>
                    <a:pt x="102" y="153"/>
                    <a:pt x="97" y="178"/>
                    <a:pt x="96" y="181"/>
                  </a:cubicBezTo>
                  <a:cubicBezTo>
                    <a:pt x="95" y="184"/>
                    <a:pt x="90" y="188"/>
                    <a:pt x="90" y="188"/>
                  </a:cubicBezTo>
                  <a:cubicBezTo>
                    <a:pt x="90" y="188"/>
                    <a:pt x="94" y="202"/>
                    <a:pt x="94" y="205"/>
                  </a:cubicBezTo>
                  <a:cubicBezTo>
                    <a:pt x="94" y="208"/>
                    <a:pt x="86" y="215"/>
                    <a:pt x="82" y="216"/>
                  </a:cubicBezTo>
                  <a:cubicBezTo>
                    <a:pt x="78" y="217"/>
                    <a:pt x="61" y="217"/>
                    <a:pt x="61" y="217"/>
                  </a:cubicBezTo>
                  <a:cubicBezTo>
                    <a:pt x="77" y="231"/>
                    <a:pt x="77" y="231"/>
                    <a:pt x="77" y="231"/>
                  </a:cubicBezTo>
                  <a:cubicBezTo>
                    <a:pt x="77" y="240"/>
                    <a:pt x="77" y="240"/>
                    <a:pt x="77" y="240"/>
                  </a:cubicBezTo>
                  <a:cubicBezTo>
                    <a:pt x="77" y="240"/>
                    <a:pt x="90" y="242"/>
                    <a:pt x="88" y="250"/>
                  </a:cubicBezTo>
                  <a:cubicBezTo>
                    <a:pt x="86" y="258"/>
                    <a:pt x="62" y="272"/>
                    <a:pt x="66" y="276"/>
                  </a:cubicBezTo>
                  <a:cubicBezTo>
                    <a:pt x="70" y="280"/>
                    <a:pt x="75" y="294"/>
                    <a:pt x="75" y="294"/>
                  </a:cubicBezTo>
                  <a:cubicBezTo>
                    <a:pt x="75" y="294"/>
                    <a:pt x="88" y="295"/>
                    <a:pt x="84" y="301"/>
                  </a:cubicBezTo>
                  <a:cubicBezTo>
                    <a:pt x="80" y="307"/>
                    <a:pt x="70" y="308"/>
                    <a:pt x="70" y="308"/>
                  </a:cubicBezTo>
                  <a:cubicBezTo>
                    <a:pt x="70" y="308"/>
                    <a:pt x="62" y="318"/>
                    <a:pt x="60" y="325"/>
                  </a:cubicBezTo>
                  <a:cubicBezTo>
                    <a:pt x="58" y="332"/>
                    <a:pt x="59" y="340"/>
                    <a:pt x="59" y="340"/>
                  </a:cubicBezTo>
                  <a:cubicBezTo>
                    <a:pt x="61" y="351"/>
                    <a:pt x="61" y="351"/>
                    <a:pt x="61" y="351"/>
                  </a:cubicBezTo>
                  <a:cubicBezTo>
                    <a:pt x="62" y="351"/>
                    <a:pt x="62" y="351"/>
                    <a:pt x="62" y="351"/>
                  </a:cubicBezTo>
                  <a:cubicBezTo>
                    <a:pt x="81" y="350"/>
                    <a:pt x="81" y="350"/>
                    <a:pt x="81" y="350"/>
                  </a:cubicBezTo>
                  <a:cubicBezTo>
                    <a:pt x="97" y="365"/>
                    <a:pt x="97" y="365"/>
                    <a:pt x="97" y="365"/>
                  </a:cubicBezTo>
                  <a:cubicBezTo>
                    <a:pt x="109" y="365"/>
                    <a:pt x="109" y="365"/>
                    <a:pt x="109" y="365"/>
                  </a:cubicBezTo>
                  <a:cubicBezTo>
                    <a:pt x="103" y="382"/>
                    <a:pt x="103" y="382"/>
                    <a:pt x="103" y="382"/>
                  </a:cubicBezTo>
                  <a:cubicBezTo>
                    <a:pt x="110" y="383"/>
                    <a:pt x="110" y="383"/>
                    <a:pt x="110" y="383"/>
                  </a:cubicBezTo>
                  <a:cubicBezTo>
                    <a:pt x="110" y="383"/>
                    <a:pt x="110" y="403"/>
                    <a:pt x="117" y="406"/>
                  </a:cubicBezTo>
                  <a:cubicBezTo>
                    <a:pt x="124" y="409"/>
                    <a:pt x="136" y="413"/>
                    <a:pt x="136" y="413"/>
                  </a:cubicBezTo>
                  <a:cubicBezTo>
                    <a:pt x="136" y="413"/>
                    <a:pt x="153" y="401"/>
                    <a:pt x="156" y="395"/>
                  </a:cubicBezTo>
                  <a:cubicBezTo>
                    <a:pt x="159" y="389"/>
                    <a:pt x="177" y="389"/>
                    <a:pt x="177" y="389"/>
                  </a:cubicBezTo>
                  <a:cubicBezTo>
                    <a:pt x="196" y="377"/>
                    <a:pt x="196" y="377"/>
                    <a:pt x="196" y="377"/>
                  </a:cubicBezTo>
                  <a:cubicBezTo>
                    <a:pt x="196" y="377"/>
                    <a:pt x="229" y="379"/>
                    <a:pt x="235" y="377"/>
                  </a:cubicBezTo>
                  <a:cubicBezTo>
                    <a:pt x="241" y="375"/>
                    <a:pt x="251" y="371"/>
                    <a:pt x="251" y="371"/>
                  </a:cubicBezTo>
                  <a:cubicBezTo>
                    <a:pt x="251" y="371"/>
                    <a:pt x="259" y="379"/>
                    <a:pt x="265" y="378"/>
                  </a:cubicBezTo>
                  <a:cubicBezTo>
                    <a:pt x="271" y="377"/>
                    <a:pt x="287" y="370"/>
                    <a:pt x="287" y="370"/>
                  </a:cubicBezTo>
                  <a:cubicBezTo>
                    <a:pt x="287" y="370"/>
                    <a:pt x="286" y="382"/>
                    <a:pt x="297" y="374"/>
                  </a:cubicBezTo>
                  <a:cubicBezTo>
                    <a:pt x="308" y="366"/>
                    <a:pt x="310" y="347"/>
                    <a:pt x="310" y="347"/>
                  </a:cubicBezTo>
                  <a:cubicBezTo>
                    <a:pt x="331" y="329"/>
                    <a:pt x="331" y="329"/>
                    <a:pt x="331" y="329"/>
                  </a:cubicBezTo>
                  <a:cubicBezTo>
                    <a:pt x="354" y="328"/>
                    <a:pt x="354" y="328"/>
                    <a:pt x="354" y="328"/>
                  </a:cubicBezTo>
                  <a:cubicBezTo>
                    <a:pt x="356" y="315"/>
                    <a:pt x="356" y="315"/>
                    <a:pt x="356" y="315"/>
                  </a:cubicBezTo>
                  <a:cubicBezTo>
                    <a:pt x="356" y="315"/>
                    <a:pt x="367" y="286"/>
                    <a:pt x="370" y="284"/>
                  </a:cubicBezTo>
                  <a:cubicBezTo>
                    <a:pt x="373" y="282"/>
                    <a:pt x="400" y="279"/>
                    <a:pt x="401" y="270"/>
                  </a:cubicBezTo>
                  <a:cubicBezTo>
                    <a:pt x="402" y="261"/>
                    <a:pt x="379" y="249"/>
                    <a:pt x="379" y="249"/>
                  </a:cubicBezTo>
                  <a:cubicBezTo>
                    <a:pt x="379" y="249"/>
                    <a:pt x="377" y="226"/>
                    <a:pt x="385" y="215"/>
                  </a:cubicBezTo>
                  <a:cubicBezTo>
                    <a:pt x="393" y="204"/>
                    <a:pt x="404" y="191"/>
                    <a:pt x="404" y="191"/>
                  </a:cubicBezTo>
                  <a:cubicBezTo>
                    <a:pt x="404" y="191"/>
                    <a:pt x="421" y="173"/>
                    <a:pt x="424" y="172"/>
                  </a:cubicBezTo>
                  <a:cubicBezTo>
                    <a:pt x="427" y="171"/>
                    <a:pt x="439" y="163"/>
                    <a:pt x="436" y="161"/>
                  </a:cubicBezTo>
                  <a:cubicBezTo>
                    <a:pt x="433" y="159"/>
                    <a:pt x="428" y="151"/>
                    <a:pt x="438" y="146"/>
                  </a:cubicBezTo>
                  <a:cubicBezTo>
                    <a:pt x="448" y="141"/>
                    <a:pt x="472" y="136"/>
                    <a:pt x="485" y="131"/>
                  </a:cubicBezTo>
                  <a:cubicBezTo>
                    <a:pt x="498" y="126"/>
                    <a:pt x="514" y="113"/>
                    <a:pt x="514" y="113"/>
                  </a:cubicBezTo>
                  <a:cubicBezTo>
                    <a:pt x="514" y="113"/>
                    <a:pt x="534" y="104"/>
                    <a:pt x="535" y="101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 323">
              <a:extLst>
                <a:ext uri="{FF2B5EF4-FFF2-40B4-BE49-F238E27FC236}">
                  <a16:creationId xmlns:a16="http://schemas.microsoft.com/office/drawing/2014/main" id="{24E221D8-CA66-BC0B-0ED9-21C3E65E5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-7368" y="-15323"/>
              <a:ext cx="366" cy="654"/>
            </a:xfrm>
            <a:custGeom>
              <a:avLst/>
              <a:gdLst>
                <a:gd name="T0" fmla="*/ 141 w 155"/>
                <a:gd name="T1" fmla="*/ 20 h 277"/>
                <a:gd name="T2" fmla="*/ 140 w 155"/>
                <a:gd name="T3" fmla="*/ 7 h 277"/>
                <a:gd name="T4" fmla="*/ 111 w 155"/>
                <a:gd name="T5" fmla="*/ 8 h 277"/>
                <a:gd name="T6" fmla="*/ 104 w 155"/>
                <a:gd name="T7" fmla="*/ 16 h 277"/>
                <a:gd name="T8" fmla="*/ 87 w 155"/>
                <a:gd name="T9" fmla="*/ 11 h 277"/>
                <a:gd name="T10" fmla="*/ 70 w 155"/>
                <a:gd name="T11" fmla="*/ 15 h 277"/>
                <a:gd name="T12" fmla="*/ 76 w 155"/>
                <a:gd name="T13" fmla="*/ 6 h 277"/>
                <a:gd name="T14" fmla="*/ 62 w 155"/>
                <a:gd name="T15" fmla="*/ 0 h 277"/>
                <a:gd name="T16" fmla="*/ 41 w 155"/>
                <a:gd name="T17" fmla="*/ 13 h 277"/>
                <a:gd name="T18" fmla="*/ 46 w 155"/>
                <a:gd name="T19" fmla="*/ 53 h 277"/>
                <a:gd name="T20" fmla="*/ 23 w 155"/>
                <a:gd name="T21" fmla="*/ 114 h 277"/>
                <a:gd name="T22" fmla="*/ 9 w 155"/>
                <a:gd name="T23" fmla="*/ 146 h 277"/>
                <a:gd name="T24" fmla="*/ 6 w 155"/>
                <a:gd name="T25" fmla="*/ 180 h 277"/>
                <a:gd name="T26" fmla="*/ 23 w 155"/>
                <a:gd name="T27" fmla="*/ 191 h 277"/>
                <a:gd name="T28" fmla="*/ 30 w 155"/>
                <a:gd name="T29" fmla="*/ 228 h 277"/>
                <a:gd name="T30" fmla="*/ 20 w 155"/>
                <a:gd name="T31" fmla="*/ 271 h 277"/>
                <a:gd name="T32" fmla="*/ 52 w 155"/>
                <a:gd name="T33" fmla="*/ 268 h 277"/>
                <a:gd name="T34" fmla="*/ 62 w 155"/>
                <a:gd name="T35" fmla="*/ 276 h 277"/>
                <a:gd name="T36" fmla="*/ 87 w 155"/>
                <a:gd name="T37" fmla="*/ 263 h 277"/>
                <a:gd name="T38" fmla="*/ 85 w 155"/>
                <a:gd name="T39" fmla="*/ 252 h 277"/>
                <a:gd name="T40" fmla="*/ 86 w 155"/>
                <a:gd name="T41" fmla="*/ 237 h 277"/>
                <a:gd name="T42" fmla="*/ 96 w 155"/>
                <a:gd name="T43" fmla="*/ 220 h 277"/>
                <a:gd name="T44" fmla="*/ 110 w 155"/>
                <a:gd name="T45" fmla="*/ 213 h 277"/>
                <a:gd name="T46" fmla="*/ 101 w 155"/>
                <a:gd name="T47" fmla="*/ 206 h 277"/>
                <a:gd name="T48" fmla="*/ 92 w 155"/>
                <a:gd name="T49" fmla="*/ 188 h 277"/>
                <a:gd name="T50" fmla="*/ 114 w 155"/>
                <a:gd name="T51" fmla="*/ 162 h 277"/>
                <a:gd name="T52" fmla="*/ 103 w 155"/>
                <a:gd name="T53" fmla="*/ 152 h 277"/>
                <a:gd name="T54" fmla="*/ 103 w 155"/>
                <a:gd name="T55" fmla="*/ 143 h 277"/>
                <a:gd name="T56" fmla="*/ 87 w 155"/>
                <a:gd name="T57" fmla="*/ 129 h 277"/>
                <a:gd name="T58" fmla="*/ 108 w 155"/>
                <a:gd name="T59" fmla="*/ 128 h 277"/>
                <a:gd name="T60" fmla="*/ 120 w 155"/>
                <a:gd name="T61" fmla="*/ 117 h 277"/>
                <a:gd name="T62" fmla="*/ 116 w 155"/>
                <a:gd name="T63" fmla="*/ 100 h 277"/>
                <a:gd name="T64" fmla="*/ 122 w 155"/>
                <a:gd name="T65" fmla="*/ 93 h 277"/>
                <a:gd name="T66" fmla="*/ 128 w 155"/>
                <a:gd name="T67" fmla="*/ 65 h 277"/>
                <a:gd name="T68" fmla="*/ 120 w 155"/>
                <a:gd name="T69" fmla="*/ 56 h 277"/>
                <a:gd name="T70" fmla="*/ 154 w 155"/>
                <a:gd name="T71" fmla="*/ 29 h 277"/>
                <a:gd name="T72" fmla="*/ 141 w 155"/>
                <a:gd name="T73" fmla="*/ 2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5" h="277">
                  <a:moveTo>
                    <a:pt x="141" y="20"/>
                  </a:moveTo>
                  <a:cubicBezTo>
                    <a:pt x="141" y="20"/>
                    <a:pt x="144" y="9"/>
                    <a:pt x="140" y="7"/>
                  </a:cubicBezTo>
                  <a:cubicBezTo>
                    <a:pt x="136" y="5"/>
                    <a:pt x="120" y="8"/>
                    <a:pt x="111" y="8"/>
                  </a:cubicBezTo>
                  <a:cubicBezTo>
                    <a:pt x="102" y="8"/>
                    <a:pt x="112" y="12"/>
                    <a:pt x="104" y="16"/>
                  </a:cubicBezTo>
                  <a:cubicBezTo>
                    <a:pt x="96" y="20"/>
                    <a:pt x="94" y="11"/>
                    <a:pt x="87" y="11"/>
                  </a:cubicBezTo>
                  <a:cubicBezTo>
                    <a:pt x="80" y="11"/>
                    <a:pt x="76" y="15"/>
                    <a:pt x="70" y="15"/>
                  </a:cubicBezTo>
                  <a:cubicBezTo>
                    <a:pt x="64" y="15"/>
                    <a:pt x="71" y="11"/>
                    <a:pt x="76" y="6"/>
                  </a:cubicBezTo>
                  <a:cubicBezTo>
                    <a:pt x="81" y="1"/>
                    <a:pt x="76" y="0"/>
                    <a:pt x="62" y="0"/>
                  </a:cubicBezTo>
                  <a:cubicBezTo>
                    <a:pt x="53" y="0"/>
                    <a:pt x="46" y="7"/>
                    <a:pt x="41" y="13"/>
                  </a:cubicBezTo>
                  <a:cubicBezTo>
                    <a:pt x="44" y="23"/>
                    <a:pt x="47" y="40"/>
                    <a:pt x="46" y="53"/>
                  </a:cubicBezTo>
                  <a:cubicBezTo>
                    <a:pt x="45" y="74"/>
                    <a:pt x="23" y="114"/>
                    <a:pt x="23" y="114"/>
                  </a:cubicBezTo>
                  <a:cubicBezTo>
                    <a:pt x="9" y="146"/>
                    <a:pt x="9" y="146"/>
                    <a:pt x="9" y="146"/>
                  </a:cubicBezTo>
                  <a:cubicBezTo>
                    <a:pt x="9" y="146"/>
                    <a:pt x="0" y="173"/>
                    <a:pt x="6" y="180"/>
                  </a:cubicBezTo>
                  <a:cubicBezTo>
                    <a:pt x="12" y="187"/>
                    <a:pt x="23" y="191"/>
                    <a:pt x="23" y="191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14" y="270"/>
                    <a:pt x="20" y="271"/>
                  </a:cubicBezTo>
                  <a:cubicBezTo>
                    <a:pt x="26" y="272"/>
                    <a:pt x="52" y="268"/>
                    <a:pt x="52" y="268"/>
                  </a:cubicBezTo>
                  <a:cubicBezTo>
                    <a:pt x="52" y="268"/>
                    <a:pt x="56" y="277"/>
                    <a:pt x="62" y="276"/>
                  </a:cubicBezTo>
                  <a:cubicBezTo>
                    <a:pt x="67" y="275"/>
                    <a:pt x="84" y="265"/>
                    <a:pt x="87" y="263"/>
                  </a:cubicBezTo>
                  <a:cubicBezTo>
                    <a:pt x="85" y="252"/>
                    <a:pt x="85" y="252"/>
                    <a:pt x="85" y="252"/>
                  </a:cubicBezTo>
                  <a:cubicBezTo>
                    <a:pt x="85" y="252"/>
                    <a:pt x="84" y="244"/>
                    <a:pt x="86" y="237"/>
                  </a:cubicBezTo>
                  <a:cubicBezTo>
                    <a:pt x="88" y="230"/>
                    <a:pt x="96" y="220"/>
                    <a:pt x="96" y="220"/>
                  </a:cubicBezTo>
                  <a:cubicBezTo>
                    <a:pt x="96" y="220"/>
                    <a:pt x="106" y="219"/>
                    <a:pt x="110" y="213"/>
                  </a:cubicBezTo>
                  <a:cubicBezTo>
                    <a:pt x="114" y="207"/>
                    <a:pt x="101" y="206"/>
                    <a:pt x="101" y="206"/>
                  </a:cubicBezTo>
                  <a:cubicBezTo>
                    <a:pt x="101" y="206"/>
                    <a:pt x="96" y="192"/>
                    <a:pt x="92" y="188"/>
                  </a:cubicBezTo>
                  <a:cubicBezTo>
                    <a:pt x="88" y="184"/>
                    <a:pt x="112" y="170"/>
                    <a:pt x="114" y="162"/>
                  </a:cubicBezTo>
                  <a:cubicBezTo>
                    <a:pt x="116" y="154"/>
                    <a:pt x="103" y="152"/>
                    <a:pt x="103" y="15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87" y="129"/>
                    <a:pt x="87" y="129"/>
                    <a:pt x="87" y="129"/>
                  </a:cubicBezTo>
                  <a:cubicBezTo>
                    <a:pt x="87" y="129"/>
                    <a:pt x="104" y="129"/>
                    <a:pt x="108" y="128"/>
                  </a:cubicBezTo>
                  <a:cubicBezTo>
                    <a:pt x="112" y="127"/>
                    <a:pt x="120" y="120"/>
                    <a:pt x="120" y="117"/>
                  </a:cubicBezTo>
                  <a:cubicBezTo>
                    <a:pt x="120" y="114"/>
                    <a:pt x="116" y="100"/>
                    <a:pt x="116" y="100"/>
                  </a:cubicBezTo>
                  <a:cubicBezTo>
                    <a:pt x="116" y="100"/>
                    <a:pt x="121" y="96"/>
                    <a:pt x="122" y="93"/>
                  </a:cubicBezTo>
                  <a:cubicBezTo>
                    <a:pt x="123" y="90"/>
                    <a:pt x="128" y="65"/>
                    <a:pt x="128" y="65"/>
                  </a:cubicBezTo>
                  <a:cubicBezTo>
                    <a:pt x="128" y="65"/>
                    <a:pt x="119" y="60"/>
                    <a:pt x="120" y="56"/>
                  </a:cubicBezTo>
                  <a:cubicBezTo>
                    <a:pt x="121" y="52"/>
                    <a:pt x="153" y="37"/>
                    <a:pt x="154" y="29"/>
                  </a:cubicBezTo>
                  <a:cubicBezTo>
                    <a:pt x="155" y="21"/>
                    <a:pt x="141" y="20"/>
                    <a:pt x="141" y="2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 324">
              <a:extLst>
                <a:ext uri="{FF2B5EF4-FFF2-40B4-BE49-F238E27FC236}">
                  <a16:creationId xmlns:a16="http://schemas.microsoft.com/office/drawing/2014/main" id="{BBBD41C4-9C82-6CF8-BBDC-D2CD20B4196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4736" y="-10655"/>
              <a:ext cx="4389" cy="4958"/>
            </a:xfrm>
            <a:custGeom>
              <a:avLst/>
              <a:gdLst>
                <a:gd name="T0" fmla="*/ 1096 w 1858"/>
                <a:gd name="T1" fmla="*/ 350 h 2099"/>
                <a:gd name="T2" fmla="*/ 1201 w 1858"/>
                <a:gd name="T3" fmla="*/ 299 h 2099"/>
                <a:gd name="T4" fmla="*/ 1144 w 1858"/>
                <a:gd name="T5" fmla="*/ 291 h 2099"/>
                <a:gd name="T6" fmla="*/ 1124 w 1858"/>
                <a:gd name="T7" fmla="*/ 270 h 2099"/>
                <a:gd name="T8" fmla="*/ 1087 w 1858"/>
                <a:gd name="T9" fmla="*/ 283 h 2099"/>
                <a:gd name="T10" fmla="*/ 1837 w 1858"/>
                <a:gd name="T11" fmla="*/ 583 h 2099"/>
                <a:gd name="T12" fmla="*/ 1713 w 1858"/>
                <a:gd name="T13" fmla="*/ 532 h 2099"/>
                <a:gd name="T14" fmla="*/ 1445 w 1858"/>
                <a:gd name="T15" fmla="*/ 412 h 2099"/>
                <a:gd name="T16" fmla="*/ 1377 w 1858"/>
                <a:gd name="T17" fmla="*/ 411 h 2099"/>
                <a:gd name="T18" fmla="*/ 1258 w 1858"/>
                <a:gd name="T19" fmla="*/ 316 h 2099"/>
                <a:gd name="T20" fmla="*/ 1154 w 1858"/>
                <a:gd name="T21" fmla="*/ 423 h 2099"/>
                <a:gd name="T22" fmla="*/ 1062 w 1858"/>
                <a:gd name="T23" fmla="*/ 356 h 2099"/>
                <a:gd name="T24" fmla="*/ 1095 w 1858"/>
                <a:gd name="T25" fmla="*/ 270 h 2099"/>
                <a:gd name="T26" fmla="*/ 1063 w 1858"/>
                <a:gd name="T27" fmla="*/ 52 h 2099"/>
                <a:gd name="T28" fmla="*/ 971 w 1858"/>
                <a:gd name="T29" fmla="*/ 160 h 2099"/>
                <a:gd name="T30" fmla="*/ 888 w 1858"/>
                <a:gd name="T31" fmla="*/ 145 h 2099"/>
                <a:gd name="T32" fmla="*/ 807 w 1858"/>
                <a:gd name="T33" fmla="*/ 183 h 2099"/>
                <a:gd name="T34" fmla="*/ 702 w 1858"/>
                <a:gd name="T35" fmla="*/ 221 h 2099"/>
                <a:gd name="T36" fmla="*/ 664 w 1858"/>
                <a:gd name="T37" fmla="*/ 91 h 2099"/>
                <a:gd name="T38" fmla="*/ 641 w 1858"/>
                <a:gd name="T39" fmla="*/ 7 h 2099"/>
                <a:gd name="T40" fmla="*/ 559 w 1858"/>
                <a:gd name="T41" fmla="*/ 64 h 2099"/>
                <a:gd name="T42" fmla="*/ 460 w 1858"/>
                <a:gd name="T43" fmla="*/ 60 h 2099"/>
                <a:gd name="T44" fmla="*/ 493 w 1858"/>
                <a:gd name="T45" fmla="*/ 154 h 2099"/>
                <a:gd name="T46" fmla="*/ 393 w 1858"/>
                <a:gd name="T47" fmla="*/ 251 h 2099"/>
                <a:gd name="T48" fmla="*/ 306 w 1858"/>
                <a:gd name="T49" fmla="*/ 180 h 2099"/>
                <a:gd name="T50" fmla="*/ 191 w 1858"/>
                <a:gd name="T51" fmla="*/ 223 h 2099"/>
                <a:gd name="T52" fmla="*/ 197 w 1858"/>
                <a:gd name="T53" fmla="*/ 313 h 2099"/>
                <a:gd name="T54" fmla="*/ 183 w 1858"/>
                <a:gd name="T55" fmla="*/ 518 h 2099"/>
                <a:gd name="T56" fmla="*/ 66 w 1858"/>
                <a:gd name="T57" fmla="*/ 547 h 2099"/>
                <a:gd name="T58" fmla="*/ 9 w 1858"/>
                <a:gd name="T59" fmla="*/ 674 h 2099"/>
                <a:gd name="T60" fmla="*/ 43 w 1858"/>
                <a:gd name="T61" fmla="*/ 791 h 2099"/>
                <a:gd name="T62" fmla="*/ 170 w 1858"/>
                <a:gd name="T63" fmla="*/ 874 h 2099"/>
                <a:gd name="T64" fmla="*/ 288 w 1858"/>
                <a:gd name="T65" fmla="*/ 859 h 2099"/>
                <a:gd name="T66" fmla="*/ 405 w 1858"/>
                <a:gd name="T67" fmla="*/ 814 h 2099"/>
                <a:gd name="T68" fmla="*/ 442 w 1858"/>
                <a:gd name="T69" fmla="*/ 932 h 2099"/>
                <a:gd name="T70" fmla="*/ 552 w 1858"/>
                <a:gd name="T71" fmla="*/ 986 h 2099"/>
                <a:gd name="T72" fmla="*/ 675 w 1858"/>
                <a:gd name="T73" fmla="*/ 1092 h 2099"/>
                <a:gd name="T74" fmla="*/ 816 w 1858"/>
                <a:gd name="T75" fmla="*/ 1262 h 2099"/>
                <a:gd name="T76" fmla="*/ 810 w 1858"/>
                <a:gd name="T77" fmla="*/ 1406 h 2099"/>
                <a:gd name="T78" fmla="*/ 987 w 1858"/>
                <a:gd name="T79" fmla="*/ 1564 h 2099"/>
                <a:gd name="T80" fmla="*/ 1043 w 1858"/>
                <a:gd name="T81" fmla="*/ 1690 h 2099"/>
                <a:gd name="T82" fmla="*/ 969 w 1858"/>
                <a:gd name="T83" fmla="*/ 1810 h 2099"/>
                <a:gd name="T84" fmla="*/ 915 w 1858"/>
                <a:gd name="T85" fmla="*/ 1912 h 2099"/>
                <a:gd name="T86" fmla="*/ 1049 w 1858"/>
                <a:gd name="T87" fmla="*/ 1978 h 2099"/>
                <a:gd name="T88" fmla="*/ 1118 w 1858"/>
                <a:gd name="T89" fmla="*/ 2099 h 2099"/>
                <a:gd name="T90" fmla="*/ 1165 w 1858"/>
                <a:gd name="T91" fmla="*/ 1984 h 2099"/>
                <a:gd name="T92" fmla="*/ 1208 w 1858"/>
                <a:gd name="T93" fmla="*/ 1956 h 2099"/>
                <a:gd name="T94" fmla="*/ 1200 w 1858"/>
                <a:gd name="T95" fmla="*/ 1987 h 2099"/>
                <a:gd name="T96" fmla="*/ 1294 w 1858"/>
                <a:gd name="T97" fmla="*/ 1764 h 2099"/>
                <a:gd name="T98" fmla="*/ 1279 w 1858"/>
                <a:gd name="T99" fmla="*/ 1678 h 2099"/>
                <a:gd name="T100" fmla="*/ 1311 w 1858"/>
                <a:gd name="T101" fmla="*/ 1617 h 2099"/>
                <a:gd name="T102" fmla="*/ 1412 w 1858"/>
                <a:gd name="T103" fmla="*/ 1561 h 2099"/>
                <a:gd name="T104" fmla="*/ 1459 w 1858"/>
                <a:gd name="T105" fmla="*/ 1519 h 2099"/>
                <a:gd name="T106" fmla="*/ 1571 w 1858"/>
                <a:gd name="T107" fmla="*/ 1506 h 2099"/>
                <a:gd name="T108" fmla="*/ 1629 w 1858"/>
                <a:gd name="T109" fmla="*/ 1372 h 2099"/>
                <a:gd name="T110" fmla="*/ 1671 w 1858"/>
                <a:gd name="T111" fmla="*/ 1213 h 2099"/>
                <a:gd name="T112" fmla="*/ 1674 w 1858"/>
                <a:gd name="T113" fmla="*/ 972 h 2099"/>
                <a:gd name="T114" fmla="*/ 1782 w 1858"/>
                <a:gd name="T115" fmla="*/ 855 h 20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58" h="2099">
                  <a:moveTo>
                    <a:pt x="1146" y="299"/>
                  </a:moveTo>
                  <a:cubicBezTo>
                    <a:pt x="1140" y="298"/>
                    <a:pt x="1112" y="291"/>
                    <a:pt x="1102" y="293"/>
                  </a:cubicBezTo>
                  <a:cubicBezTo>
                    <a:pt x="1092" y="295"/>
                    <a:pt x="1103" y="318"/>
                    <a:pt x="1103" y="318"/>
                  </a:cubicBezTo>
                  <a:cubicBezTo>
                    <a:pt x="1092" y="320"/>
                    <a:pt x="1092" y="320"/>
                    <a:pt x="1092" y="320"/>
                  </a:cubicBezTo>
                  <a:cubicBezTo>
                    <a:pt x="1092" y="336"/>
                    <a:pt x="1092" y="336"/>
                    <a:pt x="1092" y="336"/>
                  </a:cubicBezTo>
                  <a:cubicBezTo>
                    <a:pt x="1106" y="342"/>
                    <a:pt x="1106" y="342"/>
                    <a:pt x="1106" y="342"/>
                  </a:cubicBezTo>
                  <a:cubicBezTo>
                    <a:pt x="1096" y="350"/>
                    <a:pt x="1096" y="350"/>
                    <a:pt x="1096" y="350"/>
                  </a:cubicBezTo>
                  <a:cubicBezTo>
                    <a:pt x="1096" y="350"/>
                    <a:pt x="1099" y="366"/>
                    <a:pt x="1105" y="376"/>
                  </a:cubicBezTo>
                  <a:cubicBezTo>
                    <a:pt x="1112" y="386"/>
                    <a:pt x="1132" y="380"/>
                    <a:pt x="1139" y="380"/>
                  </a:cubicBezTo>
                  <a:cubicBezTo>
                    <a:pt x="1145" y="380"/>
                    <a:pt x="1144" y="372"/>
                    <a:pt x="1144" y="372"/>
                  </a:cubicBezTo>
                  <a:cubicBezTo>
                    <a:pt x="1144" y="372"/>
                    <a:pt x="1157" y="368"/>
                    <a:pt x="1168" y="368"/>
                  </a:cubicBezTo>
                  <a:cubicBezTo>
                    <a:pt x="1179" y="368"/>
                    <a:pt x="1186" y="355"/>
                    <a:pt x="1186" y="355"/>
                  </a:cubicBezTo>
                  <a:cubicBezTo>
                    <a:pt x="1195" y="326"/>
                    <a:pt x="1195" y="326"/>
                    <a:pt x="1195" y="326"/>
                  </a:cubicBezTo>
                  <a:cubicBezTo>
                    <a:pt x="1195" y="326"/>
                    <a:pt x="1202" y="312"/>
                    <a:pt x="1201" y="299"/>
                  </a:cubicBezTo>
                  <a:cubicBezTo>
                    <a:pt x="1200" y="286"/>
                    <a:pt x="1180" y="291"/>
                    <a:pt x="1169" y="291"/>
                  </a:cubicBezTo>
                  <a:cubicBezTo>
                    <a:pt x="1169" y="291"/>
                    <a:pt x="1153" y="300"/>
                    <a:pt x="1146" y="299"/>
                  </a:cubicBezTo>
                  <a:close/>
                  <a:moveTo>
                    <a:pt x="1144" y="291"/>
                  </a:moveTo>
                  <a:cubicBezTo>
                    <a:pt x="1159" y="286"/>
                    <a:pt x="1159" y="286"/>
                    <a:pt x="1159" y="286"/>
                  </a:cubicBezTo>
                  <a:cubicBezTo>
                    <a:pt x="1147" y="275"/>
                    <a:pt x="1147" y="275"/>
                    <a:pt x="1147" y="275"/>
                  </a:cubicBezTo>
                  <a:cubicBezTo>
                    <a:pt x="1132" y="292"/>
                    <a:pt x="1132" y="292"/>
                    <a:pt x="1132" y="292"/>
                  </a:cubicBezTo>
                  <a:lnTo>
                    <a:pt x="1144" y="291"/>
                  </a:lnTo>
                  <a:close/>
                  <a:moveTo>
                    <a:pt x="1124" y="270"/>
                  </a:moveTo>
                  <a:cubicBezTo>
                    <a:pt x="1110" y="271"/>
                    <a:pt x="1110" y="271"/>
                    <a:pt x="1110" y="271"/>
                  </a:cubicBezTo>
                  <a:cubicBezTo>
                    <a:pt x="1109" y="282"/>
                    <a:pt x="1109" y="282"/>
                    <a:pt x="1109" y="282"/>
                  </a:cubicBezTo>
                  <a:cubicBezTo>
                    <a:pt x="1131" y="283"/>
                    <a:pt x="1131" y="283"/>
                    <a:pt x="1131" y="283"/>
                  </a:cubicBezTo>
                  <a:cubicBezTo>
                    <a:pt x="1143" y="266"/>
                    <a:pt x="1143" y="266"/>
                    <a:pt x="1143" y="266"/>
                  </a:cubicBezTo>
                  <a:cubicBezTo>
                    <a:pt x="1134" y="255"/>
                    <a:pt x="1134" y="255"/>
                    <a:pt x="1134" y="255"/>
                  </a:cubicBezTo>
                  <a:lnTo>
                    <a:pt x="1124" y="270"/>
                  </a:lnTo>
                  <a:close/>
                  <a:moveTo>
                    <a:pt x="1050" y="326"/>
                  </a:moveTo>
                  <a:cubicBezTo>
                    <a:pt x="1047" y="340"/>
                    <a:pt x="1047" y="340"/>
                    <a:pt x="1047" y="340"/>
                  </a:cubicBezTo>
                  <a:cubicBezTo>
                    <a:pt x="1037" y="363"/>
                    <a:pt x="1037" y="363"/>
                    <a:pt x="1037" y="363"/>
                  </a:cubicBezTo>
                  <a:cubicBezTo>
                    <a:pt x="1057" y="351"/>
                    <a:pt x="1057" y="351"/>
                    <a:pt x="1057" y="351"/>
                  </a:cubicBezTo>
                  <a:cubicBezTo>
                    <a:pt x="1057" y="351"/>
                    <a:pt x="1079" y="321"/>
                    <a:pt x="1071" y="316"/>
                  </a:cubicBezTo>
                  <a:cubicBezTo>
                    <a:pt x="1062" y="310"/>
                    <a:pt x="1050" y="326"/>
                    <a:pt x="1050" y="326"/>
                  </a:cubicBezTo>
                  <a:close/>
                  <a:moveTo>
                    <a:pt x="1087" y="283"/>
                  </a:moveTo>
                  <a:cubicBezTo>
                    <a:pt x="1074" y="299"/>
                    <a:pt x="1074" y="299"/>
                    <a:pt x="1074" y="299"/>
                  </a:cubicBezTo>
                  <a:cubicBezTo>
                    <a:pt x="1085" y="304"/>
                    <a:pt x="1085" y="304"/>
                    <a:pt x="1085" y="304"/>
                  </a:cubicBezTo>
                  <a:cubicBezTo>
                    <a:pt x="1096" y="287"/>
                    <a:pt x="1096" y="287"/>
                    <a:pt x="1096" y="287"/>
                  </a:cubicBezTo>
                  <a:lnTo>
                    <a:pt x="1087" y="283"/>
                  </a:lnTo>
                  <a:close/>
                  <a:moveTo>
                    <a:pt x="1855" y="667"/>
                  </a:moveTo>
                  <a:cubicBezTo>
                    <a:pt x="1855" y="650"/>
                    <a:pt x="1839" y="626"/>
                    <a:pt x="1838" y="615"/>
                  </a:cubicBezTo>
                  <a:cubicBezTo>
                    <a:pt x="1837" y="604"/>
                    <a:pt x="1837" y="592"/>
                    <a:pt x="1837" y="583"/>
                  </a:cubicBezTo>
                  <a:cubicBezTo>
                    <a:pt x="1837" y="574"/>
                    <a:pt x="1819" y="558"/>
                    <a:pt x="1819" y="558"/>
                  </a:cubicBezTo>
                  <a:cubicBezTo>
                    <a:pt x="1798" y="554"/>
                    <a:pt x="1798" y="554"/>
                    <a:pt x="1798" y="554"/>
                  </a:cubicBezTo>
                  <a:cubicBezTo>
                    <a:pt x="1764" y="559"/>
                    <a:pt x="1764" y="559"/>
                    <a:pt x="1764" y="559"/>
                  </a:cubicBezTo>
                  <a:cubicBezTo>
                    <a:pt x="1753" y="549"/>
                    <a:pt x="1753" y="549"/>
                    <a:pt x="1753" y="549"/>
                  </a:cubicBezTo>
                  <a:cubicBezTo>
                    <a:pt x="1740" y="548"/>
                    <a:pt x="1740" y="548"/>
                    <a:pt x="1740" y="548"/>
                  </a:cubicBezTo>
                  <a:cubicBezTo>
                    <a:pt x="1728" y="533"/>
                    <a:pt x="1728" y="533"/>
                    <a:pt x="1728" y="533"/>
                  </a:cubicBezTo>
                  <a:cubicBezTo>
                    <a:pt x="1713" y="532"/>
                    <a:pt x="1713" y="532"/>
                    <a:pt x="1713" y="532"/>
                  </a:cubicBezTo>
                  <a:cubicBezTo>
                    <a:pt x="1713" y="532"/>
                    <a:pt x="1695" y="512"/>
                    <a:pt x="1678" y="491"/>
                  </a:cubicBezTo>
                  <a:cubicBezTo>
                    <a:pt x="1661" y="470"/>
                    <a:pt x="1612" y="439"/>
                    <a:pt x="1596" y="438"/>
                  </a:cubicBezTo>
                  <a:cubicBezTo>
                    <a:pt x="1580" y="437"/>
                    <a:pt x="1547" y="439"/>
                    <a:pt x="1547" y="439"/>
                  </a:cubicBezTo>
                  <a:cubicBezTo>
                    <a:pt x="1547" y="449"/>
                    <a:pt x="1547" y="449"/>
                    <a:pt x="1547" y="449"/>
                  </a:cubicBezTo>
                  <a:cubicBezTo>
                    <a:pt x="1547" y="449"/>
                    <a:pt x="1532" y="439"/>
                    <a:pt x="1525" y="436"/>
                  </a:cubicBezTo>
                  <a:cubicBezTo>
                    <a:pt x="1518" y="433"/>
                    <a:pt x="1492" y="432"/>
                    <a:pt x="1492" y="432"/>
                  </a:cubicBezTo>
                  <a:cubicBezTo>
                    <a:pt x="1492" y="432"/>
                    <a:pt x="1464" y="415"/>
                    <a:pt x="1445" y="412"/>
                  </a:cubicBezTo>
                  <a:cubicBezTo>
                    <a:pt x="1426" y="409"/>
                    <a:pt x="1406" y="442"/>
                    <a:pt x="1406" y="442"/>
                  </a:cubicBezTo>
                  <a:cubicBezTo>
                    <a:pt x="1395" y="429"/>
                    <a:pt x="1395" y="429"/>
                    <a:pt x="1395" y="429"/>
                  </a:cubicBezTo>
                  <a:cubicBezTo>
                    <a:pt x="1395" y="451"/>
                    <a:pt x="1395" y="451"/>
                    <a:pt x="1395" y="451"/>
                  </a:cubicBezTo>
                  <a:cubicBezTo>
                    <a:pt x="1375" y="466"/>
                    <a:pt x="1375" y="466"/>
                    <a:pt x="1375" y="466"/>
                  </a:cubicBezTo>
                  <a:cubicBezTo>
                    <a:pt x="1386" y="422"/>
                    <a:pt x="1386" y="422"/>
                    <a:pt x="1386" y="422"/>
                  </a:cubicBezTo>
                  <a:cubicBezTo>
                    <a:pt x="1386" y="422"/>
                    <a:pt x="1404" y="412"/>
                    <a:pt x="1397" y="402"/>
                  </a:cubicBezTo>
                  <a:cubicBezTo>
                    <a:pt x="1390" y="392"/>
                    <a:pt x="1377" y="411"/>
                    <a:pt x="1377" y="411"/>
                  </a:cubicBezTo>
                  <a:cubicBezTo>
                    <a:pt x="1386" y="389"/>
                    <a:pt x="1386" y="389"/>
                    <a:pt x="1386" y="389"/>
                  </a:cubicBezTo>
                  <a:cubicBezTo>
                    <a:pt x="1386" y="389"/>
                    <a:pt x="1377" y="388"/>
                    <a:pt x="1378" y="381"/>
                  </a:cubicBezTo>
                  <a:cubicBezTo>
                    <a:pt x="1379" y="374"/>
                    <a:pt x="1358" y="365"/>
                    <a:pt x="1358" y="365"/>
                  </a:cubicBezTo>
                  <a:cubicBezTo>
                    <a:pt x="1350" y="377"/>
                    <a:pt x="1350" y="377"/>
                    <a:pt x="1350" y="377"/>
                  </a:cubicBezTo>
                  <a:cubicBezTo>
                    <a:pt x="1350" y="377"/>
                    <a:pt x="1337" y="360"/>
                    <a:pt x="1327" y="350"/>
                  </a:cubicBezTo>
                  <a:cubicBezTo>
                    <a:pt x="1317" y="340"/>
                    <a:pt x="1290" y="342"/>
                    <a:pt x="1286" y="338"/>
                  </a:cubicBezTo>
                  <a:cubicBezTo>
                    <a:pt x="1282" y="334"/>
                    <a:pt x="1258" y="316"/>
                    <a:pt x="1258" y="316"/>
                  </a:cubicBezTo>
                  <a:cubicBezTo>
                    <a:pt x="1252" y="324"/>
                    <a:pt x="1252" y="324"/>
                    <a:pt x="1252" y="324"/>
                  </a:cubicBezTo>
                  <a:cubicBezTo>
                    <a:pt x="1252" y="324"/>
                    <a:pt x="1231" y="323"/>
                    <a:pt x="1221" y="322"/>
                  </a:cubicBezTo>
                  <a:cubicBezTo>
                    <a:pt x="1211" y="321"/>
                    <a:pt x="1203" y="356"/>
                    <a:pt x="1203" y="356"/>
                  </a:cubicBezTo>
                  <a:cubicBezTo>
                    <a:pt x="1210" y="368"/>
                    <a:pt x="1210" y="368"/>
                    <a:pt x="1210" y="368"/>
                  </a:cubicBezTo>
                  <a:cubicBezTo>
                    <a:pt x="1210" y="368"/>
                    <a:pt x="1196" y="369"/>
                    <a:pt x="1188" y="369"/>
                  </a:cubicBezTo>
                  <a:cubicBezTo>
                    <a:pt x="1180" y="369"/>
                    <a:pt x="1168" y="391"/>
                    <a:pt x="1168" y="391"/>
                  </a:cubicBezTo>
                  <a:cubicBezTo>
                    <a:pt x="1168" y="391"/>
                    <a:pt x="1161" y="424"/>
                    <a:pt x="1154" y="423"/>
                  </a:cubicBezTo>
                  <a:cubicBezTo>
                    <a:pt x="1147" y="422"/>
                    <a:pt x="1163" y="397"/>
                    <a:pt x="1160" y="386"/>
                  </a:cubicBezTo>
                  <a:cubicBezTo>
                    <a:pt x="1157" y="375"/>
                    <a:pt x="1137" y="396"/>
                    <a:pt x="1137" y="396"/>
                  </a:cubicBezTo>
                  <a:cubicBezTo>
                    <a:pt x="1130" y="390"/>
                    <a:pt x="1130" y="390"/>
                    <a:pt x="1130" y="390"/>
                  </a:cubicBezTo>
                  <a:cubicBezTo>
                    <a:pt x="1130" y="390"/>
                    <a:pt x="1109" y="395"/>
                    <a:pt x="1098" y="388"/>
                  </a:cubicBezTo>
                  <a:cubicBezTo>
                    <a:pt x="1087" y="381"/>
                    <a:pt x="1089" y="371"/>
                    <a:pt x="1089" y="358"/>
                  </a:cubicBezTo>
                  <a:cubicBezTo>
                    <a:pt x="1089" y="345"/>
                    <a:pt x="1084" y="337"/>
                    <a:pt x="1084" y="337"/>
                  </a:cubicBezTo>
                  <a:cubicBezTo>
                    <a:pt x="1077" y="330"/>
                    <a:pt x="1062" y="356"/>
                    <a:pt x="1062" y="356"/>
                  </a:cubicBezTo>
                  <a:cubicBezTo>
                    <a:pt x="1062" y="356"/>
                    <a:pt x="1041" y="371"/>
                    <a:pt x="1029" y="373"/>
                  </a:cubicBezTo>
                  <a:cubicBezTo>
                    <a:pt x="1017" y="375"/>
                    <a:pt x="1003" y="368"/>
                    <a:pt x="1003" y="368"/>
                  </a:cubicBezTo>
                  <a:cubicBezTo>
                    <a:pt x="1029" y="360"/>
                    <a:pt x="1029" y="360"/>
                    <a:pt x="1029" y="360"/>
                  </a:cubicBezTo>
                  <a:cubicBezTo>
                    <a:pt x="1029" y="360"/>
                    <a:pt x="1039" y="348"/>
                    <a:pt x="1042" y="343"/>
                  </a:cubicBezTo>
                  <a:cubicBezTo>
                    <a:pt x="1045" y="338"/>
                    <a:pt x="1044" y="326"/>
                    <a:pt x="1044" y="326"/>
                  </a:cubicBezTo>
                  <a:cubicBezTo>
                    <a:pt x="1044" y="326"/>
                    <a:pt x="1053" y="320"/>
                    <a:pt x="1057" y="308"/>
                  </a:cubicBezTo>
                  <a:cubicBezTo>
                    <a:pt x="1061" y="296"/>
                    <a:pt x="1085" y="277"/>
                    <a:pt x="1095" y="270"/>
                  </a:cubicBezTo>
                  <a:cubicBezTo>
                    <a:pt x="1105" y="263"/>
                    <a:pt x="1107" y="254"/>
                    <a:pt x="1111" y="245"/>
                  </a:cubicBezTo>
                  <a:cubicBezTo>
                    <a:pt x="1115" y="236"/>
                    <a:pt x="1136" y="223"/>
                    <a:pt x="1136" y="223"/>
                  </a:cubicBezTo>
                  <a:cubicBezTo>
                    <a:pt x="1123" y="221"/>
                    <a:pt x="1123" y="221"/>
                    <a:pt x="1123" y="221"/>
                  </a:cubicBezTo>
                  <a:cubicBezTo>
                    <a:pt x="1123" y="221"/>
                    <a:pt x="1135" y="215"/>
                    <a:pt x="1135" y="199"/>
                  </a:cubicBezTo>
                  <a:cubicBezTo>
                    <a:pt x="1135" y="183"/>
                    <a:pt x="1108" y="192"/>
                    <a:pt x="1098" y="181"/>
                  </a:cubicBezTo>
                  <a:cubicBezTo>
                    <a:pt x="1088" y="170"/>
                    <a:pt x="1088" y="147"/>
                    <a:pt x="1084" y="110"/>
                  </a:cubicBezTo>
                  <a:cubicBezTo>
                    <a:pt x="1080" y="73"/>
                    <a:pt x="1072" y="55"/>
                    <a:pt x="1063" y="52"/>
                  </a:cubicBezTo>
                  <a:cubicBezTo>
                    <a:pt x="1054" y="49"/>
                    <a:pt x="1060" y="68"/>
                    <a:pt x="1060" y="72"/>
                  </a:cubicBezTo>
                  <a:cubicBezTo>
                    <a:pt x="1060" y="76"/>
                    <a:pt x="1050" y="71"/>
                    <a:pt x="1048" y="66"/>
                  </a:cubicBezTo>
                  <a:cubicBezTo>
                    <a:pt x="1048" y="66"/>
                    <a:pt x="1043" y="83"/>
                    <a:pt x="1036" y="89"/>
                  </a:cubicBezTo>
                  <a:cubicBezTo>
                    <a:pt x="1029" y="95"/>
                    <a:pt x="1020" y="110"/>
                    <a:pt x="1017" y="120"/>
                  </a:cubicBezTo>
                  <a:cubicBezTo>
                    <a:pt x="1014" y="130"/>
                    <a:pt x="1013" y="149"/>
                    <a:pt x="996" y="163"/>
                  </a:cubicBezTo>
                  <a:cubicBezTo>
                    <a:pt x="996" y="163"/>
                    <a:pt x="981" y="169"/>
                    <a:pt x="975" y="169"/>
                  </a:cubicBezTo>
                  <a:cubicBezTo>
                    <a:pt x="975" y="168"/>
                    <a:pt x="971" y="160"/>
                    <a:pt x="971" y="160"/>
                  </a:cubicBezTo>
                  <a:cubicBezTo>
                    <a:pt x="967" y="165"/>
                    <a:pt x="967" y="165"/>
                    <a:pt x="967" y="165"/>
                  </a:cubicBezTo>
                  <a:cubicBezTo>
                    <a:pt x="957" y="163"/>
                    <a:pt x="957" y="163"/>
                    <a:pt x="957" y="163"/>
                  </a:cubicBezTo>
                  <a:cubicBezTo>
                    <a:pt x="957" y="163"/>
                    <a:pt x="953" y="155"/>
                    <a:pt x="947" y="161"/>
                  </a:cubicBezTo>
                  <a:cubicBezTo>
                    <a:pt x="941" y="167"/>
                    <a:pt x="943" y="173"/>
                    <a:pt x="929" y="172"/>
                  </a:cubicBezTo>
                  <a:cubicBezTo>
                    <a:pt x="915" y="171"/>
                    <a:pt x="913" y="161"/>
                    <a:pt x="913" y="161"/>
                  </a:cubicBezTo>
                  <a:cubicBezTo>
                    <a:pt x="900" y="155"/>
                    <a:pt x="900" y="155"/>
                    <a:pt x="900" y="155"/>
                  </a:cubicBezTo>
                  <a:cubicBezTo>
                    <a:pt x="900" y="155"/>
                    <a:pt x="896" y="144"/>
                    <a:pt x="888" y="145"/>
                  </a:cubicBezTo>
                  <a:cubicBezTo>
                    <a:pt x="880" y="146"/>
                    <a:pt x="871" y="157"/>
                    <a:pt x="871" y="157"/>
                  </a:cubicBezTo>
                  <a:cubicBezTo>
                    <a:pt x="853" y="157"/>
                    <a:pt x="853" y="157"/>
                    <a:pt x="853" y="157"/>
                  </a:cubicBezTo>
                  <a:cubicBezTo>
                    <a:pt x="853" y="157"/>
                    <a:pt x="854" y="148"/>
                    <a:pt x="848" y="149"/>
                  </a:cubicBezTo>
                  <a:cubicBezTo>
                    <a:pt x="842" y="150"/>
                    <a:pt x="838" y="160"/>
                    <a:pt x="841" y="166"/>
                  </a:cubicBezTo>
                  <a:cubicBezTo>
                    <a:pt x="844" y="172"/>
                    <a:pt x="858" y="182"/>
                    <a:pt x="849" y="186"/>
                  </a:cubicBezTo>
                  <a:cubicBezTo>
                    <a:pt x="840" y="190"/>
                    <a:pt x="811" y="174"/>
                    <a:pt x="811" y="174"/>
                  </a:cubicBezTo>
                  <a:cubicBezTo>
                    <a:pt x="811" y="174"/>
                    <a:pt x="815" y="181"/>
                    <a:pt x="807" y="183"/>
                  </a:cubicBezTo>
                  <a:cubicBezTo>
                    <a:pt x="799" y="185"/>
                    <a:pt x="797" y="174"/>
                    <a:pt x="787" y="175"/>
                  </a:cubicBezTo>
                  <a:cubicBezTo>
                    <a:pt x="777" y="176"/>
                    <a:pt x="773" y="192"/>
                    <a:pt x="773" y="192"/>
                  </a:cubicBezTo>
                  <a:cubicBezTo>
                    <a:pt x="752" y="193"/>
                    <a:pt x="752" y="193"/>
                    <a:pt x="752" y="193"/>
                  </a:cubicBezTo>
                  <a:cubicBezTo>
                    <a:pt x="751" y="201"/>
                    <a:pt x="751" y="201"/>
                    <a:pt x="751" y="201"/>
                  </a:cubicBezTo>
                  <a:cubicBezTo>
                    <a:pt x="751" y="201"/>
                    <a:pt x="739" y="198"/>
                    <a:pt x="733" y="202"/>
                  </a:cubicBezTo>
                  <a:cubicBezTo>
                    <a:pt x="727" y="206"/>
                    <a:pt x="732" y="219"/>
                    <a:pt x="722" y="220"/>
                  </a:cubicBezTo>
                  <a:cubicBezTo>
                    <a:pt x="712" y="221"/>
                    <a:pt x="702" y="221"/>
                    <a:pt x="702" y="221"/>
                  </a:cubicBezTo>
                  <a:cubicBezTo>
                    <a:pt x="698" y="210"/>
                    <a:pt x="698" y="210"/>
                    <a:pt x="698" y="210"/>
                  </a:cubicBezTo>
                  <a:cubicBezTo>
                    <a:pt x="689" y="210"/>
                    <a:pt x="689" y="210"/>
                    <a:pt x="689" y="210"/>
                  </a:cubicBezTo>
                  <a:cubicBezTo>
                    <a:pt x="668" y="186"/>
                    <a:pt x="668" y="186"/>
                    <a:pt x="668" y="186"/>
                  </a:cubicBezTo>
                  <a:cubicBezTo>
                    <a:pt x="668" y="186"/>
                    <a:pt x="668" y="174"/>
                    <a:pt x="668" y="166"/>
                  </a:cubicBezTo>
                  <a:cubicBezTo>
                    <a:pt x="668" y="158"/>
                    <a:pt x="651" y="155"/>
                    <a:pt x="651" y="145"/>
                  </a:cubicBezTo>
                  <a:cubicBezTo>
                    <a:pt x="651" y="135"/>
                    <a:pt x="659" y="119"/>
                    <a:pt x="659" y="119"/>
                  </a:cubicBezTo>
                  <a:cubicBezTo>
                    <a:pt x="664" y="91"/>
                    <a:pt x="664" y="91"/>
                    <a:pt x="664" y="91"/>
                  </a:cubicBezTo>
                  <a:cubicBezTo>
                    <a:pt x="664" y="91"/>
                    <a:pt x="677" y="79"/>
                    <a:pt x="678" y="73"/>
                  </a:cubicBezTo>
                  <a:cubicBezTo>
                    <a:pt x="679" y="67"/>
                    <a:pt x="670" y="63"/>
                    <a:pt x="670" y="63"/>
                  </a:cubicBezTo>
                  <a:cubicBezTo>
                    <a:pt x="671" y="44"/>
                    <a:pt x="671" y="44"/>
                    <a:pt x="671" y="44"/>
                  </a:cubicBezTo>
                  <a:cubicBezTo>
                    <a:pt x="671" y="44"/>
                    <a:pt x="649" y="50"/>
                    <a:pt x="649" y="41"/>
                  </a:cubicBezTo>
                  <a:cubicBezTo>
                    <a:pt x="649" y="41"/>
                    <a:pt x="661" y="29"/>
                    <a:pt x="658" y="15"/>
                  </a:cubicBezTo>
                  <a:cubicBezTo>
                    <a:pt x="655" y="1"/>
                    <a:pt x="646" y="0"/>
                    <a:pt x="646" y="0"/>
                  </a:cubicBezTo>
                  <a:cubicBezTo>
                    <a:pt x="641" y="7"/>
                    <a:pt x="641" y="7"/>
                    <a:pt x="641" y="7"/>
                  </a:cubicBezTo>
                  <a:cubicBezTo>
                    <a:pt x="625" y="5"/>
                    <a:pt x="625" y="5"/>
                    <a:pt x="625" y="5"/>
                  </a:cubicBezTo>
                  <a:cubicBezTo>
                    <a:pt x="625" y="5"/>
                    <a:pt x="631" y="19"/>
                    <a:pt x="627" y="26"/>
                  </a:cubicBezTo>
                  <a:cubicBezTo>
                    <a:pt x="623" y="33"/>
                    <a:pt x="612" y="31"/>
                    <a:pt x="612" y="31"/>
                  </a:cubicBezTo>
                  <a:cubicBezTo>
                    <a:pt x="614" y="41"/>
                    <a:pt x="614" y="41"/>
                    <a:pt x="614" y="41"/>
                  </a:cubicBezTo>
                  <a:cubicBezTo>
                    <a:pt x="596" y="40"/>
                    <a:pt x="596" y="40"/>
                    <a:pt x="596" y="40"/>
                  </a:cubicBezTo>
                  <a:cubicBezTo>
                    <a:pt x="596" y="40"/>
                    <a:pt x="584" y="45"/>
                    <a:pt x="582" y="51"/>
                  </a:cubicBezTo>
                  <a:cubicBezTo>
                    <a:pt x="580" y="57"/>
                    <a:pt x="566" y="64"/>
                    <a:pt x="559" y="64"/>
                  </a:cubicBezTo>
                  <a:cubicBezTo>
                    <a:pt x="552" y="64"/>
                    <a:pt x="546" y="56"/>
                    <a:pt x="538" y="59"/>
                  </a:cubicBezTo>
                  <a:cubicBezTo>
                    <a:pt x="530" y="62"/>
                    <a:pt x="533" y="96"/>
                    <a:pt x="524" y="96"/>
                  </a:cubicBezTo>
                  <a:cubicBezTo>
                    <a:pt x="515" y="96"/>
                    <a:pt x="504" y="77"/>
                    <a:pt x="500" y="73"/>
                  </a:cubicBezTo>
                  <a:cubicBezTo>
                    <a:pt x="496" y="69"/>
                    <a:pt x="491" y="77"/>
                    <a:pt x="491" y="77"/>
                  </a:cubicBezTo>
                  <a:cubicBezTo>
                    <a:pt x="481" y="71"/>
                    <a:pt x="481" y="71"/>
                    <a:pt x="481" y="71"/>
                  </a:cubicBezTo>
                  <a:cubicBezTo>
                    <a:pt x="481" y="71"/>
                    <a:pt x="469" y="79"/>
                    <a:pt x="467" y="76"/>
                  </a:cubicBezTo>
                  <a:cubicBezTo>
                    <a:pt x="465" y="73"/>
                    <a:pt x="471" y="64"/>
                    <a:pt x="460" y="60"/>
                  </a:cubicBezTo>
                  <a:cubicBezTo>
                    <a:pt x="449" y="56"/>
                    <a:pt x="440" y="64"/>
                    <a:pt x="437" y="61"/>
                  </a:cubicBezTo>
                  <a:cubicBezTo>
                    <a:pt x="434" y="58"/>
                    <a:pt x="431" y="52"/>
                    <a:pt x="431" y="52"/>
                  </a:cubicBezTo>
                  <a:cubicBezTo>
                    <a:pt x="431" y="52"/>
                    <a:pt x="421" y="71"/>
                    <a:pt x="443" y="82"/>
                  </a:cubicBezTo>
                  <a:cubicBezTo>
                    <a:pt x="465" y="93"/>
                    <a:pt x="450" y="117"/>
                    <a:pt x="450" y="117"/>
                  </a:cubicBezTo>
                  <a:cubicBezTo>
                    <a:pt x="450" y="117"/>
                    <a:pt x="463" y="128"/>
                    <a:pt x="463" y="135"/>
                  </a:cubicBezTo>
                  <a:cubicBezTo>
                    <a:pt x="463" y="142"/>
                    <a:pt x="463" y="151"/>
                    <a:pt x="463" y="151"/>
                  </a:cubicBezTo>
                  <a:cubicBezTo>
                    <a:pt x="493" y="154"/>
                    <a:pt x="493" y="154"/>
                    <a:pt x="493" y="154"/>
                  </a:cubicBezTo>
                  <a:cubicBezTo>
                    <a:pt x="493" y="154"/>
                    <a:pt x="500" y="168"/>
                    <a:pt x="488" y="174"/>
                  </a:cubicBezTo>
                  <a:cubicBezTo>
                    <a:pt x="476" y="180"/>
                    <a:pt x="463" y="177"/>
                    <a:pt x="463" y="177"/>
                  </a:cubicBezTo>
                  <a:cubicBezTo>
                    <a:pt x="463" y="177"/>
                    <a:pt x="464" y="202"/>
                    <a:pt x="451" y="206"/>
                  </a:cubicBezTo>
                  <a:cubicBezTo>
                    <a:pt x="438" y="210"/>
                    <a:pt x="433" y="214"/>
                    <a:pt x="433" y="214"/>
                  </a:cubicBezTo>
                  <a:cubicBezTo>
                    <a:pt x="431" y="220"/>
                    <a:pt x="431" y="220"/>
                    <a:pt x="431" y="220"/>
                  </a:cubicBezTo>
                  <a:cubicBezTo>
                    <a:pt x="431" y="220"/>
                    <a:pt x="419" y="218"/>
                    <a:pt x="413" y="222"/>
                  </a:cubicBezTo>
                  <a:cubicBezTo>
                    <a:pt x="407" y="226"/>
                    <a:pt x="401" y="251"/>
                    <a:pt x="393" y="251"/>
                  </a:cubicBezTo>
                  <a:cubicBezTo>
                    <a:pt x="385" y="251"/>
                    <a:pt x="396" y="234"/>
                    <a:pt x="387" y="232"/>
                  </a:cubicBezTo>
                  <a:cubicBezTo>
                    <a:pt x="378" y="230"/>
                    <a:pt x="367" y="252"/>
                    <a:pt x="357" y="246"/>
                  </a:cubicBezTo>
                  <a:cubicBezTo>
                    <a:pt x="357" y="246"/>
                    <a:pt x="345" y="244"/>
                    <a:pt x="341" y="239"/>
                  </a:cubicBezTo>
                  <a:cubicBezTo>
                    <a:pt x="337" y="234"/>
                    <a:pt x="330" y="221"/>
                    <a:pt x="330" y="221"/>
                  </a:cubicBezTo>
                  <a:cubicBezTo>
                    <a:pt x="313" y="221"/>
                    <a:pt x="313" y="221"/>
                    <a:pt x="313" y="221"/>
                  </a:cubicBezTo>
                  <a:cubicBezTo>
                    <a:pt x="313" y="221"/>
                    <a:pt x="313" y="193"/>
                    <a:pt x="311" y="187"/>
                  </a:cubicBezTo>
                  <a:cubicBezTo>
                    <a:pt x="309" y="181"/>
                    <a:pt x="306" y="180"/>
                    <a:pt x="306" y="180"/>
                  </a:cubicBezTo>
                  <a:cubicBezTo>
                    <a:pt x="306" y="180"/>
                    <a:pt x="311" y="173"/>
                    <a:pt x="304" y="170"/>
                  </a:cubicBezTo>
                  <a:cubicBezTo>
                    <a:pt x="297" y="167"/>
                    <a:pt x="288" y="190"/>
                    <a:pt x="282" y="191"/>
                  </a:cubicBezTo>
                  <a:cubicBezTo>
                    <a:pt x="276" y="192"/>
                    <a:pt x="271" y="176"/>
                    <a:pt x="265" y="176"/>
                  </a:cubicBezTo>
                  <a:cubicBezTo>
                    <a:pt x="259" y="176"/>
                    <a:pt x="259" y="193"/>
                    <a:pt x="259" y="193"/>
                  </a:cubicBezTo>
                  <a:cubicBezTo>
                    <a:pt x="215" y="197"/>
                    <a:pt x="215" y="197"/>
                    <a:pt x="215" y="197"/>
                  </a:cubicBezTo>
                  <a:cubicBezTo>
                    <a:pt x="215" y="197"/>
                    <a:pt x="201" y="184"/>
                    <a:pt x="192" y="189"/>
                  </a:cubicBezTo>
                  <a:cubicBezTo>
                    <a:pt x="183" y="194"/>
                    <a:pt x="191" y="223"/>
                    <a:pt x="191" y="223"/>
                  </a:cubicBezTo>
                  <a:cubicBezTo>
                    <a:pt x="207" y="230"/>
                    <a:pt x="207" y="230"/>
                    <a:pt x="207" y="230"/>
                  </a:cubicBezTo>
                  <a:cubicBezTo>
                    <a:pt x="214" y="228"/>
                    <a:pt x="214" y="228"/>
                    <a:pt x="214" y="228"/>
                  </a:cubicBezTo>
                  <a:cubicBezTo>
                    <a:pt x="214" y="228"/>
                    <a:pt x="233" y="248"/>
                    <a:pt x="220" y="250"/>
                  </a:cubicBezTo>
                  <a:cubicBezTo>
                    <a:pt x="207" y="252"/>
                    <a:pt x="198" y="248"/>
                    <a:pt x="198" y="248"/>
                  </a:cubicBezTo>
                  <a:cubicBezTo>
                    <a:pt x="176" y="253"/>
                    <a:pt x="176" y="253"/>
                    <a:pt x="176" y="253"/>
                  </a:cubicBezTo>
                  <a:cubicBezTo>
                    <a:pt x="174" y="295"/>
                    <a:pt x="174" y="295"/>
                    <a:pt x="174" y="295"/>
                  </a:cubicBezTo>
                  <a:cubicBezTo>
                    <a:pt x="174" y="295"/>
                    <a:pt x="195" y="304"/>
                    <a:pt x="197" y="313"/>
                  </a:cubicBezTo>
                  <a:cubicBezTo>
                    <a:pt x="199" y="322"/>
                    <a:pt x="200" y="334"/>
                    <a:pt x="200" y="334"/>
                  </a:cubicBezTo>
                  <a:cubicBezTo>
                    <a:pt x="200" y="334"/>
                    <a:pt x="214" y="349"/>
                    <a:pt x="213" y="356"/>
                  </a:cubicBezTo>
                  <a:cubicBezTo>
                    <a:pt x="212" y="363"/>
                    <a:pt x="202" y="374"/>
                    <a:pt x="202" y="374"/>
                  </a:cubicBezTo>
                  <a:cubicBezTo>
                    <a:pt x="204" y="408"/>
                    <a:pt x="204" y="408"/>
                    <a:pt x="204" y="408"/>
                  </a:cubicBezTo>
                  <a:cubicBezTo>
                    <a:pt x="193" y="438"/>
                    <a:pt x="193" y="438"/>
                    <a:pt x="193" y="438"/>
                  </a:cubicBezTo>
                  <a:cubicBezTo>
                    <a:pt x="191" y="488"/>
                    <a:pt x="191" y="488"/>
                    <a:pt x="191" y="488"/>
                  </a:cubicBezTo>
                  <a:cubicBezTo>
                    <a:pt x="191" y="488"/>
                    <a:pt x="188" y="515"/>
                    <a:pt x="183" y="518"/>
                  </a:cubicBezTo>
                  <a:cubicBezTo>
                    <a:pt x="178" y="521"/>
                    <a:pt x="171" y="518"/>
                    <a:pt x="171" y="518"/>
                  </a:cubicBezTo>
                  <a:cubicBezTo>
                    <a:pt x="171" y="518"/>
                    <a:pt x="167" y="505"/>
                    <a:pt x="157" y="506"/>
                  </a:cubicBezTo>
                  <a:cubicBezTo>
                    <a:pt x="147" y="507"/>
                    <a:pt x="136" y="522"/>
                    <a:pt x="136" y="522"/>
                  </a:cubicBezTo>
                  <a:cubicBezTo>
                    <a:pt x="117" y="519"/>
                    <a:pt x="117" y="519"/>
                    <a:pt x="117" y="519"/>
                  </a:cubicBezTo>
                  <a:cubicBezTo>
                    <a:pt x="115" y="526"/>
                    <a:pt x="115" y="526"/>
                    <a:pt x="115" y="526"/>
                  </a:cubicBezTo>
                  <a:cubicBezTo>
                    <a:pt x="94" y="526"/>
                    <a:pt x="94" y="526"/>
                    <a:pt x="94" y="526"/>
                  </a:cubicBezTo>
                  <a:cubicBezTo>
                    <a:pt x="94" y="526"/>
                    <a:pt x="68" y="543"/>
                    <a:pt x="66" y="547"/>
                  </a:cubicBezTo>
                  <a:cubicBezTo>
                    <a:pt x="64" y="551"/>
                    <a:pt x="63" y="559"/>
                    <a:pt x="63" y="559"/>
                  </a:cubicBezTo>
                  <a:cubicBezTo>
                    <a:pt x="47" y="559"/>
                    <a:pt x="47" y="559"/>
                    <a:pt x="47" y="559"/>
                  </a:cubicBezTo>
                  <a:cubicBezTo>
                    <a:pt x="46" y="597"/>
                    <a:pt x="46" y="597"/>
                    <a:pt x="46" y="597"/>
                  </a:cubicBezTo>
                  <a:cubicBezTo>
                    <a:pt x="46" y="597"/>
                    <a:pt x="31" y="606"/>
                    <a:pt x="33" y="613"/>
                  </a:cubicBezTo>
                  <a:cubicBezTo>
                    <a:pt x="35" y="620"/>
                    <a:pt x="45" y="645"/>
                    <a:pt x="39" y="636"/>
                  </a:cubicBezTo>
                  <a:cubicBezTo>
                    <a:pt x="33" y="627"/>
                    <a:pt x="20" y="644"/>
                    <a:pt x="12" y="652"/>
                  </a:cubicBezTo>
                  <a:cubicBezTo>
                    <a:pt x="4" y="660"/>
                    <a:pt x="9" y="674"/>
                    <a:pt x="9" y="674"/>
                  </a:cubicBezTo>
                  <a:cubicBezTo>
                    <a:pt x="15" y="678"/>
                    <a:pt x="15" y="678"/>
                    <a:pt x="15" y="678"/>
                  </a:cubicBezTo>
                  <a:cubicBezTo>
                    <a:pt x="15" y="678"/>
                    <a:pt x="0" y="686"/>
                    <a:pt x="0" y="691"/>
                  </a:cubicBezTo>
                  <a:cubicBezTo>
                    <a:pt x="0" y="696"/>
                    <a:pt x="15" y="702"/>
                    <a:pt x="15" y="702"/>
                  </a:cubicBezTo>
                  <a:cubicBezTo>
                    <a:pt x="17" y="720"/>
                    <a:pt x="17" y="720"/>
                    <a:pt x="17" y="720"/>
                  </a:cubicBezTo>
                  <a:cubicBezTo>
                    <a:pt x="17" y="720"/>
                    <a:pt x="30" y="741"/>
                    <a:pt x="35" y="747"/>
                  </a:cubicBezTo>
                  <a:cubicBezTo>
                    <a:pt x="40" y="753"/>
                    <a:pt x="62" y="768"/>
                    <a:pt x="60" y="773"/>
                  </a:cubicBezTo>
                  <a:cubicBezTo>
                    <a:pt x="58" y="778"/>
                    <a:pt x="43" y="791"/>
                    <a:pt x="43" y="791"/>
                  </a:cubicBezTo>
                  <a:cubicBezTo>
                    <a:pt x="43" y="791"/>
                    <a:pt x="79" y="790"/>
                    <a:pt x="82" y="797"/>
                  </a:cubicBezTo>
                  <a:cubicBezTo>
                    <a:pt x="85" y="804"/>
                    <a:pt x="93" y="823"/>
                    <a:pt x="93" y="823"/>
                  </a:cubicBezTo>
                  <a:cubicBezTo>
                    <a:pt x="135" y="819"/>
                    <a:pt x="135" y="819"/>
                    <a:pt x="135" y="819"/>
                  </a:cubicBezTo>
                  <a:cubicBezTo>
                    <a:pt x="169" y="789"/>
                    <a:pt x="169" y="789"/>
                    <a:pt x="169" y="789"/>
                  </a:cubicBezTo>
                  <a:cubicBezTo>
                    <a:pt x="169" y="789"/>
                    <a:pt x="174" y="812"/>
                    <a:pt x="172" y="816"/>
                  </a:cubicBezTo>
                  <a:cubicBezTo>
                    <a:pt x="170" y="820"/>
                    <a:pt x="165" y="834"/>
                    <a:pt x="167" y="844"/>
                  </a:cubicBezTo>
                  <a:cubicBezTo>
                    <a:pt x="169" y="854"/>
                    <a:pt x="170" y="874"/>
                    <a:pt x="170" y="874"/>
                  </a:cubicBezTo>
                  <a:cubicBezTo>
                    <a:pt x="177" y="873"/>
                    <a:pt x="177" y="873"/>
                    <a:pt x="177" y="873"/>
                  </a:cubicBezTo>
                  <a:cubicBezTo>
                    <a:pt x="177" y="873"/>
                    <a:pt x="177" y="881"/>
                    <a:pt x="185" y="881"/>
                  </a:cubicBezTo>
                  <a:cubicBezTo>
                    <a:pt x="193" y="881"/>
                    <a:pt x="189" y="872"/>
                    <a:pt x="200" y="872"/>
                  </a:cubicBezTo>
                  <a:cubicBezTo>
                    <a:pt x="211" y="872"/>
                    <a:pt x="246" y="875"/>
                    <a:pt x="246" y="875"/>
                  </a:cubicBezTo>
                  <a:cubicBezTo>
                    <a:pt x="246" y="875"/>
                    <a:pt x="249" y="886"/>
                    <a:pt x="262" y="883"/>
                  </a:cubicBezTo>
                  <a:cubicBezTo>
                    <a:pt x="275" y="880"/>
                    <a:pt x="283" y="871"/>
                    <a:pt x="283" y="871"/>
                  </a:cubicBezTo>
                  <a:cubicBezTo>
                    <a:pt x="288" y="859"/>
                    <a:pt x="288" y="859"/>
                    <a:pt x="288" y="859"/>
                  </a:cubicBezTo>
                  <a:cubicBezTo>
                    <a:pt x="312" y="858"/>
                    <a:pt x="312" y="858"/>
                    <a:pt x="312" y="858"/>
                  </a:cubicBezTo>
                  <a:cubicBezTo>
                    <a:pt x="316" y="840"/>
                    <a:pt x="316" y="840"/>
                    <a:pt x="316" y="840"/>
                  </a:cubicBezTo>
                  <a:cubicBezTo>
                    <a:pt x="340" y="841"/>
                    <a:pt x="340" y="841"/>
                    <a:pt x="340" y="841"/>
                  </a:cubicBezTo>
                  <a:cubicBezTo>
                    <a:pt x="340" y="841"/>
                    <a:pt x="350" y="815"/>
                    <a:pt x="363" y="815"/>
                  </a:cubicBezTo>
                  <a:cubicBezTo>
                    <a:pt x="376" y="815"/>
                    <a:pt x="386" y="816"/>
                    <a:pt x="386" y="816"/>
                  </a:cubicBezTo>
                  <a:cubicBezTo>
                    <a:pt x="395" y="808"/>
                    <a:pt x="395" y="808"/>
                    <a:pt x="395" y="808"/>
                  </a:cubicBezTo>
                  <a:cubicBezTo>
                    <a:pt x="395" y="808"/>
                    <a:pt x="404" y="818"/>
                    <a:pt x="405" y="814"/>
                  </a:cubicBezTo>
                  <a:cubicBezTo>
                    <a:pt x="406" y="810"/>
                    <a:pt x="419" y="802"/>
                    <a:pt x="423" y="806"/>
                  </a:cubicBezTo>
                  <a:cubicBezTo>
                    <a:pt x="427" y="810"/>
                    <a:pt x="419" y="837"/>
                    <a:pt x="419" y="837"/>
                  </a:cubicBezTo>
                  <a:cubicBezTo>
                    <a:pt x="419" y="837"/>
                    <a:pt x="411" y="850"/>
                    <a:pt x="412" y="854"/>
                  </a:cubicBezTo>
                  <a:cubicBezTo>
                    <a:pt x="413" y="858"/>
                    <a:pt x="422" y="866"/>
                    <a:pt x="422" y="875"/>
                  </a:cubicBezTo>
                  <a:cubicBezTo>
                    <a:pt x="422" y="884"/>
                    <a:pt x="415" y="890"/>
                    <a:pt x="422" y="899"/>
                  </a:cubicBezTo>
                  <a:cubicBezTo>
                    <a:pt x="429" y="908"/>
                    <a:pt x="436" y="912"/>
                    <a:pt x="436" y="912"/>
                  </a:cubicBezTo>
                  <a:cubicBezTo>
                    <a:pt x="442" y="932"/>
                    <a:pt x="442" y="932"/>
                    <a:pt x="442" y="932"/>
                  </a:cubicBezTo>
                  <a:cubicBezTo>
                    <a:pt x="442" y="932"/>
                    <a:pt x="458" y="930"/>
                    <a:pt x="461" y="935"/>
                  </a:cubicBezTo>
                  <a:cubicBezTo>
                    <a:pt x="464" y="940"/>
                    <a:pt x="460" y="951"/>
                    <a:pt x="470" y="955"/>
                  </a:cubicBezTo>
                  <a:cubicBezTo>
                    <a:pt x="480" y="959"/>
                    <a:pt x="484" y="959"/>
                    <a:pt x="488" y="960"/>
                  </a:cubicBezTo>
                  <a:cubicBezTo>
                    <a:pt x="492" y="961"/>
                    <a:pt x="502" y="954"/>
                    <a:pt x="502" y="954"/>
                  </a:cubicBezTo>
                  <a:cubicBezTo>
                    <a:pt x="502" y="954"/>
                    <a:pt x="508" y="968"/>
                    <a:pt x="516" y="968"/>
                  </a:cubicBezTo>
                  <a:cubicBezTo>
                    <a:pt x="524" y="968"/>
                    <a:pt x="531" y="961"/>
                    <a:pt x="532" y="965"/>
                  </a:cubicBezTo>
                  <a:cubicBezTo>
                    <a:pt x="533" y="969"/>
                    <a:pt x="541" y="981"/>
                    <a:pt x="552" y="986"/>
                  </a:cubicBezTo>
                  <a:cubicBezTo>
                    <a:pt x="563" y="991"/>
                    <a:pt x="579" y="992"/>
                    <a:pt x="579" y="992"/>
                  </a:cubicBezTo>
                  <a:cubicBezTo>
                    <a:pt x="579" y="992"/>
                    <a:pt x="588" y="1012"/>
                    <a:pt x="598" y="1013"/>
                  </a:cubicBezTo>
                  <a:cubicBezTo>
                    <a:pt x="608" y="1014"/>
                    <a:pt x="619" y="1009"/>
                    <a:pt x="630" y="1011"/>
                  </a:cubicBezTo>
                  <a:cubicBezTo>
                    <a:pt x="641" y="1013"/>
                    <a:pt x="661" y="1022"/>
                    <a:pt x="662" y="1032"/>
                  </a:cubicBezTo>
                  <a:cubicBezTo>
                    <a:pt x="663" y="1042"/>
                    <a:pt x="658" y="1045"/>
                    <a:pt x="662" y="1052"/>
                  </a:cubicBezTo>
                  <a:cubicBezTo>
                    <a:pt x="666" y="1059"/>
                    <a:pt x="673" y="1071"/>
                    <a:pt x="673" y="1071"/>
                  </a:cubicBezTo>
                  <a:cubicBezTo>
                    <a:pt x="675" y="1092"/>
                    <a:pt x="675" y="1092"/>
                    <a:pt x="675" y="1092"/>
                  </a:cubicBezTo>
                  <a:cubicBezTo>
                    <a:pt x="675" y="1092"/>
                    <a:pt x="660" y="1090"/>
                    <a:pt x="662" y="1096"/>
                  </a:cubicBezTo>
                  <a:cubicBezTo>
                    <a:pt x="664" y="1102"/>
                    <a:pt x="680" y="1116"/>
                    <a:pt x="680" y="1116"/>
                  </a:cubicBezTo>
                  <a:cubicBezTo>
                    <a:pt x="680" y="1116"/>
                    <a:pt x="670" y="1147"/>
                    <a:pt x="683" y="1156"/>
                  </a:cubicBezTo>
                  <a:cubicBezTo>
                    <a:pt x="696" y="1165"/>
                    <a:pt x="773" y="1163"/>
                    <a:pt x="773" y="1163"/>
                  </a:cubicBezTo>
                  <a:cubicBezTo>
                    <a:pt x="773" y="1163"/>
                    <a:pt x="762" y="1197"/>
                    <a:pt x="769" y="1206"/>
                  </a:cubicBezTo>
                  <a:cubicBezTo>
                    <a:pt x="776" y="1215"/>
                    <a:pt x="785" y="1216"/>
                    <a:pt x="796" y="1223"/>
                  </a:cubicBezTo>
                  <a:cubicBezTo>
                    <a:pt x="807" y="1230"/>
                    <a:pt x="816" y="1248"/>
                    <a:pt x="816" y="1262"/>
                  </a:cubicBezTo>
                  <a:cubicBezTo>
                    <a:pt x="816" y="1276"/>
                    <a:pt x="811" y="1302"/>
                    <a:pt x="811" y="1302"/>
                  </a:cubicBezTo>
                  <a:cubicBezTo>
                    <a:pt x="815" y="1310"/>
                    <a:pt x="815" y="1310"/>
                    <a:pt x="815" y="1310"/>
                  </a:cubicBezTo>
                  <a:cubicBezTo>
                    <a:pt x="815" y="1310"/>
                    <a:pt x="798" y="1337"/>
                    <a:pt x="800" y="1342"/>
                  </a:cubicBezTo>
                  <a:cubicBezTo>
                    <a:pt x="802" y="1347"/>
                    <a:pt x="814" y="1357"/>
                    <a:pt x="814" y="1357"/>
                  </a:cubicBezTo>
                  <a:cubicBezTo>
                    <a:pt x="814" y="1357"/>
                    <a:pt x="799" y="1365"/>
                    <a:pt x="799" y="1371"/>
                  </a:cubicBezTo>
                  <a:cubicBezTo>
                    <a:pt x="799" y="1377"/>
                    <a:pt x="808" y="1379"/>
                    <a:pt x="810" y="1386"/>
                  </a:cubicBezTo>
                  <a:cubicBezTo>
                    <a:pt x="812" y="1393"/>
                    <a:pt x="806" y="1402"/>
                    <a:pt x="810" y="1406"/>
                  </a:cubicBezTo>
                  <a:cubicBezTo>
                    <a:pt x="814" y="1410"/>
                    <a:pt x="819" y="1405"/>
                    <a:pt x="819" y="1414"/>
                  </a:cubicBezTo>
                  <a:cubicBezTo>
                    <a:pt x="819" y="1423"/>
                    <a:pt x="804" y="1459"/>
                    <a:pt x="820" y="1468"/>
                  </a:cubicBezTo>
                  <a:cubicBezTo>
                    <a:pt x="836" y="1477"/>
                    <a:pt x="880" y="1484"/>
                    <a:pt x="895" y="1481"/>
                  </a:cubicBezTo>
                  <a:cubicBezTo>
                    <a:pt x="910" y="1478"/>
                    <a:pt x="928" y="1478"/>
                    <a:pt x="932" y="1486"/>
                  </a:cubicBezTo>
                  <a:cubicBezTo>
                    <a:pt x="936" y="1494"/>
                    <a:pt x="932" y="1511"/>
                    <a:pt x="937" y="1531"/>
                  </a:cubicBezTo>
                  <a:cubicBezTo>
                    <a:pt x="942" y="1551"/>
                    <a:pt x="946" y="1572"/>
                    <a:pt x="957" y="1574"/>
                  </a:cubicBezTo>
                  <a:cubicBezTo>
                    <a:pt x="968" y="1576"/>
                    <a:pt x="972" y="1560"/>
                    <a:pt x="987" y="1564"/>
                  </a:cubicBezTo>
                  <a:cubicBezTo>
                    <a:pt x="1002" y="1568"/>
                    <a:pt x="1006" y="1576"/>
                    <a:pt x="1004" y="1596"/>
                  </a:cubicBezTo>
                  <a:cubicBezTo>
                    <a:pt x="1002" y="1616"/>
                    <a:pt x="1000" y="1626"/>
                    <a:pt x="998" y="1631"/>
                  </a:cubicBezTo>
                  <a:cubicBezTo>
                    <a:pt x="996" y="1636"/>
                    <a:pt x="995" y="1651"/>
                    <a:pt x="995" y="1651"/>
                  </a:cubicBezTo>
                  <a:cubicBezTo>
                    <a:pt x="998" y="1664"/>
                    <a:pt x="998" y="1664"/>
                    <a:pt x="998" y="1664"/>
                  </a:cubicBezTo>
                  <a:cubicBezTo>
                    <a:pt x="998" y="1664"/>
                    <a:pt x="1014" y="1653"/>
                    <a:pt x="1021" y="1657"/>
                  </a:cubicBezTo>
                  <a:cubicBezTo>
                    <a:pt x="1028" y="1661"/>
                    <a:pt x="1032" y="1682"/>
                    <a:pt x="1032" y="1682"/>
                  </a:cubicBezTo>
                  <a:cubicBezTo>
                    <a:pt x="1032" y="1682"/>
                    <a:pt x="1043" y="1681"/>
                    <a:pt x="1043" y="1690"/>
                  </a:cubicBezTo>
                  <a:cubicBezTo>
                    <a:pt x="1043" y="1699"/>
                    <a:pt x="1051" y="1737"/>
                    <a:pt x="1045" y="1743"/>
                  </a:cubicBezTo>
                  <a:cubicBezTo>
                    <a:pt x="1039" y="1749"/>
                    <a:pt x="1022" y="1751"/>
                    <a:pt x="1011" y="1756"/>
                  </a:cubicBezTo>
                  <a:cubicBezTo>
                    <a:pt x="1000" y="1761"/>
                    <a:pt x="1000" y="1779"/>
                    <a:pt x="1000" y="1779"/>
                  </a:cubicBezTo>
                  <a:cubicBezTo>
                    <a:pt x="979" y="1781"/>
                    <a:pt x="979" y="1781"/>
                    <a:pt x="979" y="1781"/>
                  </a:cubicBezTo>
                  <a:cubicBezTo>
                    <a:pt x="978" y="1792"/>
                    <a:pt x="978" y="1792"/>
                    <a:pt x="978" y="1792"/>
                  </a:cubicBezTo>
                  <a:cubicBezTo>
                    <a:pt x="972" y="1794"/>
                    <a:pt x="972" y="1794"/>
                    <a:pt x="972" y="1794"/>
                  </a:cubicBezTo>
                  <a:cubicBezTo>
                    <a:pt x="969" y="1810"/>
                    <a:pt x="969" y="1810"/>
                    <a:pt x="969" y="1810"/>
                  </a:cubicBezTo>
                  <a:cubicBezTo>
                    <a:pt x="953" y="1814"/>
                    <a:pt x="953" y="1814"/>
                    <a:pt x="953" y="1814"/>
                  </a:cubicBezTo>
                  <a:cubicBezTo>
                    <a:pt x="953" y="1814"/>
                    <a:pt x="950" y="1837"/>
                    <a:pt x="945" y="1842"/>
                  </a:cubicBezTo>
                  <a:cubicBezTo>
                    <a:pt x="940" y="1847"/>
                    <a:pt x="931" y="1852"/>
                    <a:pt x="931" y="1855"/>
                  </a:cubicBezTo>
                  <a:cubicBezTo>
                    <a:pt x="931" y="1858"/>
                    <a:pt x="928" y="1873"/>
                    <a:pt x="923" y="1878"/>
                  </a:cubicBezTo>
                  <a:cubicBezTo>
                    <a:pt x="918" y="1883"/>
                    <a:pt x="903" y="1882"/>
                    <a:pt x="903" y="1888"/>
                  </a:cubicBezTo>
                  <a:cubicBezTo>
                    <a:pt x="903" y="1894"/>
                    <a:pt x="899" y="1911"/>
                    <a:pt x="899" y="1911"/>
                  </a:cubicBezTo>
                  <a:cubicBezTo>
                    <a:pt x="915" y="1912"/>
                    <a:pt x="915" y="1912"/>
                    <a:pt x="915" y="1912"/>
                  </a:cubicBezTo>
                  <a:cubicBezTo>
                    <a:pt x="915" y="1912"/>
                    <a:pt x="921" y="1902"/>
                    <a:pt x="933" y="1904"/>
                  </a:cubicBezTo>
                  <a:cubicBezTo>
                    <a:pt x="945" y="1906"/>
                    <a:pt x="970" y="1933"/>
                    <a:pt x="970" y="1933"/>
                  </a:cubicBezTo>
                  <a:cubicBezTo>
                    <a:pt x="970" y="1933"/>
                    <a:pt x="980" y="1956"/>
                    <a:pt x="986" y="1956"/>
                  </a:cubicBezTo>
                  <a:cubicBezTo>
                    <a:pt x="992" y="1956"/>
                    <a:pt x="991" y="1942"/>
                    <a:pt x="1001" y="1945"/>
                  </a:cubicBezTo>
                  <a:cubicBezTo>
                    <a:pt x="1011" y="1948"/>
                    <a:pt x="1020" y="1964"/>
                    <a:pt x="1025" y="1967"/>
                  </a:cubicBezTo>
                  <a:cubicBezTo>
                    <a:pt x="1030" y="1970"/>
                    <a:pt x="1037" y="1969"/>
                    <a:pt x="1037" y="1969"/>
                  </a:cubicBezTo>
                  <a:cubicBezTo>
                    <a:pt x="1037" y="1969"/>
                    <a:pt x="1045" y="1976"/>
                    <a:pt x="1049" y="1978"/>
                  </a:cubicBezTo>
                  <a:cubicBezTo>
                    <a:pt x="1053" y="1980"/>
                    <a:pt x="1055" y="1993"/>
                    <a:pt x="1067" y="1997"/>
                  </a:cubicBezTo>
                  <a:cubicBezTo>
                    <a:pt x="1079" y="2001"/>
                    <a:pt x="1086" y="2000"/>
                    <a:pt x="1086" y="2000"/>
                  </a:cubicBezTo>
                  <a:cubicBezTo>
                    <a:pt x="1086" y="2000"/>
                    <a:pt x="1096" y="2024"/>
                    <a:pt x="1104" y="2029"/>
                  </a:cubicBezTo>
                  <a:cubicBezTo>
                    <a:pt x="1112" y="2034"/>
                    <a:pt x="1131" y="2033"/>
                    <a:pt x="1126" y="2042"/>
                  </a:cubicBezTo>
                  <a:cubicBezTo>
                    <a:pt x="1121" y="2051"/>
                    <a:pt x="1111" y="2064"/>
                    <a:pt x="1112" y="2071"/>
                  </a:cubicBezTo>
                  <a:cubicBezTo>
                    <a:pt x="1113" y="2078"/>
                    <a:pt x="1119" y="2078"/>
                    <a:pt x="1119" y="2078"/>
                  </a:cubicBezTo>
                  <a:cubicBezTo>
                    <a:pt x="1118" y="2099"/>
                    <a:pt x="1118" y="2099"/>
                    <a:pt x="1118" y="2099"/>
                  </a:cubicBezTo>
                  <a:cubicBezTo>
                    <a:pt x="1128" y="2098"/>
                    <a:pt x="1128" y="2098"/>
                    <a:pt x="1128" y="2098"/>
                  </a:cubicBezTo>
                  <a:cubicBezTo>
                    <a:pt x="1128" y="2096"/>
                    <a:pt x="1128" y="2096"/>
                    <a:pt x="1128" y="2096"/>
                  </a:cubicBezTo>
                  <a:cubicBezTo>
                    <a:pt x="1128" y="2096"/>
                    <a:pt x="1151" y="2070"/>
                    <a:pt x="1156" y="2061"/>
                  </a:cubicBezTo>
                  <a:cubicBezTo>
                    <a:pt x="1161" y="2052"/>
                    <a:pt x="1153" y="2031"/>
                    <a:pt x="1153" y="2031"/>
                  </a:cubicBezTo>
                  <a:cubicBezTo>
                    <a:pt x="1165" y="2013"/>
                    <a:pt x="1165" y="2013"/>
                    <a:pt x="1165" y="2013"/>
                  </a:cubicBezTo>
                  <a:cubicBezTo>
                    <a:pt x="1165" y="2013"/>
                    <a:pt x="1155" y="2005"/>
                    <a:pt x="1155" y="1995"/>
                  </a:cubicBezTo>
                  <a:cubicBezTo>
                    <a:pt x="1155" y="1985"/>
                    <a:pt x="1165" y="1984"/>
                    <a:pt x="1165" y="1984"/>
                  </a:cubicBezTo>
                  <a:cubicBezTo>
                    <a:pt x="1167" y="1968"/>
                    <a:pt x="1167" y="1968"/>
                    <a:pt x="1167" y="1968"/>
                  </a:cubicBezTo>
                  <a:cubicBezTo>
                    <a:pt x="1167" y="1968"/>
                    <a:pt x="1179" y="1966"/>
                    <a:pt x="1183" y="1962"/>
                  </a:cubicBezTo>
                  <a:cubicBezTo>
                    <a:pt x="1187" y="1958"/>
                    <a:pt x="1186" y="1944"/>
                    <a:pt x="1186" y="1936"/>
                  </a:cubicBezTo>
                  <a:cubicBezTo>
                    <a:pt x="1186" y="1928"/>
                    <a:pt x="1204" y="1911"/>
                    <a:pt x="1213" y="1909"/>
                  </a:cubicBezTo>
                  <a:cubicBezTo>
                    <a:pt x="1222" y="1907"/>
                    <a:pt x="1219" y="1931"/>
                    <a:pt x="1219" y="1931"/>
                  </a:cubicBezTo>
                  <a:cubicBezTo>
                    <a:pt x="1219" y="1931"/>
                    <a:pt x="1213" y="1941"/>
                    <a:pt x="1210" y="1943"/>
                  </a:cubicBezTo>
                  <a:cubicBezTo>
                    <a:pt x="1207" y="1945"/>
                    <a:pt x="1208" y="1956"/>
                    <a:pt x="1208" y="1956"/>
                  </a:cubicBezTo>
                  <a:cubicBezTo>
                    <a:pt x="1201" y="1960"/>
                    <a:pt x="1201" y="1960"/>
                    <a:pt x="1201" y="1960"/>
                  </a:cubicBezTo>
                  <a:cubicBezTo>
                    <a:pt x="1201" y="1969"/>
                    <a:pt x="1201" y="1969"/>
                    <a:pt x="1201" y="1969"/>
                  </a:cubicBezTo>
                  <a:cubicBezTo>
                    <a:pt x="1184" y="1987"/>
                    <a:pt x="1184" y="1987"/>
                    <a:pt x="1184" y="1987"/>
                  </a:cubicBezTo>
                  <a:cubicBezTo>
                    <a:pt x="1163" y="2002"/>
                    <a:pt x="1163" y="2002"/>
                    <a:pt x="1163" y="2002"/>
                  </a:cubicBezTo>
                  <a:cubicBezTo>
                    <a:pt x="1163" y="2002"/>
                    <a:pt x="1170" y="2008"/>
                    <a:pt x="1177" y="2006"/>
                  </a:cubicBezTo>
                  <a:cubicBezTo>
                    <a:pt x="1182" y="2005"/>
                    <a:pt x="1182" y="1993"/>
                    <a:pt x="1187" y="1990"/>
                  </a:cubicBezTo>
                  <a:cubicBezTo>
                    <a:pt x="1191" y="1986"/>
                    <a:pt x="1198" y="1989"/>
                    <a:pt x="1200" y="1987"/>
                  </a:cubicBezTo>
                  <a:cubicBezTo>
                    <a:pt x="1206" y="1978"/>
                    <a:pt x="1228" y="1944"/>
                    <a:pt x="1233" y="1920"/>
                  </a:cubicBezTo>
                  <a:cubicBezTo>
                    <a:pt x="1238" y="1896"/>
                    <a:pt x="1248" y="1874"/>
                    <a:pt x="1252" y="1860"/>
                  </a:cubicBezTo>
                  <a:cubicBezTo>
                    <a:pt x="1256" y="1846"/>
                    <a:pt x="1284" y="1829"/>
                    <a:pt x="1286" y="1825"/>
                  </a:cubicBezTo>
                  <a:cubicBezTo>
                    <a:pt x="1288" y="1821"/>
                    <a:pt x="1281" y="1811"/>
                    <a:pt x="1281" y="1811"/>
                  </a:cubicBezTo>
                  <a:cubicBezTo>
                    <a:pt x="1294" y="1802"/>
                    <a:pt x="1294" y="1802"/>
                    <a:pt x="1294" y="1802"/>
                  </a:cubicBezTo>
                  <a:cubicBezTo>
                    <a:pt x="1290" y="1778"/>
                    <a:pt x="1290" y="1778"/>
                    <a:pt x="1290" y="1778"/>
                  </a:cubicBezTo>
                  <a:cubicBezTo>
                    <a:pt x="1294" y="1764"/>
                    <a:pt x="1294" y="1764"/>
                    <a:pt x="1294" y="1764"/>
                  </a:cubicBezTo>
                  <a:cubicBezTo>
                    <a:pt x="1285" y="1759"/>
                    <a:pt x="1285" y="1759"/>
                    <a:pt x="1285" y="1759"/>
                  </a:cubicBezTo>
                  <a:cubicBezTo>
                    <a:pt x="1285" y="1759"/>
                    <a:pt x="1292" y="1750"/>
                    <a:pt x="1292" y="1742"/>
                  </a:cubicBezTo>
                  <a:cubicBezTo>
                    <a:pt x="1292" y="1734"/>
                    <a:pt x="1277" y="1728"/>
                    <a:pt x="1277" y="1728"/>
                  </a:cubicBezTo>
                  <a:cubicBezTo>
                    <a:pt x="1276" y="1705"/>
                    <a:pt x="1276" y="1705"/>
                    <a:pt x="1276" y="1705"/>
                  </a:cubicBezTo>
                  <a:cubicBezTo>
                    <a:pt x="1266" y="1694"/>
                    <a:pt x="1266" y="1694"/>
                    <a:pt x="1266" y="1694"/>
                  </a:cubicBezTo>
                  <a:cubicBezTo>
                    <a:pt x="1280" y="1695"/>
                    <a:pt x="1280" y="1695"/>
                    <a:pt x="1280" y="1695"/>
                  </a:cubicBezTo>
                  <a:cubicBezTo>
                    <a:pt x="1279" y="1678"/>
                    <a:pt x="1279" y="1678"/>
                    <a:pt x="1279" y="1678"/>
                  </a:cubicBezTo>
                  <a:cubicBezTo>
                    <a:pt x="1270" y="1673"/>
                    <a:pt x="1270" y="1673"/>
                    <a:pt x="1270" y="1673"/>
                  </a:cubicBezTo>
                  <a:cubicBezTo>
                    <a:pt x="1270" y="1673"/>
                    <a:pt x="1282" y="1670"/>
                    <a:pt x="1282" y="1665"/>
                  </a:cubicBezTo>
                  <a:cubicBezTo>
                    <a:pt x="1282" y="1660"/>
                    <a:pt x="1266" y="1650"/>
                    <a:pt x="1266" y="1650"/>
                  </a:cubicBezTo>
                  <a:cubicBezTo>
                    <a:pt x="1282" y="1639"/>
                    <a:pt x="1282" y="1639"/>
                    <a:pt x="1282" y="1639"/>
                  </a:cubicBezTo>
                  <a:cubicBezTo>
                    <a:pt x="1282" y="1639"/>
                    <a:pt x="1295" y="1653"/>
                    <a:pt x="1301" y="1652"/>
                  </a:cubicBezTo>
                  <a:cubicBezTo>
                    <a:pt x="1307" y="1651"/>
                    <a:pt x="1303" y="1639"/>
                    <a:pt x="1303" y="1639"/>
                  </a:cubicBezTo>
                  <a:cubicBezTo>
                    <a:pt x="1303" y="1639"/>
                    <a:pt x="1303" y="1627"/>
                    <a:pt x="1311" y="1617"/>
                  </a:cubicBezTo>
                  <a:cubicBezTo>
                    <a:pt x="1319" y="1607"/>
                    <a:pt x="1331" y="1610"/>
                    <a:pt x="1337" y="1605"/>
                  </a:cubicBezTo>
                  <a:cubicBezTo>
                    <a:pt x="1343" y="1600"/>
                    <a:pt x="1340" y="1596"/>
                    <a:pt x="1343" y="1589"/>
                  </a:cubicBezTo>
                  <a:cubicBezTo>
                    <a:pt x="1346" y="1582"/>
                    <a:pt x="1364" y="1579"/>
                    <a:pt x="1364" y="1579"/>
                  </a:cubicBezTo>
                  <a:cubicBezTo>
                    <a:pt x="1366" y="1571"/>
                    <a:pt x="1366" y="1571"/>
                    <a:pt x="1366" y="1571"/>
                  </a:cubicBezTo>
                  <a:cubicBezTo>
                    <a:pt x="1366" y="1571"/>
                    <a:pt x="1372" y="1574"/>
                    <a:pt x="1377" y="1573"/>
                  </a:cubicBezTo>
                  <a:cubicBezTo>
                    <a:pt x="1382" y="1572"/>
                    <a:pt x="1381" y="1560"/>
                    <a:pt x="1387" y="1559"/>
                  </a:cubicBezTo>
                  <a:cubicBezTo>
                    <a:pt x="1393" y="1558"/>
                    <a:pt x="1412" y="1561"/>
                    <a:pt x="1412" y="1561"/>
                  </a:cubicBezTo>
                  <a:cubicBezTo>
                    <a:pt x="1416" y="1571"/>
                    <a:pt x="1416" y="1571"/>
                    <a:pt x="1416" y="1571"/>
                  </a:cubicBezTo>
                  <a:cubicBezTo>
                    <a:pt x="1427" y="1569"/>
                    <a:pt x="1427" y="1569"/>
                    <a:pt x="1427" y="1569"/>
                  </a:cubicBezTo>
                  <a:cubicBezTo>
                    <a:pt x="1414" y="1554"/>
                    <a:pt x="1414" y="1554"/>
                    <a:pt x="1414" y="1554"/>
                  </a:cubicBezTo>
                  <a:cubicBezTo>
                    <a:pt x="1414" y="1554"/>
                    <a:pt x="1423" y="1550"/>
                    <a:pt x="1427" y="1545"/>
                  </a:cubicBezTo>
                  <a:cubicBezTo>
                    <a:pt x="1431" y="1540"/>
                    <a:pt x="1453" y="1539"/>
                    <a:pt x="1453" y="1539"/>
                  </a:cubicBezTo>
                  <a:cubicBezTo>
                    <a:pt x="1442" y="1529"/>
                    <a:pt x="1442" y="1529"/>
                    <a:pt x="1442" y="1529"/>
                  </a:cubicBezTo>
                  <a:cubicBezTo>
                    <a:pt x="1442" y="1529"/>
                    <a:pt x="1454" y="1519"/>
                    <a:pt x="1459" y="1519"/>
                  </a:cubicBezTo>
                  <a:cubicBezTo>
                    <a:pt x="1464" y="1519"/>
                    <a:pt x="1460" y="1535"/>
                    <a:pt x="1463" y="1535"/>
                  </a:cubicBezTo>
                  <a:cubicBezTo>
                    <a:pt x="1466" y="1535"/>
                    <a:pt x="1472" y="1518"/>
                    <a:pt x="1472" y="1518"/>
                  </a:cubicBezTo>
                  <a:cubicBezTo>
                    <a:pt x="1497" y="1523"/>
                    <a:pt x="1497" y="1523"/>
                    <a:pt x="1497" y="1523"/>
                  </a:cubicBezTo>
                  <a:cubicBezTo>
                    <a:pt x="1497" y="1523"/>
                    <a:pt x="1502" y="1503"/>
                    <a:pt x="1513" y="1502"/>
                  </a:cubicBezTo>
                  <a:cubicBezTo>
                    <a:pt x="1524" y="1501"/>
                    <a:pt x="1521" y="1523"/>
                    <a:pt x="1521" y="1523"/>
                  </a:cubicBezTo>
                  <a:cubicBezTo>
                    <a:pt x="1566" y="1518"/>
                    <a:pt x="1566" y="1518"/>
                    <a:pt x="1566" y="1518"/>
                  </a:cubicBezTo>
                  <a:cubicBezTo>
                    <a:pt x="1571" y="1506"/>
                    <a:pt x="1571" y="1506"/>
                    <a:pt x="1571" y="1506"/>
                  </a:cubicBezTo>
                  <a:cubicBezTo>
                    <a:pt x="1565" y="1499"/>
                    <a:pt x="1565" y="1499"/>
                    <a:pt x="1565" y="1499"/>
                  </a:cubicBezTo>
                  <a:cubicBezTo>
                    <a:pt x="1565" y="1499"/>
                    <a:pt x="1571" y="1491"/>
                    <a:pt x="1577" y="1482"/>
                  </a:cubicBezTo>
                  <a:cubicBezTo>
                    <a:pt x="1583" y="1473"/>
                    <a:pt x="1613" y="1468"/>
                    <a:pt x="1613" y="1468"/>
                  </a:cubicBezTo>
                  <a:cubicBezTo>
                    <a:pt x="1613" y="1468"/>
                    <a:pt x="1610" y="1455"/>
                    <a:pt x="1610" y="1452"/>
                  </a:cubicBezTo>
                  <a:cubicBezTo>
                    <a:pt x="1610" y="1449"/>
                    <a:pt x="1611" y="1408"/>
                    <a:pt x="1611" y="1408"/>
                  </a:cubicBezTo>
                  <a:cubicBezTo>
                    <a:pt x="1629" y="1388"/>
                    <a:pt x="1629" y="1388"/>
                    <a:pt x="1629" y="1388"/>
                  </a:cubicBezTo>
                  <a:cubicBezTo>
                    <a:pt x="1629" y="1372"/>
                    <a:pt x="1629" y="1372"/>
                    <a:pt x="1629" y="1372"/>
                  </a:cubicBezTo>
                  <a:cubicBezTo>
                    <a:pt x="1642" y="1369"/>
                    <a:pt x="1642" y="1369"/>
                    <a:pt x="1642" y="1369"/>
                  </a:cubicBezTo>
                  <a:cubicBezTo>
                    <a:pt x="1642" y="1347"/>
                    <a:pt x="1642" y="1347"/>
                    <a:pt x="1642" y="1347"/>
                  </a:cubicBezTo>
                  <a:cubicBezTo>
                    <a:pt x="1642" y="1347"/>
                    <a:pt x="1651" y="1342"/>
                    <a:pt x="1655" y="1342"/>
                  </a:cubicBezTo>
                  <a:cubicBezTo>
                    <a:pt x="1659" y="1342"/>
                    <a:pt x="1659" y="1317"/>
                    <a:pt x="1659" y="1317"/>
                  </a:cubicBezTo>
                  <a:cubicBezTo>
                    <a:pt x="1659" y="1317"/>
                    <a:pt x="1653" y="1288"/>
                    <a:pt x="1651" y="1273"/>
                  </a:cubicBezTo>
                  <a:cubicBezTo>
                    <a:pt x="1649" y="1258"/>
                    <a:pt x="1667" y="1246"/>
                    <a:pt x="1674" y="1240"/>
                  </a:cubicBezTo>
                  <a:cubicBezTo>
                    <a:pt x="1681" y="1234"/>
                    <a:pt x="1671" y="1213"/>
                    <a:pt x="1671" y="1213"/>
                  </a:cubicBezTo>
                  <a:cubicBezTo>
                    <a:pt x="1675" y="1175"/>
                    <a:pt x="1675" y="1175"/>
                    <a:pt x="1675" y="1175"/>
                  </a:cubicBezTo>
                  <a:cubicBezTo>
                    <a:pt x="1675" y="1175"/>
                    <a:pt x="1683" y="1145"/>
                    <a:pt x="1682" y="1134"/>
                  </a:cubicBezTo>
                  <a:cubicBezTo>
                    <a:pt x="1681" y="1123"/>
                    <a:pt x="1669" y="1065"/>
                    <a:pt x="1669" y="1065"/>
                  </a:cubicBezTo>
                  <a:cubicBezTo>
                    <a:pt x="1674" y="1041"/>
                    <a:pt x="1674" y="1041"/>
                    <a:pt x="1674" y="1041"/>
                  </a:cubicBezTo>
                  <a:cubicBezTo>
                    <a:pt x="1674" y="1041"/>
                    <a:pt x="1665" y="1010"/>
                    <a:pt x="1668" y="1002"/>
                  </a:cubicBezTo>
                  <a:cubicBezTo>
                    <a:pt x="1671" y="994"/>
                    <a:pt x="1682" y="984"/>
                    <a:pt x="1682" y="984"/>
                  </a:cubicBezTo>
                  <a:cubicBezTo>
                    <a:pt x="1674" y="972"/>
                    <a:pt x="1674" y="972"/>
                    <a:pt x="1674" y="972"/>
                  </a:cubicBezTo>
                  <a:cubicBezTo>
                    <a:pt x="1674" y="972"/>
                    <a:pt x="1681" y="962"/>
                    <a:pt x="1685" y="962"/>
                  </a:cubicBezTo>
                  <a:cubicBezTo>
                    <a:pt x="1689" y="962"/>
                    <a:pt x="1698" y="981"/>
                    <a:pt x="1698" y="981"/>
                  </a:cubicBezTo>
                  <a:cubicBezTo>
                    <a:pt x="1698" y="981"/>
                    <a:pt x="1720" y="961"/>
                    <a:pt x="1727" y="951"/>
                  </a:cubicBezTo>
                  <a:cubicBezTo>
                    <a:pt x="1734" y="941"/>
                    <a:pt x="1739" y="897"/>
                    <a:pt x="1739" y="897"/>
                  </a:cubicBezTo>
                  <a:cubicBezTo>
                    <a:pt x="1739" y="897"/>
                    <a:pt x="1745" y="893"/>
                    <a:pt x="1751" y="889"/>
                  </a:cubicBezTo>
                  <a:cubicBezTo>
                    <a:pt x="1757" y="885"/>
                    <a:pt x="1762" y="863"/>
                    <a:pt x="1762" y="863"/>
                  </a:cubicBezTo>
                  <a:cubicBezTo>
                    <a:pt x="1762" y="863"/>
                    <a:pt x="1775" y="856"/>
                    <a:pt x="1782" y="855"/>
                  </a:cubicBezTo>
                  <a:cubicBezTo>
                    <a:pt x="1789" y="854"/>
                    <a:pt x="1789" y="834"/>
                    <a:pt x="1789" y="834"/>
                  </a:cubicBezTo>
                  <a:cubicBezTo>
                    <a:pt x="1789" y="834"/>
                    <a:pt x="1803" y="829"/>
                    <a:pt x="1816" y="811"/>
                  </a:cubicBezTo>
                  <a:cubicBezTo>
                    <a:pt x="1829" y="793"/>
                    <a:pt x="1844" y="746"/>
                    <a:pt x="1844" y="746"/>
                  </a:cubicBezTo>
                  <a:cubicBezTo>
                    <a:pt x="1844" y="746"/>
                    <a:pt x="1856" y="733"/>
                    <a:pt x="1857" y="727"/>
                  </a:cubicBezTo>
                  <a:cubicBezTo>
                    <a:pt x="1858" y="721"/>
                    <a:pt x="1852" y="705"/>
                    <a:pt x="1852" y="705"/>
                  </a:cubicBezTo>
                  <a:cubicBezTo>
                    <a:pt x="1852" y="705"/>
                    <a:pt x="1855" y="684"/>
                    <a:pt x="1855" y="667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 325">
              <a:extLst>
                <a:ext uri="{FF2B5EF4-FFF2-40B4-BE49-F238E27FC236}">
                  <a16:creationId xmlns:a16="http://schemas.microsoft.com/office/drawing/2014/main" id="{94EB2587-69EC-74E2-BB18-4BC2A4F9283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4223" y="-7752"/>
              <a:ext cx="1821" cy="4776"/>
            </a:xfrm>
            <a:custGeom>
              <a:avLst/>
              <a:gdLst>
                <a:gd name="T0" fmla="*/ 550 w 771"/>
                <a:gd name="T1" fmla="*/ 1864 h 2022"/>
                <a:gd name="T2" fmla="*/ 572 w 771"/>
                <a:gd name="T3" fmla="*/ 1906 h 2022"/>
                <a:gd name="T4" fmla="*/ 567 w 771"/>
                <a:gd name="T5" fmla="*/ 1954 h 2022"/>
                <a:gd name="T6" fmla="*/ 690 w 771"/>
                <a:gd name="T7" fmla="*/ 1981 h 2022"/>
                <a:gd name="T8" fmla="*/ 658 w 771"/>
                <a:gd name="T9" fmla="*/ 1993 h 2022"/>
                <a:gd name="T10" fmla="*/ 617 w 771"/>
                <a:gd name="T11" fmla="*/ 1988 h 2022"/>
                <a:gd name="T12" fmla="*/ 663 w 771"/>
                <a:gd name="T13" fmla="*/ 2010 h 2022"/>
                <a:gd name="T14" fmla="*/ 500 w 771"/>
                <a:gd name="T15" fmla="*/ 1974 h 2022"/>
                <a:gd name="T16" fmla="*/ 526 w 771"/>
                <a:gd name="T17" fmla="*/ 1935 h 2022"/>
                <a:gd name="T18" fmla="*/ 471 w 771"/>
                <a:gd name="T19" fmla="*/ 1945 h 2022"/>
                <a:gd name="T20" fmla="*/ 397 w 771"/>
                <a:gd name="T21" fmla="*/ 1867 h 2022"/>
                <a:gd name="T22" fmla="*/ 345 w 771"/>
                <a:gd name="T23" fmla="*/ 1873 h 2022"/>
                <a:gd name="T24" fmla="*/ 355 w 771"/>
                <a:gd name="T25" fmla="*/ 1822 h 2022"/>
                <a:gd name="T26" fmla="*/ 326 w 771"/>
                <a:gd name="T27" fmla="*/ 1841 h 2022"/>
                <a:gd name="T28" fmla="*/ 342 w 771"/>
                <a:gd name="T29" fmla="*/ 1820 h 2022"/>
                <a:gd name="T30" fmla="*/ 287 w 771"/>
                <a:gd name="T31" fmla="*/ 1789 h 2022"/>
                <a:gd name="T32" fmla="*/ 267 w 771"/>
                <a:gd name="T33" fmla="*/ 1739 h 2022"/>
                <a:gd name="T34" fmla="*/ 257 w 771"/>
                <a:gd name="T35" fmla="*/ 1697 h 2022"/>
                <a:gd name="T36" fmla="*/ 208 w 771"/>
                <a:gd name="T37" fmla="*/ 1688 h 2022"/>
                <a:gd name="T38" fmla="*/ 144 w 771"/>
                <a:gd name="T39" fmla="*/ 1339 h 2022"/>
                <a:gd name="T40" fmla="*/ 163 w 771"/>
                <a:gd name="T41" fmla="*/ 1391 h 2022"/>
                <a:gd name="T42" fmla="*/ 186 w 771"/>
                <a:gd name="T43" fmla="*/ 1483 h 2022"/>
                <a:gd name="T44" fmla="*/ 212 w 771"/>
                <a:gd name="T45" fmla="*/ 1463 h 2022"/>
                <a:gd name="T46" fmla="*/ 143 w 771"/>
                <a:gd name="T47" fmla="*/ 1440 h 2022"/>
                <a:gd name="T48" fmla="*/ 498 w 771"/>
                <a:gd name="T49" fmla="*/ 1874 h 2022"/>
                <a:gd name="T50" fmla="*/ 449 w 771"/>
                <a:gd name="T51" fmla="*/ 1842 h 2022"/>
                <a:gd name="T52" fmla="*/ 338 w 771"/>
                <a:gd name="T53" fmla="*/ 1747 h 2022"/>
                <a:gd name="T54" fmla="*/ 317 w 771"/>
                <a:gd name="T55" fmla="*/ 1650 h 2022"/>
                <a:gd name="T56" fmla="*/ 304 w 771"/>
                <a:gd name="T57" fmla="*/ 1533 h 2022"/>
                <a:gd name="T58" fmla="*/ 272 w 771"/>
                <a:gd name="T59" fmla="*/ 1443 h 2022"/>
                <a:gd name="T60" fmla="*/ 215 w 771"/>
                <a:gd name="T61" fmla="*/ 1320 h 2022"/>
                <a:gd name="T62" fmla="*/ 187 w 771"/>
                <a:gd name="T63" fmla="*/ 1196 h 2022"/>
                <a:gd name="T64" fmla="*/ 165 w 771"/>
                <a:gd name="T65" fmla="*/ 1085 h 2022"/>
                <a:gd name="T66" fmla="*/ 166 w 771"/>
                <a:gd name="T67" fmla="*/ 954 h 2022"/>
                <a:gd name="T68" fmla="*/ 142 w 771"/>
                <a:gd name="T69" fmla="*/ 815 h 2022"/>
                <a:gd name="T70" fmla="*/ 109 w 771"/>
                <a:gd name="T71" fmla="*/ 685 h 2022"/>
                <a:gd name="T72" fmla="*/ 162 w 771"/>
                <a:gd name="T73" fmla="*/ 498 h 2022"/>
                <a:gd name="T74" fmla="*/ 184 w 771"/>
                <a:gd name="T75" fmla="*/ 293 h 2022"/>
                <a:gd name="T76" fmla="*/ 97 w 771"/>
                <a:gd name="T77" fmla="*/ 161 h 2022"/>
                <a:gd name="T78" fmla="*/ 45 w 771"/>
                <a:gd name="T79" fmla="*/ 22 h 2022"/>
                <a:gd name="T80" fmla="*/ 24 w 771"/>
                <a:gd name="T81" fmla="*/ 182 h 2022"/>
                <a:gd name="T82" fmla="*/ 47 w 771"/>
                <a:gd name="T83" fmla="*/ 417 h 2022"/>
                <a:gd name="T84" fmla="*/ 34 w 771"/>
                <a:gd name="T85" fmla="*/ 559 h 2022"/>
                <a:gd name="T86" fmla="*/ 47 w 771"/>
                <a:gd name="T87" fmla="*/ 720 h 2022"/>
                <a:gd name="T88" fmla="*/ 82 w 771"/>
                <a:gd name="T89" fmla="*/ 947 h 2022"/>
                <a:gd name="T90" fmla="*/ 72 w 771"/>
                <a:gd name="T91" fmla="*/ 1102 h 2022"/>
                <a:gd name="T92" fmla="*/ 129 w 771"/>
                <a:gd name="T93" fmla="*/ 1299 h 2022"/>
                <a:gd name="T94" fmla="*/ 193 w 771"/>
                <a:gd name="T95" fmla="*/ 1313 h 2022"/>
                <a:gd name="T96" fmla="*/ 212 w 771"/>
                <a:gd name="T97" fmla="*/ 1403 h 2022"/>
                <a:gd name="T98" fmla="*/ 252 w 771"/>
                <a:gd name="T99" fmla="*/ 1497 h 2022"/>
                <a:gd name="T100" fmla="*/ 214 w 771"/>
                <a:gd name="T101" fmla="*/ 1535 h 2022"/>
                <a:gd name="T102" fmla="*/ 176 w 771"/>
                <a:gd name="T103" fmla="*/ 1528 h 2022"/>
                <a:gd name="T104" fmla="*/ 214 w 771"/>
                <a:gd name="T105" fmla="*/ 1567 h 2022"/>
                <a:gd name="T106" fmla="*/ 257 w 771"/>
                <a:gd name="T107" fmla="*/ 1604 h 2022"/>
                <a:gd name="T108" fmla="*/ 265 w 771"/>
                <a:gd name="T109" fmla="*/ 1686 h 2022"/>
                <a:gd name="T110" fmla="*/ 298 w 771"/>
                <a:gd name="T111" fmla="*/ 1731 h 2022"/>
                <a:gd name="T112" fmla="*/ 331 w 771"/>
                <a:gd name="T113" fmla="*/ 1762 h 2022"/>
                <a:gd name="T114" fmla="*/ 407 w 771"/>
                <a:gd name="T115" fmla="*/ 1821 h 2022"/>
                <a:gd name="T116" fmla="*/ 434 w 771"/>
                <a:gd name="T117" fmla="*/ 1876 h 2022"/>
                <a:gd name="T118" fmla="*/ 459 w 771"/>
                <a:gd name="T119" fmla="*/ 1893 h 2022"/>
                <a:gd name="T120" fmla="*/ 428 w 771"/>
                <a:gd name="T121" fmla="*/ 1927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71" h="2022">
                  <a:moveTo>
                    <a:pt x="677" y="1942"/>
                  </a:moveTo>
                  <a:cubicBezTo>
                    <a:pt x="625" y="1916"/>
                    <a:pt x="625" y="1903"/>
                    <a:pt x="625" y="1903"/>
                  </a:cubicBezTo>
                  <a:cubicBezTo>
                    <a:pt x="602" y="1903"/>
                    <a:pt x="602" y="1903"/>
                    <a:pt x="602" y="1903"/>
                  </a:cubicBezTo>
                  <a:cubicBezTo>
                    <a:pt x="606" y="1892"/>
                    <a:pt x="606" y="1892"/>
                    <a:pt x="606" y="1892"/>
                  </a:cubicBezTo>
                  <a:cubicBezTo>
                    <a:pt x="580" y="1866"/>
                    <a:pt x="580" y="1866"/>
                    <a:pt x="580" y="1866"/>
                  </a:cubicBezTo>
                  <a:cubicBezTo>
                    <a:pt x="559" y="1872"/>
                    <a:pt x="559" y="1872"/>
                    <a:pt x="559" y="1872"/>
                  </a:cubicBezTo>
                  <a:cubicBezTo>
                    <a:pt x="550" y="1864"/>
                    <a:pt x="550" y="1864"/>
                    <a:pt x="550" y="1864"/>
                  </a:cubicBezTo>
                  <a:cubicBezTo>
                    <a:pt x="543" y="1876"/>
                    <a:pt x="543" y="1876"/>
                    <a:pt x="543" y="1876"/>
                  </a:cubicBezTo>
                  <a:cubicBezTo>
                    <a:pt x="530" y="1879"/>
                    <a:pt x="530" y="1879"/>
                    <a:pt x="530" y="1879"/>
                  </a:cubicBezTo>
                  <a:cubicBezTo>
                    <a:pt x="531" y="1890"/>
                    <a:pt x="531" y="1890"/>
                    <a:pt x="531" y="1890"/>
                  </a:cubicBezTo>
                  <a:cubicBezTo>
                    <a:pt x="520" y="1892"/>
                    <a:pt x="520" y="1892"/>
                    <a:pt x="520" y="1892"/>
                  </a:cubicBezTo>
                  <a:cubicBezTo>
                    <a:pt x="521" y="1910"/>
                    <a:pt x="521" y="1910"/>
                    <a:pt x="521" y="1910"/>
                  </a:cubicBezTo>
                  <a:cubicBezTo>
                    <a:pt x="534" y="1923"/>
                    <a:pt x="557" y="1900"/>
                    <a:pt x="557" y="1900"/>
                  </a:cubicBezTo>
                  <a:cubicBezTo>
                    <a:pt x="572" y="1906"/>
                    <a:pt x="572" y="1906"/>
                    <a:pt x="572" y="1906"/>
                  </a:cubicBezTo>
                  <a:cubicBezTo>
                    <a:pt x="572" y="1919"/>
                    <a:pt x="572" y="1919"/>
                    <a:pt x="572" y="1919"/>
                  </a:cubicBezTo>
                  <a:cubicBezTo>
                    <a:pt x="572" y="1919"/>
                    <a:pt x="541" y="1934"/>
                    <a:pt x="552" y="1938"/>
                  </a:cubicBezTo>
                  <a:cubicBezTo>
                    <a:pt x="562" y="1942"/>
                    <a:pt x="615" y="1960"/>
                    <a:pt x="615" y="1960"/>
                  </a:cubicBezTo>
                  <a:cubicBezTo>
                    <a:pt x="605" y="1974"/>
                    <a:pt x="605" y="1974"/>
                    <a:pt x="605" y="1974"/>
                  </a:cubicBezTo>
                  <a:cubicBezTo>
                    <a:pt x="605" y="1974"/>
                    <a:pt x="602" y="1961"/>
                    <a:pt x="592" y="1961"/>
                  </a:cubicBezTo>
                  <a:cubicBezTo>
                    <a:pt x="582" y="1961"/>
                    <a:pt x="579" y="1968"/>
                    <a:pt x="579" y="1968"/>
                  </a:cubicBezTo>
                  <a:cubicBezTo>
                    <a:pt x="567" y="1954"/>
                    <a:pt x="567" y="1954"/>
                    <a:pt x="567" y="1954"/>
                  </a:cubicBezTo>
                  <a:cubicBezTo>
                    <a:pt x="556" y="1958"/>
                    <a:pt x="556" y="1958"/>
                    <a:pt x="556" y="1958"/>
                  </a:cubicBezTo>
                  <a:cubicBezTo>
                    <a:pt x="565" y="1965"/>
                    <a:pt x="565" y="1965"/>
                    <a:pt x="565" y="1965"/>
                  </a:cubicBezTo>
                  <a:cubicBezTo>
                    <a:pt x="544" y="1962"/>
                    <a:pt x="544" y="1962"/>
                    <a:pt x="544" y="1962"/>
                  </a:cubicBezTo>
                  <a:cubicBezTo>
                    <a:pt x="544" y="1962"/>
                    <a:pt x="550" y="1978"/>
                    <a:pt x="566" y="1978"/>
                  </a:cubicBezTo>
                  <a:cubicBezTo>
                    <a:pt x="582" y="1978"/>
                    <a:pt x="595" y="1978"/>
                    <a:pt x="595" y="1978"/>
                  </a:cubicBezTo>
                  <a:cubicBezTo>
                    <a:pt x="595" y="1978"/>
                    <a:pt x="611" y="1984"/>
                    <a:pt x="621" y="1983"/>
                  </a:cubicBezTo>
                  <a:cubicBezTo>
                    <a:pt x="631" y="1981"/>
                    <a:pt x="676" y="1981"/>
                    <a:pt x="690" y="1981"/>
                  </a:cubicBezTo>
                  <a:cubicBezTo>
                    <a:pt x="705" y="1981"/>
                    <a:pt x="725" y="1994"/>
                    <a:pt x="725" y="1994"/>
                  </a:cubicBezTo>
                  <a:cubicBezTo>
                    <a:pt x="746" y="1983"/>
                    <a:pt x="746" y="1983"/>
                    <a:pt x="746" y="1983"/>
                  </a:cubicBezTo>
                  <a:cubicBezTo>
                    <a:pt x="758" y="1987"/>
                    <a:pt x="758" y="1987"/>
                    <a:pt x="758" y="1987"/>
                  </a:cubicBezTo>
                  <a:cubicBezTo>
                    <a:pt x="770" y="1986"/>
                    <a:pt x="770" y="1986"/>
                    <a:pt x="770" y="1986"/>
                  </a:cubicBezTo>
                  <a:cubicBezTo>
                    <a:pt x="771" y="1970"/>
                    <a:pt x="771" y="1970"/>
                    <a:pt x="771" y="1970"/>
                  </a:cubicBezTo>
                  <a:cubicBezTo>
                    <a:pt x="771" y="1970"/>
                    <a:pt x="729" y="1968"/>
                    <a:pt x="677" y="1942"/>
                  </a:cubicBezTo>
                  <a:close/>
                  <a:moveTo>
                    <a:pt x="658" y="1993"/>
                  </a:moveTo>
                  <a:cubicBezTo>
                    <a:pt x="676" y="2003"/>
                    <a:pt x="676" y="2003"/>
                    <a:pt x="676" y="2003"/>
                  </a:cubicBezTo>
                  <a:cubicBezTo>
                    <a:pt x="712" y="2006"/>
                    <a:pt x="712" y="2006"/>
                    <a:pt x="712" y="2006"/>
                  </a:cubicBezTo>
                  <a:cubicBezTo>
                    <a:pt x="693" y="1988"/>
                    <a:pt x="693" y="1988"/>
                    <a:pt x="693" y="1988"/>
                  </a:cubicBezTo>
                  <a:lnTo>
                    <a:pt x="658" y="1993"/>
                  </a:lnTo>
                  <a:close/>
                  <a:moveTo>
                    <a:pt x="638" y="1997"/>
                  </a:moveTo>
                  <a:cubicBezTo>
                    <a:pt x="644" y="1991"/>
                    <a:pt x="644" y="1991"/>
                    <a:pt x="644" y="1991"/>
                  </a:cubicBezTo>
                  <a:cubicBezTo>
                    <a:pt x="617" y="1988"/>
                    <a:pt x="617" y="1988"/>
                    <a:pt x="617" y="1988"/>
                  </a:cubicBezTo>
                  <a:cubicBezTo>
                    <a:pt x="593" y="1988"/>
                    <a:pt x="593" y="1988"/>
                    <a:pt x="593" y="1988"/>
                  </a:cubicBezTo>
                  <a:cubicBezTo>
                    <a:pt x="602" y="2012"/>
                    <a:pt x="602" y="2012"/>
                    <a:pt x="602" y="2012"/>
                  </a:cubicBezTo>
                  <a:cubicBezTo>
                    <a:pt x="625" y="2014"/>
                    <a:pt x="625" y="2014"/>
                    <a:pt x="625" y="2014"/>
                  </a:cubicBezTo>
                  <a:cubicBezTo>
                    <a:pt x="619" y="2004"/>
                    <a:pt x="619" y="2004"/>
                    <a:pt x="619" y="2004"/>
                  </a:cubicBezTo>
                  <a:cubicBezTo>
                    <a:pt x="625" y="2000"/>
                    <a:pt x="625" y="2000"/>
                    <a:pt x="625" y="2000"/>
                  </a:cubicBezTo>
                  <a:cubicBezTo>
                    <a:pt x="632" y="2010"/>
                    <a:pt x="632" y="2010"/>
                    <a:pt x="632" y="2010"/>
                  </a:cubicBezTo>
                  <a:cubicBezTo>
                    <a:pt x="663" y="2010"/>
                    <a:pt x="663" y="2010"/>
                    <a:pt x="663" y="2010"/>
                  </a:cubicBezTo>
                  <a:cubicBezTo>
                    <a:pt x="673" y="2022"/>
                    <a:pt x="673" y="2022"/>
                    <a:pt x="673" y="2022"/>
                  </a:cubicBezTo>
                  <a:cubicBezTo>
                    <a:pt x="686" y="2022"/>
                    <a:pt x="686" y="2022"/>
                    <a:pt x="686" y="2022"/>
                  </a:cubicBezTo>
                  <a:cubicBezTo>
                    <a:pt x="666" y="2001"/>
                    <a:pt x="666" y="2001"/>
                    <a:pt x="666" y="2001"/>
                  </a:cubicBezTo>
                  <a:lnTo>
                    <a:pt x="638" y="1997"/>
                  </a:lnTo>
                  <a:close/>
                  <a:moveTo>
                    <a:pt x="537" y="1967"/>
                  </a:moveTo>
                  <a:cubicBezTo>
                    <a:pt x="495" y="1962"/>
                    <a:pt x="495" y="1962"/>
                    <a:pt x="495" y="1962"/>
                  </a:cubicBezTo>
                  <a:cubicBezTo>
                    <a:pt x="500" y="1974"/>
                    <a:pt x="500" y="1974"/>
                    <a:pt x="500" y="1974"/>
                  </a:cubicBezTo>
                  <a:cubicBezTo>
                    <a:pt x="527" y="1973"/>
                    <a:pt x="527" y="1973"/>
                    <a:pt x="527" y="1973"/>
                  </a:cubicBezTo>
                  <a:cubicBezTo>
                    <a:pt x="537" y="1987"/>
                    <a:pt x="537" y="1987"/>
                    <a:pt x="537" y="1987"/>
                  </a:cubicBezTo>
                  <a:cubicBezTo>
                    <a:pt x="575" y="2003"/>
                    <a:pt x="575" y="2003"/>
                    <a:pt x="575" y="2003"/>
                  </a:cubicBezTo>
                  <a:cubicBezTo>
                    <a:pt x="552" y="1983"/>
                    <a:pt x="552" y="1983"/>
                    <a:pt x="552" y="1983"/>
                  </a:cubicBezTo>
                  <a:lnTo>
                    <a:pt x="537" y="1967"/>
                  </a:lnTo>
                  <a:close/>
                  <a:moveTo>
                    <a:pt x="534" y="1924"/>
                  </a:moveTo>
                  <a:cubicBezTo>
                    <a:pt x="526" y="1935"/>
                    <a:pt x="526" y="1935"/>
                    <a:pt x="526" y="1935"/>
                  </a:cubicBezTo>
                  <a:cubicBezTo>
                    <a:pt x="530" y="1955"/>
                    <a:pt x="530" y="1955"/>
                    <a:pt x="530" y="1955"/>
                  </a:cubicBezTo>
                  <a:cubicBezTo>
                    <a:pt x="546" y="1949"/>
                    <a:pt x="546" y="1949"/>
                    <a:pt x="546" y="1949"/>
                  </a:cubicBezTo>
                  <a:lnTo>
                    <a:pt x="534" y="1924"/>
                  </a:lnTo>
                  <a:close/>
                  <a:moveTo>
                    <a:pt x="515" y="1954"/>
                  </a:moveTo>
                  <a:cubicBezTo>
                    <a:pt x="513" y="1942"/>
                    <a:pt x="513" y="1942"/>
                    <a:pt x="513" y="1942"/>
                  </a:cubicBezTo>
                  <a:cubicBezTo>
                    <a:pt x="479" y="1934"/>
                    <a:pt x="479" y="1934"/>
                    <a:pt x="479" y="1934"/>
                  </a:cubicBezTo>
                  <a:cubicBezTo>
                    <a:pt x="471" y="1945"/>
                    <a:pt x="471" y="1945"/>
                    <a:pt x="471" y="1945"/>
                  </a:cubicBezTo>
                  <a:cubicBezTo>
                    <a:pt x="472" y="1958"/>
                    <a:pt x="472" y="1958"/>
                    <a:pt x="472" y="1958"/>
                  </a:cubicBezTo>
                  <a:cubicBezTo>
                    <a:pt x="495" y="1949"/>
                    <a:pt x="495" y="1949"/>
                    <a:pt x="495" y="1949"/>
                  </a:cubicBezTo>
                  <a:lnTo>
                    <a:pt x="515" y="1954"/>
                  </a:lnTo>
                  <a:close/>
                  <a:moveTo>
                    <a:pt x="407" y="1848"/>
                  </a:moveTo>
                  <a:cubicBezTo>
                    <a:pt x="407" y="1848"/>
                    <a:pt x="381" y="1835"/>
                    <a:pt x="378" y="1847"/>
                  </a:cubicBezTo>
                  <a:cubicBezTo>
                    <a:pt x="375" y="1859"/>
                    <a:pt x="371" y="1874"/>
                    <a:pt x="375" y="1874"/>
                  </a:cubicBezTo>
                  <a:cubicBezTo>
                    <a:pt x="380" y="1874"/>
                    <a:pt x="397" y="1867"/>
                    <a:pt x="397" y="1867"/>
                  </a:cubicBezTo>
                  <a:cubicBezTo>
                    <a:pt x="399" y="1883"/>
                    <a:pt x="399" y="1883"/>
                    <a:pt x="399" y="1883"/>
                  </a:cubicBezTo>
                  <a:cubicBezTo>
                    <a:pt x="420" y="1873"/>
                    <a:pt x="420" y="1873"/>
                    <a:pt x="420" y="1873"/>
                  </a:cubicBezTo>
                  <a:cubicBezTo>
                    <a:pt x="409" y="1863"/>
                    <a:pt x="409" y="1863"/>
                    <a:pt x="409" y="1863"/>
                  </a:cubicBezTo>
                  <a:cubicBezTo>
                    <a:pt x="413" y="1851"/>
                    <a:pt x="413" y="1851"/>
                    <a:pt x="413" y="1851"/>
                  </a:cubicBezTo>
                  <a:lnTo>
                    <a:pt x="407" y="1848"/>
                  </a:lnTo>
                  <a:close/>
                  <a:moveTo>
                    <a:pt x="368" y="1886"/>
                  </a:moveTo>
                  <a:cubicBezTo>
                    <a:pt x="345" y="1873"/>
                    <a:pt x="345" y="1873"/>
                    <a:pt x="345" y="1873"/>
                  </a:cubicBezTo>
                  <a:cubicBezTo>
                    <a:pt x="362" y="1892"/>
                    <a:pt x="362" y="1892"/>
                    <a:pt x="362" y="1892"/>
                  </a:cubicBezTo>
                  <a:cubicBezTo>
                    <a:pt x="393" y="1896"/>
                    <a:pt x="393" y="1896"/>
                    <a:pt x="393" y="1896"/>
                  </a:cubicBezTo>
                  <a:cubicBezTo>
                    <a:pt x="404" y="1903"/>
                    <a:pt x="404" y="1903"/>
                    <a:pt x="404" y="1903"/>
                  </a:cubicBezTo>
                  <a:cubicBezTo>
                    <a:pt x="393" y="1889"/>
                    <a:pt x="393" y="1889"/>
                    <a:pt x="393" y="1889"/>
                  </a:cubicBezTo>
                  <a:lnTo>
                    <a:pt x="368" y="1886"/>
                  </a:lnTo>
                  <a:close/>
                  <a:moveTo>
                    <a:pt x="368" y="1835"/>
                  </a:moveTo>
                  <a:cubicBezTo>
                    <a:pt x="355" y="1822"/>
                    <a:pt x="355" y="1822"/>
                    <a:pt x="355" y="1822"/>
                  </a:cubicBezTo>
                  <a:cubicBezTo>
                    <a:pt x="351" y="1844"/>
                    <a:pt x="351" y="1844"/>
                    <a:pt x="351" y="1844"/>
                  </a:cubicBezTo>
                  <a:cubicBezTo>
                    <a:pt x="336" y="1848"/>
                    <a:pt x="336" y="1848"/>
                    <a:pt x="336" y="1848"/>
                  </a:cubicBezTo>
                  <a:cubicBezTo>
                    <a:pt x="365" y="1860"/>
                    <a:pt x="365" y="1860"/>
                    <a:pt x="365" y="1860"/>
                  </a:cubicBezTo>
                  <a:lnTo>
                    <a:pt x="368" y="1835"/>
                  </a:lnTo>
                  <a:close/>
                  <a:moveTo>
                    <a:pt x="296" y="1827"/>
                  </a:moveTo>
                  <a:cubicBezTo>
                    <a:pt x="319" y="1848"/>
                    <a:pt x="319" y="1848"/>
                    <a:pt x="319" y="1848"/>
                  </a:cubicBezTo>
                  <a:cubicBezTo>
                    <a:pt x="326" y="1841"/>
                    <a:pt x="326" y="1841"/>
                    <a:pt x="326" y="1841"/>
                  </a:cubicBezTo>
                  <a:cubicBezTo>
                    <a:pt x="306" y="1818"/>
                    <a:pt x="306" y="1818"/>
                    <a:pt x="306" y="1818"/>
                  </a:cubicBezTo>
                  <a:lnTo>
                    <a:pt x="296" y="1827"/>
                  </a:lnTo>
                  <a:close/>
                  <a:moveTo>
                    <a:pt x="342" y="1820"/>
                  </a:moveTo>
                  <a:cubicBezTo>
                    <a:pt x="335" y="1814"/>
                    <a:pt x="335" y="1814"/>
                    <a:pt x="335" y="1814"/>
                  </a:cubicBezTo>
                  <a:cubicBezTo>
                    <a:pt x="329" y="1824"/>
                    <a:pt x="329" y="1824"/>
                    <a:pt x="329" y="1824"/>
                  </a:cubicBezTo>
                  <a:cubicBezTo>
                    <a:pt x="336" y="1833"/>
                    <a:pt x="336" y="1833"/>
                    <a:pt x="336" y="1833"/>
                  </a:cubicBezTo>
                  <a:lnTo>
                    <a:pt x="342" y="1820"/>
                  </a:lnTo>
                  <a:close/>
                  <a:moveTo>
                    <a:pt x="303" y="1805"/>
                  </a:moveTo>
                  <a:cubicBezTo>
                    <a:pt x="306" y="1788"/>
                    <a:pt x="306" y="1788"/>
                    <a:pt x="306" y="1788"/>
                  </a:cubicBezTo>
                  <a:cubicBezTo>
                    <a:pt x="303" y="1763"/>
                    <a:pt x="303" y="1763"/>
                    <a:pt x="303" y="1763"/>
                  </a:cubicBezTo>
                  <a:cubicBezTo>
                    <a:pt x="292" y="1759"/>
                    <a:pt x="292" y="1759"/>
                    <a:pt x="292" y="1759"/>
                  </a:cubicBezTo>
                  <a:cubicBezTo>
                    <a:pt x="292" y="1770"/>
                    <a:pt x="292" y="1770"/>
                    <a:pt x="292" y="1770"/>
                  </a:cubicBezTo>
                  <a:cubicBezTo>
                    <a:pt x="270" y="1766"/>
                    <a:pt x="270" y="1766"/>
                    <a:pt x="270" y="1766"/>
                  </a:cubicBezTo>
                  <a:cubicBezTo>
                    <a:pt x="287" y="1789"/>
                    <a:pt x="287" y="1789"/>
                    <a:pt x="287" y="1789"/>
                  </a:cubicBezTo>
                  <a:cubicBezTo>
                    <a:pt x="283" y="1818"/>
                    <a:pt x="283" y="1818"/>
                    <a:pt x="283" y="1818"/>
                  </a:cubicBezTo>
                  <a:lnTo>
                    <a:pt x="303" y="1805"/>
                  </a:lnTo>
                  <a:close/>
                  <a:moveTo>
                    <a:pt x="243" y="1752"/>
                  </a:moveTo>
                  <a:cubicBezTo>
                    <a:pt x="254" y="1753"/>
                    <a:pt x="254" y="1753"/>
                    <a:pt x="254" y="1753"/>
                  </a:cubicBezTo>
                  <a:cubicBezTo>
                    <a:pt x="261" y="1775"/>
                    <a:pt x="261" y="1775"/>
                    <a:pt x="261" y="1775"/>
                  </a:cubicBezTo>
                  <a:cubicBezTo>
                    <a:pt x="266" y="1755"/>
                    <a:pt x="266" y="1755"/>
                    <a:pt x="266" y="1755"/>
                  </a:cubicBezTo>
                  <a:cubicBezTo>
                    <a:pt x="267" y="1739"/>
                    <a:pt x="267" y="1739"/>
                    <a:pt x="267" y="1739"/>
                  </a:cubicBezTo>
                  <a:cubicBezTo>
                    <a:pt x="250" y="1734"/>
                    <a:pt x="250" y="1734"/>
                    <a:pt x="250" y="1734"/>
                  </a:cubicBezTo>
                  <a:lnTo>
                    <a:pt x="243" y="1752"/>
                  </a:lnTo>
                  <a:close/>
                  <a:moveTo>
                    <a:pt x="248" y="1727"/>
                  </a:moveTo>
                  <a:cubicBezTo>
                    <a:pt x="253" y="1726"/>
                    <a:pt x="256" y="1717"/>
                    <a:pt x="256" y="1717"/>
                  </a:cubicBezTo>
                  <a:cubicBezTo>
                    <a:pt x="276" y="1734"/>
                    <a:pt x="276" y="1734"/>
                    <a:pt x="276" y="1734"/>
                  </a:cubicBezTo>
                  <a:cubicBezTo>
                    <a:pt x="277" y="1718"/>
                    <a:pt x="277" y="1718"/>
                    <a:pt x="277" y="1718"/>
                  </a:cubicBezTo>
                  <a:cubicBezTo>
                    <a:pt x="257" y="1697"/>
                    <a:pt x="257" y="1697"/>
                    <a:pt x="257" y="1697"/>
                  </a:cubicBezTo>
                  <a:cubicBezTo>
                    <a:pt x="257" y="1697"/>
                    <a:pt x="241" y="1674"/>
                    <a:pt x="241" y="1662"/>
                  </a:cubicBezTo>
                  <a:cubicBezTo>
                    <a:pt x="241" y="1651"/>
                    <a:pt x="230" y="1639"/>
                    <a:pt x="219" y="1633"/>
                  </a:cubicBezTo>
                  <a:cubicBezTo>
                    <a:pt x="209" y="1628"/>
                    <a:pt x="209" y="1639"/>
                    <a:pt x="209" y="1639"/>
                  </a:cubicBezTo>
                  <a:cubicBezTo>
                    <a:pt x="195" y="1635"/>
                    <a:pt x="195" y="1635"/>
                    <a:pt x="195" y="1635"/>
                  </a:cubicBezTo>
                  <a:cubicBezTo>
                    <a:pt x="195" y="1635"/>
                    <a:pt x="180" y="1662"/>
                    <a:pt x="191" y="1662"/>
                  </a:cubicBezTo>
                  <a:cubicBezTo>
                    <a:pt x="201" y="1662"/>
                    <a:pt x="221" y="1662"/>
                    <a:pt x="221" y="1662"/>
                  </a:cubicBezTo>
                  <a:cubicBezTo>
                    <a:pt x="208" y="1688"/>
                    <a:pt x="208" y="1688"/>
                    <a:pt x="208" y="1688"/>
                  </a:cubicBezTo>
                  <a:cubicBezTo>
                    <a:pt x="217" y="1688"/>
                    <a:pt x="217" y="1688"/>
                    <a:pt x="217" y="1688"/>
                  </a:cubicBezTo>
                  <a:cubicBezTo>
                    <a:pt x="231" y="1675"/>
                    <a:pt x="231" y="1675"/>
                    <a:pt x="231" y="1675"/>
                  </a:cubicBezTo>
                  <a:cubicBezTo>
                    <a:pt x="230" y="1691"/>
                    <a:pt x="230" y="1691"/>
                    <a:pt x="230" y="1691"/>
                  </a:cubicBezTo>
                  <a:cubicBezTo>
                    <a:pt x="230" y="1691"/>
                    <a:pt x="244" y="1729"/>
                    <a:pt x="248" y="1727"/>
                  </a:cubicBezTo>
                  <a:close/>
                  <a:moveTo>
                    <a:pt x="163" y="1391"/>
                  </a:moveTo>
                  <a:cubicBezTo>
                    <a:pt x="165" y="1359"/>
                    <a:pt x="165" y="1359"/>
                    <a:pt x="165" y="1359"/>
                  </a:cubicBezTo>
                  <a:cubicBezTo>
                    <a:pt x="144" y="1339"/>
                    <a:pt x="144" y="1339"/>
                    <a:pt x="144" y="1339"/>
                  </a:cubicBezTo>
                  <a:cubicBezTo>
                    <a:pt x="154" y="1329"/>
                    <a:pt x="154" y="1329"/>
                    <a:pt x="154" y="1329"/>
                  </a:cubicBezTo>
                  <a:cubicBezTo>
                    <a:pt x="140" y="1313"/>
                    <a:pt x="140" y="1313"/>
                    <a:pt x="140" y="1313"/>
                  </a:cubicBezTo>
                  <a:cubicBezTo>
                    <a:pt x="117" y="1304"/>
                    <a:pt x="117" y="1304"/>
                    <a:pt x="117" y="1304"/>
                  </a:cubicBezTo>
                  <a:cubicBezTo>
                    <a:pt x="117" y="1304"/>
                    <a:pt x="114" y="1340"/>
                    <a:pt x="123" y="1343"/>
                  </a:cubicBezTo>
                  <a:cubicBezTo>
                    <a:pt x="131" y="1346"/>
                    <a:pt x="137" y="1366"/>
                    <a:pt x="137" y="1366"/>
                  </a:cubicBezTo>
                  <a:cubicBezTo>
                    <a:pt x="133" y="1379"/>
                    <a:pt x="133" y="1379"/>
                    <a:pt x="133" y="1379"/>
                  </a:cubicBezTo>
                  <a:lnTo>
                    <a:pt x="163" y="1391"/>
                  </a:lnTo>
                  <a:close/>
                  <a:moveTo>
                    <a:pt x="163" y="1453"/>
                  </a:moveTo>
                  <a:cubicBezTo>
                    <a:pt x="170" y="1461"/>
                    <a:pt x="170" y="1461"/>
                    <a:pt x="170" y="1461"/>
                  </a:cubicBezTo>
                  <a:cubicBezTo>
                    <a:pt x="188" y="1461"/>
                    <a:pt x="188" y="1461"/>
                    <a:pt x="188" y="1461"/>
                  </a:cubicBezTo>
                  <a:cubicBezTo>
                    <a:pt x="195" y="1448"/>
                    <a:pt x="195" y="1448"/>
                    <a:pt x="195" y="1448"/>
                  </a:cubicBezTo>
                  <a:cubicBezTo>
                    <a:pt x="176" y="1453"/>
                    <a:pt x="176" y="1453"/>
                    <a:pt x="176" y="1453"/>
                  </a:cubicBezTo>
                  <a:lnTo>
                    <a:pt x="163" y="1453"/>
                  </a:lnTo>
                  <a:close/>
                  <a:moveTo>
                    <a:pt x="186" y="1483"/>
                  </a:moveTo>
                  <a:cubicBezTo>
                    <a:pt x="188" y="1495"/>
                    <a:pt x="188" y="1495"/>
                    <a:pt x="188" y="1495"/>
                  </a:cubicBezTo>
                  <a:cubicBezTo>
                    <a:pt x="204" y="1505"/>
                    <a:pt x="204" y="1505"/>
                    <a:pt x="204" y="1505"/>
                  </a:cubicBezTo>
                  <a:cubicBezTo>
                    <a:pt x="204" y="1489"/>
                    <a:pt x="204" y="1489"/>
                    <a:pt x="204" y="1489"/>
                  </a:cubicBezTo>
                  <a:cubicBezTo>
                    <a:pt x="195" y="1473"/>
                    <a:pt x="195" y="1473"/>
                    <a:pt x="195" y="1473"/>
                  </a:cubicBezTo>
                  <a:cubicBezTo>
                    <a:pt x="173" y="1474"/>
                    <a:pt x="173" y="1474"/>
                    <a:pt x="173" y="1474"/>
                  </a:cubicBezTo>
                  <a:lnTo>
                    <a:pt x="186" y="1483"/>
                  </a:lnTo>
                  <a:close/>
                  <a:moveTo>
                    <a:pt x="212" y="1463"/>
                  </a:moveTo>
                  <a:cubicBezTo>
                    <a:pt x="212" y="1463"/>
                    <a:pt x="244" y="1444"/>
                    <a:pt x="222" y="1440"/>
                  </a:cubicBezTo>
                  <a:cubicBezTo>
                    <a:pt x="201" y="1435"/>
                    <a:pt x="199" y="1463"/>
                    <a:pt x="212" y="1463"/>
                  </a:cubicBezTo>
                  <a:close/>
                  <a:moveTo>
                    <a:pt x="166" y="1409"/>
                  </a:moveTo>
                  <a:cubicBezTo>
                    <a:pt x="152" y="1420"/>
                    <a:pt x="159" y="1430"/>
                    <a:pt x="169" y="1427"/>
                  </a:cubicBezTo>
                  <a:cubicBezTo>
                    <a:pt x="181" y="1423"/>
                    <a:pt x="180" y="1399"/>
                    <a:pt x="166" y="1409"/>
                  </a:cubicBezTo>
                  <a:close/>
                  <a:moveTo>
                    <a:pt x="156" y="1437"/>
                  </a:moveTo>
                  <a:cubicBezTo>
                    <a:pt x="143" y="1440"/>
                    <a:pt x="143" y="1440"/>
                    <a:pt x="143" y="1440"/>
                  </a:cubicBezTo>
                  <a:cubicBezTo>
                    <a:pt x="150" y="1453"/>
                    <a:pt x="150" y="1453"/>
                    <a:pt x="150" y="1453"/>
                  </a:cubicBezTo>
                  <a:lnTo>
                    <a:pt x="156" y="1437"/>
                  </a:lnTo>
                  <a:close/>
                  <a:moveTo>
                    <a:pt x="476" y="1919"/>
                  </a:moveTo>
                  <a:cubicBezTo>
                    <a:pt x="485" y="1915"/>
                    <a:pt x="484" y="1925"/>
                    <a:pt x="484" y="1925"/>
                  </a:cubicBezTo>
                  <a:cubicBezTo>
                    <a:pt x="484" y="1925"/>
                    <a:pt x="499" y="1928"/>
                    <a:pt x="514" y="1925"/>
                  </a:cubicBezTo>
                  <a:cubicBezTo>
                    <a:pt x="528" y="1921"/>
                    <a:pt x="498" y="1899"/>
                    <a:pt x="498" y="1899"/>
                  </a:cubicBezTo>
                  <a:cubicBezTo>
                    <a:pt x="498" y="1874"/>
                    <a:pt x="498" y="1874"/>
                    <a:pt x="498" y="1874"/>
                  </a:cubicBezTo>
                  <a:cubicBezTo>
                    <a:pt x="523" y="1872"/>
                    <a:pt x="523" y="1872"/>
                    <a:pt x="523" y="1872"/>
                  </a:cubicBezTo>
                  <a:cubicBezTo>
                    <a:pt x="521" y="1860"/>
                    <a:pt x="521" y="1860"/>
                    <a:pt x="521" y="1860"/>
                  </a:cubicBezTo>
                  <a:cubicBezTo>
                    <a:pt x="537" y="1862"/>
                    <a:pt x="537" y="1862"/>
                    <a:pt x="537" y="1862"/>
                  </a:cubicBezTo>
                  <a:cubicBezTo>
                    <a:pt x="542" y="1850"/>
                    <a:pt x="542" y="1850"/>
                    <a:pt x="542" y="1850"/>
                  </a:cubicBezTo>
                  <a:cubicBezTo>
                    <a:pt x="527" y="1838"/>
                    <a:pt x="527" y="1838"/>
                    <a:pt x="527" y="1838"/>
                  </a:cubicBezTo>
                  <a:cubicBezTo>
                    <a:pt x="527" y="1838"/>
                    <a:pt x="507" y="1839"/>
                    <a:pt x="491" y="1837"/>
                  </a:cubicBezTo>
                  <a:cubicBezTo>
                    <a:pt x="475" y="1835"/>
                    <a:pt x="449" y="1842"/>
                    <a:pt x="449" y="1842"/>
                  </a:cubicBezTo>
                  <a:cubicBezTo>
                    <a:pt x="437" y="1830"/>
                    <a:pt x="437" y="1830"/>
                    <a:pt x="437" y="1830"/>
                  </a:cubicBezTo>
                  <a:cubicBezTo>
                    <a:pt x="413" y="1819"/>
                    <a:pt x="413" y="1819"/>
                    <a:pt x="413" y="1819"/>
                  </a:cubicBezTo>
                  <a:cubicBezTo>
                    <a:pt x="406" y="1808"/>
                    <a:pt x="406" y="1808"/>
                    <a:pt x="406" y="1808"/>
                  </a:cubicBezTo>
                  <a:cubicBezTo>
                    <a:pt x="392" y="1792"/>
                    <a:pt x="392" y="1792"/>
                    <a:pt x="392" y="1792"/>
                  </a:cubicBezTo>
                  <a:cubicBezTo>
                    <a:pt x="392" y="1792"/>
                    <a:pt x="398" y="1780"/>
                    <a:pt x="383" y="1767"/>
                  </a:cubicBezTo>
                  <a:cubicBezTo>
                    <a:pt x="368" y="1754"/>
                    <a:pt x="362" y="1772"/>
                    <a:pt x="352" y="1772"/>
                  </a:cubicBezTo>
                  <a:cubicBezTo>
                    <a:pt x="342" y="1772"/>
                    <a:pt x="338" y="1747"/>
                    <a:pt x="338" y="1747"/>
                  </a:cubicBezTo>
                  <a:cubicBezTo>
                    <a:pt x="318" y="1743"/>
                    <a:pt x="318" y="1743"/>
                    <a:pt x="318" y="1743"/>
                  </a:cubicBezTo>
                  <a:cubicBezTo>
                    <a:pt x="318" y="1743"/>
                    <a:pt x="320" y="1723"/>
                    <a:pt x="315" y="1718"/>
                  </a:cubicBezTo>
                  <a:cubicBezTo>
                    <a:pt x="310" y="1713"/>
                    <a:pt x="308" y="1697"/>
                    <a:pt x="308" y="1697"/>
                  </a:cubicBezTo>
                  <a:cubicBezTo>
                    <a:pt x="315" y="1693"/>
                    <a:pt x="315" y="1693"/>
                    <a:pt x="315" y="1693"/>
                  </a:cubicBezTo>
                  <a:cubicBezTo>
                    <a:pt x="316" y="1680"/>
                    <a:pt x="316" y="1680"/>
                    <a:pt x="316" y="1680"/>
                  </a:cubicBezTo>
                  <a:cubicBezTo>
                    <a:pt x="316" y="1680"/>
                    <a:pt x="331" y="1675"/>
                    <a:pt x="334" y="1670"/>
                  </a:cubicBezTo>
                  <a:cubicBezTo>
                    <a:pt x="337" y="1665"/>
                    <a:pt x="317" y="1650"/>
                    <a:pt x="317" y="1650"/>
                  </a:cubicBezTo>
                  <a:cubicBezTo>
                    <a:pt x="317" y="1650"/>
                    <a:pt x="333" y="1641"/>
                    <a:pt x="332" y="1638"/>
                  </a:cubicBezTo>
                  <a:cubicBezTo>
                    <a:pt x="331" y="1635"/>
                    <a:pt x="312" y="1624"/>
                    <a:pt x="312" y="1624"/>
                  </a:cubicBezTo>
                  <a:cubicBezTo>
                    <a:pt x="315" y="1594"/>
                    <a:pt x="315" y="1594"/>
                    <a:pt x="315" y="1594"/>
                  </a:cubicBezTo>
                  <a:cubicBezTo>
                    <a:pt x="326" y="1590"/>
                    <a:pt x="326" y="1590"/>
                    <a:pt x="326" y="1590"/>
                  </a:cubicBezTo>
                  <a:cubicBezTo>
                    <a:pt x="316" y="1573"/>
                    <a:pt x="316" y="1573"/>
                    <a:pt x="316" y="1573"/>
                  </a:cubicBezTo>
                  <a:cubicBezTo>
                    <a:pt x="319" y="1551"/>
                    <a:pt x="319" y="1551"/>
                    <a:pt x="319" y="1551"/>
                  </a:cubicBezTo>
                  <a:cubicBezTo>
                    <a:pt x="304" y="1533"/>
                    <a:pt x="304" y="1533"/>
                    <a:pt x="304" y="1533"/>
                  </a:cubicBezTo>
                  <a:cubicBezTo>
                    <a:pt x="307" y="1518"/>
                    <a:pt x="307" y="1518"/>
                    <a:pt x="307" y="1518"/>
                  </a:cubicBezTo>
                  <a:cubicBezTo>
                    <a:pt x="291" y="1506"/>
                    <a:pt x="291" y="1506"/>
                    <a:pt x="291" y="1506"/>
                  </a:cubicBezTo>
                  <a:cubicBezTo>
                    <a:pt x="291" y="1506"/>
                    <a:pt x="304" y="1495"/>
                    <a:pt x="307" y="1487"/>
                  </a:cubicBezTo>
                  <a:cubicBezTo>
                    <a:pt x="310" y="1479"/>
                    <a:pt x="287" y="1470"/>
                    <a:pt x="287" y="1470"/>
                  </a:cubicBezTo>
                  <a:cubicBezTo>
                    <a:pt x="287" y="1470"/>
                    <a:pt x="264" y="1463"/>
                    <a:pt x="263" y="1460"/>
                  </a:cubicBezTo>
                  <a:cubicBezTo>
                    <a:pt x="262" y="1457"/>
                    <a:pt x="294" y="1460"/>
                    <a:pt x="296" y="1449"/>
                  </a:cubicBezTo>
                  <a:cubicBezTo>
                    <a:pt x="298" y="1438"/>
                    <a:pt x="279" y="1443"/>
                    <a:pt x="272" y="1443"/>
                  </a:cubicBezTo>
                  <a:cubicBezTo>
                    <a:pt x="265" y="1443"/>
                    <a:pt x="260" y="1433"/>
                    <a:pt x="260" y="1433"/>
                  </a:cubicBezTo>
                  <a:cubicBezTo>
                    <a:pt x="260" y="1433"/>
                    <a:pt x="259" y="1416"/>
                    <a:pt x="258" y="1405"/>
                  </a:cubicBezTo>
                  <a:cubicBezTo>
                    <a:pt x="257" y="1394"/>
                    <a:pt x="241" y="1393"/>
                    <a:pt x="241" y="1393"/>
                  </a:cubicBezTo>
                  <a:cubicBezTo>
                    <a:pt x="245" y="1375"/>
                    <a:pt x="245" y="1375"/>
                    <a:pt x="245" y="1375"/>
                  </a:cubicBezTo>
                  <a:cubicBezTo>
                    <a:pt x="235" y="1370"/>
                    <a:pt x="235" y="1370"/>
                    <a:pt x="235" y="1370"/>
                  </a:cubicBezTo>
                  <a:cubicBezTo>
                    <a:pt x="235" y="1370"/>
                    <a:pt x="226" y="1366"/>
                    <a:pt x="223" y="1358"/>
                  </a:cubicBezTo>
                  <a:cubicBezTo>
                    <a:pt x="220" y="1350"/>
                    <a:pt x="215" y="1320"/>
                    <a:pt x="215" y="1320"/>
                  </a:cubicBezTo>
                  <a:cubicBezTo>
                    <a:pt x="215" y="1320"/>
                    <a:pt x="226" y="1311"/>
                    <a:pt x="231" y="1312"/>
                  </a:cubicBezTo>
                  <a:cubicBezTo>
                    <a:pt x="236" y="1313"/>
                    <a:pt x="207" y="1292"/>
                    <a:pt x="204" y="1286"/>
                  </a:cubicBezTo>
                  <a:cubicBezTo>
                    <a:pt x="201" y="1280"/>
                    <a:pt x="201" y="1261"/>
                    <a:pt x="201" y="1261"/>
                  </a:cubicBezTo>
                  <a:cubicBezTo>
                    <a:pt x="201" y="1261"/>
                    <a:pt x="194" y="1250"/>
                    <a:pt x="193" y="1244"/>
                  </a:cubicBezTo>
                  <a:cubicBezTo>
                    <a:pt x="192" y="1238"/>
                    <a:pt x="197" y="1220"/>
                    <a:pt x="197" y="1220"/>
                  </a:cubicBezTo>
                  <a:cubicBezTo>
                    <a:pt x="183" y="1212"/>
                    <a:pt x="183" y="1212"/>
                    <a:pt x="183" y="1212"/>
                  </a:cubicBezTo>
                  <a:cubicBezTo>
                    <a:pt x="183" y="1212"/>
                    <a:pt x="188" y="1204"/>
                    <a:pt x="187" y="1196"/>
                  </a:cubicBezTo>
                  <a:cubicBezTo>
                    <a:pt x="186" y="1188"/>
                    <a:pt x="176" y="1183"/>
                    <a:pt x="176" y="1183"/>
                  </a:cubicBezTo>
                  <a:cubicBezTo>
                    <a:pt x="189" y="1174"/>
                    <a:pt x="189" y="1174"/>
                    <a:pt x="189" y="1174"/>
                  </a:cubicBezTo>
                  <a:cubicBezTo>
                    <a:pt x="181" y="1146"/>
                    <a:pt x="181" y="1146"/>
                    <a:pt x="181" y="1146"/>
                  </a:cubicBezTo>
                  <a:cubicBezTo>
                    <a:pt x="181" y="1146"/>
                    <a:pt x="195" y="1141"/>
                    <a:pt x="200" y="1132"/>
                  </a:cubicBezTo>
                  <a:cubicBezTo>
                    <a:pt x="205" y="1123"/>
                    <a:pt x="186" y="1114"/>
                    <a:pt x="186" y="1114"/>
                  </a:cubicBezTo>
                  <a:cubicBezTo>
                    <a:pt x="185" y="1102"/>
                    <a:pt x="185" y="1102"/>
                    <a:pt x="185" y="1102"/>
                  </a:cubicBezTo>
                  <a:cubicBezTo>
                    <a:pt x="165" y="1085"/>
                    <a:pt x="165" y="1085"/>
                    <a:pt x="165" y="1085"/>
                  </a:cubicBezTo>
                  <a:cubicBezTo>
                    <a:pt x="165" y="1085"/>
                    <a:pt x="165" y="1064"/>
                    <a:pt x="165" y="1057"/>
                  </a:cubicBezTo>
                  <a:cubicBezTo>
                    <a:pt x="165" y="1050"/>
                    <a:pt x="153" y="1017"/>
                    <a:pt x="153" y="1017"/>
                  </a:cubicBezTo>
                  <a:cubicBezTo>
                    <a:pt x="170" y="1016"/>
                    <a:pt x="170" y="1016"/>
                    <a:pt x="170" y="1016"/>
                  </a:cubicBezTo>
                  <a:cubicBezTo>
                    <a:pt x="172" y="1004"/>
                    <a:pt x="172" y="1004"/>
                    <a:pt x="172" y="1004"/>
                  </a:cubicBezTo>
                  <a:cubicBezTo>
                    <a:pt x="172" y="1004"/>
                    <a:pt x="176" y="993"/>
                    <a:pt x="175" y="983"/>
                  </a:cubicBezTo>
                  <a:cubicBezTo>
                    <a:pt x="174" y="973"/>
                    <a:pt x="157" y="955"/>
                    <a:pt x="157" y="955"/>
                  </a:cubicBezTo>
                  <a:cubicBezTo>
                    <a:pt x="166" y="954"/>
                    <a:pt x="166" y="954"/>
                    <a:pt x="166" y="954"/>
                  </a:cubicBezTo>
                  <a:cubicBezTo>
                    <a:pt x="166" y="954"/>
                    <a:pt x="167" y="915"/>
                    <a:pt x="167" y="911"/>
                  </a:cubicBezTo>
                  <a:cubicBezTo>
                    <a:pt x="167" y="907"/>
                    <a:pt x="176" y="900"/>
                    <a:pt x="179" y="894"/>
                  </a:cubicBezTo>
                  <a:cubicBezTo>
                    <a:pt x="182" y="888"/>
                    <a:pt x="167" y="869"/>
                    <a:pt x="167" y="869"/>
                  </a:cubicBezTo>
                  <a:cubicBezTo>
                    <a:pt x="165" y="844"/>
                    <a:pt x="165" y="844"/>
                    <a:pt x="165" y="844"/>
                  </a:cubicBezTo>
                  <a:cubicBezTo>
                    <a:pt x="165" y="844"/>
                    <a:pt x="161" y="846"/>
                    <a:pt x="149" y="843"/>
                  </a:cubicBezTo>
                  <a:cubicBezTo>
                    <a:pt x="137" y="840"/>
                    <a:pt x="145" y="821"/>
                    <a:pt x="145" y="821"/>
                  </a:cubicBezTo>
                  <a:cubicBezTo>
                    <a:pt x="142" y="815"/>
                    <a:pt x="142" y="815"/>
                    <a:pt x="142" y="815"/>
                  </a:cubicBezTo>
                  <a:cubicBezTo>
                    <a:pt x="134" y="794"/>
                    <a:pt x="134" y="794"/>
                    <a:pt x="134" y="794"/>
                  </a:cubicBezTo>
                  <a:cubicBezTo>
                    <a:pt x="121" y="784"/>
                    <a:pt x="121" y="784"/>
                    <a:pt x="121" y="784"/>
                  </a:cubicBezTo>
                  <a:cubicBezTo>
                    <a:pt x="121" y="784"/>
                    <a:pt x="123" y="775"/>
                    <a:pt x="125" y="771"/>
                  </a:cubicBezTo>
                  <a:cubicBezTo>
                    <a:pt x="127" y="767"/>
                    <a:pt x="104" y="752"/>
                    <a:pt x="104" y="752"/>
                  </a:cubicBezTo>
                  <a:cubicBezTo>
                    <a:pt x="104" y="752"/>
                    <a:pt x="102" y="735"/>
                    <a:pt x="102" y="730"/>
                  </a:cubicBezTo>
                  <a:cubicBezTo>
                    <a:pt x="102" y="725"/>
                    <a:pt x="112" y="724"/>
                    <a:pt x="112" y="724"/>
                  </a:cubicBezTo>
                  <a:cubicBezTo>
                    <a:pt x="109" y="685"/>
                    <a:pt x="109" y="685"/>
                    <a:pt x="109" y="685"/>
                  </a:cubicBezTo>
                  <a:cubicBezTo>
                    <a:pt x="109" y="685"/>
                    <a:pt x="118" y="690"/>
                    <a:pt x="123" y="685"/>
                  </a:cubicBezTo>
                  <a:cubicBezTo>
                    <a:pt x="128" y="680"/>
                    <a:pt x="105" y="635"/>
                    <a:pt x="104" y="631"/>
                  </a:cubicBezTo>
                  <a:cubicBezTo>
                    <a:pt x="103" y="627"/>
                    <a:pt x="112" y="619"/>
                    <a:pt x="114" y="615"/>
                  </a:cubicBezTo>
                  <a:cubicBezTo>
                    <a:pt x="116" y="611"/>
                    <a:pt x="111" y="586"/>
                    <a:pt x="111" y="576"/>
                  </a:cubicBezTo>
                  <a:cubicBezTo>
                    <a:pt x="111" y="566"/>
                    <a:pt x="129" y="558"/>
                    <a:pt x="130" y="553"/>
                  </a:cubicBezTo>
                  <a:cubicBezTo>
                    <a:pt x="131" y="548"/>
                    <a:pt x="137" y="510"/>
                    <a:pt x="137" y="510"/>
                  </a:cubicBezTo>
                  <a:cubicBezTo>
                    <a:pt x="137" y="510"/>
                    <a:pt x="159" y="509"/>
                    <a:pt x="162" y="498"/>
                  </a:cubicBezTo>
                  <a:cubicBezTo>
                    <a:pt x="165" y="487"/>
                    <a:pt x="134" y="476"/>
                    <a:pt x="134" y="476"/>
                  </a:cubicBezTo>
                  <a:cubicBezTo>
                    <a:pt x="134" y="476"/>
                    <a:pt x="151" y="464"/>
                    <a:pt x="152" y="454"/>
                  </a:cubicBezTo>
                  <a:cubicBezTo>
                    <a:pt x="153" y="444"/>
                    <a:pt x="134" y="436"/>
                    <a:pt x="129" y="429"/>
                  </a:cubicBezTo>
                  <a:cubicBezTo>
                    <a:pt x="124" y="422"/>
                    <a:pt x="134" y="413"/>
                    <a:pt x="143" y="404"/>
                  </a:cubicBezTo>
                  <a:cubicBezTo>
                    <a:pt x="152" y="395"/>
                    <a:pt x="125" y="401"/>
                    <a:pt x="124" y="387"/>
                  </a:cubicBezTo>
                  <a:cubicBezTo>
                    <a:pt x="123" y="373"/>
                    <a:pt x="178" y="349"/>
                    <a:pt x="178" y="349"/>
                  </a:cubicBezTo>
                  <a:cubicBezTo>
                    <a:pt x="184" y="293"/>
                    <a:pt x="184" y="293"/>
                    <a:pt x="184" y="293"/>
                  </a:cubicBezTo>
                  <a:cubicBezTo>
                    <a:pt x="177" y="282"/>
                    <a:pt x="177" y="282"/>
                    <a:pt x="177" y="282"/>
                  </a:cubicBezTo>
                  <a:cubicBezTo>
                    <a:pt x="170" y="284"/>
                    <a:pt x="161" y="285"/>
                    <a:pt x="153" y="284"/>
                  </a:cubicBezTo>
                  <a:cubicBezTo>
                    <a:pt x="141" y="283"/>
                    <a:pt x="142" y="257"/>
                    <a:pt x="142" y="257"/>
                  </a:cubicBezTo>
                  <a:cubicBezTo>
                    <a:pt x="129" y="241"/>
                    <a:pt x="129" y="241"/>
                    <a:pt x="129" y="241"/>
                  </a:cubicBezTo>
                  <a:cubicBezTo>
                    <a:pt x="129" y="241"/>
                    <a:pt x="131" y="211"/>
                    <a:pt x="129" y="200"/>
                  </a:cubicBezTo>
                  <a:cubicBezTo>
                    <a:pt x="126" y="189"/>
                    <a:pt x="97" y="178"/>
                    <a:pt x="97" y="178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97" y="161"/>
                    <a:pt x="92" y="158"/>
                    <a:pt x="88" y="148"/>
                  </a:cubicBezTo>
                  <a:cubicBezTo>
                    <a:pt x="84" y="139"/>
                    <a:pt x="99" y="127"/>
                    <a:pt x="99" y="127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96" y="110"/>
                    <a:pt x="100" y="98"/>
                  </a:cubicBezTo>
                  <a:cubicBezTo>
                    <a:pt x="104" y="86"/>
                    <a:pt x="68" y="74"/>
                    <a:pt x="68" y="74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35" y="21"/>
                    <a:pt x="23" y="30"/>
                  </a:cubicBezTo>
                  <a:cubicBezTo>
                    <a:pt x="16" y="36"/>
                    <a:pt x="7" y="42"/>
                    <a:pt x="1" y="46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13" y="99"/>
                    <a:pt x="19" y="119"/>
                  </a:cubicBezTo>
                  <a:cubicBezTo>
                    <a:pt x="25" y="139"/>
                    <a:pt x="24" y="169"/>
                    <a:pt x="24" y="182"/>
                  </a:cubicBezTo>
                  <a:cubicBezTo>
                    <a:pt x="24" y="195"/>
                    <a:pt x="32" y="206"/>
                    <a:pt x="33" y="229"/>
                  </a:cubicBezTo>
                  <a:cubicBezTo>
                    <a:pt x="34" y="253"/>
                    <a:pt x="34" y="290"/>
                    <a:pt x="34" y="290"/>
                  </a:cubicBezTo>
                  <a:cubicBezTo>
                    <a:pt x="20" y="298"/>
                    <a:pt x="20" y="298"/>
                    <a:pt x="20" y="298"/>
                  </a:cubicBezTo>
                  <a:cubicBezTo>
                    <a:pt x="23" y="318"/>
                    <a:pt x="23" y="318"/>
                    <a:pt x="23" y="318"/>
                  </a:cubicBezTo>
                  <a:cubicBezTo>
                    <a:pt x="38" y="327"/>
                    <a:pt x="38" y="327"/>
                    <a:pt x="38" y="327"/>
                  </a:cubicBezTo>
                  <a:cubicBezTo>
                    <a:pt x="32" y="389"/>
                    <a:pt x="32" y="389"/>
                    <a:pt x="32" y="389"/>
                  </a:cubicBezTo>
                  <a:cubicBezTo>
                    <a:pt x="47" y="417"/>
                    <a:pt x="47" y="417"/>
                    <a:pt x="47" y="417"/>
                  </a:cubicBezTo>
                  <a:cubicBezTo>
                    <a:pt x="36" y="430"/>
                    <a:pt x="36" y="430"/>
                    <a:pt x="36" y="430"/>
                  </a:cubicBezTo>
                  <a:cubicBezTo>
                    <a:pt x="42" y="472"/>
                    <a:pt x="42" y="472"/>
                    <a:pt x="42" y="472"/>
                  </a:cubicBezTo>
                  <a:cubicBezTo>
                    <a:pt x="42" y="472"/>
                    <a:pt x="49" y="475"/>
                    <a:pt x="51" y="492"/>
                  </a:cubicBezTo>
                  <a:cubicBezTo>
                    <a:pt x="53" y="508"/>
                    <a:pt x="42" y="509"/>
                    <a:pt x="42" y="509"/>
                  </a:cubicBezTo>
                  <a:cubicBezTo>
                    <a:pt x="40" y="531"/>
                    <a:pt x="40" y="531"/>
                    <a:pt x="40" y="531"/>
                  </a:cubicBezTo>
                  <a:cubicBezTo>
                    <a:pt x="47" y="540"/>
                    <a:pt x="47" y="540"/>
                    <a:pt x="47" y="540"/>
                  </a:cubicBezTo>
                  <a:cubicBezTo>
                    <a:pt x="47" y="540"/>
                    <a:pt x="40" y="545"/>
                    <a:pt x="34" y="559"/>
                  </a:cubicBezTo>
                  <a:cubicBezTo>
                    <a:pt x="28" y="573"/>
                    <a:pt x="40" y="571"/>
                    <a:pt x="40" y="571"/>
                  </a:cubicBezTo>
                  <a:cubicBezTo>
                    <a:pt x="40" y="571"/>
                    <a:pt x="44" y="580"/>
                    <a:pt x="44" y="591"/>
                  </a:cubicBezTo>
                  <a:cubicBezTo>
                    <a:pt x="44" y="602"/>
                    <a:pt x="33" y="599"/>
                    <a:pt x="33" y="619"/>
                  </a:cubicBezTo>
                  <a:cubicBezTo>
                    <a:pt x="33" y="640"/>
                    <a:pt x="49" y="638"/>
                    <a:pt x="52" y="648"/>
                  </a:cubicBezTo>
                  <a:cubicBezTo>
                    <a:pt x="56" y="657"/>
                    <a:pt x="52" y="681"/>
                    <a:pt x="52" y="681"/>
                  </a:cubicBezTo>
                  <a:cubicBezTo>
                    <a:pt x="52" y="681"/>
                    <a:pt x="45" y="679"/>
                    <a:pt x="40" y="681"/>
                  </a:cubicBezTo>
                  <a:cubicBezTo>
                    <a:pt x="36" y="683"/>
                    <a:pt x="40" y="700"/>
                    <a:pt x="47" y="720"/>
                  </a:cubicBezTo>
                  <a:cubicBezTo>
                    <a:pt x="55" y="740"/>
                    <a:pt x="66" y="770"/>
                    <a:pt x="66" y="770"/>
                  </a:cubicBezTo>
                  <a:cubicBezTo>
                    <a:pt x="66" y="770"/>
                    <a:pt x="69" y="784"/>
                    <a:pt x="76" y="790"/>
                  </a:cubicBezTo>
                  <a:cubicBezTo>
                    <a:pt x="83" y="796"/>
                    <a:pt x="79" y="826"/>
                    <a:pt x="79" y="826"/>
                  </a:cubicBezTo>
                  <a:cubicBezTo>
                    <a:pt x="76" y="845"/>
                    <a:pt x="76" y="845"/>
                    <a:pt x="76" y="845"/>
                  </a:cubicBezTo>
                  <a:cubicBezTo>
                    <a:pt x="92" y="862"/>
                    <a:pt x="92" y="862"/>
                    <a:pt x="92" y="862"/>
                  </a:cubicBezTo>
                  <a:cubicBezTo>
                    <a:pt x="92" y="862"/>
                    <a:pt x="82" y="889"/>
                    <a:pt x="82" y="903"/>
                  </a:cubicBezTo>
                  <a:cubicBezTo>
                    <a:pt x="82" y="917"/>
                    <a:pt x="82" y="947"/>
                    <a:pt x="82" y="947"/>
                  </a:cubicBezTo>
                  <a:cubicBezTo>
                    <a:pt x="66" y="972"/>
                    <a:pt x="66" y="972"/>
                    <a:pt x="66" y="972"/>
                  </a:cubicBezTo>
                  <a:cubicBezTo>
                    <a:pt x="76" y="979"/>
                    <a:pt x="76" y="979"/>
                    <a:pt x="76" y="979"/>
                  </a:cubicBezTo>
                  <a:cubicBezTo>
                    <a:pt x="76" y="979"/>
                    <a:pt x="72" y="995"/>
                    <a:pt x="72" y="1004"/>
                  </a:cubicBezTo>
                  <a:cubicBezTo>
                    <a:pt x="72" y="1012"/>
                    <a:pt x="66" y="1056"/>
                    <a:pt x="66" y="1056"/>
                  </a:cubicBezTo>
                  <a:cubicBezTo>
                    <a:pt x="56" y="1058"/>
                    <a:pt x="56" y="1058"/>
                    <a:pt x="56" y="1058"/>
                  </a:cubicBezTo>
                  <a:cubicBezTo>
                    <a:pt x="56" y="1072"/>
                    <a:pt x="56" y="1072"/>
                    <a:pt x="56" y="1072"/>
                  </a:cubicBezTo>
                  <a:cubicBezTo>
                    <a:pt x="72" y="1102"/>
                    <a:pt x="72" y="1102"/>
                    <a:pt x="72" y="1102"/>
                  </a:cubicBezTo>
                  <a:cubicBezTo>
                    <a:pt x="72" y="1102"/>
                    <a:pt x="72" y="1121"/>
                    <a:pt x="72" y="1131"/>
                  </a:cubicBezTo>
                  <a:cubicBezTo>
                    <a:pt x="72" y="1142"/>
                    <a:pt x="95" y="1149"/>
                    <a:pt x="101" y="1165"/>
                  </a:cubicBezTo>
                  <a:cubicBezTo>
                    <a:pt x="107" y="1180"/>
                    <a:pt x="98" y="1218"/>
                    <a:pt x="98" y="1218"/>
                  </a:cubicBezTo>
                  <a:cubicBezTo>
                    <a:pt x="107" y="1225"/>
                    <a:pt x="107" y="1225"/>
                    <a:pt x="107" y="1225"/>
                  </a:cubicBezTo>
                  <a:cubicBezTo>
                    <a:pt x="107" y="1225"/>
                    <a:pt x="107" y="1254"/>
                    <a:pt x="107" y="1266"/>
                  </a:cubicBezTo>
                  <a:cubicBezTo>
                    <a:pt x="107" y="1278"/>
                    <a:pt x="134" y="1286"/>
                    <a:pt x="134" y="1286"/>
                  </a:cubicBezTo>
                  <a:cubicBezTo>
                    <a:pt x="129" y="1299"/>
                    <a:pt x="129" y="1299"/>
                    <a:pt x="129" y="1299"/>
                  </a:cubicBezTo>
                  <a:cubicBezTo>
                    <a:pt x="156" y="1299"/>
                    <a:pt x="156" y="1299"/>
                    <a:pt x="156" y="1299"/>
                  </a:cubicBezTo>
                  <a:cubicBezTo>
                    <a:pt x="156" y="1279"/>
                    <a:pt x="156" y="1279"/>
                    <a:pt x="156" y="1279"/>
                  </a:cubicBezTo>
                  <a:cubicBezTo>
                    <a:pt x="156" y="1279"/>
                    <a:pt x="169" y="1289"/>
                    <a:pt x="177" y="1290"/>
                  </a:cubicBezTo>
                  <a:cubicBezTo>
                    <a:pt x="186" y="1291"/>
                    <a:pt x="186" y="1277"/>
                    <a:pt x="186" y="1277"/>
                  </a:cubicBezTo>
                  <a:cubicBezTo>
                    <a:pt x="192" y="1290"/>
                    <a:pt x="192" y="1290"/>
                    <a:pt x="192" y="1290"/>
                  </a:cubicBezTo>
                  <a:cubicBezTo>
                    <a:pt x="192" y="1290"/>
                    <a:pt x="175" y="1300"/>
                    <a:pt x="173" y="1311"/>
                  </a:cubicBezTo>
                  <a:cubicBezTo>
                    <a:pt x="170" y="1322"/>
                    <a:pt x="186" y="1310"/>
                    <a:pt x="193" y="1313"/>
                  </a:cubicBezTo>
                  <a:cubicBezTo>
                    <a:pt x="200" y="1317"/>
                    <a:pt x="198" y="1330"/>
                    <a:pt x="198" y="1330"/>
                  </a:cubicBezTo>
                  <a:cubicBezTo>
                    <a:pt x="179" y="1328"/>
                    <a:pt x="179" y="1328"/>
                    <a:pt x="179" y="1328"/>
                  </a:cubicBezTo>
                  <a:cubicBezTo>
                    <a:pt x="190" y="1341"/>
                    <a:pt x="190" y="1341"/>
                    <a:pt x="190" y="1341"/>
                  </a:cubicBezTo>
                  <a:cubicBezTo>
                    <a:pt x="183" y="1349"/>
                    <a:pt x="183" y="1349"/>
                    <a:pt x="183" y="1349"/>
                  </a:cubicBezTo>
                  <a:cubicBezTo>
                    <a:pt x="195" y="1367"/>
                    <a:pt x="195" y="1367"/>
                    <a:pt x="195" y="1367"/>
                  </a:cubicBezTo>
                  <a:cubicBezTo>
                    <a:pt x="195" y="1367"/>
                    <a:pt x="188" y="1375"/>
                    <a:pt x="181" y="1384"/>
                  </a:cubicBezTo>
                  <a:cubicBezTo>
                    <a:pt x="174" y="1394"/>
                    <a:pt x="212" y="1403"/>
                    <a:pt x="212" y="1403"/>
                  </a:cubicBezTo>
                  <a:cubicBezTo>
                    <a:pt x="212" y="1403"/>
                    <a:pt x="205" y="1409"/>
                    <a:pt x="200" y="1413"/>
                  </a:cubicBezTo>
                  <a:cubicBezTo>
                    <a:pt x="195" y="1416"/>
                    <a:pt x="202" y="1427"/>
                    <a:pt x="212" y="1432"/>
                  </a:cubicBezTo>
                  <a:cubicBezTo>
                    <a:pt x="221" y="1436"/>
                    <a:pt x="234" y="1433"/>
                    <a:pt x="234" y="1433"/>
                  </a:cubicBezTo>
                  <a:cubicBezTo>
                    <a:pt x="239" y="1457"/>
                    <a:pt x="239" y="1457"/>
                    <a:pt x="239" y="1457"/>
                  </a:cubicBezTo>
                  <a:cubicBezTo>
                    <a:pt x="239" y="1457"/>
                    <a:pt x="219" y="1470"/>
                    <a:pt x="214" y="1477"/>
                  </a:cubicBezTo>
                  <a:cubicBezTo>
                    <a:pt x="209" y="1484"/>
                    <a:pt x="228" y="1485"/>
                    <a:pt x="228" y="1485"/>
                  </a:cubicBezTo>
                  <a:cubicBezTo>
                    <a:pt x="228" y="1485"/>
                    <a:pt x="252" y="1490"/>
                    <a:pt x="252" y="1497"/>
                  </a:cubicBezTo>
                  <a:cubicBezTo>
                    <a:pt x="252" y="1504"/>
                    <a:pt x="237" y="1498"/>
                    <a:pt x="227" y="1493"/>
                  </a:cubicBezTo>
                  <a:cubicBezTo>
                    <a:pt x="218" y="1488"/>
                    <a:pt x="216" y="1503"/>
                    <a:pt x="216" y="1503"/>
                  </a:cubicBezTo>
                  <a:cubicBezTo>
                    <a:pt x="235" y="1507"/>
                    <a:pt x="235" y="1507"/>
                    <a:pt x="235" y="1507"/>
                  </a:cubicBezTo>
                  <a:cubicBezTo>
                    <a:pt x="221" y="1514"/>
                    <a:pt x="221" y="1514"/>
                    <a:pt x="221" y="1514"/>
                  </a:cubicBezTo>
                  <a:cubicBezTo>
                    <a:pt x="222" y="1531"/>
                    <a:pt x="222" y="1531"/>
                    <a:pt x="222" y="1531"/>
                  </a:cubicBezTo>
                  <a:cubicBezTo>
                    <a:pt x="222" y="1531"/>
                    <a:pt x="238" y="1523"/>
                    <a:pt x="231" y="1544"/>
                  </a:cubicBezTo>
                  <a:cubicBezTo>
                    <a:pt x="224" y="1565"/>
                    <a:pt x="214" y="1535"/>
                    <a:pt x="214" y="1535"/>
                  </a:cubicBezTo>
                  <a:cubicBezTo>
                    <a:pt x="190" y="1536"/>
                    <a:pt x="190" y="1536"/>
                    <a:pt x="190" y="1536"/>
                  </a:cubicBezTo>
                  <a:cubicBezTo>
                    <a:pt x="206" y="1529"/>
                    <a:pt x="206" y="1529"/>
                    <a:pt x="206" y="1529"/>
                  </a:cubicBezTo>
                  <a:cubicBezTo>
                    <a:pt x="206" y="1529"/>
                    <a:pt x="189" y="1511"/>
                    <a:pt x="186" y="1512"/>
                  </a:cubicBezTo>
                  <a:cubicBezTo>
                    <a:pt x="182" y="1513"/>
                    <a:pt x="185" y="1522"/>
                    <a:pt x="185" y="1522"/>
                  </a:cubicBezTo>
                  <a:cubicBezTo>
                    <a:pt x="179" y="1516"/>
                    <a:pt x="179" y="1516"/>
                    <a:pt x="179" y="1516"/>
                  </a:cubicBezTo>
                  <a:cubicBezTo>
                    <a:pt x="154" y="1523"/>
                    <a:pt x="154" y="1523"/>
                    <a:pt x="154" y="1523"/>
                  </a:cubicBezTo>
                  <a:cubicBezTo>
                    <a:pt x="176" y="1528"/>
                    <a:pt x="176" y="1528"/>
                    <a:pt x="176" y="1528"/>
                  </a:cubicBezTo>
                  <a:cubicBezTo>
                    <a:pt x="176" y="1528"/>
                    <a:pt x="172" y="1531"/>
                    <a:pt x="168" y="1537"/>
                  </a:cubicBezTo>
                  <a:cubicBezTo>
                    <a:pt x="164" y="1543"/>
                    <a:pt x="148" y="1549"/>
                    <a:pt x="147" y="1558"/>
                  </a:cubicBezTo>
                  <a:cubicBezTo>
                    <a:pt x="146" y="1568"/>
                    <a:pt x="166" y="1572"/>
                    <a:pt x="169" y="1570"/>
                  </a:cubicBezTo>
                  <a:cubicBezTo>
                    <a:pt x="173" y="1568"/>
                    <a:pt x="161" y="1559"/>
                    <a:pt x="161" y="1559"/>
                  </a:cubicBezTo>
                  <a:cubicBezTo>
                    <a:pt x="176" y="1556"/>
                    <a:pt x="176" y="1556"/>
                    <a:pt x="176" y="1556"/>
                  </a:cubicBezTo>
                  <a:cubicBezTo>
                    <a:pt x="176" y="1556"/>
                    <a:pt x="183" y="1561"/>
                    <a:pt x="187" y="1565"/>
                  </a:cubicBezTo>
                  <a:cubicBezTo>
                    <a:pt x="190" y="1570"/>
                    <a:pt x="214" y="1567"/>
                    <a:pt x="214" y="1567"/>
                  </a:cubicBezTo>
                  <a:cubicBezTo>
                    <a:pt x="214" y="1567"/>
                    <a:pt x="229" y="1574"/>
                    <a:pt x="235" y="1582"/>
                  </a:cubicBezTo>
                  <a:cubicBezTo>
                    <a:pt x="241" y="1590"/>
                    <a:pt x="222" y="1598"/>
                    <a:pt x="222" y="1598"/>
                  </a:cubicBezTo>
                  <a:cubicBezTo>
                    <a:pt x="228" y="1608"/>
                    <a:pt x="228" y="1608"/>
                    <a:pt x="228" y="1608"/>
                  </a:cubicBezTo>
                  <a:cubicBezTo>
                    <a:pt x="240" y="1604"/>
                    <a:pt x="240" y="1604"/>
                    <a:pt x="240" y="1604"/>
                  </a:cubicBezTo>
                  <a:cubicBezTo>
                    <a:pt x="240" y="1615"/>
                    <a:pt x="240" y="1615"/>
                    <a:pt x="240" y="1615"/>
                  </a:cubicBezTo>
                  <a:cubicBezTo>
                    <a:pt x="252" y="1620"/>
                    <a:pt x="252" y="1620"/>
                    <a:pt x="252" y="1620"/>
                  </a:cubicBezTo>
                  <a:cubicBezTo>
                    <a:pt x="257" y="1604"/>
                    <a:pt x="257" y="1604"/>
                    <a:pt x="257" y="1604"/>
                  </a:cubicBezTo>
                  <a:cubicBezTo>
                    <a:pt x="266" y="1620"/>
                    <a:pt x="266" y="1620"/>
                    <a:pt x="266" y="1620"/>
                  </a:cubicBezTo>
                  <a:cubicBezTo>
                    <a:pt x="266" y="1620"/>
                    <a:pt x="285" y="1620"/>
                    <a:pt x="283" y="1634"/>
                  </a:cubicBezTo>
                  <a:cubicBezTo>
                    <a:pt x="280" y="1648"/>
                    <a:pt x="258" y="1632"/>
                    <a:pt x="250" y="1630"/>
                  </a:cubicBezTo>
                  <a:cubicBezTo>
                    <a:pt x="241" y="1629"/>
                    <a:pt x="248" y="1643"/>
                    <a:pt x="248" y="1643"/>
                  </a:cubicBezTo>
                  <a:cubicBezTo>
                    <a:pt x="248" y="1643"/>
                    <a:pt x="269" y="1650"/>
                    <a:pt x="270" y="1665"/>
                  </a:cubicBezTo>
                  <a:cubicBezTo>
                    <a:pt x="271" y="1679"/>
                    <a:pt x="256" y="1674"/>
                    <a:pt x="256" y="1674"/>
                  </a:cubicBezTo>
                  <a:cubicBezTo>
                    <a:pt x="265" y="1686"/>
                    <a:pt x="265" y="1686"/>
                    <a:pt x="265" y="1686"/>
                  </a:cubicBezTo>
                  <a:cubicBezTo>
                    <a:pt x="274" y="1710"/>
                    <a:pt x="274" y="1710"/>
                    <a:pt x="274" y="1710"/>
                  </a:cubicBezTo>
                  <a:cubicBezTo>
                    <a:pt x="283" y="1681"/>
                    <a:pt x="283" y="1681"/>
                    <a:pt x="283" y="1681"/>
                  </a:cubicBezTo>
                  <a:cubicBezTo>
                    <a:pt x="283" y="1701"/>
                    <a:pt x="283" y="1701"/>
                    <a:pt x="283" y="1701"/>
                  </a:cubicBezTo>
                  <a:cubicBezTo>
                    <a:pt x="296" y="1717"/>
                    <a:pt x="296" y="1717"/>
                    <a:pt x="296" y="1717"/>
                  </a:cubicBezTo>
                  <a:cubicBezTo>
                    <a:pt x="280" y="1717"/>
                    <a:pt x="280" y="1717"/>
                    <a:pt x="280" y="1717"/>
                  </a:cubicBezTo>
                  <a:cubicBezTo>
                    <a:pt x="283" y="1730"/>
                    <a:pt x="283" y="1730"/>
                    <a:pt x="283" y="1730"/>
                  </a:cubicBezTo>
                  <a:cubicBezTo>
                    <a:pt x="298" y="1731"/>
                    <a:pt x="298" y="1731"/>
                    <a:pt x="298" y="1731"/>
                  </a:cubicBezTo>
                  <a:cubicBezTo>
                    <a:pt x="289" y="1739"/>
                    <a:pt x="289" y="1739"/>
                    <a:pt x="289" y="1739"/>
                  </a:cubicBezTo>
                  <a:cubicBezTo>
                    <a:pt x="309" y="1745"/>
                    <a:pt x="309" y="1745"/>
                    <a:pt x="309" y="1745"/>
                  </a:cubicBezTo>
                  <a:cubicBezTo>
                    <a:pt x="296" y="1753"/>
                    <a:pt x="296" y="1753"/>
                    <a:pt x="296" y="1753"/>
                  </a:cubicBezTo>
                  <a:cubicBezTo>
                    <a:pt x="315" y="1760"/>
                    <a:pt x="315" y="1760"/>
                    <a:pt x="315" y="1760"/>
                  </a:cubicBezTo>
                  <a:cubicBezTo>
                    <a:pt x="310" y="1770"/>
                    <a:pt x="310" y="1770"/>
                    <a:pt x="310" y="1770"/>
                  </a:cubicBezTo>
                  <a:cubicBezTo>
                    <a:pt x="322" y="1773"/>
                    <a:pt x="322" y="1773"/>
                    <a:pt x="322" y="1773"/>
                  </a:cubicBezTo>
                  <a:cubicBezTo>
                    <a:pt x="322" y="1773"/>
                    <a:pt x="324" y="1750"/>
                    <a:pt x="331" y="1762"/>
                  </a:cubicBezTo>
                  <a:cubicBezTo>
                    <a:pt x="338" y="1773"/>
                    <a:pt x="329" y="1779"/>
                    <a:pt x="323" y="1783"/>
                  </a:cubicBezTo>
                  <a:cubicBezTo>
                    <a:pt x="317" y="1786"/>
                    <a:pt x="323" y="1794"/>
                    <a:pt x="323" y="1794"/>
                  </a:cubicBezTo>
                  <a:cubicBezTo>
                    <a:pt x="343" y="1795"/>
                    <a:pt x="343" y="1795"/>
                    <a:pt x="343" y="1795"/>
                  </a:cubicBezTo>
                  <a:cubicBezTo>
                    <a:pt x="343" y="1795"/>
                    <a:pt x="344" y="1805"/>
                    <a:pt x="350" y="1810"/>
                  </a:cubicBezTo>
                  <a:cubicBezTo>
                    <a:pt x="356" y="1815"/>
                    <a:pt x="373" y="1824"/>
                    <a:pt x="373" y="1824"/>
                  </a:cubicBezTo>
                  <a:cubicBezTo>
                    <a:pt x="370" y="1802"/>
                    <a:pt x="370" y="1802"/>
                    <a:pt x="370" y="1802"/>
                  </a:cubicBezTo>
                  <a:cubicBezTo>
                    <a:pt x="370" y="1802"/>
                    <a:pt x="391" y="1810"/>
                    <a:pt x="407" y="1821"/>
                  </a:cubicBezTo>
                  <a:cubicBezTo>
                    <a:pt x="422" y="1831"/>
                    <a:pt x="409" y="1841"/>
                    <a:pt x="409" y="1841"/>
                  </a:cubicBezTo>
                  <a:cubicBezTo>
                    <a:pt x="420" y="1848"/>
                    <a:pt x="420" y="1848"/>
                    <a:pt x="420" y="1848"/>
                  </a:cubicBezTo>
                  <a:cubicBezTo>
                    <a:pt x="419" y="1861"/>
                    <a:pt x="419" y="1861"/>
                    <a:pt x="419" y="1861"/>
                  </a:cubicBezTo>
                  <a:cubicBezTo>
                    <a:pt x="458" y="1861"/>
                    <a:pt x="458" y="1861"/>
                    <a:pt x="458" y="1861"/>
                  </a:cubicBezTo>
                  <a:cubicBezTo>
                    <a:pt x="462" y="1868"/>
                    <a:pt x="462" y="1868"/>
                    <a:pt x="462" y="1868"/>
                  </a:cubicBezTo>
                  <a:cubicBezTo>
                    <a:pt x="442" y="1868"/>
                    <a:pt x="442" y="1868"/>
                    <a:pt x="442" y="1868"/>
                  </a:cubicBezTo>
                  <a:cubicBezTo>
                    <a:pt x="434" y="1876"/>
                    <a:pt x="434" y="1876"/>
                    <a:pt x="434" y="1876"/>
                  </a:cubicBezTo>
                  <a:cubicBezTo>
                    <a:pt x="421" y="1877"/>
                    <a:pt x="421" y="1877"/>
                    <a:pt x="421" y="1877"/>
                  </a:cubicBezTo>
                  <a:cubicBezTo>
                    <a:pt x="410" y="1889"/>
                    <a:pt x="410" y="1889"/>
                    <a:pt x="410" y="1889"/>
                  </a:cubicBezTo>
                  <a:cubicBezTo>
                    <a:pt x="430" y="1892"/>
                    <a:pt x="430" y="1892"/>
                    <a:pt x="430" y="1892"/>
                  </a:cubicBezTo>
                  <a:cubicBezTo>
                    <a:pt x="426" y="1902"/>
                    <a:pt x="426" y="1902"/>
                    <a:pt x="426" y="1902"/>
                  </a:cubicBezTo>
                  <a:cubicBezTo>
                    <a:pt x="442" y="1900"/>
                    <a:pt x="442" y="1900"/>
                    <a:pt x="442" y="1900"/>
                  </a:cubicBezTo>
                  <a:cubicBezTo>
                    <a:pt x="444" y="1887"/>
                    <a:pt x="444" y="1887"/>
                    <a:pt x="444" y="1887"/>
                  </a:cubicBezTo>
                  <a:cubicBezTo>
                    <a:pt x="459" y="1893"/>
                    <a:pt x="459" y="1893"/>
                    <a:pt x="459" y="1893"/>
                  </a:cubicBezTo>
                  <a:cubicBezTo>
                    <a:pt x="459" y="1893"/>
                    <a:pt x="477" y="1868"/>
                    <a:pt x="486" y="1875"/>
                  </a:cubicBezTo>
                  <a:cubicBezTo>
                    <a:pt x="496" y="1882"/>
                    <a:pt x="467" y="1907"/>
                    <a:pt x="467" y="1907"/>
                  </a:cubicBezTo>
                  <a:cubicBezTo>
                    <a:pt x="467" y="1907"/>
                    <a:pt x="464" y="1900"/>
                    <a:pt x="455" y="1901"/>
                  </a:cubicBezTo>
                  <a:cubicBezTo>
                    <a:pt x="447" y="1902"/>
                    <a:pt x="452" y="1913"/>
                    <a:pt x="452" y="1913"/>
                  </a:cubicBezTo>
                  <a:cubicBezTo>
                    <a:pt x="440" y="1913"/>
                    <a:pt x="440" y="1913"/>
                    <a:pt x="440" y="1913"/>
                  </a:cubicBezTo>
                  <a:cubicBezTo>
                    <a:pt x="431" y="1910"/>
                    <a:pt x="419" y="1921"/>
                    <a:pt x="419" y="1921"/>
                  </a:cubicBezTo>
                  <a:cubicBezTo>
                    <a:pt x="428" y="1927"/>
                    <a:pt x="428" y="1927"/>
                    <a:pt x="428" y="1927"/>
                  </a:cubicBezTo>
                  <a:cubicBezTo>
                    <a:pt x="430" y="1945"/>
                    <a:pt x="430" y="1945"/>
                    <a:pt x="430" y="1945"/>
                  </a:cubicBezTo>
                  <a:cubicBezTo>
                    <a:pt x="450" y="1935"/>
                    <a:pt x="450" y="1935"/>
                    <a:pt x="450" y="1935"/>
                  </a:cubicBezTo>
                  <a:cubicBezTo>
                    <a:pt x="450" y="1935"/>
                    <a:pt x="455" y="1946"/>
                    <a:pt x="461" y="1945"/>
                  </a:cubicBezTo>
                  <a:cubicBezTo>
                    <a:pt x="466" y="1944"/>
                    <a:pt x="467" y="1924"/>
                    <a:pt x="476" y="1919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Freeform 326">
              <a:extLst>
                <a:ext uri="{FF2B5EF4-FFF2-40B4-BE49-F238E27FC236}">
                  <a16:creationId xmlns:a16="http://schemas.microsoft.com/office/drawing/2014/main" id="{E0DB0657-D838-E183-2AE4-9253F6E02E60}"/>
                </a:ext>
              </a:extLst>
            </p:cNvPr>
            <p:cNvSpPr>
              <a:spLocks/>
            </p:cNvSpPr>
            <p:nvPr/>
          </p:nvSpPr>
          <p:spPr bwMode="gray">
            <a:xfrm>
              <a:off x="-14398" y="-12507"/>
              <a:ext cx="406" cy="262"/>
            </a:xfrm>
            <a:custGeom>
              <a:avLst/>
              <a:gdLst>
                <a:gd name="T0" fmla="*/ 165 w 172"/>
                <a:gd name="T1" fmla="*/ 68 h 111"/>
                <a:gd name="T2" fmla="*/ 128 w 172"/>
                <a:gd name="T3" fmla="*/ 43 h 111"/>
                <a:gd name="T4" fmla="*/ 97 w 172"/>
                <a:gd name="T5" fmla="*/ 32 h 111"/>
                <a:gd name="T6" fmla="*/ 75 w 172"/>
                <a:gd name="T7" fmla="*/ 5 h 111"/>
                <a:gd name="T8" fmla="*/ 29 w 172"/>
                <a:gd name="T9" fmla="*/ 0 h 111"/>
                <a:gd name="T10" fmla="*/ 15 w 172"/>
                <a:gd name="T11" fmla="*/ 4 h 111"/>
                <a:gd name="T12" fmla="*/ 21 w 172"/>
                <a:gd name="T13" fmla="*/ 26 h 111"/>
                <a:gd name="T14" fmla="*/ 14 w 172"/>
                <a:gd name="T15" fmla="*/ 48 h 111"/>
                <a:gd name="T16" fmla="*/ 3 w 172"/>
                <a:gd name="T17" fmla="*/ 73 h 111"/>
                <a:gd name="T18" fmla="*/ 10 w 172"/>
                <a:gd name="T19" fmla="*/ 97 h 111"/>
                <a:gd name="T20" fmla="*/ 0 w 172"/>
                <a:gd name="T21" fmla="*/ 84 h 111"/>
                <a:gd name="T22" fmla="*/ 23 w 172"/>
                <a:gd name="T23" fmla="*/ 111 h 111"/>
                <a:gd name="T24" fmla="*/ 56 w 172"/>
                <a:gd name="T25" fmla="*/ 87 h 111"/>
                <a:gd name="T26" fmla="*/ 118 w 172"/>
                <a:gd name="T27" fmla="*/ 89 h 111"/>
                <a:gd name="T28" fmla="*/ 161 w 172"/>
                <a:gd name="T29" fmla="*/ 89 h 111"/>
                <a:gd name="T30" fmla="*/ 165 w 172"/>
                <a:gd name="T31" fmla="*/ 68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2" h="111">
                  <a:moveTo>
                    <a:pt x="165" y="68"/>
                  </a:moveTo>
                  <a:cubicBezTo>
                    <a:pt x="165" y="68"/>
                    <a:pt x="143" y="49"/>
                    <a:pt x="128" y="43"/>
                  </a:cubicBezTo>
                  <a:cubicBezTo>
                    <a:pt x="114" y="38"/>
                    <a:pt x="108" y="36"/>
                    <a:pt x="97" y="32"/>
                  </a:cubicBezTo>
                  <a:cubicBezTo>
                    <a:pt x="87" y="28"/>
                    <a:pt x="81" y="9"/>
                    <a:pt x="75" y="5"/>
                  </a:cubicBezTo>
                  <a:cubicBezTo>
                    <a:pt x="69" y="2"/>
                    <a:pt x="46" y="0"/>
                    <a:pt x="29" y="0"/>
                  </a:cubicBezTo>
                  <a:cubicBezTo>
                    <a:pt x="22" y="0"/>
                    <a:pt x="18" y="2"/>
                    <a:pt x="15" y="4"/>
                  </a:cubicBezTo>
                  <a:cubicBezTo>
                    <a:pt x="17" y="10"/>
                    <a:pt x="21" y="20"/>
                    <a:pt x="21" y="26"/>
                  </a:cubicBezTo>
                  <a:cubicBezTo>
                    <a:pt x="20" y="36"/>
                    <a:pt x="16" y="39"/>
                    <a:pt x="14" y="48"/>
                  </a:cubicBezTo>
                  <a:cubicBezTo>
                    <a:pt x="11" y="57"/>
                    <a:pt x="3" y="73"/>
                    <a:pt x="3" y="73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85" y="87"/>
                    <a:pt x="118" y="89"/>
                  </a:cubicBezTo>
                  <a:cubicBezTo>
                    <a:pt x="131" y="90"/>
                    <a:pt x="153" y="93"/>
                    <a:pt x="161" y="89"/>
                  </a:cubicBezTo>
                  <a:cubicBezTo>
                    <a:pt x="172" y="83"/>
                    <a:pt x="165" y="68"/>
                    <a:pt x="165" y="68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Freeform 327">
              <a:extLst>
                <a:ext uri="{FF2B5EF4-FFF2-40B4-BE49-F238E27FC236}">
                  <a16:creationId xmlns:a16="http://schemas.microsoft.com/office/drawing/2014/main" id="{87A2CAB8-C3D9-86AF-4050-05E46304E860}"/>
                </a:ext>
              </a:extLst>
            </p:cNvPr>
            <p:cNvSpPr>
              <a:spLocks/>
            </p:cNvSpPr>
            <p:nvPr/>
          </p:nvSpPr>
          <p:spPr bwMode="gray">
            <a:xfrm>
              <a:off x="-14660" y="-12510"/>
              <a:ext cx="311" cy="251"/>
            </a:xfrm>
            <a:custGeom>
              <a:avLst/>
              <a:gdLst>
                <a:gd name="T0" fmla="*/ 114 w 132"/>
                <a:gd name="T1" fmla="*/ 74 h 106"/>
                <a:gd name="T2" fmla="*/ 125 w 132"/>
                <a:gd name="T3" fmla="*/ 49 h 106"/>
                <a:gd name="T4" fmla="*/ 132 w 132"/>
                <a:gd name="T5" fmla="*/ 27 h 106"/>
                <a:gd name="T6" fmla="*/ 126 w 132"/>
                <a:gd name="T7" fmla="*/ 5 h 106"/>
                <a:gd name="T8" fmla="*/ 120 w 132"/>
                <a:gd name="T9" fmla="*/ 12 h 106"/>
                <a:gd name="T10" fmla="*/ 70 w 132"/>
                <a:gd name="T11" fmla="*/ 0 h 106"/>
                <a:gd name="T12" fmla="*/ 43 w 132"/>
                <a:gd name="T13" fmla="*/ 10 h 106"/>
                <a:gd name="T14" fmla="*/ 68 w 132"/>
                <a:gd name="T15" fmla="*/ 17 h 106"/>
                <a:gd name="T16" fmla="*/ 87 w 132"/>
                <a:gd name="T17" fmla="*/ 31 h 106"/>
                <a:gd name="T18" fmla="*/ 74 w 132"/>
                <a:gd name="T19" fmla="*/ 49 h 106"/>
                <a:gd name="T20" fmla="*/ 72 w 132"/>
                <a:gd name="T21" fmla="*/ 70 h 106"/>
                <a:gd name="T22" fmla="*/ 31 w 132"/>
                <a:gd name="T23" fmla="*/ 64 h 106"/>
                <a:gd name="T24" fmla="*/ 0 w 132"/>
                <a:gd name="T25" fmla="*/ 72 h 106"/>
                <a:gd name="T26" fmla="*/ 26 w 132"/>
                <a:gd name="T27" fmla="*/ 102 h 106"/>
                <a:gd name="T28" fmla="*/ 43 w 132"/>
                <a:gd name="T29" fmla="*/ 87 h 106"/>
                <a:gd name="T30" fmla="*/ 74 w 132"/>
                <a:gd name="T31" fmla="*/ 89 h 106"/>
                <a:gd name="T32" fmla="*/ 111 w 132"/>
                <a:gd name="T33" fmla="*/ 85 h 106"/>
                <a:gd name="T34" fmla="*/ 121 w 132"/>
                <a:gd name="T35" fmla="*/ 98 h 106"/>
                <a:gd name="T36" fmla="*/ 114 w 132"/>
                <a:gd name="T37" fmla="*/ 7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2" h="106">
                  <a:moveTo>
                    <a:pt x="114" y="74"/>
                  </a:moveTo>
                  <a:cubicBezTo>
                    <a:pt x="114" y="74"/>
                    <a:pt x="122" y="58"/>
                    <a:pt x="125" y="49"/>
                  </a:cubicBezTo>
                  <a:cubicBezTo>
                    <a:pt x="127" y="40"/>
                    <a:pt x="131" y="37"/>
                    <a:pt x="132" y="27"/>
                  </a:cubicBezTo>
                  <a:cubicBezTo>
                    <a:pt x="132" y="21"/>
                    <a:pt x="128" y="11"/>
                    <a:pt x="126" y="5"/>
                  </a:cubicBezTo>
                  <a:cubicBezTo>
                    <a:pt x="121" y="8"/>
                    <a:pt x="120" y="12"/>
                    <a:pt x="120" y="12"/>
                  </a:cubicBezTo>
                  <a:cubicBezTo>
                    <a:pt x="120" y="12"/>
                    <a:pt x="85" y="0"/>
                    <a:pt x="70" y="0"/>
                  </a:cubicBezTo>
                  <a:cubicBezTo>
                    <a:pt x="56" y="0"/>
                    <a:pt x="49" y="2"/>
                    <a:pt x="43" y="10"/>
                  </a:cubicBezTo>
                  <a:cubicBezTo>
                    <a:pt x="37" y="17"/>
                    <a:pt x="62" y="17"/>
                    <a:pt x="68" y="17"/>
                  </a:cubicBezTo>
                  <a:cubicBezTo>
                    <a:pt x="74" y="17"/>
                    <a:pt x="87" y="31"/>
                    <a:pt x="87" y="31"/>
                  </a:cubicBezTo>
                  <a:cubicBezTo>
                    <a:pt x="87" y="31"/>
                    <a:pt x="72" y="34"/>
                    <a:pt x="74" y="49"/>
                  </a:cubicBezTo>
                  <a:cubicBezTo>
                    <a:pt x="76" y="65"/>
                    <a:pt x="84" y="70"/>
                    <a:pt x="72" y="70"/>
                  </a:cubicBezTo>
                  <a:cubicBezTo>
                    <a:pt x="59" y="70"/>
                    <a:pt x="39" y="63"/>
                    <a:pt x="31" y="64"/>
                  </a:cubicBezTo>
                  <a:cubicBezTo>
                    <a:pt x="22" y="66"/>
                    <a:pt x="6" y="62"/>
                    <a:pt x="0" y="72"/>
                  </a:cubicBezTo>
                  <a:cubicBezTo>
                    <a:pt x="0" y="72"/>
                    <a:pt x="18" y="98"/>
                    <a:pt x="26" y="102"/>
                  </a:cubicBezTo>
                  <a:cubicBezTo>
                    <a:pt x="35" y="106"/>
                    <a:pt x="43" y="87"/>
                    <a:pt x="43" y="87"/>
                  </a:cubicBezTo>
                  <a:cubicBezTo>
                    <a:pt x="43" y="87"/>
                    <a:pt x="57" y="89"/>
                    <a:pt x="74" y="89"/>
                  </a:cubicBezTo>
                  <a:cubicBezTo>
                    <a:pt x="90" y="89"/>
                    <a:pt x="111" y="85"/>
                    <a:pt x="111" y="85"/>
                  </a:cubicBezTo>
                  <a:cubicBezTo>
                    <a:pt x="121" y="98"/>
                    <a:pt x="121" y="98"/>
                    <a:pt x="121" y="98"/>
                  </a:cubicBezTo>
                  <a:lnTo>
                    <a:pt x="114" y="74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Freeform 328">
              <a:extLst>
                <a:ext uri="{FF2B5EF4-FFF2-40B4-BE49-F238E27FC236}">
                  <a16:creationId xmlns:a16="http://schemas.microsoft.com/office/drawing/2014/main" id="{40B86FA0-3964-47D1-D72B-FC868FA7DF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2589" y="-16443"/>
              <a:ext cx="7205" cy="6196"/>
            </a:xfrm>
            <a:custGeom>
              <a:avLst/>
              <a:gdLst>
                <a:gd name="T0" fmla="*/ 3045 w 3050"/>
                <a:gd name="T1" fmla="*/ 429 h 2623"/>
                <a:gd name="T2" fmla="*/ 3017 w 3050"/>
                <a:gd name="T3" fmla="*/ 487 h 2623"/>
                <a:gd name="T4" fmla="*/ 3043 w 3050"/>
                <a:gd name="T5" fmla="*/ 495 h 2623"/>
                <a:gd name="T6" fmla="*/ 3048 w 3050"/>
                <a:gd name="T7" fmla="*/ 446 h 2623"/>
                <a:gd name="T8" fmla="*/ 2944 w 3050"/>
                <a:gd name="T9" fmla="*/ 106 h 2623"/>
                <a:gd name="T10" fmla="*/ 2924 w 3050"/>
                <a:gd name="T11" fmla="*/ 87 h 2623"/>
                <a:gd name="T12" fmla="*/ 2899 w 3050"/>
                <a:gd name="T13" fmla="*/ 85 h 2623"/>
                <a:gd name="T14" fmla="*/ 2877 w 3050"/>
                <a:gd name="T15" fmla="*/ 77 h 2623"/>
                <a:gd name="T16" fmla="*/ 2843 w 3050"/>
                <a:gd name="T17" fmla="*/ 61 h 2623"/>
                <a:gd name="T18" fmla="*/ 2800 w 3050"/>
                <a:gd name="T19" fmla="*/ 37 h 2623"/>
                <a:gd name="T20" fmla="*/ 2771 w 3050"/>
                <a:gd name="T21" fmla="*/ 12 h 2623"/>
                <a:gd name="T22" fmla="*/ 2715 w 3050"/>
                <a:gd name="T23" fmla="*/ 12 h 2623"/>
                <a:gd name="T24" fmla="*/ 2686 w 3050"/>
                <a:gd name="T25" fmla="*/ 60 h 2623"/>
                <a:gd name="T26" fmla="*/ 2635 w 3050"/>
                <a:gd name="T27" fmla="*/ 97 h 2623"/>
                <a:gd name="T28" fmla="*/ 2580 w 3050"/>
                <a:gd name="T29" fmla="*/ 75 h 2623"/>
                <a:gd name="T30" fmla="*/ 2550 w 3050"/>
                <a:gd name="T31" fmla="*/ 125 h 2623"/>
                <a:gd name="T32" fmla="*/ 2495 w 3050"/>
                <a:gd name="T33" fmla="*/ 124 h 2623"/>
                <a:gd name="T34" fmla="*/ 2450 w 3050"/>
                <a:gd name="T35" fmla="*/ 161 h 2623"/>
                <a:gd name="T36" fmla="*/ 2514 w 3050"/>
                <a:gd name="T37" fmla="*/ 184 h 2623"/>
                <a:gd name="T38" fmla="*/ 2572 w 3050"/>
                <a:gd name="T39" fmla="*/ 199 h 2623"/>
                <a:gd name="T40" fmla="*/ 2597 w 3050"/>
                <a:gd name="T41" fmla="*/ 248 h 2623"/>
                <a:gd name="T42" fmla="*/ 2617 w 3050"/>
                <a:gd name="T43" fmla="*/ 320 h 2623"/>
                <a:gd name="T44" fmla="*/ 2576 w 3050"/>
                <a:gd name="T45" fmla="*/ 391 h 2623"/>
                <a:gd name="T46" fmla="*/ 2578 w 3050"/>
                <a:gd name="T47" fmla="*/ 414 h 2623"/>
                <a:gd name="T48" fmla="*/ 2612 w 3050"/>
                <a:gd name="T49" fmla="*/ 437 h 2623"/>
                <a:gd name="T50" fmla="*/ 2651 w 3050"/>
                <a:gd name="T51" fmla="*/ 441 h 2623"/>
                <a:gd name="T52" fmla="*/ 2673 w 3050"/>
                <a:gd name="T53" fmla="*/ 434 h 2623"/>
                <a:gd name="T54" fmla="*/ 2697 w 3050"/>
                <a:gd name="T55" fmla="*/ 446 h 2623"/>
                <a:gd name="T56" fmla="*/ 2717 w 3050"/>
                <a:gd name="T57" fmla="*/ 454 h 2623"/>
                <a:gd name="T58" fmla="*/ 2742 w 3050"/>
                <a:gd name="T59" fmla="*/ 463 h 2623"/>
                <a:gd name="T60" fmla="*/ 2763 w 3050"/>
                <a:gd name="T61" fmla="*/ 453 h 2623"/>
                <a:gd name="T62" fmla="*/ 2822 w 3050"/>
                <a:gd name="T63" fmla="*/ 397 h 2623"/>
                <a:gd name="T64" fmla="*/ 2882 w 3050"/>
                <a:gd name="T65" fmla="*/ 421 h 2623"/>
                <a:gd name="T66" fmla="*/ 2957 w 3050"/>
                <a:gd name="T67" fmla="*/ 388 h 2623"/>
                <a:gd name="T68" fmla="*/ 2950 w 3050"/>
                <a:gd name="T69" fmla="*/ 367 h 2623"/>
                <a:gd name="T70" fmla="*/ 2940 w 3050"/>
                <a:gd name="T71" fmla="*/ 335 h 2623"/>
                <a:gd name="T72" fmla="*/ 2922 w 3050"/>
                <a:gd name="T73" fmla="*/ 314 h 2623"/>
                <a:gd name="T74" fmla="*/ 2939 w 3050"/>
                <a:gd name="T75" fmla="*/ 289 h 2623"/>
                <a:gd name="T76" fmla="*/ 2934 w 3050"/>
                <a:gd name="T77" fmla="*/ 263 h 2623"/>
                <a:gd name="T78" fmla="*/ 2902 w 3050"/>
                <a:gd name="T79" fmla="*/ 259 h 2623"/>
                <a:gd name="T80" fmla="*/ 2918 w 3050"/>
                <a:gd name="T81" fmla="*/ 226 h 2623"/>
                <a:gd name="T82" fmla="*/ 2943 w 3050"/>
                <a:gd name="T83" fmla="*/ 198 h 2623"/>
                <a:gd name="T84" fmla="*/ 2966 w 3050"/>
                <a:gd name="T85" fmla="*/ 186 h 2623"/>
                <a:gd name="T86" fmla="*/ 2976 w 3050"/>
                <a:gd name="T87" fmla="*/ 128 h 2623"/>
                <a:gd name="T88" fmla="*/ 2982 w 3050"/>
                <a:gd name="T89" fmla="*/ 106 h 2623"/>
                <a:gd name="T90" fmla="*/ 90 w 3050"/>
                <a:gd name="T91" fmla="*/ 2439 h 2623"/>
                <a:gd name="T92" fmla="*/ 32 w 3050"/>
                <a:gd name="T93" fmla="*/ 2444 h 2623"/>
                <a:gd name="T94" fmla="*/ 32 w 3050"/>
                <a:gd name="T95" fmla="*/ 2544 h 2623"/>
                <a:gd name="T96" fmla="*/ 11 w 3050"/>
                <a:gd name="T97" fmla="*/ 2594 h 2623"/>
                <a:gd name="T98" fmla="*/ 38 w 3050"/>
                <a:gd name="T99" fmla="*/ 2611 h 2623"/>
                <a:gd name="T100" fmla="*/ 62 w 3050"/>
                <a:gd name="T101" fmla="*/ 2610 h 2623"/>
                <a:gd name="T102" fmla="*/ 108 w 3050"/>
                <a:gd name="T103" fmla="*/ 2570 h 2623"/>
                <a:gd name="T104" fmla="*/ 125 w 3050"/>
                <a:gd name="T105" fmla="*/ 2479 h 2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050" h="2623">
                  <a:moveTo>
                    <a:pt x="3048" y="446"/>
                  </a:moveTo>
                  <a:cubicBezTo>
                    <a:pt x="3043" y="444"/>
                    <a:pt x="3043" y="444"/>
                    <a:pt x="3043" y="444"/>
                  </a:cubicBezTo>
                  <a:cubicBezTo>
                    <a:pt x="3043" y="444"/>
                    <a:pt x="3049" y="436"/>
                    <a:pt x="3045" y="429"/>
                  </a:cubicBezTo>
                  <a:cubicBezTo>
                    <a:pt x="3041" y="422"/>
                    <a:pt x="3033" y="440"/>
                    <a:pt x="3033" y="440"/>
                  </a:cubicBezTo>
                  <a:cubicBezTo>
                    <a:pt x="3033" y="440"/>
                    <a:pt x="3004" y="453"/>
                    <a:pt x="3007" y="467"/>
                  </a:cubicBezTo>
                  <a:cubicBezTo>
                    <a:pt x="3010" y="481"/>
                    <a:pt x="3017" y="487"/>
                    <a:pt x="3017" y="487"/>
                  </a:cubicBezTo>
                  <a:cubicBezTo>
                    <a:pt x="3017" y="487"/>
                    <a:pt x="3008" y="498"/>
                    <a:pt x="3016" y="505"/>
                  </a:cubicBezTo>
                  <a:cubicBezTo>
                    <a:pt x="3024" y="512"/>
                    <a:pt x="3033" y="513"/>
                    <a:pt x="3033" y="513"/>
                  </a:cubicBezTo>
                  <a:cubicBezTo>
                    <a:pt x="3033" y="513"/>
                    <a:pt x="3043" y="506"/>
                    <a:pt x="3043" y="495"/>
                  </a:cubicBezTo>
                  <a:cubicBezTo>
                    <a:pt x="3043" y="484"/>
                    <a:pt x="3042" y="481"/>
                    <a:pt x="3042" y="481"/>
                  </a:cubicBezTo>
                  <a:cubicBezTo>
                    <a:pt x="3050" y="477"/>
                    <a:pt x="3050" y="477"/>
                    <a:pt x="3050" y="477"/>
                  </a:cubicBezTo>
                  <a:lnTo>
                    <a:pt x="3048" y="446"/>
                  </a:lnTo>
                  <a:close/>
                  <a:moveTo>
                    <a:pt x="2964" y="107"/>
                  </a:moveTo>
                  <a:cubicBezTo>
                    <a:pt x="2964" y="103"/>
                    <a:pt x="2964" y="103"/>
                    <a:pt x="2964" y="103"/>
                  </a:cubicBezTo>
                  <a:cubicBezTo>
                    <a:pt x="2964" y="103"/>
                    <a:pt x="2950" y="107"/>
                    <a:pt x="2944" y="106"/>
                  </a:cubicBezTo>
                  <a:cubicBezTo>
                    <a:pt x="2938" y="105"/>
                    <a:pt x="2940" y="100"/>
                    <a:pt x="2940" y="100"/>
                  </a:cubicBezTo>
                  <a:cubicBezTo>
                    <a:pt x="2923" y="100"/>
                    <a:pt x="2923" y="100"/>
                    <a:pt x="2923" y="100"/>
                  </a:cubicBezTo>
                  <a:cubicBezTo>
                    <a:pt x="2923" y="100"/>
                    <a:pt x="2927" y="90"/>
                    <a:pt x="2924" y="87"/>
                  </a:cubicBezTo>
                  <a:cubicBezTo>
                    <a:pt x="2921" y="84"/>
                    <a:pt x="2919" y="80"/>
                    <a:pt x="2919" y="80"/>
                  </a:cubicBezTo>
                  <a:cubicBezTo>
                    <a:pt x="2908" y="78"/>
                    <a:pt x="2908" y="78"/>
                    <a:pt x="2908" y="78"/>
                  </a:cubicBezTo>
                  <a:cubicBezTo>
                    <a:pt x="2899" y="85"/>
                    <a:pt x="2899" y="85"/>
                    <a:pt x="2899" y="85"/>
                  </a:cubicBezTo>
                  <a:cubicBezTo>
                    <a:pt x="2894" y="81"/>
                    <a:pt x="2894" y="81"/>
                    <a:pt x="2894" y="81"/>
                  </a:cubicBezTo>
                  <a:cubicBezTo>
                    <a:pt x="2880" y="81"/>
                    <a:pt x="2880" y="81"/>
                    <a:pt x="2880" y="81"/>
                  </a:cubicBezTo>
                  <a:cubicBezTo>
                    <a:pt x="2880" y="81"/>
                    <a:pt x="2879" y="80"/>
                    <a:pt x="2877" y="77"/>
                  </a:cubicBezTo>
                  <a:cubicBezTo>
                    <a:pt x="2875" y="74"/>
                    <a:pt x="2853" y="70"/>
                    <a:pt x="2853" y="70"/>
                  </a:cubicBezTo>
                  <a:cubicBezTo>
                    <a:pt x="2853" y="54"/>
                    <a:pt x="2853" y="54"/>
                    <a:pt x="2853" y="54"/>
                  </a:cubicBezTo>
                  <a:cubicBezTo>
                    <a:pt x="2843" y="61"/>
                    <a:pt x="2843" y="61"/>
                    <a:pt x="2843" y="61"/>
                  </a:cubicBezTo>
                  <a:cubicBezTo>
                    <a:pt x="2828" y="61"/>
                    <a:pt x="2828" y="61"/>
                    <a:pt x="2828" y="61"/>
                  </a:cubicBezTo>
                  <a:cubicBezTo>
                    <a:pt x="2828" y="61"/>
                    <a:pt x="2828" y="45"/>
                    <a:pt x="2823" y="42"/>
                  </a:cubicBezTo>
                  <a:cubicBezTo>
                    <a:pt x="2818" y="39"/>
                    <a:pt x="2800" y="37"/>
                    <a:pt x="2800" y="37"/>
                  </a:cubicBezTo>
                  <a:cubicBezTo>
                    <a:pt x="2793" y="30"/>
                    <a:pt x="2793" y="30"/>
                    <a:pt x="2793" y="30"/>
                  </a:cubicBezTo>
                  <a:cubicBezTo>
                    <a:pt x="2777" y="26"/>
                    <a:pt x="2777" y="26"/>
                    <a:pt x="2777" y="26"/>
                  </a:cubicBezTo>
                  <a:cubicBezTo>
                    <a:pt x="2771" y="12"/>
                    <a:pt x="2771" y="12"/>
                    <a:pt x="2771" y="12"/>
                  </a:cubicBezTo>
                  <a:cubicBezTo>
                    <a:pt x="2772" y="3"/>
                    <a:pt x="2772" y="3"/>
                    <a:pt x="2772" y="3"/>
                  </a:cubicBezTo>
                  <a:cubicBezTo>
                    <a:pt x="2772" y="3"/>
                    <a:pt x="2756" y="0"/>
                    <a:pt x="2746" y="4"/>
                  </a:cubicBezTo>
                  <a:cubicBezTo>
                    <a:pt x="2736" y="8"/>
                    <a:pt x="2711" y="4"/>
                    <a:pt x="2715" y="12"/>
                  </a:cubicBezTo>
                  <a:cubicBezTo>
                    <a:pt x="2719" y="20"/>
                    <a:pt x="2722" y="27"/>
                    <a:pt x="2722" y="27"/>
                  </a:cubicBezTo>
                  <a:cubicBezTo>
                    <a:pt x="2722" y="27"/>
                    <a:pt x="2730" y="44"/>
                    <a:pt x="2719" y="52"/>
                  </a:cubicBezTo>
                  <a:cubicBezTo>
                    <a:pt x="2708" y="60"/>
                    <a:pt x="2686" y="60"/>
                    <a:pt x="2686" y="60"/>
                  </a:cubicBezTo>
                  <a:cubicBezTo>
                    <a:pt x="2661" y="80"/>
                    <a:pt x="2661" y="80"/>
                    <a:pt x="2661" y="80"/>
                  </a:cubicBezTo>
                  <a:cubicBezTo>
                    <a:pt x="2670" y="86"/>
                    <a:pt x="2670" y="86"/>
                    <a:pt x="2670" y="86"/>
                  </a:cubicBezTo>
                  <a:cubicBezTo>
                    <a:pt x="2670" y="86"/>
                    <a:pt x="2650" y="98"/>
                    <a:pt x="2635" y="97"/>
                  </a:cubicBezTo>
                  <a:cubicBezTo>
                    <a:pt x="2620" y="96"/>
                    <a:pt x="2611" y="91"/>
                    <a:pt x="2611" y="91"/>
                  </a:cubicBezTo>
                  <a:cubicBezTo>
                    <a:pt x="2600" y="76"/>
                    <a:pt x="2600" y="76"/>
                    <a:pt x="2600" y="76"/>
                  </a:cubicBezTo>
                  <a:cubicBezTo>
                    <a:pt x="2600" y="76"/>
                    <a:pt x="2579" y="68"/>
                    <a:pt x="2580" y="75"/>
                  </a:cubicBezTo>
                  <a:cubicBezTo>
                    <a:pt x="2581" y="82"/>
                    <a:pt x="2592" y="96"/>
                    <a:pt x="2592" y="96"/>
                  </a:cubicBezTo>
                  <a:cubicBezTo>
                    <a:pt x="2592" y="96"/>
                    <a:pt x="2605" y="120"/>
                    <a:pt x="2587" y="123"/>
                  </a:cubicBezTo>
                  <a:cubicBezTo>
                    <a:pt x="2569" y="126"/>
                    <a:pt x="2550" y="125"/>
                    <a:pt x="2550" y="125"/>
                  </a:cubicBezTo>
                  <a:cubicBezTo>
                    <a:pt x="2543" y="136"/>
                    <a:pt x="2543" y="136"/>
                    <a:pt x="2543" y="136"/>
                  </a:cubicBezTo>
                  <a:cubicBezTo>
                    <a:pt x="2543" y="136"/>
                    <a:pt x="2527" y="116"/>
                    <a:pt x="2521" y="117"/>
                  </a:cubicBezTo>
                  <a:cubicBezTo>
                    <a:pt x="2515" y="118"/>
                    <a:pt x="2495" y="124"/>
                    <a:pt x="2495" y="124"/>
                  </a:cubicBezTo>
                  <a:cubicBezTo>
                    <a:pt x="2495" y="124"/>
                    <a:pt x="2459" y="129"/>
                    <a:pt x="2456" y="136"/>
                  </a:cubicBezTo>
                  <a:cubicBezTo>
                    <a:pt x="2453" y="143"/>
                    <a:pt x="2475" y="149"/>
                    <a:pt x="2474" y="152"/>
                  </a:cubicBezTo>
                  <a:cubicBezTo>
                    <a:pt x="2473" y="155"/>
                    <a:pt x="2444" y="153"/>
                    <a:pt x="2450" y="161"/>
                  </a:cubicBezTo>
                  <a:cubicBezTo>
                    <a:pt x="2456" y="169"/>
                    <a:pt x="2475" y="170"/>
                    <a:pt x="2475" y="170"/>
                  </a:cubicBezTo>
                  <a:cubicBezTo>
                    <a:pt x="2482" y="166"/>
                    <a:pt x="2482" y="166"/>
                    <a:pt x="2482" y="166"/>
                  </a:cubicBezTo>
                  <a:cubicBezTo>
                    <a:pt x="2514" y="184"/>
                    <a:pt x="2514" y="184"/>
                    <a:pt x="2514" y="184"/>
                  </a:cubicBezTo>
                  <a:cubicBezTo>
                    <a:pt x="2534" y="184"/>
                    <a:pt x="2534" y="184"/>
                    <a:pt x="2534" y="184"/>
                  </a:cubicBezTo>
                  <a:cubicBezTo>
                    <a:pt x="2546" y="196"/>
                    <a:pt x="2546" y="196"/>
                    <a:pt x="2546" y="196"/>
                  </a:cubicBezTo>
                  <a:cubicBezTo>
                    <a:pt x="2572" y="199"/>
                    <a:pt x="2572" y="199"/>
                    <a:pt x="2572" y="199"/>
                  </a:cubicBezTo>
                  <a:cubicBezTo>
                    <a:pt x="2553" y="209"/>
                    <a:pt x="2553" y="209"/>
                    <a:pt x="2553" y="209"/>
                  </a:cubicBezTo>
                  <a:cubicBezTo>
                    <a:pt x="2553" y="209"/>
                    <a:pt x="2572" y="240"/>
                    <a:pt x="2576" y="244"/>
                  </a:cubicBezTo>
                  <a:cubicBezTo>
                    <a:pt x="2580" y="248"/>
                    <a:pt x="2597" y="248"/>
                    <a:pt x="2597" y="248"/>
                  </a:cubicBezTo>
                  <a:cubicBezTo>
                    <a:pt x="2595" y="277"/>
                    <a:pt x="2595" y="277"/>
                    <a:pt x="2595" y="277"/>
                  </a:cubicBezTo>
                  <a:cubicBezTo>
                    <a:pt x="2608" y="297"/>
                    <a:pt x="2608" y="297"/>
                    <a:pt x="2608" y="297"/>
                  </a:cubicBezTo>
                  <a:cubicBezTo>
                    <a:pt x="2617" y="320"/>
                    <a:pt x="2617" y="320"/>
                    <a:pt x="2617" y="320"/>
                  </a:cubicBezTo>
                  <a:cubicBezTo>
                    <a:pt x="2596" y="294"/>
                    <a:pt x="2596" y="294"/>
                    <a:pt x="2596" y="294"/>
                  </a:cubicBezTo>
                  <a:cubicBezTo>
                    <a:pt x="2596" y="294"/>
                    <a:pt x="2594" y="323"/>
                    <a:pt x="2593" y="333"/>
                  </a:cubicBezTo>
                  <a:cubicBezTo>
                    <a:pt x="2592" y="343"/>
                    <a:pt x="2581" y="383"/>
                    <a:pt x="2576" y="391"/>
                  </a:cubicBezTo>
                  <a:cubicBezTo>
                    <a:pt x="2572" y="398"/>
                    <a:pt x="2574" y="407"/>
                    <a:pt x="2562" y="409"/>
                  </a:cubicBezTo>
                  <a:cubicBezTo>
                    <a:pt x="2563" y="415"/>
                    <a:pt x="2563" y="415"/>
                    <a:pt x="2563" y="415"/>
                  </a:cubicBezTo>
                  <a:cubicBezTo>
                    <a:pt x="2563" y="415"/>
                    <a:pt x="2572" y="407"/>
                    <a:pt x="2578" y="414"/>
                  </a:cubicBezTo>
                  <a:cubicBezTo>
                    <a:pt x="2584" y="421"/>
                    <a:pt x="2578" y="424"/>
                    <a:pt x="2578" y="424"/>
                  </a:cubicBezTo>
                  <a:cubicBezTo>
                    <a:pt x="2578" y="424"/>
                    <a:pt x="2592" y="426"/>
                    <a:pt x="2599" y="427"/>
                  </a:cubicBezTo>
                  <a:cubicBezTo>
                    <a:pt x="2606" y="428"/>
                    <a:pt x="2612" y="437"/>
                    <a:pt x="2612" y="437"/>
                  </a:cubicBezTo>
                  <a:cubicBezTo>
                    <a:pt x="2612" y="437"/>
                    <a:pt x="2622" y="433"/>
                    <a:pt x="2626" y="435"/>
                  </a:cubicBezTo>
                  <a:cubicBezTo>
                    <a:pt x="2630" y="437"/>
                    <a:pt x="2631" y="440"/>
                    <a:pt x="2631" y="440"/>
                  </a:cubicBezTo>
                  <a:cubicBezTo>
                    <a:pt x="2651" y="441"/>
                    <a:pt x="2651" y="441"/>
                    <a:pt x="2651" y="441"/>
                  </a:cubicBezTo>
                  <a:cubicBezTo>
                    <a:pt x="2653" y="449"/>
                    <a:pt x="2653" y="449"/>
                    <a:pt x="2653" y="449"/>
                  </a:cubicBezTo>
                  <a:cubicBezTo>
                    <a:pt x="2666" y="446"/>
                    <a:pt x="2666" y="446"/>
                    <a:pt x="2666" y="446"/>
                  </a:cubicBezTo>
                  <a:cubicBezTo>
                    <a:pt x="2666" y="446"/>
                    <a:pt x="2660" y="434"/>
                    <a:pt x="2673" y="434"/>
                  </a:cubicBezTo>
                  <a:cubicBezTo>
                    <a:pt x="2686" y="434"/>
                    <a:pt x="2686" y="441"/>
                    <a:pt x="2686" y="441"/>
                  </a:cubicBezTo>
                  <a:cubicBezTo>
                    <a:pt x="2695" y="442"/>
                    <a:pt x="2695" y="442"/>
                    <a:pt x="2695" y="442"/>
                  </a:cubicBezTo>
                  <a:cubicBezTo>
                    <a:pt x="2697" y="446"/>
                    <a:pt x="2697" y="446"/>
                    <a:pt x="2697" y="446"/>
                  </a:cubicBezTo>
                  <a:cubicBezTo>
                    <a:pt x="2698" y="445"/>
                    <a:pt x="2700" y="445"/>
                    <a:pt x="2702" y="445"/>
                  </a:cubicBezTo>
                  <a:cubicBezTo>
                    <a:pt x="2712" y="444"/>
                    <a:pt x="2716" y="445"/>
                    <a:pt x="2716" y="445"/>
                  </a:cubicBezTo>
                  <a:cubicBezTo>
                    <a:pt x="2717" y="454"/>
                    <a:pt x="2717" y="454"/>
                    <a:pt x="2717" y="454"/>
                  </a:cubicBezTo>
                  <a:cubicBezTo>
                    <a:pt x="2720" y="455"/>
                    <a:pt x="2722" y="459"/>
                    <a:pt x="2722" y="459"/>
                  </a:cubicBezTo>
                  <a:cubicBezTo>
                    <a:pt x="2722" y="459"/>
                    <a:pt x="2729" y="457"/>
                    <a:pt x="2732" y="456"/>
                  </a:cubicBezTo>
                  <a:cubicBezTo>
                    <a:pt x="2735" y="455"/>
                    <a:pt x="2742" y="463"/>
                    <a:pt x="2742" y="463"/>
                  </a:cubicBezTo>
                  <a:cubicBezTo>
                    <a:pt x="2742" y="463"/>
                    <a:pt x="2743" y="463"/>
                    <a:pt x="2750" y="463"/>
                  </a:cubicBezTo>
                  <a:cubicBezTo>
                    <a:pt x="2757" y="463"/>
                    <a:pt x="2757" y="453"/>
                    <a:pt x="2757" y="453"/>
                  </a:cubicBezTo>
                  <a:cubicBezTo>
                    <a:pt x="2763" y="453"/>
                    <a:pt x="2763" y="453"/>
                    <a:pt x="2763" y="453"/>
                  </a:cubicBezTo>
                  <a:cubicBezTo>
                    <a:pt x="2763" y="452"/>
                    <a:pt x="2763" y="451"/>
                    <a:pt x="2763" y="450"/>
                  </a:cubicBezTo>
                  <a:cubicBezTo>
                    <a:pt x="2763" y="440"/>
                    <a:pt x="2778" y="417"/>
                    <a:pt x="2785" y="413"/>
                  </a:cubicBezTo>
                  <a:cubicBezTo>
                    <a:pt x="2792" y="409"/>
                    <a:pt x="2813" y="392"/>
                    <a:pt x="2822" y="397"/>
                  </a:cubicBezTo>
                  <a:cubicBezTo>
                    <a:pt x="2831" y="402"/>
                    <a:pt x="2839" y="407"/>
                    <a:pt x="2839" y="407"/>
                  </a:cubicBezTo>
                  <a:cubicBezTo>
                    <a:pt x="2839" y="407"/>
                    <a:pt x="2862" y="401"/>
                    <a:pt x="2867" y="406"/>
                  </a:cubicBezTo>
                  <a:cubicBezTo>
                    <a:pt x="2872" y="411"/>
                    <a:pt x="2879" y="419"/>
                    <a:pt x="2882" y="421"/>
                  </a:cubicBezTo>
                  <a:cubicBezTo>
                    <a:pt x="2882" y="421"/>
                    <a:pt x="2907" y="431"/>
                    <a:pt x="2920" y="421"/>
                  </a:cubicBezTo>
                  <a:cubicBezTo>
                    <a:pt x="2933" y="411"/>
                    <a:pt x="2937" y="392"/>
                    <a:pt x="2943" y="390"/>
                  </a:cubicBezTo>
                  <a:cubicBezTo>
                    <a:pt x="2945" y="389"/>
                    <a:pt x="2951" y="389"/>
                    <a:pt x="2957" y="388"/>
                  </a:cubicBezTo>
                  <a:cubicBezTo>
                    <a:pt x="2957" y="385"/>
                    <a:pt x="2958" y="383"/>
                    <a:pt x="2960" y="383"/>
                  </a:cubicBezTo>
                  <a:cubicBezTo>
                    <a:pt x="2964" y="383"/>
                    <a:pt x="2970" y="373"/>
                    <a:pt x="2967" y="369"/>
                  </a:cubicBezTo>
                  <a:cubicBezTo>
                    <a:pt x="2964" y="365"/>
                    <a:pt x="2950" y="367"/>
                    <a:pt x="2950" y="367"/>
                  </a:cubicBezTo>
                  <a:cubicBezTo>
                    <a:pt x="2947" y="361"/>
                    <a:pt x="2947" y="361"/>
                    <a:pt x="2947" y="361"/>
                  </a:cubicBezTo>
                  <a:cubicBezTo>
                    <a:pt x="2947" y="361"/>
                    <a:pt x="2933" y="360"/>
                    <a:pt x="2934" y="350"/>
                  </a:cubicBezTo>
                  <a:cubicBezTo>
                    <a:pt x="2935" y="340"/>
                    <a:pt x="2941" y="340"/>
                    <a:pt x="2940" y="335"/>
                  </a:cubicBezTo>
                  <a:cubicBezTo>
                    <a:pt x="2939" y="330"/>
                    <a:pt x="2935" y="327"/>
                    <a:pt x="2935" y="327"/>
                  </a:cubicBezTo>
                  <a:cubicBezTo>
                    <a:pt x="2928" y="327"/>
                    <a:pt x="2928" y="327"/>
                    <a:pt x="2928" y="327"/>
                  </a:cubicBezTo>
                  <a:cubicBezTo>
                    <a:pt x="2922" y="314"/>
                    <a:pt x="2922" y="314"/>
                    <a:pt x="2922" y="314"/>
                  </a:cubicBezTo>
                  <a:cubicBezTo>
                    <a:pt x="2931" y="312"/>
                    <a:pt x="2931" y="312"/>
                    <a:pt x="2931" y="312"/>
                  </a:cubicBezTo>
                  <a:cubicBezTo>
                    <a:pt x="2931" y="312"/>
                    <a:pt x="2950" y="311"/>
                    <a:pt x="2950" y="302"/>
                  </a:cubicBezTo>
                  <a:cubicBezTo>
                    <a:pt x="2950" y="293"/>
                    <a:pt x="2939" y="289"/>
                    <a:pt x="2939" y="289"/>
                  </a:cubicBezTo>
                  <a:cubicBezTo>
                    <a:pt x="2931" y="281"/>
                    <a:pt x="2931" y="281"/>
                    <a:pt x="2931" y="281"/>
                  </a:cubicBezTo>
                  <a:cubicBezTo>
                    <a:pt x="2931" y="281"/>
                    <a:pt x="2941" y="277"/>
                    <a:pt x="2941" y="273"/>
                  </a:cubicBezTo>
                  <a:cubicBezTo>
                    <a:pt x="2941" y="269"/>
                    <a:pt x="2934" y="263"/>
                    <a:pt x="2934" y="263"/>
                  </a:cubicBezTo>
                  <a:cubicBezTo>
                    <a:pt x="2935" y="245"/>
                    <a:pt x="2935" y="245"/>
                    <a:pt x="2935" y="245"/>
                  </a:cubicBezTo>
                  <a:cubicBezTo>
                    <a:pt x="2935" y="245"/>
                    <a:pt x="2927" y="239"/>
                    <a:pt x="2920" y="243"/>
                  </a:cubicBezTo>
                  <a:cubicBezTo>
                    <a:pt x="2913" y="247"/>
                    <a:pt x="2908" y="260"/>
                    <a:pt x="2902" y="259"/>
                  </a:cubicBezTo>
                  <a:cubicBezTo>
                    <a:pt x="2896" y="258"/>
                    <a:pt x="2906" y="250"/>
                    <a:pt x="2906" y="250"/>
                  </a:cubicBezTo>
                  <a:cubicBezTo>
                    <a:pt x="2900" y="242"/>
                    <a:pt x="2900" y="242"/>
                    <a:pt x="2900" y="242"/>
                  </a:cubicBezTo>
                  <a:cubicBezTo>
                    <a:pt x="2900" y="242"/>
                    <a:pt x="2912" y="233"/>
                    <a:pt x="2918" y="226"/>
                  </a:cubicBezTo>
                  <a:cubicBezTo>
                    <a:pt x="2924" y="219"/>
                    <a:pt x="2921" y="213"/>
                    <a:pt x="2921" y="213"/>
                  </a:cubicBezTo>
                  <a:cubicBezTo>
                    <a:pt x="2921" y="213"/>
                    <a:pt x="2927" y="219"/>
                    <a:pt x="2932" y="213"/>
                  </a:cubicBezTo>
                  <a:cubicBezTo>
                    <a:pt x="2937" y="207"/>
                    <a:pt x="2943" y="198"/>
                    <a:pt x="2943" y="198"/>
                  </a:cubicBezTo>
                  <a:cubicBezTo>
                    <a:pt x="2948" y="189"/>
                    <a:pt x="2948" y="189"/>
                    <a:pt x="2948" y="189"/>
                  </a:cubicBezTo>
                  <a:cubicBezTo>
                    <a:pt x="2961" y="196"/>
                    <a:pt x="2961" y="196"/>
                    <a:pt x="2961" y="196"/>
                  </a:cubicBezTo>
                  <a:cubicBezTo>
                    <a:pt x="2966" y="186"/>
                    <a:pt x="2966" y="186"/>
                    <a:pt x="2966" y="186"/>
                  </a:cubicBezTo>
                  <a:cubicBezTo>
                    <a:pt x="2966" y="186"/>
                    <a:pt x="2962" y="177"/>
                    <a:pt x="2964" y="166"/>
                  </a:cubicBezTo>
                  <a:cubicBezTo>
                    <a:pt x="2966" y="155"/>
                    <a:pt x="2976" y="136"/>
                    <a:pt x="2976" y="136"/>
                  </a:cubicBezTo>
                  <a:cubicBezTo>
                    <a:pt x="2976" y="128"/>
                    <a:pt x="2976" y="128"/>
                    <a:pt x="2976" y="128"/>
                  </a:cubicBezTo>
                  <a:cubicBezTo>
                    <a:pt x="2990" y="117"/>
                    <a:pt x="2990" y="117"/>
                    <a:pt x="2990" y="117"/>
                  </a:cubicBezTo>
                  <a:cubicBezTo>
                    <a:pt x="2992" y="111"/>
                    <a:pt x="2992" y="111"/>
                    <a:pt x="2992" y="111"/>
                  </a:cubicBezTo>
                  <a:cubicBezTo>
                    <a:pt x="2982" y="106"/>
                    <a:pt x="2982" y="106"/>
                    <a:pt x="2982" y="106"/>
                  </a:cubicBezTo>
                  <a:lnTo>
                    <a:pt x="2964" y="107"/>
                  </a:lnTo>
                  <a:close/>
                  <a:moveTo>
                    <a:pt x="106" y="2472"/>
                  </a:moveTo>
                  <a:cubicBezTo>
                    <a:pt x="90" y="2439"/>
                    <a:pt x="90" y="2439"/>
                    <a:pt x="90" y="2439"/>
                  </a:cubicBezTo>
                  <a:cubicBezTo>
                    <a:pt x="67" y="2439"/>
                    <a:pt x="67" y="2439"/>
                    <a:pt x="67" y="2439"/>
                  </a:cubicBezTo>
                  <a:cubicBezTo>
                    <a:pt x="67" y="2439"/>
                    <a:pt x="44" y="2431"/>
                    <a:pt x="36" y="2423"/>
                  </a:cubicBezTo>
                  <a:cubicBezTo>
                    <a:pt x="32" y="2430"/>
                    <a:pt x="32" y="2439"/>
                    <a:pt x="32" y="2444"/>
                  </a:cubicBezTo>
                  <a:cubicBezTo>
                    <a:pt x="32" y="2451"/>
                    <a:pt x="21" y="2450"/>
                    <a:pt x="10" y="2467"/>
                  </a:cubicBezTo>
                  <a:cubicBezTo>
                    <a:pt x="0" y="2483"/>
                    <a:pt x="10" y="2504"/>
                    <a:pt x="11" y="2517"/>
                  </a:cubicBezTo>
                  <a:cubicBezTo>
                    <a:pt x="12" y="2529"/>
                    <a:pt x="31" y="2534"/>
                    <a:pt x="32" y="2544"/>
                  </a:cubicBezTo>
                  <a:cubicBezTo>
                    <a:pt x="33" y="2554"/>
                    <a:pt x="21" y="2559"/>
                    <a:pt x="21" y="2559"/>
                  </a:cubicBezTo>
                  <a:cubicBezTo>
                    <a:pt x="23" y="2587"/>
                    <a:pt x="23" y="2587"/>
                    <a:pt x="23" y="2587"/>
                  </a:cubicBezTo>
                  <a:cubicBezTo>
                    <a:pt x="23" y="2587"/>
                    <a:pt x="12" y="2591"/>
                    <a:pt x="11" y="2594"/>
                  </a:cubicBezTo>
                  <a:cubicBezTo>
                    <a:pt x="10" y="2597"/>
                    <a:pt x="4" y="2611"/>
                    <a:pt x="4" y="2611"/>
                  </a:cubicBezTo>
                  <a:cubicBezTo>
                    <a:pt x="4" y="2611"/>
                    <a:pt x="6" y="2621"/>
                    <a:pt x="20" y="2622"/>
                  </a:cubicBezTo>
                  <a:cubicBezTo>
                    <a:pt x="34" y="2623"/>
                    <a:pt x="32" y="2617"/>
                    <a:pt x="38" y="2611"/>
                  </a:cubicBezTo>
                  <a:cubicBezTo>
                    <a:pt x="44" y="2605"/>
                    <a:pt x="48" y="2613"/>
                    <a:pt x="48" y="2613"/>
                  </a:cubicBezTo>
                  <a:cubicBezTo>
                    <a:pt x="58" y="2615"/>
                    <a:pt x="58" y="2615"/>
                    <a:pt x="58" y="2615"/>
                  </a:cubicBezTo>
                  <a:cubicBezTo>
                    <a:pt x="62" y="2610"/>
                    <a:pt x="62" y="2610"/>
                    <a:pt x="62" y="2610"/>
                  </a:cubicBezTo>
                  <a:cubicBezTo>
                    <a:pt x="62" y="2610"/>
                    <a:pt x="66" y="2618"/>
                    <a:pt x="66" y="2619"/>
                  </a:cubicBezTo>
                  <a:cubicBezTo>
                    <a:pt x="72" y="2619"/>
                    <a:pt x="87" y="2613"/>
                    <a:pt x="87" y="2613"/>
                  </a:cubicBezTo>
                  <a:cubicBezTo>
                    <a:pt x="104" y="2599"/>
                    <a:pt x="105" y="2580"/>
                    <a:pt x="108" y="2570"/>
                  </a:cubicBezTo>
                  <a:cubicBezTo>
                    <a:pt x="111" y="2560"/>
                    <a:pt x="120" y="2545"/>
                    <a:pt x="127" y="2539"/>
                  </a:cubicBezTo>
                  <a:cubicBezTo>
                    <a:pt x="134" y="2533"/>
                    <a:pt x="139" y="2516"/>
                    <a:pt x="139" y="2516"/>
                  </a:cubicBezTo>
                  <a:cubicBezTo>
                    <a:pt x="137" y="2511"/>
                    <a:pt x="125" y="2479"/>
                    <a:pt x="125" y="2479"/>
                  </a:cubicBezTo>
                  <a:lnTo>
                    <a:pt x="106" y="2472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Freeform 329">
              <a:extLst>
                <a:ext uri="{FF2B5EF4-FFF2-40B4-BE49-F238E27FC236}">
                  <a16:creationId xmlns:a16="http://schemas.microsoft.com/office/drawing/2014/main" id="{BE78DDC0-4D7C-A7EF-4E66-BCFCFF10C7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4647" y="-7171"/>
              <a:ext cx="1793" cy="1611"/>
            </a:xfrm>
            <a:custGeom>
              <a:avLst/>
              <a:gdLst>
                <a:gd name="T0" fmla="*/ 725 w 759"/>
                <a:gd name="T1" fmla="*/ 254 h 682"/>
                <a:gd name="T2" fmla="*/ 696 w 759"/>
                <a:gd name="T3" fmla="*/ 278 h 682"/>
                <a:gd name="T4" fmla="*/ 673 w 759"/>
                <a:gd name="T5" fmla="*/ 221 h 682"/>
                <a:gd name="T6" fmla="*/ 708 w 759"/>
                <a:gd name="T7" fmla="*/ 206 h 682"/>
                <a:gd name="T8" fmla="*/ 727 w 759"/>
                <a:gd name="T9" fmla="*/ 125 h 682"/>
                <a:gd name="T10" fmla="*/ 696 w 759"/>
                <a:gd name="T11" fmla="*/ 15 h 682"/>
                <a:gd name="T12" fmla="*/ 649 w 759"/>
                <a:gd name="T13" fmla="*/ 8 h 682"/>
                <a:gd name="T14" fmla="*/ 586 w 759"/>
                <a:gd name="T15" fmla="*/ 2 h 682"/>
                <a:gd name="T16" fmla="*/ 549 w 759"/>
                <a:gd name="T17" fmla="*/ 25 h 682"/>
                <a:gd name="T18" fmla="*/ 495 w 759"/>
                <a:gd name="T19" fmla="*/ 77 h 682"/>
                <a:gd name="T20" fmla="*/ 461 w 759"/>
                <a:gd name="T21" fmla="*/ 137 h 682"/>
                <a:gd name="T22" fmla="*/ 436 w 759"/>
                <a:gd name="T23" fmla="*/ 152 h 682"/>
                <a:gd name="T24" fmla="*/ 402 w 759"/>
                <a:gd name="T25" fmla="*/ 192 h 682"/>
                <a:gd name="T26" fmla="*/ 364 w 759"/>
                <a:gd name="T27" fmla="*/ 190 h 682"/>
                <a:gd name="T28" fmla="*/ 337 w 759"/>
                <a:gd name="T29" fmla="*/ 179 h 682"/>
                <a:gd name="T30" fmla="*/ 290 w 759"/>
                <a:gd name="T31" fmla="*/ 212 h 682"/>
                <a:gd name="T32" fmla="*/ 263 w 759"/>
                <a:gd name="T33" fmla="*/ 240 h 682"/>
                <a:gd name="T34" fmla="*/ 244 w 759"/>
                <a:gd name="T35" fmla="*/ 251 h 682"/>
                <a:gd name="T36" fmla="*/ 193 w 759"/>
                <a:gd name="T37" fmla="*/ 231 h 682"/>
                <a:gd name="T38" fmla="*/ 196 w 759"/>
                <a:gd name="T39" fmla="*/ 189 h 682"/>
                <a:gd name="T40" fmla="*/ 166 w 759"/>
                <a:gd name="T41" fmla="*/ 143 h 682"/>
                <a:gd name="T42" fmla="*/ 142 w 759"/>
                <a:gd name="T43" fmla="*/ 343 h 682"/>
                <a:gd name="T44" fmla="*/ 129 w 759"/>
                <a:gd name="T45" fmla="*/ 353 h 682"/>
                <a:gd name="T46" fmla="*/ 114 w 759"/>
                <a:gd name="T47" fmla="*/ 367 h 682"/>
                <a:gd name="T48" fmla="*/ 88 w 759"/>
                <a:gd name="T49" fmla="*/ 369 h 682"/>
                <a:gd name="T50" fmla="*/ 65 w 759"/>
                <a:gd name="T51" fmla="*/ 357 h 682"/>
                <a:gd name="T52" fmla="*/ 41 w 759"/>
                <a:gd name="T53" fmla="*/ 330 h 682"/>
                <a:gd name="T54" fmla="*/ 12 w 759"/>
                <a:gd name="T55" fmla="*/ 340 h 682"/>
                <a:gd name="T56" fmla="*/ 0 w 759"/>
                <a:gd name="T57" fmla="*/ 345 h 682"/>
                <a:gd name="T58" fmla="*/ 31 w 759"/>
                <a:gd name="T59" fmla="*/ 407 h 682"/>
                <a:gd name="T60" fmla="*/ 83 w 759"/>
                <a:gd name="T61" fmla="*/ 523 h 682"/>
                <a:gd name="T62" fmla="*/ 61 w 759"/>
                <a:gd name="T63" fmla="*/ 572 h 682"/>
                <a:gd name="T64" fmla="*/ 81 w 759"/>
                <a:gd name="T65" fmla="*/ 649 h 682"/>
                <a:gd name="T66" fmla="*/ 103 w 759"/>
                <a:gd name="T67" fmla="*/ 650 h 682"/>
                <a:gd name="T68" fmla="*/ 145 w 759"/>
                <a:gd name="T69" fmla="*/ 679 h 682"/>
                <a:gd name="T70" fmla="*/ 233 w 759"/>
                <a:gd name="T71" fmla="*/ 662 h 682"/>
                <a:gd name="T72" fmla="*/ 292 w 759"/>
                <a:gd name="T73" fmla="*/ 646 h 682"/>
                <a:gd name="T74" fmla="*/ 366 w 759"/>
                <a:gd name="T75" fmla="*/ 646 h 682"/>
                <a:gd name="T76" fmla="*/ 406 w 759"/>
                <a:gd name="T77" fmla="*/ 637 h 682"/>
                <a:gd name="T78" fmla="*/ 473 w 759"/>
                <a:gd name="T79" fmla="*/ 617 h 682"/>
                <a:gd name="T80" fmla="*/ 538 w 759"/>
                <a:gd name="T81" fmla="*/ 565 h 682"/>
                <a:gd name="T82" fmla="*/ 615 w 759"/>
                <a:gd name="T83" fmla="*/ 500 h 682"/>
                <a:gd name="T84" fmla="*/ 686 w 759"/>
                <a:gd name="T85" fmla="*/ 379 h 682"/>
                <a:gd name="T86" fmla="*/ 748 w 759"/>
                <a:gd name="T87" fmla="*/ 297 h 682"/>
                <a:gd name="T88" fmla="*/ 746 w 759"/>
                <a:gd name="T89" fmla="*/ 250 h 682"/>
                <a:gd name="T90" fmla="*/ 563 w 759"/>
                <a:gd name="T91" fmla="*/ 428 h 682"/>
                <a:gd name="T92" fmla="*/ 531 w 759"/>
                <a:gd name="T93" fmla="*/ 456 h 682"/>
                <a:gd name="T94" fmla="*/ 498 w 759"/>
                <a:gd name="T95" fmla="*/ 437 h 682"/>
                <a:gd name="T96" fmla="*/ 481 w 759"/>
                <a:gd name="T97" fmla="*/ 401 h 682"/>
                <a:gd name="T98" fmla="*/ 500 w 759"/>
                <a:gd name="T99" fmla="*/ 389 h 682"/>
                <a:gd name="T100" fmla="*/ 519 w 759"/>
                <a:gd name="T101" fmla="*/ 362 h 682"/>
                <a:gd name="T102" fmla="*/ 535 w 759"/>
                <a:gd name="T103" fmla="*/ 351 h 682"/>
                <a:gd name="T104" fmla="*/ 564 w 759"/>
                <a:gd name="T105" fmla="*/ 349 h 682"/>
                <a:gd name="T106" fmla="*/ 591 w 759"/>
                <a:gd name="T107" fmla="*/ 377 h 682"/>
                <a:gd name="T108" fmla="*/ 577 w 759"/>
                <a:gd name="T109" fmla="*/ 406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59" h="682">
                  <a:moveTo>
                    <a:pt x="746" y="250"/>
                  </a:moveTo>
                  <a:cubicBezTo>
                    <a:pt x="738" y="246"/>
                    <a:pt x="725" y="254"/>
                    <a:pt x="725" y="254"/>
                  </a:cubicBezTo>
                  <a:cubicBezTo>
                    <a:pt x="718" y="279"/>
                    <a:pt x="718" y="279"/>
                    <a:pt x="718" y="279"/>
                  </a:cubicBezTo>
                  <a:cubicBezTo>
                    <a:pt x="718" y="279"/>
                    <a:pt x="703" y="278"/>
                    <a:pt x="696" y="278"/>
                  </a:cubicBezTo>
                  <a:cubicBezTo>
                    <a:pt x="689" y="278"/>
                    <a:pt x="666" y="262"/>
                    <a:pt x="664" y="250"/>
                  </a:cubicBezTo>
                  <a:cubicBezTo>
                    <a:pt x="662" y="238"/>
                    <a:pt x="670" y="225"/>
                    <a:pt x="673" y="221"/>
                  </a:cubicBezTo>
                  <a:cubicBezTo>
                    <a:pt x="676" y="217"/>
                    <a:pt x="682" y="192"/>
                    <a:pt x="689" y="192"/>
                  </a:cubicBezTo>
                  <a:cubicBezTo>
                    <a:pt x="696" y="192"/>
                    <a:pt x="708" y="206"/>
                    <a:pt x="708" y="206"/>
                  </a:cubicBezTo>
                  <a:cubicBezTo>
                    <a:pt x="726" y="182"/>
                    <a:pt x="726" y="182"/>
                    <a:pt x="726" y="182"/>
                  </a:cubicBezTo>
                  <a:cubicBezTo>
                    <a:pt x="726" y="182"/>
                    <a:pt x="726" y="134"/>
                    <a:pt x="727" y="125"/>
                  </a:cubicBezTo>
                  <a:cubicBezTo>
                    <a:pt x="728" y="116"/>
                    <a:pt x="707" y="84"/>
                    <a:pt x="705" y="75"/>
                  </a:cubicBezTo>
                  <a:cubicBezTo>
                    <a:pt x="703" y="66"/>
                    <a:pt x="696" y="15"/>
                    <a:pt x="696" y="15"/>
                  </a:cubicBezTo>
                  <a:cubicBezTo>
                    <a:pt x="684" y="8"/>
                    <a:pt x="684" y="8"/>
                    <a:pt x="684" y="8"/>
                  </a:cubicBezTo>
                  <a:cubicBezTo>
                    <a:pt x="684" y="8"/>
                    <a:pt x="657" y="9"/>
                    <a:pt x="649" y="8"/>
                  </a:cubicBezTo>
                  <a:cubicBezTo>
                    <a:pt x="641" y="7"/>
                    <a:pt x="625" y="0"/>
                    <a:pt x="625" y="0"/>
                  </a:cubicBezTo>
                  <a:cubicBezTo>
                    <a:pt x="586" y="2"/>
                    <a:pt x="586" y="2"/>
                    <a:pt x="586" y="2"/>
                  </a:cubicBezTo>
                  <a:cubicBezTo>
                    <a:pt x="578" y="18"/>
                    <a:pt x="578" y="18"/>
                    <a:pt x="578" y="18"/>
                  </a:cubicBezTo>
                  <a:cubicBezTo>
                    <a:pt x="578" y="18"/>
                    <a:pt x="554" y="19"/>
                    <a:pt x="549" y="25"/>
                  </a:cubicBezTo>
                  <a:cubicBezTo>
                    <a:pt x="544" y="31"/>
                    <a:pt x="530" y="57"/>
                    <a:pt x="519" y="64"/>
                  </a:cubicBezTo>
                  <a:cubicBezTo>
                    <a:pt x="508" y="71"/>
                    <a:pt x="505" y="70"/>
                    <a:pt x="495" y="77"/>
                  </a:cubicBezTo>
                  <a:cubicBezTo>
                    <a:pt x="485" y="84"/>
                    <a:pt x="484" y="107"/>
                    <a:pt x="484" y="113"/>
                  </a:cubicBezTo>
                  <a:cubicBezTo>
                    <a:pt x="484" y="119"/>
                    <a:pt x="461" y="137"/>
                    <a:pt x="461" y="137"/>
                  </a:cubicBezTo>
                  <a:cubicBezTo>
                    <a:pt x="450" y="140"/>
                    <a:pt x="450" y="140"/>
                    <a:pt x="450" y="140"/>
                  </a:cubicBezTo>
                  <a:cubicBezTo>
                    <a:pt x="436" y="152"/>
                    <a:pt x="436" y="152"/>
                    <a:pt x="436" y="152"/>
                  </a:cubicBezTo>
                  <a:cubicBezTo>
                    <a:pt x="436" y="152"/>
                    <a:pt x="432" y="185"/>
                    <a:pt x="421" y="192"/>
                  </a:cubicBezTo>
                  <a:cubicBezTo>
                    <a:pt x="410" y="199"/>
                    <a:pt x="402" y="192"/>
                    <a:pt x="402" y="192"/>
                  </a:cubicBezTo>
                  <a:cubicBezTo>
                    <a:pt x="402" y="192"/>
                    <a:pt x="399" y="197"/>
                    <a:pt x="389" y="199"/>
                  </a:cubicBezTo>
                  <a:cubicBezTo>
                    <a:pt x="379" y="201"/>
                    <a:pt x="364" y="190"/>
                    <a:pt x="364" y="190"/>
                  </a:cubicBezTo>
                  <a:cubicBezTo>
                    <a:pt x="347" y="189"/>
                    <a:pt x="347" y="189"/>
                    <a:pt x="347" y="189"/>
                  </a:cubicBezTo>
                  <a:cubicBezTo>
                    <a:pt x="337" y="179"/>
                    <a:pt x="337" y="179"/>
                    <a:pt x="337" y="179"/>
                  </a:cubicBezTo>
                  <a:cubicBezTo>
                    <a:pt x="337" y="179"/>
                    <a:pt x="321" y="167"/>
                    <a:pt x="308" y="167"/>
                  </a:cubicBezTo>
                  <a:cubicBezTo>
                    <a:pt x="295" y="167"/>
                    <a:pt x="290" y="205"/>
                    <a:pt x="290" y="212"/>
                  </a:cubicBezTo>
                  <a:cubicBezTo>
                    <a:pt x="290" y="219"/>
                    <a:pt x="279" y="217"/>
                    <a:pt x="272" y="220"/>
                  </a:cubicBezTo>
                  <a:cubicBezTo>
                    <a:pt x="265" y="223"/>
                    <a:pt x="263" y="240"/>
                    <a:pt x="263" y="240"/>
                  </a:cubicBezTo>
                  <a:cubicBezTo>
                    <a:pt x="263" y="240"/>
                    <a:pt x="253" y="238"/>
                    <a:pt x="249" y="239"/>
                  </a:cubicBezTo>
                  <a:cubicBezTo>
                    <a:pt x="245" y="240"/>
                    <a:pt x="244" y="251"/>
                    <a:pt x="244" y="251"/>
                  </a:cubicBezTo>
                  <a:cubicBezTo>
                    <a:pt x="244" y="251"/>
                    <a:pt x="198" y="256"/>
                    <a:pt x="193" y="253"/>
                  </a:cubicBezTo>
                  <a:cubicBezTo>
                    <a:pt x="188" y="250"/>
                    <a:pt x="193" y="231"/>
                    <a:pt x="193" y="231"/>
                  </a:cubicBezTo>
                  <a:cubicBezTo>
                    <a:pt x="193" y="231"/>
                    <a:pt x="201" y="218"/>
                    <a:pt x="203" y="209"/>
                  </a:cubicBezTo>
                  <a:cubicBezTo>
                    <a:pt x="205" y="200"/>
                    <a:pt x="196" y="189"/>
                    <a:pt x="196" y="189"/>
                  </a:cubicBezTo>
                  <a:cubicBezTo>
                    <a:pt x="196" y="189"/>
                    <a:pt x="197" y="179"/>
                    <a:pt x="188" y="160"/>
                  </a:cubicBezTo>
                  <a:cubicBezTo>
                    <a:pt x="184" y="152"/>
                    <a:pt x="175" y="147"/>
                    <a:pt x="166" y="143"/>
                  </a:cubicBezTo>
                  <a:cubicBezTo>
                    <a:pt x="163" y="339"/>
                    <a:pt x="163" y="339"/>
                    <a:pt x="163" y="339"/>
                  </a:cubicBezTo>
                  <a:cubicBezTo>
                    <a:pt x="163" y="339"/>
                    <a:pt x="149" y="340"/>
                    <a:pt x="142" y="343"/>
                  </a:cubicBezTo>
                  <a:cubicBezTo>
                    <a:pt x="135" y="346"/>
                    <a:pt x="137" y="351"/>
                    <a:pt x="137" y="351"/>
                  </a:cubicBezTo>
                  <a:cubicBezTo>
                    <a:pt x="129" y="353"/>
                    <a:pt x="129" y="353"/>
                    <a:pt x="129" y="353"/>
                  </a:cubicBezTo>
                  <a:cubicBezTo>
                    <a:pt x="129" y="353"/>
                    <a:pt x="132" y="367"/>
                    <a:pt x="126" y="367"/>
                  </a:cubicBezTo>
                  <a:cubicBezTo>
                    <a:pt x="121" y="367"/>
                    <a:pt x="114" y="367"/>
                    <a:pt x="114" y="367"/>
                  </a:cubicBezTo>
                  <a:cubicBezTo>
                    <a:pt x="114" y="367"/>
                    <a:pt x="110" y="361"/>
                    <a:pt x="102" y="361"/>
                  </a:cubicBezTo>
                  <a:cubicBezTo>
                    <a:pt x="94" y="361"/>
                    <a:pt x="88" y="369"/>
                    <a:pt x="88" y="369"/>
                  </a:cubicBezTo>
                  <a:cubicBezTo>
                    <a:pt x="76" y="369"/>
                    <a:pt x="76" y="369"/>
                    <a:pt x="76" y="369"/>
                  </a:cubicBezTo>
                  <a:cubicBezTo>
                    <a:pt x="76" y="369"/>
                    <a:pt x="72" y="361"/>
                    <a:pt x="65" y="357"/>
                  </a:cubicBezTo>
                  <a:cubicBezTo>
                    <a:pt x="58" y="353"/>
                    <a:pt x="49" y="359"/>
                    <a:pt x="45" y="352"/>
                  </a:cubicBezTo>
                  <a:cubicBezTo>
                    <a:pt x="40" y="345"/>
                    <a:pt x="41" y="330"/>
                    <a:pt x="41" y="330"/>
                  </a:cubicBezTo>
                  <a:cubicBezTo>
                    <a:pt x="41" y="330"/>
                    <a:pt x="31" y="318"/>
                    <a:pt x="27" y="317"/>
                  </a:cubicBezTo>
                  <a:cubicBezTo>
                    <a:pt x="23" y="316"/>
                    <a:pt x="12" y="340"/>
                    <a:pt x="12" y="340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0" y="345"/>
                    <a:pt x="0" y="345"/>
                    <a:pt x="0" y="345"/>
                  </a:cubicBezTo>
                  <a:cubicBezTo>
                    <a:pt x="0" y="345"/>
                    <a:pt x="7" y="368"/>
                    <a:pt x="11" y="372"/>
                  </a:cubicBezTo>
                  <a:cubicBezTo>
                    <a:pt x="15" y="376"/>
                    <a:pt x="31" y="394"/>
                    <a:pt x="31" y="407"/>
                  </a:cubicBezTo>
                  <a:cubicBezTo>
                    <a:pt x="31" y="420"/>
                    <a:pt x="28" y="446"/>
                    <a:pt x="38" y="461"/>
                  </a:cubicBezTo>
                  <a:cubicBezTo>
                    <a:pt x="48" y="476"/>
                    <a:pt x="83" y="509"/>
                    <a:pt x="83" y="523"/>
                  </a:cubicBezTo>
                  <a:cubicBezTo>
                    <a:pt x="83" y="537"/>
                    <a:pt x="82" y="564"/>
                    <a:pt x="78" y="568"/>
                  </a:cubicBezTo>
                  <a:cubicBezTo>
                    <a:pt x="74" y="572"/>
                    <a:pt x="62" y="564"/>
                    <a:pt x="61" y="572"/>
                  </a:cubicBezTo>
                  <a:cubicBezTo>
                    <a:pt x="60" y="580"/>
                    <a:pt x="63" y="588"/>
                    <a:pt x="73" y="605"/>
                  </a:cubicBezTo>
                  <a:cubicBezTo>
                    <a:pt x="83" y="622"/>
                    <a:pt x="75" y="641"/>
                    <a:pt x="81" y="649"/>
                  </a:cubicBezTo>
                  <a:cubicBezTo>
                    <a:pt x="87" y="657"/>
                    <a:pt x="84" y="646"/>
                    <a:pt x="90" y="643"/>
                  </a:cubicBezTo>
                  <a:cubicBezTo>
                    <a:pt x="96" y="640"/>
                    <a:pt x="103" y="650"/>
                    <a:pt x="103" y="650"/>
                  </a:cubicBezTo>
                  <a:cubicBezTo>
                    <a:pt x="121" y="656"/>
                    <a:pt x="121" y="656"/>
                    <a:pt x="121" y="656"/>
                  </a:cubicBezTo>
                  <a:cubicBezTo>
                    <a:pt x="121" y="656"/>
                    <a:pt x="126" y="682"/>
                    <a:pt x="145" y="679"/>
                  </a:cubicBezTo>
                  <a:cubicBezTo>
                    <a:pt x="164" y="676"/>
                    <a:pt x="165" y="662"/>
                    <a:pt x="177" y="658"/>
                  </a:cubicBezTo>
                  <a:cubicBezTo>
                    <a:pt x="189" y="654"/>
                    <a:pt x="224" y="665"/>
                    <a:pt x="233" y="662"/>
                  </a:cubicBezTo>
                  <a:cubicBezTo>
                    <a:pt x="242" y="659"/>
                    <a:pt x="238" y="638"/>
                    <a:pt x="261" y="638"/>
                  </a:cubicBezTo>
                  <a:cubicBezTo>
                    <a:pt x="284" y="638"/>
                    <a:pt x="292" y="646"/>
                    <a:pt x="292" y="646"/>
                  </a:cubicBezTo>
                  <a:cubicBezTo>
                    <a:pt x="292" y="646"/>
                    <a:pt x="303" y="635"/>
                    <a:pt x="326" y="636"/>
                  </a:cubicBezTo>
                  <a:cubicBezTo>
                    <a:pt x="349" y="637"/>
                    <a:pt x="361" y="647"/>
                    <a:pt x="366" y="646"/>
                  </a:cubicBezTo>
                  <a:cubicBezTo>
                    <a:pt x="371" y="645"/>
                    <a:pt x="383" y="635"/>
                    <a:pt x="383" y="635"/>
                  </a:cubicBezTo>
                  <a:cubicBezTo>
                    <a:pt x="383" y="635"/>
                    <a:pt x="397" y="642"/>
                    <a:pt x="406" y="637"/>
                  </a:cubicBezTo>
                  <a:cubicBezTo>
                    <a:pt x="415" y="632"/>
                    <a:pt x="427" y="624"/>
                    <a:pt x="427" y="624"/>
                  </a:cubicBezTo>
                  <a:cubicBezTo>
                    <a:pt x="427" y="624"/>
                    <a:pt x="451" y="632"/>
                    <a:pt x="473" y="617"/>
                  </a:cubicBezTo>
                  <a:cubicBezTo>
                    <a:pt x="495" y="602"/>
                    <a:pt x="525" y="573"/>
                    <a:pt x="525" y="573"/>
                  </a:cubicBezTo>
                  <a:cubicBezTo>
                    <a:pt x="538" y="565"/>
                    <a:pt x="538" y="565"/>
                    <a:pt x="538" y="565"/>
                  </a:cubicBezTo>
                  <a:cubicBezTo>
                    <a:pt x="600" y="499"/>
                    <a:pt x="600" y="499"/>
                    <a:pt x="600" y="499"/>
                  </a:cubicBezTo>
                  <a:cubicBezTo>
                    <a:pt x="615" y="500"/>
                    <a:pt x="615" y="500"/>
                    <a:pt x="615" y="500"/>
                  </a:cubicBezTo>
                  <a:cubicBezTo>
                    <a:pt x="615" y="500"/>
                    <a:pt x="652" y="449"/>
                    <a:pt x="656" y="435"/>
                  </a:cubicBezTo>
                  <a:cubicBezTo>
                    <a:pt x="660" y="421"/>
                    <a:pt x="677" y="385"/>
                    <a:pt x="686" y="379"/>
                  </a:cubicBezTo>
                  <a:cubicBezTo>
                    <a:pt x="695" y="373"/>
                    <a:pt x="726" y="360"/>
                    <a:pt x="729" y="349"/>
                  </a:cubicBezTo>
                  <a:cubicBezTo>
                    <a:pt x="732" y="338"/>
                    <a:pt x="748" y="297"/>
                    <a:pt x="748" y="297"/>
                  </a:cubicBezTo>
                  <a:cubicBezTo>
                    <a:pt x="748" y="297"/>
                    <a:pt x="754" y="280"/>
                    <a:pt x="759" y="264"/>
                  </a:cubicBezTo>
                  <a:cubicBezTo>
                    <a:pt x="755" y="258"/>
                    <a:pt x="750" y="252"/>
                    <a:pt x="746" y="250"/>
                  </a:cubicBezTo>
                  <a:close/>
                  <a:moveTo>
                    <a:pt x="580" y="418"/>
                  </a:moveTo>
                  <a:cubicBezTo>
                    <a:pt x="580" y="418"/>
                    <a:pt x="571" y="426"/>
                    <a:pt x="563" y="428"/>
                  </a:cubicBezTo>
                  <a:cubicBezTo>
                    <a:pt x="555" y="430"/>
                    <a:pt x="552" y="428"/>
                    <a:pt x="542" y="432"/>
                  </a:cubicBezTo>
                  <a:cubicBezTo>
                    <a:pt x="532" y="436"/>
                    <a:pt x="531" y="456"/>
                    <a:pt x="531" y="456"/>
                  </a:cubicBezTo>
                  <a:cubicBezTo>
                    <a:pt x="516" y="457"/>
                    <a:pt x="516" y="457"/>
                    <a:pt x="516" y="457"/>
                  </a:cubicBezTo>
                  <a:cubicBezTo>
                    <a:pt x="498" y="437"/>
                    <a:pt x="498" y="437"/>
                    <a:pt x="498" y="437"/>
                  </a:cubicBezTo>
                  <a:cubicBezTo>
                    <a:pt x="498" y="426"/>
                    <a:pt x="498" y="426"/>
                    <a:pt x="498" y="426"/>
                  </a:cubicBezTo>
                  <a:cubicBezTo>
                    <a:pt x="481" y="401"/>
                    <a:pt x="481" y="401"/>
                    <a:pt x="481" y="401"/>
                  </a:cubicBezTo>
                  <a:cubicBezTo>
                    <a:pt x="498" y="399"/>
                    <a:pt x="498" y="399"/>
                    <a:pt x="498" y="399"/>
                  </a:cubicBezTo>
                  <a:cubicBezTo>
                    <a:pt x="500" y="389"/>
                    <a:pt x="500" y="389"/>
                    <a:pt x="500" y="389"/>
                  </a:cubicBezTo>
                  <a:cubicBezTo>
                    <a:pt x="512" y="376"/>
                    <a:pt x="512" y="376"/>
                    <a:pt x="512" y="376"/>
                  </a:cubicBezTo>
                  <a:cubicBezTo>
                    <a:pt x="512" y="376"/>
                    <a:pt x="514" y="366"/>
                    <a:pt x="519" y="362"/>
                  </a:cubicBezTo>
                  <a:cubicBezTo>
                    <a:pt x="524" y="358"/>
                    <a:pt x="534" y="361"/>
                    <a:pt x="534" y="361"/>
                  </a:cubicBezTo>
                  <a:cubicBezTo>
                    <a:pt x="535" y="351"/>
                    <a:pt x="535" y="351"/>
                    <a:pt x="535" y="351"/>
                  </a:cubicBezTo>
                  <a:cubicBezTo>
                    <a:pt x="543" y="348"/>
                    <a:pt x="543" y="348"/>
                    <a:pt x="543" y="348"/>
                  </a:cubicBezTo>
                  <a:cubicBezTo>
                    <a:pt x="543" y="348"/>
                    <a:pt x="559" y="343"/>
                    <a:pt x="564" y="349"/>
                  </a:cubicBezTo>
                  <a:cubicBezTo>
                    <a:pt x="569" y="355"/>
                    <a:pt x="581" y="374"/>
                    <a:pt x="581" y="374"/>
                  </a:cubicBezTo>
                  <a:cubicBezTo>
                    <a:pt x="591" y="377"/>
                    <a:pt x="591" y="377"/>
                    <a:pt x="591" y="377"/>
                  </a:cubicBezTo>
                  <a:cubicBezTo>
                    <a:pt x="592" y="393"/>
                    <a:pt x="592" y="393"/>
                    <a:pt x="592" y="393"/>
                  </a:cubicBezTo>
                  <a:cubicBezTo>
                    <a:pt x="577" y="406"/>
                    <a:pt x="577" y="406"/>
                    <a:pt x="577" y="406"/>
                  </a:cubicBezTo>
                  <a:lnTo>
                    <a:pt x="580" y="418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2" name="Freeform 330">
              <a:extLst>
                <a:ext uri="{FF2B5EF4-FFF2-40B4-BE49-F238E27FC236}">
                  <a16:creationId xmlns:a16="http://schemas.microsoft.com/office/drawing/2014/main" id="{229E621A-54E4-9FDB-F69A-272815CEE1F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7066" y="-17600"/>
              <a:ext cx="933" cy="1297"/>
            </a:xfrm>
            <a:custGeom>
              <a:avLst/>
              <a:gdLst>
                <a:gd name="T0" fmla="*/ 118 w 395"/>
                <a:gd name="T1" fmla="*/ 256 h 549"/>
                <a:gd name="T2" fmla="*/ 111 w 395"/>
                <a:gd name="T3" fmla="*/ 221 h 549"/>
                <a:gd name="T4" fmla="*/ 98 w 395"/>
                <a:gd name="T5" fmla="*/ 248 h 549"/>
                <a:gd name="T6" fmla="*/ 222 w 395"/>
                <a:gd name="T7" fmla="*/ 93 h 549"/>
                <a:gd name="T8" fmla="*/ 97 w 395"/>
                <a:gd name="T9" fmla="*/ 159 h 549"/>
                <a:gd name="T10" fmla="*/ 93 w 395"/>
                <a:gd name="T11" fmla="*/ 183 h 549"/>
                <a:gd name="T12" fmla="*/ 325 w 395"/>
                <a:gd name="T13" fmla="*/ 1 h 549"/>
                <a:gd name="T14" fmla="*/ 296 w 395"/>
                <a:gd name="T15" fmla="*/ 36 h 549"/>
                <a:gd name="T16" fmla="*/ 301 w 395"/>
                <a:gd name="T17" fmla="*/ 12 h 549"/>
                <a:gd name="T18" fmla="*/ 296 w 395"/>
                <a:gd name="T19" fmla="*/ 36 h 549"/>
                <a:gd name="T20" fmla="*/ 246 w 395"/>
                <a:gd name="T21" fmla="*/ 96 h 549"/>
                <a:gd name="T22" fmla="*/ 128 w 395"/>
                <a:gd name="T23" fmla="*/ 258 h 549"/>
                <a:gd name="T24" fmla="*/ 331 w 395"/>
                <a:gd name="T25" fmla="*/ 402 h 549"/>
                <a:gd name="T26" fmla="*/ 330 w 395"/>
                <a:gd name="T27" fmla="*/ 357 h 549"/>
                <a:gd name="T28" fmla="*/ 291 w 395"/>
                <a:gd name="T29" fmla="*/ 314 h 549"/>
                <a:gd name="T30" fmla="*/ 265 w 395"/>
                <a:gd name="T31" fmla="*/ 261 h 549"/>
                <a:gd name="T32" fmla="*/ 191 w 395"/>
                <a:gd name="T33" fmla="*/ 235 h 549"/>
                <a:gd name="T34" fmla="*/ 214 w 395"/>
                <a:gd name="T35" fmla="*/ 222 h 549"/>
                <a:gd name="T36" fmla="*/ 261 w 395"/>
                <a:gd name="T37" fmla="*/ 177 h 549"/>
                <a:gd name="T38" fmla="*/ 211 w 395"/>
                <a:gd name="T39" fmla="*/ 154 h 549"/>
                <a:gd name="T40" fmla="*/ 179 w 395"/>
                <a:gd name="T41" fmla="*/ 147 h 549"/>
                <a:gd name="T42" fmla="*/ 224 w 395"/>
                <a:gd name="T43" fmla="*/ 112 h 549"/>
                <a:gd name="T44" fmla="*/ 153 w 395"/>
                <a:gd name="T45" fmla="*/ 110 h 549"/>
                <a:gd name="T46" fmla="*/ 144 w 395"/>
                <a:gd name="T47" fmla="*/ 148 h 549"/>
                <a:gd name="T48" fmla="*/ 121 w 395"/>
                <a:gd name="T49" fmla="*/ 162 h 549"/>
                <a:gd name="T50" fmla="*/ 116 w 395"/>
                <a:gd name="T51" fmla="*/ 198 h 549"/>
                <a:gd name="T52" fmla="*/ 134 w 395"/>
                <a:gd name="T53" fmla="*/ 202 h 549"/>
                <a:gd name="T54" fmla="*/ 116 w 395"/>
                <a:gd name="T55" fmla="*/ 250 h 549"/>
                <a:gd name="T56" fmla="*/ 144 w 395"/>
                <a:gd name="T57" fmla="*/ 251 h 549"/>
                <a:gd name="T58" fmla="*/ 146 w 395"/>
                <a:gd name="T59" fmla="*/ 306 h 549"/>
                <a:gd name="T60" fmla="*/ 211 w 395"/>
                <a:gd name="T61" fmla="*/ 295 h 549"/>
                <a:gd name="T62" fmla="*/ 216 w 395"/>
                <a:gd name="T63" fmla="*/ 349 h 549"/>
                <a:gd name="T64" fmla="*/ 162 w 395"/>
                <a:gd name="T65" fmla="*/ 377 h 549"/>
                <a:gd name="T66" fmla="*/ 135 w 395"/>
                <a:gd name="T67" fmla="*/ 402 h 549"/>
                <a:gd name="T68" fmla="*/ 117 w 395"/>
                <a:gd name="T69" fmla="*/ 448 h 549"/>
                <a:gd name="T70" fmla="*/ 151 w 395"/>
                <a:gd name="T71" fmla="*/ 466 h 549"/>
                <a:gd name="T72" fmla="*/ 202 w 395"/>
                <a:gd name="T73" fmla="*/ 467 h 549"/>
                <a:gd name="T74" fmla="*/ 156 w 395"/>
                <a:gd name="T75" fmla="*/ 485 h 549"/>
                <a:gd name="T76" fmla="*/ 129 w 395"/>
                <a:gd name="T77" fmla="*/ 516 h 549"/>
                <a:gd name="T78" fmla="*/ 83 w 395"/>
                <a:gd name="T79" fmla="*/ 545 h 549"/>
                <a:gd name="T80" fmla="*/ 147 w 395"/>
                <a:gd name="T81" fmla="*/ 530 h 549"/>
                <a:gd name="T82" fmla="*/ 211 w 395"/>
                <a:gd name="T83" fmla="*/ 519 h 549"/>
                <a:gd name="T84" fmla="*/ 273 w 395"/>
                <a:gd name="T85" fmla="*/ 520 h 549"/>
                <a:gd name="T86" fmla="*/ 293 w 395"/>
                <a:gd name="T87" fmla="*/ 508 h 549"/>
                <a:gd name="T88" fmla="*/ 340 w 395"/>
                <a:gd name="T89" fmla="*/ 474 h 549"/>
                <a:gd name="T90" fmla="*/ 375 w 395"/>
                <a:gd name="T91" fmla="*/ 447 h 549"/>
                <a:gd name="T92" fmla="*/ 157 w 395"/>
                <a:gd name="T93" fmla="*/ 325 h 549"/>
                <a:gd name="T94" fmla="*/ 94 w 395"/>
                <a:gd name="T95" fmla="*/ 338 h 549"/>
                <a:gd name="T96" fmla="*/ 110 w 395"/>
                <a:gd name="T97" fmla="*/ 308 h 549"/>
                <a:gd name="T98" fmla="*/ 86 w 395"/>
                <a:gd name="T99" fmla="*/ 281 h 549"/>
                <a:gd name="T100" fmla="*/ 58 w 395"/>
                <a:gd name="T101" fmla="*/ 288 h 549"/>
                <a:gd name="T102" fmla="*/ 13 w 395"/>
                <a:gd name="T103" fmla="*/ 325 h 549"/>
                <a:gd name="T104" fmla="*/ 67 w 395"/>
                <a:gd name="T105" fmla="*/ 335 h 549"/>
                <a:gd name="T106" fmla="*/ 63 w 395"/>
                <a:gd name="T107" fmla="*/ 155 h 549"/>
                <a:gd name="T108" fmla="*/ 63 w 395"/>
                <a:gd name="T109" fmla="*/ 155 h 549"/>
                <a:gd name="T110" fmla="*/ 108 w 395"/>
                <a:gd name="T111" fmla="*/ 115 h 549"/>
                <a:gd name="T112" fmla="*/ 72 w 395"/>
                <a:gd name="T113" fmla="*/ 128 h 549"/>
                <a:gd name="T114" fmla="*/ 57 w 395"/>
                <a:gd name="T115" fmla="*/ 169 h 549"/>
                <a:gd name="T116" fmla="*/ 57 w 395"/>
                <a:gd name="T117" fmla="*/ 169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95" h="549">
                  <a:moveTo>
                    <a:pt x="118" y="256"/>
                  </a:moveTo>
                  <a:cubicBezTo>
                    <a:pt x="110" y="256"/>
                    <a:pt x="109" y="262"/>
                    <a:pt x="106" y="277"/>
                  </a:cubicBezTo>
                  <a:cubicBezTo>
                    <a:pt x="104" y="289"/>
                    <a:pt x="126" y="256"/>
                    <a:pt x="118" y="256"/>
                  </a:cubicBezTo>
                  <a:close/>
                  <a:moveTo>
                    <a:pt x="100" y="210"/>
                  </a:moveTo>
                  <a:cubicBezTo>
                    <a:pt x="96" y="210"/>
                    <a:pt x="90" y="222"/>
                    <a:pt x="94" y="225"/>
                  </a:cubicBezTo>
                  <a:cubicBezTo>
                    <a:pt x="98" y="228"/>
                    <a:pt x="111" y="221"/>
                    <a:pt x="111" y="221"/>
                  </a:cubicBezTo>
                  <a:cubicBezTo>
                    <a:pt x="111" y="221"/>
                    <a:pt x="104" y="210"/>
                    <a:pt x="100" y="210"/>
                  </a:cubicBezTo>
                  <a:close/>
                  <a:moveTo>
                    <a:pt x="87" y="261"/>
                  </a:moveTo>
                  <a:cubicBezTo>
                    <a:pt x="102" y="261"/>
                    <a:pt x="109" y="250"/>
                    <a:pt x="98" y="248"/>
                  </a:cubicBezTo>
                  <a:cubicBezTo>
                    <a:pt x="87" y="246"/>
                    <a:pt x="78" y="261"/>
                    <a:pt x="87" y="261"/>
                  </a:cubicBezTo>
                  <a:close/>
                  <a:moveTo>
                    <a:pt x="231" y="85"/>
                  </a:moveTo>
                  <a:cubicBezTo>
                    <a:pt x="223" y="78"/>
                    <a:pt x="222" y="93"/>
                    <a:pt x="222" y="93"/>
                  </a:cubicBezTo>
                  <a:cubicBezTo>
                    <a:pt x="229" y="99"/>
                    <a:pt x="239" y="92"/>
                    <a:pt x="231" y="85"/>
                  </a:cubicBezTo>
                  <a:close/>
                  <a:moveTo>
                    <a:pt x="103" y="176"/>
                  </a:moveTo>
                  <a:cubicBezTo>
                    <a:pt x="103" y="176"/>
                    <a:pt x="107" y="159"/>
                    <a:pt x="97" y="159"/>
                  </a:cubicBezTo>
                  <a:cubicBezTo>
                    <a:pt x="87" y="159"/>
                    <a:pt x="93" y="169"/>
                    <a:pt x="93" y="169"/>
                  </a:cubicBezTo>
                  <a:cubicBezTo>
                    <a:pt x="93" y="169"/>
                    <a:pt x="85" y="166"/>
                    <a:pt x="82" y="169"/>
                  </a:cubicBezTo>
                  <a:cubicBezTo>
                    <a:pt x="79" y="172"/>
                    <a:pt x="91" y="179"/>
                    <a:pt x="93" y="183"/>
                  </a:cubicBezTo>
                  <a:cubicBezTo>
                    <a:pt x="95" y="187"/>
                    <a:pt x="110" y="184"/>
                    <a:pt x="110" y="184"/>
                  </a:cubicBezTo>
                  <a:lnTo>
                    <a:pt x="103" y="176"/>
                  </a:lnTo>
                  <a:close/>
                  <a:moveTo>
                    <a:pt x="325" y="1"/>
                  </a:moveTo>
                  <a:cubicBezTo>
                    <a:pt x="318" y="2"/>
                    <a:pt x="316" y="11"/>
                    <a:pt x="316" y="11"/>
                  </a:cubicBezTo>
                  <a:cubicBezTo>
                    <a:pt x="327" y="16"/>
                    <a:pt x="332" y="0"/>
                    <a:pt x="325" y="1"/>
                  </a:cubicBezTo>
                  <a:close/>
                  <a:moveTo>
                    <a:pt x="296" y="36"/>
                  </a:moveTo>
                  <a:cubicBezTo>
                    <a:pt x="300" y="45"/>
                    <a:pt x="300" y="45"/>
                    <a:pt x="300" y="45"/>
                  </a:cubicBezTo>
                  <a:cubicBezTo>
                    <a:pt x="305" y="49"/>
                    <a:pt x="312" y="28"/>
                    <a:pt x="311" y="24"/>
                  </a:cubicBezTo>
                  <a:cubicBezTo>
                    <a:pt x="310" y="20"/>
                    <a:pt x="301" y="12"/>
                    <a:pt x="301" y="12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300" y="21"/>
                    <a:pt x="287" y="25"/>
                    <a:pt x="288" y="29"/>
                  </a:cubicBezTo>
                  <a:cubicBezTo>
                    <a:pt x="289" y="33"/>
                    <a:pt x="296" y="36"/>
                    <a:pt x="296" y="36"/>
                  </a:cubicBezTo>
                  <a:close/>
                  <a:moveTo>
                    <a:pt x="239" y="94"/>
                  </a:moveTo>
                  <a:cubicBezTo>
                    <a:pt x="237" y="104"/>
                    <a:pt x="237" y="104"/>
                    <a:pt x="237" y="104"/>
                  </a:cubicBezTo>
                  <a:cubicBezTo>
                    <a:pt x="246" y="96"/>
                    <a:pt x="246" y="96"/>
                    <a:pt x="246" y="96"/>
                  </a:cubicBezTo>
                  <a:lnTo>
                    <a:pt x="239" y="94"/>
                  </a:lnTo>
                  <a:close/>
                  <a:moveTo>
                    <a:pt x="137" y="269"/>
                  </a:moveTo>
                  <a:cubicBezTo>
                    <a:pt x="143" y="265"/>
                    <a:pt x="134" y="252"/>
                    <a:pt x="128" y="258"/>
                  </a:cubicBezTo>
                  <a:cubicBezTo>
                    <a:pt x="122" y="264"/>
                    <a:pt x="130" y="273"/>
                    <a:pt x="137" y="269"/>
                  </a:cubicBezTo>
                  <a:close/>
                  <a:moveTo>
                    <a:pt x="346" y="395"/>
                  </a:moveTo>
                  <a:cubicBezTo>
                    <a:pt x="346" y="395"/>
                    <a:pt x="341" y="409"/>
                    <a:pt x="331" y="402"/>
                  </a:cubicBezTo>
                  <a:cubicBezTo>
                    <a:pt x="321" y="394"/>
                    <a:pt x="341" y="387"/>
                    <a:pt x="340" y="378"/>
                  </a:cubicBezTo>
                  <a:cubicBezTo>
                    <a:pt x="339" y="369"/>
                    <a:pt x="308" y="364"/>
                    <a:pt x="308" y="359"/>
                  </a:cubicBezTo>
                  <a:cubicBezTo>
                    <a:pt x="308" y="354"/>
                    <a:pt x="330" y="357"/>
                    <a:pt x="330" y="357"/>
                  </a:cubicBezTo>
                  <a:cubicBezTo>
                    <a:pt x="321" y="349"/>
                    <a:pt x="321" y="349"/>
                    <a:pt x="321" y="349"/>
                  </a:cubicBezTo>
                  <a:cubicBezTo>
                    <a:pt x="321" y="349"/>
                    <a:pt x="312" y="328"/>
                    <a:pt x="308" y="321"/>
                  </a:cubicBezTo>
                  <a:cubicBezTo>
                    <a:pt x="304" y="314"/>
                    <a:pt x="291" y="314"/>
                    <a:pt x="291" y="314"/>
                  </a:cubicBezTo>
                  <a:cubicBezTo>
                    <a:pt x="291" y="314"/>
                    <a:pt x="283" y="305"/>
                    <a:pt x="275" y="299"/>
                  </a:cubicBezTo>
                  <a:cubicBezTo>
                    <a:pt x="267" y="293"/>
                    <a:pt x="273" y="261"/>
                    <a:pt x="273" y="261"/>
                  </a:cubicBezTo>
                  <a:cubicBezTo>
                    <a:pt x="265" y="261"/>
                    <a:pt x="265" y="261"/>
                    <a:pt x="265" y="261"/>
                  </a:cubicBezTo>
                  <a:cubicBezTo>
                    <a:pt x="265" y="261"/>
                    <a:pt x="264" y="255"/>
                    <a:pt x="250" y="245"/>
                  </a:cubicBezTo>
                  <a:cubicBezTo>
                    <a:pt x="235" y="235"/>
                    <a:pt x="216" y="245"/>
                    <a:pt x="208" y="246"/>
                  </a:cubicBezTo>
                  <a:cubicBezTo>
                    <a:pt x="200" y="247"/>
                    <a:pt x="191" y="235"/>
                    <a:pt x="191" y="235"/>
                  </a:cubicBezTo>
                  <a:cubicBezTo>
                    <a:pt x="191" y="235"/>
                    <a:pt x="205" y="240"/>
                    <a:pt x="209" y="239"/>
                  </a:cubicBezTo>
                  <a:cubicBezTo>
                    <a:pt x="213" y="238"/>
                    <a:pt x="231" y="234"/>
                    <a:pt x="232" y="228"/>
                  </a:cubicBezTo>
                  <a:cubicBezTo>
                    <a:pt x="233" y="223"/>
                    <a:pt x="214" y="222"/>
                    <a:pt x="214" y="222"/>
                  </a:cubicBezTo>
                  <a:cubicBezTo>
                    <a:pt x="230" y="218"/>
                    <a:pt x="230" y="218"/>
                    <a:pt x="230" y="218"/>
                  </a:cubicBezTo>
                  <a:cubicBezTo>
                    <a:pt x="230" y="218"/>
                    <a:pt x="239" y="211"/>
                    <a:pt x="245" y="206"/>
                  </a:cubicBezTo>
                  <a:cubicBezTo>
                    <a:pt x="250" y="201"/>
                    <a:pt x="261" y="177"/>
                    <a:pt x="261" y="177"/>
                  </a:cubicBezTo>
                  <a:cubicBezTo>
                    <a:pt x="261" y="177"/>
                    <a:pt x="276" y="168"/>
                    <a:pt x="276" y="161"/>
                  </a:cubicBezTo>
                  <a:cubicBezTo>
                    <a:pt x="276" y="154"/>
                    <a:pt x="222" y="159"/>
                    <a:pt x="222" y="159"/>
                  </a:cubicBezTo>
                  <a:cubicBezTo>
                    <a:pt x="222" y="159"/>
                    <a:pt x="223" y="154"/>
                    <a:pt x="211" y="154"/>
                  </a:cubicBezTo>
                  <a:cubicBezTo>
                    <a:pt x="199" y="154"/>
                    <a:pt x="177" y="162"/>
                    <a:pt x="177" y="162"/>
                  </a:cubicBezTo>
                  <a:cubicBezTo>
                    <a:pt x="185" y="155"/>
                    <a:pt x="185" y="155"/>
                    <a:pt x="185" y="155"/>
                  </a:cubicBezTo>
                  <a:cubicBezTo>
                    <a:pt x="179" y="147"/>
                    <a:pt x="179" y="147"/>
                    <a:pt x="179" y="147"/>
                  </a:cubicBezTo>
                  <a:cubicBezTo>
                    <a:pt x="191" y="145"/>
                    <a:pt x="191" y="145"/>
                    <a:pt x="191" y="145"/>
                  </a:cubicBezTo>
                  <a:cubicBezTo>
                    <a:pt x="212" y="132"/>
                    <a:pt x="212" y="132"/>
                    <a:pt x="212" y="132"/>
                  </a:cubicBezTo>
                  <a:cubicBezTo>
                    <a:pt x="212" y="132"/>
                    <a:pt x="223" y="123"/>
                    <a:pt x="224" y="112"/>
                  </a:cubicBezTo>
                  <a:cubicBezTo>
                    <a:pt x="225" y="105"/>
                    <a:pt x="211" y="107"/>
                    <a:pt x="203" y="108"/>
                  </a:cubicBezTo>
                  <a:cubicBezTo>
                    <a:pt x="195" y="109"/>
                    <a:pt x="183" y="115"/>
                    <a:pt x="175" y="115"/>
                  </a:cubicBezTo>
                  <a:cubicBezTo>
                    <a:pt x="167" y="115"/>
                    <a:pt x="160" y="106"/>
                    <a:pt x="153" y="110"/>
                  </a:cubicBezTo>
                  <a:cubicBezTo>
                    <a:pt x="146" y="114"/>
                    <a:pt x="153" y="124"/>
                    <a:pt x="153" y="124"/>
                  </a:cubicBezTo>
                  <a:cubicBezTo>
                    <a:pt x="153" y="124"/>
                    <a:pt x="146" y="125"/>
                    <a:pt x="141" y="129"/>
                  </a:cubicBezTo>
                  <a:cubicBezTo>
                    <a:pt x="136" y="133"/>
                    <a:pt x="144" y="148"/>
                    <a:pt x="144" y="148"/>
                  </a:cubicBezTo>
                  <a:cubicBezTo>
                    <a:pt x="115" y="151"/>
                    <a:pt x="115" y="151"/>
                    <a:pt x="115" y="151"/>
                  </a:cubicBezTo>
                  <a:cubicBezTo>
                    <a:pt x="115" y="157"/>
                    <a:pt x="115" y="157"/>
                    <a:pt x="115" y="157"/>
                  </a:cubicBezTo>
                  <a:cubicBezTo>
                    <a:pt x="121" y="162"/>
                    <a:pt x="121" y="162"/>
                    <a:pt x="121" y="162"/>
                  </a:cubicBezTo>
                  <a:cubicBezTo>
                    <a:pt x="130" y="180"/>
                    <a:pt x="130" y="180"/>
                    <a:pt x="130" y="180"/>
                  </a:cubicBezTo>
                  <a:cubicBezTo>
                    <a:pt x="130" y="180"/>
                    <a:pt x="124" y="185"/>
                    <a:pt x="121" y="188"/>
                  </a:cubicBezTo>
                  <a:cubicBezTo>
                    <a:pt x="118" y="191"/>
                    <a:pt x="116" y="198"/>
                    <a:pt x="116" y="198"/>
                  </a:cubicBezTo>
                  <a:cubicBezTo>
                    <a:pt x="105" y="203"/>
                    <a:pt x="105" y="203"/>
                    <a:pt x="105" y="203"/>
                  </a:cubicBezTo>
                  <a:cubicBezTo>
                    <a:pt x="105" y="203"/>
                    <a:pt x="111" y="212"/>
                    <a:pt x="119" y="211"/>
                  </a:cubicBezTo>
                  <a:cubicBezTo>
                    <a:pt x="127" y="210"/>
                    <a:pt x="134" y="202"/>
                    <a:pt x="134" y="202"/>
                  </a:cubicBezTo>
                  <a:cubicBezTo>
                    <a:pt x="133" y="214"/>
                    <a:pt x="133" y="214"/>
                    <a:pt x="133" y="214"/>
                  </a:cubicBezTo>
                  <a:cubicBezTo>
                    <a:pt x="133" y="214"/>
                    <a:pt x="120" y="220"/>
                    <a:pt x="115" y="228"/>
                  </a:cubicBezTo>
                  <a:cubicBezTo>
                    <a:pt x="110" y="237"/>
                    <a:pt x="116" y="250"/>
                    <a:pt x="116" y="250"/>
                  </a:cubicBezTo>
                  <a:cubicBezTo>
                    <a:pt x="116" y="250"/>
                    <a:pt x="127" y="242"/>
                    <a:pt x="134" y="247"/>
                  </a:cubicBezTo>
                  <a:cubicBezTo>
                    <a:pt x="140" y="252"/>
                    <a:pt x="153" y="241"/>
                    <a:pt x="153" y="241"/>
                  </a:cubicBezTo>
                  <a:cubicBezTo>
                    <a:pt x="144" y="251"/>
                    <a:pt x="144" y="251"/>
                    <a:pt x="144" y="251"/>
                  </a:cubicBezTo>
                  <a:cubicBezTo>
                    <a:pt x="149" y="269"/>
                    <a:pt x="149" y="269"/>
                    <a:pt x="149" y="269"/>
                  </a:cubicBezTo>
                  <a:cubicBezTo>
                    <a:pt x="149" y="269"/>
                    <a:pt x="138" y="282"/>
                    <a:pt x="130" y="296"/>
                  </a:cubicBezTo>
                  <a:cubicBezTo>
                    <a:pt x="123" y="309"/>
                    <a:pt x="146" y="306"/>
                    <a:pt x="146" y="306"/>
                  </a:cubicBezTo>
                  <a:cubicBezTo>
                    <a:pt x="146" y="306"/>
                    <a:pt x="159" y="300"/>
                    <a:pt x="166" y="303"/>
                  </a:cubicBezTo>
                  <a:cubicBezTo>
                    <a:pt x="173" y="306"/>
                    <a:pt x="189" y="293"/>
                    <a:pt x="189" y="293"/>
                  </a:cubicBezTo>
                  <a:cubicBezTo>
                    <a:pt x="211" y="295"/>
                    <a:pt x="211" y="295"/>
                    <a:pt x="211" y="295"/>
                  </a:cubicBezTo>
                  <a:cubicBezTo>
                    <a:pt x="211" y="295"/>
                    <a:pt x="188" y="308"/>
                    <a:pt x="186" y="318"/>
                  </a:cubicBezTo>
                  <a:cubicBezTo>
                    <a:pt x="185" y="328"/>
                    <a:pt x="215" y="335"/>
                    <a:pt x="215" y="335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08" y="361"/>
                    <a:pt x="208" y="361"/>
                    <a:pt x="208" y="361"/>
                  </a:cubicBezTo>
                  <a:cubicBezTo>
                    <a:pt x="208" y="361"/>
                    <a:pt x="210" y="375"/>
                    <a:pt x="207" y="379"/>
                  </a:cubicBezTo>
                  <a:cubicBezTo>
                    <a:pt x="204" y="383"/>
                    <a:pt x="162" y="377"/>
                    <a:pt x="162" y="377"/>
                  </a:cubicBezTo>
                  <a:cubicBezTo>
                    <a:pt x="162" y="377"/>
                    <a:pt x="152" y="374"/>
                    <a:pt x="143" y="376"/>
                  </a:cubicBezTo>
                  <a:cubicBezTo>
                    <a:pt x="134" y="378"/>
                    <a:pt x="149" y="389"/>
                    <a:pt x="149" y="389"/>
                  </a:cubicBezTo>
                  <a:cubicBezTo>
                    <a:pt x="135" y="402"/>
                    <a:pt x="135" y="402"/>
                    <a:pt x="135" y="402"/>
                  </a:cubicBezTo>
                  <a:cubicBezTo>
                    <a:pt x="163" y="400"/>
                    <a:pt x="163" y="400"/>
                    <a:pt x="163" y="400"/>
                  </a:cubicBezTo>
                  <a:cubicBezTo>
                    <a:pt x="163" y="400"/>
                    <a:pt x="163" y="423"/>
                    <a:pt x="156" y="430"/>
                  </a:cubicBezTo>
                  <a:cubicBezTo>
                    <a:pt x="149" y="437"/>
                    <a:pt x="121" y="445"/>
                    <a:pt x="117" y="448"/>
                  </a:cubicBezTo>
                  <a:cubicBezTo>
                    <a:pt x="113" y="451"/>
                    <a:pt x="118" y="466"/>
                    <a:pt x="122" y="468"/>
                  </a:cubicBezTo>
                  <a:cubicBezTo>
                    <a:pt x="126" y="470"/>
                    <a:pt x="144" y="456"/>
                    <a:pt x="144" y="456"/>
                  </a:cubicBezTo>
                  <a:cubicBezTo>
                    <a:pt x="144" y="456"/>
                    <a:pt x="147" y="462"/>
                    <a:pt x="151" y="466"/>
                  </a:cubicBezTo>
                  <a:cubicBezTo>
                    <a:pt x="155" y="470"/>
                    <a:pt x="165" y="466"/>
                    <a:pt x="165" y="466"/>
                  </a:cubicBezTo>
                  <a:cubicBezTo>
                    <a:pt x="165" y="466"/>
                    <a:pt x="173" y="475"/>
                    <a:pt x="181" y="476"/>
                  </a:cubicBezTo>
                  <a:cubicBezTo>
                    <a:pt x="190" y="477"/>
                    <a:pt x="197" y="472"/>
                    <a:pt x="202" y="467"/>
                  </a:cubicBezTo>
                  <a:cubicBezTo>
                    <a:pt x="207" y="462"/>
                    <a:pt x="220" y="463"/>
                    <a:pt x="220" y="463"/>
                  </a:cubicBezTo>
                  <a:cubicBezTo>
                    <a:pt x="220" y="463"/>
                    <a:pt x="204" y="478"/>
                    <a:pt x="194" y="485"/>
                  </a:cubicBezTo>
                  <a:cubicBezTo>
                    <a:pt x="183" y="492"/>
                    <a:pt x="163" y="485"/>
                    <a:pt x="156" y="485"/>
                  </a:cubicBezTo>
                  <a:cubicBezTo>
                    <a:pt x="149" y="485"/>
                    <a:pt x="151" y="495"/>
                    <a:pt x="151" y="495"/>
                  </a:cubicBezTo>
                  <a:cubicBezTo>
                    <a:pt x="151" y="495"/>
                    <a:pt x="142" y="495"/>
                    <a:pt x="135" y="498"/>
                  </a:cubicBezTo>
                  <a:cubicBezTo>
                    <a:pt x="127" y="501"/>
                    <a:pt x="135" y="507"/>
                    <a:pt x="129" y="516"/>
                  </a:cubicBezTo>
                  <a:cubicBezTo>
                    <a:pt x="124" y="524"/>
                    <a:pt x="117" y="520"/>
                    <a:pt x="110" y="520"/>
                  </a:cubicBezTo>
                  <a:cubicBezTo>
                    <a:pt x="103" y="520"/>
                    <a:pt x="106" y="530"/>
                    <a:pt x="99" y="536"/>
                  </a:cubicBezTo>
                  <a:cubicBezTo>
                    <a:pt x="92" y="542"/>
                    <a:pt x="83" y="541"/>
                    <a:pt x="83" y="545"/>
                  </a:cubicBezTo>
                  <a:cubicBezTo>
                    <a:pt x="83" y="549"/>
                    <a:pt x="102" y="549"/>
                    <a:pt x="105" y="549"/>
                  </a:cubicBezTo>
                  <a:cubicBezTo>
                    <a:pt x="108" y="549"/>
                    <a:pt x="116" y="539"/>
                    <a:pt x="122" y="534"/>
                  </a:cubicBezTo>
                  <a:cubicBezTo>
                    <a:pt x="128" y="529"/>
                    <a:pt x="138" y="530"/>
                    <a:pt x="147" y="530"/>
                  </a:cubicBezTo>
                  <a:cubicBezTo>
                    <a:pt x="156" y="530"/>
                    <a:pt x="159" y="540"/>
                    <a:pt x="165" y="540"/>
                  </a:cubicBezTo>
                  <a:cubicBezTo>
                    <a:pt x="171" y="540"/>
                    <a:pt x="184" y="515"/>
                    <a:pt x="191" y="512"/>
                  </a:cubicBezTo>
                  <a:cubicBezTo>
                    <a:pt x="197" y="508"/>
                    <a:pt x="211" y="519"/>
                    <a:pt x="211" y="519"/>
                  </a:cubicBezTo>
                  <a:cubicBezTo>
                    <a:pt x="228" y="520"/>
                    <a:pt x="228" y="520"/>
                    <a:pt x="228" y="520"/>
                  </a:cubicBezTo>
                  <a:cubicBezTo>
                    <a:pt x="248" y="512"/>
                    <a:pt x="248" y="512"/>
                    <a:pt x="248" y="512"/>
                  </a:cubicBezTo>
                  <a:cubicBezTo>
                    <a:pt x="248" y="512"/>
                    <a:pt x="267" y="521"/>
                    <a:pt x="273" y="520"/>
                  </a:cubicBezTo>
                  <a:cubicBezTo>
                    <a:pt x="279" y="519"/>
                    <a:pt x="265" y="508"/>
                    <a:pt x="271" y="503"/>
                  </a:cubicBezTo>
                  <a:cubicBezTo>
                    <a:pt x="277" y="498"/>
                    <a:pt x="286" y="513"/>
                    <a:pt x="286" y="513"/>
                  </a:cubicBezTo>
                  <a:cubicBezTo>
                    <a:pt x="293" y="508"/>
                    <a:pt x="293" y="508"/>
                    <a:pt x="293" y="508"/>
                  </a:cubicBezTo>
                  <a:cubicBezTo>
                    <a:pt x="293" y="508"/>
                    <a:pt x="346" y="508"/>
                    <a:pt x="359" y="501"/>
                  </a:cubicBezTo>
                  <a:cubicBezTo>
                    <a:pt x="371" y="494"/>
                    <a:pt x="379" y="479"/>
                    <a:pt x="379" y="479"/>
                  </a:cubicBezTo>
                  <a:cubicBezTo>
                    <a:pt x="340" y="474"/>
                    <a:pt x="340" y="474"/>
                    <a:pt x="340" y="474"/>
                  </a:cubicBezTo>
                  <a:cubicBezTo>
                    <a:pt x="358" y="471"/>
                    <a:pt x="358" y="471"/>
                    <a:pt x="358" y="471"/>
                  </a:cubicBezTo>
                  <a:cubicBezTo>
                    <a:pt x="354" y="461"/>
                    <a:pt x="354" y="461"/>
                    <a:pt x="354" y="461"/>
                  </a:cubicBezTo>
                  <a:cubicBezTo>
                    <a:pt x="354" y="461"/>
                    <a:pt x="368" y="448"/>
                    <a:pt x="375" y="447"/>
                  </a:cubicBezTo>
                  <a:cubicBezTo>
                    <a:pt x="382" y="446"/>
                    <a:pt x="393" y="435"/>
                    <a:pt x="394" y="415"/>
                  </a:cubicBezTo>
                  <a:cubicBezTo>
                    <a:pt x="395" y="394"/>
                    <a:pt x="346" y="395"/>
                    <a:pt x="346" y="395"/>
                  </a:cubicBezTo>
                  <a:close/>
                  <a:moveTo>
                    <a:pt x="157" y="325"/>
                  </a:moveTo>
                  <a:cubicBezTo>
                    <a:pt x="152" y="310"/>
                    <a:pt x="147" y="330"/>
                    <a:pt x="138" y="338"/>
                  </a:cubicBezTo>
                  <a:cubicBezTo>
                    <a:pt x="138" y="338"/>
                    <a:pt x="162" y="340"/>
                    <a:pt x="157" y="325"/>
                  </a:cubicBezTo>
                  <a:close/>
                  <a:moveTo>
                    <a:pt x="94" y="338"/>
                  </a:moveTo>
                  <a:cubicBezTo>
                    <a:pt x="97" y="335"/>
                    <a:pt x="99" y="329"/>
                    <a:pt x="99" y="329"/>
                  </a:cubicBezTo>
                  <a:cubicBezTo>
                    <a:pt x="99" y="329"/>
                    <a:pt x="104" y="336"/>
                    <a:pt x="107" y="330"/>
                  </a:cubicBezTo>
                  <a:cubicBezTo>
                    <a:pt x="110" y="324"/>
                    <a:pt x="117" y="314"/>
                    <a:pt x="110" y="308"/>
                  </a:cubicBezTo>
                  <a:cubicBezTo>
                    <a:pt x="103" y="302"/>
                    <a:pt x="103" y="293"/>
                    <a:pt x="103" y="293"/>
                  </a:cubicBezTo>
                  <a:cubicBezTo>
                    <a:pt x="98" y="295"/>
                    <a:pt x="98" y="295"/>
                    <a:pt x="98" y="295"/>
                  </a:cubicBezTo>
                  <a:cubicBezTo>
                    <a:pt x="98" y="295"/>
                    <a:pt x="93" y="283"/>
                    <a:pt x="86" y="281"/>
                  </a:cubicBezTo>
                  <a:cubicBezTo>
                    <a:pt x="79" y="279"/>
                    <a:pt x="61" y="282"/>
                    <a:pt x="61" y="282"/>
                  </a:cubicBezTo>
                  <a:cubicBezTo>
                    <a:pt x="61" y="282"/>
                    <a:pt x="61" y="282"/>
                    <a:pt x="61" y="281"/>
                  </a:cubicBezTo>
                  <a:cubicBezTo>
                    <a:pt x="58" y="288"/>
                    <a:pt x="58" y="288"/>
                    <a:pt x="58" y="288"/>
                  </a:cubicBezTo>
                  <a:cubicBezTo>
                    <a:pt x="28" y="302"/>
                    <a:pt x="28" y="302"/>
                    <a:pt x="28" y="302"/>
                  </a:cubicBezTo>
                  <a:cubicBezTo>
                    <a:pt x="29" y="312"/>
                    <a:pt x="29" y="312"/>
                    <a:pt x="29" y="312"/>
                  </a:cubicBezTo>
                  <a:cubicBezTo>
                    <a:pt x="29" y="312"/>
                    <a:pt x="0" y="318"/>
                    <a:pt x="13" y="325"/>
                  </a:cubicBezTo>
                  <a:cubicBezTo>
                    <a:pt x="26" y="333"/>
                    <a:pt x="38" y="335"/>
                    <a:pt x="38" y="335"/>
                  </a:cubicBezTo>
                  <a:cubicBezTo>
                    <a:pt x="55" y="319"/>
                    <a:pt x="55" y="319"/>
                    <a:pt x="55" y="319"/>
                  </a:cubicBezTo>
                  <a:cubicBezTo>
                    <a:pt x="67" y="335"/>
                    <a:pt x="67" y="335"/>
                    <a:pt x="67" y="335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91" y="340"/>
                    <a:pt x="93" y="339"/>
                    <a:pt x="94" y="338"/>
                  </a:cubicBezTo>
                  <a:close/>
                  <a:moveTo>
                    <a:pt x="63" y="155"/>
                  </a:moveTo>
                  <a:cubicBezTo>
                    <a:pt x="57" y="155"/>
                    <a:pt x="54" y="155"/>
                    <a:pt x="52" y="163"/>
                  </a:cubicBezTo>
                  <a:cubicBezTo>
                    <a:pt x="66" y="163"/>
                    <a:pt x="66" y="163"/>
                    <a:pt x="66" y="163"/>
                  </a:cubicBezTo>
                  <a:cubicBezTo>
                    <a:pt x="66" y="163"/>
                    <a:pt x="69" y="155"/>
                    <a:pt x="63" y="155"/>
                  </a:cubicBezTo>
                  <a:close/>
                  <a:moveTo>
                    <a:pt x="82" y="144"/>
                  </a:moveTo>
                  <a:cubicBezTo>
                    <a:pt x="82" y="144"/>
                    <a:pt x="88" y="146"/>
                    <a:pt x="94" y="145"/>
                  </a:cubicBezTo>
                  <a:cubicBezTo>
                    <a:pt x="100" y="144"/>
                    <a:pt x="108" y="115"/>
                    <a:pt x="108" y="115"/>
                  </a:cubicBezTo>
                  <a:cubicBezTo>
                    <a:pt x="108" y="115"/>
                    <a:pt x="100" y="117"/>
                    <a:pt x="94" y="122"/>
                  </a:cubicBezTo>
                  <a:cubicBezTo>
                    <a:pt x="88" y="126"/>
                    <a:pt x="86" y="133"/>
                    <a:pt x="86" y="133"/>
                  </a:cubicBezTo>
                  <a:cubicBezTo>
                    <a:pt x="86" y="133"/>
                    <a:pt x="78" y="125"/>
                    <a:pt x="72" y="128"/>
                  </a:cubicBezTo>
                  <a:cubicBezTo>
                    <a:pt x="67" y="131"/>
                    <a:pt x="73" y="153"/>
                    <a:pt x="73" y="153"/>
                  </a:cubicBezTo>
                  <a:lnTo>
                    <a:pt x="82" y="144"/>
                  </a:lnTo>
                  <a:close/>
                  <a:moveTo>
                    <a:pt x="57" y="169"/>
                  </a:moveTo>
                  <a:cubicBezTo>
                    <a:pt x="51" y="191"/>
                    <a:pt x="51" y="191"/>
                    <a:pt x="51" y="191"/>
                  </a:cubicBezTo>
                  <a:cubicBezTo>
                    <a:pt x="62" y="177"/>
                    <a:pt x="62" y="177"/>
                    <a:pt x="62" y="177"/>
                  </a:cubicBezTo>
                  <a:lnTo>
                    <a:pt x="57" y="169"/>
                  </a:ln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3" name="Freeform 331">
              <a:extLst>
                <a:ext uri="{FF2B5EF4-FFF2-40B4-BE49-F238E27FC236}">
                  <a16:creationId xmlns:a16="http://schemas.microsoft.com/office/drawing/2014/main" id="{7F959688-72D4-926F-ABA3-979C807BF22D}"/>
                </a:ext>
              </a:extLst>
            </p:cNvPr>
            <p:cNvSpPr>
              <a:spLocks/>
            </p:cNvSpPr>
            <p:nvPr/>
          </p:nvSpPr>
          <p:spPr bwMode="gray">
            <a:xfrm>
              <a:off x="-7302" y="-16953"/>
              <a:ext cx="446" cy="477"/>
            </a:xfrm>
            <a:custGeom>
              <a:avLst/>
              <a:gdLst>
                <a:gd name="T0" fmla="*/ 186 w 189"/>
                <a:gd name="T1" fmla="*/ 104 h 202"/>
                <a:gd name="T2" fmla="*/ 177 w 189"/>
                <a:gd name="T3" fmla="*/ 87 h 202"/>
                <a:gd name="T4" fmla="*/ 175 w 189"/>
                <a:gd name="T5" fmla="*/ 73 h 202"/>
                <a:gd name="T6" fmla="*/ 189 w 189"/>
                <a:gd name="T7" fmla="*/ 66 h 202"/>
                <a:gd name="T8" fmla="*/ 167 w 189"/>
                <a:gd name="T9" fmla="*/ 61 h 202"/>
                <a:gd name="T10" fmla="*/ 155 w 189"/>
                <a:gd name="T11" fmla="*/ 45 h 202"/>
                <a:gd name="T12" fmla="*/ 138 w 189"/>
                <a:gd name="T13" fmla="*/ 61 h 202"/>
                <a:gd name="T14" fmla="*/ 113 w 189"/>
                <a:gd name="T15" fmla="*/ 51 h 202"/>
                <a:gd name="T16" fmla="*/ 129 w 189"/>
                <a:gd name="T17" fmla="*/ 38 h 202"/>
                <a:gd name="T18" fmla="*/ 128 w 189"/>
                <a:gd name="T19" fmla="*/ 28 h 202"/>
                <a:gd name="T20" fmla="*/ 158 w 189"/>
                <a:gd name="T21" fmla="*/ 14 h 202"/>
                <a:gd name="T22" fmla="*/ 161 w 189"/>
                <a:gd name="T23" fmla="*/ 7 h 202"/>
                <a:gd name="T24" fmla="*/ 153 w 189"/>
                <a:gd name="T25" fmla="*/ 2 h 202"/>
                <a:gd name="T26" fmla="*/ 138 w 189"/>
                <a:gd name="T27" fmla="*/ 14 h 202"/>
                <a:gd name="T28" fmla="*/ 134 w 189"/>
                <a:gd name="T29" fmla="*/ 4 h 202"/>
                <a:gd name="T30" fmla="*/ 107 w 189"/>
                <a:gd name="T31" fmla="*/ 9 h 202"/>
                <a:gd name="T32" fmla="*/ 99 w 189"/>
                <a:gd name="T33" fmla="*/ 30 h 202"/>
                <a:gd name="T34" fmla="*/ 84 w 189"/>
                <a:gd name="T35" fmla="*/ 35 h 202"/>
                <a:gd name="T36" fmla="*/ 102 w 189"/>
                <a:gd name="T37" fmla="*/ 44 h 202"/>
                <a:gd name="T38" fmla="*/ 92 w 189"/>
                <a:gd name="T39" fmla="*/ 50 h 202"/>
                <a:gd name="T40" fmla="*/ 87 w 189"/>
                <a:gd name="T41" fmla="*/ 57 h 202"/>
                <a:gd name="T42" fmla="*/ 69 w 189"/>
                <a:gd name="T43" fmla="*/ 56 h 202"/>
                <a:gd name="T44" fmla="*/ 69 w 189"/>
                <a:gd name="T45" fmla="*/ 61 h 202"/>
                <a:gd name="T46" fmla="*/ 48 w 189"/>
                <a:gd name="T47" fmla="*/ 51 h 202"/>
                <a:gd name="T48" fmla="*/ 30 w 189"/>
                <a:gd name="T49" fmla="*/ 54 h 202"/>
                <a:gd name="T50" fmla="*/ 33 w 189"/>
                <a:gd name="T51" fmla="*/ 71 h 202"/>
                <a:gd name="T52" fmla="*/ 42 w 189"/>
                <a:gd name="T53" fmla="*/ 79 h 202"/>
                <a:gd name="T54" fmla="*/ 31 w 189"/>
                <a:gd name="T55" fmla="*/ 86 h 202"/>
                <a:gd name="T56" fmla="*/ 25 w 189"/>
                <a:gd name="T57" fmla="*/ 98 h 202"/>
                <a:gd name="T58" fmla="*/ 48 w 189"/>
                <a:gd name="T59" fmla="*/ 107 h 202"/>
                <a:gd name="T60" fmla="*/ 66 w 189"/>
                <a:gd name="T61" fmla="*/ 107 h 202"/>
                <a:gd name="T62" fmla="*/ 50 w 189"/>
                <a:gd name="T63" fmla="*/ 116 h 202"/>
                <a:gd name="T64" fmla="*/ 50 w 189"/>
                <a:gd name="T65" fmla="*/ 130 h 202"/>
                <a:gd name="T66" fmla="*/ 35 w 189"/>
                <a:gd name="T67" fmla="*/ 134 h 202"/>
                <a:gd name="T68" fmla="*/ 30 w 189"/>
                <a:gd name="T69" fmla="*/ 156 h 202"/>
                <a:gd name="T70" fmla="*/ 4 w 189"/>
                <a:gd name="T71" fmla="*/ 161 h 202"/>
                <a:gd name="T72" fmla="*/ 15 w 189"/>
                <a:gd name="T73" fmla="*/ 167 h 202"/>
                <a:gd name="T74" fmla="*/ 0 w 189"/>
                <a:gd name="T75" fmla="*/ 176 h 202"/>
                <a:gd name="T76" fmla="*/ 7 w 189"/>
                <a:gd name="T77" fmla="*/ 183 h 202"/>
                <a:gd name="T78" fmla="*/ 30 w 189"/>
                <a:gd name="T79" fmla="*/ 180 h 202"/>
                <a:gd name="T80" fmla="*/ 19 w 189"/>
                <a:gd name="T81" fmla="*/ 192 h 202"/>
                <a:gd name="T82" fmla="*/ 35 w 189"/>
                <a:gd name="T83" fmla="*/ 190 h 202"/>
                <a:gd name="T84" fmla="*/ 29 w 189"/>
                <a:gd name="T85" fmla="*/ 202 h 202"/>
                <a:gd name="T86" fmla="*/ 74 w 189"/>
                <a:gd name="T87" fmla="*/ 191 h 202"/>
                <a:gd name="T88" fmla="*/ 83 w 189"/>
                <a:gd name="T89" fmla="*/ 178 h 202"/>
                <a:gd name="T90" fmla="*/ 102 w 189"/>
                <a:gd name="T91" fmla="*/ 178 h 202"/>
                <a:gd name="T92" fmla="*/ 124 w 189"/>
                <a:gd name="T93" fmla="*/ 166 h 202"/>
                <a:gd name="T94" fmla="*/ 140 w 189"/>
                <a:gd name="T95" fmla="*/ 165 h 202"/>
                <a:gd name="T96" fmla="*/ 143 w 189"/>
                <a:gd name="T97" fmla="*/ 159 h 202"/>
                <a:gd name="T98" fmla="*/ 168 w 189"/>
                <a:gd name="T99" fmla="*/ 160 h 202"/>
                <a:gd name="T100" fmla="*/ 167 w 189"/>
                <a:gd name="T101" fmla="*/ 148 h 202"/>
                <a:gd name="T102" fmla="*/ 179 w 189"/>
                <a:gd name="T103" fmla="*/ 146 h 202"/>
                <a:gd name="T104" fmla="*/ 178 w 189"/>
                <a:gd name="T105" fmla="*/ 133 h 202"/>
                <a:gd name="T106" fmla="*/ 186 w 189"/>
                <a:gd name="T107" fmla="*/ 10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9" h="202">
                  <a:moveTo>
                    <a:pt x="186" y="104"/>
                  </a:moveTo>
                  <a:cubicBezTo>
                    <a:pt x="186" y="94"/>
                    <a:pt x="177" y="87"/>
                    <a:pt x="177" y="87"/>
                  </a:cubicBezTo>
                  <a:cubicBezTo>
                    <a:pt x="177" y="87"/>
                    <a:pt x="177" y="78"/>
                    <a:pt x="175" y="73"/>
                  </a:cubicBezTo>
                  <a:cubicBezTo>
                    <a:pt x="175" y="69"/>
                    <a:pt x="184" y="68"/>
                    <a:pt x="189" y="66"/>
                  </a:cubicBezTo>
                  <a:cubicBezTo>
                    <a:pt x="167" y="61"/>
                    <a:pt x="167" y="61"/>
                    <a:pt x="167" y="61"/>
                  </a:cubicBezTo>
                  <a:cubicBezTo>
                    <a:pt x="155" y="45"/>
                    <a:pt x="155" y="45"/>
                    <a:pt x="155" y="45"/>
                  </a:cubicBezTo>
                  <a:cubicBezTo>
                    <a:pt x="138" y="61"/>
                    <a:pt x="138" y="61"/>
                    <a:pt x="138" y="61"/>
                  </a:cubicBezTo>
                  <a:cubicBezTo>
                    <a:pt x="138" y="61"/>
                    <a:pt x="126" y="59"/>
                    <a:pt x="113" y="51"/>
                  </a:cubicBezTo>
                  <a:cubicBezTo>
                    <a:pt x="100" y="44"/>
                    <a:pt x="129" y="38"/>
                    <a:pt x="129" y="3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0" y="6"/>
                    <a:pt x="158" y="4"/>
                    <a:pt x="153" y="2"/>
                  </a:cubicBezTo>
                  <a:cubicBezTo>
                    <a:pt x="146" y="0"/>
                    <a:pt x="138" y="14"/>
                    <a:pt x="138" y="14"/>
                  </a:cubicBezTo>
                  <a:cubicBezTo>
                    <a:pt x="134" y="4"/>
                    <a:pt x="134" y="4"/>
                    <a:pt x="134" y="4"/>
                  </a:cubicBezTo>
                  <a:cubicBezTo>
                    <a:pt x="134" y="4"/>
                    <a:pt x="111" y="4"/>
                    <a:pt x="107" y="9"/>
                  </a:cubicBezTo>
                  <a:cubicBezTo>
                    <a:pt x="103" y="15"/>
                    <a:pt x="99" y="30"/>
                    <a:pt x="99" y="30"/>
                  </a:cubicBezTo>
                  <a:cubicBezTo>
                    <a:pt x="99" y="30"/>
                    <a:pt x="84" y="29"/>
                    <a:pt x="84" y="35"/>
                  </a:cubicBezTo>
                  <a:cubicBezTo>
                    <a:pt x="84" y="41"/>
                    <a:pt x="106" y="37"/>
                    <a:pt x="102" y="44"/>
                  </a:cubicBezTo>
                  <a:cubicBezTo>
                    <a:pt x="98" y="51"/>
                    <a:pt x="94" y="47"/>
                    <a:pt x="92" y="50"/>
                  </a:cubicBezTo>
                  <a:cubicBezTo>
                    <a:pt x="90" y="53"/>
                    <a:pt x="87" y="57"/>
                    <a:pt x="87" y="57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56" y="47"/>
                    <a:pt x="48" y="51"/>
                  </a:cubicBezTo>
                  <a:cubicBezTo>
                    <a:pt x="40" y="55"/>
                    <a:pt x="30" y="54"/>
                    <a:pt x="30" y="54"/>
                  </a:cubicBezTo>
                  <a:cubicBezTo>
                    <a:pt x="30" y="54"/>
                    <a:pt x="28" y="71"/>
                    <a:pt x="33" y="71"/>
                  </a:cubicBezTo>
                  <a:cubicBezTo>
                    <a:pt x="38" y="71"/>
                    <a:pt x="42" y="79"/>
                    <a:pt x="42" y="79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6"/>
                    <a:pt x="20" y="90"/>
                    <a:pt x="25" y="98"/>
                  </a:cubicBezTo>
                  <a:cubicBezTo>
                    <a:pt x="30" y="106"/>
                    <a:pt x="48" y="107"/>
                    <a:pt x="48" y="107"/>
                  </a:cubicBezTo>
                  <a:cubicBezTo>
                    <a:pt x="48" y="107"/>
                    <a:pt x="67" y="99"/>
                    <a:pt x="66" y="107"/>
                  </a:cubicBezTo>
                  <a:cubicBezTo>
                    <a:pt x="65" y="115"/>
                    <a:pt x="50" y="116"/>
                    <a:pt x="50" y="116"/>
                  </a:cubicBezTo>
                  <a:cubicBezTo>
                    <a:pt x="50" y="130"/>
                    <a:pt x="50" y="130"/>
                    <a:pt x="50" y="130"/>
                  </a:cubicBezTo>
                  <a:cubicBezTo>
                    <a:pt x="50" y="130"/>
                    <a:pt x="37" y="125"/>
                    <a:pt x="35" y="134"/>
                  </a:cubicBezTo>
                  <a:cubicBezTo>
                    <a:pt x="33" y="143"/>
                    <a:pt x="30" y="156"/>
                    <a:pt x="30" y="156"/>
                  </a:cubicBezTo>
                  <a:cubicBezTo>
                    <a:pt x="30" y="156"/>
                    <a:pt x="5" y="156"/>
                    <a:pt x="4" y="161"/>
                  </a:cubicBezTo>
                  <a:cubicBezTo>
                    <a:pt x="3" y="166"/>
                    <a:pt x="15" y="167"/>
                    <a:pt x="15" y="167"/>
                  </a:cubicBezTo>
                  <a:cubicBezTo>
                    <a:pt x="15" y="167"/>
                    <a:pt x="0" y="169"/>
                    <a:pt x="0" y="176"/>
                  </a:cubicBezTo>
                  <a:cubicBezTo>
                    <a:pt x="0" y="184"/>
                    <a:pt x="7" y="183"/>
                    <a:pt x="7" y="183"/>
                  </a:cubicBezTo>
                  <a:cubicBezTo>
                    <a:pt x="30" y="180"/>
                    <a:pt x="30" y="180"/>
                    <a:pt x="30" y="180"/>
                  </a:cubicBezTo>
                  <a:cubicBezTo>
                    <a:pt x="19" y="192"/>
                    <a:pt x="19" y="192"/>
                    <a:pt x="19" y="192"/>
                  </a:cubicBezTo>
                  <a:cubicBezTo>
                    <a:pt x="19" y="192"/>
                    <a:pt x="36" y="187"/>
                    <a:pt x="35" y="190"/>
                  </a:cubicBezTo>
                  <a:cubicBezTo>
                    <a:pt x="34" y="193"/>
                    <a:pt x="14" y="202"/>
                    <a:pt x="29" y="202"/>
                  </a:cubicBezTo>
                  <a:cubicBezTo>
                    <a:pt x="44" y="202"/>
                    <a:pt x="65" y="196"/>
                    <a:pt x="74" y="191"/>
                  </a:cubicBezTo>
                  <a:cubicBezTo>
                    <a:pt x="83" y="186"/>
                    <a:pt x="83" y="178"/>
                    <a:pt x="83" y="178"/>
                  </a:cubicBezTo>
                  <a:cubicBezTo>
                    <a:pt x="83" y="178"/>
                    <a:pt x="93" y="184"/>
                    <a:pt x="102" y="178"/>
                  </a:cubicBezTo>
                  <a:cubicBezTo>
                    <a:pt x="111" y="173"/>
                    <a:pt x="112" y="167"/>
                    <a:pt x="124" y="166"/>
                  </a:cubicBezTo>
                  <a:cubicBezTo>
                    <a:pt x="135" y="165"/>
                    <a:pt x="140" y="165"/>
                    <a:pt x="140" y="165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68" y="160"/>
                    <a:pt x="168" y="160"/>
                    <a:pt x="168" y="160"/>
                  </a:cubicBezTo>
                  <a:cubicBezTo>
                    <a:pt x="167" y="148"/>
                    <a:pt x="167" y="148"/>
                    <a:pt x="167" y="148"/>
                  </a:cubicBezTo>
                  <a:cubicBezTo>
                    <a:pt x="167" y="148"/>
                    <a:pt x="179" y="150"/>
                    <a:pt x="179" y="146"/>
                  </a:cubicBezTo>
                  <a:cubicBezTo>
                    <a:pt x="179" y="142"/>
                    <a:pt x="174" y="138"/>
                    <a:pt x="178" y="133"/>
                  </a:cubicBezTo>
                  <a:cubicBezTo>
                    <a:pt x="181" y="128"/>
                    <a:pt x="186" y="114"/>
                    <a:pt x="186" y="104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Freeform 332">
              <a:extLst>
                <a:ext uri="{FF2B5EF4-FFF2-40B4-BE49-F238E27FC236}">
                  <a16:creationId xmlns:a16="http://schemas.microsoft.com/office/drawing/2014/main" id="{761339AB-AA24-CDD0-1984-AAB3C8F3E6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1311" y="-19887"/>
              <a:ext cx="6246" cy="3028"/>
            </a:xfrm>
            <a:custGeom>
              <a:avLst/>
              <a:gdLst>
                <a:gd name="T0" fmla="*/ 1565 w 2644"/>
                <a:gd name="T1" fmla="*/ 52 h 1282"/>
                <a:gd name="T2" fmla="*/ 1392 w 2644"/>
                <a:gd name="T3" fmla="*/ 47 h 1282"/>
                <a:gd name="T4" fmla="*/ 1490 w 2644"/>
                <a:gd name="T5" fmla="*/ 10 h 1282"/>
                <a:gd name="T6" fmla="*/ 1129 w 2644"/>
                <a:gd name="T7" fmla="*/ 20 h 1282"/>
                <a:gd name="T8" fmla="*/ 1006 w 2644"/>
                <a:gd name="T9" fmla="*/ 38 h 1282"/>
                <a:gd name="T10" fmla="*/ 728 w 2644"/>
                <a:gd name="T11" fmla="*/ 51 h 1282"/>
                <a:gd name="T12" fmla="*/ 452 w 2644"/>
                <a:gd name="T13" fmla="*/ 80 h 1282"/>
                <a:gd name="T14" fmla="*/ 236 w 2644"/>
                <a:gd name="T15" fmla="*/ 157 h 1282"/>
                <a:gd name="T16" fmla="*/ 83 w 2644"/>
                <a:gd name="T17" fmla="*/ 219 h 1282"/>
                <a:gd name="T18" fmla="*/ 96 w 2644"/>
                <a:gd name="T19" fmla="*/ 231 h 1282"/>
                <a:gd name="T20" fmla="*/ 106 w 2644"/>
                <a:gd name="T21" fmla="*/ 266 h 1282"/>
                <a:gd name="T22" fmla="*/ 313 w 2644"/>
                <a:gd name="T23" fmla="*/ 274 h 1282"/>
                <a:gd name="T24" fmla="*/ 399 w 2644"/>
                <a:gd name="T25" fmla="*/ 369 h 1282"/>
                <a:gd name="T26" fmla="*/ 370 w 2644"/>
                <a:gd name="T27" fmla="*/ 445 h 1282"/>
                <a:gd name="T28" fmla="*/ 438 w 2644"/>
                <a:gd name="T29" fmla="*/ 447 h 1282"/>
                <a:gd name="T30" fmla="*/ 432 w 2644"/>
                <a:gd name="T31" fmla="*/ 517 h 1282"/>
                <a:gd name="T32" fmla="*/ 456 w 2644"/>
                <a:gd name="T33" fmla="*/ 542 h 1282"/>
                <a:gd name="T34" fmla="*/ 421 w 2644"/>
                <a:gd name="T35" fmla="*/ 578 h 1282"/>
                <a:gd name="T36" fmla="*/ 408 w 2644"/>
                <a:gd name="T37" fmla="*/ 639 h 1282"/>
                <a:gd name="T38" fmla="*/ 354 w 2644"/>
                <a:gd name="T39" fmla="*/ 640 h 1282"/>
                <a:gd name="T40" fmla="*/ 276 w 2644"/>
                <a:gd name="T41" fmla="*/ 668 h 1282"/>
                <a:gd name="T42" fmla="*/ 273 w 2644"/>
                <a:gd name="T43" fmla="*/ 727 h 1282"/>
                <a:gd name="T44" fmla="*/ 270 w 2644"/>
                <a:gd name="T45" fmla="*/ 802 h 1282"/>
                <a:gd name="T46" fmla="*/ 328 w 2644"/>
                <a:gd name="T47" fmla="*/ 798 h 1282"/>
                <a:gd name="T48" fmla="*/ 286 w 2644"/>
                <a:gd name="T49" fmla="*/ 851 h 1282"/>
                <a:gd name="T50" fmla="*/ 322 w 2644"/>
                <a:gd name="T51" fmla="*/ 925 h 1282"/>
                <a:gd name="T52" fmla="*/ 398 w 2644"/>
                <a:gd name="T53" fmla="*/ 969 h 1282"/>
                <a:gd name="T54" fmla="*/ 443 w 2644"/>
                <a:gd name="T55" fmla="*/ 1000 h 1282"/>
                <a:gd name="T56" fmla="*/ 540 w 2644"/>
                <a:gd name="T57" fmla="*/ 948 h 1282"/>
                <a:gd name="T58" fmla="*/ 585 w 2644"/>
                <a:gd name="T59" fmla="*/ 903 h 1282"/>
                <a:gd name="T60" fmla="*/ 625 w 2644"/>
                <a:gd name="T61" fmla="*/ 858 h 1282"/>
                <a:gd name="T62" fmla="*/ 673 w 2644"/>
                <a:gd name="T63" fmla="*/ 802 h 1282"/>
                <a:gd name="T64" fmla="*/ 752 w 2644"/>
                <a:gd name="T65" fmla="*/ 741 h 1282"/>
                <a:gd name="T66" fmla="*/ 841 w 2644"/>
                <a:gd name="T67" fmla="*/ 727 h 1282"/>
                <a:gd name="T68" fmla="*/ 1053 w 2644"/>
                <a:gd name="T69" fmla="*/ 599 h 1282"/>
                <a:gd name="T70" fmla="*/ 1317 w 2644"/>
                <a:gd name="T71" fmla="*/ 578 h 1282"/>
                <a:gd name="T72" fmla="*/ 1303 w 2644"/>
                <a:gd name="T73" fmla="*/ 524 h 1282"/>
                <a:gd name="T74" fmla="*/ 1217 w 2644"/>
                <a:gd name="T75" fmla="*/ 512 h 1282"/>
                <a:gd name="T76" fmla="*/ 1271 w 2644"/>
                <a:gd name="T77" fmla="*/ 465 h 1282"/>
                <a:gd name="T78" fmla="*/ 1427 w 2644"/>
                <a:gd name="T79" fmla="*/ 502 h 1282"/>
                <a:gd name="T80" fmla="*/ 1425 w 2644"/>
                <a:gd name="T81" fmla="*/ 459 h 1282"/>
                <a:gd name="T82" fmla="*/ 1303 w 2644"/>
                <a:gd name="T83" fmla="*/ 412 h 1282"/>
                <a:gd name="T84" fmla="*/ 1471 w 2644"/>
                <a:gd name="T85" fmla="*/ 404 h 1282"/>
                <a:gd name="T86" fmla="*/ 1535 w 2644"/>
                <a:gd name="T87" fmla="*/ 368 h 1282"/>
                <a:gd name="T88" fmla="*/ 1546 w 2644"/>
                <a:gd name="T89" fmla="*/ 334 h 1282"/>
                <a:gd name="T90" fmla="*/ 1594 w 2644"/>
                <a:gd name="T91" fmla="*/ 289 h 1282"/>
                <a:gd name="T92" fmla="*/ 1590 w 2644"/>
                <a:gd name="T93" fmla="*/ 221 h 1282"/>
                <a:gd name="T94" fmla="*/ 1627 w 2644"/>
                <a:gd name="T95" fmla="*/ 165 h 1282"/>
                <a:gd name="T96" fmla="*/ 1659 w 2644"/>
                <a:gd name="T97" fmla="*/ 111 h 1282"/>
                <a:gd name="T98" fmla="*/ 1807 w 2644"/>
                <a:gd name="T99" fmla="*/ 79 h 1282"/>
                <a:gd name="T100" fmla="*/ 371 w 2644"/>
                <a:gd name="T101" fmla="*/ 534 h 1282"/>
                <a:gd name="T102" fmla="*/ 2531 w 2644"/>
                <a:gd name="T103" fmla="*/ 1160 h 1282"/>
                <a:gd name="T104" fmla="*/ 2458 w 2644"/>
                <a:gd name="T105" fmla="*/ 1164 h 1282"/>
                <a:gd name="T106" fmla="*/ 2471 w 2644"/>
                <a:gd name="T107" fmla="*/ 1249 h 1282"/>
                <a:gd name="T108" fmla="*/ 2517 w 2644"/>
                <a:gd name="T109" fmla="*/ 1268 h 1282"/>
                <a:gd name="T110" fmla="*/ 2531 w 2644"/>
                <a:gd name="T111" fmla="*/ 1179 h 1282"/>
                <a:gd name="T112" fmla="*/ 2577 w 2644"/>
                <a:gd name="T113" fmla="*/ 1240 h 1282"/>
                <a:gd name="T114" fmla="*/ 2624 w 2644"/>
                <a:gd name="T115" fmla="*/ 1211 h 1282"/>
                <a:gd name="T116" fmla="*/ 2629 w 2644"/>
                <a:gd name="T117" fmla="*/ 1260 h 1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44" h="1282">
                  <a:moveTo>
                    <a:pt x="1845" y="57"/>
                  </a:moveTo>
                  <a:cubicBezTo>
                    <a:pt x="1825" y="57"/>
                    <a:pt x="1757" y="51"/>
                    <a:pt x="1752" y="57"/>
                  </a:cubicBezTo>
                  <a:cubicBezTo>
                    <a:pt x="1747" y="63"/>
                    <a:pt x="1722" y="69"/>
                    <a:pt x="1711" y="69"/>
                  </a:cubicBezTo>
                  <a:cubicBezTo>
                    <a:pt x="1700" y="69"/>
                    <a:pt x="1655" y="60"/>
                    <a:pt x="1647" y="64"/>
                  </a:cubicBezTo>
                  <a:cubicBezTo>
                    <a:pt x="1639" y="68"/>
                    <a:pt x="1587" y="83"/>
                    <a:pt x="1581" y="86"/>
                  </a:cubicBezTo>
                  <a:cubicBezTo>
                    <a:pt x="1575" y="89"/>
                    <a:pt x="1523" y="101"/>
                    <a:pt x="1532" y="94"/>
                  </a:cubicBezTo>
                  <a:cubicBezTo>
                    <a:pt x="1541" y="87"/>
                    <a:pt x="1615" y="71"/>
                    <a:pt x="1610" y="61"/>
                  </a:cubicBezTo>
                  <a:cubicBezTo>
                    <a:pt x="1605" y="51"/>
                    <a:pt x="1576" y="48"/>
                    <a:pt x="1565" y="52"/>
                  </a:cubicBezTo>
                  <a:cubicBezTo>
                    <a:pt x="1554" y="56"/>
                    <a:pt x="1536" y="63"/>
                    <a:pt x="1536" y="63"/>
                  </a:cubicBezTo>
                  <a:cubicBezTo>
                    <a:pt x="1457" y="73"/>
                    <a:pt x="1457" y="73"/>
                    <a:pt x="1457" y="73"/>
                  </a:cubicBezTo>
                  <a:cubicBezTo>
                    <a:pt x="1457" y="73"/>
                    <a:pt x="1531" y="55"/>
                    <a:pt x="1513" y="54"/>
                  </a:cubicBezTo>
                  <a:cubicBezTo>
                    <a:pt x="1495" y="53"/>
                    <a:pt x="1427" y="52"/>
                    <a:pt x="1427" y="52"/>
                  </a:cubicBezTo>
                  <a:cubicBezTo>
                    <a:pt x="1403" y="57"/>
                    <a:pt x="1403" y="57"/>
                    <a:pt x="1403" y="57"/>
                  </a:cubicBezTo>
                  <a:cubicBezTo>
                    <a:pt x="1358" y="53"/>
                    <a:pt x="1358" y="53"/>
                    <a:pt x="1358" y="53"/>
                  </a:cubicBezTo>
                  <a:cubicBezTo>
                    <a:pt x="1358" y="53"/>
                    <a:pt x="1307" y="68"/>
                    <a:pt x="1309" y="61"/>
                  </a:cubicBezTo>
                  <a:cubicBezTo>
                    <a:pt x="1311" y="54"/>
                    <a:pt x="1371" y="47"/>
                    <a:pt x="1392" y="47"/>
                  </a:cubicBezTo>
                  <a:cubicBezTo>
                    <a:pt x="1413" y="47"/>
                    <a:pt x="1548" y="45"/>
                    <a:pt x="1557" y="45"/>
                  </a:cubicBezTo>
                  <a:cubicBezTo>
                    <a:pt x="1566" y="45"/>
                    <a:pt x="1645" y="43"/>
                    <a:pt x="1636" y="35"/>
                  </a:cubicBezTo>
                  <a:cubicBezTo>
                    <a:pt x="1627" y="27"/>
                    <a:pt x="1577" y="24"/>
                    <a:pt x="1558" y="27"/>
                  </a:cubicBezTo>
                  <a:cubicBezTo>
                    <a:pt x="1539" y="30"/>
                    <a:pt x="1526" y="29"/>
                    <a:pt x="1526" y="29"/>
                  </a:cubicBezTo>
                  <a:cubicBezTo>
                    <a:pt x="1526" y="29"/>
                    <a:pt x="1551" y="18"/>
                    <a:pt x="1535" y="17"/>
                  </a:cubicBezTo>
                  <a:cubicBezTo>
                    <a:pt x="1519" y="16"/>
                    <a:pt x="1492" y="19"/>
                    <a:pt x="1492" y="19"/>
                  </a:cubicBezTo>
                  <a:cubicBezTo>
                    <a:pt x="1492" y="19"/>
                    <a:pt x="1462" y="18"/>
                    <a:pt x="1455" y="16"/>
                  </a:cubicBezTo>
                  <a:cubicBezTo>
                    <a:pt x="1448" y="14"/>
                    <a:pt x="1483" y="17"/>
                    <a:pt x="1490" y="10"/>
                  </a:cubicBezTo>
                  <a:cubicBezTo>
                    <a:pt x="1497" y="3"/>
                    <a:pt x="1454" y="5"/>
                    <a:pt x="1432" y="5"/>
                  </a:cubicBezTo>
                  <a:cubicBezTo>
                    <a:pt x="1410" y="5"/>
                    <a:pt x="1355" y="8"/>
                    <a:pt x="1355" y="8"/>
                  </a:cubicBezTo>
                  <a:cubicBezTo>
                    <a:pt x="1355" y="8"/>
                    <a:pt x="1315" y="4"/>
                    <a:pt x="1292" y="2"/>
                  </a:cubicBezTo>
                  <a:cubicBezTo>
                    <a:pt x="1269" y="0"/>
                    <a:pt x="1246" y="5"/>
                    <a:pt x="1237" y="6"/>
                  </a:cubicBezTo>
                  <a:cubicBezTo>
                    <a:pt x="1228" y="7"/>
                    <a:pt x="1210" y="7"/>
                    <a:pt x="1188" y="6"/>
                  </a:cubicBezTo>
                  <a:cubicBezTo>
                    <a:pt x="1166" y="5"/>
                    <a:pt x="1144" y="5"/>
                    <a:pt x="1146" y="10"/>
                  </a:cubicBezTo>
                  <a:cubicBezTo>
                    <a:pt x="1148" y="15"/>
                    <a:pt x="1177" y="16"/>
                    <a:pt x="1177" y="16"/>
                  </a:cubicBezTo>
                  <a:cubicBezTo>
                    <a:pt x="1177" y="16"/>
                    <a:pt x="1142" y="21"/>
                    <a:pt x="1129" y="20"/>
                  </a:cubicBezTo>
                  <a:cubicBezTo>
                    <a:pt x="1116" y="19"/>
                    <a:pt x="1061" y="13"/>
                    <a:pt x="1047" y="11"/>
                  </a:cubicBezTo>
                  <a:cubicBezTo>
                    <a:pt x="1033" y="9"/>
                    <a:pt x="995" y="13"/>
                    <a:pt x="990" y="13"/>
                  </a:cubicBezTo>
                  <a:cubicBezTo>
                    <a:pt x="985" y="13"/>
                    <a:pt x="935" y="19"/>
                    <a:pt x="956" y="24"/>
                  </a:cubicBezTo>
                  <a:cubicBezTo>
                    <a:pt x="977" y="29"/>
                    <a:pt x="1046" y="31"/>
                    <a:pt x="1046" y="31"/>
                  </a:cubicBezTo>
                  <a:cubicBezTo>
                    <a:pt x="1103" y="38"/>
                    <a:pt x="1103" y="38"/>
                    <a:pt x="1103" y="38"/>
                  </a:cubicBezTo>
                  <a:cubicBezTo>
                    <a:pt x="1103" y="38"/>
                    <a:pt x="1048" y="40"/>
                    <a:pt x="1040" y="40"/>
                  </a:cubicBezTo>
                  <a:cubicBezTo>
                    <a:pt x="1032" y="40"/>
                    <a:pt x="984" y="27"/>
                    <a:pt x="985" y="31"/>
                  </a:cubicBezTo>
                  <a:cubicBezTo>
                    <a:pt x="986" y="35"/>
                    <a:pt x="1006" y="38"/>
                    <a:pt x="1006" y="38"/>
                  </a:cubicBezTo>
                  <a:cubicBezTo>
                    <a:pt x="975" y="41"/>
                    <a:pt x="975" y="41"/>
                    <a:pt x="975" y="41"/>
                  </a:cubicBezTo>
                  <a:cubicBezTo>
                    <a:pt x="975" y="41"/>
                    <a:pt x="958" y="55"/>
                    <a:pt x="962" y="59"/>
                  </a:cubicBezTo>
                  <a:cubicBezTo>
                    <a:pt x="966" y="63"/>
                    <a:pt x="938" y="64"/>
                    <a:pt x="925" y="56"/>
                  </a:cubicBezTo>
                  <a:cubicBezTo>
                    <a:pt x="912" y="48"/>
                    <a:pt x="885" y="42"/>
                    <a:pt x="859" y="40"/>
                  </a:cubicBezTo>
                  <a:cubicBezTo>
                    <a:pt x="833" y="38"/>
                    <a:pt x="804" y="38"/>
                    <a:pt x="804" y="38"/>
                  </a:cubicBezTo>
                  <a:cubicBezTo>
                    <a:pt x="806" y="58"/>
                    <a:pt x="806" y="58"/>
                    <a:pt x="806" y="58"/>
                  </a:cubicBezTo>
                  <a:cubicBezTo>
                    <a:pt x="806" y="58"/>
                    <a:pt x="786" y="61"/>
                    <a:pt x="773" y="59"/>
                  </a:cubicBezTo>
                  <a:cubicBezTo>
                    <a:pt x="760" y="57"/>
                    <a:pt x="736" y="49"/>
                    <a:pt x="728" y="51"/>
                  </a:cubicBezTo>
                  <a:cubicBezTo>
                    <a:pt x="720" y="53"/>
                    <a:pt x="702" y="62"/>
                    <a:pt x="702" y="62"/>
                  </a:cubicBezTo>
                  <a:cubicBezTo>
                    <a:pt x="702" y="62"/>
                    <a:pt x="713" y="44"/>
                    <a:pt x="700" y="44"/>
                  </a:cubicBezTo>
                  <a:cubicBezTo>
                    <a:pt x="687" y="44"/>
                    <a:pt x="616" y="45"/>
                    <a:pt x="597" y="48"/>
                  </a:cubicBezTo>
                  <a:cubicBezTo>
                    <a:pt x="578" y="51"/>
                    <a:pt x="545" y="44"/>
                    <a:pt x="550" y="49"/>
                  </a:cubicBezTo>
                  <a:cubicBezTo>
                    <a:pt x="555" y="54"/>
                    <a:pt x="590" y="71"/>
                    <a:pt x="590" y="71"/>
                  </a:cubicBezTo>
                  <a:cubicBezTo>
                    <a:pt x="590" y="71"/>
                    <a:pt x="536" y="54"/>
                    <a:pt x="527" y="54"/>
                  </a:cubicBezTo>
                  <a:cubicBezTo>
                    <a:pt x="518" y="54"/>
                    <a:pt x="491" y="49"/>
                    <a:pt x="487" y="59"/>
                  </a:cubicBezTo>
                  <a:cubicBezTo>
                    <a:pt x="483" y="69"/>
                    <a:pt x="465" y="80"/>
                    <a:pt x="452" y="80"/>
                  </a:cubicBezTo>
                  <a:cubicBezTo>
                    <a:pt x="439" y="80"/>
                    <a:pt x="402" y="80"/>
                    <a:pt x="402" y="80"/>
                  </a:cubicBezTo>
                  <a:cubicBezTo>
                    <a:pt x="402" y="80"/>
                    <a:pt x="328" y="94"/>
                    <a:pt x="324" y="95"/>
                  </a:cubicBezTo>
                  <a:cubicBezTo>
                    <a:pt x="320" y="96"/>
                    <a:pt x="248" y="106"/>
                    <a:pt x="259" y="113"/>
                  </a:cubicBezTo>
                  <a:cubicBezTo>
                    <a:pt x="270" y="120"/>
                    <a:pt x="310" y="122"/>
                    <a:pt x="315" y="121"/>
                  </a:cubicBezTo>
                  <a:cubicBezTo>
                    <a:pt x="320" y="120"/>
                    <a:pt x="335" y="118"/>
                    <a:pt x="335" y="118"/>
                  </a:cubicBezTo>
                  <a:cubicBezTo>
                    <a:pt x="311" y="128"/>
                    <a:pt x="311" y="128"/>
                    <a:pt x="311" y="128"/>
                  </a:cubicBezTo>
                  <a:cubicBezTo>
                    <a:pt x="300" y="139"/>
                    <a:pt x="300" y="139"/>
                    <a:pt x="300" y="139"/>
                  </a:cubicBezTo>
                  <a:cubicBezTo>
                    <a:pt x="300" y="139"/>
                    <a:pt x="253" y="157"/>
                    <a:pt x="236" y="157"/>
                  </a:cubicBezTo>
                  <a:cubicBezTo>
                    <a:pt x="219" y="157"/>
                    <a:pt x="151" y="157"/>
                    <a:pt x="137" y="169"/>
                  </a:cubicBezTo>
                  <a:cubicBezTo>
                    <a:pt x="123" y="181"/>
                    <a:pt x="112" y="167"/>
                    <a:pt x="112" y="167"/>
                  </a:cubicBezTo>
                  <a:cubicBezTo>
                    <a:pt x="90" y="176"/>
                    <a:pt x="90" y="176"/>
                    <a:pt x="90" y="176"/>
                  </a:cubicBezTo>
                  <a:cubicBezTo>
                    <a:pt x="57" y="175"/>
                    <a:pt x="57" y="175"/>
                    <a:pt x="57" y="175"/>
                  </a:cubicBezTo>
                  <a:cubicBezTo>
                    <a:pt x="57" y="175"/>
                    <a:pt x="0" y="181"/>
                    <a:pt x="14" y="191"/>
                  </a:cubicBezTo>
                  <a:cubicBezTo>
                    <a:pt x="28" y="201"/>
                    <a:pt x="51" y="212"/>
                    <a:pt x="51" y="212"/>
                  </a:cubicBezTo>
                  <a:cubicBezTo>
                    <a:pt x="71" y="204"/>
                    <a:pt x="71" y="204"/>
                    <a:pt x="71" y="204"/>
                  </a:cubicBezTo>
                  <a:cubicBezTo>
                    <a:pt x="71" y="204"/>
                    <a:pt x="73" y="216"/>
                    <a:pt x="83" y="219"/>
                  </a:cubicBezTo>
                  <a:cubicBezTo>
                    <a:pt x="93" y="222"/>
                    <a:pt x="116" y="209"/>
                    <a:pt x="116" y="209"/>
                  </a:cubicBezTo>
                  <a:cubicBezTo>
                    <a:pt x="116" y="209"/>
                    <a:pt x="112" y="220"/>
                    <a:pt x="122" y="220"/>
                  </a:cubicBezTo>
                  <a:cubicBezTo>
                    <a:pt x="132" y="220"/>
                    <a:pt x="169" y="204"/>
                    <a:pt x="176" y="209"/>
                  </a:cubicBezTo>
                  <a:cubicBezTo>
                    <a:pt x="183" y="214"/>
                    <a:pt x="181" y="220"/>
                    <a:pt x="181" y="220"/>
                  </a:cubicBezTo>
                  <a:cubicBezTo>
                    <a:pt x="170" y="221"/>
                    <a:pt x="170" y="221"/>
                    <a:pt x="170" y="221"/>
                  </a:cubicBezTo>
                  <a:cubicBezTo>
                    <a:pt x="170" y="221"/>
                    <a:pt x="162" y="232"/>
                    <a:pt x="155" y="232"/>
                  </a:cubicBezTo>
                  <a:cubicBezTo>
                    <a:pt x="148" y="232"/>
                    <a:pt x="152" y="226"/>
                    <a:pt x="141" y="226"/>
                  </a:cubicBezTo>
                  <a:cubicBezTo>
                    <a:pt x="130" y="226"/>
                    <a:pt x="96" y="231"/>
                    <a:pt x="96" y="231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31" y="208"/>
                    <a:pt x="20" y="227"/>
                  </a:cubicBezTo>
                  <a:cubicBezTo>
                    <a:pt x="9" y="246"/>
                    <a:pt x="36" y="252"/>
                    <a:pt x="44" y="251"/>
                  </a:cubicBezTo>
                  <a:cubicBezTo>
                    <a:pt x="52" y="250"/>
                    <a:pt x="79" y="251"/>
                    <a:pt x="79" y="251"/>
                  </a:cubicBezTo>
                  <a:cubicBezTo>
                    <a:pt x="79" y="251"/>
                    <a:pt x="36" y="254"/>
                    <a:pt x="41" y="261"/>
                  </a:cubicBezTo>
                  <a:cubicBezTo>
                    <a:pt x="46" y="268"/>
                    <a:pt x="74" y="274"/>
                    <a:pt x="74" y="274"/>
                  </a:cubicBezTo>
                  <a:cubicBezTo>
                    <a:pt x="98" y="277"/>
                    <a:pt x="98" y="277"/>
                    <a:pt x="98" y="277"/>
                  </a:cubicBezTo>
                  <a:cubicBezTo>
                    <a:pt x="98" y="277"/>
                    <a:pt x="99" y="267"/>
                    <a:pt x="106" y="266"/>
                  </a:cubicBezTo>
                  <a:cubicBezTo>
                    <a:pt x="113" y="265"/>
                    <a:pt x="121" y="276"/>
                    <a:pt x="121" y="276"/>
                  </a:cubicBezTo>
                  <a:cubicBezTo>
                    <a:pt x="144" y="267"/>
                    <a:pt x="144" y="267"/>
                    <a:pt x="144" y="267"/>
                  </a:cubicBezTo>
                  <a:cubicBezTo>
                    <a:pt x="144" y="267"/>
                    <a:pt x="148" y="277"/>
                    <a:pt x="151" y="277"/>
                  </a:cubicBezTo>
                  <a:cubicBezTo>
                    <a:pt x="154" y="277"/>
                    <a:pt x="184" y="263"/>
                    <a:pt x="193" y="265"/>
                  </a:cubicBezTo>
                  <a:cubicBezTo>
                    <a:pt x="202" y="267"/>
                    <a:pt x="209" y="271"/>
                    <a:pt x="214" y="271"/>
                  </a:cubicBezTo>
                  <a:cubicBezTo>
                    <a:pt x="219" y="271"/>
                    <a:pt x="230" y="262"/>
                    <a:pt x="236" y="262"/>
                  </a:cubicBezTo>
                  <a:cubicBezTo>
                    <a:pt x="242" y="262"/>
                    <a:pt x="259" y="273"/>
                    <a:pt x="259" y="273"/>
                  </a:cubicBezTo>
                  <a:cubicBezTo>
                    <a:pt x="259" y="273"/>
                    <a:pt x="291" y="268"/>
                    <a:pt x="313" y="274"/>
                  </a:cubicBezTo>
                  <a:cubicBezTo>
                    <a:pt x="335" y="280"/>
                    <a:pt x="339" y="291"/>
                    <a:pt x="339" y="291"/>
                  </a:cubicBezTo>
                  <a:cubicBezTo>
                    <a:pt x="339" y="291"/>
                    <a:pt x="361" y="286"/>
                    <a:pt x="361" y="291"/>
                  </a:cubicBezTo>
                  <a:cubicBezTo>
                    <a:pt x="361" y="296"/>
                    <a:pt x="351" y="306"/>
                    <a:pt x="351" y="306"/>
                  </a:cubicBezTo>
                  <a:cubicBezTo>
                    <a:pt x="357" y="315"/>
                    <a:pt x="357" y="315"/>
                    <a:pt x="357" y="315"/>
                  </a:cubicBezTo>
                  <a:cubicBezTo>
                    <a:pt x="357" y="315"/>
                    <a:pt x="390" y="321"/>
                    <a:pt x="390" y="330"/>
                  </a:cubicBezTo>
                  <a:cubicBezTo>
                    <a:pt x="390" y="339"/>
                    <a:pt x="374" y="343"/>
                    <a:pt x="374" y="343"/>
                  </a:cubicBezTo>
                  <a:cubicBezTo>
                    <a:pt x="383" y="359"/>
                    <a:pt x="383" y="359"/>
                    <a:pt x="383" y="359"/>
                  </a:cubicBezTo>
                  <a:cubicBezTo>
                    <a:pt x="399" y="369"/>
                    <a:pt x="399" y="369"/>
                    <a:pt x="399" y="369"/>
                  </a:cubicBezTo>
                  <a:cubicBezTo>
                    <a:pt x="385" y="374"/>
                    <a:pt x="385" y="374"/>
                    <a:pt x="385" y="374"/>
                  </a:cubicBezTo>
                  <a:cubicBezTo>
                    <a:pt x="395" y="387"/>
                    <a:pt x="395" y="387"/>
                    <a:pt x="395" y="387"/>
                  </a:cubicBezTo>
                  <a:cubicBezTo>
                    <a:pt x="395" y="387"/>
                    <a:pt x="383" y="386"/>
                    <a:pt x="383" y="395"/>
                  </a:cubicBezTo>
                  <a:cubicBezTo>
                    <a:pt x="383" y="404"/>
                    <a:pt x="405" y="407"/>
                    <a:pt x="402" y="412"/>
                  </a:cubicBezTo>
                  <a:cubicBezTo>
                    <a:pt x="399" y="417"/>
                    <a:pt x="380" y="426"/>
                    <a:pt x="380" y="426"/>
                  </a:cubicBezTo>
                  <a:cubicBezTo>
                    <a:pt x="388" y="433"/>
                    <a:pt x="388" y="433"/>
                    <a:pt x="388" y="433"/>
                  </a:cubicBezTo>
                  <a:cubicBezTo>
                    <a:pt x="388" y="433"/>
                    <a:pt x="347" y="438"/>
                    <a:pt x="348" y="441"/>
                  </a:cubicBezTo>
                  <a:cubicBezTo>
                    <a:pt x="349" y="444"/>
                    <a:pt x="357" y="446"/>
                    <a:pt x="370" y="445"/>
                  </a:cubicBezTo>
                  <a:cubicBezTo>
                    <a:pt x="383" y="444"/>
                    <a:pt x="367" y="455"/>
                    <a:pt x="367" y="455"/>
                  </a:cubicBezTo>
                  <a:cubicBezTo>
                    <a:pt x="367" y="455"/>
                    <a:pt x="316" y="456"/>
                    <a:pt x="328" y="465"/>
                  </a:cubicBezTo>
                  <a:cubicBezTo>
                    <a:pt x="340" y="474"/>
                    <a:pt x="353" y="479"/>
                    <a:pt x="369" y="478"/>
                  </a:cubicBezTo>
                  <a:cubicBezTo>
                    <a:pt x="385" y="477"/>
                    <a:pt x="389" y="467"/>
                    <a:pt x="389" y="467"/>
                  </a:cubicBezTo>
                  <a:cubicBezTo>
                    <a:pt x="389" y="467"/>
                    <a:pt x="416" y="469"/>
                    <a:pt x="414" y="460"/>
                  </a:cubicBezTo>
                  <a:cubicBezTo>
                    <a:pt x="412" y="451"/>
                    <a:pt x="419" y="439"/>
                    <a:pt x="419" y="439"/>
                  </a:cubicBezTo>
                  <a:cubicBezTo>
                    <a:pt x="421" y="458"/>
                    <a:pt x="421" y="458"/>
                    <a:pt x="421" y="458"/>
                  </a:cubicBezTo>
                  <a:cubicBezTo>
                    <a:pt x="438" y="447"/>
                    <a:pt x="438" y="447"/>
                    <a:pt x="438" y="447"/>
                  </a:cubicBezTo>
                  <a:cubicBezTo>
                    <a:pt x="438" y="447"/>
                    <a:pt x="430" y="453"/>
                    <a:pt x="434" y="458"/>
                  </a:cubicBezTo>
                  <a:cubicBezTo>
                    <a:pt x="438" y="463"/>
                    <a:pt x="463" y="465"/>
                    <a:pt x="463" y="465"/>
                  </a:cubicBezTo>
                  <a:cubicBezTo>
                    <a:pt x="454" y="471"/>
                    <a:pt x="454" y="471"/>
                    <a:pt x="454" y="471"/>
                  </a:cubicBezTo>
                  <a:cubicBezTo>
                    <a:pt x="454" y="471"/>
                    <a:pt x="448" y="484"/>
                    <a:pt x="457" y="487"/>
                  </a:cubicBezTo>
                  <a:cubicBezTo>
                    <a:pt x="466" y="490"/>
                    <a:pt x="479" y="504"/>
                    <a:pt x="473" y="510"/>
                  </a:cubicBezTo>
                  <a:cubicBezTo>
                    <a:pt x="467" y="516"/>
                    <a:pt x="456" y="513"/>
                    <a:pt x="456" y="513"/>
                  </a:cubicBezTo>
                  <a:cubicBezTo>
                    <a:pt x="456" y="519"/>
                    <a:pt x="456" y="519"/>
                    <a:pt x="456" y="519"/>
                  </a:cubicBezTo>
                  <a:cubicBezTo>
                    <a:pt x="456" y="519"/>
                    <a:pt x="441" y="518"/>
                    <a:pt x="432" y="517"/>
                  </a:cubicBezTo>
                  <a:cubicBezTo>
                    <a:pt x="423" y="516"/>
                    <a:pt x="415" y="506"/>
                    <a:pt x="415" y="506"/>
                  </a:cubicBezTo>
                  <a:cubicBezTo>
                    <a:pt x="375" y="505"/>
                    <a:pt x="375" y="505"/>
                    <a:pt x="375" y="505"/>
                  </a:cubicBezTo>
                  <a:cubicBezTo>
                    <a:pt x="375" y="505"/>
                    <a:pt x="351" y="483"/>
                    <a:pt x="345" y="505"/>
                  </a:cubicBezTo>
                  <a:cubicBezTo>
                    <a:pt x="343" y="514"/>
                    <a:pt x="355" y="520"/>
                    <a:pt x="362" y="521"/>
                  </a:cubicBezTo>
                  <a:cubicBezTo>
                    <a:pt x="369" y="522"/>
                    <a:pt x="374" y="518"/>
                    <a:pt x="383" y="522"/>
                  </a:cubicBezTo>
                  <a:cubicBezTo>
                    <a:pt x="392" y="526"/>
                    <a:pt x="400" y="540"/>
                    <a:pt x="415" y="540"/>
                  </a:cubicBezTo>
                  <a:cubicBezTo>
                    <a:pt x="430" y="540"/>
                    <a:pt x="441" y="534"/>
                    <a:pt x="441" y="534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70" y="533"/>
                    <a:pt x="470" y="533"/>
                    <a:pt x="470" y="533"/>
                  </a:cubicBezTo>
                  <a:cubicBezTo>
                    <a:pt x="467" y="547"/>
                    <a:pt x="467" y="547"/>
                    <a:pt x="467" y="547"/>
                  </a:cubicBezTo>
                  <a:cubicBezTo>
                    <a:pt x="467" y="547"/>
                    <a:pt x="452" y="540"/>
                    <a:pt x="450" y="547"/>
                  </a:cubicBezTo>
                  <a:cubicBezTo>
                    <a:pt x="448" y="554"/>
                    <a:pt x="459" y="561"/>
                    <a:pt x="459" y="561"/>
                  </a:cubicBezTo>
                  <a:cubicBezTo>
                    <a:pt x="459" y="561"/>
                    <a:pt x="432" y="561"/>
                    <a:pt x="433" y="566"/>
                  </a:cubicBezTo>
                  <a:cubicBezTo>
                    <a:pt x="434" y="571"/>
                    <a:pt x="454" y="572"/>
                    <a:pt x="454" y="572"/>
                  </a:cubicBezTo>
                  <a:cubicBezTo>
                    <a:pt x="454" y="572"/>
                    <a:pt x="451" y="581"/>
                    <a:pt x="446" y="583"/>
                  </a:cubicBezTo>
                  <a:cubicBezTo>
                    <a:pt x="441" y="585"/>
                    <a:pt x="425" y="572"/>
                    <a:pt x="421" y="578"/>
                  </a:cubicBezTo>
                  <a:cubicBezTo>
                    <a:pt x="417" y="584"/>
                    <a:pt x="427" y="592"/>
                    <a:pt x="427" y="592"/>
                  </a:cubicBezTo>
                  <a:cubicBezTo>
                    <a:pt x="411" y="591"/>
                    <a:pt x="411" y="591"/>
                    <a:pt x="411" y="591"/>
                  </a:cubicBezTo>
                  <a:cubicBezTo>
                    <a:pt x="416" y="605"/>
                    <a:pt x="416" y="605"/>
                    <a:pt x="416" y="605"/>
                  </a:cubicBezTo>
                  <a:cubicBezTo>
                    <a:pt x="416" y="605"/>
                    <a:pt x="395" y="606"/>
                    <a:pt x="398" y="616"/>
                  </a:cubicBezTo>
                  <a:cubicBezTo>
                    <a:pt x="401" y="626"/>
                    <a:pt x="420" y="628"/>
                    <a:pt x="420" y="628"/>
                  </a:cubicBezTo>
                  <a:cubicBezTo>
                    <a:pt x="420" y="628"/>
                    <a:pt x="422" y="639"/>
                    <a:pt x="415" y="639"/>
                  </a:cubicBezTo>
                  <a:cubicBezTo>
                    <a:pt x="408" y="639"/>
                    <a:pt x="413" y="647"/>
                    <a:pt x="413" y="647"/>
                  </a:cubicBezTo>
                  <a:cubicBezTo>
                    <a:pt x="413" y="647"/>
                    <a:pt x="411" y="649"/>
                    <a:pt x="408" y="639"/>
                  </a:cubicBezTo>
                  <a:cubicBezTo>
                    <a:pt x="405" y="629"/>
                    <a:pt x="394" y="624"/>
                    <a:pt x="394" y="624"/>
                  </a:cubicBezTo>
                  <a:cubicBezTo>
                    <a:pt x="394" y="624"/>
                    <a:pt x="377" y="593"/>
                    <a:pt x="367" y="595"/>
                  </a:cubicBezTo>
                  <a:cubicBezTo>
                    <a:pt x="357" y="597"/>
                    <a:pt x="331" y="609"/>
                    <a:pt x="345" y="617"/>
                  </a:cubicBezTo>
                  <a:cubicBezTo>
                    <a:pt x="359" y="625"/>
                    <a:pt x="381" y="628"/>
                    <a:pt x="381" y="628"/>
                  </a:cubicBezTo>
                  <a:cubicBezTo>
                    <a:pt x="381" y="628"/>
                    <a:pt x="364" y="630"/>
                    <a:pt x="353" y="630"/>
                  </a:cubicBezTo>
                  <a:cubicBezTo>
                    <a:pt x="342" y="630"/>
                    <a:pt x="328" y="625"/>
                    <a:pt x="320" y="630"/>
                  </a:cubicBezTo>
                  <a:cubicBezTo>
                    <a:pt x="312" y="635"/>
                    <a:pt x="289" y="640"/>
                    <a:pt x="296" y="643"/>
                  </a:cubicBezTo>
                  <a:cubicBezTo>
                    <a:pt x="303" y="646"/>
                    <a:pt x="344" y="639"/>
                    <a:pt x="354" y="640"/>
                  </a:cubicBezTo>
                  <a:cubicBezTo>
                    <a:pt x="364" y="641"/>
                    <a:pt x="388" y="643"/>
                    <a:pt x="388" y="643"/>
                  </a:cubicBezTo>
                  <a:cubicBezTo>
                    <a:pt x="388" y="643"/>
                    <a:pt x="368" y="644"/>
                    <a:pt x="362" y="644"/>
                  </a:cubicBezTo>
                  <a:cubicBezTo>
                    <a:pt x="356" y="644"/>
                    <a:pt x="290" y="649"/>
                    <a:pt x="284" y="654"/>
                  </a:cubicBezTo>
                  <a:cubicBezTo>
                    <a:pt x="278" y="659"/>
                    <a:pt x="278" y="663"/>
                    <a:pt x="294" y="662"/>
                  </a:cubicBezTo>
                  <a:cubicBezTo>
                    <a:pt x="310" y="661"/>
                    <a:pt x="348" y="657"/>
                    <a:pt x="348" y="657"/>
                  </a:cubicBezTo>
                  <a:cubicBezTo>
                    <a:pt x="348" y="657"/>
                    <a:pt x="375" y="656"/>
                    <a:pt x="376" y="659"/>
                  </a:cubicBezTo>
                  <a:cubicBezTo>
                    <a:pt x="377" y="662"/>
                    <a:pt x="330" y="664"/>
                    <a:pt x="330" y="664"/>
                  </a:cubicBezTo>
                  <a:cubicBezTo>
                    <a:pt x="330" y="664"/>
                    <a:pt x="275" y="666"/>
                    <a:pt x="276" y="668"/>
                  </a:cubicBezTo>
                  <a:cubicBezTo>
                    <a:pt x="277" y="670"/>
                    <a:pt x="286" y="675"/>
                    <a:pt x="295" y="675"/>
                  </a:cubicBezTo>
                  <a:cubicBezTo>
                    <a:pt x="304" y="675"/>
                    <a:pt x="318" y="682"/>
                    <a:pt x="318" y="682"/>
                  </a:cubicBezTo>
                  <a:cubicBezTo>
                    <a:pt x="318" y="682"/>
                    <a:pt x="294" y="676"/>
                    <a:pt x="289" y="682"/>
                  </a:cubicBezTo>
                  <a:cubicBezTo>
                    <a:pt x="284" y="688"/>
                    <a:pt x="289" y="690"/>
                    <a:pt x="289" y="690"/>
                  </a:cubicBezTo>
                  <a:cubicBezTo>
                    <a:pt x="289" y="690"/>
                    <a:pt x="258" y="699"/>
                    <a:pt x="262" y="705"/>
                  </a:cubicBezTo>
                  <a:cubicBezTo>
                    <a:pt x="287" y="706"/>
                    <a:pt x="287" y="706"/>
                    <a:pt x="287" y="706"/>
                  </a:cubicBezTo>
                  <a:cubicBezTo>
                    <a:pt x="264" y="716"/>
                    <a:pt x="264" y="716"/>
                    <a:pt x="264" y="716"/>
                  </a:cubicBezTo>
                  <a:cubicBezTo>
                    <a:pt x="264" y="716"/>
                    <a:pt x="263" y="729"/>
                    <a:pt x="273" y="727"/>
                  </a:cubicBezTo>
                  <a:cubicBezTo>
                    <a:pt x="283" y="725"/>
                    <a:pt x="306" y="725"/>
                    <a:pt x="306" y="725"/>
                  </a:cubicBezTo>
                  <a:cubicBezTo>
                    <a:pt x="306" y="725"/>
                    <a:pt x="267" y="736"/>
                    <a:pt x="274" y="744"/>
                  </a:cubicBezTo>
                  <a:cubicBezTo>
                    <a:pt x="281" y="752"/>
                    <a:pt x="304" y="740"/>
                    <a:pt x="304" y="740"/>
                  </a:cubicBezTo>
                  <a:cubicBezTo>
                    <a:pt x="304" y="740"/>
                    <a:pt x="287" y="755"/>
                    <a:pt x="285" y="762"/>
                  </a:cubicBezTo>
                  <a:cubicBezTo>
                    <a:pt x="283" y="769"/>
                    <a:pt x="280" y="775"/>
                    <a:pt x="286" y="775"/>
                  </a:cubicBezTo>
                  <a:cubicBezTo>
                    <a:pt x="292" y="775"/>
                    <a:pt x="303" y="767"/>
                    <a:pt x="303" y="767"/>
                  </a:cubicBezTo>
                  <a:cubicBezTo>
                    <a:pt x="303" y="767"/>
                    <a:pt x="298" y="783"/>
                    <a:pt x="291" y="783"/>
                  </a:cubicBezTo>
                  <a:cubicBezTo>
                    <a:pt x="284" y="783"/>
                    <a:pt x="269" y="792"/>
                    <a:pt x="270" y="802"/>
                  </a:cubicBezTo>
                  <a:cubicBezTo>
                    <a:pt x="271" y="812"/>
                    <a:pt x="294" y="793"/>
                    <a:pt x="294" y="793"/>
                  </a:cubicBezTo>
                  <a:cubicBezTo>
                    <a:pt x="294" y="793"/>
                    <a:pt x="309" y="776"/>
                    <a:pt x="313" y="780"/>
                  </a:cubicBezTo>
                  <a:cubicBezTo>
                    <a:pt x="317" y="784"/>
                    <a:pt x="341" y="774"/>
                    <a:pt x="341" y="774"/>
                  </a:cubicBezTo>
                  <a:cubicBezTo>
                    <a:pt x="338" y="784"/>
                    <a:pt x="338" y="784"/>
                    <a:pt x="338" y="784"/>
                  </a:cubicBezTo>
                  <a:cubicBezTo>
                    <a:pt x="352" y="774"/>
                    <a:pt x="352" y="774"/>
                    <a:pt x="352" y="774"/>
                  </a:cubicBezTo>
                  <a:cubicBezTo>
                    <a:pt x="338" y="791"/>
                    <a:pt x="338" y="791"/>
                    <a:pt x="338" y="791"/>
                  </a:cubicBezTo>
                  <a:cubicBezTo>
                    <a:pt x="360" y="794"/>
                    <a:pt x="360" y="794"/>
                    <a:pt x="360" y="794"/>
                  </a:cubicBezTo>
                  <a:cubicBezTo>
                    <a:pt x="360" y="794"/>
                    <a:pt x="330" y="794"/>
                    <a:pt x="328" y="798"/>
                  </a:cubicBezTo>
                  <a:cubicBezTo>
                    <a:pt x="326" y="802"/>
                    <a:pt x="335" y="804"/>
                    <a:pt x="335" y="804"/>
                  </a:cubicBezTo>
                  <a:cubicBezTo>
                    <a:pt x="335" y="804"/>
                    <a:pt x="312" y="809"/>
                    <a:pt x="306" y="810"/>
                  </a:cubicBezTo>
                  <a:cubicBezTo>
                    <a:pt x="300" y="811"/>
                    <a:pt x="307" y="816"/>
                    <a:pt x="307" y="816"/>
                  </a:cubicBezTo>
                  <a:cubicBezTo>
                    <a:pt x="307" y="816"/>
                    <a:pt x="283" y="821"/>
                    <a:pt x="281" y="826"/>
                  </a:cubicBezTo>
                  <a:cubicBezTo>
                    <a:pt x="279" y="831"/>
                    <a:pt x="305" y="829"/>
                    <a:pt x="305" y="829"/>
                  </a:cubicBezTo>
                  <a:cubicBezTo>
                    <a:pt x="305" y="829"/>
                    <a:pt x="284" y="833"/>
                    <a:pt x="284" y="836"/>
                  </a:cubicBezTo>
                  <a:cubicBezTo>
                    <a:pt x="284" y="839"/>
                    <a:pt x="304" y="844"/>
                    <a:pt x="304" y="844"/>
                  </a:cubicBezTo>
                  <a:cubicBezTo>
                    <a:pt x="304" y="844"/>
                    <a:pt x="287" y="844"/>
                    <a:pt x="286" y="851"/>
                  </a:cubicBezTo>
                  <a:cubicBezTo>
                    <a:pt x="285" y="858"/>
                    <a:pt x="310" y="855"/>
                    <a:pt x="310" y="855"/>
                  </a:cubicBezTo>
                  <a:cubicBezTo>
                    <a:pt x="298" y="870"/>
                    <a:pt x="298" y="870"/>
                    <a:pt x="298" y="870"/>
                  </a:cubicBezTo>
                  <a:cubicBezTo>
                    <a:pt x="317" y="867"/>
                    <a:pt x="317" y="867"/>
                    <a:pt x="317" y="867"/>
                  </a:cubicBezTo>
                  <a:cubicBezTo>
                    <a:pt x="317" y="867"/>
                    <a:pt x="295" y="880"/>
                    <a:pt x="298" y="891"/>
                  </a:cubicBezTo>
                  <a:cubicBezTo>
                    <a:pt x="301" y="902"/>
                    <a:pt x="324" y="900"/>
                    <a:pt x="324" y="900"/>
                  </a:cubicBezTo>
                  <a:cubicBezTo>
                    <a:pt x="313" y="915"/>
                    <a:pt x="313" y="915"/>
                    <a:pt x="313" y="915"/>
                  </a:cubicBezTo>
                  <a:cubicBezTo>
                    <a:pt x="334" y="908"/>
                    <a:pt x="334" y="908"/>
                    <a:pt x="334" y="908"/>
                  </a:cubicBezTo>
                  <a:cubicBezTo>
                    <a:pt x="334" y="908"/>
                    <a:pt x="319" y="920"/>
                    <a:pt x="322" y="925"/>
                  </a:cubicBezTo>
                  <a:cubicBezTo>
                    <a:pt x="325" y="930"/>
                    <a:pt x="344" y="931"/>
                    <a:pt x="344" y="931"/>
                  </a:cubicBezTo>
                  <a:cubicBezTo>
                    <a:pt x="344" y="931"/>
                    <a:pt x="334" y="934"/>
                    <a:pt x="337" y="940"/>
                  </a:cubicBezTo>
                  <a:cubicBezTo>
                    <a:pt x="340" y="946"/>
                    <a:pt x="351" y="943"/>
                    <a:pt x="351" y="943"/>
                  </a:cubicBezTo>
                  <a:cubicBezTo>
                    <a:pt x="351" y="943"/>
                    <a:pt x="336" y="955"/>
                    <a:pt x="339" y="959"/>
                  </a:cubicBezTo>
                  <a:cubicBezTo>
                    <a:pt x="342" y="963"/>
                    <a:pt x="358" y="961"/>
                    <a:pt x="358" y="961"/>
                  </a:cubicBezTo>
                  <a:cubicBezTo>
                    <a:pt x="356" y="969"/>
                    <a:pt x="356" y="969"/>
                    <a:pt x="356" y="969"/>
                  </a:cubicBezTo>
                  <a:cubicBezTo>
                    <a:pt x="382" y="963"/>
                    <a:pt x="382" y="963"/>
                    <a:pt x="382" y="963"/>
                  </a:cubicBezTo>
                  <a:cubicBezTo>
                    <a:pt x="382" y="963"/>
                    <a:pt x="390" y="976"/>
                    <a:pt x="398" y="969"/>
                  </a:cubicBezTo>
                  <a:cubicBezTo>
                    <a:pt x="406" y="962"/>
                    <a:pt x="431" y="946"/>
                    <a:pt x="435" y="948"/>
                  </a:cubicBezTo>
                  <a:cubicBezTo>
                    <a:pt x="439" y="950"/>
                    <a:pt x="428" y="958"/>
                    <a:pt x="428" y="958"/>
                  </a:cubicBezTo>
                  <a:cubicBezTo>
                    <a:pt x="443" y="962"/>
                    <a:pt x="443" y="962"/>
                    <a:pt x="443" y="962"/>
                  </a:cubicBezTo>
                  <a:cubicBezTo>
                    <a:pt x="457" y="955"/>
                    <a:pt x="457" y="955"/>
                    <a:pt x="457" y="955"/>
                  </a:cubicBezTo>
                  <a:cubicBezTo>
                    <a:pt x="457" y="955"/>
                    <a:pt x="436" y="968"/>
                    <a:pt x="431" y="973"/>
                  </a:cubicBezTo>
                  <a:cubicBezTo>
                    <a:pt x="426" y="978"/>
                    <a:pt x="422" y="983"/>
                    <a:pt x="430" y="983"/>
                  </a:cubicBezTo>
                  <a:cubicBezTo>
                    <a:pt x="438" y="983"/>
                    <a:pt x="465" y="978"/>
                    <a:pt x="465" y="978"/>
                  </a:cubicBezTo>
                  <a:cubicBezTo>
                    <a:pt x="465" y="978"/>
                    <a:pt x="434" y="994"/>
                    <a:pt x="443" y="1000"/>
                  </a:cubicBezTo>
                  <a:cubicBezTo>
                    <a:pt x="452" y="1006"/>
                    <a:pt x="471" y="1000"/>
                    <a:pt x="471" y="1000"/>
                  </a:cubicBezTo>
                  <a:cubicBezTo>
                    <a:pt x="471" y="1000"/>
                    <a:pt x="481" y="1019"/>
                    <a:pt x="493" y="1012"/>
                  </a:cubicBezTo>
                  <a:cubicBezTo>
                    <a:pt x="505" y="1005"/>
                    <a:pt x="511" y="998"/>
                    <a:pt x="511" y="998"/>
                  </a:cubicBezTo>
                  <a:cubicBezTo>
                    <a:pt x="511" y="998"/>
                    <a:pt x="506" y="995"/>
                    <a:pt x="502" y="989"/>
                  </a:cubicBezTo>
                  <a:cubicBezTo>
                    <a:pt x="498" y="983"/>
                    <a:pt x="515" y="990"/>
                    <a:pt x="520" y="985"/>
                  </a:cubicBezTo>
                  <a:cubicBezTo>
                    <a:pt x="525" y="980"/>
                    <a:pt x="524" y="964"/>
                    <a:pt x="524" y="964"/>
                  </a:cubicBezTo>
                  <a:cubicBezTo>
                    <a:pt x="524" y="964"/>
                    <a:pt x="546" y="974"/>
                    <a:pt x="545" y="964"/>
                  </a:cubicBezTo>
                  <a:cubicBezTo>
                    <a:pt x="544" y="954"/>
                    <a:pt x="540" y="948"/>
                    <a:pt x="540" y="948"/>
                  </a:cubicBezTo>
                  <a:cubicBezTo>
                    <a:pt x="540" y="948"/>
                    <a:pt x="546" y="957"/>
                    <a:pt x="552" y="958"/>
                  </a:cubicBezTo>
                  <a:cubicBezTo>
                    <a:pt x="557" y="958"/>
                    <a:pt x="562" y="949"/>
                    <a:pt x="559" y="944"/>
                  </a:cubicBezTo>
                  <a:cubicBezTo>
                    <a:pt x="553" y="934"/>
                    <a:pt x="547" y="931"/>
                    <a:pt x="547" y="931"/>
                  </a:cubicBezTo>
                  <a:cubicBezTo>
                    <a:pt x="547" y="931"/>
                    <a:pt x="569" y="937"/>
                    <a:pt x="569" y="933"/>
                  </a:cubicBezTo>
                  <a:cubicBezTo>
                    <a:pt x="569" y="929"/>
                    <a:pt x="564" y="923"/>
                    <a:pt x="564" y="923"/>
                  </a:cubicBezTo>
                  <a:cubicBezTo>
                    <a:pt x="582" y="922"/>
                    <a:pt x="582" y="922"/>
                    <a:pt x="582" y="922"/>
                  </a:cubicBezTo>
                  <a:cubicBezTo>
                    <a:pt x="574" y="908"/>
                    <a:pt x="574" y="908"/>
                    <a:pt x="574" y="908"/>
                  </a:cubicBezTo>
                  <a:cubicBezTo>
                    <a:pt x="585" y="903"/>
                    <a:pt x="585" y="903"/>
                    <a:pt x="585" y="903"/>
                  </a:cubicBezTo>
                  <a:cubicBezTo>
                    <a:pt x="585" y="903"/>
                    <a:pt x="572" y="894"/>
                    <a:pt x="569" y="893"/>
                  </a:cubicBezTo>
                  <a:cubicBezTo>
                    <a:pt x="566" y="892"/>
                    <a:pt x="580" y="887"/>
                    <a:pt x="580" y="887"/>
                  </a:cubicBezTo>
                  <a:cubicBezTo>
                    <a:pt x="566" y="873"/>
                    <a:pt x="566" y="873"/>
                    <a:pt x="566" y="873"/>
                  </a:cubicBezTo>
                  <a:cubicBezTo>
                    <a:pt x="566" y="873"/>
                    <a:pt x="580" y="885"/>
                    <a:pt x="584" y="882"/>
                  </a:cubicBezTo>
                  <a:cubicBezTo>
                    <a:pt x="588" y="879"/>
                    <a:pt x="596" y="873"/>
                    <a:pt x="596" y="873"/>
                  </a:cubicBezTo>
                  <a:cubicBezTo>
                    <a:pt x="596" y="873"/>
                    <a:pt x="612" y="875"/>
                    <a:pt x="615" y="872"/>
                  </a:cubicBezTo>
                  <a:cubicBezTo>
                    <a:pt x="618" y="869"/>
                    <a:pt x="611" y="859"/>
                    <a:pt x="611" y="859"/>
                  </a:cubicBezTo>
                  <a:cubicBezTo>
                    <a:pt x="625" y="858"/>
                    <a:pt x="625" y="858"/>
                    <a:pt x="625" y="858"/>
                  </a:cubicBezTo>
                  <a:cubicBezTo>
                    <a:pt x="630" y="841"/>
                    <a:pt x="630" y="841"/>
                    <a:pt x="630" y="841"/>
                  </a:cubicBezTo>
                  <a:cubicBezTo>
                    <a:pt x="630" y="841"/>
                    <a:pt x="650" y="848"/>
                    <a:pt x="656" y="843"/>
                  </a:cubicBezTo>
                  <a:cubicBezTo>
                    <a:pt x="662" y="838"/>
                    <a:pt x="657" y="829"/>
                    <a:pt x="657" y="829"/>
                  </a:cubicBezTo>
                  <a:cubicBezTo>
                    <a:pt x="657" y="829"/>
                    <a:pt x="664" y="839"/>
                    <a:pt x="671" y="839"/>
                  </a:cubicBezTo>
                  <a:cubicBezTo>
                    <a:pt x="675" y="839"/>
                    <a:pt x="678" y="830"/>
                    <a:pt x="680" y="828"/>
                  </a:cubicBezTo>
                  <a:cubicBezTo>
                    <a:pt x="685" y="821"/>
                    <a:pt x="680" y="811"/>
                    <a:pt x="680" y="811"/>
                  </a:cubicBezTo>
                  <a:cubicBezTo>
                    <a:pt x="655" y="807"/>
                    <a:pt x="655" y="807"/>
                    <a:pt x="655" y="807"/>
                  </a:cubicBezTo>
                  <a:cubicBezTo>
                    <a:pt x="673" y="802"/>
                    <a:pt x="673" y="802"/>
                    <a:pt x="673" y="802"/>
                  </a:cubicBezTo>
                  <a:cubicBezTo>
                    <a:pt x="693" y="794"/>
                    <a:pt x="693" y="794"/>
                    <a:pt x="693" y="794"/>
                  </a:cubicBezTo>
                  <a:cubicBezTo>
                    <a:pt x="694" y="780"/>
                    <a:pt x="694" y="780"/>
                    <a:pt x="694" y="780"/>
                  </a:cubicBezTo>
                  <a:cubicBezTo>
                    <a:pt x="681" y="777"/>
                    <a:pt x="681" y="777"/>
                    <a:pt x="681" y="777"/>
                  </a:cubicBezTo>
                  <a:cubicBezTo>
                    <a:pt x="686" y="765"/>
                    <a:pt x="686" y="765"/>
                    <a:pt x="686" y="765"/>
                  </a:cubicBezTo>
                  <a:cubicBezTo>
                    <a:pt x="707" y="765"/>
                    <a:pt x="707" y="765"/>
                    <a:pt x="707" y="765"/>
                  </a:cubicBezTo>
                  <a:cubicBezTo>
                    <a:pt x="707" y="765"/>
                    <a:pt x="721" y="769"/>
                    <a:pt x="728" y="763"/>
                  </a:cubicBezTo>
                  <a:cubicBezTo>
                    <a:pt x="735" y="757"/>
                    <a:pt x="730" y="745"/>
                    <a:pt x="730" y="745"/>
                  </a:cubicBezTo>
                  <a:cubicBezTo>
                    <a:pt x="752" y="741"/>
                    <a:pt x="752" y="741"/>
                    <a:pt x="752" y="741"/>
                  </a:cubicBezTo>
                  <a:cubicBezTo>
                    <a:pt x="752" y="741"/>
                    <a:pt x="783" y="747"/>
                    <a:pt x="791" y="740"/>
                  </a:cubicBezTo>
                  <a:cubicBezTo>
                    <a:pt x="799" y="733"/>
                    <a:pt x="802" y="726"/>
                    <a:pt x="802" y="726"/>
                  </a:cubicBezTo>
                  <a:cubicBezTo>
                    <a:pt x="811" y="721"/>
                    <a:pt x="811" y="721"/>
                    <a:pt x="811" y="721"/>
                  </a:cubicBezTo>
                  <a:cubicBezTo>
                    <a:pt x="811" y="721"/>
                    <a:pt x="813" y="710"/>
                    <a:pt x="824" y="708"/>
                  </a:cubicBezTo>
                  <a:cubicBezTo>
                    <a:pt x="835" y="706"/>
                    <a:pt x="804" y="740"/>
                    <a:pt x="812" y="740"/>
                  </a:cubicBezTo>
                  <a:cubicBezTo>
                    <a:pt x="820" y="740"/>
                    <a:pt x="828" y="738"/>
                    <a:pt x="828" y="738"/>
                  </a:cubicBezTo>
                  <a:cubicBezTo>
                    <a:pt x="832" y="725"/>
                    <a:pt x="832" y="725"/>
                    <a:pt x="832" y="725"/>
                  </a:cubicBezTo>
                  <a:cubicBezTo>
                    <a:pt x="841" y="727"/>
                    <a:pt x="841" y="727"/>
                    <a:pt x="841" y="727"/>
                  </a:cubicBezTo>
                  <a:cubicBezTo>
                    <a:pt x="849" y="718"/>
                    <a:pt x="849" y="718"/>
                    <a:pt x="849" y="718"/>
                  </a:cubicBezTo>
                  <a:cubicBezTo>
                    <a:pt x="849" y="718"/>
                    <a:pt x="866" y="733"/>
                    <a:pt x="878" y="725"/>
                  </a:cubicBezTo>
                  <a:cubicBezTo>
                    <a:pt x="890" y="717"/>
                    <a:pt x="907" y="704"/>
                    <a:pt x="907" y="704"/>
                  </a:cubicBezTo>
                  <a:cubicBezTo>
                    <a:pt x="907" y="704"/>
                    <a:pt x="923" y="709"/>
                    <a:pt x="950" y="698"/>
                  </a:cubicBezTo>
                  <a:cubicBezTo>
                    <a:pt x="977" y="687"/>
                    <a:pt x="974" y="670"/>
                    <a:pt x="992" y="658"/>
                  </a:cubicBezTo>
                  <a:cubicBezTo>
                    <a:pt x="1010" y="646"/>
                    <a:pt x="1052" y="634"/>
                    <a:pt x="1052" y="634"/>
                  </a:cubicBezTo>
                  <a:cubicBezTo>
                    <a:pt x="1052" y="634"/>
                    <a:pt x="1055" y="625"/>
                    <a:pt x="1054" y="619"/>
                  </a:cubicBezTo>
                  <a:cubicBezTo>
                    <a:pt x="1053" y="613"/>
                    <a:pt x="1046" y="601"/>
                    <a:pt x="1053" y="599"/>
                  </a:cubicBezTo>
                  <a:cubicBezTo>
                    <a:pt x="1060" y="597"/>
                    <a:pt x="1071" y="625"/>
                    <a:pt x="1082" y="625"/>
                  </a:cubicBezTo>
                  <a:cubicBezTo>
                    <a:pt x="1082" y="625"/>
                    <a:pt x="1124" y="624"/>
                    <a:pt x="1135" y="622"/>
                  </a:cubicBezTo>
                  <a:cubicBezTo>
                    <a:pt x="1146" y="620"/>
                    <a:pt x="1167" y="609"/>
                    <a:pt x="1190" y="606"/>
                  </a:cubicBezTo>
                  <a:cubicBezTo>
                    <a:pt x="1213" y="603"/>
                    <a:pt x="1253" y="600"/>
                    <a:pt x="1260" y="598"/>
                  </a:cubicBezTo>
                  <a:cubicBezTo>
                    <a:pt x="1267" y="596"/>
                    <a:pt x="1273" y="589"/>
                    <a:pt x="1273" y="589"/>
                  </a:cubicBezTo>
                  <a:cubicBezTo>
                    <a:pt x="1291" y="589"/>
                    <a:pt x="1291" y="589"/>
                    <a:pt x="1291" y="589"/>
                  </a:cubicBezTo>
                  <a:cubicBezTo>
                    <a:pt x="1300" y="578"/>
                    <a:pt x="1300" y="578"/>
                    <a:pt x="1300" y="578"/>
                  </a:cubicBezTo>
                  <a:cubicBezTo>
                    <a:pt x="1317" y="578"/>
                    <a:pt x="1317" y="578"/>
                    <a:pt x="1317" y="578"/>
                  </a:cubicBezTo>
                  <a:cubicBezTo>
                    <a:pt x="1317" y="578"/>
                    <a:pt x="1335" y="561"/>
                    <a:pt x="1339" y="558"/>
                  </a:cubicBezTo>
                  <a:cubicBezTo>
                    <a:pt x="1343" y="555"/>
                    <a:pt x="1369" y="553"/>
                    <a:pt x="1369" y="553"/>
                  </a:cubicBezTo>
                  <a:cubicBezTo>
                    <a:pt x="1401" y="542"/>
                    <a:pt x="1401" y="542"/>
                    <a:pt x="1401" y="542"/>
                  </a:cubicBezTo>
                  <a:cubicBezTo>
                    <a:pt x="1422" y="537"/>
                    <a:pt x="1422" y="537"/>
                    <a:pt x="1422" y="537"/>
                  </a:cubicBezTo>
                  <a:cubicBezTo>
                    <a:pt x="1427" y="529"/>
                    <a:pt x="1427" y="529"/>
                    <a:pt x="1427" y="529"/>
                  </a:cubicBezTo>
                  <a:cubicBezTo>
                    <a:pt x="1427" y="529"/>
                    <a:pt x="1407" y="531"/>
                    <a:pt x="1395" y="531"/>
                  </a:cubicBezTo>
                  <a:cubicBezTo>
                    <a:pt x="1383" y="531"/>
                    <a:pt x="1375" y="524"/>
                    <a:pt x="1360" y="522"/>
                  </a:cubicBezTo>
                  <a:cubicBezTo>
                    <a:pt x="1345" y="520"/>
                    <a:pt x="1317" y="520"/>
                    <a:pt x="1303" y="524"/>
                  </a:cubicBezTo>
                  <a:cubicBezTo>
                    <a:pt x="1289" y="528"/>
                    <a:pt x="1269" y="528"/>
                    <a:pt x="1269" y="528"/>
                  </a:cubicBezTo>
                  <a:cubicBezTo>
                    <a:pt x="1259" y="537"/>
                    <a:pt x="1259" y="537"/>
                    <a:pt x="1259" y="537"/>
                  </a:cubicBezTo>
                  <a:cubicBezTo>
                    <a:pt x="1259" y="537"/>
                    <a:pt x="1214" y="541"/>
                    <a:pt x="1221" y="535"/>
                  </a:cubicBezTo>
                  <a:cubicBezTo>
                    <a:pt x="1228" y="529"/>
                    <a:pt x="1288" y="520"/>
                    <a:pt x="1288" y="520"/>
                  </a:cubicBezTo>
                  <a:cubicBezTo>
                    <a:pt x="1288" y="520"/>
                    <a:pt x="1348" y="508"/>
                    <a:pt x="1333" y="499"/>
                  </a:cubicBezTo>
                  <a:cubicBezTo>
                    <a:pt x="1318" y="490"/>
                    <a:pt x="1310" y="490"/>
                    <a:pt x="1310" y="490"/>
                  </a:cubicBezTo>
                  <a:cubicBezTo>
                    <a:pt x="1310" y="490"/>
                    <a:pt x="1255" y="508"/>
                    <a:pt x="1249" y="511"/>
                  </a:cubicBezTo>
                  <a:cubicBezTo>
                    <a:pt x="1243" y="514"/>
                    <a:pt x="1217" y="512"/>
                    <a:pt x="1217" y="512"/>
                  </a:cubicBezTo>
                  <a:cubicBezTo>
                    <a:pt x="1241" y="500"/>
                    <a:pt x="1241" y="500"/>
                    <a:pt x="1241" y="500"/>
                  </a:cubicBezTo>
                  <a:cubicBezTo>
                    <a:pt x="1255" y="489"/>
                    <a:pt x="1255" y="489"/>
                    <a:pt x="1255" y="489"/>
                  </a:cubicBezTo>
                  <a:cubicBezTo>
                    <a:pt x="1255" y="489"/>
                    <a:pt x="1279" y="493"/>
                    <a:pt x="1286" y="491"/>
                  </a:cubicBezTo>
                  <a:cubicBezTo>
                    <a:pt x="1293" y="489"/>
                    <a:pt x="1311" y="485"/>
                    <a:pt x="1319" y="485"/>
                  </a:cubicBezTo>
                  <a:cubicBezTo>
                    <a:pt x="1327" y="485"/>
                    <a:pt x="1349" y="483"/>
                    <a:pt x="1337" y="477"/>
                  </a:cubicBezTo>
                  <a:cubicBezTo>
                    <a:pt x="1325" y="471"/>
                    <a:pt x="1287" y="470"/>
                    <a:pt x="1287" y="470"/>
                  </a:cubicBezTo>
                  <a:cubicBezTo>
                    <a:pt x="1255" y="472"/>
                    <a:pt x="1255" y="472"/>
                    <a:pt x="1255" y="472"/>
                  </a:cubicBezTo>
                  <a:cubicBezTo>
                    <a:pt x="1271" y="465"/>
                    <a:pt x="1271" y="465"/>
                    <a:pt x="1271" y="465"/>
                  </a:cubicBezTo>
                  <a:cubicBezTo>
                    <a:pt x="1255" y="455"/>
                    <a:pt x="1255" y="455"/>
                    <a:pt x="1255" y="455"/>
                  </a:cubicBezTo>
                  <a:cubicBezTo>
                    <a:pt x="1255" y="455"/>
                    <a:pt x="1253" y="446"/>
                    <a:pt x="1257" y="446"/>
                  </a:cubicBezTo>
                  <a:cubicBezTo>
                    <a:pt x="1261" y="446"/>
                    <a:pt x="1281" y="463"/>
                    <a:pt x="1294" y="464"/>
                  </a:cubicBezTo>
                  <a:cubicBezTo>
                    <a:pt x="1307" y="465"/>
                    <a:pt x="1348" y="477"/>
                    <a:pt x="1348" y="477"/>
                  </a:cubicBezTo>
                  <a:cubicBezTo>
                    <a:pt x="1348" y="477"/>
                    <a:pt x="1366" y="469"/>
                    <a:pt x="1367" y="478"/>
                  </a:cubicBezTo>
                  <a:cubicBezTo>
                    <a:pt x="1368" y="487"/>
                    <a:pt x="1356" y="501"/>
                    <a:pt x="1377" y="507"/>
                  </a:cubicBezTo>
                  <a:cubicBezTo>
                    <a:pt x="1398" y="513"/>
                    <a:pt x="1421" y="514"/>
                    <a:pt x="1421" y="514"/>
                  </a:cubicBezTo>
                  <a:cubicBezTo>
                    <a:pt x="1421" y="514"/>
                    <a:pt x="1423" y="499"/>
                    <a:pt x="1427" y="502"/>
                  </a:cubicBezTo>
                  <a:cubicBezTo>
                    <a:pt x="1431" y="505"/>
                    <a:pt x="1427" y="520"/>
                    <a:pt x="1436" y="520"/>
                  </a:cubicBezTo>
                  <a:cubicBezTo>
                    <a:pt x="1445" y="520"/>
                    <a:pt x="1457" y="510"/>
                    <a:pt x="1457" y="510"/>
                  </a:cubicBezTo>
                  <a:cubicBezTo>
                    <a:pt x="1457" y="494"/>
                    <a:pt x="1457" y="494"/>
                    <a:pt x="1457" y="494"/>
                  </a:cubicBezTo>
                  <a:cubicBezTo>
                    <a:pt x="1451" y="492"/>
                    <a:pt x="1451" y="492"/>
                    <a:pt x="1451" y="492"/>
                  </a:cubicBezTo>
                  <a:cubicBezTo>
                    <a:pt x="1451" y="492"/>
                    <a:pt x="1465" y="481"/>
                    <a:pt x="1459" y="476"/>
                  </a:cubicBezTo>
                  <a:cubicBezTo>
                    <a:pt x="1453" y="471"/>
                    <a:pt x="1442" y="477"/>
                    <a:pt x="1442" y="477"/>
                  </a:cubicBezTo>
                  <a:cubicBezTo>
                    <a:pt x="1436" y="462"/>
                    <a:pt x="1436" y="462"/>
                    <a:pt x="1436" y="462"/>
                  </a:cubicBezTo>
                  <a:cubicBezTo>
                    <a:pt x="1425" y="459"/>
                    <a:pt x="1425" y="459"/>
                    <a:pt x="1425" y="459"/>
                  </a:cubicBezTo>
                  <a:cubicBezTo>
                    <a:pt x="1428" y="449"/>
                    <a:pt x="1428" y="449"/>
                    <a:pt x="1428" y="449"/>
                  </a:cubicBezTo>
                  <a:cubicBezTo>
                    <a:pt x="1380" y="430"/>
                    <a:pt x="1380" y="430"/>
                    <a:pt x="1380" y="430"/>
                  </a:cubicBezTo>
                  <a:cubicBezTo>
                    <a:pt x="1353" y="437"/>
                    <a:pt x="1353" y="437"/>
                    <a:pt x="1353" y="437"/>
                  </a:cubicBezTo>
                  <a:cubicBezTo>
                    <a:pt x="1347" y="434"/>
                    <a:pt x="1347" y="434"/>
                    <a:pt x="1347" y="434"/>
                  </a:cubicBezTo>
                  <a:cubicBezTo>
                    <a:pt x="1369" y="427"/>
                    <a:pt x="1369" y="427"/>
                    <a:pt x="1369" y="427"/>
                  </a:cubicBezTo>
                  <a:cubicBezTo>
                    <a:pt x="1371" y="424"/>
                    <a:pt x="1371" y="424"/>
                    <a:pt x="1371" y="424"/>
                  </a:cubicBezTo>
                  <a:cubicBezTo>
                    <a:pt x="1371" y="424"/>
                    <a:pt x="1370" y="415"/>
                    <a:pt x="1353" y="415"/>
                  </a:cubicBezTo>
                  <a:cubicBezTo>
                    <a:pt x="1336" y="415"/>
                    <a:pt x="1303" y="412"/>
                    <a:pt x="1303" y="412"/>
                  </a:cubicBezTo>
                  <a:cubicBezTo>
                    <a:pt x="1314" y="398"/>
                    <a:pt x="1314" y="398"/>
                    <a:pt x="1314" y="398"/>
                  </a:cubicBezTo>
                  <a:cubicBezTo>
                    <a:pt x="1314" y="398"/>
                    <a:pt x="1327" y="396"/>
                    <a:pt x="1337" y="400"/>
                  </a:cubicBezTo>
                  <a:cubicBezTo>
                    <a:pt x="1347" y="404"/>
                    <a:pt x="1363" y="393"/>
                    <a:pt x="1363" y="393"/>
                  </a:cubicBezTo>
                  <a:cubicBezTo>
                    <a:pt x="1381" y="390"/>
                    <a:pt x="1381" y="390"/>
                    <a:pt x="1381" y="390"/>
                  </a:cubicBezTo>
                  <a:cubicBezTo>
                    <a:pt x="1413" y="400"/>
                    <a:pt x="1413" y="400"/>
                    <a:pt x="1413" y="400"/>
                  </a:cubicBezTo>
                  <a:cubicBezTo>
                    <a:pt x="1427" y="397"/>
                    <a:pt x="1427" y="397"/>
                    <a:pt x="1427" y="397"/>
                  </a:cubicBezTo>
                  <a:cubicBezTo>
                    <a:pt x="1427" y="397"/>
                    <a:pt x="1453" y="418"/>
                    <a:pt x="1464" y="418"/>
                  </a:cubicBezTo>
                  <a:cubicBezTo>
                    <a:pt x="1475" y="418"/>
                    <a:pt x="1471" y="404"/>
                    <a:pt x="1471" y="404"/>
                  </a:cubicBezTo>
                  <a:cubicBezTo>
                    <a:pt x="1445" y="400"/>
                    <a:pt x="1445" y="400"/>
                    <a:pt x="1445" y="400"/>
                  </a:cubicBezTo>
                  <a:cubicBezTo>
                    <a:pt x="1425" y="390"/>
                    <a:pt x="1425" y="390"/>
                    <a:pt x="1425" y="390"/>
                  </a:cubicBezTo>
                  <a:cubicBezTo>
                    <a:pt x="1394" y="387"/>
                    <a:pt x="1394" y="387"/>
                    <a:pt x="1394" y="387"/>
                  </a:cubicBezTo>
                  <a:cubicBezTo>
                    <a:pt x="1394" y="387"/>
                    <a:pt x="1401" y="378"/>
                    <a:pt x="1408" y="375"/>
                  </a:cubicBezTo>
                  <a:cubicBezTo>
                    <a:pt x="1415" y="372"/>
                    <a:pt x="1432" y="390"/>
                    <a:pt x="1448" y="390"/>
                  </a:cubicBezTo>
                  <a:cubicBezTo>
                    <a:pt x="1464" y="390"/>
                    <a:pt x="1492" y="391"/>
                    <a:pt x="1492" y="391"/>
                  </a:cubicBezTo>
                  <a:cubicBezTo>
                    <a:pt x="1534" y="386"/>
                    <a:pt x="1534" y="386"/>
                    <a:pt x="1534" y="386"/>
                  </a:cubicBezTo>
                  <a:cubicBezTo>
                    <a:pt x="1535" y="368"/>
                    <a:pt x="1535" y="368"/>
                    <a:pt x="1535" y="368"/>
                  </a:cubicBezTo>
                  <a:cubicBezTo>
                    <a:pt x="1506" y="361"/>
                    <a:pt x="1506" y="361"/>
                    <a:pt x="1506" y="361"/>
                  </a:cubicBezTo>
                  <a:cubicBezTo>
                    <a:pt x="1491" y="371"/>
                    <a:pt x="1491" y="371"/>
                    <a:pt x="1491" y="371"/>
                  </a:cubicBezTo>
                  <a:cubicBezTo>
                    <a:pt x="1491" y="371"/>
                    <a:pt x="1477" y="359"/>
                    <a:pt x="1481" y="355"/>
                  </a:cubicBezTo>
                  <a:cubicBezTo>
                    <a:pt x="1485" y="351"/>
                    <a:pt x="1517" y="354"/>
                    <a:pt x="1517" y="354"/>
                  </a:cubicBezTo>
                  <a:cubicBezTo>
                    <a:pt x="1546" y="346"/>
                    <a:pt x="1546" y="346"/>
                    <a:pt x="1546" y="346"/>
                  </a:cubicBezTo>
                  <a:cubicBezTo>
                    <a:pt x="1546" y="346"/>
                    <a:pt x="1563" y="356"/>
                    <a:pt x="1576" y="352"/>
                  </a:cubicBezTo>
                  <a:cubicBezTo>
                    <a:pt x="1589" y="348"/>
                    <a:pt x="1602" y="339"/>
                    <a:pt x="1597" y="337"/>
                  </a:cubicBezTo>
                  <a:cubicBezTo>
                    <a:pt x="1592" y="335"/>
                    <a:pt x="1550" y="334"/>
                    <a:pt x="1546" y="334"/>
                  </a:cubicBezTo>
                  <a:cubicBezTo>
                    <a:pt x="1542" y="334"/>
                    <a:pt x="1550" y="326"/>
                    <a:pt x="1538" y="323"/>
                  </a:cubicBezTo>
                  <a:cubicBezTo>
                    <a:pt x="1526" y="320"/>
                    <a:pt x="1498" y="321"/>
                    <a:pt x="1498" y="321"/>
                  </a:cubicBezTo>
                  <a:cubicBezTo>
                    <a:pt x="1498" y="321"/>
                    <a:pt x="1532" y="320"/>
                    <a:pt x="1535" y="314"/>
                  </a:cubicBezTo>
                  <a:cubicBezTo>
                    <a:pt x="1538" y="308"/>
                    <a:pt x="1499" y="301"/>
                    <a:pt x="1499" y="301"/>
                  </a:cubicBezTo>
                  <a:cubicBezTo>
                    <a:pt x="1499" y="301"/>
                    <a:pt x="1521" y="296"/>
                    <a:pt x="1528" y="299"/>
                  </a:cubicBezTo>
                  <a:cubicBezTo>
                    <a:pt x="1535" y="302"/>
                    <a:pt x="1559" y="310"/>
                    <a:pt x="1565" y="308"/>
                  </a:cubicBezTo>
                  <a:cubicBezTo>
                    <a:pt x="1571" y="306"/>
                    <a:pt x="1573" y="320"/>
                    <a:pt x="1583" y="316"/>
                  </a:cubicBezTo>
                  <a:cubicBezTo>
                    <a:pt x="1593" y="312"/>
                    <a:pt x="1601" y="294"/>
                    <a:pt x="1594" y="289"/>
                  </a:cubicBezTo>
                  <a:cubicBezTo>
                    <a:pt x="1587" y="284"/>
                    <a:pt x="1570" y="272"/>
                    <a:pt x="1570" y="272"/>
                  </a:cubicBezTo>
                  <a:cubicBezTo>
                    <a:pt x="1531" y="264"/>
                    <a:pt x="1531" y="264"/>
                    <a:pt x="1531" y="264"/>
                  </a:cubicBezTo>
                  <a:cubicBezTo>
                    <a:pt x="1531" y="264"/>
                    <a:pt x="1513" y="256"/>
                    <a:pt x="1520" y="250"/>
                  </a:cubicBezTo>
                  <a:cubicBezTo>
                    <a:pt x="1527" y="244"/>
                    <a:pt x="1549" y="249"/>
                    <a:pt x="1549" y="249"/>
                  </a:cubicBezTo>
                  <a:cubicBezTo>
                    <a:pt x="1580" y="242"/>
                    <a:pt x="1580" y="242"/>
                    <a:pt x="1580" y="242"/>
                  </a:cubicBezTo>
                  <a:cubicBezTo>
                    <a:pt x="1580" y="242"/>
                    <a:pt x="1591" y="244"/>
                    <a:pt x="1623" y="246"/>
                  </a:cubicBezTo>
                  <a:cubicBezTo>
                    <a:pt x="1655" y="248"/>
                    <a:pt x="1670" y="225"/>
                    <a:pt x="1647" y="223"/>
                  </a:cubicBezTo>
                  <a:cubicBezTo>
                    <a:pt x="1624" y="221"/>
                    <a:pt x="1590" y="221"/>
                    <a:pt x="1590" y="221"/>
                  </a:cubicBezTo>
                  <a:cubicBezTo>
                    <a:pt x="1589" y="211"/>
                    <a:pt x="1589" y="211"/>
                    <a:pt x="1589" y="211"/>
                  </a:cubicBezTo>
                  <a:cubicBezTo>
                    <a:pt x="1609" y="210"/>
                    <a:pt x="1609" y="210"/>
                    <a:pt x="1609" y="210"/>
                  </a:cubicBezTo>
                  <a:cubicBezTo>
                    <a:pt x="1609" y="210"/>
                    <a:pt x="1603" y="195"/>
                    <a:pt x="1587" y="197"/>
                  </a:cubicBezTo>
                  <a:cubicBezTo>
                    <a:pt x="1571" y="199"/>
                    <a:pt x="1583" y="215"/>
                    <a:pt x="1574" y="216"/>
                  </a:cubicBezTo>
                  <a:cubicBezTo>
                    <a:pt x="1565" y="217"/>
                    <a:pt x="1540" y="204"/>
                    <a:pt x="1549" y="201"/>
                  </a:cubicBezTo>
                  <a:cubicBezTo>
                    <a:pt x="1558" y="198"/>
                    <a:pt x="1582" y="193"/>
                    <a:pt x="1585" y="185"/>
                  </a:cubicBezTo>
                  <a:cubicBezTo>
                    <a:pt x="1588" y="177"/>
                    <a:pt x="1598" y="165"/>
                    <a:pt x="1601" y="164"/>
                  </a:cubicBezTo>
                  <a:cubicBezTo>
                    <a:pt x="1604" y="163"/>
                    <a:pt x="1618" y="170"/>
                    <a:pt x="1627" y="165"/>
                  </a:cubicBezTo>
                  <a:cubicBezTo>
                    <a:pt x="1636" y="160"/>
                    <a:pt x="1649" y="151"/>
                    <a:pt x="1649" y="151"/>
                  </a:cubicBezTo>
                  <a:cubicBezTo>
                    <a:pt x="1639" y="141"/>
                    <a:pt x="1639" y="141"/>
                    <a:pt x="1639" y="141"/>
                  </a:cubicBezTo>
                  <a:cubicBezTo>
                    <a:pt x="1639" y="141"/>
                    <a:pt x="1665" y="128"/>
                    <a:pt x="1671" y="128"/>
                  </a:cubicBezTo>
                  <a:cubicBezTo>
                    <a:pt x="1677" y="128"/>
                    <a:pt x="1687" y="138"/>
                    <a:pt x="1695" y="132"/>
                  </a:cubicBezTo>
                  <a:cubicBezTo>
                    <a:pt x="1703" y="126"/>
                    <a:pt x="1723" y="122"/>
                    <a:pt x="1711" y="119"/>
                  </a:cubicBezTo>
                  <a:cubicBezTo>
                    <a:pt x="1699" y="116"/>
                    <a:pt x="1670" y="119"/>
                    <a:pt x="1670" y="119"/>
                  </a:cubicBezTo>
                  <a:cubicBezTo>
                    <a:pt x="1670" y="119"/>
                    <a:pt x="1615" y="134"/>
                    <a:pt x="1626" y="123"/>
                  </a:cubicBezTo>
                  <a:cubicBezTo>
                    <a:pt x="1637" y="112"/>
                    <a:pt x="1659" y="111"/>
                    <a:pt x="1659" y="111"/>
                  </a:cubicBezTo>
                  <a:cubicBezTo>
                    <a:pt x="1659" y="111"/>
                    <a:pt x="1700" y="113"/>
                    <a:pt x="1721" y="112"/>
                  </a:cubicBezTo>
                  <a:cubicBezTo>
                    <a:pt x="1742" y="111"/>
                    <a:pt x="1758" y="104"/>
                    <a:pt x="1758" y="104"/>
                  </a:cubicBezTo>
                  <a:cubicBezTo>
                    <a:pt x="1758" y="104"/>
                    <a:pt x="1723" y="95"/>
                    <a:pt x="1717" y="98"/>
                  </a:cubicBezTo>
                  <a:cubicBezTo>
                    <a:pt x="1711" y="101"/>
                    <a:pt x="1672" y="102"/>
                    <a:pt x="1672" y="102"/>
                  </a:cubicBezTo>
                  <a:cubicBezTo>
                    <a:pt x="1672" y="102"/>
                    <a:pt x="1625" y="105"/>
                    <a:pt x="1642" y="100"/>
                  </a:cubicBezTo>
                  <a:cubicBezTo>
                    <a:pt x="1659" y="95"/>
                    <a:pt x="1710" y="94"/>
                    <a:pt x="1710" y="94"/>
                  </a:cubicBezTo>
                  <a:cubicBezTo>
                    <a:pt x="1710" y="94"/>
                    <a:pt x="1776" y="95"/>
                    <a:pt x="1787" y="92"/>
                  </a:cubicBezTo>
                  <a:cubicBezTo>
                    <a:pt x="1798" y="89"/>
                    <a:pt x="1807" y="79"/>
                    <a:pt x="1807" y="79"/>
                  </a:cubicBezTo>
                  <a:cubicBezTo>
                    <a:pt x="1807" y="79"/>
                    <a:pt x="1834" y="80"/>
                    <a:pt x="1851" y="78"/>
                  </a:cubicBezTo>
                  <a:cubicBezTo>
                    <a:pt x="1868" y="76"/>
                    <a:pt x="1891" y="67"/>
                    <a:pt x="1891" y="67"/>
                  </a:cubicBezTo>
                  <a:cubicBezTo>
                    <a:pt x="1891" y="67"/>
                    <a:pt x="1865" y="57"/>
                    <a:pt x="1845" y="57"/>
                  </a:cubicBezTo>
                  <a:close/>
                  <a:moveTo>
                    <a:pt x="345" y="566"/>
                  </a:moveTo>
                  <a:cubicBezTo>
                    <a:pt x="353" y="568"/>
                    <a:pt x="353" y="568"/>
                    <a:pt x="353" y="568"/>
                  </a:cubicBezTo>
                  <a:cubicBezTo>
                    <a:pt x="353" y="568"/>
                    <a:pt x="371" y="564"/>
                    <a:pt x="377" y="564"/>
                  </a:cubicBezTo>
                  <a:cubicBezTo>
                    <a:pt x="383" y="564"/>
                    <a:pt x="397" y="554"/>
                    <a:pt x="395" y="546"/>
                  </a:cubicBezTo>
                  <a:cubicBezTo>
                    <a:pt x="393" y="538"/>
                    <a:pt x="371" y="534"/>
                    <a:pt x="371" y="534"/>
                  </a:cubicBezTo>
                  <a:cubicBezTo>
                    <a:pt x="371" y="534"/>
                    <a:pt x="361" y="526"/>
                    <a:pt x="351" y="526"/>
                  </a:cubicBezTo>
                  <a:cubicBezTo>
                    <a:pt x="341" y="526"/>
                    <a:pt x="337" y="532"/>
                    <a:pt x="321" y="526"/>
                  </a:cubicBezTo>
                  <a:cubicBezTo>
                    <a:pt x="317" y="542"/>
                    <a:pt x="317" y="542"/>
                    <a:pt x="317" y="542"/>
                  </a:cubicBezTo>
                  <a:cubicBezTo>
                    <a:pt x="317" y="542"/>
                    <a:pt x="309" y="546"/>
                    <a:pt x="309" y="552"/>
                  </a:cubicBezTo>
                  <a:cubicBezTo>
                    <a:pt x="309" y="558"/>
                    <a:pt x="321" y="564"/>
                    <a:pt x="321" y="564"/>
                  </a:cubicBezTo>
                  <a:cubicBezTo>
                    <a:pt x="317" y="572"/>
                    <a:pt x="317" y="572"/>
                    <a:pt x="317" y="572"/>
                  </a:cubicBezTo>
                  <a:lnTo>
                    <a:pt x="345" y="566"/>
                  </a:lnTo>
                  <a:close/>
                  <a:moveTo>
                    <a:pt x="2531" y="1160"/>
                  </a:moveTo>
                  <a:cubicBezTo>
                    <a:pt x="2535" y="1157"/>
                    <a:pt x="2548" y="1143"/>
                    <a:pt x="2545" y="1138"/>
                  </a:cubicBezTo>
                  <a:cubicBezTo>
                    <a:pt x="2542" y="1133"/>
                    <a:pt x="2538" y="1126"/>
                    <a:pt x="2538" y="1126"/>
                  </a:cubicBezTo>
                  <a:cubicBezTo>
                    <a:pt x="2538" y="1126"/>
                    <a:pt x="2520" y="1124"/>
                    <a:pt x="2519" y="1127"/>
                  </a:cubicBezTo>
                  <a:cubicBezTo>
                    <a:pt x="2518" y="1130"/>
                    <a:pt x="2498" y="1155"/>
                    <a:pt x="2498" y="1160"/>
                  </a:cubicBezTo>
                  <a:cubicBezTo>
                    <a:pt x="2498" y="1165"/>
                    <a:pt x="2501" y="1177"/>
                    <a:pt x="2501" y="1177"/>
                  </a:cubicBezTo>
                  <a:cubicBezTo>
                    <a:pt x="2488" y="1166"/>
                    <a:pt x="2488" y="1166"/>
                    <a:pt x="2488" y="1166"/>
                  </a:cubicBezTo>
                  <a:cubicBezTo>
                    <a:pt x="2482" y="1145"/>
                    <a:pt x="2482" y="1145"/>
                    <a:pt x="2482" y="1145"/>
                  </a:cubicBezTo>
                  <a:cubicBezTo>
                    <a:pt x="2482" y="1145"/>
                    <a:pt x="2457" y="1161"/>
                    <a:pt x="2458" y="1164"/>
                  </a:cubicBezTo>
                  <a:cubicBezTo>
                    <a:pt x="2459" y="1167"/>
                    <a:pt x="2472" y="1165"/>
                    <a:pt x="2473" y="1168"/>
                  </a:cubicBezTo>
                  <a:cubicBezTo>
                    <a:pt x="2474" y="1171"/>
                    <a:pt x="2483" y="1185"/>
                    <a:pt x="2483" y="1185"/>
                  </a:cubicBezTo>
                  <a:cubicBezTo>
                    <a:pt x="2460" y="1181"/>
                    <a:pt x="2460" y="1181"/>
                    <a:pt x="2460" y="1181"/>
                  </a:cubicBezTo>
                  <a:cubicBezTo>
                    <a:pt x="2460" y="1181"/>
                    <a:pt x="2448" y="1196"/>
                    <a:pt x="2449" y="1204"/>
                  </a:cubicBezTo>
                  <a:cubicBezTo>
                    <a:pt x="2450" y="1212"/>
                    <a:pt x="2466" y="1214"/>
                    <a:pt x="2466" y="1214"/>
                  </a:cubicBezTo>
                  <a:cubicBezTo>
                    <a:pt x="2466" y="1214"/>
                    <a:pt x="2452" y="1230"/>
                    <a:pt x="2455" y="1232"/>
                  </a:cubicBezTo>
                  <a:cubicBezTo>
                    <a:pt x="2458" y="1234"/>
                    <a:pt x="2472" y="1234"/>
                    <a:pt x="2472" y="1234"/>
                  </a:cubicBezTo>
                  <a:cubicBezTo>
                    <a:pt x="2471" y="1249"/>
                    <a:pt x="2471" y="1249"/>
                    <a:pt x="2471" y="1249"/>
                  </a:cubicBezTo>
                  <a:cubicBezTo>
                    <a:pt x="2463" y="1259"/>
                    <a:pt x="2463" y="1259"/>
                    <a:pt x="2463" y="1259"/>
                  </a:cubicBezTo>
                  <a:cubicBezTo>
                    <a:pt x="2473" y="1264"/>
                    <a:pt x="2473" y="1264"/>
                    <a:pt x="2473" y="1264"/>
                  </a:cubicBezTo>
                  <a:cubicBezTo>
                    <a:pt x="2473" y="1264"/>
                    <a:pt x="2480" y="1264"/>
                    <a:pt x="2484" y="1264"/>
                  </a:cubicBezTo>
                  <a:cubicBezTo>
                    <a:pt x="2488" y="1264"/>
                    <a:pt x="2496" y="1269"/>
                    <a:pt x="2496" y="1269"/>
                  </a:cubicBezTo>
                  <a:cubicBezTo>
                    <a:pt x="2496" y="1269"/>
                    <a:pt x="2498" y="1267"/>
                    <a:pt x="2506" y="1267"/>
                  </a:cubicBezTo>
                  <a:cubicBezTo>
                    <a:pt x="2513" y="1266"/>
                    <a:pt x="2514" y="1270"/>
                    <a:pt x="2514" y="1270"/>
                  </a:cubicBezTo>
                  <a:cubicBezTo>
                    <a:pt x="2514" y="1270"/>
                    <a:pt x="2515" y="1269"/>
                    <a:pt x="2517" y="1268"/>
                  </a:cubicBezTo>
                  <a:cubicBezTo>
                    <a:pt x="2517" y="1268"/>
                    <a:pt x="2517" y="1268"/>
                    <a:pt x="2517" y="1268"/>
                  </a:cubicBezTo>
                  <a:cubicBezTo>
                    <a:pt x="2513" y="1258"/>
                    <a:pt x="2510" y="1252"/>
                    <a:pt x="2510" y="1252"/>
                  </a:cubicBezTo>
                  <a:cubicBezTo>
                    <a:pt x="2521" y="1239"/>
                    <a:pt x="2521" y="1239"/>
                    <a:pt x="2521" y="1239"/>
                  </a:cubicBezTo>
                  <a:cubicBezTo>
                    <a:pt x="2521" y="1239"/>
                    <a:pt x="2503" y="1224"/>
                    <a:pt x="2513" y="1222"/>
                  </a:cubicBezTo>
                  <a:cubicBezTo>
                    <a:pt x="2523" y="1220"/>
                    <a:pt x="2531" y="1213"/>
                    <a:pt x="2531" y="1213"/>
                  </a:cubicBezTo>
                  <a:cubicBezTo>
                    <a:pt x="2535" y="1194"/>
                    <a:pt x="2535" y="1194"/>
                    <a:pt x="2535" y="1194"/>
                  </a:cubicBezTo>
                  <a:cubicBezTo>
                    <a:pt x="2549" y="1194"/>
                    <a:pt x="2549" y="1194"/>
                    <a:pt x="2549" y="1194"/>
                  </a:cubicBezTo>
                  <a:cubicBezTo>
                    <a:pt x="2554" y="1179"/>
                    <a:pt x="2554" y="1179"/>
                    <a:pt x="2554" y="1179"/>
                  </a:cubicBezTo>
                  <a:cubicBezTo>
                    <a:pt x="2531" y="1179"/>
                    <a:pt x="2531" y="1179"/>
                    <a:pt x="2531" y="1179"/>
                  </a:cubicBezTo>
                  <a:cubicBezTo>
                    <a:pt x="2531" y="1179"/>
                    <a:pt x="2527" y="1163"/>
                    <a:pt x="2531" y="1160"/>
                  </a:cubicBezTo>
                  <a:close/>
                  <a:moveTo>
                    <a:pt x="2525" y="1228"/>
                  </a:moveTo>
                  <a:cubicBezTo>
                    <a:pt x="2527" y="1252"/>
                    <a:pt x="2527" y="1252"/>
                    <a:pt x="2527" y="1252"/>
                  </a:cubicBezTo>
                  <a:cubicBezTo>
                    <a:pt x="2533" y="1252"/>
                    <a:pt x="2543" y="1262"/>
                    <a:pt x="2543" y="1262"/>
                  </a:cubicBezTo>
                  <a:cubicBezTo>
                    <a:pt x="2549" y="1244"/>
                    <a:pt x="2549" y="1244"/>
                    <a:pt x="2549" y="1244"/>
                  </a:cubicBezTo>
                  <a:cubicBezTo>
                    <a:pt x="2537" y="1230"/>
                    <a:pt x="2537" y="1230"/>
                    <a:pt x="2537" y="1230"/>
                  </a:cubicBezTo>
                  <a:lnTo>
                    <a:pt x="2525" y="1228"/>
                  </a:lnTo>
                  <a:close/>
                  <a:moveTo>
                    <a:pt x="2577" y="1240"/>
                  </a:moveTo>
                  <a:cubicBezTo>
                    <a:pt x="2576" y="1251"/>
                    <a:pt x="2567" y="1253"/>
                    <a:pt x="2579" y="1254"/>
                  </a:cubicBezTo>
                  <a:cubicBezTo>
                    <a:pt x="2591" y="1255"/>
                    <a:pt x="2596" y="1253"/>
                    <a:pt x="2596" y="1253"/>
                  </a:cubicBezTo>
                  <a:cubicBezTo>
                    <a:pt x="2596" y="1253"/>
                    <a:pt x="2604" y="1272"/>
                    <a:pt x="2605" y="1265"/>
                  </a:cubicBezTo>
                  <a:cubicBezTo>
                    <a:pt x="2607" y="1259"/>
                    <a:pt x="2617" y="1245"/>
                    <a:pt x="2619" y="1244"/>
                  </a:cubicBezTo>
                  <a:cubicBezTo>
                    <a:pt x="2621" y="1244"/>
                    <a:pt x="2630" y="1244"/>
                    <a:pt x="2622" y="1239"/>
                  </a:cubicBezTo>
                  <a:cubicBezTo>
                    <a:pt x="2614" y="1234"/>
                    <a:pt x="2607" y="1227"/>
                    <a:pt x="2610" y="1227"/>
                  </a:cubicBezTo>
                  <a:cubicBezTo>
                    <a:pt x="2613" y="1226"/>
                    <a:pt x="2620" y="1227"/>
                    <a:pt x="2615" y="1224"/>
                  </a:cubicBezTo>
                  <a:cubicBezTo>
                    <a:pt x="2610" y="1220"/>
                    <a:pt x="2624" y="1211"/>
                    <a:pt x="2624" y="1211"/>
                  </a:cubicBezTo>
                  <a:cubicBezTo>
                    <a:pt x="2624" y="1211"/>
                    <a:pt x="2616" y="1199"/>
                    <a:pt x="2615" y="1200"/>
                  </a:cubicBezTo>
                  <a:cubicBezTo>
                    <a:pt x="2614" y="1200"/>
                    <a:pt x="2601" y="1205"/>
                    <a:pt x="2601" y="1210"/>
                  </a:cubicBezTo>
                  <a:cubicBezTo>
                    <a:pt x="2601" y="1215"/>
                    <a:pt x="2601" y="1219"/>
                    <a:pt x="2601" y="1219"/>
                  </a:cubicBezTo>
                  <a:cubicBezTo>
                    <a:pt x="2601" y="1219"/>
                    <a:pt x="2592" y="1207"/>
                    <a:pt x="2590" y="1208"/>
                  </a:cubicBezTo>
                  <a:cubicBezTo>
                    <a:pt x="2588" y="1209"/>
                    <a:pt x="2585" y="1213"/>
                    <a:pt x="2585" y="1213"/>
                  </a:cubicBezTo>
                  <a:cubicBezTo>
                    <a:pt x="2569" y="1224"/>
                    <a:pt x="2569" y="1224"/>
                    <a:pt x="2569" y="1224"/>
                  </a:cubicBezTo>
                  <a:cubicBezTo>
                    <a:pt x="2569" y="1224"/>
                    <a:pt x="2578" y="1229"/>
                    <a:pt x="2577" y="1240"/>
                  </a:cubicBezTo>
                  <a:close/>
                  <a:moveTo>
                    <a:pt x="2629" y="1260"/>
                  </a:moveTo>
                  <a:cubicBezTo>
                    <a:pt x="2612" y="1266"/>
                    <a:pt x="2612" y="1266"/>
                    <a:pt x="2612" y="1266"/>
                  </a:cubicBezTo>
                  <a:cubicBezTo>
                    <a:pt x="2612" y="1266"/>
                    <a:pt x="2602" y="1270"/>
                    <a:pt x="2598" y="1269"/>
                  </a:cubicBezTo>
                  <a:cubicBezTo>
                    <a:pt x="2594" y="1269"/>
                    <a:pt x="2578" y="1262"/>
                    <a:pt x="2573" y="1262"/>
                  </a:cubicBezTo>
                  <a:cubicBezTo>
                    <a:pt x="2563" y="1262"/>
                    <a:pt x="2565" y="1273"/>
                    <a:pt x="2573" y="1272"/>
                  </a:cubicBezTo>
                  <a:cubicBezTo>
                    <a:pt x="2581" y="1270"/>
                    <a:pt x="2592" y="1282"/>
                    <a:pt x="2592" y="1282"/>
                  </a:cubicBezTo>
                  <a:cubicBezTo>
                    <a:pt x="2592" y="1282"/>
                    <a:pt x="2609" y="1279"/>
                    <a:pt x="2626" y="1275"/>
                  </a:cubicBezTo>
                  <a:cubicBezTo>
                    <a:pt x="2644" y="1272"/>
                    <a:pt x="2629" y="1260"/>
                    <a:pt x="2629" y="1260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5" name="Freeform 333">
              <a:extLst>
                <a:ext uri="{FF2B5EF4-FFF2-40B4-BE49-F238E27FC236}">
                  <a16:creationId xmlns:a16="http://schemas.microsoft.com/office/drawing/2014/main" id="{8DB083A1-3FD9-43C2-02C5-ACA525D4D53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4274" y="-17463"/>
              <a:ext cx="560" cy="252"/>
            </a:xfrm>
            <a:custGeom>
              <a:avLst/>
              <a:gdLst>
                <a:gd name="T0" fmla="*/ 228 w 237"/>
                <a:gd name="T1" fmla="*/ 76 h 107"/>
                <a:gd name="T2" fmla="*/ 221 w 237"/>
                <a:gd name="T3" fmla="*/ 74 h 107"/>
                <a:gd name="T4" fmla="*/ 226 w 237"/>
                <a:gd name="T5" fmla="*/ 56 h 107"/>
                <a:gd name="T6" fmla="*/ 217 w 237"/>
                <a:gd name="T7" fmla="*/ 52 h 107"/>
                <a:gd name="T8" fmla="*/ 220 w 237"/>
                <a:gd name="T9" fmla="*/ 36 h 107"/>
                <a:gd name="T10" fmla="*/ 231 w 237"/>
                <a:gd name="T11" fmla="*/ 30 h 107"/>
                <a:gd name="T12" fmla="*/ 228 w 237"/>
                <a:gd name="T13" fmla="*/ 21 h 107"/>
                <a:gd name="T14" fmla="*/ 231 w 237"/>
                <a:gd name="T15" fmla="*/ 11 h 107"/>
                <a:gd name="T16" fmla="*/ 170 w 237"/>
                <a:gd name="T17" fmla="*/ 1 h 107"/>
                <a:gd name="T18" fmla="*/ 110 w 237"/>
                <a:gd name="T19" fmla="*/ 6 h 107"/>
                <a:gd name="T20" fmla="*/ 60 w 237"/>
                <a:gd name="T21" fmla="*/ 31 h 107"/>
                <a:gd name="T22" fmla="*/ 66 w 237"/>
                <a:gd name="T23" fmla="*/ 56 h 107"/>
                <a:gd name="T24" fmla="*/ 105 w 237"/>
                <a:gd name="T25" fmla="*/ 61 h 107"/>
                <a:gd name="T26" fmla="*/ 98 w 237"/>
                <a:gd name="T27" fmla="*/ 85 h 107"/>
                <a:gd name="T28" fmla="*/ 102 w 237"/>
                <a:gd name="T29" fmla="*/ 85 h 107"/>
                <a:gd name="T30" fmla="*/ 123 w 237"/>
                <a:gd name="T31" fmla="*/ 79 h 107"/>
                <a:gd name="T32" fmla="*/ 144 w 237"/>
                <a:gd name="T33" fmla="*/ 78 h 107"/>
                <a:gd name="T34" fmla="*/ 172 w 237"/>
                <a:gd name="T35" fmla="*/ 95 h 107"/>
                <a:gd name="T36" fmla="*/ 192 w 237"/>
                <a:gd name="T37" fmla="*/ 107 h 107"/>
                <a:gd name="T38" fmla="*/ 203 w 237"/>
                <a:gd name="T39" fmla="*/ 101 h 107"/>
                <a:gd name="T40" fmla="*/ 216 w 237"/>
                <a:gd name="T41" fmla="*/ 106 h 107"/>
                <a:gd name="T42" fmla="*/ 224 w 237"/>
                <a:gd name="T43" fmla="*/ 105 h 107"/>
                <a:gd name="T44" fmla="*/ 224 w 237"/>
                <a:gd name="T45" fmla="*/ 97 h 107"/>
                <a:gd name="T46" fmla="*/ 237 w 237"/>
                <a:gd name="T47" fmla="*/ 88 h 107"/>
                <a:gd name="T48" fmla="*/ 228 w 237"/>
                <a:gd name="T49" fmla="*/ 76 h 107"/>
                <a:gd name="T50" fmla="*/ 27 w 237"/>
                <a:gd name="T51" fmla="*/ 53 h 107"/>
                <a:gd name="T52" fmla="*/ 7 w 237"/>
                <a:gd name="T53" fmla="*/ 55 h 107"/>
                <a:gd name="T54" fmla="*/ 9 w 237"/>
                <a:gd name="T55" fmla="*/ 74 h 107"/>
                <a:gd name="T56" fmla="*/ 14 w 237"/>
                <a:gd name="T57" fmla="*/ 87 h 107"/>
                <a:gd name="T58" fmla="*/ 34 w 237"/>
                <a:gd name="T59" fmla="*/ 74 h 107"/>
                <a:gd name="T60" fmla="*/ 55 w 237"/>
                <a:gd name="T61" fmla="*/ 60 h 107"/>
                <a:gd name="T62" fmla="*/ 51 w 237"/>
                <a:gd name="T63" fmla="*/ 49 h 107"/>
                <a:gd name="T64" fmla="*/ 27 w 237"/>
                <a:gd name="T65" fmla="*/ 53 h 107"/>
                <a:gd name="T66" fmla="*/ 29 w 237"/>
                <a:gd name="T67" fmla="*/ 45 h 107"/>
                <a:gd name="T68" fmla="*/ 35 w 237"/>
                <a:gd name="T69" fmla="*/ 25 h 107"/>
                <a:gd name="T70" fmla="*/ 29 w 237"/>
                <a:gd name="T71" fmla="*/ 4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7" h="107">
                  <a:moveTo>
                    <a:pt x="228" y="76"/>
                  </a:moveTo>
                  <a:cubicBezTo>
                    <a:pt x="221" y="74"/>
                    <a:pt x="221" y="74"/>
                    <a:pt x="221" y="74"/>
                  </a:cubicBezTo>
                  <a:cubicBezTo>
                    <a:pt x="226" y="56"/>
                    <a:pt x="226" y="56"/>
                    <a:pt x="226" y="56"/>
                  </a:cubicBezTo>
                  <a:cubicBezTo>
                    <a:pt x="217" y="52"/>
                    <a:pt x="217" y="52"/>
                    <a:pt x="217" y="52"/>
                  </a:cubicBezTo>
                  <a:cubicBezTo>
                    <a:pt x="217" y="52"/>
                    <a:pt x="216" y="38"/>
                    <a:pt x="220" y="36"/>
                  </a:cubicBezTo>
                  <a:cubicBezTo>
                    <a:pt x="224" y="34"/>
                    <a:pt x="231" y="30"/>
                    <a:pt x="231" y="30"/>
                  </a:cubicBezTo>
                  <a:cubicBezTo>
                    <a:pt x="228" y="21"/>
                    <a:pt x="228" y="21"/>
                    <a:pt x="228" y="21"/>
                  </a:cubicBezTo>
                  <a:cubicBezTo>
                    <a:pt x="231" y="11"/>
                    <a:pt x="231" y="11"/>
                    <a:pt x="231" y="11"/>
                  </a:cubicBezTo>
                  <a:cubicBezTo>
                    <a:pt x="215" y="8"/>
                    <a:pt x="180" y="2"/>
                    <a:pt x="170" y="1"/>
                  </a:cubicBezTo>
                  <a:cubicBezTo>
                    <a:pt x="157" y="0"/>
                    <a:pt x="110" y="6"/>
                    <a:pt x="110" y="6"/>
                  </a:cubicBezTo>
                  <a:cubicBezTo>
                    <a:pt x="110" y="6"/>
                    <a:pt x="60" y="24"/>
                    <a:pt x="60" y="31"/>
                  </a:cubicBezTo>
                  <a:cubicBezTo>
                    <a:pt x="60" y="38"/>
                    <a:pt x="66" y="56"/>
                    <a:pt x="66" y="56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98" y="85"/>
                    <a:pt x="98" y="85"/>
                    <a:pt x="98" y="85"/>
                  </a:cubicBezTo>
                  <a:cubicBezTo>
                    <a:pt x="102" y="85"/>
                    <a:pt x="102" y="85"/>
                    <a:pt x="102" y="85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3" y="79"/>
                    <a:pt x="129" y="75"/>
                    <a:pt x="144" y="78"/>
                  </a:cubicBezTo>
                  <a:cubicBezTo>
                    <a:pt x="159" y="81"/>
                    <a:pt x="161" y="86"/>
                    <a:pt x="172" y="95"/>
                  </a:cubicBezTo>
                  <a:cubicBezTo>
                    <a:pt x="183" y="104"/>
                    <a:pt x="186" y="107"/>
                    <a:pt x="192" y="107"/>
                  </a:cubicBezTo>
                  <a:cubicBezTo>
                    <a:pt x="198" y="107"/>
                    <a:pt x="200" y="100"/>
                    <a:pt x="203" y="101"/>
                  </a:cubicBezTo>
                  <a:cubicBezTo>
                    <a:pt x="206" y="102"/>
                    <a:pt x="216" y="106"/>
                    <a:pt x="216" y="106"/>
                  </a:cubicBezTo>
                  <a:cubicBezTo>
                    <a:pt x="224" y="105"/>
                    <a:pt x="224" y="105"/>
                    <a:pt x="224" y="105"/>
                  </a:cubicBezTo>
                  <a:cubicBezTo>
                    <a:pt x="224" y="97"/>
                    <a:pt x="224" y="97"/>
                    <a:pt x="224" y="97"/>
                  </a:cubicBezTo>
                  <a:cubicBezTo>
                    <a:pt x="237" y="88"/>
                    <a:pt x="237" y="88"/>
                    <a:pt x="237" y="88"/>
                  </a:cubicBezTo>
                  <a:lnTo>
                    <a:pt x="228" y="76"/>
                  </a:lnTo>
                  <a:close/>
                  <a:moveTo>
                    <a:pt x="27" y="53"/>
                  </a:moveTo>
                  <a:cubicBezTo>
                    <a:pt x="27" y="53"/>
                    <a:pt x="14" y="52"/>
                    <a:pt x="7" y="55"/>
                  </a:cubicBezTo>
                  <a:cubicBezTo>
                    <a:pt x="0" y="57"/>
                    <a:pt x="9" y="74"/>
                    <a:pt x="9" y="74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30" y="74"/>
                    <a:pt x="34" y="74"/>
                  </a:cubicBezTo>
                  <a:cubicBezTo>
                    <a:pt x="38" y="74"/>
                    <a:pt x="55" y="60"/>
                    <a:pt x="55" y="60"/>
                  </a:cubicBezTo>
                  <a:cubicBezTo>
                    <a:pt x="51" y="49"/>
                    <a:pt x="51" y="49"/>
                    <a:pt x="51" y="49"/>
                  </a:cubicBezTo>
                  <a:lnTo>
                    <a:pt x="27" y="53"/>
                  </a:lnTo>
                  <a:close/>
                  <a:moveTo>
                    <a:pt x="29" y="45"/>
                  </a:moveTo>
                  <a:cubicBezTo>
                    <a:pt x="44" y="45"/>
                    <a:pt x="48" y="23"/>
                    <a:pt x="35" y="25"/>
                  </a:cubicBezTo>
                  <a:cubicBezTo>
                    <a:pt x="22" y="28"/>
                    <a:pt x="15" y="45"/>
                    <a:pt x="29" y="45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Freeform 334">
              <a:extLst>
                <a:ext uri="{FF2B5EF4-FFF2-40B4-BE49-F238E27FC236}">
                  <a16:creationId xmlns:a16="http://schemas.microsoft.com/office/drawing/2014/main" id="{C1CC8A1A-4838-F7E9-5E44-C197C2C6B58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93" y="-8936"/>
              <a:ext cx="397" cy="182"/>
            </a:xfrm>
            <a:custGeom>
              <a:avLst/>
              <a:gdLst>
                <a:gd name="T0" fmla="*/ 53 w 168"/>
                <a:gd name="T1" fmla="*/ 33 h 77"/>
                <a:gd name="T2" fmla="*/ 53 w 168"/>
                <a:gd name="T3" fmla="*/ 33 h 77"/>
                <a:gd name="T4" fmla="*/ 53 w 168"/>
                <a:gd name="T5" fmla="*/ 33 h 77"/>
                <a:gd name="T6" fmla="*/ 53 w 168"/>
                <a:gd name="T7" fmla="*/ 33 h 77"/>
                <a:gd name="T8" fmla="*/ 152 w 168"/>
                <a:gd name="T9" fmla="*/ 0 h 77"/>
                <a:gd name="T10" fmla="*/ 139 w 168"/>
                <a:gd name="T11" fmla="*/ 14 h 77"/>
                <a:gd name="T12" fmla="*/ 84 w 168"/>
                <a:gd name="T13" fmla="*/ 15 h 77"/>
                <a:gd name="T14" fmla="*/ 67 w 168"/>
                <a:gd name="T15" fmla="*/ 33 h 77"/>
                <a:gd name="T16" fmla="*/ 53 w 168"/>
                <a:gd name="T17" fmla="*/ 33 h 77"/>
                <a:gd name="T18" fmla="*/ 60 w 168"/>
                <a:gd name="T19" fmla="*/ 47 h 77"/>
                <a:gd name="T20" fmla="*/ 50 w 168"/>
                <a:gd name="T21" fmla="*/ 66 h 77"/>
                <a:gd name="T22" fmla="*/ 52 w 168"/>
                <a:gd name="T23" fmla="*/ 77 h 77"/>
                <a:gd name="T24" fmla="*/ 57 w 168"/>
                <a:gd name="T25" fmla="*/ 72 h 77"/>
                <a:gd name="T26" fmla="*/ 67 w 168"/>
                <a:gd name="T27" fmla="*/ 69 h 77"/>
                <a:gd name="T28" fmla="*/ 89 w 168"/>
                <a:gd name="T29" fmla="*/ 53 h 77"/>
                <a:gd name="T30" fmla="*/ 111 w 168"/>
                <a:gd name="T31" fmla="*/ 59 h 77"/>
                <a:gd name="T32" fmla="*/ 168 w 168"/>
                <a:gd name="T33" fmla="*/ 9 h 77"/>
                <a:gd name="T34" fmla="*/ 152 w 168"/>
                <a:gd name="T35" fmla="*/ 0 h 77"/>
                <a:gd name="T36" fmla="*/ 0 w 168"/>
                <a:gd name="T37" fmla="*/ 58 h 77"/>
                <a:gd name="T38" fmla="*/ 4 w 168"/>
                <a:gd name="T39" fmla="*/ 67 h 77"/>
                <a:gd name="T40" fmla="*/ 24 w 168"/>
                <a:gd name="T41" fmla="*/ 61 h 77"/>
                <a:gd name="T42" fmla="*/ 28 w 168"/>
                <a:gd name="T43" fmla="*/ 48 h 77"/>
                <a:gd name="T44" fmla="*/ 11 w 168"/>
                <a:gd name="T45" fmla="*/ 47 h 77"/>
                <a:gd name="T46" fmla="*/ 0 w 168"/>
                <a:gd name="T47" fmla="*/ 5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8" h="77">
                  <a:moveTo>
                    <a:pt x="53" y="33"/>
                  </a:move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lose/>
                  <a:moveTo>
                    <a:pt x="152" y="0"/>
                  </a:moveTo>
                  <a:cubicBezTo>
                    <a:pt x="139" y="14"/>
                    <a:pt x="139" y="14"/>
                    <a:pt x="139" y="14"/>
                  </a:cubicBezTo>
                  <a:cubicBezTo>
                    <a:pt x="139" y="14"/>
                    <a:pt x="96" y="15"/>
                    <a:pt x="84" y="15"/>
                  </a:cubicBezTo>
                  <a:cubicBezTo>
                    <a:pt x="73" y="15"/>
                    <a:pt x="67" y="33"/>
                    <a:pt x="67" y="33"/>
                  </a:cubicBezTo>
                  <a:cubicBezTo>
                    <a:pt x="67" y="33"/>
                    <a:pt x="61" y="32"/>
                    <a:pt x="53" y="33"/>
                  </a:cubicBezTo>
                  <a:cubicBezTo>
                    <a:pt x="60" y="47"/>
                    <a:pt x="60" y="47"/>
                    <a:pt x="60" y="47"/>
                  </a:cubicBezTo>
                  <a:cubicBezTo>
                    <a:pt x="60" y="47"/>
                    <a:pt x="56" y="54"/>
                    <a:pt x="50" y="66"/>
                  </a:cubicBezTo>
                  <a:cubicBezTo>
                    <a:pt x="46" y="72"/>
                    <a:pt x="49" y="76"/>
                    <a:pt x="52" y="77"/>
                  </a:cubicBezTo>
                  <a:cubicBezTo>
                    <a:pt x="55" y="74"/>
                    <a:pt x="57" y="72"/>
                    <a:pt x="57" y="72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98" y="62"/>
                    <a:pt x="111" y="59"/>
                  </a:cubicBezTo>
                  <a:cubicBezTo>
                    <a:pt x="124" y="56"/>
                    <a:pt x="168" y="9"/>
                    <a:pt x="168" y="9"/>
                  </a:cubicBezTo>
                  <a:lnTo>
                    <a:pt x="152" y="0"/>
                  </a:lnTo>
                  <a:close/>
                  <a:moveTo>
                    <a:pt x="0" y="58"/>
                  </a:moveTo>
                  <a:cubicBezTo>
                    <a:pt x="4" y="67"/>
                    <a:pt x="4" y="67"/>
                    <a:pt x="4" y="67"/>
                  </a:cubicBezTo>
                  <a:cubicBezTo>
                    <a:pt x="15" y="58"/>
                    <a:pt x="24" y="61"/>
                    <a:pt x="24" y="61"/>
                  </a:cubicBezTo>
                  <a:cubicBezTo>
                    <a:pt x="24" y="61"/>
                    <a:pt x="24" y="54"/>
                    <a:pt x="28" y="48"/>
                  </a:cubicBezTo>
                  <a:cubicBezTo>
                    <a:pt x="11" y="47"/>
                    <a:pt x="11" y="47"/>
                    <a:pt x="11" y="47"/>
                  </a:cubicBezTo>
                  <a:lnTo>
                    <a:pt x="0" y="58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Freeform 335">
              <a:extLst>
                <a:ext uri="{FF2B5EF4-FFF2-40B4-BE49-F238E27FC236}">
                  <a16:creationId xmlns:a16="http://schemas.microsoft.com/office/drawing/2014/main" id="{0AF26836-8F7E-E990-7EA1-60A01294D87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62" y="-9767"/>
              <a:ext cx="1724" cy="1160"/>
            </a:xfrm>
            <a:custGeom>
              <a:avLst/>
              <a:gdLst>
                <a:gd name="T0" fmla="*/ 296 w 730"/>
                <a:gd name="T1" fmla="*/ 19 h 491"/>
                <a:gd name="T2" fmla="*/ 331 w 730"/>
                <a:gd name="T3" fmla="*/ 7 h 491"/>
                <a:gd name="T4" fmla="*/ 521 w 730"/>
                <a:gd name="T5" fmla="*/ 171 h 491"/>
                <a:gd name="T6" fmla="*/ 476 w 730"/>
                <a:gd name="T7" fmla="*/ 209 h 491"/>
                <a:gd name="T8" fmla="*/ 404 w 730"/>
                <a:gd name="T9" fmla="*/ 228 h 491"/>
                <a:gd name="T10" fmla="*/ 398 w 730"/>
                <a:gd name="T11" fmla="*/ 257 h 491"/>
                <a:gd name="T12" fmla="*/ 474 w 730"/>
                <a:gd name="T13" fmla="*/ 251 h 491"/>
                <a:gd name="T14" fmla="*/ 523 w 730"/>
                <a:gd name="T15" fmla="*/ 228 h 491"/>
                <a:gd name="T16" fmla="*/ 536 w 730"/>
                <a:gd name="T17" fmla="*/ 206 h 491"/>
                <a:gd name="T18" fmla="*/ 555 w 730"/>
                <a:gd name="T19" fmla="*/ 140 h 491"/>
                <a:gd name="T20" fmla="*/ 564 w 730"/>
                <a:gd name="T21" fmla="*/ 94 h 491"/>
                <a:gd name="T22" fmla="*/ 520 w 730"/>
                <a:gd name="T23" fmla="*/ 58 h 491"/>
                <a:gd name="T24" fmla="*/ 494 w 730"/>
                <a:gd name="T25" fmla="*/ 31 h 491"/>
                <a:gd name="T26" fmla="*/ 516 w 730"/>
                <a:gd name="T27" fmla="*/ 69 h 491"/>
                <a:gd name="T28" fmla="*/ 576 w 730"/>
                <a:gd name="T29" fmla="*/ 122 h 491"/>
                <a:gd name="T30" fmla="*/ 599 w 730"/>
                <a:gd name="T31" fmla="*/ 131 h 491"/>
                <a:gd name="T32" fmla="*/ 728 w 730"/>
                <a:gd name="T33" fmla="*/ 249 h 491"/>
                <a:gd name="T34" fmla="*/ 664 w 730"/>
                <a:gd name="T35" fmla="*/ 185 h 491"/>
                <a:gd name="T36" fmla="*/ 670 w 730"/>
                <a:gd name="T37" fmla="*/ 225 h 491"/>
                <a:gd name="T38" fmla="*/ 730 w 730"/>
                <a:gd name="T39" fmla="*/ 300 h 491"/>
                <a:gd name="T40" fmla="*/ 17 w 730"/>
                <a:gd name="T41" fmla="*/ 401 h 491"/>
                <a:gd name="T42" fmla="*/ 17 w 730"/>
                <a:gd name="T43" fmla="*/ 401 h 491"/>
                <a:gd name="T44" fmla="*/ 452 w 730"/>
                <a:gd name="T45" fmla="*/ 453 h 491"/>
                <a:gd name="T46" fmla="*/ 437 w 730"/>
                <a:gd name="T47" fmla="*/ 426 h 491"/>
                <a:gd name="T48" fmla="*/ 408 w 730"/>
                <a:gd name="T49" fmla="*/ 388 h 491"/>
                <a:gd name="T50" fmla="*/ 374 w 730"/>
                <a:gd name="T51" fmla="*/ 375 h 491"/>
                <a:gd name="T52" fmla="*/ 357 w 730"/>
                <a:gd name="T53" fmla="*/ 337 h 491"/>
                <a:gd name="T54" fmla="*/ 304 w 730"/>
                <a:gd name="T55" fmla="*/ 274 h 491"/>
                <a:gd name="T56" fmla="*/ 308 w 730"/>
                <a:gd name="T57" fmla="*/ 220 h 491"/>
                <a:gd name="T58" fmla="*/ 256 w 730"/>
                <a:gd name="T59" fmla="*/ 169 h 491"/>
                <a:gd name="T60" fmla="*/ 200 w 730"/>
                <a:gd name="T61" fmla="*/ 113 h 491"/>
                <a:gd name="T62" fmla="*/ 151 w 730"/>
                <a:gd name="T63" fmla="*/ 91 h 491"/>
                <a:gd name="T64" fmla="*/ 49 w 730"/>
                <a:gd name="T65" fmla="*/ 49 h 491"/>
                <a:gd name="T66" fmla="*/ 6 w 730"/>
                <a:gd name="T67" fmla="*/ 36 h 491"/>
                <a:gd name="T68" fmla="*/ 30 w 730"/>
                <a:gd name="T69" fmla="*/ 155 h 491"/>
                <a:gd name="T70" fmla="*/ 27 w 730"/>
                <a:gd name="T71" fmla="*/ 253 h 491"/>
                <a:gd name="T72" fmla="*/ 26 w 730"/>
                <a:gd name="T73" fmla="*/ 282 h 491"/>
                <a:gd name="T74" fmla="*/ 15 w 730"/>
                <a:gd name="T75" fmla="*/ 353 h 491"/>
                <a:gd name="T76" fmla="*/ 17 w 730"/>
                <a:gd name="T77" fmla="*/ 401 h 491"/>
                <a:gd name="T78" fmla="*/ 88 w 730"/>
                <a:gd name="T79" fmla="*/ 408 h 491"/>
                <a:gd name="T80" fmla="*/ 71 w 730"/>
                <a:gd name="T81" fmla="*/ 347 h 491"/>
                <a:gd name="T82" fmla="*/ 130 w 730"/>
                <a:gd name="T83" fmla="*/ 329 h 491"/>
                <a:gd name="T84" fmla="*/ 146 w 730"/>
                <a:gd name="T85" fmla="*/ 313 h 491"/>
                <a:gd name="T86" fmla="*/ 185 w 730"/>
                <a:gd name="T87" fmla="*/ 311 h 491"/>
                <a:gd name="T88" fmla="*/ 258 w 730"/>
                <a:gd name="T89" fmla="*/ 342 h 491"/>
                <a:gd name="T90" fmla="*/ 302 w 730"/>
                <a:gd name="T91" fmla="*/ 398 h 491"/>
                <a:gd name="T92" fmla="*/ 418 w 730"/>
                <a:gd name="T93" fmla="*/ 464 h 491"/>
                <a:gd name="T94" fmla="*/ 450 w 730"/>
                <a:gd name="T95" fmla="*/ 464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30" h="491">
                  <a:moveTo>
                    <a:pt x="331" y="7"/>
                  </a:moveTo>
                  <a:cubicBezTo>
                    <a:pt x="318" y="0"/>
                    <a:pt x="296" y="19"/>
                    <a:pt x="296" y="19"/>
                  </a:cubicBezTo>
                  <a:cubicBezTo>
                    <a:pt x="315" y="31"/>
                    <a:pt x="315" y="31"/>
                    <a:pt x="315" y="31"/>
                  </a:cubicBezTo>
                  <a:cubicBezTo>
                    <a:pt x="333" y="35"/>
                    <a:pt x="344" y="14"/>
                    <a:pt x="331" y="7"/>
                  </a:cubicBezTo>
                  <a:close/>
                  <a:moveTo>
                    <a:pt x="508" y="150"/>
                  </a:moveTo>
                  <a:cubicBezTo>
                    <a:pt x="499" y="159"/>
                    <a:pt x="521" y="171"/>
                    <a:pt x="521" y="171"/>
                  </a:cubicBezTo>
                  <a:cubicBezTo>
                    <a:pt x="523" y="184"/>
                    <a:pt x="523" y="184"/>
                    <a:pt x="523" y="184"/>
                  </a:cubicBezTo>
                  <a:cubicBezTo>
                    <a:pt x="476" y="209"/>
                    <a:pt x="476" y="209"/>
                    <a:pt x="476" y="209"/>
                  </a:cubicBezTo>
                  <a:cubicBezTo>
                    <a:pt x="476" y="209"/>
                    <a:pt x="452" y="207"/>
                    <a:pt x="436" y="210"/>
                  </a:cubicBezTo>
                  <a:cubicBezTo>
                    <a:pt x="420" y="213"/>
                    <a:pt x="414" y="222"/>
                    <a:pt x="404" y="228"/>
                  </a:cubicBezTo>
                  <a:cubicBezTo>
                    <a:pt x="394" y="234"/>
                    <a:pt x="388" y="222"/>
                    <a:pt x="382" y="234"/>
                  </a:cubicBezTo>
                  <a:cubicBezTo>
                    <a:pt x="398" y="257"/>
                    <a:pt x="398" y="257"/>
                    <a:pt x="398" y="257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74" y="251"/>
                    <a:pt x="474" y="251"/>
                    <a:pt x="474" y="251"/>
                  </a:cubicBezTo>
                  <a:cubicBezTo>
                    <a:pt x="474" y="251"/>
                    <a:pt x="486" y="251"/>
                    <a:pt x="499" y="250"/>
                  </a:cubicBezTo>
                  <a:cubicBezTo>
                    <a:pt x="513" y="248"/>
                    <a:pt x="523" y="228"/>
                    <a:pt x="523" y="228"/>
                  </a:cubicBezTo>
                  <a:cubicBezTo>
                    <a:pt x="542" y="223"/>
                    <a:pt x="542" y="223"/>
                    <a:pt x="542" y="223"/>
                  </a:cubicBezTo>
                  <a:cubicBezTo>
                    <a:pt x="536" y="206"/>
                    <a:pt x="536" y="206"/>
                    <a:pt x="536" y="206"/>
                  </a:cubicBezTo>
                  <a:cubicBezTo>
                    <a:pt x="554" y="209"/>
                    <a:pt x="554" y="209"/>
                    <a:pt x="554" y="209"/>
                  </a:cubicBezTo>
                  <a:cubicBezTo>
                    <a:pt x="554" y="209"/>
                    <a:pt x="562" y="157"/>
                    <a:pt x="555" y="140"/>
                  </a:cubicBezTo>
                  <a:cubicBezTo>
                    <a:pt x="548" y="122"/>
                    <a:pt x="517" y="141"/>
                    <a:pt x="508" y="150"/>
                  </a:cubicBezTo>
                  <a:close/>
                  <a:moveTo>
                    <a:pt x="564" y="94"/>
                  </a:moveTo>
                  <a:cubicBezTo>
                    <a:pt x="555" y="94"/>
                    <a:pt x="555" y="94"/>
                    <a:pt x="555" y="94"/>
                  </a:cubicBezTo>
                  <a:cubicBezTo>
                    <a:pt x="555" y="94"/>
                    <a:pt x="524" y="60"/>
                    <a:pt x="520" y="58"/>
                  </a:cubicBezTo>
                  <a:cubicBezTo>
                    <a:pt x="516" y="55"/>
                    <a:pt x="508" y="55"/>
                    <a:pt x="508" y="55"/>
                  </a:cubicBezTo>
                  <a:cubicBezTo>
                    <a:pt x="494" y="31"/>
                    <a:pt x="494" y="31"/>
                    <a:pt x="494" y="31"/>
                  </a:cubicBezTo>
                  <a:cubicBezTo>
                    <a:pt x="486" y="63"/>
                    <a:pt x="486" y="63"/>
                    <a:pt x="486" y="63"/>
                  </a:cubicBezTo>
                  <a:cubicBezTo>
                    <a:pt x="516" y="69"/>
                    <a:pt x="516" y="69"/>
                    <a:pt x="516" y="69"/>
                  </a:cubicBezTo>
                  <a:cubicBezTo>
                    <a:pt x="516" y="69"/>
                    <a:pt x="539" y="96"/>
                    <a:pt x="545" y="102"/>
                  </a:cubicBezTo>
                  <a:cubicBezTo>
                    <a:pt x="551" y="107"/>
                    <a:pt x="571" y="109"/>
                    <a:pt x="576" y="122"/>
                  </a:cubicBezTo>
                  <a:cubicBezTo>
                    <a:pt x="580" y="135"/>
                    <a:pt x="562" y="179"/>
                    <a:pt x="589" y="181"/>
                  </a:cubicBezTo>
                  <a:cubicBezTo>
                    <a:pt x="604" y="182"/>
                    <a:pt x="612" y="150"/>
                    <a:pt x="599" y="131"/>
                  </a:cubicBezTo>
                  <a:cubicBezTo>
                    <a:pt x="586" y="112"/>
                    <a:pt x="564" y="94"/>
                    <a:pt x="564" y="94"/>
                  </a:cubicBezTo>
                  <a:close/>
                  <a:moveTo>
                    <a:pt x="728" y="249"/>
                  </a:moveTo>
                  <a:cubicBezTo>
                    <a:pt x="687" y="202"/>
                    <a:pt x="687" y="202"/>
                    <a:pt x="687" y="202"/>
                  </a:cubicBezTo>
                  <a:cubicBezTo>
                    <a:pt x="687" y="202"/>
                    <a:pt x="683" y="177"/>
                    <a:pt x="664" y="185"/>
                  </a:cubicBezTo>
                  <a:cubicBezTo>
                    <a:pt x="653" y="190"/>
                    <a:pt x="659" y="206"/>
                    <a:pt x="659" y="206"/>
                  </a:cubicBezTo>
                  <a:cubicBezTo>
                    <a:pt x="670" y="225"/>
                    <a:pt x="670" y="225"/>
                    <a:pt x="670" y="225"/>
                  </a:cubicBezTo>
                  <a:cubicBezTo>
                    <a:pt x="687" y="257"/>
                    <a:pt x="687" y="257"/>
                    <a:pt x="687" y="257"/>
                  </a:cubicBezTo>
                  <a:cubicBezTo>
                    <a:pt x="730" y="300"/>
                    <a:pt x="730" y="300"/>
                    <a:pt x="730" y="300"/>
                  </a:cubicBezTo>
                  <a:lnTo>
                    <a:pt x="728" y="249"/>
                  </a:lnTo>
                  <a:close/>
                  <a:moveTo>
                    <a:pt x="17" y="401"/>
                  </a:moveTo>
                  <a:cubicBezTo>
                    <a:pt x="17" y="401"/>
                    <a:pt x="17" y="401"/>
                    <a:pt x="17" y="401"/>
                  </a:cubicBezTo>
                  <a:cubicBezTo>
                    <a:pt x="17" y="401"/>
                    <a:pt x="17" y="401"/>
                    <a:pt x="17" y="401"/>
                  </a:cubicBezTo>
                  <a:cubicBezTo>
                    <a:pt x="17" y="401"/>
                    <a:pt x="17" y="401"/>
                    <a:pt x="17" y="401"/>
                  </a:cubicBezTo>
                  <a:close/>
                  <a:moveTo>
                    <a:pt x="452" y="453"/>
                  </a:moveTo>
                  <a:cubicBezTo>
                    <a:pt x="425" y="436"/>
                    <a:pt x="425" y="436"/>
                    <a:pt x="425" y="436"/>
                  </a:cubicBezTo>
                  <a:cubicBezTo>
                    <a:pt x="437" y="426"/>
                    <a:pt x="437" y="426"/>
                    <a:pt x="437" y="426"/>
                  </a:cubicBezTo>
                  <a:cubicBezTo>
                    <a:pt x="437" y="426"/>
                    <a:pt x="413" y="425"/>
                    <a:pt x="406" y="418"/>
                  </a:cubicBezTo>
                  <a:cubicBezTo>
                    <a:pt x="400" y="411"/>
                    <a:pt x="408" y="397"/>
                    <a:pt x="408" y="388"/>
                  </a:cubicBezTo>
                  <a:cubicBezTo>
                    <a:pt x="408" y="379"/>
                    <a:pt x="375" y="396"/>
                    <a:pt x="375" y="396"/>
                  </a:cubicBezTo>
                  <a:cubicBezTo>
                    <a:pt x="374" y="375"/>
                    <a:pt x="374" y="375"/>
                    <a:pt x="374" y="375"/>
                  </a:cubicBezTo>
                  <a:cubicBezTo>
                    <a:pt x="357" y="367"/>
                    <a:pt x="357" y="367"/>
                    <a:pt x="357" y="367"/>
                  </a:cubicBezTo>
                  <a:cubicBezTo>
                    <a:pt x="357" y="337"/>
                    <a:pt x="357" y="337"/>
                    <a:pt x="357" y="337"/>
                  </a:cubicBezTo>
                  <a:cubicBezTo>
                    <a:pt x="321" y="311"/>
                    <a:pt x="321" y="311"/>
                    <a:pt x="321" y="311"/>
                  </a:cubicBezTo>
                  <a:cubicBezTo>
                    <a:pt x="304" y="274"/>
                    <a:pt x="304" y="274"/>
                    <a:pt x="304" y="274"/>
                  </a:cubicBezTo>
                  <a:cubicBezTo>
                    <a:pt x="304" y="274"/>
                    <a:pt x="342" y="261"/>
                    <a:pt x="342" y="245"/>
                  </a:cubicBezTo>
                  <a:cubicBezTo>
                    <a:pt x="342" y="229"/>
                    <a:pt x="308" y="220"/>
                    <a:pt x="308" y="220"/>
                  </a:cubicBezTo>
                  <a:cubicBezTo>
                    <a:pt x="306" y="216"/>
                    <a:pt x="256" y="202"/>
                    <a:pt x="256" y="202"/>
                  </a:cubicBezTo>
                  <a:cubicBezTo>
                    <a:pt x="256" y="202"/>
                    <a:pt x="252" y="189"/>
                    <a:pt x="256" y="169"/>
                  </a:cubicBezTo>
                  <a:cubicBezTo>
                    <a:pt x="260" y="150"/>
                    <a:pt x="232" y="147"/>
                    <a:pt x="232" y="147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175" y="114"/>
                    <a:pt x="175" y="114"/>
                    <a:pt x="175" y="114"/>
                  </a:cubicBezTo>
                  <a:cubicBezTo>
                    <a:pt x="151" y="91"/>
                    <a:pt x="151" y="91"/>
                    <a:pt x="151" y="91"/>
                  </a:cubicBezTo>
                  <a:cubicBezTo>
                    <a:pt x="131" y="87"/>
                    <a:pt x="131" y="87"/>
                    <a:pt x="131" y="87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75"/>
                    <a:pt x="30" y="139"/>
                    <a:pt x="30" y="155"/>
                  </a:cubicBezTo>
                  <a:cubicBezTo>
                    <a:pt x="30" y="175"/>
                    <a:pt x="22" y="197"/>
                    <a:pt x="24" y="212"/>
                  </a:cubicBezTo>
                  <a:cubicBezTo>
                    <a:pt x="26" y="227"/>
                    <a:pt x="27" y="253"/>
                    <a:pt x="27" y="253"/>
                  </a:cubicBezTo>
                  <a:cubicBezTo>
                    <a:pt x="27" y="253"/>
                    <a:pt x="0" y="271"/>
                    <a:pt x="11" y="277"/>
                  </a:cubicBezTo>
                  <a:cubicBezTo>
                    <a:pt x="22" y="284"/>
                    <a:pt x="26" y="282"/>
                    <a:pt x="26" y="282"/>
                  </a:cubicBezTo>
                  <a:cubicBezTo>
                    <a:pt x="26" y="282"/>
                    <a:pt x="23" y="319"/>
                    <a:pt x="21" y="327"/>
                  </a:cubicBezTo>
                  <a:cubicBezTo>
                    <a:pt x="19" y="334"/>
                    <a:pt x="15" y="353"/>
                    <a:pt x="15" y="353"/>
                  </a:cubicBezTo>
                  <a:cubicBezTo>
                    <a:pt x="19" y="369"/>
                    <a:pt x="19" y="369"/>
                    <a:pt x="19" y="369"/>
                  </a:cubicBezTo>
                  <a:cubicBezTo>
                    <a:pt x="17" y="401"/>
                    <a:pt x="17" y="401"/>
                    <a:pt x="17" y="401"/>
                  </a:cubicBezTo>
                  <a:cubicBezTo>
                    <a:pt x="34" y="405"/>
                    <a:pt x="75" y="396"/>
                    <a:pt x="75" y="396"/>
                  </a:cubicBezTo>
                  <a:cubicBezTo>
                    <a:pt x="88" y="408"/>
                    <a:pt x="88" y="408"/>
                    <a:pt x="88" y="408"/>
                  </a:cubicBezTo>
                  <a:cubicBezTo>
                    <a:pt x="88" y="408"/>
                    <a:pt x="114" y="398"/>
                    <a:pt x="126" y="388"/>
                  </a:cubicBezTo>
                  <a:cubicBezTo>
                    <a:pt x="138" y="377"/>
                    <a:pt x="71" y="347"/>
                    <a:pt x="71" y="347"/>
                  </a:cubicBezTo>
                  <a:cubicBezTo>
                    <a:pt x="71" y="347"/>
                    <a:pt x="126" y="355"/>
                    <a:pt x="138" y="353"/>
                  </a:cubicBezTo>
                  <a:cubicBezTo>
                    <a:pt x="150" y="350"/>
                    <a:pt x="130" y="329"/>
                    <a:pt x="130" y="329"/>
                  </a:cubicBezTo>
                  <a:cubicBezTo>
                    <a:pt x="130" y="329"/>
                    <a:pt x="146" y="341"/>
                    <a:pt x="151" y="338"/>
                  </a:cubicBezTo>
                  <a:cubicBezTo>
                    <a:pt x="156" y="336"/>
                    <a:pt x="146" y="313"/>
                    <a:pt x="146" y="313"/>
                  </a:cubicBezTo>
                  <a:cubicBezTo>
                    <a:pt x="146" y="313"/>
                    <a:pt x="156" y="322"/>
                    <a:pt x="163" y="324"/>
                  </a:cubicBezTo>
                  <a:cubicBezTo>
                    <a:pt x="169" y="325"/>
                    <a:pt x="179" y="312"/>
                    <a:pt x="185" y="311"/>
                  </a:cubicBezTo>
                  <a:cubicBezTo>
                    <a:pt x="192" y="309"/>
                    <a:pt x="202" y="329"/>
                    <a:pt x="209" y="333"/>
                  </a:cubicBezTo>
                  <a:cubicBezTo>
                    <a:pt x="215" y="337"/>
                    <a:pt x="240" y="332"/>
                    <a:pt x="258" y="342"/>
                  </a:cubicBezTo>
                  <a:cubicBezTo>
                    <a:pt x="277" y="353"/>
                    <a:pt x="270" y="376"/>
                    <a:pt x="277" y="388"/>
                  </a:cubicBezTo>
                  <a:cubicBezTo>
                    <a:pt x="283" y="400"/>
                    <a:pt x="296" y="392"/>
                    <a:pt x="302" y="398"/>
                  </a:cubicBezTo>
                  <a:cubicBezTo>
                    <a:pt x="307" y="405"/>
                    <a:pt x="316" y="446"/>
                    <a:pt x="330" y="456"/>
                  </a:cubicBezTo>
                  <a:cubicBezTo>
                    <a:pt x="345" y="466"/>
                    <a:pt x="409" y="460"/>
                    <a:pt x="418" y="464"/>
                  </a:cubicBezTo>
                  <a:cubicBezTo>
                    <a:pt x="427" y="468"/>
                    <a:pt x="447" y="491"/>
                    <a:pt x="459" y="491"/>
                  </a:cubicBezTo>
                  <a:cubicBezTo>
                    <a:pt x="471" y="491"/>
                    <a:pt x="450" y="464"/>
                    <a:pt x="450" y="464"/>
                  </a:cubicBezTo>
                  <a:lnTo>
                    <a:pt x="452" y="453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" name="Freeform 336">
              <a:extLst>
                <a:ext uri="{FF2B5EF4-FFF2-40B4-BE49-F238E27FC236}">
                  <a16:creationId xmlns:a16="http://schemas.microsoft.com/office/drawing/2014/main" id="{27B84F88-F9DC-2FA7-1420-FFD673D1AE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0" y="-10710"/>
              <a:ext cx="5147" cy="2077"/>
            </a:xfrm>
            <a:custGeom>
              <a:avLst/>
              <a:gdLst>
                <a:gd name="T0" fmla="*/ 455 w 2179"/>
                <a:gd name="T1" fmla="*/ 287 h 879"/>
                <a:gd name="T2" fmla="*/ 603 w 2179"/>
                <a:gd name="T3" fmla="*/ 446 h 879"/>
                <a:gd name="T4" fmla="*/ 558 w 2179"/>
                <a:gd name="T5" fmla="*/ 443 h 879"/>
                <a:gd name="T6" fmla="*/ 162 w 2179"/>
                <a:gd name="T7" fmla="*/ 330 h 879"/>
                <a:gd name="T8" fmla="*/ 40 w 2179"/>
                <a:gd name="T9" fmla="*/ 174 h 879"/>
                <a:gd name="T10" fmla="*/ 1708 w 2179"/>
                <a:gd name="T11" fmla="*/ 314 h 879"/>
                <a:gd name="T12" fmla="*/ 1627 w 2179"/>
                <a:gd name="T13" fmla="*/ 412 h 879"/>
                <a:gd name="T14" fmla="*/ 1950 w 2179"/>
                <a:gd name="T15" fmla="*/ 413 h 879"/>
                <a:gd name="T16" fmla="*/ 1124 w 2179"/>
                <a:gd name="T17" fmla="*/ 485 h 879"/>
                <a:gd name="T18" fmla="*/ 1210 w 2179"/>
                <a:gd name="T19" fmla="*/ 476 h 879"/>
                <a:gd name="T20" fmla="*/ 1285 w 2179"/>
                <a:gd name="T21" fmla="*/ 614 h 879"/>
                <a:gd name="T22" fmla="*/ 1291 w 2179"/>
                <a:gd name="T23" fmla="*/ 446 h 879"/>
                <a:gd name="T24" fmla="*/ 1240 w 2179"/>
                <a:gd name="T25" fmla="*/ 370 h 879"/>
                <a:gd name="T26" fmla="*/ 1415 w 2179"/>
                <a:gd name="T27" fmla="*/ 258 h 879"/>
                <a:gd name="T28" fmla="*/ 1253 w 2179"/>
                <a:gd name="T29" fmla="*/ 232 h 879"/>
                <a:gd name="T30" fmla="*/ 1328 w 2179"/>
                <a:gd name="T31" fmla="*/ 387 h 879"/>
                <a:gd name="T32" fmla="*/ 1127 w 2179"/>
                <a:gd name="T33" fmla="*/ 743 h 879"/>
                <a:gd name="T34" fmla="*/ 1542 w 2179"/>
                <a:gd name="T35" fmla="*/ 370 h 879"/>
                <a:gd name="T36" fmla="*/ 1603 w 2179"/>
                <a:gd name="T37" fmla="*/ 288 h 879"/>
                <a:gd name="T38" fmla="*/ 1548 w 2179"/>
                <a:gd name="T39" fmla="*/ 230 h 879"/>
                <a:gd name="T40" fmla="*/ 1517 w 2179"/>
                <a:gd name="T41" fmla="*/ 471 h 879"/>
                <a:gd name="T42" fmla="*/ 1634 w 2179"/>
                <a:gd name="T43" fmla="*/ 448 h 879"/>
                <a:gd name="T44" fmla="*/ 1654 w 2179"/>
                <a:gd name="T45" fmla="*/ 509 h 879"/>
                <a:gd name="T46" fmla="*/ 2007 w 2179"/>
                <a:gd name="T47" fmla="*/ 423 h 879"/>
                <a:gd name="T48" fmla="*/ 1820 w 2179"/>
                <a:gd name="T49" fmla="*/ 350 h 879"/>
                <a:gd name="T50" fmla="*/ 1749 w 2179"/>
                <a:gd name="T51" fmla="*/ 393 h 879"/>
                <a:gd name="T52" fmla="*/ 1790 w 2179"/>
                <a:gd name="T53" fmla="*/ 530 h 879"/>
                <a:gd name="T54" fmla="*/ 1964 w 2179"/>
                <a:gd name="T55" fmla="*/ 567 h 879"/>
                <a:gd name="T56" fmla="*/ 2077 w 2179"/>
                <a:gd name="T57" fmla="*/ 729 h 879"/>
                <a:gd name="T58" fmla="*/ 2168 w 2179"/>
                <a:gd name="T59" fmla="*/ 726 h 879"/>
                <a:gd name="T60" fmla="*/ 258 w 2179"/>
                <a:gd name="T61" fmla="*/ 478 h 879"/>
                <a:gd name="T62" fmla="*/ 2037 w 2179"/>
                <a:gd name="T63" fmla="*/ 711 h 879"/>
                <a:gd name="T64" fmla="*/ 1860 w 2179"/>
                <a:gd name="T65" fmla="*/ 679 h 879"/>
                <a:gd name="T66" fmla="*/ 1427 w 2179"/>
                <a:gd name="T67" fmla="*/ 403 h 879"/>
                <a:gd name="T68" fmla="*/ 863 w 2179"/>
                <a:gd name="T69" fmla="*/ 677 h 879"/>
                <a:gd name="T70" fmla="*/ 499 w 2179"/>
                <a:gd name="T71" fmla="*/ 620 h 879"/>
                <a:gd name="T72" fmla="*/ 450 w 2179"/>
                <a:gd name="T73" fmla="*/ 413 h 879"/>
                <a:gd name="T74" fmla="*/ 340 w 2179"/>
                <a:gd name="T75" fmla="*/ 238 h 879"/>
                <a:gd name="T76" fmla="*/ 151 w 2179"/>
                <a:gd name="T77" fmla="*/ 72 h 879"/>
                <a:gd name="T78" fmla="*/ 119 w 2179"/>
                <a:gd name="T79" fmla="*/ 154 h 879"/>
                <a:gd name="T80" fmla="*/ 275 w 2179"/>
                <a:gd name="T81" fmla="*/ 408 h 879"/>
                <a:gd name="T82" fmla="*/ 444 w 2179"/>
                <a:gd name="T83" fmla="*/ 630 h 879"/>
                <a:gd name="T84" fmla="*/ 1408 w 2179"/>
                <a:gd name="T85" fmla="*/ 828 h 879"/>
                <a:gd name="T86" fmla="*/ 778 w 2179"/>
                <a:gd name="T87" fmla="*/ 674 h 879"/>
                <a:gd name="T88" fmla="*/ 535 w 2179"/>
                <a:gd name="T89" fmla="*/ 624 h 879"/>
                <a:gd name="T90" fmla="*/ 705 w 2179"/>
                <a:gd name="T91" fmla="*/ 728 h 879"/>
                <a:gd name="T92" fmla="*/ 1004 w 2179"/>
                <a:gd name="T93" fmla="*/ 484 h 879"/>
                <a:gd name="T94" fmla="*/ 1139 w 2179"/>
                <a:gd name="T95" fmla="*/ 271 h 879"/>
                <a:gd name="T96" fmla="*/ 1086 w 2179"/>
                <a:gd name="T97" fmla="*/ 110 h 879"/>
                <a:gd name="T98" fmla="*/ 939 w 2179"/>
                <a:gd name="T99" fmla="*/ 208 h 879"/>
                <a:gd name="T100" fmla="*/ 712 w 2179"/>
                <a:gd name="T101" fmla="*/ 247 h 879"/>
                <a:gd name="T102" fmla="*/ 716 w 2179"/>
                <a:gd name="T103" fmla="*/ 388 h 879"/>
                <a:gd name="T104" fmla="*/ 822 w 2179"/>
                <a:gd name="T105" fmla="*/ 472 h 879"/>
                <a:gd name="T106" fmla="*/ 974 w 2179"/>
                <a:gd name="T107" fmla="*/ 755 h 879"/>
                <a:gd name="T108" fmla="*/ 1187 w 2179"/>
                <a:gd name="T109" fmla="*/ 827 h 879"/>
                <a:gd name="T110" fmla="*/ 1151 w 2179"/>
                <a:gd name="T111" fmla="*/ 787 h 879"/>
                <a:gd name="T112" fmla="*/ 1056 w 2179"/>
                <a:gd name="T113" fmla="*/ 774 h 879"/>
                <a:gd name="T114" fmla="*/ 1067 w 2179"/>
                <a:gd name="T115" fmla="*/ 771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79" h="879">
                  <a:moveTo>
                    <a:pt x="1196" y="656"/>
                  </a:moveTo>
                  <a:cubicBezTo>
                    <a:pt x="1210" y="655"/>
                    <a:pt x="1210" y="655"/>
                    <a:pt x="1210" y="655"/>
                  </a:cubicBezTo>
                  <a:cubicBezTo>
                    <a:pt x="1218" y="637"/>
                    <a:pt x="1218" y="637"/>
                    <a:pt x="1218" y="637"/>
                  </a:cubicBezTo>
                  <a:cubicBezTo>
                    <a:pt x="1215" y="622"/>
                    <a:pt x="1215" y="622"/>
                    <a:pt x="1215" y="622"/>
                  </a:cubicBezTo>
                  <a:lnTo>
                    <a:pt x="1196" y="656"/>
                  </a:lnTo>
                  <a:close/>
                  <a:moveTo>
                    <a:pt x="453" y="310"/>
                  </a:moveTo>
                  <a:cubicBezTo>
                    <a:pt x="472" y="321"/>
                    <a:pt x="472" y="321"/>
                    <a:pt x="472" y="321"/>
                  </a:cubicBezTo>
                  <a:cubicBezTo>
                    <a:pt x="472" y="300"/>
                    <a:pt x="472" y="300"/>
                    <a:pt x="472" y="300"/>
                  </a:cubicBezTo>
                  <a:cubicBezTo>
                    <a:pt x="455" y="287"/>
                    <a:pt x="455" y="287"/>
                    <a:pt x="455" y="287"/>
                  </a:cubicBezTo>
                  <a:lnTo>
                    <a:pt x="453" y="310"/>
                  </a:lnTo>
                  <a:close/>
                  <a:moveTo>
                    <a:pt x="455" y="331"/>
                  </a:moveTo>
                  <a:cubicBezTo>
                    <a:pt x="441" y="344"/>
                    <a:pt x="441" y="344"/>
                    <a:pt x="441" y="344"/>
                  </a:cubicBezTo>
                  <a:cubicBezTo>
                    <a:pt x="458" y="365"/>
                    <a:pt x="458" y="365"/>
                    <a:pt x="458" y="365"/>
                  </a:cubicBezTo>
                  <a:lnTo>
                    <a:pt x="455" y="331"/>
                  </a:lnTo>
                  <a:close/>
                  <a:moveTo>
                    <a:pt x="611" y="478"/>
                  </a:moveTo>
                  <a:cubicBezTo>
                    <a:pt x="624" y="491"/>
                    <a:pt x="624" y="491"/>
                    <a:pt x="624" y="491"/>
                  </a:cubicBezTo>
                  <a:cubicBezTo>
                    <a:pt x="630" y="474"/>
                    <a:pt x="630" y="474"/>
                    <a:pt x="630" y="474"/>
                  </a:cubicBezTo>
                  <a:cubicBezTo>
                    <a:pt x="630" y="474"/>
                    <a:pt x="622" y="444"/>
                    <a:pt x="603" y="446"/>
                  </a:cubicBezTo>
                  <a:cubicBezTo>
                    <a:pt x="584" y="447"/>
                    <a:pt x="590" y="466"/>
                    <a:pt x="596" y="484"/>
                  </a:cubicBezTo>
                  <a:lnTo>
                    <a:pt x="611" y="478"/>
                  </a:lnTo>
                  <a:close/>
                  <a:moveTo>
                    <a:pt x="459" y="249"/>
                  </a:moveTo>
                  <a:cubicBezTo>
                    <a:pt x="454" y="237"/>
                    <a:pt x="440" y="244"/>
                    <a:pt x="450" y="260"/>
                  </a:cubicBezTo>
                  <a:cubicBezTo>
                    <a:pt x="461" y="279"/>
                    <a:pt x="464" y="261"/>
                    <a:pt x="459" y="249"/>
                  </a:cubicBezTo>
                  <a:close/>
                  <a:moveTo>
                    <a:pt x="507" y="418"/>
                  </a:moveTo>
                  <a:cubicBezTo>
                    <a:pt x="507" y="418"/>
                    <a:pt x="512" y="447"/>
                    <a:pt x="523" y="459"/>
                  </a:cubicBezTo>
                  <a:cubicBezTo>
                    <a:pt x="533" y="471"/>
                    <a:pt x="559" y="471"/>
                    <a:pt x="559" y="471"/>
                  </a:cubicBezTo>
                  <a:cubicBezTo>
                    <a:pt x="558" y="443"/>
                    <a:pt x="558" y="443"/>
                    <a:pt x="558" y="443"/>
                  </a:cubicBezTo>
                  <a:cubicBezTo>
                    <a:pt x="546" y="435"/>
                    <a:pt x="546" y="435"/>
                    <a:pt x="546" y="435"/>
                  </a:cubicBezTo>
                  <a:cubicBezTo>
                    <a:pt x="545" y="415"/>
                    <a:pt x="545" y="415"/>
                    <a:pt x="545" y="415"/>
                  </a:cubicBezTo>
                  <a:cubicBezTo>
                    <a:pt x="545" y="415"/>
                    <a:pt x="530" y="390"/>
                    <a:pt x="508" y="384"/>
                  </a:cubicBezTo>
                  <a:cubicBezTo>
                    <a:pt x="486" y="378"/>
                    <a:pt x="487" y="403"/>
                    <a:pt x="487" y="403"/>
                  </a:cubicBezTo>
                  <a:cubicBezTo>
                    <a:pt x="487" y="403"/>
                    <a:pt x="473" y="399"/>
                    <a:pt x="480" y="419"/>
                  </a:cubicBezTo>
                  <a:lnTo>
                    <a:pt x="507" y="418"/>
                  </a:lnTo>
                  <a:close/>
                  <a:moveTo>
                    <a:pt x="169" y="296"/>
                  </a:moveTo>
                  <a:cubicBezTo>
                    <a:pt x="154" y="310"/>
                    <a:pt x="154" y="310"/>
                    <a:pt x="154" y="310"/>
                  </a:cubicBezTo>
                  <a:cubicBezTo>
                    <a:pt x="162" y="330"/>
                    <a:pt x="162" y="330"/>
                    <a:pt x="162" y="330"/>
                  </a:cubicBezTo>
                  <a:cubicBezTo>
                    <a:pt x="162" y="330"/>
                    <a:pt x="152" y="348"/>
                    <a:pt x="164" y="344"/>
                  </a:cubicBezTo>
                  <a:cubicBezTo>
                    <a:pt x="171" y="341"/>
                    <a:pt x="168" y="316"/>
                    <a:pt x="168" y="316"/>
                  </a:cubicBezTo>
                  <a:cubicBezTo>
                    <a:pt x="175" y="307"/>
                    <a:pt x="175" y="307"/>
                    <a:pt x="175" y="307"/>
                  </a:cubicBezTo>
                  <a:lnTo>
                    <a:pt x="169" y="296"/>
                  </a:lnTo>
                  <a:close/>
                  <a:moveTo>
                    <a:pt x="180" y="360"/>
                  </a:moveTo>
                  <a:cubicBezTo>
                    <a:pt x="170" y="372"/>
                    <a:pt x="176" y="414"/>
                    <a:pt x="198" y="410"/>
                  </a:cubicBezTo>
                  <a:cubicBezTo>
                    <a:pt x="207" y="408"/>
                    <a:pt x="191" y="348"/>
                    <a:pt x="180" y="360"/>
                  </a:cubicBezTo>
                  <a:close/>
                  <a:moveTo>
                    <a:pt x="35" y="152"/>
                  </a:moveTo>
                  <a:cubicBezTo>
                    <a:pt x="30" y="157"/>
                    <a:pt x="28" y="173"/>
                    <a:pt x="40" y="174"/>
                  </a:cubicBezTo>
                  <a:cubicBezTo>
                    <a:pt x="52" y="176"/>
                    <a:pt x="55" y="189"/>
                    <a:pt x="66" y="181"/>
                  </a:cubicBezTo>
                  <a:cubicBezTo>
                    <a:pt x="73" y="175"/>
                    <a:pt x="40" y="146"/>
                    <a:pt x="35" y="152"/>
                  </a:cubicBezTo>
                  <a:close/>
                  <a:moveTo>
                    <a:pt x="112" y="221"/>
                  </a:moveTo>
                  <a:cubicBezTo>
                    <a:pt x="104" y="221"/>
                    <a:pt x="94" y="234"/>
                    <a:pt x="106" y="242"/>
                  </a:cubicBezTo>
                  <a:cubicBezTo>
                    <a:pt x="118" y="250"/>
                    <a:pt x="122" y="280"/>
                    <a:pt x="134" y="280"/>
                  </a:cubicBezTo>
                  <a:cubicBezTo>
                    <a:pt x="141" y="280"/>
                    <a:pt x="142" y="249"/>
                    <a:pt x="138" y="245"/>
                  </a:cubicBezTo>
                  <a:cubicBezTo>
                    <a:pt x="134" y="241"/>
                    <a:pt x="120" y="221"/>
                    <a:pt x="112" y="221"/>
                  </a:cubicBezTo>
                  <a:close/>
                  <a:moveTo>
                    <a:pt x="1721" y="328"/>
                  </a:moveTo>
                  <a:cubicBezTo>
                    <a:pt x="1721" y="328"/>
                    <a:pt x="1725" y="316"/>
                    <a:pt x="1708" y="314"/>
                  </a:cubicBezTo>
                  <a:cubicBezTo>
                    <a:pt x="1691" y="311"/>
                    <a:pt x="1680" y="316"/>
                    <a:pt x="1680" y="316"/>
                  </a:cubicBezTo>
                  <a:cubicBezTo>
                    <a:pt x="1684" y="334"/>
                    <a:pt x="1684" y="334"/>
                    <a:pt x="1684" y="334"/>
                  </a:cubicBezTo>
                  <a:cubicBezTo>
                    <a:pt x="1693" y="333"/>
                    <a:pt x="1721" y="328"/>
                    <a:pt x="1721" y="328"/>
                  </a:cubicBezTo>
                  <a:close/>
                  <a:moveTo>
                    <a:pt x="230" y="434"/>
                  </a:moveTo>
                  <a:cubicBezTo>
                    <a:pt x="239" y="433"/>
                    <a:pt x="226" y="413"/>
                    <a:pt x="218" y="418"/>
                  </a:cubicBezTo>
                  <a:cubicBezTo>
                    <a:pt x="211" y="422"/>
                    <a:pt x="220" y="436"/>
                    <a:pt x="230" y="434"/>
                  </a:cubicBezTo>
                  <a:close/>
                  <a:moveTo>
                    <a:pt x="1652" y="438"/>
                  </a:moveTo>
                  <a:cubicBezTo>
                    <a:pt x="1674" y="429"/>
                    <a:pt x="1672" y="413"/>
                    <a:pt x="1672" y="413"/>
                  </a:cubicBezTo>
                  <a:cubicBezTo>
                    <a:pt x="1627" y="412"/>
                    <a:pt x="1627" y="412"/>
                    <a:pt x="1627" y="412"/>
                  </a:cubicBezTo>
                  <a:cubicBezTo>
                    <a:pt x="1627" y="412"/>
                    <a:pt x="1630" y="447"/>
                    <a:pt x="1652" y="438"/>
                  </a:cubicBezTo>
                  <a:close/>
                  <a:moveTo>
                    <a:pt x="1609" y="194"/>
                  </a:moveTo>
                  <a:cubicBezTo>
                    <a:pt x="1624" y="182"/>
                    <a:pt x="1618" y="175"/>
                    <a:pt x="1605" y="171"/>
                  </a:cubicBezTo>
                  <a:cubicBezTo>
                    <a:pt x="1592" y="167"/>
                    <a:pt x="1586" y="172"/>
                    <a:pt x="1586" y="172"/>
                  </a:cubicBezTo>
                  <a:cubicBezTo>
                    <a:pt x="1586" y="172"/>
                    <a:pt x="1601" y="202"/>
                    <a:pt x="1609" y="194"/>
                  </a:cubicBezTo>
                  <a:close/>
                  <a:moveTo>
                    <a:pt x="1918" y="353"/>
                  </a:moveTo>
                  <a:cubicBezTo>
                    <a:pt x="1937" y="362"/>
                    <a:pt x="1945" y="353"/>
                    <a:pt x="1930" y="346"/>
                  </a:cubicBezTo>
                  <a:cubicBezTo>
                    <a:pt x="1916" y="340"/>
                    <a:pt x="1910" y="349"/>
                    <a:pt x="1918" y="353"/>
                  </a:cubicBezTo>
                  <a:close/>
                  <a:moveTo>
                    <a:pt x="1950" y="413"/>
                  </a:moveTo>
                  <a:cubicBezTo>
                    <a:pt x="1959" y="413"/>
                    <a:pt x="1986" y="406"/>
                    <a:pt x="1986" y="406"/>
                  </a:cubicBezTo>
                  <a:cubicBezTo>
                    <a:pt x="1986" y="406"/>
                    <a:pt x="1962" y="396"/>
                    <a:pt x="1957" y="395"/>
                  </a:cubicBezTo>
                  <a:cubicBezTo>
                    <a:pt x="1953" y="394"/>
                    <a:pt x="1924" y="400"/>
                    <a:pt x="1924" y="400"/>
                  </a:cubicBezTo>
                  <a:cubicBezTo>
                    <a:pt x="1924" y="400"/>
                    <a:pt x="1940" y="413"/>
                    <a:pt x="1950" y="413"/>
                  </a:cubicBezTo>
                  <a:close/>
                  <a:moveTo>
                    <a:pt x="1145" y="370"/>
                  </a:moveTo>
                  <a:cubicBezTo>
                    <a:pt x="1142" y="380"/>
                    <a:pt x="1161" y="400"/>
                    <a:pt x="1153" y="409"/>
                  </a:cubicBezTo>
                  <a:cubicBezTo>
                    <a:pt x="1145" y="418"/>
                    <a:pt x="1122" y="424"/>
                    <a:pt x="1120" y="437"/>
                  </a:cubicBezTo>
                  <a:cubicBezTo>
                    <a:pt x="1119" y="451"/>
                    <a:pt x="1130" y="464"/>
                    <a:pt x="1130" y="464"/>
                  </a:cubicBezTo>
                  <a:cubicBezTo>
                    <a:pt x="1130" y="464"/>
                    <a:pt x="1114" y="478"/>
                    <a:pt x="1124" y="485"/>
                  </a:cubicBezTo>
                  <a:cubicBezTo>
                    <a:pt x="1135" y="492"/>
                    <a:pt x="1153" y="477"/>
                    <a:pt x="1157" y="489"/>
                  </a:cubicBezTo>
                  <a:cubicBezTo>
                    <a:pt x="1161" y="501"/>
                    <a:pt x="1153" y="510"/>
                    <a:pt x="1153" y="510"/>
                  </a:cubicBezTo>
                  <a:cubicBezTo>
                    <a:pt x="1164" y="524"/>
                    <a:pt x="1164" y="524"/>
                    <a:pt x="1164" y="524"/>
                  </a:cubicBezTo>
                  <a:cubicBezTo>
                    <a:pt x="1158" y="568"/>
                    <a:pt x="1158" y="568"/>
                    <a:pt x="1158" y="568"/>
                  </a:cubicBezTo>
                  <a:cubicBezTo>
                    <a:pt x="1158" y="568"/>
                    <a:pt x="1134" y="582"/>
                    <a:pt x="1146" y="606"/>
                  </a:cubicBezTo>
                  <a:cubicBezTo>
                    <a:pt x="1157" y="630"/>
                    <a:pt x="1173" y="630"/>
                    <a:pt x="1191" y="612"/>
                  </a:cubicBezTo>
                  <a:cubicBezTo>
                    <a:pt x="1208" y="595"/>
                    <a:pt x="1188" y="566"/>
                    <a:pt x="1188" y="566"/>
                  </a:cubicBezTo>
                  <a:cubicBezTo>
                    <a:pt x="1188" y="566"/>
                    <a:pt x="1209" y="551"/>
                    <a:pt x="1209" y="530"/>
                  </a:cubicBezTo>
                  <a:cubicBezTo>
                    <a:pt x="1208" y="508"/>
                    <a:pt x="1217" y="489"/>
                    <a:pt x="1210" y="476"/>
                  </a:cubicBezTo>
                  <a:cubicBezTo>
                    <a:pt x="1202" y="464"/>
                    <a:pt x="1198" y="439"/>
                    <a:pt x="1200" y="434"/>
                  </a:cubicBezTo>
                  <a:cubicBezTo>
                    <a:pt x="1201" y="429"/>
                    <a:pt x="1207" y="401"/>
                    <a:pt x="1217" y="419"/>
                  </a:cubicBezTo>
                  <a:cubicBezTo>
                    <a:pt x="1228" y="437"/>
                    <a:pt x="1228" y="468"/>
                    <a:pt x="1228" y="468"/>
                  </a:cubicBezTo>
                  <a:cubicBezTo>
                    <a:pt x="1251" y="494"/>
                    <a:pt x="1251" y="494"/>
                    <a:pt x="1251" y="494"/>
                  </a:cubicBezTo>
                  <a:cubicBezTo>
                    <a:pt x="1248" y="529"/>
                    <a:pt x="1248" y="529"/>
                    <a:pt x="1248" y="529"/>
                  </a:cubicBezTo>
                  <a:cubicBezTo>
                    <a:pt x="1265" y="551"/>
                    <a:pt x="1265" y="551"/>
                    <a:pt x="1265" y="551"/>
                  </a:cubicBezTo>
                  <a:cubicBezTo>
                    <a:pt x="1266" y="575"/>
                    <a:pt x="1266" y="575"/>
                    <a:pt x="1266" y="575"/>
                  </a:cubicBezTo>
                  <a:cubicBezTo>
                    <a:pt x="1275" y="624"/>
                    <a:pt x="1275" y="624"/>
                    <a:pt x="1275" y="624"/>
                  </a:cubicBezTo>
                  <a:cubicBezTo>
                    <a:pt x="1285" y="614"/>
                    <a:pt x="1285" y="614"/>
                    <a:pt x="1285" y="614"/>
                  </a:cubicBezTo>
                  <a:cubicBezTo>
                    <a:pt x="1312" y="622"/>
                    <a:pt x="1312" y="622"/>
                    <a:pt x="1312" y="622"/>
                  </a:cubicBezTo>
                  <a:cubicBezTo>
                    <a:pt x="1312" y="622"/>
                    <a:pt x="1314" y="605"/>
                    <a:pt x="1313" y="592"/>
                  </a:cubicBezTo>
                  <a:cubicBezTo>
                    <a:pt x="1312" y="579"/>
                    <a:pt x="1319" y="572"/>
                    <a:pt x="1319" y="572"/>
                  </a:cubicBezTo>
                  <a:cubicBezTo>
                    <a:pt x="1325" y="588"/>
                    <a:pt x="1325" y="588"/>
                    <a:pt x="1325" y="588"/>
                  </a:cubicBezTo>
                  <a:cubicBezTo>
                    <a:pt x="1325" y="588"/>
                    <a:pt x="1342" y="590"/>
                    <a:pt x="1344" y="574"/>
                  </a:cubicBezTo>
                  <a:cubicBezTo>
                    <a:pt x="1345" y="558"/>
                    <a:pt x="1341" y="546"/>
                    <a:pt x="1341" y="546"/>
                  </a:cubicBezTo>
                  <a:cubicBezTo>
                    <a:pt x="1341" y="546"/>
                    <a:pt x="1301" y="514"/>
                    <a:pt x="1303" y="502"/>
                  </a:cubicBezTo>
                  <a:cubicBezTo>
                    <a:pt x="1305" y="490"/>
                    <a:pt x="1324" y="477"/>
                    <a:pt x="1313" y="467"/>
                  </a:cubicBezTo>
                  <a:cubicBezTo>
                    <a:pt x="1301" y="457"/>
                    <a:pt x="1292" y="454"/>
                    <a:pt x="1291" y="446"/>
                  </a:cubicBezTo>
                  <a:cubicBezTo>
                    <a:pt x="1291" y="437"/>
                    <a:pt x="1304" y="418"/>
                    <a:pt x="1290" y="412"/>
                  </a:cubicBezTo>
                  <a:cubicBezTo>
                    <a:pt x="1277" y="407"/>
                    <a:pt x="1257" y="390"/>
                    <a:pt x="1257" y="390"/>
                  </a:cubicBezTo>
                  <a:cubicBezTo>
                    <a:pt x="1257" y="390"/>
                    <a:pt x="1279" y="395"/>
                    <a:pt x="1289" y="385"/>
                  </a:cubicBezTo>
                  <a:cubicBezTo>
                    <a:pt x="1298" y="376"/>
                    <a:pt x="1308" y="354"/>
                    <a:pt x="1308" y="354"/>
                  </a:cubicBezTo>
                  <a:cubicBezTo>
                    <a:pt x="1308" y="354"/>
                    <a:pt x="1347" y="356"/>
                    <a:pt x="1348" y="348"/>
                  </a:cubicBezTo>
                  <a:cubicBezTo>
                    <a:pt x="1349" y="339"/>
                    <a:pt x="1338" y="324"/>
                    <a:pt x="1328" y="323"/>
                  </a:cubicBezTo>
                  <a:cubicBezTo>
                    <a:pt x="1317" y="323"/>
                    <a:pt x="1310" y="341"/>
                    <a:pt x="1310" y="341"/>
                  </a:cubicBezTo>
                  <a:cubicBezTo>
                    <a:pt x="1310" y="341"/>
                    <a:pt x="1281" y="333"/>
                    <a:pt x="1269" y="337"/>
                  </a:cubicBezTo>
                  <a:cubicBezTo>
                    <a:pt x="1258" y="340"/>
                    <a:pt x="1252" y="369"/>
                    <a:pt x="1240" y="370"/>
                  </a:cubicBezTo>
                  <a:cubicBezTo>
                    <a:pt x="1229" y="370"/>
                    <a:pt x="1230" y="350"/>
                    <a:pt x="1213" y="340"/>
                  </a:cubicBezTo>
                  <a:cubicBezTo>
                    <a:pt x="1196" y="330"/>
                    <a:pt x="1188" y="333"/>
                    <a:pt x="1188" y="333"/>
                  </a:cubicBezTo>
                  <a:cubicBezTo>
                    <a:pt x="1188" y="333"/>
                    <a:pt x="1193" y="274"/>
                    <a:pt x="1209" y="273"/>
                  </a:cubicBezTo>
                  <a:cubicBezTo>
                    <a:pt x="1225" y="272"/>
                    <a:pt x="1255" y="283"/>
                    <a:pt x="1269" y="279"/>
                  </a:cubicBezTo>
                  <a:cubicBezTo>
                    <a:pt x="1282" y="276"/>
                    <a:pt x="1273" y="264"/>
                    <a:pt x="1284" y="266"/>
                  </a:cubicBezTo>
                  <a:cubicBezTo>
                    <a:pt x="1296" y="267"/>
                    <a:pt x="1349" y="293"/>
                    <a:pt x="1359" y="294"/>
                  </a:cubicBezTo>
                  <a:cubicBezTo>
                    <a:pt x="1370" y="294"/>
                    <a:pt x="1372" y="285"/>
                    <a:pt x="1379" y="281"/>
                  </a:cubicBezTo>
                  <a:cubicBezTo>
                    <a:pt x="1386" y="277"/>
                    <a:pt x="1399" y="283"/>
                    <a:pt x="1408" y="278"/>
                  </a:cubicBezTo>
                  <a:cubicBezTo>
                    <a:pt x="1417" y="272"/>
                    <a:pt x="1406" y="267"/>
                    <a:pt x="1415" y="258"/>
                  </a:cubicBezTo>
                  <a:cubicBezTo>
                    <a:pt x="1423" y="249"/>
                    <a:pt x="1443" y="240"/>
                    <a:pt x="1443" y="240"/>
                  </a:cubicBezTo>
                  <a:cubicBezTo>
                    <a:pt x="1436" y="220"/>
                    <a:pt x="1436" y="220"/>
                    <a:pt x="1436" y="220"/>
                  </a:cubicBezTo>
                  <a:cubicBezTo>
                    <a:pt x="1384" y="242"/>
                    <a:pt x="1384" y="242"/>
                    <a:pt x="1384" y="242"/>
                  </a:cubicBezTo>
                  <a:cubicBezTo>
                    <a:pt x="1384" y="242"/>
                    <a:pt x="1396" y="255"/>
                    <a:pt x="1381" y="256"/>
                  </a:cubicBezTo>
                  <a:cubicBezTo>
                    <a:pt x="1366" y="257"/>
                    <a:pt x="1353" y="248"/>
                    <a:pt x="1344" y="248"/>
                  </a:cubicBezTo>
                  <a:cubicBezTo>
                    <a:pt x="1336" y="248"/>
                    <a:pt x="1321" y="261"/>
                    <a:pt x="1311" y="259"/>
                  </a:cubicBezTo>
                  <a:cubicBezTo>
                    <a:pt x="1300" y="256"/>
                    <a:pt x="1275" y="244"/>
                    <a:pt x="1268" y="244"/>
                  </a:cubicBezTo>
                  <a:cubicBezTo>
                    <a:pt x="1261" y="244"/>
                    <a:pt x="1245" y="244"/>
                    <a:pt x="1245" y="244"/>
                  </a:cubicBezTo>
                  <a:cubicBezTo>
                    <a:pt x="1253" y="232"/>
                    <a:pt x="1253" y="232"/>
                    <a:pt x="1253" y="232"/>
                  </a:cubicBezTo>
                  <a:cubicBezTo>
                    <a:pt x="1253" y="232"/>
                    <a:pt x="1226" y="225"/>
                    <a:pt x="1223" y="228"/>
                  </a:cubicBezTo>
                  <a:cubicBezTo>
                    <a:pt x="1219" y="232"/>
                    <a:pt x="1224" y="249"/>
                    <a:pt x="1212" y="256"/>
                  </a:cubicBezTo>
                  <a:cubicBezTo>
                    <a:pt x="1201" y="263"/>
                    <a:pt x="1179" y="261"/>
                    <a:pt x="1179" y="267"/>
                  </a:cubicBezTo>
                  <a:cubicBezTo>
                    <a:pt x="1179" y="273"/>
                    <a:pt x="1178" y="287"/>
                    <a:pt x="1178" y="287"/>
                  </a:cubicBezTo>
                  <a:cubicBezTo>
                    <a:pt x="1164" y="289"/>
                    <a:pt x="1164" y="289"/>
                    <a:pt x="1164" y="289"/>
                  </a:cubicBezTo>
                  <a:cubicBezTo>
                    <a:pt x="1174" y="336"/>
                    <a:pt x="1174" y="336"/>
                    <a:pt x="1174" y="336"/>
                  </a:cubicBezTo>
                  <a:cubicBezTo>
                    <a:pt x="1164" y="335"/>
                    <a:pt x="1164" y="335"/>
                    <a:pt x="1164" y="335"/>
                  </a:cubicBezTo>
                  <a:cubicBezTo>
                    <a:pt x="1164" y="335"/>
                    <a:pt x="1147" y="360"/>
                    <a:pt x="1145" y="370"/>
                  </a:cubicBezTo>
                  <a:close/>
                  <a:moveTo>
                    <a:pt x="1328" y="387"/>
                  </a:moveTo>
                  <a:cubicBezTo>
                    <a:pt x="1328" y="400"/>
                    <a:pt x="1328" y="400"/>
                    <a:pt x="1328" y="400"/>
                  </a:cubicBezTo>
                  <a:cubicBezTo>
                    <a:pt x="1328" y="400"/>
                    <a:pt x="1343" y="412"/>
                    <a:pt x="1350" y="395"/>
                  </a:cubicBezTo>
                  <a:cubicBezTo>
                    <a:pt x="1358" y="379"/>
                    <a:pt x="1328" y="387"/>
                    <a:pt x="1328" y="387"/>
                  </a:cubicBezTo>
                  <a:close/>
                  <a:moveTo>
                    <a:pt x="1127" y="743"/>
                  </a:moveTo>
                  <a:cubicBezTo>
                    <a:pt x="1118" y="740"/>
                    <a:pt x="1111" y="746"/>
                    <a:pt x="1111" y="746"/>
                  </a:cubicBezTo>
                  <a:cubicBezTo>
                    <a:pt x="1080" y="739"/>
                    <a:pt x="1080" y="739"/>
                    <a:pt x="1080" y="739"/>
                  </a:cubicBezTo>
                  <a:cubicBezTo>
                    <a:pt x="1099" y="766"/>
                    <a:pt x="1099" y="766"/>
                    <a:pt x="1099" y="766"/>
                  </a:cubicBezTo>
                  <a:cubicBezTo>
                    <a:pt x="1099" y="766"/>
                    <a:pt x="1126" y="793"/>
                    <a:pt x="1132" y="775"/>
                  </a:cubicBezTo>
                  <a:cubicBezTo>
                    <a:pt x="1137" y="758"/>
                    <a:pt x="1136" y="746"/>
                    <a:pt x="1127" y="743"/>
                  </a:cubicBezTo>
                  <a:close/>
                  <a:moveTo>
                    <a:pt x="1400" y="740"/>
                  </a:moveTo>
                  <a:cubicBezTo>
                    <a:pt x="1379" y="754"/>
                    <a:pt x="1379" y="754"/>
                    <a:pt x="1379" y="754"/>
                  </a:cubicBezTo>
                  <a:cubicBezTo>
                    <a:pt x="1400" y="759"/>
                    <a:pt x="1400" y="759"/>
                    <a:pt x="1400" y="759"/>
                  </a:cubicBezTo>
                  <a:lnTo>
                    <a:pt x="1400" y="740"/>
                  </a:lnTo>
                  <a:close/>
                  <a:moveTo>
                    <a:pt x="327" y="200"/>
                  </a:moveTo>
                  <a:cubicBezTo>
                    <a:pt x="315" y="190"/>
                    <a:pt x="304" y="196"/>
                    <a:pt x="310" y="212"/>
                  </a:cubicBezTo>
                  <a:cubicBezTo>
                    <a:pt x="314" y="226"/>
                    <a:pt x="339" y="209"/>
                    <a:pt x="327" y="200"/>
                  </a:cubicBezTo>
                  <a:close/>
                  <a:moveTo>
                    <a:pt x="1569" y="393"/>
                  </a:moveTo>
                  <a:cubicBezTo>
                    <a:pt x="1561" y="383"/>
                    <a:pt x="1542" y="370"/>
                    <a:pt x="1542" y="370"/>
                  </a:cubicBezTo>
                  <a:cubicBezTo>
                    <a:pt x="1540" y="400"/>
                    <a:pt x="1540" y="400"/>
                    <a:pt x="1540" y="400"/>
                  </a:cubicBezTo>
                  <a:cubicBezTo>
                    <a:pt x="1552" y="408"/>
                    <a:pt x="1578" y="404"/>
                    <a:pt x="1569" y="393"/>
                  </a:cubicBezTo>
                  <a:close/>
                  <a:moveTo>
                    <a:pt x="1543" y="318"/>
                  </a:moveTo>
                  <a:cubicBezTo>
                    <a:pt x="1552" y="325"/>
                    <a:pt x="1590" y="359"/>
                    <a:pt x="1599" y="356"/>
                  </a:cubicBezTo>
                  <a:cubicBezTo>
                    <a:pt x="1608" y="353"/>
                    <a:pt x="1598" y="340"/>
                    <a:pt x="1587" y="334"/>
                  </a:cubicBezTo>
                  <a:cubicBezTo>
                    <a:pt x="1577" y="328"/>
                    <a:pt x="1571" y="316"/>
                    <a:pt x="1581" y="306"/>
                  </a:cubicBezTo>
                  <a:cubicBezTo>
                    <a:pt x="1592" y="296"/>
                    <a:pt x="1611" y="306"/>
                    <a:pt x="1611" y="306"/>
                  </a:cubicBezTo>
                  <a:cubicBezTo>
                    <a:pt x="1620" y="299"/>
                    <a:pt x="1620" y="299"/>
                    <a:pt x="1620" y="299"/>
                  </a:cubicBezTo>
                  <a:cubicBezTo>
                    <a:pt x="1603" y="288"/>
                    <a:pt x="1603" y="288"/>
                    <a:pt x="1603" y="288"/>
                  </a:cubicBezTo>
                  <a:cubicBezTo>
                    <a:pt x="1603" y="288"/>
                    <a:pt x="1617" y="281"/>
                    <a:pt x="1620" y="269"/>
                  </a:cubicBezTo>
                  <a:cubicBezTo>
                    <a:pt x="1623" y="258"/>
                    <a:pt x="1608" y="250"/>
                    <a:pt x="1598" y="249"/>
                  </a:cubicBezTo>
                  <a:cubicBezTo>
                    <a:pt x="1587" y="247"/>
                    <a:pt x="1577" y="274"/>
                    <a:pt x="1565" y="275"/>
                  </a:cubicBezTo>
                  <a:cubicBezTo>
                    <a:pt x="1554" y="277"/>
                    <a:pt x="1557" y="250"/>
                    <a:pt x="1557" y="250"/>
                  </a:cubicBezTo>
                  <a:cubicBezTo>
                    <a:pt x="1557" y="250"/>
                    <a:pt x="1567" y="237"/>
                    <a:pt x="1570" y="227"/>
                  </a:cubicBezTo>
                  <a:cubicBezTo>
                    <a:pt x="1573" y="216"/>
                    <a:pt x="1567" y="211"/>
                    <a:pt x="1567" y="211"/>
                  </a:cubicBezTo>
                  <a:cubicBezTo>
                    <a:pt x="1576" y="184"/>
                    <a:pt x="1576" y="184"/>
                    <a:pt x="1576" y="184"/>
                  </a:cubicBezTo>
                  <a:cubicBezTo>
                    <a:pt x="1548" y="211"/>
                    <a:pt x="1548" y="211"/>
                    <a:pt x="1548" y="211"/>
                  </a:cubicBezTo>
                  <a:cubicBezTo>
                    <a:pt x="1548" y="230"/>
                    <a:pt x="1548" y="230"/>
                    <a:pt x="1548" y="230"/>
                  </a:cubicBezTo>
                  <a:cubicBezTo>
                    <a:pt x="1548" y="230"/>
                    <a:pt x="1525" y="240"/>
                    <a:pt x="1527" y="265"/>
                  </a:cubicBezTo>
                  <a:cubicBezTo>
                    <a:pt x="1529" y="281"/>
                    <a:pt x="1540" y="284"/>
                    <a:pt x="1543" y="293"/>
                  </a:cubicBezTo>
                  <a:cubicBezTo>
                    <a:pt x="1546" y="302"/>
                    <a:pt x="1535" y="310"/>
                    <a:pt x="1543" y="318"/>
                  </a:cubicBezTo>
                  <a:close/>
                  <a:moveTo>
                    <a:pt x="1505" y="474"/>
                  </a:moveTo>
                  <a:cubicBezTo>
                    <a:pt x="1496" y="464"/>
                    <a:pt x="1496" y="464"/>
                    <a:pt x="1496" y="464"/>
                  </a:cubicBezTo>
                  <a:cubicBezTo>
                    <a:pt x="1482" y="475"/>
                    <a:pt x="1482" y="475"/>
                    <a:pt x="1482" y="475"/>
                  </a:cubicBezTo>
                  <a:cubicBezTo>
                    <a:pt x="1482" y="475"/>
                    <a:pt x="1475" y="494"/>
                    <a:pt x="1489" y="503"/>
                  </a:cubicBezTo>
                  <a:cubicBezTo>
                    <a:pt x="1502" y="513"/>
                    <a:pt x="1521" y="509"/>
                    <a:pt x="1521" y="509"/>
                  </a:cubicBezTo>
                  <a:cubicBezTo>
                    <a:pt x="1529" y="498"/>
                    <a:pt x="1517" y="471"/>
                    <a:pt x="1517" y="471"/>
                  </a:cubicBezTo>
                  <a:lnTo>
                    <a:pt x="1505" y="474"/>
                  </a:lnTo>
                  <a:close/>
                  <a:moveTo>
                    <a:pt x="1437" y="740"/>
                  </a:moveTo>
                  <a:cubicBezTo>
                    <a:pt x="1487" y="728"/>
                    <a:pt x="1487" y="728"/>
                    <a:pt x="1487" y="728"/>
                  </a:cubicBezTo>
                  <a:cubicBezTo>
                    <a:pt x="1449" y="718"/>
                    <a:pt x="1449" y="718"/>
                    <a:pt x="1449" y="718"/>
                  </a:cubicBezTo>
                  <a:lnTo>
                    <a:pt x="1437" y="740"/>
                  </a:lnTo>
                  <a:close/>
                  <a:moveTo>
                    <a:pt x="1700" y="502"/>
                  </a:moveTo>
                  <a:cubicBezTo>
                    <a:pt x="1686" y="490"/>
                    <a:pt x="1686" y="490"/>
                    <a:pt x="1686" y="490"/>
                  </a:cubicBezTo>
                  <a:cubicBezTo>
                    <a:pt x="1687" y="479"/>
                    <a:pt x="1687" y="479"/>
                    <a:pt x="1687" y="479"/>
                  </a:cubicBezTo>
                  <a:cubicBezTo>
                    <a:pt x="1687" y="479"/>
                    <a:pt x="1681" y="458"/>
                    <a:pt x="1634" y="448"/>
                  </a:cubicBezTo>
                  <a:cubicBezTo>
                    <a:pt x="1618" y="444"/>
                    <a:pt x="1608" y="454"/>
                    <a:pt x="1597" y="459"/>
                  </a:cubicBezTo>
                  <a:cubicBezTo>
                    <a:pt x="1591" y="461"/>
                    <a:pt x="1583" y="457"/>
                    <a:pt x="1579" y="460"/>
                  </a:cubicBezTo>
                  <a:cubicBezTo>
                    <a:pt x="1566" y="468"/>
                    <a:pt x="1562" y="484"/>
                    <a:pt x="1566" y="487"/>
                  </a:cubicBezTo>
                  <a:cubicBezTo>
                    <a:pt x="1573" y="493"/>
                    <a:pt x="1580" y="479"/>
                    <a:pt x="1580" y="479"/>
                  </a:cubicBezTo>
                  <a:cubicBezTo>
                    <a:pt x="1580" y="479"/>
                    <a:pt x="1580" y="495"/>
                    <a:pt x="1591" y="497"/>
                  </a:cubicBezTo>
                  <a:cubicBezTo>
                    <a:pt x="1602" y="498"/>
                    <a:pt x="1604" y="478"/>
                    <a:pt x="1604" y="478"/>
                  </a:cubicBezTo>
                  <a:cubicBezTo>
                    <a:pt x="1604" y="478"/>
                    <a:pt x="1612" y="489"/>
                    <a:pt x="1619" y="489"/>
                  </a:cubicBezTo>
                  <a:cubicBezTo>
                    <a:pt x="1626" y="489"/>
                    <a:pt x="1644" y="474"/>
                    <a:pt x="1644" y="474"/>
                  </a:cubicBezTo>
                  <a:cubicBezTo>
                    <a:pt x="1654" y="509"/>
                    <a:pt x="1654" y="509"/>
                    <a:pt x="1654" y="509"/>
                  </a:cubicBezTo>
                  <a:cubicBezTo>
                    <a:pt x="1673" y="495"/>
                    <a:pt x="1673" y="495"/>
                    <a:pt x="1673" y="495"/>
                  </a:cubicBezTo>
                  <a:cubicBezTo>
                    <a:pt x="1695" y="519"/>
                    <a:pt x="1695" y="519"/>
                    <a:pt x="1695" y="519"/>
                  </a:cubicBezTo>
                  <a:lnTo>
                    <a:pt x="1700" y="502"/>
                  </a:lnTo>
                  <a:close/>
                  <a:moveTo>
                    <a:pt x="2179" y="454"/>
                  </a:moveTo>
                  <a:cubicBezTo>
                    <a:pt x="2153" y="435"/>
                    <a:pt x="2153" y="435"/>
                    <a:pt x="2153" y="435"/>
                  </a:cubicBezTo>
                  <a:cubicBezTo>
                    <a:pt x="2153" y="435"/>
                    <a:pt x="2134" y="437"/>
                    <a:pt x="2124" y="437"/>
                  </a:cubicBezTo>
                  <a:cubicBezTo>
                    <a:pt x="2113" y="437"/>
                    <a:pt x="2045" y="394"/>
                    <a:pt x="2032" y="390"/>
                  </a:cubicBezTo>
                  <a:cubicBezTo>
                    <a:pt x="2019" y="386"/>
                    <a:pt x="1998" y="405"/>
                    <a:pt x="1998" y="405"/>
                  </a:cubicBezTo>
                  <a:cubicBezTo>
                    <a:pt x="2007" y="423"/>
                    <a:pt x="2007" y="423"/>
                    <a:pt x="2007" y="423"/>
                  </a:cubicBezTo>
                  <a:cubicBezTo>
                    <a:pt x="1956" y="428"/>
                    <a:pt x="1956" y="428"/>
                    <a:pt x="1956" y="428"/>
                  </a:cubicBezTo>
                  <a:cubicBezTo>
                    <a:pt x="1960" y="446"/>
                    <a:pt x="1960" y="446"/>
                    <a:pt x="1960" y="446"/>
                  </a:cubicBezTo>
                  <a:cubicBezTo>
                    <a:pt x="1960" y="446"/>
                    <a:pt x="1950" y="477"/>
                    <a:pt x="1913" y="484"/>
                  </a:cubicBezTo>
                  <a:cubicBezTo>
                    <a:pt x="1876" y="492"/>
                    <a:pt x="1886" y="443"/>
                    <a:pt x="1880" y="443"/>
                  </a:cubicBezTo>
                  <a:cubicBezTo>
                    <a:pt x="1875" y="443"/>
                    <a:pt x="1869" y="465"/>
                    <a:pt x="1869" y="465"/>
                  </a:cubicBezTo>
                  <a:cubicBezTo>
                    <a:pt x="1869" y="465"/>
                    <a:pt x="1861" y="448"/>
                    <a:pt x="1861" y="439"/>
                  </a:cubicBezTo>
                  <a:cubicBezTo>
                    <a:pt x="1861" y="429"/>
                    <a:pt x="1862" y="402"/>
                    <a:pt x="1859" y="385"/>
                  </a:cubicBezTo>
                  <a:cubicBezTo>
                    <a:pt x="1857" y="368"/>
                    <a:pt x="1846" y="350"/>
                    <a:pt x="1846" y="350"/>
                  </a:cubicBezTo>
                  <a:cubicBezTo>
                    <a:pt x="1820" y="350"/>
                    <a:pt x="1820" y="350"/>
                    <a:pt x="1820" y="350"/>
                  </a:cubicBezTo>
                  <a:cubicBezTo>
                    <a:pt x="1820" y="350"/>
                    <a:pt x="1799" y="326"/>
                    <a:pt x="1781" y="326"/>
                  </a:cubicBezTo>
                  <a:cubicBezTo>
                    <a:pt x="1763" y="326"/>
                    <a:pt x="1744" y="351"/>
                    <a:pt x="1744" y="351"/>
                  </a:cubicBezTo>
                  <a:cubicBezTo>
                    <a:pt x="1728" y="355"/>
                    <a:pt x="1728" y="355"/>
                    <a:pt x="1728" y="355"/>
                  </a:cubicBezTo>
                  <a:cubicBezTo>
                    <a:pt x="1723" y="367"/>
                    <a:pt x="1723" y="367"/>
                    <a:pt x="1723" y="367"/>
                  </a:cubicBezTo>
                  <a:cubicBezTo>
                    <a:pt x="1711" y="373"/>
                    <a:pt x="1711" y="373"/>
                    <a:pt x="1711" y="373"/>
                  </a:cubicBezTo>
                  <a:cubicBezTo>
                    <a:pt x="1711" y="364"/>
                    <a:pt x="1711" y="364"/>
                    <a:pt x="1711" y="364"/>
                  </a:cubicBezTo>
                  <a:cubicBezTo>
                    <a:pt x="1711" y="364"/>
                    <a:pt x="1704" y="352"/>
                    <a:pt x="1693" y="356"/>
                  </a:cubicBezTo>
                  <a:cubicBezTo>
                    <a:pt x="1693" y="356"/>
                    <a:pt x="1693" y="369"/>
                    <a:pt x="1702" y="382"/>
                  </a:cubicBezTo>
                  <a:cubicBezTo>
                    <a:pt x="1711" y="395"/>
                    <a:pt x="1732" y="388"/>
                    <a:pt x="1749" y="393"/>
                  </a:cubicBezTo>
                  <a:cubicBezTo>
                    <a:pt x="1766" y="398"/>
                    <a:pt x="1751" y="406"/>
                    <a:pt x="1760" y="422"/>
                  </a:cubicBezTo>
                  <a:cubicBezTo>
                    <a:pt x="1769" y="437"/>
                    <a:pt x="1799" y="424"/>
                    <a:pt x="1821" y="424"/>
                  </a:cubicBezTo>
                  <a:cubicBezTo>
                    <a:pt x="1844" y="424"/>
                    <a:pt x="1845" y="429"/>
                    <a:pt x="1845" y="440"/>
                  </a:cubicBezTo>
                  <a:cubicBezTo>
                    <a:pt x="1845" y="450"/>
                    <a:pt x="1819" y="440"/>
                    <a:pt x="1811" y="441"/>
                  </a:cubicBezTo>
                  <a:cubicBezTo>
                    <a:pt x="1803" y="443"/>
                    <a:pt x="1785" y="454"/>
                    <a:pt x="1785" y="454"/>
                  </a:cubicBezTo>
                  <a:cubicBezTo>
                    <a:pt x="1785" y="454"/>
                    <a:pt x="1757" y="454"/>
                    <a:pt x="1751" y="461"/>
                  </a:cubicBezTo>
                  <a:cubicBezTo>
                    <a:pt x="1744" y="467"/>
                    <a:pt x="1774" y="474"/>
                    <a:pt x="1781" y="478"/>
                  </a:cubicBezTo>
                  <a:cubicBezTo>
                    <a:pt x="1787" y="482"/>
                    <a:pt x="1797" y="498"/>
                    <a:pt x="1797" y="498"/>
                  </a:cubicBezTo>
                  <a:cubicBezTo>
                    <a:pt x="1797" y="498"/>
                    <a:pt x="1781" y="517"/>
                    <a:pt x="1790" y="530"/>
                  </a:cubicBezTo>
                  <a:cubicBezTo>
                    <a:pt x="1799" y="543"/>
                    <a:pt x="1819" y="508"/>
                    <a:pt x="1819" y="504"/>
                  </a:cubicBezTo>
                  <a:cubicBezTo>
                    <a:pt x="1819" y="500"/>
                    <a:pt x="1838" y="471"/>
                    <a:pt x="1838" y="471"/>
                  </a:cubicBezTo>
                  <a:cubicBezTo>
                    <a:pt x="1836" y="496"/>
                    <a:pt x="1836" y="496"/>
                    <a:pt x="1836" y="496"/>
                  </a:cubicBezTo>
                  <a:cubicBezTo>
                    <a:pt x="1836" y="496"/>
                    <a:pt x="1849" y="509"/>
                    <a:pt x="1859" y="518"/>
                  </a:cubicBezTo>
                  <a:cubicBezTo>
                    <a:pt x="1870" y="528"/>
                    <a:pt x="1891" y="520"/>
                    <a:pt x="1891" y="520"/>
                  </a:cubicBezTo>
                  <a:cubicBezTo>
                    <a:pt x="1882" y="529"/>
                    <a:pt x="1882" y="529"/>
                    <a:pt x="1882" y="529"/>
                  </a:cubicBezTo>
                  <a:cubicBezTo>
                    <a:pt x="1903" y="549"/>
                    <a:pt x="1903" y="549"/>
                    <a:pt x="1903" y="549"/>
                  </a:cubicBezTo>
                  <a:cubicBezTo>
                    <a:pt x="1941" y="550"/>
                    <a:pt x="1941" y="550"/>
                    <a:pt x="1941" y="550"/>
                  </a:cubicBezTo>
                  <a:cubicBezTo>
                    <a:pt x="1964" y="567"/>
                    <a:pt x="1964" y="567"/>
                    <a:pt x="1964" y="567"/>
                  </a:cubicBezTo>
                  <a:cubicBezTo>
                    <a:pt x="1964" y="567"/>
                    <a:pt x="2006" y="581"/>
                    <a:pt x="2030" y="598"/>
                  </a:cubicBezTo>
                  <a:cubicBezTo>
                    <a:pt x="2053" y="615"/>
                    <a:pt x="2048" y="621"/>
                    <a:pt x="2049" y="640"/>
                  </a:cubicBezTo>
                  <a:cubicBezTo>
                    <a:pt x="2051" y="660"/>
                    <a:pt x="2073" y="669"/>
                    <a:pt x="2073" y="669"/>
                  </a:cubicBezTo>
                  <a:cubicBezTo>
                    <a:pt x="2073" y="669"/>
                    <a:pt x="2056" y="672"/>
                    <a:pt x="2056" y="681"/>
                  </a:cubicBezTo>
                  <a:cubicBezTo>
                    <a:pt x="2056" y="690"/>
                    <a:pt x="2082" y="691"/>
                    <a:pt x="2082" y="691"/>
                  </a:cubicBezTo>
                  <a:cubicBezTo>
                    <a:pt x="2066" y="697"/>
                    <a:pt x="2066" y="697"/>
                    <a:pt x="2066" y="697"/>
                  </a:cubicBezTo>
                  <a:cubicBezTo>
                    <a:pt x="2067" y="705"/>
                    <a:pt x="2067" y="705"/>
                    <a:pt x="2067" y="705"/>
                  </a:cubicBezTo>
                  <a:cubicBezTo>
                    <a:pt x="2072" y="708"/>
                    <a:pt x="2072" y="708"/>
                    <a:pt x="2072" y="708"/>
                  </a:cubicBezTo>
                  <a:cubicBezTo>
                    <a:pt x="2077" y="729"/>
                    <a:pt x="2077" y="729"/>
                    <a:pt x="2077" y="729"/>
                  </a:cubicBezTo>
                  <a:cubicBezTo>
                    <a:pt x="2067" y="750"/>
                    <a:pt x="2067" y="750"/>
                    <a:pt x="2067" y="750"/>
                  </a:cubicBezTo>
                  <a:cubicBezTo>
                    <a:pt x="2073" y="749"/>
                    <a:pt x="2078" y="748"/>
                    <a:pt x="2081" y="749"/>
                  </a:cubicBezTo>
                  <a:cubicBezTo>
                    <a:pt x="2086" y="752"/>
                    <a:pt x="2120" y="737"/>
                    <a:pt x="2120" y="737"/>
                  </a:cubicBezTo>
                  <a:cubicBezTo>
                    <a:pt x="2120" y="755"/>
                    <a:pt x="2120" y="755"/>
                    <a:pt x="2120" y="755"/>
                  </a:cubicBezTo>
                  <a:cubicBezTo>
                    <a:pt x="2120" y="755"/>
                    <a:pt x="2147" y="788"/>
                    <a:pt x="2159" y="797"/>
                  </a:cubicBezTo>
                  <a:cubicBezTo>
                    <a:pt x="2161" y="798"/>
                    <a:pt x="2162" y="799"/>
                    <a:pt x="2164" y="800"/>
                  </a:cubicBezTo>
                  <a:cubicBezTo>
                    <a:pt x="2166" y="768"/>
                    <a:pt x="2166" y="768"/>
                    <a:pt x="2166" y="768"/>
                  </a:cubicBezTo>
                  <a:cubicBezTo>
                    <a:pt x="2162" y="752"/>
                    <a:pt x="2162" y="752"/>
                    <a:pt x="2162" y="752"/>
                  </a:cubicBezTo>
                  <a:cubicBezTo>
                    <a:pt x="2162" y="752"/>
                    <a:pt x="2166" y="733"/>
                    <a:pt x="2168" y="726"/>
                  </a:cubicBezTo>
                  <a:cubicBezTo>
                    <a:pt x="2170" y="718"/>
                    <a:pt x="2173" y="681"/>
                    <a:pt x="2173" y="681"/>
                  </a:cubicBezTo>
                  <a:cubicBezTo>
                    <a:pt x="2173" y="681"/>
                    <a:pt x="2169" y="683"/>
                    <a:pt x="2158" y="676"/>
                  </a:cubicBezTo>
                  <a:cubicBezTo>
                    <a:pt x="2147" y="670"/>
                    <a:pt x="2174" y="652"/>
                    <a:pt x="2174" y="652"/>
                  </a:cubicBezTo>
                  <a:cubicBezTo>
                    <a:pt x="2174" y="652"/>
                    <a:pt x="2173" y="626"/>
                    <a:pt x="2171" y="611"/>
                  </a:cubicBezTo>
                  <a:cubicBezTo>
                    <a:pt x="2169" y="596"/>
                    <a:pt x="2177" y="574"/>
                    <a:pt x="2177" y="554"/>
                  </a:cubicBezTo>
                  <a:cubicBezTo>
                    <a:pt x="2177" y="538"/>
                    <a:pt x="2179" y="474"/>
                    <a:pt x="2179" y="454"/>
                  </a:cubicBezTo>
                  <a:close/>
                  <a:moveTo>
                    <a:pt x="228" y="446"/>
                  </a:moveTo>
                  <a:cubicBezTo>
                    <a:pt x="220" y="453"/>
                    <a:pt x="238" y="462"/>
                    <a:pt x="238" y="462"/>
                  </a:cubicBezTo>
                  <a:cubicBezTo>
                    <a:pt x="238" y="462"/>
                    <a:pt x="250" y="486"/>
                    <a:pt x="258" y="478"/>
                  </a:cubicBezTo>
                  <a:cubicBezTo>
                    <a:pt x="266" y="470"/>
                    <a:pt x="234" y="442"/>
                    <a:pt x="228" y="446"/>
                  </a:cubicBezTo>
                  <a:close/>
                  <a:moveTo>
                    <a:pt x="1691" y="739"/>
                  </a:moveTo>
                  <a:cubicBezTo>
                    <a:pt x="1701" y="745"/>
                    <a:pt x="1701" y="745"/>
                    <a:pt x="1701" y="745"/>
                  </a:cubicBezTo>
                  <a:cubicBezTo>
                    <a:pt x="1720" y="730"/>
                    <a:pt x="1720" y="730"/>
                    <a:pt x="1720" y="730"/>
                  </a:cubicBezTo>
                  <a:cubicBezTo>
                    <a:pt x="1720" y="730"/>
                    <a:pt x="1742" y="738"/>
                    <a:pt x="1742" y="716"/>
                  </a:cubicBezTo>
                  <a:cubicBezTo>
                    <a:pt x="1742" y="694"/>
                    <a:pt x="1691" y="720"/>
                    <a:pt x="1691" y="739"/>
                  </a:cubicBezTo>
                  <a:close/>
                  <a:moveTo>
                    <a:pt x="2068" y="714"/>
                  </a:moveTo>
                  <a:cubicBezTo>
                    <a:pt x="2067" y="713"/>
                    <a:pt x="2067" y="713"/>
                    <a:pt x="2067" y="713"/>
                  </a:cubicBezTo>
                  <a:cubicBezTo>
                    <a:pt x="2065" y="710"/>
                    <a:pt x="2056" y="702"/>
                    <a:pt x="2037" y="711"/>
                  </a:cubicBezTo>
                  <a:cubicBezTo>
                    <a:pt x="2015" y="721"/>
                    <a:pt x="2011" y="759"/>
                    <a:pt x="2011" y="759"/>
                  </a:cubicBezTo>
                  <a:cubicBezTo>
                    <a:pt x="2053" y="754"/>
                    <a:pt x="2053" y="754"/>
                    <a:pt x="2053" y="754"/>
                  </a:cubicBezTo>
                  <a:cubicBezTo>
                    <a:pt x="2053" y="754"/>
                    <a:pt x="2059" y="752"/>
                    <a:pt x="2066" y="750"/>
                  </a:cubicBezTo>
                  <a:cubicBezTo>
                    <a:pt x="2072" y="728"/>
                    <a:pt x="2072" y="728"/>
                    <a:pt x="2072" y="728"/>
                  </a:cubicBezTo>
                  <a:lnTo>
                    <a:pt x="2068" y="714"/>
                  </a:lnTo>
                  <a:close/>
                  <a:moveTo>
                    <a:pt x="1857" y="631"/>
                  </a:moveTo>
                  <a:cubicBezTo>
                    <a:pt x="1847" y="641"/>
                    <a:pt x="1847" y="641"/>
                    <a:pt x="1847" y="641"/>
                  </a:cubicBezTo>
                  <a:cubicBezTo>
                    <a:pt x="1849" y="676"/>
                    <a:pt x="1849" y="676"/>
                    <a:pt x="1849" y="676"/>
                  </a:cubicBezTo>
                  <a:cubicBezTo>
                    <a:pt x="1860" y="679"/>
                    <a:pt x="1860" y="679"/>
                    <a:pt x="1860" y="679"/>
                  </a:cubicBezTo>
                  <a:cubicBezTo>
                    <a:pt x="1859" y="666"/>
                    <a:pt x="1859" y="666"/>
                    <a:pt x="1859" y="666"/>
                  </a:cubicBezTo>
                  <a:cubicBezTo>
                    <a:pt x="1866" y="663"/>
                    <a:pt x="1866" y="663"/>
                    <a:pt x="1866" y="663"/>
                  </a:cubicBezTo>
                  <a:cubicBezTo>
                    <a:pt x="1865" y="648"/>
                    <a:pt x="1865" y="648"/>
                    <a:pt x="1865" y="648"/>
                  </a:cubicBezTo>
                  <a:cubicBezTo>
                    <a:pt x="1856" y="648"/>
                    <a:pt x="1856" y="648"/>
                    <a:pt x="1856" y="648"/>
                  </a:cubicBezTo>
                  <a:cubicBezTo>
                    <a:pt x="1868" y="628"/>
                    <a:pt x="1868" y="628"/>
                    <a:pt x="1868" y="628"/>
                  </a:cubicBezTo>
                  <a:cubicBezTo>
                    <a:pt x="1881" y="606"/>
                    <a:pt x="1881" y="606"/>
                    <a:pt x="1881" y="606"/>
                  </a:cubicBezTo>
                  <a:cubicBezTo>
                    <a:pt x="1862" y="610"/>
                    <a:pt x="1862" y="610"/>
                    <a:pt x="1862" y="610"/>
                  </a:cubicBezTo>
                  <a:lnTo>
                    <a:pt x="1857" y="631"/>
                  </a:lnTo>
                  <a:close/>
                  <a:moveTo>
                    <a:pt x="1427" y="403"/>
                  </a:moveTo>
                  <a:cubicBezTo>
                    <a:pt x="1427" y="403"/>
                    <a:pt x="1405" y="391"/>
                    <a:pt x="1398" y="394"/>
                  </a:cubicBezTo>
                  <a:cubicBezTo>
                    <a:pt x="1392" y="397"/>
                    <a:pt x="1389" y="406"/>
                    <a:pt x="1389" y="406"/>
                  </a:cubicBezTo>
                  <a:cubicBezTo>
                    <a:pt x="1396" y="420"/>
                    <a:pt x="1427" y="415"/>
                    <a:pt x="1427" y="415"/>
                  </a:cubicBezTo>
                  <a:cubicBezTo>
                    <a:pt x="1480" y="405"/>
                    <a:pt x="1480" y="405"/>
                    <a:pt x="1480" y="405"/>
                  </a:cubicBezTo>
                  <a:lnTo>
                    <a:pt x="1427" y="403"/>
                  </a:lnTo>
                  <a:close/>
                  <a:moveTo>
                    <a:pt x="879" y="696"/>
                  </a:moveTo>
                  <a:cubicBezTo>
                    <a:pt x="917" y="669"/>
                    <a:pt x="917" y="669"/>
                    <a:pt x="917" y="669"/>
                  </a:cubicBezTo>
                  <a:cubicBezTo>
                    <a:pt x="914" y="663"/>
                    <a:pt x="914" y="663"/>
                    <a:pt x="914" y="663"/>
                  </a:cubicBezTo>
                  <a:cubicBezTo>
                    <a:pt x="914" y="663"/>
                    <a:pt x="864" y="667"/>
                    <a:pt x="863" y="677"/>
                  </a:cubicBezTo>
                  <a:cubicBezTo>
                    <a:pt x="858" y="702"/>
                    <a:pt x="879" y="696"/>
                    <a:pt x="879" y="696"/>
                  </a:cubicBezTo>
                  <a:close/>
                  <a:moveTo>
                    <a:pt x="959" y="747"/>
                  </a:moveTo>
                  <a:cubicBezTo>
                    <a:pt x="949" y="747"/>
                    <a:pt x="933" y="747"/>
                    <a:pt x="933" y="747"/>
                  </a:cubicBezTo>
                  <a:cubicBezTo>
                    <a:pt x="930" y="766"/>
                    <a:pt x="930" y="766"/>
                    <a:pt x="930" y="766"/>
                  </a:cubicBezTo>
                  <a:cubicBezTo>
                    <a:pt x="930" y="766"/>
                    <a:pt x="940" y="794"/>
                    <a:pt x="953" y="783"/>
                  </a:cubicBezTo>
                  <a:cubicBezTo>
                    <a:pt x="966" y="773"/>
                    <a:pt x="969" y="747"/>
                    <a:pt x="959" y="747"/>
                  </a:cubicBezTo>
                  <a:close/>
                  <a:moveTo>
                    <a:pt x="475" y="622"/>
                  </a:moveTo>
                  <a:cubicBezTo>
                    <a:pt x="480" y="617"/>
                    <a:pt x="480" y="602"/>
                    <a:pt x="480" y="602"/>
                  </a:cubicBezTo>
                  <a:cubicBezTo>
                    <a:pt x="499" y="620"/>
                    <a:pt x="499" y="620"/>
                    <a:pt x="499" y="620"/>
                  </a:cubicBezTo>
                  <a:cubicBezTo>
                    <a:pt x="499" y="620"/>
                    <a:pt x="507" y="597"/>
                    <a:pt x="507" y="581"/>
                  </a:cubicBezTo>
                  <a:cubicBezTo>
                    <a:pt x="507" y="565"/>
                    <a:pt x="516" y="521"/>
                    <a:pt x="516" y="521"/>
                  </a:cubicBezTo>
                  <a:cubicBezTo>
                    <a:pt x="516" y="521"/>
                    <a:pt x="507" y="516"/>
                    <a:pt x="507" y="506"/>
                  </a:cubicBezTo>
                  <a:cubicBezTo>
                    <a:pt x="507" y="497"/>
                    <a:pt x="526" y="482"/>
                    <a:pt x="520" y="477"/>
                  </a:cubicBezTo>
                  <a:cubicBezTo>
                    <a:pt x="515" y="472"/>
                    <a:pt x="510" y="468"/>
                    <a:pt x="510" y="468"/>
                  </a:cubicBezTo>
                  <a:cubicBezTo>
                    <a:pt x="502" y="437"/>
                    <a:pt x="502" y="437"/>
                    <a:pt x="502" y="437"/>
                  </a:cubicBezTo>
                  <a:cubicBezTo>
                    <a:pt x="474" y="438"/>
                    <a:pt x="474" y="438"/>
                    <a:pt x="474" y="438"/>
                  </a:cubicBezTo>
                  <a:cubicBezTo>
                    <a:pt x="474" y="438"/>
                    <a:pt x="478" y="420"/>
                    <a:pt x="471" y="416"/>
                  </a:cubicBezTo>
                  <a:cubicBezTo>
                    <a:pt x="464" y="412"/>
                    <a:pt x="450" y="413"/>
                    <a:pt x="450" y="413"/>
                  </a:cubicBezTo>
                  <a:cubicBezTo>
                    <a:pt x="444" y="366"/>
                    <a:pt x="444" y="366"/>
                    <a:pt x="444" y="366"/>
                  </a:cubicBezTo>
                  <a:cubicBezTo>
                    <a:pt x="444" y="366"/>
                    <a:pt x="402" y="370"/>
                    <a:pt x="399" y="357"/>
                  </a:cubicBezTo>
                  <a:cubicBezTo>
                    <a:pt x="396" y="344"/>
                    <a:pt x="410" y="328"/>
                    <a:pt x="410" y="328"/>
                  </a:cubicBezTo>
                  <a:cubicBezTo>
                    <a:pt x="394" y="326"/>
                    <a:pt x="394" y="326"/>
                    <a:pt x="394" y="326"/>
                  </a:cubicBezTo>
                  <a:cubicBezTo>
                    <a:pt x="394" y="326"/>
                    <a:pt x="419" y="297"/>
                    <a:pt x="410" y="289"/>
                  </a:cubicBezTo>
                  <a:cubicBezTo>
                    <a:pt x="400" y="281"/>
                    <a:pt x="358" y="300"/>
                    <a:pt x="358" y="300"/>
                  </a:cubicBezTo>
                  <a:cubicBezTo>
                    <a:pt x="358" y="300"/>
                    <a:pt x="383" y="276"/>
                    <a:pt x="375" y="272"/>
                  </a:cubicBezTo>
                  <a:cubicBezTo>
                    <a:pt x="367" y="268"/>
                    <a:pt x="343" y="264"/>
                    <a:pt x="343" y="264"/>
                  </a:cubicBezTo>
                  <a:cubicBezTo>
                    <a:pt x="343" y="264"/>
                    <a:pt x="354" y="256"/>
                    <a:pt x="340" y="238"/>
                  </a:cubicBezTo>
                  <a:cubicBezTo>
                    <a:pt x="327" y="221"/>
                    <a:pt x="304" y="220"/>
                    <a:pt x="304" y="220"/>
                  </a:cubicBezTo>
                  <a:cubicBezTo>
                    <a:pt x="304" y="220"/>
                    <a:pt x="298" y="200"/>
                    <a:pt x="291" y="192"/>
                  </a:cubicBezTo>
                  <a:cubicBezTo>
                    <a:pt x="284" y="184"/>
                    <a:pt x="275" y="190"/>
                    <a:pt x="275" y="190"/>
                  </a:cubicBezTo>
                  <a:cubicBezTo>
                    <a:pt x="279" y="205"/>
                    <a:pt x="279" y="205"/>
                    <a:pt x="279" y="205"/>
                  </a:cubicBezTo>
                  <a:cubicBezTo>
                    <a:pt x="279" y="205"/>
                    <a:pt x="254" y="186"/>
                    <a:pt x="248" y="180"/>
                  </a:cubicBezTo>
                  <a:cubicBezTo>
                    <a:pt x="243" y="173"/>
                    <a:pt x="232" y="146"/>
                    <a:pt x="232" y="146"/>
                  </a:cubicBezTo>
                  <a:cubicBezTo>
                    <a:pt x="232" y="146"/>
                    <a:pt x="202" y="125"/>
                    <a:pt x="188" y="113"/>
                  </a:cubicBezTo>
                  <a:cubicBezTo>
                    <a:pt x="175" y="101"/>
                    <a:pt x="152" y="82"/>
                    <a:pt x="152" y="82"/>
                  </a:cubicBezTo>
                  <a:cubicBezTo>
                    <a:pt x="152" y="82"/>
                    <a:pt x="156" y="77"/>
                    <a:pt x="151" y="72"/>
                  </a:cubicBezTo>
                  <a:cubicBezTo>
                    <a:pt x="146" y="66"/>
                    <a:pt x="139" y="60"/>
                    <a:pt x="139" y="60"/>
                  </a:cubicBezTo>
                  <a:cubicBezTo>
                    <a:pt x="139" y="60"/>
                    <a:pt x="128" y="41"/>
                    <a:pt x="120" y="34"/>
                  </a:cubicBezTo>
                  <a:cubicBezTo>
                    <a:pt x="112" y="28"/>
                    <a:pt x="104" y="29"/>
                    <a:pt x="104" y="29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27" y="0"/>
                    <a:pt x="16" y="2"/>
                  </a:cubicBezTo>
                  <a:cubicBezTo>
                    <a:pt x="6" y="5"/>
                    <a:pt x="0" y="29"/>
                    <a:pt x="7" y="41"/>
                  </a:cubicBezTo>
                  <a:cubicBezTo>
                    <a:pt x="14" y="53"/>
                    <a:pt x="88" y="121"/>
                    <a:pt x="88" y="121"/>
                  </a:cubicBezTo>
                  <a:cubicBezTo>
                    <a:pt x="111" y="157"/>
                    <a:pt x="111" y="157"/>
                    <a:pt x="111" y="157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19" y="154"/>
                    <a:pt x="122" y="178"/>
                    <a:pt x="128" y="184"/>
                  </a:cubicBezTo>
                  <a:cubicBezTo>
                    <a:pt x="135" y="189"/>
                    <a:pt x="170" y="202"/>
                    <a:pt x="178" y="218"/>
                  </a:cubicBezTo>
                  <a:cubicBezTo>
                    <a:pt x="186" y="234"/>
                    <a:pt x="194" y="266"/>
                    <a:pt x="194" y="266"/>
                  </a:cubicBezTo>
                  <a:cubicBezTo>
                    <a:pt x="194" y="266"/>
                    <a:pt x="191" y="301"/>
                    <a:pt x="199" y="301"/>
                  </a:cubicBezTo>
                  <a:cubicBezTo>
                    <a:pt x="207" y="301"/>
                    <a:pt x="219" y="293"/>
                    <a:pt x="222" y="302"/>
                  </a:cubicBezTo>
                  <a:cubicBezTo>
                    <a:pt x="224" y="312"/>
                    <a:pt x="230" y="328"/>
                    <a:pt x="230" y="328"/>
                  </a:cubicBezTo>
                  <a:cubicBezTo>
                    <a:pt x="255" y="349"/>
                    <a:pt x="255" y="349"/>
                    <a:pt x="255" y="349"/>
                  </a:cubicBezTo>
                  <a:cubicBezTo>
                    <a:pt x="254" y="365"/>
                    <a:pt x="254" y="365"/>
                    <a:pt x="254" y="365"/>
                  </a:cubicBezTo>
                  <a:cubicBezTo>
                    <a:pt x="275" y="408"/>
                    <a:pt x="275" y="408"/>
                    <a:pt x="275" y="408"/>
                  </a:cubicBezTo>
                  <a:cubicBezTo>
                    <a:pt x="275" y="408"/>
                    <a:pt x="268" y="421"/>
                    <a:pt x="278" y="436"/>
                  </a:cubicBezTo>
                  <a:cubicBezTo>
                    <a:pt x="287" y="450"/>
                    <a:pt x="296" y="453"/>
                    <a:pt x="296" y="453"/>
                  </a:cubicBezTo>
                  <a:cubicBezTo>
                    <a:pt x="296" y="453"/>
                    <a:pt x="306" y="477"/>
                    <a:pt x="314" y="485"/>
                  </a:cubicBezTo>
                  <a:cubicBezTo>
                    <a:pt x="322" y="493"/>
                    <a:pt x="343" y="501"/>
                    <a:pt x="343" y="501"/>
                  </a:cubicBezTo>
                  <a:cubicBezTo>
                    <a:pt x="343" y="526"/>
                    <a:pt x="343" y="526"/>
                    <a:pt x="343" y="526"/>
                  </a:cubicBezTo>
                  <a:cubicBezTo>
                    <a:pt x="343" y="526"/>
                    <a:pt x="392" y="568"/>
                    <a:pt x="395" y="572"/>
                  </a:cubicBezTo>
                  <a:cubicBezTo>
                    <a:pt x="398" y="576"/>
                    <a:pt x="411" y="577"/>
                    <a:pt x="411" y="577"/>
                  </a:cubicBezTo>
                  <a:cubicBezTo>
                    <a:pt x="411" y="577"/>
                    <a:pt x="422" y="602"/>
                    <a:pt x="430" y="606"/>
                  </a:cubicBezTo>
                  <a:cubicBezTo>
                    <a:pt x="438" y="610"/>
                    <a:pt x="440" y="632"/>
                    <a:pt x="444" y="630"/>
                  </a:cubicBezTo>
                  <a:cubicBezTo>
                    <a:pt x="448" y="629"/>
                    <a:pt x="442" y="608"/>
                    <a:pt x="447" y="605"/>
                  </a:cubicBezTo>
                  <a:cubicBezTo>
                    <a:pt x="452" y="602"/>
                    <a:pt x="470" y="628"/>
                    <a:pt x="475" y="622"/>
                  </a:cubicBezTo>
                  <a:close/>
                  <a:moveTo>
                    <a:pt x="1416" y="798"/>
                  </a:moveTo>
                  <a:cubicBezTo>
                    <a:pt x="1409" y="784"/>
                    <a:pt x="1409" y="784"/>
                    <a:pt x="1409" y="784"/>
                  </a:cubicBezTo>
                  <a:cubicBezTo>
                    <a:pt x="1404" y="785"/>
                    <a:pt x="1397" y="786"/>
                    <a:pt x="1392" y="790"/>
                  </a:cubicBezTo>
                  <a:cubicBezTo>
                    <a:pt x="1380" y="797"/>
                    <a:pt x="1380" y="812"/>
                    <a:pt x="1380" y="812"/>
                  </a:cubicBezTo>
                  <a:cubicBezTo>
                    <a:pt x="1380" y="812"/>
                    <a:pt x="1369" y="809"/>
                    <a:pt x="1357" y="820"/>
                  </a:cubicBezTo>
                  <a:cubicBezTo>
                    <a:pt x="1345" y="832"/>
                    <a:pt x="1322" y="855"/>
                    <a:pt x="1342" y="870"/>
                  </a:cubicBezTo>
                  <a:cubicBezTo>
                    <a:pt x="1353" y="879"/>
                    <a:pt x="1393" y="842"/>
                    <a:pt x="1408" y="828"/>
                  </a:cubicBezTo>
                  <a:cubicBezTo>
                    <a:pt x="1405" y="827"/>
                    <a:pt x="1402" y="823"/>
                    <a:pt x="1406" y="817"/>
                  </a:cubicBezTo>
                  <a:cubicBezTo>
                    <a:pt x="1412" y="805"/>
                    <a:pt x="1416" y="798"/>
                    <a:pt x="1416" y="798"/>
                  </a:cubicBezTo>
                  <a:close/>
                  <a:moveTo>
                    <a:pt x="921" y="753"/>
                  </a:moveTo>
                  <a:cubicBezTo>
                    <a:pt x="921" y="734"/>
                    <a:pt x="894" y="734"/>
                    <a:pt x="879" y="731"/>
                  </a:cubicBezTo>
                  <a:cubicBezTo>
                    <a:pt x="865" y="728"/>
                    <a:pt x="866" y="759"/>
                    <a:pt x="866" y="759"/>
                  </a:cubicBezTo>
                  <a:cubicBezTo>
                    <a:pt x="841" y="740"/>
                    <a:pt x="841" y="740"/>
                    <a:pt x="841" y="740"/>
                  </a:cubicBezTo>
                  <a:cubicBezTo>
                    <a:pt x="841" y="740"/>
                    <a:pt x="847" y="724"/>
                    <a:pt x="847" y="700"/>
                  </a:cubicBezTo>
                  <a:cubicBezTo>
                    <a:pt x="847" y="677"/>
                    <a:pt x="799" y="686"/>
                    <a:pt x="799" y="686"/>
                  </a:cubicBezTo>
                  <a:cubicBezTo>
                    <a:pt x="778" y="674"/>
                    <a:pt x="778" y="674"/>
                    <a:pt x="778" y="674"/>
                  </a:cubicBezTo>
                  <a:cubicBezTo>
                    <a:pt x="775" y="659"/>
                    <a:pt x="775" y="659"/>
                    <a:pt x="775" y="659"/>
                  </a:cubicBezTo>
                  <a:cubicBezTo>
                    <a:pt x="749" y="659"/>
                    <a:pt x="749" y="659"/>
                    <a:pt x="749" y="659"/>
                  </a:cubicBezTo>
                  <a:cubicBezTo>
                    <a:pt x="749" y="659"/>
                    <a:pt x="744" y="680"/>
                    <a:pt x="744" y="684"/>
                  </a:cubicBezTo>
                  <a:cubicBezTo>
                    <a:pt x="744" y="688"/>
                    <a:pt x="709" y="677"/>
                    <a:pt x="693" y="674"/>
                  </a:cubicBezTo>
                  <a:cubicBezTo>
                    <a:pt x="677" y="671"/>
                    <a:pt x="648" y="672"/>
                    <a:pt x="648" y="672"/>
                  </a:cubicBezTo>
                  <a:cubicBezTo>
                    <a:pt x="648" y="672"/>
                    <a:pt x="630" y="650"/>
                    <a:pt x="621" y="640"/>
                  </a:cubicBezTo>
                  <a:cubicBezTo>
                    <a:pt x="612" y="630"/>
                    <a:pt x="598" y="641"/>
                    <a:pt x="598" y="641"/>
                  </a:cubicBezTo>
                  <a:cubicBezTo>
                    <a:pt x="598" y="641"/>
                    <a:pt x="573" y="628"/>
                    <a:pt x="567" y="627"/>
                  </a:cubicBezTo>
                  <a:cubicBezTo>
                    <a:pt x="561" y="625"/>
                    <a:pt x="535" y="624"/>
                    <a:pt x="535" y="624"/>
                  </a:cubicBezTo>
                  <a:cubicBezTo>
                    <a:pt x="535" y="624"/>
                    <a:pt x="524" y="615"/>
                    <a:pt x="511" y="619"/>
                  </a:cubicBezTo>
                  <a:cubicBezTo>
                    <a:pt x="498" y="624"/>
                    <a:pt x="498" y="652"/>
                    <a:pt x="491" y="656"/>
                  </a:cubicBezTo>
                  <a:cubicBezTo>
                    <a:pt x="483" y="661"/>
                    <a:pt x="469" y="666"/>
                    <a:pt x="472" y="677"/>
                  </a:cubicBezTo>
                  <a:cubicBezTo>
                    <a:pt x="496" y="672"/>
                    <a:pt x="496" y="672"/>
                    <a:pt x="496" y="672"/>
                  </a:cubicBezTo>
                  <a:cubicBezTo>
                    <a:pt x="527" y="675"/>
                    <a:pt x="527" y="675"/>
                    <a:pt x="527" y="675"/>
                  </a:cubicBezTo>
                  <a:cubicBezTo>
                    <a:pt x="527" y="675"/>
                    <a:pt x="504" y="688"/>
                    <a:pt x="514" y="699"/>
                  </a:cubicBezTo>
                  <a:cubicBezTo>
                    <a:pt x="524" y="709"/>
                    <a:pt x="558" y="691"/>
                    <a:pt x="558" y="691"/>
                  </a:cubicBezTo>
                  <a:cubicBezTo>
                    <a:pt x="558" y="691"/>
                    <a:pt x="608" y="718"/>
                    <a:pt x="623" y="722"/>
                  </a:cubicBezTo>
                  <a:cubicBezTo>
                    <a:pt x="637" y="727"/>
                    <a:pt x="687" y="728"/>
                    <a:pt x="705" y="728"/>
                  </a:cubicBezTo>
                  <a:cubicBezTo>
                    <a:pt x="722" y="728"/>
                    <a:pt x="727" y="747"/>
                    <a:pt x="737" y="756"/>
                  </a:cubicBezTo>
                  <a:cubicBezTo>
                    <a:pt x="747" y="765"/>
                    <a:pt x="780" y="771"/>
                    <a:pt x="794" y="772"/>
                  </a:cubicBezTo>
                  <a:cubicBezTo>
                    <a:pt x="809" y="774"/>
                    <a:pt x="815" y="771"/>
                    <a:pt x="837" y="772"/>
                  </a:cubicBezTo>
                  <a:cubicBezTo>
                    <a:pt x="859" y="774"/>
                    <a:pt x="877" y="801"/>
                    <a:pt x="885" y="806"/>
                  </a:cubicBezTo>
                  <a:cubicBezTo>
                    <a:pt x="894" y="810"/>
                    <a:pt x="904" y="801"/>
                    <a:pt x="904" y="801"/>
                  </a:cubicBezTo>
                  <a:cubicBezTo>
                    <a:pt x="904" y="801"/>
                    <a:pt x="921" y="810"/>
                    <a:pt x="921" y="804"/>
                  </a:cubicBezTo>
                  <a:cubicBezTo>
                    <a:pt x="921" y="793"/>
                    <a:pt x="910" y="778"/>
                    <a:pt x="910" y="778"/>
                  </a:cubicBezTo>
                  <a:cubicBezTo>
                    <a:pt x="910" y="778"/>
                    <a:pt x="921" y="772"/>
                    <a:pt x="921" y="753"/>
                  </a:cubicBezTo>
                  <a:close/>
                  <a:moveTo>
                    <a:pt x="1004" y="484"/>
                  </a:moveTo>
                  <a:cubicBezTo>
                    <a:pt x="1004" y="484"/>
                    <a:pt x="1025" y="467"/>
                    <a:pt x="1031" y="460"/>
                  </a:cubicBezTo>
                  <a:cubicBezTo>
                    <a:pt x="1036" y="453"/>
                    <a:pt x="1055" y="403"/>
                    <a:pt x="1055" y="403"/>
                  </a:cubicBezTo>
                  <a:cubicBezTo>
                    <a:pt x="1055" y="403"/>
                    <a:pt x="1037" y="401"/>
                    <a:pt x="1034" y="388"/>
                  </a:cubicBezTo>
                  <a:cubicBezTo>
                    <a:pt x="1031" y="376"/>
                    <a:pt x="1037" y="361"/>
                    <a:pt x="1042" y="348"/>
                  </a:cubicBezTo>
                  <a:cubicBezTo>
                    <a:pt x="1048" y="334"/>
                    <a:pt x="1070" y="336"/>
                    <a:pt x="1083" y="334"/>
                  </a:cubicBezTo>
                  <a:cubicBezTo>
                    <a:pt x="1095" y="333"/>
                    <a:pt x="1102" y="309"/>
                    <a:pt x="1101" y="301"/>
                  </a:cubicBezTo>
                  <a:cubicBezTo>
                    <a:pt x="1099" y="293"/>
                    <a:pt x="1079" y="301"/>
                    <a:pt x="1079" y="301"/>
                  </a:cubicBezTo>
                  <a:cubicBezTo>
                    <a:pt x="1079" y="301"/>
                    <a:pt x="1076" y="288"/>
                    <a:pt x="1088" y="275"/>
                  </a:cubicBezTo>
                  <a:cubicBezTo>
                    <a:pt x="1101" y="264"/>
                    <a:pt x="1128" y="269"/>
                    <a:pt x="1139" y="271"/>
                  </a:cubicBezTo>
                  <a:cubicBezTo>
                    <a:pt x="1150" y="274"/>
                    <a:pt x="1150" y="257"/>
                    <a:pt x="1150" y="257"/>
                  </a:cubicBezTo>
                  <a:cubicBezTo>
                    <a:pt x="1124" y="235"/>
                    <a:pt x="1124" y="235"/>
                    <a:pt x="1124" y="235"/>
                  </a:cubicBezTo>
                  <a:cubicBezTo>
                    <a:pt x="1124" y="208"/>
                    <a:pt x="1124" y="208"/>
                    <a:pt x="1124" y="208"/>
                  </a:cubicBezTo>
                  <a:cubicBezTo>
                    <a:pt x="1124" y="208"/>
                    <a:pt x="1105" y="207"/>
                    <a:pt x="1105" y="199"/>
                  </a:cubicBezTo>
                  <a:cubicBezTo>
                    <a:pt x="1105" y="191"/>
                    <a:pt x="1117" y="179"/>
                    <a:pt x="1116" y="168"/>
                  </a:cubicBezTo>
                  <a:cubicBezTo>
                    <a:pt x="1115" y="156"/>
                    <a:pt x="1082" y="153"/>
                    <a:pt x="1082" y="153"/>
                  </a:cubicBezTo>
                  <a:cubicBezTo>
                    <a:pt x="1093" y="135"/>
                    <a:pt x="1093" y="135"/>
                    <a:pt x="1093" y="135"/>
                  </a:cubicBezTo>
                  <a:cubicBezTo>
                    <a:pt x="1082" y="130"/>
                    <a:pt x="1082" y="130"/>
                    <a:pt x="1082" y="130"/>
                  </a:cubicBezTo>
                  <a:cubicBezTo>
                    <a:pt x="1086" y="110"/>
                    <a:pt x="1086" y="110"/>
                    <a:pt x="1086" y="110"/>
                  </a:cubicBezTo>
                  <a:cubicBezTo>
                    <a:pt x="1078" y="99"/>
                    <a:pt x="1078" y="99"/>
                    <a:pt x="1078" y="99"/>
                  </a:cubicBezTo>
                  <a:cubicBezTo>
                    <a:pt x="1070" y="92"/>
                    <a:pt x="1051" y="75"/>
                    <a:pt x="1047" y="75"/>
                  </a:cubicBezTo>
                  <a:cubicBezTo>
                    <a:pt x="1043" y="74"/>
                    <a:pt x="1002" y="73"/>
                    <a:pt x="987" y="74"/>
                  </a:cubicBezTo>
                  <a:cubicBezTo>
                    <a:pt x="973" y="75"/>
                    <a:pt x="980" y="97"/>
                    <a:pt x="978" y="113"/>
                  </a:cubicBezTo>
                  <a:cubicBezTo>
                    <a:pt x="977" y="129"/>
                    <a:pt x="968" y="144"/>
                    <a:pt x="968" y="144"/>
                  </a:cubicBezTo>
                  <a:cubicBezTo>
                    <a:pt x="968" y="144"/>
                    <a:pt x="961" y="143"/>
                    <a:pt x="955" y="152"/>
                  </a:cubicBezTo>
                  <a:cubicBezTo>
                    <a:pt x="948" y="161"/>
                    <a:pt x="960" y="177"/>
                    <a:pt x="960" y="177"/>
                  </a:cubicBezTo>
                  <a:cubicBezTo>
                    <a:pt x="938" y="196"/>
                    <a:pt x="938" y="196"/>
                    <a:pt x="938" y="196"/>
                  </a:cubicBezTo>
                  <a:cubicBezTo>
                    <a:pt x="939" y="208"/>
                    <a:pt x="939" y="208"/>
                    <a:pt x="939" y="208"/>
                  </a:cubicBezTo>
                  <a:cubicBezTo>
                    <a:pt x="922" y="231"/>
                    <a:pt x="922" y="231"/>
                    <a:pt x="922" y="231"/>
                  </a:cubicBezTo>
                  <a:cubicBezTo>
                    <a:pt x="906" y="231"/>
                    <a:pt x="906" y="231"/>
                    <a:pt x="906" y="231"/>
                  </a:cubicBezTo>
                  <a:cubicBezTo>
                    <a:pt x="906" y="231"/>
                    <a:pt x="888" y="244"/>
                    <a:pt x="885" y="244"/>
                  </a:cubicBezTo>
                  <a:cubicBezTo>
                    <a:pt x="882" y="245"/>
                    <a:pt x="857" y="229"/>
                    <a:pt x="853" y="227"/>
                  </a:cubicBezTo>
                  <a:cubicBezTo>
                    <a:pt x="849" y="224"/>
                    <a:pt x="824" y="227"/>
                    <a:pt x="824" y="227"/>
                  </a:cubicBezTo>
                  <a:cubicBezTo>
                    <a:pt x="824" y="227"/>
                    <a:pt x="811" y="248"/>
                    <a:pt x="801" y="254"/>
                  </a:cubicBezTo>
                  <a:cubicBezTo>
                    <a:pt x="791" y="260"/>
                    <a:pt x="778" y="251"/>
                    <a:pt x="764" y="251"/>
                  </a:cubicBezTo>
                  <a:cubicBezTo>
                    <a:pt x="749" y="251"/>
                    <a:pt x="750" y="259"/>
                    <a:pt x="746" y="261"/>
                  </a:cubicBezTo>
                  <a:cubicBezTo>
                    <a:pt x="742" y="264"/>
                    <a:pt x="720" y="256"/>
                    <a:pt x="712" y="247"/>
                  </a:cubicBezTo>
                  <a:cubicBezTo>
                    <a:pt x="708" y="243"/>
                    <a:pt x="706" y="237"/>
                    <a:pt x="703" y="231"/>
                  </a:cubicBezTo>
                  <a:cubicBezTo>
                    <a:pt x="703" y="231"/>
                    <a:pt x="703" y="231"/>
                    <a:pt x="703" y="231"/>
                  </a:cubicBezTo>
                  <a:cubicBezTo>
                    <a:pt x="703" y="231"/>
                    <a:pt x="684" y="213"/>
                    <a:pt x="671" y="227"/>
                  </a:cubicBezTo>
                  <a:cubicBezTo>
                    <a:pt x="657" y="242"/>
                    <a:pt x="650" y="278"/>
                    <a:pt x="650" y="278"/>
                  </a:cubicBezTo>
                  <a:cubicBezTo>
                    <a:pt x="666" y="300"/>
                    <a:pt x="666" y="300"/>
                    <a:pt x="666" y="300"/>
                  </a:cubicBezTo>
                  <a:cubicBezTo>
                    <a:pt x="673" y="335"/>
                    <a:pt x="673" y="335"/>
                    <a:pt x="673" y="335"/>
                  </a:cubicBezTo>
                  <a:cubicBezTo>
                    <a:pt x="704" y="353"/>
                    <a:pt x="704" y="353"/>
                    <a:pt x="704" y="353"/>
                  </a:cubicBezTo>
                  <a:cubicBezTo>
                    <a:pt x="699" y="377"/>
                    <a:pt x="699" y="377"/>
                    <a:pt x="699" y="377"/>
                  </a:cubicBezTo>
                  <a:cubicBezTo>
                    <a:pt x="716" y="388"/>
                    <a:pt x="716" y="388"/>
                    <a:pt x="716" y="388"/>
                  </a:cubicBezTo>
                  <a:cubicBezTo>
                    <a:pt x="705" y="407"/>
                    <a:pt x="705" y="407"/>
                    <a:pt x="705" y="407"/>
                  </a:cubicBezTo>
                  <a:cubicBezTo>
                    <a:pt x="718" y="425"/>
                    <a:pt x="718" y="425"/>
                    <a:pt x="718" y="425"/>
                  </a:cubicBezTo>
                  <a:cubicBezTo>
                    <a:pt x="707" y="432"/>
                    <a:pt x="707" y="432"/>
                    <a:pt x="707" y="432"/>
                  </a:cubicBezTo>
                  <a:cubicBezTo>
                    <a:pt x="717" y="470"/>
                    <a:pt x="717" y="470"/>
                    <a:pt x="717" y="470"/>
                  </a:cubicBezTo>
                  <a:cubicBezTo>
                    <a:pt x="745" y="466"/>
                    <a:pt x="745" y="466"/>
                    <a:pt x="745" y="466"/>
                  </a:cubicBezTo>
                  <a:cubicBezTo>
                    <a:pt x="765" y="473"/>
                    <a:pt x="765" y="473"/>
                    <a:pt x="765" y="473"/>
                  </a:cubicBezTo>
                  <a:cubicBezTo>
                    <a:pt x="765" y="473"/>
                    <a:pt x="777" y="451"/>
                    <a:pt x="789" y="451"/>
                  </a:cubicBezTo>
                  <a:cubicBezTo>
                    <a:pt x="801" y="451"/>
                    <a:pt x="789" y="483"/>
                    <a:pt x="801" y="493"/>
                  </a:cubicBezTo>
                  <a:cubicBezTo>
                    <a:pt x="812" y="502"/>
                    <a:pt x="822" y="472"/>
                    <a:pt x="822" y="472"/>
                  </a:cubicBezTo>
                  <a:cubicBezTo>
                    <a:pt x="840" y="484"/>
                    <a:pt x="840" y="484"/>
                    <a:pt x="840" y="484"/>
                  </a:cubicBezTo>
                  <a:cubicBezTo>
                    <a:pt x="840" y="484"/>
                    <a:pt x="856" y="470"/>
                    <a:pt x="865" y="470"/>
                  </a:cubicBezTo>
                  <a:cubicBezTo>
                    <a:pt x="874" y="469"/>
                    <a:pt x="868" y="495"/>
                    <a:pt x="878" y="498"/>
                  </a:cubicBezTo>
                  <a:cubicBezTo>
                    <a:pt x="888" y="502"/>
                    <a:pt x="919" y="486"/>
                    <a:pt x="935" y="489"/>
                  </a:cubicBezTo>
                  <a:cubicBezTo>
                    <a:pt x="951" y="493"/>
                    <a:pt x="936" y="542"/>
                    <a:pt x="936" y="542"/>
                  </a:cubicBezTo>
                  <a:cubicBezTo>
                    <a:pt x="936" y="542"/>
                    <a:pt x="950" y="538"/>
                    <a:pt x="966" y="531"/>
                  </a:cubicBezTo>
                  <a:cubicBezTo>
                    <a:pt x="982" y="523"/>
                    <a:pt x="1004" y="484"/>
                    <a:pt x="1004" y="484"/>
                  </a:cubicBezTo>
                  <a:close/>
                  <a:moveTo>
                    <a:pt x="990" y="745"/>
                  </a:moveTo>
                  <a:cubicBezTo>
                    <a:pt x="980" y="744"/>
                    <a:pt x="974" y="755"/>
                    <a:pt x="974" y="755"/>
                  </a:cubicBezTo>
                  <a:cubicBezTo>
                    <a:pt x="974" y="755"/>
                    <a:pt x="991" y="770"/>
                    <a:pt x="1002" y="763"/>
                  </a:cubicBezTo>
                  <a:cubicBezTo>
                    <a:pt x="1012" y="755"/>
                    <a:pt x="1000" y="747"/>
                    <a:pt x="990" y="745"/>
                  </a:cubicBezTo>
                  <a:close/>
                  <a:moveTo>
                    <a:pt x="1148" y="822"/>
                  </a:moveTo>
                  <a:cubicBezTo>
                    <a:pt x="1125" y="815"/>
                    <a:pt x="1125" y="815"/>
                    <a:pt x="1125" y="815"/>
                  </a:cubicBezTo>
                  <a:cubicBezTo>
                    <a:pt x="1118" y="821"/>
                    <a:pt x="1119" y="822"/>
                    <a:pt x="1129" y="838"/>
                  </a:cubicBezTo>
                  <a:cubicBezTo>
                    <a:pt x="1140" y="854"/>
                    <a:pt x="1147" y="843"/>
                    <a:pt x="1160" y="843"/>
                  </a:cubicBezTo>
                  <a:cubicBezTo>
                    <a:pt x="1173" y="843"/>
                    <a:pt x="1163" y="852"/>
                    <a:pt x="1173" y="862"/>
                  </a:cubicBezTo>
                  <a:cubicBezTo>
                    <a:pt x="1184" y="872"/>
                    <a:pt x="1204" y="863"/>
                    <a:pt x="1204" y="863"/>
                  </a:cubicBezTo>
                  <a:cubicBezTo>
                    <a:pt x="1204" y="863"/>
                    <a:pt x="1200" y="844"/>
                    <a:pt x="1187" y="827"/>
                  </a:cubicBezTo>
                  <a:cubicBezTo>
                    <a:pt x="1173" y="809"/>
                    <a:pt x="1148" y="822"/>
                    <a:pt x="1148" y="822"/>
                  </a:cubicBezTo>
                  <a:close/>
                  <a:moveTo>
                    <a:pt x="1312" y="751"/>
                  </a:moveTo>
                  <a:cubicBezTo>
                    <a:pt x="1293" y="767"/>
                    <a:pt x="1293" y="767"/>
                    <a:pt x="1293" y="767"/>
                  </a:cubicBezTo>
                  <a:cubicBezTo>
                    <a:pt x="1293" y="767"/>
                    <a:pt x="1282" y="755"/>
                    <a:pt x="1271" y="756"/>
                  </a:cubicBezTo>
                  <a:cubicBezTo>
                    <a:pt x="1261" y="758"/>
                    <a:pt x="1249" y="771"/>
                    <a:pt x="1249" y="771"/>
                  </a:cubicBezTo>
                  <a:cubicBezTo>
                    <a:pt x="1249" y="771"/>
                    <a:pt x="1239" y="745"/>
                    <a:pt x="1221" y="748"/>
                  </a:cubicBezTo>
                  <a:cubicBezTo>
                    <a:pt x="1204" y="751"/>
                    <a:pt x="1182" y="777"/>
                    <a:pt x="1182" y="777"/>
                  </a:cubicBezTo>
                  <a:cubicBezTo>
                    <a:pt x="1158" y="775"/>
                    <a:pt x="1158" y="775"/>
                    <a:pt x="1158" y="775"/>
                  </a:cubicBezTo>
                  <a:cubicBezTo>
                    <a:pt x="1151" y="787"/>
                    <a:pt x="1151" y="787"/>
                    <a:pt x="1151" y="787"/>
                  </a:cubicBezTo>
                  <a:cubicBezTo>
                    <a:pt x="1167" y="784"/>
                    <a:pt x="1167" y="784"/>
                    <a:pt x="1167" y="784"/>
                  </a:cubicBezTo>
                  <a:cubicBezTo>
                    <a:pt x="1167" y="784"/>
                    <a:pt x="1179" y="790"/>
                    <a:pt x="1191" y="795"/>
                  </a:cubicBezTo>
                  <a:cubicBezTo>
                    <a:pt x="1202" y="799"/>
                    <a:pt x="1214" y="781"/>
                    <a:pt x="1214" y="781"/>
                  </a:cubicBezTo>
                  <a:cubicBezTo>
                    <a:pt x="1276" y="780"/>
                    <a:pt x="1276" y="780"/>
                    <a:pt x="1276" y="780"/>
                  </a:cubicBezTo>
                  <a:cubicBezTo>
                    <a:pt x="1308" y="775"/>
                    <a:pt x="1308" y="775"/>
                    <a:pt x="1308" y="775"/>
                  </a:cubicBezTo>
                  <a:cubicBezTo>
                    <a:pt x="1334" y="752"/>
                    <a:pt x="1334" y="752"/>
                    <a:pt x="1334" y="752"/>
                  </a:cubicBezTo>
                  <a:cubicBezTo>
                    <a:pt x="1333" y="742"/>
                    <a:pt x="1333" y="742"/>
                    <a:pt x="1333" y="742"/>
                  </a:cubicBezTo>
                  <a:lnTo>
                    <a:pt x="1312" y="751"/>
                  </a:lnTo>
                  <a:close/>
                  <a:moveTo>
                    <a:pt x="1056" y="774"/>
                  </a:moveTo>
                  <a:cubicBezTo>
                    <a:pt x="1056" y="774"/>
                    <a:pt x="1042" y="759"/>
                    <a:pt x="1034" y="761"/>
                  </a:cubicBezTo>
                  <a:cubicBezTo>
                    <a:pt x="1025" y="762"/>
                    <a:pt x="1006" y="791"/>
                    <a:pt x="1006" y="791"/>
                  </a:cubicBezTo>
                  <a:cubicBezTo>
                    <a:pt x="1041" y="796"/>
                    <a:pt x="1041" y="796"/>
                    <a:pt x="1041" y="796"/>
                  </a:cubicBezTo>
                  <a:cubicBezTo>
                    <a:pt x="1042" y="810"/>
                    <a:pt x="1042" y="810"/>
                    <a:pt x="1042" y="810"/>
                  </a:cubicBezTo>
                  <a:cubicBezTo>
                    <a:pt x="1057" y="808"/>
                    <a:pt x="1057" y="808"/>
                    <a:pt x="1057" y="808"/>
                  </a:cubicBezTo>
                  <a:cubicBezTo>
                    <a:pt x="1063" y="794"/>
                    <a:pt x="1063" y="794"/>
                    <a:pt x="1063" y="794"/>
                  </a:cubicBezTo>
                  <a:cubicBezTo>
                    <a:pt x="1082" y="805"/>
                    <a:pt x="1082" y="805"/>
                    <a:pt x="1082" y="805"/>
                  </a:cubicBezTo>
                  <a:cubicBezTo>
                    <a:pt x="1101" y="783"/>
                    <a:pt x="1101" y="783"/>
                    <a:pt x="1101" y="783"/>
                  </a:cubicBezTo>
                  <a:cubicBezTo>
                    <a:pt x="1067" y="771"/>
                    <a:pt x="1067" y="771"/>
                    <a:pt x="1067" y="771"/>
                  </a:cubicBezTo>
                  <a:lnTo>
                    <a:pt x="1056" y="774"/>
                  </a:ln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chemeClr val="tx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" name="Freeform 337">
              <a:extLst>
                <a:ext uri="{FF2B5EF4-FFF2-40B4-BE49-F238E27FC236}">
                  <a16:creationId xmlns:a16="http://schemas.microsoft.com/office/drawing/2014/main" id="{BC1578BA-5A49-AE13-F159-2259EC0938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63" y="-5628"/>
              <a:ext cx="2011" cy="1549"/>
            </a:xfrm>
            <a:custGeom>
              <a:avLst/>
              <a:gdLst>
                <a:gd name="T0" fmla="*/ 489 w 851"/>
                <a:gd name="T1" fmla="*/ 375 h 656"/>
                <a:gd name="T2" fmla="*/ 477 w 851"/>
                <a:gd name="T3" fmla="*/ 361 h 656"/>
                <a:gd name="T4" fmla="*/ 456 w 851"/>
                <a:gd name="T5" fmla="*/ 351 h 656"/>
                <a:gd name="T6" fmla="*/ 425 w 851"/>
                <a:gd name="T7" fmla="*/ 380 h 656"/>
                <a:gd name="T8" fmla="*/ 360 w 851"/>
                <a:gd name="T9" fmla="*/ 432 h 656"/>
                <a:gd name="T10" fmla="*/ 261 w 851"/>
                <a:gd name="T11" fmla="*/ 484 h 656"/>
                <a:gd name="T12" fmla="*/ 177 w 851"/>
                <a:gd name="T13" fmla="*/ 513 h 656"/>
                <a:gd name="T14" fmla="*/ 112 w 851"/>
                <a:gd name="T15" fmla="*/ 564 h 656"/>
                <a:gd name="T16" fmla="*/ 56 w 851"/>
                <a:gd name="T17" fmla="*/ 583 h 656"/>
                <a:gd name="T18" fmla="*/ 0 w 851"/>
                <a:gd name="T19" fmla="*/ 608 h 656"/>
                <a:gd name="T20" fmla="*/ 12 w 851"/>
                <a:gd name="T21" fmla="*/ 629 h 656"/>
                <a:gd name="T22" fmla="*/ 47 w 851"/>
                <a:gd name="T23" fmla="*/ 631 h 656"/>
                <a:gd name="T24" fmla="*/ 65 w 851"/>
                <a:gd name="T25" fmla="*/ 637 h 656"/>
                <a:gd name="T26" fmla="*/ 96 w 851"/>
                <a:gd name="T27" fmla="*/ 648 h 656"/>
                <a:gd name="T28" fmla="*/ 152 w 851"/>
                <a:gd name="T29" fmla="*/ 653 h 656"/>
                <a:gd name="T30" fmla="*/ 215 w 851"/>
                <a:gd name="T31" fmla="*/ 620 h 656"/>
                <a:gd name="T32" fmla="*/ 265 w 851"/>
                <a:gd name="T33" fmla="*/ 574 h 656"/>
                <a:gd name="T34" fmla="*/ 279 w 851"/>
                <a:gd name="T35" fmla="*/ 557 h 656"/>
                <a:gd name="T36" fmla="*/ 306 w 851"/>
                <a:gd name="T37" fmla="*/ 517 h 656"/>
                <a:gd name="T38" fmla="*/ 343 w 851"/>
                <a:gd name="T39" fmla="*/ 510 h 656"/>
                <a:gd name="T40" fmla="*/ 388 w 851"/>
                <a:gd name="T41" fmla="*/ 503 h 656"/>
                <a:gd name="T42" fmla="*/ 395 w 851"/>
                <a:gd name="T43" fmla="*/ 480 h 656"/>
                <a:gd name="T44" fmla="*/ 430 w 851"/>
                <a:gd name="T45" fmla="*/ 456 h 656"/>
                <a:gd name="T46" fmla="*/ 468 w 851"/>
                <a:gd name="T47" fmla="*/ 430 h 656"/>
                <a:gd name="T48" fmla="*/ 518 w 851"/>
                <a:gd name="T49" fmla="*/ 389 h 656"/>
                <a:gd name="T50" fmla="*/ 498 w 851"/>
                <a:gd name="T51" fmla="*/ 375 h 656"/>
                <a:gd name="T52" fmla="*/ 841 w 851"/>
                <a:gd name="T53" fmla="*/ 205 h 656"/>
                <a:gd name="T54" fmla="*/ 821 w 851"/>
                <a:gd name="T55" fmla="*/ 186 h 656"/>
                <a:gd name="T56" fmla="*/ 768 w 851"/>
                <a:gd name="T57" fmla="*/ 192 h 656"/>
                <a:gd name="T58" fmla="*/ 777 w 851"/>
                <a:gd name="T59" fmla="*/ 120 h 656"/>
                <a:gd name="T60" fmla="*/ 756 w 851"/>
                <a:gd name="T61" fmla="*/ 129 h 656"/>
                <a:gd name="T62" fmla="*/ 740 w 851"/>
                <a:gd name="T63" fmla="*/ 126 h 656"/>
                <a:gd name="T64" fmla="*/ 750 w 851"/>
                <a:gd name="T65" fmla="*/ 62 h 656"/>
                <a:gd name="T66" fmla="*/ 720 w 851"/>
                <a:gd name="T67" fmla="*/ 27 h 656"/>
                <a:gd name="T68" fmla="*/ 692 w 851"/>
                <a:gd name="T69" fmla="*/ 11 h 656"/>
                <a:gd name="T70" fmla="*/ 679 w 851"/>
                <a:gd name="T71" fmla="*/ 12 h 656"/>
                <a:gd name="T72" fmla="*/ 686 w 851"/>
                <a:gd name="T73" fmla="*/ 60 h 656"/>
                <a:gd name="T74" fmla="*/ 692 w 851"/>
                <a:gd name="T75" fmla="*/ 70 h 656"/>
                <a:gd name="T76" fmla="*/ 712 w 851"/>
                <a:gd name="T77" fmla="*/ 89 h 656"/>
                <a:gd name="T78" fmla="*/ 705 w 851"/>
                <a:gd name="T79" fmla="*/ 102 h 656"/>
                <a:gd name="T80" fmla="*/ 715 w 851"/>
                <a:gd name="T81" fmla="*/ 136 h 656"/>
                <a:gd name="T82" fmla="*/ 694 w 851"/>
                <a:gd name="T83" fmla="*/ 148 h 656"/>
                <a:gd name="T84" fmla="*/ 682 w 851"/>
                <a:gd name="T85" fmla="*/ 185 h 656"/>
                <a:gd name="T86" fmla="*/ 656 w 851"/>
                <a:gd name="T87" fmla="*/ 209 h 656"/>
                <a:gd name="T88" fmla="*/ 578 w 851"/>
                <a:gd name="T89" fmla="*/ 255 h 656"/>
                <a:gd name="T90" fmla="*/ 609 w 851"/>
                <a:gd name="T91" fmla="*/ 302 h 656"/>
                <a:gd name="T92" fmla="*/ 576 w 851"/>
                <a:gd name="T93" fmla="*/ 359 h 656"/>
                <a:gd name="T94" fmla="*/ 557 w 851"/>
                <a:gd name="T95" fmla="*/ 381 h 656"/>
                <a:gd name="T96" fmla="*/ 644 w 851"/>
                <a:gd name="T97" fmla="*/ 340 h 656"/>
                <a:gd name="T98" fmla="*/ 697 w 851"/>
                <a:gd name="T99" fmla="*/ 308 h 656"/>
                <a:gd name="T100" fmla="*/ 715 w 851"/>
                <a:gd name="T101" fmla="*/ 277 h 656"/>
                <a:gd name="T102" fmla="*/ 774 w 851"/>
                <a:gd name="T103" fmla="*/ 266 h 656"/>
                <a:gd name="T104" fmla="*/ 805 w 851"/>
                <a:gd name="T105" fmla="*/ 236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51" h="656">
                  <a:moveTo>
                    <a:pt x="498" y="375"/>
                  </a:moveTo>
                  <a:cubicBezTo>
                    <a:pt x="489" y="375"/>
                    <a:pt x="489" y="375"/>
                    <a:pt x="489" y="375"/>
                  </a:cubicBezTo>
                  <a:cubicBezTo>
                    <a:pt x="495" y="350"/>
                    <a:pt x="495" y="350"/>
                    <a:pt x="495" y="350"/>
                  </a:cubicBezTo>
                  <a:cubicBezTo>
                    <a:pt x="477" y="361"/>
                    <a:pt x="477" y="361"/>
                    <a:pt x="477" y="361"/>
                  </a:cubicBezTo>
                  <a:cubicBezTo>
                    <a:pt x="477" y="361"/>
                    <a:pt x="490" y="335"/>
                    <a:pt x="478" y="335"/>
                  </a:cubicBezTo>
                  <a:cubicBezTo>
                    <a:pt x="466" y="334"/>
                    <a:pt x="456" y="351"/>
                    <a:pt x="456" y="351"/>
                  </a:cubicBezTo>
                  <a:cubicBezTo>
                    <a:pt x="445" y="358"/>
                    <a:pt x="445" y="358"/>
                    <a:pt x="445" y="358"/>
                  </a:cubicBezTo>
                  <a:cubicBezTo>
                    <a:pt x="445" y="358"/>
                    <a:pt x="434" y="369"/>
                    <a:pt x="425" y="380"/>
                  </a:cubicBezTo>
                  <a:cubicBezTo>
                    <a:pt x="417" y="391"/>
                    <a:pt x="396" y="393"/>
                    <a:pt x="381" y="403"/>
                  </a:cubicBezTo>
                  <a:cubicBezTo>
                    <a:pt x="366" y="414"/>
                    <a:pt x="360" y="432"/>
                    <a:pt x="360" y="432"/>
                  </a:cubicBezTo>
                  <a:cubicBezTo>
                    <a:pt x="360" y="432"/>
                    <a:pt x="313" y="446"/>
                    <a:pt x="300" y="455"/>
                  </a:cubicBezTo>
                  <a:cubicBezTo>
                    <a:pt x="285" y="464"/>
                    <a:pt x="261" y="484"/>
                    <a:pt x="261" y="484"/>
                  </a:cubicBezTo>
                  <a:cubicBezTo>
                    <a:pt x="261" y="484"/>
                    <a:pt x="234" y="488"/>
                    <a:pt x="217" y="495"/>
                  </a:cubicBezTo>
                  <a:cubicBezTo>
                    <a:pt x="201" y="503"/>
                    <a:pt x="192" y="505"/>
                    <a:pt x="177" y="513"/>
                  </a:cubicBezTo>
                  <a:cubicBezTo>
                    <a:pt x="161" y="522"/>
                    <a:pt x="131" y="533"/>
                    <a:pt x="119" y="539"/>
                  </a:cubicBezTo>
                  <a:cubicBezTo>
                    <a:pt x="106" y="545"/>
                    <a:pt x="112" y="564"/>
                    <a:pt x="112" y="564"/>
                  </a:cubicBezTo>
                  <a:cubicBezTo>
                    <a:pt x="102" y="555"/>
                    <a:pt x="102" y="555"/>
                    <a:pt x="102" y="555"/>
                  </a:cubicBezTo>
                  <a:cubicBezTo>
                    <a:pt x="102" y="555"/>
                    <a:pt x="67" y="577"/>
                    <a:pt x="56" y="583"/>
                  </a:cubicBezTo>
                  <a:cubicBezTo>
                    <a:pt x="44" y="590"/>
                    <a:pt x="39" y="587"/>
                    <a:pt x="23" y="593"/>
                  </a:cubicBezTo>
                  <a:cubicBezTo>
                    <a:pt x="7" y="599"/>
                    <a:pt x="0" y="608"/>
                    <a:pt x="0" y="608"/>
                  </a:cubicBezTo>
                  <a:cubicBezTo>
                    <a:pt x="0" y="608"/>
                    <a:pt x="20" y="607"/>
                    <a:pt x="18" y="611"/>
                  </a:cubicBezTo>
                  <a:cubicBezTo>
                    <a:pt x="16" y="615"/>
                    <a:pt x="8" y="620"/>
                    <a:pt x="12" y="629"/>
                  </a:cubicBezTo>
                  <a:cubicBezTo>
                    <a:pt x="17" y="638"/>
                    <a:pt x="40" y="624"/>
                    <a:pt x="40" y="624"/>
                  </a:cubicBezTo>
                  <a:cubicBezTo>
                    <a:pt x="47" y="631"/>
                    <a:pt x="47" y="631"/>
                    <a:pt x="47" y="631"/>
                  </a:cubicBezTo>
                  <a:cubicBezTo>
                    <a:pt x="63" y="631"/>
                    <a:pt x="63" y="631"/>
                    <a:pt x="63" y="631"/>
                  </a:cubicBezTo>
                  <a:cubicBezTo>
                    <a:pt x="65" y="637"/>
                    <a:pt x="65" y="637"/>
                    <a:pt x="65" y="637"/>
                  </a:cubicBezTo>
                  <a:cubicBezTo>
                    <a:pt x="87" y="634"/>
                    <a:pt x="87" y="634"/>
                    <a:pt x="87" y="634"/>
                  </a:cubicBezTo>
                  <a:cubicBezTo>
                    <a:pt x="96" y="648"/>
                    <a:pt x="96" y="648"/>
                    <a:pt x="96" y="648"/>
                  </a:cubicBezTo>
                  <a:cubicBezTo>
                    <a:pt x="118" y="645"/>
                    <a:pt x="118" y="645"/>
                    <a:pt x="118" y="645"/>
                  </a:cubicBezTo>
                  <a:cubicBezTo>
                    <a:pt x="118" y="645"/>
                    <a:pt x="136" y="656"/>
                    <a:pt x="152" y="653"/>
                  </a:cubicBezTo>
                  <a:cubicBezTo>
                    <a:pt x="167" y="650"/>
                    <a:pt x="172" y="634"/>
                    <a:pt x="182" y="627"/>
                  </a:cubicBezTo>
                  <a:cubicBezTo>
                    <a:pt x="192" y="620"/>
                    <a:pt x="200" y="630"/>
                    <a:pt x="215" y="620"/>
                  </a:cubicBezTo>
                  <a:cubicBezTo>
                    <a:pt x="230" y="610"/>
                    <a:pt x="220" y="597"/>
                    <a:pt x="232" y="586"/>
                  </a:cubicBezTo>
                  <a:cubicBezTo>
                    <a:pt x="243" y="574"/>
                    <a:pt x="257" y="582"/>
                    <a:pt x="265" y="574"/>
                  </a:cubicBezTo>
                  <a:cubicBezTo>
                    <a:pt x="273" y="567"/>
                    <a:pt x="265" y="558"/>
                    <a:pt x="265" y="558"/>
                  </a:cubicBezTo>
                  <a:cubicBezTo>
                    <a:pt x="279" y="557"/>
                    <a:pt x="279" y="557"/>
                    <a:pt x="279" y="557"/>
                  </a:cubicBezTo>
                  <a:cubicBezTo>
                    <a:pt x="318" y="527"/>
                    <a:pt x="318" y="527"/>
                    <a:pt x="318" y="527"/>
                  </a:cubicBezTo>
                  <a:cubicBezTo>
                    <a:pt x="306" y="517"/>
                    <a:pt x="306" y="517"/>
                    <a:pt x="306" y="517"/>
                  </a:cubicBezTo>
                  <a:cubicBezTo>
                    <a:pt x="333" y="527"/>
                    <a:pt x="333" y="527"/>
                    <a:pt x="333" y="527"/>
                  </a:cubicBezTo>
                  <a:cubicBezTo>
                    <a:pt x="333" y="527"/>
                    <a:pt x="334" y="511"/>
                    <a:pt x="343" y="510"/>
                  </a:cubicBezTo>
                  <a:cubicBezTo>
                    <a:pt x="352" y="509"/>
                    <a:pt x="360" y="517"/>
                    <a:pt x="372" y="520"/>
                  </a:cubicBezTo>
                  <a:cubicBezTo>
                    <a:pt x="383" y="522"/>
                    <a:pt x="388" y="503"/>
                    <a:pt x="388" y="503"/>
                  </a:cubicBezTo>
                  <a:cubicBezTo>
                    <a:pt x="378" y="495"/>
                    <a:pt x="378" y="495"/>
                    <a:pt x="378" y="495"/>
                  </a:cubicBezTo>
                  <a:cubicBezTo>
                    <a:pt x="395" y="480"/>
                    <a:pt x="395" y="480"/>
                    <a:pt x="395" y="480"/>
                  </a:cubicBezTo>
                  <a:cubicBezTo>
                    <a:pt x="407" y="466"/>
                    <a:pt x="407" y="466"/>
                    <a:pt x="407" y="466"/>
                  </a:cubicBezTo>
                  <a:cubicBezTo>
                    <a:pt x="407" y="466"/>
                    <a:pt x="418" y="459"/>
                    <a:pt x="430" y="456"/>
                  </a:cubicBezTo>
                  <a:cubicBezTo>
                    <a:pt x="442" y="453"/>
                    <a:pt x="447" y="436"/>
                    <a:pt x="447" y="436"/>
                  </a:cubicBezTo>
                  <a:cubicBezTo>
                    <a:pt x="447" y="436"/>
                    <a:pt x="458" y="434"/>
                    <a:pt x="468" y="430"/>
                  </a:cubicBezTo>
                  <a:cubicBezTo>
                    <a:pt x="479" y="426"/>
                    <a:pt x="488" y="408"/>
                    <a:pt x="488" y="408"/>
                  </a:cubicBezTo>
                  <a:cubicBezTo>
                    <a:pt x="488" y="408"/>
                    <a:pt x="508" y="401"/>
                    <a:pt x="518" y="389"/>
                  </a:cubicBezTo>
                  <a:cubicBezTo>
                    <a:pt x="529" y="376"/>
                    <a:pt x="516" y="353"/>
                    <a:pt x="516" y="353"/>
                  </a:cubicBezTo>
                  <a:lnTo>
                    <a:pt x="498" y="375"/>
                  </a:lnTo>
                  <a:close/>
                  <a:moveTo>
                    <a:pt x="815" y="215"/>
                  </a:moveTo>
                  <a:cubicBezTo>
                    <a:pt x="823" y="210"/>
                    <a:pt x="831" y="213"/>
                    <a:pt x="841" y="205"/>
                  </a:cubicBezTo>
                  <a:cubicBezTo>
                    <a:pt x="851" y="197"/>
                    <a:pt x="847" y="183"/>
                    <a:pt x="839" y="176"/>
                  </a:cubicBezTo>
                  <a:cubicBezTo>
                    <a:pt x="831" y="168"/>
                    <a:pt x="821" y="186"/>
                    <a:pt x="821" y="186"/>
                  </a:cubicBezTo>
                  <a:cubicBezTo>
                    <a:pt x="821" y="186"/>
                    <a:pt x="815" y="186"/>
                    <a:pt x="806" y="184"/>
                  </a:cubicBezTo>
                  <a:cubicBezTo>
                    <a:pt x="798" y="181"/>
                    <a:pt x="780" y="195"/>
                    <a:pt x="768" y="192"/>
                  </a:cubicBezTo>
                  <a:cubicBezTo>
                    <a:pt x="756" y="189"/>
                    <a:pt x="761" y="145"/>
                    <a:pt x="761" y="145"/>
                  </a:cubicBezTo>
                  <a:cubicBezTo>
                    <a:pt x="777" y="120"/>
                    <a:pt x="777" y="120"/>
                    <a:pt x="777" y="120"/>
                  </a:cubicBezTo>
                  <a:cubicBezTo>
                    <a:pt x="777" y="120"/>
                    <a:pt x="777" y="102"/>
                    <a:pt x="767" y="103"/>
                  </a:cubicBezTo>
                  <a:cubicBezTo>
                    <a:pt x="756" y="103"/>
                    <a:pt x="756" y="119"/>
                    <a:pt x="756" y="129"/>
                  </a:cubicBezTo>
                  <a:cubicBezTo>
                    <a:pt x="755" y="138"/>
                    <a:pt x="743" y="146"/>
                    <a:pt x="743" y="146"/>
                  </a:cubicBezTo>
                  <a:cubicBezTo>
                    <a:pt x="740" y="126"/>
                    <a:pt x="740" y="126"/>
                    <a:pt x="740" y="126"/>
                  </a:cubicBezTo>
                  <a:cubicBezTo>
                    <a:pt x="726" y="113"/>
                    <a:pt x="726" y="113"/>
                    <a:pt x="726" y="113"/>
                  </a:cubicBezTo>
                  <a:cubicBezTo>
                    <a:pt x="726" y="113"/>
                    <a:pt x="750" y="82"/>
                    <a:pt x="750" y="62"/>
                  </a:cubicBezTo>
                  <a:cubicBezTo>
                    <a:pt x="751" y="42"/>
                    <a:pt x="717" y="41"/>
                    <a:pt x="717" y="41"/>
                  </a:cubicBezTo>
                  <a:cubicBezTo>
                    <a:pt x="720" y="27"/>
                    <a:pt x="720" y="27"/>
                    <a:pt x="720" y="27"/>
                  </a:cubicBezTo>
                  <a:cubicBezTo>
                    <a:pt x="707" y="25"/>
                    <a:pt x="707" y="25"/>
                    <a:pt x="707" y="25"/>
                  </a:cubicBezTo>
                  <a:cubicBezTo>
                    <a:pt x="692" y="11"/>
                    <a:pt x="692" y="11"/>
                    <a:pt x="692" y="11"/>
                  </a:cubicBezTo>
                  <a:cubicBezTo>
                    <a:pt x="699" y="0"/>
                    <a:pt x="699" y="0"/>
                    <a:pt x="699" y="0"/>
                  </a:cubicBezTo>
                  <a:cubicBezTo>
                    <a:pt x="679" y="12"/>
                    <a:pt x="679" y="12"/>
                    <a:pt x="679" y="12"/>
                  </a:cubicBezTo>
                  <a:cubicBezTo>
                    <a:pt x="692" y="35"/>
                    <a:pt x="692" y="35"/>
                    <a:pt x="692" y="35"/>
                  </a:cubicBezTo>
                  <a:cubicBezTo>
                    <a:pt x="686" y="60"/>
                    <a:pt x="686" y="60"/>
                    <a:pt x="686" y="60"/>
                  </a:cubicBezTo>
                  <a:cubicBezTo>
                    <a:pt x="701" y="66"/>
                    <a:pt x="701" y="66"/>
                    <a:pt x="701" y="66"/>
                  </a:cubicBezTo>
                  <a:cubicBezTo>
                    <a:pt x="692" y="70"/>
                    <a:pt x="692" y="70"/>
                    <a:pt x="692" y="70"/>
                  </a:cubicBezTo>
                  <a:cubicBezTo>
                    <a:pt x="696" y="84"/>
                    <a:pt x="696" y="84"/>
                    <a:pt x="696" y="84"/>
                  </a:cubicBezTo>
                  <a:cubicBezTo>
                    <a:pt x="712" y="89"/>
                    <a:pt x="712" y="89"/>
                    <a:pt x="712" y="89"/>
                  </a:cubicBezTo>
                  <a:cubicBezTo>
                    <a:pt x="696" y="97"/>
                    <a:pt x="696" y="97"/>
                    <a:pt x="696" y="97"/>
                  </a:cubicBezTo>
                  <a:cubicBezTo>
                    <a:pt x="705" y="102"/>
                    <a:pt x="705" y="102"/>
                    <a:pt x="705" y="102"/>
                  </a:cubicBezTo>
                  <a:cubicBezTo>
                    <a:pt x="705" y="102"/>
                    <a:pt x="702" y="116"/>
                    <a:pt x="702" y="122"/>
                  </a:cubicBezTo>
                  <a:cubicBezTo>
                    <a:pt x="702" y="129"/>
                    <a:pt x="715" y="136"/>
                    <a:pt x="715" y="136"/>
                  </a:cubicBezTo>
                  <a:cubicBezTo>
                    <a:pt x="702" y="138"/>
                    <a:pt x="702" y="138"/>
                    <a:pt x="702" y="138"/>
                  </a:cubicBezTo>
                  <a:cubicBezTo>
                    <a:pt x="694" y="148"/>
                    <a:pt x="694" y="148"/>
                    <a:pt x="694" y="148"/>
                  </a:cubicBezTo>
                  <a:cubicBezTo>
                    <a:pt x="705" y="154"/>
                    <a:pt x="705" y="154"/>
                    <a:pt x="705" y="154"/>
                  </a:cubicBezTo>
                  <a:cubicBezTo>
                    <a:pt x="705" y="154"/>
                    <a:pt x="684" y="174"/>
                    <a:pt x="682" y="185"/>
                  </a:cubicBezTo>
                  <a:cubicBezTo>
                    <a:pt x="681" y="196"/>
                    <a:pt x="691" y="199"/>
                    <a:pt x="691" y="199"/>
                  </a:cubicBezTo>
                  <a:cubicBezTo>
                    <a:pt x="691" y="199"/>
                    <a:pt x="669" y="203"/>
                    <a:pt x="656" y="209"/>
                  </a:cubicBezTo>
                  <a:cubicBezTo>
                    <a:pt x="643" y="214"/>
                    <a:pt x="646" y="217"/>
                    <a:pt x="630" y="229"/>
                  </a:cubicBezTo>
                  <a:cubicBezTo>
                    <a:pt x="613" y="242"/>
                    <a:pt x="599" y="243"/>
                    <a:pt x="578" y="255"/>
                  </a:cubicBezTo>
                  <a:cubicBezTo>
                    <a:pt x="557" y="268"/>
                    <a:pt x="576" y="302"/>
                    <a:pt x="576" y="302"/>
                  </a:cubicBezTo>
                  <a:cubicBezTo>
                    <a:pt x="576" y="302"/>
                    <a:pt x="599" y="300"/>
                    <a:pt x="609" y="302"/>
                  </a:cubicBezTo>
                  <a:cubicBezTo>
                    <a:pt x="619" y="304"/>
                    <a:pt x="609" y="323"/>
                    <a:pt x="609" y="338"/>
                  </a:cubicBezTo>
                  <a:cubicBezTo>
                    <a:pt x="610" y="354"/>
                    <a:pt x="593" y="353"/>
                    <a:pt x="576" y="359"/>
                  </a:cubicBezTo>
                  <a:cubicBezTo>
                    <a:pt x="559" y="365"/>
                    <a:pt x="567" y="370"/>
                    <a:pt x="567" y="370"/>
                  </a:cubicBezTo>
                  <a:cubicBezTo>
                    <a:pt x="557" y="381"/>
                    <a:pt x="557" y="381"/>
                    <a:pt x="557" y="381"/>
                  </a:cubicBezTo>
                  <a:cubicBezTo>
                    <a:pt x="557" y="381"/>
                    <a:pt x="575" y="394"/>
                    <a:pt x="589" y="390"/>
                  </a:cubicBezTo>
                  <a:cubicBezTo>
                    <a:pt x="602" y="385"/>
                    <a:pt x="633" y="351"/>
                    <a:pt x="644" y="340"/>
                  </a:cubicBezTo>
                  <a:cubicBezTo>
                    <a:pt x="655" y="329"/>
                    <a:pt x="682" y="321"/>
                    <a:pt x="687" y="321"/>
                  </a:cubicBezTo>
                  <a:cubicBezTo>
                    <a:pt x="692" y="320"/>
                    <a:pt x="697" y="308"/>
                    <a:pt x="697" y="308"/>
                  </a:cubicBezTo>
                  <a:cubicBezTo>
                    <a:pt x="697" y="308"/>
                    <a:pt x="704" y="305"/>
                    <a:pt x="715" y="301"/>
                  </a:cubicBezTo>
                  <a:cubicBezTo>
                    <a:pt x="726" y="296"/>
                    <a:pt x="715" y="277"/>
                    <a:pt x="715" y="277"/>
                  </a:cubicBezTo>
                  <a:cubicBezTo>
                    <a:pt x="715" y="277"/>
                    <a:pt x="725" y="269"/>
                    <a:pt x="738" y="263"/>
                  </a:cubicBezTo>
                  <a:cubicBezTo>
                    <a:pt x="752" y="257"/>
                    <a:pt x="762" y="269"/>
                    <a:pt x="774" y="266"/>
                  </a:cubicBezTo>
                  <a:cubicBezTo>
                    <a:pt x="786" y="264"/>
                    <a:pt x="782" y="240"/>
                    <a:pt x="782" y="240"/>
                  </a:cubicBezTo>
                  <a:cubicBezTo>
                    <a:pt x="782" y="240"/>
                    <a:pt x="793" y="237"/>
                    <a:pt x="805" y="236"/>
                  </a:cubicBezTo>
                  <a:cubicBezTo>
                    <a:pt x="816" y="235"/>
                    <a:pt x="808" y="221"/>
                    <a:pt x="815" y="215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" name="Freeform 338">
              <a:extLst>
                <a:ext uri="{FF2B5EF4-FFF2-40B4-BE49-F238E27FC236}">
                  <a16:creationId xmlns:a16="http://schemas.microsoft.com/office/drawing/2014/main" id="{FA32D3B1-439D-6C66-7B81-0F06BDAC12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28" y="-8631"/>
              <a:ext cx="4483" cy="4191"/>
            </a:xfrm>
            <a:custGeom>
              <a:avLst/>
              <a:gdLst>
                <a:gd name="T0" fmla="*/ 971 w 1898"/>
                <a:gd name="T1" fmla="*/ 1367 h 1774"/>
                <a:gd name="T2" fmla="*/ 1008 w 1898"/>
                <a:gd name="T3" fmla="*/ 1349 h 1774"/>
                <a:gd name="T4" fmla="*/ 1830 w 1898"/>
                <a:gd name="T5" fmla="*/ 698 h 1774"/>
                <a:gd name="T6" fmla="*/ 1797 w 1898"/>
                <a:gd name="T7" fmla="*/ 622 h 1774"/>
                <a:gd name="T8" fmla="*/ 1707 w 1898"/>
                <a:gd name="T9" fmla="*/ 471 h 1774"/>
                <a:gd name="T10" fmla="*/ 1649 w 1898"/>
                <a:gd name="T11" fmla="*/ 192 h 1774"/>
                <a:gd name="T12" fmla="*/ 1596 w 1898"/>
                <a:gd name="T13" fmla="*/ 64 h 1774"/>
                <a:gd name="T14" fmla="*/ 1541 w 1898"/>
                <a:gd name="T15" fmla="*/ 18 h 1774"/>
                <a:gd name="T16" fmla="*/ 1494 w 1898"/>
                <a:gd name="T17" fmla="*/ 189 h 1774"/>
                <a:gd name="T18" fmla="*/ 1283 w 1898"/>
                <a:gd name="T19" fmla="*/ 306 h 1774"/>
                <a:gd name="T20" fmla="*/ 1239 w 1898"/>
                <a:gd name="T21" fmla="*/ 181 h 1774"/>
                <a:gd name="T22" fmla="*/ 1269 w 1898"/>
                <a:gd name="T23" fmla="*/ 69 h 1774"/>
                <a:gd name="T24" fmla="*/ 1170 w 1898"/>
                <a:gd name="T25" fmla="*/ 75 h 1774"/>
                <a:gd name="T26" fmla="*/ 1050 w 1898"/>
                <a:gd name="T27" fmla="*/ 42 h 1774"/>
                <a:gd name="T28" fmla="*/ 1012 w 1898"/>
                <a:gd name="T29" fmla="*/ 86 h 1774"/>
                <a:gd name="T30" fmla="*/ 910 w 1898"/>
                <a:gd name="T31" fmla="*/ 212 h 1774"/>
                <a:gd name="T32" fmla="*/ 872 w 1898"/>
                <a:gd name="T33" fmla="*/ 235 h 1774"/>
                <a:gd name="T34" fmla="*/ 848 w 1898"/>
                <a:gd name="T35" fmla="*/ 215 h 1774"/>
                <a:gd name="T36" fmla="*/ 788 w 1898"/>
                <a:gd name="T37" fmla="*/ 185 h 1774"/>
                <a:gd name="T38" fmla="*/ 731 w 1898"/>
                <a:gd name="T39" fmla="*/ 238 h 1774"/>
                <a:gd name="T40" fmla="*/ 676 w 1898"/>
                <a:gd name="T41" fmla="*/ 279 h 1774"/>
                <a:gd name="T42" fmla="*/ 614 w 1898"/>
                <a:gd name="T43" fmla="*/ 310 h 1774"/>
                <a:gd name="T44" fmla="*/ 606 w 1898"/>
                <a:gd name="T45" fmla="*/ 348 h 1774"/>
                <a:gd name="T46" fmla="*/ 531 w 1898"/>
                <a:gd name="T47" fmla="*/ 409 h 1774"/>
                <a:gd name="T48" fmla="*/ 359 w 1898"/>
                <a:gd name="T49" fmla="*/ 505 h 1774"/>
                <a:gd name="T50" fmla="*/ 218 w 1898"/>
                <a:gd name="T51" fmla="*/ 554 h 1774"/>
                <a:gd name="T52" fmla="*/ 83 w 1898"/>
                <a:gd name="T53" fmla="*/ 649 h 1774"/>
                <a:gd name="T54" fmla="*/ 48 w 1898"/>
                <a:gd name="T55" fmla="*/ 813 h 1774"/>
                <a:gd name="T56" fmla="*/ 35 w 1898"/>
                <a:gd name="T57" fmla="*/ 937 h 1774"/>
                <a:gd name="T58" fmla="*/ 87 w 1898"/>
                <a:gd name="T59" fmla="*/ 1141 h 1774"/>
                <a:gd name="T60" fmla="*/ 56 w 1898"/>
                <a:gd name="T61" fmla="*/ 1305 h 1774"/>
                <a:gd name="T62" fmla="*/ 186 w 1898"/>
                <a:gd name="T63" fmla="*/ 1285 h 1774"/>
                <a:gd name="T64" fmla="*/ 384 w 1898"/>
                <a:gd name="T65" fmla="*/ 1244 h 1774"/>
                <a:gd name="T66" fmla="*/ 594 w 1898"/>
                <a:gd name="T67" fmla="*/ 1153 h 1774"/>
                <a:gd name="T68" fmla="*/ 896 w 1898"/>
                <a:gd name="T69" fmla="*/ 1136 h 1774"/>
                <a:gd name="T70" fmla="*/ 932 w 1898"/>
                <a:gd name="T71" fmla="*/ 1225 h 1774"/>
                <a:gd name="T72" fmla="*/ 962 w 1898"/>
                <a:gd name="T73" fmla="*/ 1304 h 1774"/>
                <a:gd name="T74" fmla="*/ 1060 w 1898"/>
                <a:gd name="T75" fmla="*/ 1224 h 1774"/>
                <a:gd name="T76" fmla="*/ 1083 w 1898"/>
                <a:gd name="T77" fmla="*/ 1210 h 1774"/>
                <a:gd name="T78" fmla="*/ 1011 w 1898"/>
                <a:gd name="T79" fmla="*/ 1319 h 1774"/>
                <a:gd name="T80" fmla="*/ 1072 w 1898"/>
                <a:gd name="T81" fmla="*/ 1339 h 1774"/>
                <a:gd name="T82" fmla="*/ 1118 w 1898"/>
                <a:gd name="T83" fmla="*/ 1477 h 1774"/>
                <a:gd name="T84" fmla="*/ 1319 w 1898"/>
                <a:gd name="T85" fmla="*/ 1502 h 1774"/>
                <a:gd name="T86" fmla="*/ 1360 w 1898"/>
                <a:gd name="T87" fmla="*/ 1532 h 1774"/>
                <a:gd name="T88" fmla="*/ 1533 w 1898"/>
                <a:gd name="T89" fmla="*/ 1461 h 1774"/>
                <a:gd name="T90" fmla="*/ 1641 w 1898"/>
                <a:gd name="T91" fmla="*/ 1275 h 1774"/>
                <a:gd name="T92" fmla="*/ 1874 w 1898"/>
                <a:gd name="T93" fmla="*/ 952 h 1774"/>
                <a:gd name="T94" fmla="*/ 1364 w 1898"/>
                <a:gd name="T95" fmla="*/ 1612 h 1774"/>
                <a:gd name="T96" fmla="*/ 1274 w 1898"/>
                <a:gd name="T97" fmla="*/ 1651 h 1774"/>
                <a:gd name="T98" fmla="*/ 1184 w 1898"/>
                <a:gd name="T99" fmla="*/ 1616 h 1774"/>
                <a:gd name="T100" fmla="*/ 1155 w 1898"/>
                <a:gd name="T101" fmla="*/ 1713 h 1774"/>
                <a:gd name="T102" fmla="*/ 1214 w 1898"/>
                <a:gd name="T103" fmla="*/ 1769 h 1774"/>
                <a:gd name="T104" fmla="*/ 1282 w 1898"/>
                <a:gd name="T105" fmla="*/ 1706 h 1774"/>
                <a:gd name="T106" fmla="*/ 1290 w 1898"/>
                <a:gd name="T107" fmla="*/ 195 h 1774"/>
                <a:gd name="T108" fmla="*/ 1209 w 1898"/>
                <a:gd name="T109" fmla="*/ 1549 h 1774"/>
                <a:gd name="T110" fmla="*/ 1357 w 1898"/>
                <a:gd name="T111" fmla="*/ 1597 h 1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98" h="1774">
                  <a:moveTo>
                    <a:pt x="1024" y="43"/>
                  </a:moveTo>
                  <a:cubicBezTo>
                    <a:pt x="1014" y="29"/>
                    <a:pt x="990" y="54"/>
                    <a:pt x="999" y="65"/>
                  </a:cubicBezTo>
                  <a:cubicBezTo>
                    <a:pt x="1008" y="75"/>
                    <a:pt x="1024" y="43"/>
                    <a:pt x="1024" y="43"/>
                  </a:cubicBezTo>
                  <a:close/>
                  <a:moveTo>
                    <a:pt x="986" y="1341"/>
                  </a:moveTo>
                  <a:cubicBezTo>
                    <a:pt x="972" y="1343"/>
                    <a:pt x="954" y="1348"/>
                    <a:pt x="961" y="1354"/>
                  </a:cubicBezTo>
                  <a:cubicBezTo>
                    <a:pt x="968" y="1360"/>
                    <a:pt x="971" y="1367"/>
                    <a:pt x="971" y="1367"/>
                  </a:cubicBezTo>
                  <a:cubicBezTo>
                    <a:pt x="985" y="1367"/>
                    <a:pt x="999" y="1359"/>
                    <a:pt x="999" y="1359"/>
                  </a:cubicBezTo>
                  <a:cubicBezTo>
                    <a:pt x="1007" y="1359"/>
                    <a:pt x="1007" y="1359"/>
                    <a:pt x="1007" y="1359"/>
                  </a:cubicBezTo>
                  <a:cubicBezTo>
                    <a:pt x="1011" y="1356"/>
                    <a:pt x="1011" y="1356"/>
                    <a:pt x="1011" y="1356"/>
                  </a:cubicBezTo>
                  <a:cubicBezTo>
                    <a:pt x="1022" y="1356"/>
                    <a:pt x="1022" y="1356"/>
                    <a:pt x="1022" y="1356"/>
                  </a:cubicBezTo>
                  <a:cubicBezTo>
                    <a:pt x="1026" y="1351"/>
                    <a:pt x="1026" y="1351"/>
                    <a:pt x="1026" y="1351"/>
                  </a:cubicBezTo>
                  <a:cubicBezTo>
                    <a:pt x="1008" y="1349"/>
                    <a:pt x="1008" y="1349"/>
                    <a:pt x="1008" y="1349"/>
                  </a:cubicBezTo>
                  <a:cubicBezTo>
                    <a:pt x="1008" y="1349"/>
                    <a:pt x="1000" y="1340"/>
                    <a:pt x="986" y="1341"/>
                  </a:cubicBezTo>
                  <a:close/>
                  <a:moveTo>
                    <a:pt x="1869" y="774"/>
                  </a:moveTo>
                  <a:cubicBezTo>
                    <a:pt x="1869" y="774"/>
                    <a:pt x="1866" y="733"/>
                    <a:pt x="1865" y="727"/>
                  </a:cubicBezTo>
                  <a:cubicBezTo>
                    <a:pt x="1863" y="721"/>
                    <a:pt x="1843" y="720"/>
                    <a:pt x="1843" y="720"/>
                  </a:cubicBezTo>
                  <a:cubicBezTo>
                    <a:pt x="1843" y="706"/>
                    <a:pt x="1843" y="706"/>
                    <a:pt x="1843" y="706"/>
                  </a:cubicBezTo>
                  <a:cubicBezTo>
                    <a:pt x="1830" y="698"/>
                    <a:pt x="1830" y="698"/>
                    <a:pt x="1830" y="698"/>
                  </a:cubicBezTo>
                  <a:cubicBezTo>
                    <a:pt x="1830" y="698"/>
                    <a:pt x="1835" y="681"/>
                    <a:pt x="1830" y="674"/>
                  </a:cubicBezTo>
                  <a:cubicBezTo>
                    <a:pt x="1825" y="667"/>
                    <a:pt x="1805" y="660"/>
                    <a:pt x="1805" y="660"/>
                  </a:cubicBezTo>
                  <a:cubicBezTo>
                    <a:pt x="1805" y="660"/>
                    <a:pt x="1840" y="654"/>
                    <a:pt x="1842" y="641"/>
                  </a:cubicBezTo>
                  <a:cubicBezTo>
                    <a:pt x="1844" y="627"/>
                    <a:pt x="1822" y="623"/>
                    <a:pt x="1822" y="623"/>
                  </a:cubicBezTo>
                  <a:cubicBezTo>
                    <a:pt x="1822" y="623"/>
                    <a:pt x="1815" y="602"/>
                    <a:pt x="1804" y="603"/>
                  </a:cubicBezTo>
                  <a:cubicBezTo>
                    <a:pt x="1792" y="604"/>
                    <a:pt x="1797" y="622"/>
                    <a:pt x="1797" y="622"/>
                  </a:cubicBezTo>
                  <a:cubicBezTo>
                    <a:pt x="1783" y="619"/>
                    <a:pt x="1783" y="619"/>
                    <a:pt x="1783" y="619"/>
                  </a:cubicBezTo>
                  <a:cubicBezTo>
                    <a:pt x="1783" y="619"/>
                    <a:pt x="1796" y="578"/>
                    <a:pt x="1796" y="568"/>
                  </a:cubicBezTo>
                  <a:cubicBezTo>
                    <a:pt x="1795" y="559"/>
                    <a:pt x="1775" y="557"/>
                    <a:pt x="1771" y="547"/>
                  </a:cubicBezTo>
                  <a:cubicBezTo>
                    <a:pt x="1768" y="538"/>
                    <a:pt x="1781" y="521"/>
                    <a:pt x="1777" y="507"/>
                  </a:cubicBezTo>
                  <a:cubicBezTo>
                    <a:pt x="1773" y="494"/>
                    <a:pt x="1713" y="465"/>
                    <a:pt x="1713" y="465"/>
                  </a:cubicBezTo>
                  <a:cubicBezTo>
                    <a:pt x="1707" y="471"/>
                    <a:pt x="1707" y="471"/>
                    <a:pt x="1707" y="471"/>
                  </a:cubicBezTo>
                  <a:cubicBezTo>
                    <a:pt x="1707" y="471"/>
                    <a:pt x="1679" y="439"/>
                    <a:pt x="1677" y="417"/>
                  </a:cubicBezTo>
                  <a:cubicBezTo>
                    <a:pt x="1676" y="394"/>
                    <a:pt x="1685" y="381"/>
                    <a:pt x="1685" y="361"/>
                  </a:cubicBezTo>
                  <a:cubicBezTo>
                    <a:pt x="1685" y="341"/>
                    <a:pt x="1666" y="298"/>
                    <a:pt x="1662" y="282"/>
                  </a:cubicBezTo>
                  <a:cubicBezTo>
                    <a:pt x="1658" y="266"/>
                    <a:pt x="1669" y="256"/>
                    <a:pt x="1671" y="247"/>
                  </a:cubicBezTo>
                  <a:cubicBezTo>
                    <a:pt x="1673" y="238"/>
                    <a:pt x="1666" y="200"/>
                    <a:pt x="1666" y="200"/>
                  </a:cubicBezTo>
                  <a:cubicBezTo>
                    <a:pt x="1649" y="192"/>
                    <a:pt x="1649" y="192"/>
                    <a:pt x="1649" y="192"/>
                  </a:cubicBezTo>
                  <a:cubicBezTo>
                    <a:pt x="1649" y="192"/>
                    <a:pt x="1635" y="177"/>
                    <a:pt x="1625" y="177"/>
                  </a:cubicBezTo>
                  <a:cubicBezTo>
                    <a:pt x="1615" y="176"/>
                    <a:pt x="1609" y="191"/>
                    <a:pt x="1609" y="191"/>
                  </a:cubicBezTo>
                  <a:cubicBezTo>
                    <a:pt x="1609" y="191"/>
                    <a:pt x="1602" y="176"/>
                    <a:pt x="1601" y="167"/>
                  </a:cubicBezTo>
                  <a:cubicBezTo>
                    <a:pt x="1600" y="159"/>
                    <a:pt x="1607" y="135"/>
                    <a:pt x="1607" y="135"/>
                  </a:cubicBezTo>
                  <a:cubicBezTo>
                    <a:pt x="1596" y="120"/>
                    <a:pt x="1596" y="120"/>
                    <a:pt x="1596" y="120"/>
                  </a:cubicBezTo>
                  <a:cubicBezTo>
                    <a:pt x="1596" y="64"/>
                    <a:pt x="1596" y="64"/>
                    <a:pt x="1596" y="64"/>
                  </a:cubicBezTo>
                  <a:cubicBezTo>
                    <a:pt x="1596" y="64"/>
                    <a:pt x="1575" y="50"/>
                    <a:pt x="1578" y="41"/>
                  </a:cubicBezTo>
                  <a:cubicBezTo>
                    <a:pt x="1582" y="32"/>
                    <a:pt x="1586" y="20"/>
                    <a:pt x="1581" y="15"/>
                  </a:cubicBezTo>
                  <a:cubicBezTo>
                    <a:pt x="1576" y="11"/>
                    <a:pt x="1564" y="9"/>
                    <a:pt x="1564" y="9"/>
                  </a:cubicBezTo>
                  <a:cubicBezTo>
                    <a:pt x="1565" y="0"/>
                    <a:pt x="1565" y="0"/>
                    <a:pt x="1565" y="0"/>
                  </a:cubicBezTo>
                  <a:cubicBezTo>
                    <a:pt x="1545" y="5"/>
                    <a:pt x="1545" y="5"/>
                    <a:pt x="1545" y="5"/>
                  </a:cubicBezTo>
                  <a:cubicBezTo>
                    <a:pt x="1541" y="18"/>
                    <a:pt x="1541" y="18"/>
                    <a:pt x="1541" y="18"/>
                  </a:cubicBezTo>
                  <a:cubicBezTo>
                    <a:pt x="1541" y="18"/>
                    <a:pt x="1529" y="26"/>
                    <a:pt x="1523" y="30"/>
                  </a:cubicBezTo>
                  <a:cubicBezTo>
                    <a:pt x="1518" y="34"/>
                    <a:pt x="1531" y="60"/>
                    <a:pt x="1531" y="70"/>
                  </a:cubicBezTo>
                  <a:cubicBezTo>
                    <a:pt x="1530" y="81"/>
                    <a:pt x="1496" y="118"/>
                    <a:pt x="1496" y="118"/>
                  </a:cubicBezTo>
                  <a:cubicBezTo>
                    <a:pt x="1507" y="127"/>
                    <a:pt x="1507" y="127"/>
                    <a:pt x="1507" y="127"/>
                  </a:cubicBezTo>
                  <a:cubicBezTo>
                    <a:pt x="1507" y="127"/>
                    <a:pt x="1492" y="147"/>
                    <a:pt x="1490" y="155"/>
                  </a:cubicBezTo>
                  <a:cubicBezTo>
                    <a:pt x="1488" y="163"/>
                    <a:pt x="1494" y="189"/>
                    <a:pt x="1494" y="189"/>
                  </a:cubicBezTo>
                  <a:cubicBezTo>
                    <a:pt x="1494" y="189"/>
                    <a:pt x="1473" y="273"/>
                    <a:pt x="1472" y="285"/>
                  </a:cubicBezTo>
                  <a:cubicBezTo>
                    <a:pt x="1471" y="296"/>
                    <a:pt x="1444" y="325"/>
                    <a:pt x="1444" y="325"/>
                  </a:cubicBezTo>
                  <a:cubicBezTo>
                    <a:pt x="1444" y="325"/>
                    <a:pt x="1445" y="358"/>
                    <a:pt x="1428" y="366"/>
                  </a:cubicBezTo>
                  <a:cubicBezTo>
                    <a:pt x="1411" y="373"/>
                    <a:pt x="1375" y="381"/>
                    <a:pt x="1375" y="381"/>
                  </a:cubicBezTo>
                  <a:cubicBezTo>
                    <a:pt x="1375" y="381"/>
                    <a:pt x="1354" y="347"/>
                    <a:pt x="1349" y="337"/>
                  </a:cubicBezTo>
                  <a:cubicBezTo>
                    <a:pt x="1344" y="328"/>
                    <a:pt x="1303" y="314"/>
                    <a:pt x="1283" y="306"/>
                  </a:cubicBezTo>
                  <a:cubicBezTo>
                    <a:pt x="1262" y="299"/>
                    <a:pt x="1249" y="266"/>
                    <a:pt x="1246" y="262"/>
                  </a:cubicBezTo>
                  <a:cubicBezTo>
                    <a:pt x="1243" y="259"/>
                    <a:pt x="1223" y="261"/>
                    <a:pt x="1223" y="261"/>
                  </a:cubicBezTo>
                  <a:cubicBezTo>
                    <a:pt x="1207" y="231"/>
                    <a:pt x="1207" y="231"/>
                    <a:pt x="1207" y="231"/>
                  </a:cubicBezTo>
                  <a:cubicBezTo>
                    <a:pt x="1220" y="217"/>
                    <a:pt x="1220" y="217"/>
                    <a:pt x="1220" y="217"/>
                  </a:cubicBezTo>
                  <a:cubicBezTo>
                    <a:pt x="1220" y="217"/>
                    <a:pt x="1213" y="206"/>
                    <a:pt x="1221" y="195"/>
                  </a:cubicBezTo>
                  <a:cubicBezTo>
                    <a:pt x="1229" y="184"/>
                    <a:pt x="1239" y="181"/>
                    <a:pt x="1239" y="181"/>
                  </a:cubicBezTo>
                  <a:cubicBezTo>
                    <a:pt x="1235" y="151"/>
                    <a:pt x="1235" y="151"/>
                    <a:pt x="1235" y="151"/>
                  </a:cubicBezTo>
                  <a:cubicBezTo>
                    <a:pt x="1248" y="139"/>
                    <a:pt x="1248" y="139"/>
                    <a:pt x="1248" y="139"/>
                  </a:cubicBezTo>
                  <a:cubicBezTo>
                    <a:pt x="1248" y="139"/>
                    <a:pt x="1262" y="146"/>
                    <a:pt x="1267" y="144"/>
                  </a:cubicBezTo>
                  <a:cubicBezTo>
                    <a:pt x="1273" y="142"/>
                    <a:pt x="1274" y="119"/>
                    <a:pt x="1274" y="119"/>
                  </a:cubicBezTo>
                  <a:cubicBezTo>
                    <a:pt x="1299" y="95"/>
                    <a:pt x="1299" y="95"/>
                    <a:pt x="1299" y="95"/>
                  </a:cubicBezTo>
                  <a:cubicBezTo>
                    <a:pt x="1299" y="95"/>
                    <a:pt x="1285" y="72"/>
                    <a:pt x="1269" y="69"/>
                  </a:cubicBezTo>
                  <a:cubicBezTo>
                    <a:pt x="1252" y="67"/>
                    <a:pt x="1231" y="92"/>
                    <a:pt x="1231" y="92"/>
                  </a:cubicBezTo>
                  <a:cubicBezTo>
                    <a:pt x="1229" y="78"/>
                    <a:pt x="1229" y="78"/>
                    <a:pt x="1229" y="78"/>
                  </a:cubicBezTo>
                  <a:cubicBezTo>
                    <a:pt x="1209" y="80"/>
                    <a:pt x="1209" y="80"/>
                    <a:pt x="1209" y="80"/>
                  </a:cubicBezTo>
                  <a:cubicBezTo>
                    <a:pt x="1200" y="89"/>
                    <a:pt x="1200" y="89"/>
                    <a:pt x="1200" y="89"/>
                  </a:cubicBezTo>
                  <a:cubicBezTo>
                    <a:pt x="1194" y="78"/>
                    <a:pt x="1194" y="78"/>
                    <a:pt x="1194" y="78"/>
                  </a:cubicBezTo>
                  <a:cubicBezTo>
                    <a:pt x="1170" y="75"/>
                    <a:pt x="1170" y="75"/>
                    <a:pt x="1170" y="75"/>
                  </a:cubicBezTo>
                  <a:cubicBezTo>
                    <a:pt x="1170" y="75"/>
                    <a:pt x="1144" y="56"/>
                    <a:pt x="1139" y="56"/>
                  </a:cubicBezTo>
                  <a:cubicBezTo>
                    <a:pt x="1135" y="57"/>
                    <a:pt x="1101" y="53"/>
                    <a:pt x="1101" y="53"/>
                  </a:cubicBezTo>
                  <a:cubicBezTo>
                    <a:pt x="1101" y="53"/>
                    <a:pt x="1093" y="31"/>
                    <a:pt x="1086" y="28"/>
                  </a:cubicBezTo>
                  <a:cubicBezTo>
                    <a:pt x="1080" y="24"/>
                    <a:pt x="1078" y="38"/>
                    <a:pt x="1078" y="38"/>
                  </a:cubicBezTo>
                  <a:cubicBezTo>
                    <a:pt x="1078" y="38"/>
                    <a:pt x="1053" y="25"/>
                    <a:pt x="1047" y="30"/>
                  </a:cubicBezTo>
                  <a:cubicBezTo>
                    <a:pt x="1041" y="34"/>
                    <a:pt x="1050" y="42"/>
                    <a:pt x="1050" y="42"/>
                  </a:cubicBezTo>
                  <a:cubicBezTo>
                    <a:pt x="1050" y="42"/>
                    <a:pt x="1037" y="41"/>
                    <a:pt x="1035" y="46"/>
                  </a:cubicBezTo>
                  <a:cubicBezTo>
                    <a:pt x="1032" y="52"/>
                    <a:pt x="1049" y="58"/>
                    <a:pt x="1060" y="61"/>
                  </a:cubicBezTo>
                  <a:cubicBezTo>
                    <a:pt x="1071" y="64"/>
                    <a:pt x="1077" y="56"/>
                    <a:pt x="1077" y="56"/>
                  </a:cubicBezTo>
                  <a:cubicBezTo>
                    <a:pt x="1099" y="65"/>
                    <a:pt x="1099" y="65"/>
                    <a:pt x="1099" y="65"/>
                  </a:cubicBezTo>
                  <a:cubicBezTo>
                    <a:pt x="1099" y="65"/>
                    <a:pt x="1077" y="78"/>
                    <a:pt x="1065" y="83"/>
                  </a:cubicBezTo>
                  <a:cubicBezTo>
                    <a:pt x="1054" y="88"/>
                    <a:pt x="1020" y="84"/>
                    <a:pt x="1012" y="86"/>
                  </a:cubicBezTo>
                  <a:cubicBezTo>
                    <a:pt x="1005" y="88"/>
                    <a:pt x="955" y="114"/>
                    <a:pt x="955" y="114"/>
                  </a:cubicBezTo>
                  <a:cubicBezTo>
                    <a:pt x="955" y="114"/>
                    <a:pt x="949" y="131"/>
                    <a:pt x="948" y="142"/>
                  </a:cubicBezTo>
                  <a:cubicBezTo>
                    <a:pt x="947" y="152"/>
                    <a:pt x="968" y="161"/>
                    <a:pt x="968" y="161"/>
                  </a:cubicBezTo>
                  <a:cubicBezTo>
                    <a:pt x="935" y="163"/>
                    <a:pt x="935" y="163"/>
                    <a:pt x="935" y="163"/>
                  </a:cubicBezTo>
                  <a:cubicBezTo>
                    <a:pt x="912" y="185"/>
                    <a:pt x="912" y="185"/>
                    <a:pt x="912" y="185"/>
                  </a:cubicBezTo>
                  <a:cubicBezTo>
                    <a:pt x="912" y="185"/>
                    <a:pt x="916" y="205"/>
                    <a:pt x="910" y="212"/>
                  </a:cubicBezTo>
                  <a:cubicBezTo>
                    <a:pt x="904" y="219"/>
                    <a:pt x="927" y="226"/>
                    <a:pt x="936" y="231"/>
                  </a:cubicBezTo>
                  <a:cubicBezTo>
                    <a:pt x="946" y="235"/>
                    <a:pt x="942" y="256"/>
                    <a:pt x="942" y="256"/>
                  </a:cubicBezTo>
                  <a:cubicBezTo>
                    <a:pt x="927" y="242"/>
                    <a:pt x="927" y="242"/>
                    <a:pt x="927" y="242"/>
                  </a:cubicBezTo>
                  <a:cubicBezTo>
                    <a:pt x="907" y="244"/>
                    <a:pt x="907" y="244"/>
                    <a:pt x="907" y="244"/>
                  </a:cubicBezTo>
                  <a:cubicBezTo>
                    <a:pt x="899" y="256"/>
                    <a:pt x="899" y="256"/>
                    <a:pt x="899" y="256"/>
                  </a:cubicBezTo>
                  <a:cubicBezTo>
                    <a:pt x="872" y="235"/>
                    <a:pt x="872" y="235"/>
                    <a:pt x="872" y="235"/>
                  </a:cubicBezTo>
                  <a:cubicBezTo>
                    <a:pt x="869" y="256"/>
                    <a:pt x="869" y="256"/>
                    <a:pt x="869" y="256"/>
                  </a:cubicBezTo>
                  <a:cubicBezTo>
                    <a:pt x="853" y="261"/>
                    <a:pt x="853" y="261"/>
                    <a:pt x="853" y="261"/>
                  </a:cubicBezTo>
                  <a:cubicBezTo>
                    <a:pt x="856" y="279"/>
                    <a:pt x="856" y="279"/>
                    <a:pt x="856" y="279"/>
                  </a:cubicBezTo>
                  <a:cubicBezTo>
                    <a:pt x="837" y="276"/>
                    <a:pt x="837" y="276"/>
                    <a:pt x="837" y="276"/>
                  </a:cubicBezTo>
                  <a:cubicBezTo>
                    <a:pt x="856" y="232"/>
                    <a:pt x="856" y="232"/>
                    <a:pt x="856" y="232"/>
                  </a:cubicBezTo>
                  <a:cubicBezTo>
                    <a:pt x="856" y="232"/>
                    <a:pt x="851" y="226"/>
                    <a:pt x="848" y="215"/>
                  </a:cubicBezTo>
                  <a:cubicBezTo>
                    <a:pt x="846" y="203"/>
                    <a:pt x="827" y="205"/>
                    <a:pt x="827" y="205"/>
                  </a:cubicBezTo>
                  <a:cubicBezTo>
                    <a:pt x="816" y="187"/>
                    <a:pt x="816" y="187"/>
                    <a:pt x="816" y="187"/>
                  </a:cubicBezTo>
                  <a:cubicBezTo>
                    <a:pt x="816" y="187"/>
                    <a:pt x="825" y="167"/>
                    <a:pt x="814" y="159"/>
                  </a:cubicBezTo>
                  <a:cubicBezTo>
                    <a:pt x="802" y="151"/>
                    <a:pt x="787" y="162"/>
                    <a:pt x="787" y="169"/>
                  </a:cubicBezTo>
                  <a:cubicBezTo>
                    <a:pt x="786" y="176"/>
                    <a:pt x="792" y="176"/>
                    <a:pt x="792" y="176"/>
                  </a:cubicBezTo>
                  <a:cubicBezTo>
                    <a:pt x="788" y="185"/>
                    <a:pt x="788" y="185"/>
                    <a:pt x="788" y="185"/>
                  </a:cubicBezTo>
                  <a:cubicBezTo>
                    <a:pt x="768" y="184"/>
                    <a:pt x="768" y="184"/>
                    <a:pt x="768" y="184"/>
                  </a:cubicBezTo>
                  <a:cubicBezTo>
                    <a:pt x="771" y="202"/>
                    <a:pt x="771" y="202"/>
                    <a:pt x="771" y="202"/>
                  </a:cubicBezTo>
                  <a:cubicBezTo>
                    <a:pt x="758" y="196"/>
                    <a:pt x="758" y="196"/>
                    <a:pt x="758" y="196"/>
                  </a:cubicBezTo>
                  <a:cubicBezTo>
                    <a:pt x="746" y="201"/>
                    <a:pt x="746" y="201"/>
                    <a:pt x="746" y="201"/>
                  </a:cubicBezTo>
                  <a:cubicBezTo>
                    <a:pt x="746" y="201"/>
                    <a:pt x="751" y="209"/>
                    <a:pt x="749" y="219"/>
                  </a:cubicBezTo>
                  <a:cubicBezTo>
                    <a:pt x="747" y="230"/>
                    <a:pt x="731" y="238"/>
                    <a:pt x="731" y="238"/>
                  </a:cubicBezTo>
                  <a:cubicBezTo>
                    <a:pt x="736" y="214"/>
                    <a:pt x="736" y="214"/>
                    <a:pt x="736" y="214"/>
                  </a:cubicBezTo>
                  <a:cubicBezTo>
                    <a:pt x="724" y="229"/>
                    <a:pt x="724" y="229"/>
                    <a:pt x="724" y="229"/>
                  </a:cubicBezTo>
                  <a:cubicBezTo>
                    <a:pt x="724" y="229"/>
                    <a:pt x="713" y="227"/>
                    <a:pt x="706" y="237"/>
                  </a:cubicBezTo>
                  <a:cubicBezTo>
                    <a:pt x="699" y="247"/>
                    <a:pt x="710" y="268"/>
                    <a:pt x="710" y="268"/>
                  </a:cubicBezTo>
                  <a:cubicBezTo>
                    <a:pt x="679" y="255"/>
                    <a:pt x="679" y="255"/>
                    <a:pt x="679" y="255"/>
                  </a:cubicBezTo>
                  <a:cubicBezTo>
                    <a:pt x="676" y="279"/>
                    <a:pt x="676" y="279"/>
                    <a:pt x="676" y="279"/>
                  </a:cubicBezTo>
                  <a:cubicBezTo>
                    <a:pt x="665" y="281"/>
                    <a:pt x="665" y="281"/>
                    <a:pt x="665" y="281"/>
                  </a:cubicBezTo>
                  <a:cubicBezTo>
                    <a:pt x="676" y="298"/>
                    <a:pt x="676" y="298"/>
                    <a:pt x="676" y="298"/>
                  </a:cubicBezTo>
                  <a:cubicBezTo>
                    <a:pt x="688" y="297"/>
                    <a:pt x="688" y="297"/>
                    <a:pt x="688" y="297"/>
                  </a:cubicBezTo>
                  <a:cubicBezTo>
                    <a:pt x="685" y="308"/>
                    <a:pt x="685" y="308"/>
                    <a:pt x="685" y="308"/>
                  </a:cubicBezTo>
                  <a:cubicBezTo>
                    <a:pt x="638" y="312"/>
                    <a:pt x="638" y="312"/>
                    <a:pt x="638" y="312"/>
                  </a:cubicBezTo>
                  <a:cubicBezTo>
                    <a:pt x="638" y="312"/>
                    <a:pt x="624" y="302"/>
                    <a:pt x="614" y="310"/>
                  </a:cubicBezTo>
                  <a:cubicBezTo>
                    <a:pt x="604" y="319"/>
                    <a:pt x="620" y="337"/>
                    <a:pt x="620" y="337"/>
                  </a:cubicBezTo>
                  <a:cubicBezTo>
                    <a:pt x="622" y="359"/>
                    <a:pt x="622" y="359"/>
                    <a:pt x="622" y="359"/>
                  </a:cubicBezTo>
                  <a:cubicBezTo>
                    <a:pt x="616" y="373"/>
                    <a:pt x="616" y="373"/>
                    <a:pt x="616" y="373"/>
                  </a:cubicBezTo>
                  <a:cubicBezTo>
                    <a:pt x="620" y="399"/>
                    <a:pt x="620" y="399"/>
                    <a:pt x="620" y="399"/>
                  </a:cubicBezTo>
                  <a:cubicBezTo>
                    <a:pt x="609" y="400"/>
                    <a:pt x="609" y="400"/>
                    <a:pt x="609" y="400"/>
                  </a:cubicBezTo>
                  <a:cubicBezTo>
                    <a:pt x="606" y="348"/>
                    <a:pt x="606" y="348"/>
                    <a:pt x="606" y="348"/>
                  </a:cubicBezTo>
                  <a:cubicBezTo>
                    <a:pt x="595" y="337"/>
                    <a:pt x="595" y="337"/>
                    <a:pt x="595" y="337"/>
                  </a:cubicBezTo>
                  <a:cubicBezTo>
                    <a:pt x="593" y="316"/>
                    <a:pt x="593" y="316"/>
                    <a:pt x="593" y="316"/>
                  </a:cubicBezTo>
                  <a:cubicBezTo>
                    <a:pt x="580" y="317"/>
                    <a:pt x="580" y="317"/>
                    <a:pt x="580" y="317"/>
                  </a:cubicBezTo>
                  <a:cubicBezTo>
                    <a:pt x="569" y="333"/>
                    <a:pt x="569" y="333"/>
                    <a:pt x="569" y="333"/>
                  </a:cubicBezTo>
                  <a:cubicBezTo>
                    <a:pt x="569" y="333"/>
                    <a:pt x="556" y="344"/>
                    <a:pt x="537" y="360"/>
                  </a:cubicBezTo>
                  <a:cubicBezTo>
                    <a:pt x="519" y="376"/>
                    <a:pt x="531" y="409"/>
                    <a:pt x="531" y="409"/>
                  </a:cubicBezTo>
                  <a:cubicBezTo>
                    <a:pt x="531" y="409"/>
                    <a:pt x="548" y="414"/>
                    <a:pt x="546" y="423"/>
                  </a:cubicBezTo>
                  <a:cubicBezTo>
                    <a:pt x="543" y="433"/>
                    <a:pt x="510" y="445"/>
                    <a:pt x="504" y="448"/>
                  </a:cubicBezTo>
                  <a:cubicBezTo>
                    <a:pt x="498" y="451"/>
                    <a:pt x="501" y="461"/>
                    <a:pt x="501" y="461"/>
                  </a:cubicBezTo>
                  <a:cubicBezTo>
                    <a:pt x="501" y="461"/>
                    <a:pt x="480" y="480"/>
                    <a:pt x="463" y="494"/>
                  </a:cubicBezTo>
                  <a:cubicBezTo>
                    <a:pt x="445" y="507"/>
                    <a:pt x="393" y="512"/>
                    <a:pt x="393" y="512"/>
                  </a:cubicBezTo>
                  <a:cubicBezTo>
                    <a:pt x="359" y="505"/>
                    <a:pt x="359" y="505"/>
                    <a:pt x="359" y="505"/>
                  </a:cubicBezTo>
                  <a:cubicBezTo>
                    <a:pt x="332" y="519"/>
                    <a:pt x="332" y="519"/>
                    <a:pt x="332" y="519"/>
                  </a:cubicBezTo>
                  <a:cubicBezTo>
                    <a:pt x="295" y="524"/>
                    <a:pt x="295" y="524"/>
                    <a:pt x="295" y="524"/>
                  </a:cubicBezTo>
                  <a:cubicBezTo>
                    <a:pt x="290" y="529"/>
                    <a:pt x="290" y="529"/>
                    <a:pt x="290" y="529"/>
                  </a:cubicBezTo>
                  <a:cubicBezTo>
                    <a:pt x="290" y="529"/>
                    <a:pt x="280" y="529"/>
                    <a:pt x="271" y="534"/>
                  </a:cubicBezTo>
                  <a:cubicBezTo>
                    <a:pt x="262" y="538"/>
                    <a:pt x="251" y="549"/>
                    <a:pt x="251" y="549"/>
                  </a:cubicBezTo>
                  <a:cubicBezTo>
                    <a:pt x="251" y="549"/>
                    <a:pt x="232" y="550"/>
                    <a:pt x="218" y="554"/>
                  </a:cubicBezTo>
                  <a:cubicBezTo>
                    <a:pt x="204" y="558"/>
                    <a:pt x="188" y="587"/>
                    <a:pt x="188" y="587"/>
                  </a:cubicBezTo>
                  <a:cubicBezTo>
                    <a:pt x="188" y="587"/>
                    <a:pt x="153" y="595"/>
                    <a:pt x="146" y="599"/>
                  </a:cubicBezTo>
                  <a:cubicBezTo>
                    <a:pt x="138" y="604"/>
                    <a:pt x="103" y="649"/>
                    <a:pt x="103" y="649"/>
                  </a:cubicBezTo>
                  <a:cubicBezTo>
                    <a:pt x="109" y="605"/>
                    <a:pt x="109" y="605"/>
                    <a:pt x="109" y="605"/>
                  </a:cubicBezTo>
                  <a:cubicBezTo>
                    <a:pt x="97" y="612"/>
                    <a:pt x="97" y="612"/>
                    <a:pt x="97" y="612"/>
                  </a:cubicBezTo>
                  <a:cubicBezTo>
                    <a:pt x="83" y="649"/>
                    <a:pt x="83" y="649"/>
                    <a:pt x="83" y="649"/>
                  </a:cubicBezTo>
                  <a:cubicBezTo>
                    <a:pt x="83" y="649"/>
                    <a:pt x="69" y="675"/>
                    <a:pt x="62" y="690"/>
                  </a:cubicBezTo>
                  <a:cubicBezTo>
                    <a:pt x="56" y="705"/>
                    <a:pt x="79" y="711"/>
                    <a:pt x="79" y="711"/>
                  </a:cubicBezTo>
                  <a:cubicBezTo>
                    <a:pt x="79" y="711"/>
                    <a:pt x="59" y="732"/>
                    <a:pt x="49" y="741"/>
                  </a:cubicBezTo>
                  <a:cubicBezTo>
                    <a:pt x="38" y="750"/>
                    <a:pt x="58" y="789"/>
                    <a:pt x="59" y="795"/>
                  </a:cubicBezTo>
                  <a:cubicBezTo>
                    <a:pt x="59" y="802"/>
                    <a:pt x="84" y="845"/>
                    <a:pt x="78" y="849"/>
                  </a:cubicBezTo>
                  <a:cubicBezTo>
                    <a:pt x="72" y="854"/>
                    <a:pt x="48" y="813"/>
                    <a:pt x="48" y="813"/>
                  </a:cubicBezTo>
                  <a:cubicBezTo>
                    <a:pt x="36" y="811"/>
                    <a:pt x="36" y="811"/>
                    <a:pt x="36" y="811"/>
                  </a:cubicBezTo>
                  <a:cubicBezTo>
                    <a:pt x="46" y="841"/>
                    <a:pt x="46" y="841"/>
                    <a:pt x="46" y="841"/>
                  </a:cubicBezTo>
                  <a:cubicBezTo>
                    <a:pt x="23" y="821"/>
                    <a:pt x="23" y="821"/>
                    <a:pt x="23" y="821"/>
                  </a:cubicBezTo>
                  <a:cubicBezTo>
                    <a:pt x="23" y="821"/>
                    <a:pt x="19" y="844"/>
                    <a:pt x="22" y="858"/>
                  </a:cubicBezTo>
                  <a:cubicBezTo>
                    <a:pt x="25" y="872"/>
                    <a:pt x="48" y="907"/>
                    <a:pt x="48" y="907"/>
                  </a:cubicBezTo>
                  <a:cubicBezTo>
                    <a:pt x="48" y="907"/>
                    <a:pt x="37" y="929"/>
                    <a:pt x="35" y="937"/>
                  </a:cubicBezTo>
                  <a:cubicBezTo>
                    <a:pt x="33" y="945"/>
                    <a:pt x="63" y="968"/>
                    <a:pt x="64" y="974"/>
                  </a:cubicBezTo>
                  <a:cubicBezTo>
                    <a:pt x="65" y="981"/>
                    <a:pt x="66" y="1003"/>
                    <a:pt x="60" y="1011"/>
                  </a:cubicBezTo>
                  <a:cubicBezTo>
                    <a:pt x="55" y="1019"/>
                    <a:pt x="68" y="1065"/>
                    <a:pt x="68" y="1065"/>
                  </a:cubicBezTo>
                  <a:cubicBezTo>
                    <a:pt x="68" y="1065"/>
                    <a:pt x="64" y="1067"/>
                    <a:pt x="56" y="1073"/>
                  </a:cubicBezTo>
                  <a:cubicBezTo>
                    <a:pt x="49" y="1079"/>
                    <a:pt x="65" y="1115"/>
                    <a:pt x="65" y="1115"/>
                  </a:cubicBezTo>
                  <a:cubicBezTo>
                    <a:pt x="65" y="1115"/>
                    <a:pt x="85" y="1124"/>
                    <a:pt x="87" y="1141"/>
                  </a:cubicBezTo>
                  <a:cubicBezTo>
                    <a:pt x="89" y="1157"/>
                    <a:pt x="60" y="1186"/>
                    <a:pt x="60" y="1186"/>
                  </a:cubicBezTo>
                  <a:cubicBezTo>
                    <a:pt x="60" y="1186"/>
                    <a:pt x="69" y="1219"/>
                    <a:pt x="52" y="1236"/>
                  </a:cubicBezTo>
                  <a:cubicBezTo>
                    <a:pt x="35" y="1252"/>
                    <a:pt x="4" y="1244"/>
                    <a:pt x="4" y="1244"/>
                  </a:cubicBezTo>
                  <a:cubicBezTo>
                    <a:pt x="0" y="1276"/>
                    <a:pt x="0" y="1276"/>
                    <a:pt x="0" y="1276"/>
                  </a:cubicBezTo>
                  <a:cubicBezTo>
                    <a:pt x="0" y="1276"/>
                    <a:pt x="32" y="1284"/>
                    <a:pt x="41" y="1289"/>
                  </a:cubicBezTo>
                  <a:cubicBezTo>
                    <a:pt x="50" y="1295"/>
                    <a:pt x="56" y="1305"/>
                    <a:pt x="56" y="1305"/>
                  </a:cubicBezTo>
                  <a:cubicBezTo>
                    <a:pt x="73" y="1303"/>
                    <a:pt x="73" y="1303"/>
                    <a:pt x="73" y="1303"/>
                  </a:cubicBezTo>
                  <a:cubicBezTo>
                    <a:pt x="73" y="1303"/>
                    <a:pt x="82" y="1312"/>
                    <a:pt x="96" y="1317"/>
                  </a:cubicBezTo>
                  <a:cubicBezTo>
                    <a:pt x="109" y="1322"/>
                    <a:pt x="140" y="1312"/>
                    <a:pt x="153" y="1311"/>
                  </a:cubicBezTo>
                  <a:cubicBezTo>
                    <a:pt x="165" y="1311"/>
                    <a:pt x="155" y="1295"/>
                    <a:pt x="155" y="1295"/>
                  </a:cubicBezTo>
                  <a:cubicBezTo>
                    <a:pt x="180" y="1297"/>
                    <a:pt x="180" y="1297"/>
                    <a:pt x="180" y="1297"/>
                  </a:cubicBezTo>
                  <a:cubicBezTo>
                    <a:pt x="186" y="1285"/>
                    <a:pt x="186" y="1285"/>
                    <a:pt x="186" y="1285"/>
                  </a:cubicBezTo>
                  <a:cubicBezTo>
                    <a:pt x="213" y="1281"/>
                    <a:pt x="213" y="1281"/>
                    <a:pt x="213" y="1281"/>
                  </a:cubicBezTo>
                  <a:cubicBezTo>
                    <a:pt x="213" y="1281"/>
                    <a:pt x="237" y="1256"/>
                    <a:pt x="250" y="1255"/>
                  </a:cubicBezTo>
                  <a:cubicBezTo>
                    <a:pt x="262" y="1255"/>
                    <a:pt x="274" y="1270"/>
                    <a:pt x="281" y="1268"/>
                  </a:cubicBezTo>
                  <a:cubicBezTo>
                    <a:pt x="289" y="1266"/>
                    <a:pt x="326" y="1248"/>
                    <a:pt x="326" y="1248"/>
                  </a:cubicBezTo>
                  <a:cubicBezTo>
                    <a:pt x="326" y="1248"/>
                    <a:pt x="348" y="1258"/>
                    <a:pt x="359" y="1256"/>
                  </a:cubicBezTo>
                  <a:cubicBezTo>
                    <a:pt x="370" y="1255"/>
                    <a:pt x="377" y="1245"/>
                    <a:pt x="384" y="1244"/>
                  </a:cubicBezTo>
                  <a:cubicBezTo>
                    <a:pt x="392" y="1244"/>
                    <a:pt x="411" y="1256"/>
                    <a:pt x="426" y="1253"/>
                  </a:cubicBezTo>
                  <a:cubicBezTo>
                    <a:pt x="441" y="1250"/>
                    <a:pt x="438" y="1231"/>
                    <a:pt x="438" y="1231"/>
                  </a:cubicBezTo>
                  <a:cubicBezTo>
                    <a:pt x="438" y="1231"/>
                    <a:pt x="450" y="1228"/>
                    <a:pt x="454" y="1225"/>
                  </a:cubicBezTo>
                  <a:cubicBezTo>
                    <a:pt x="459" y="1222"/>
                    <a:pt x="465" y="1195"/>
                    <a:pt x="478" y="1183"/>
                  </a:cubicBezTo>
                  <a:cubicBezTo>
                    <a:pt x="491" y="1171"/>
                    <a:pt x="524" y="1179"/>
                    <a:pt x="535" y="1176"/>
                  </a:cubicBezTo>
                  <a:cubicBezTo>
                    <a:pt x="545" y="1174"/>
                    <a:pt x="579" y="1155"/>
                    <a:pt x="594" y="1153"/>
                  </a:cubicBezTo>
                  <a:cubicBezTo>
                    <a:pt x="610" y="1151"/>
                    <a:pt x="612" y="1158"/>
                    <a:pt x="631" y="1161"/>
                  </a:cubicBezTo>
                  <a:cubicBezTo>
                    <a:pt x="650" y="1164"/>
                    <a:pt x="697" y="1131"/>
                    <a:pt x="716" y="1125"/>
                  </a:cubicBezTo>
                  <a:cubicBezTo>
                    <a:pt x="736" y="1119"/>
                    <a:pt x="819" y="1113"/>
                    <a:pt x="819" y="1113"/>
                  </a:cubicBezTo>
                  <a:cubicBezTo>
                    <a:pt x="826" y="1106"/>
                    <a:pt x="826" y="1106"/>
                    <a:pt x="826" y="1106"/>
                  </a:cubicBezTo>
                  <a:cubicBezTo>
                    <a:pt x="826" y="1106"/>
                    <a:pt x="854" y="1131"/>
                    <a:pt x="872" y="1138"/>
                  </a:cubicBezTo>
                  <a:cubicBezTo>
                    <a:pt x="889" y="1145"/>
                    <a:pt x="896" y="1136"/>
                    <a:pt x="896" y="1136"/>
                  </a:cubicBezTo>
                  <a:cubicBezTo>
                    <a:pt x="896" y="1136"/>
                    <a:pt x="899" y="1153"/>
                    <a:pt x="907" y="1156"/>
                  </a:cubicBezTo>
                  <a:cubicBezTo>
                    <a:pt x="915" y="1159"/>
                    <a:pt x="920" y="1152"/>
                    <a:pt x="920" y="1152"/>
                  </a:cubicBezTo>
                  <a:cubicBezTo>
                    <a:pt x="923" y="1167"/>
                    <a:pt x="923" y="1167"/>
                    <a:pt x="923" y="1167"/>
                  </a:cubicBezTo>
                  <a:cubicBezTo>
                    <a:pt x="923" y="1167"/>
                    <a:pt x="935" y="1165"/>
                    <a:pt x="936" y="1174"/>
                  </a:cubicBezTo>
                  <a:cubicBezTo>
                    <a:pt x="937" y="1182"/>
                    <a:pt x="918" y="1206"/>
                    <a:pt x="918" y="1206"/>
                  </a:cubicBezTo>
                  <a:cubicBezTo>
                    <a:pt x="932" y="1225"/>
                    <a:pt x="932" y="1225"/>
                    <a:pt x="932" y="1225"/>
                  </a:cubicBezTo>
                  <a:cubicBezTo>
                    <a:pt x="941" y="1216"/>
                    <a:pt x="941" y="1216"/>
                    <a:pt x="941" y="1216"/>
                  </a:cubicBezTo>
                  <a:cubicBezTo>
                    <a:pt x="954" y="1243"/>
                    <a:pt x="954" y="1243"/>
                    <a:pt x="954" y="1243"/>
                  </a:cubicBezTo>
                  <a:cubicBezTo>
                    <a:pt x="954" y="1243"/>
                    <a:pt x="963" y="1270"/>
                    <a:pt x="964" y="1279"/>
                  </a:cubicBezTo>
                  <a:cubicBezTo>
                    <a:pt x="965" y="1287"/>
                    <a:pt x="937" y="1280"/>
                    <a:pt x="937" y="1280"/>
                  </a:cubicBezTo>
                  <a:cubicBezTo>
                    <a:pt x="944" y="1303"/>
                    <a:pt x="944" y="1303"/>
                    <a:pt x="944" y="1303"/>
                  </a:cubicBezTo>
                  <a:cubicBezTo>
                    <a:pt x="944" y="1303"/>
                    <a:pt x="953" y="1303"/>
                    <a:pt x="962" y="1304"/>
                  </a:cubicBezTo>
                  <a:cubicBezTo>
                    <a:pt x="971" y="1304"/>
                    <a:pt x="970" y="1311"/>
                    <a:pt x="970" y="1311"/>
                  </a:cubicBezTo>
                  <a:cubicBezTo>
                    <a:pt x="983" y="1308"/>
                    <a:pt x="983" y="1308"/>
                    <a:pt x="983" y="1308"/>
                  </a:cubicBezTo>
                  <a:cubicBezTo>
                    <a:pt x="983" y="1308"/>
                    <a:pt x="979" y="1294"/>
                    <a:pt x="979" y="1283"/>
                  </a:cubicBezTo>
                  <a:cubicBezTo>
                    <a:pt x="980" y="1272"/>
                    <a:pt x="998" y="1263"/>
                    <a:pt x="1010" y="1261"/>
                  </a:cubicBezTo>
                  <a:cubicBezTo>
                    <a:pt x="1022" y="1258"/>
                    <a:pt x="1045" y="1222"/>
                    <a:pt x="1045" y="1222"/>
                  </a:cubicBezTo>
                  <a:cubicBezTo>
                    <a:pt x="1060" y="1224"/>
                    <a:pt x="1060" y="1224"/>
                    <a:pt x="1060" y="1224"/>
                  </a:cubicBezTo>
                  <a:cubicBezTo>
                    <a:pt x="1074" y="1191"/>
                    <a:pt x="1074" y="1191"/>
                    <a:pt x="1074" y="1191"/>
                  </a:cubicBezTo>
                  <a:cubicBezTo>
                    <a:pt x="1074" y="1191"/>
                    <a:pt x="1093" y="1188"/>
                    <a:pt x="1102" y="1187"/>
                  </a:cubicBezTo>
                  <a:cubicBezTo>
                    <a:pt x="1110" y="1186"/>
                    <a:pt x="1115" y="1156"/>
                    <a:pt x="1115" y="1156"/>
                  </a:cubicBezTo>
                  <a:cubicBezTo>
                    <a:pt x="1115" y="1156"/>
                    <a:pt x="1120" y="1180"/>
                    <a:pt x="1121" y="1187"/>
                  </a:cubicBezTo>
                  <a:cubicBezTo>
                    <a:pt x="1122" y="1195"/>
                    <a:pt x="1093" y="1209"/>
                    <a:pt x="1093" y="1209"/>
                  </a:cubicBezTo>
                  <a:cubicBezTo>
                    <a:pt x="1083" y="1210"/>
                    <a:pt x="1083" y="1210"/>
                    <a:pt x="1083" y="1210"/>
                  </a:cubicBezTo>
                  <a:cubicBezTo>
                    <a:pt x="1078" y="1217"/>
                    <a:pt x="1078" y="1217"/>
                    <a:pt x="1078" y="1217"/>
                  </a:cubicBezTo>
                  <a:cubicBezTo>
                    <a:pt x="1089" y="1240"/>
                    <a:pt x="1089" y="1240"/>
                    <a:pt x="1089" y="1240"/>
                  </a:cubicBezTo>
                  <a:cubicBezTo>
                    <a:pt x="1089" y="1240"/>
                    <a:pt x="1079" y="1244"/>
                    <a:pt x="1072" y="1248"/>
                  </a:cubicBezTo>
                  <a:cubicBezTo>
                    <a:pt x="1065" y="1253"/>
                    <a:pt x="1047" y="1276"/>
                    <a:pt x="1047" y="1276"/>
                  </a:cubicBezTo>
                  <a:cubicBezTo>
                    <a:pt x="1047" y="1276"/>
                    <a:pt x="1042" y="1295"/>
                    <a:pt x="1035" y="1299"/>
                  </a:cubicBezTo>
                  <a:cubicBezTo>
                    <a:pt x="1028" y="1304"/>
                    <a:pt x="1004" y="1313"/>
                    <a:pt x="1011" y="1319"/>
                  </a:cubicBezTo>
                  <a:cubicBezTo>
                    <a:pt x="1018" y="1326"/>
                    <a:pt x="1045" y="1316"/>
                    <a:pt x="1054" y="1313"/>
                  </a:cubicBezTo>
                  <a:cubicBezTo>
                    <a:pt x="1062" y="1309"/>
                    <a:pt x="1063" y="1296"/>
                    <a:pt x="1069" y="1287"/>
                  </a:cubicBezTo>
                  <a:cubicBezTo>
                    <a:pt x="1076" y="1277"/>
                    <a:pt x="1090" y="1267"/>
                    <a:pt x="1090" y="1267"/>
                  </a:cubicBezTo>
                  <a:cubicBezTo>
                    <a:pt x="1090" y="1267"/>
                    <a:pt x="1093" y="1292"/>
                    <a:pt x="1095" y="1298"/>
                  </a:cubicBezTo>
                  <a:cubicBezTo>
                    <a:pt x="1097" y="1304"/>
                    <a:pt x="1084" y="1315"/>
                    <a:pt x="1075" y="1320"/>
                  </a:cubicBezTo>
                  <a:cubicBezTo>
                    <a:pt x="1067" y="1325"/>
                    <a:pt x="1066" y="1333"/>
                    <a:pt x="1072" y="1339"/>
                  </a:cubicBezTo>
                  <a:cubicBezTo>
                    <a:pt x="1079" y="1344"/>
                    <a:pt x="1110" y="1344"/>
                    <a:pt x="1110" y="1344"/>
                  </a:cubicBezTo>
                  <a:cubicBezTo>
                    <a:pt x="1115" y="1351"/>
                    <a:pt x="1115" y="1351"/>
                    <a:pt x="1115" y="1351"/>
                  </a:cubicBezTo>
                  <a:cubicBezTo>
                    <a:pt x="1100" y="1364"/>
                    <a:pt x="1100" y="1364"/>
                    <a:pt x="1100" y="1364"/>
                  </a:cubicBezTo>
                  <a:cubicBezTo>
                    <a:pt x="1100" y="1364"/>
                    <a:pt x="1116" y="1393"/>
                    <a:pt x="1118" y="1403"/>
                  </a:cubicBezTo>
                  <a:cubicBezTo>
                    <a:pt x="1121" y="1414"/>
                    <a:pt x="1097" y="1430"/>
                    <a:pt x="1088" y="1441"/>
                  </a:cubicBezTo>
                  <a:cubicBezTo>
                    <a:pt x="1078" y="1452"/>
                    <a:pt x="1110" y="1474"/>
                    <a:pt x="1118" y="1477"/>
                  </a:cubicBezTo>
                  <a:cubicBezTo>
                    <a:pt x="1125" y="1480"/>
                    <a:pt x="1139" y="1500"/>
                    <a:pt x="1154" y="1505"/>
                  </a:cubicBezTo>
                  <a:cubicBezTo>
                    <a:pt x="1169" y="1510"/>
                    <a:pt x="1180" y="1501"/>
                    <a:pt x="1194" y="1504"/>
                  </a:cubicBezTo>
                  <a:cubicBezTo>
                    <a:pt x="1207" y="1507"/>
                    <a:pt x="1210" y="1524"/>
                    <a:pt x="1229" y="1527"/>
                  </a:cubicBezTo>
                  <a:cubicBezTo>
                    <a:pt x="1249" y="1531"/>
                    <a:pt x="1297" y="1498"/>
                    <a:pt x="1297" y="1498"/>
                  </a:cubicBezTo>
                  <a:cubicBezTo>
                    <a:pt x="1297" y="1498"/>
                    <a:pt x="1290" y="1484"/>
                    <a:pt x="1305" y="1475"/>
                  </a:cubicBezTo>
                  <a:cubicBezTo>
                    <a:pt x="1320" y="1466"/>
                    <a:pt x="1319" y="1502"/>
                    <a:pt x="1319" y="1502"/>
                  </a:cubicBezTo>
                  <a:cubicBezTo>
                    <a:pt x="1330" y="1501"/>
                    <a:pt x="1330" y="1501"/>
                    <a:pt x="1330" y="1501"/>
                  </a:cubicBezTo>
                  <a:cubicBezTo>
                    <a:pt x="1320" y="1517"/>
                    <a:pt x="1320" y="1517"/>
                    <a:pt x="1320" y="1517"/>
                  </a:cubicBezTo>
                  <a:cubicBezTo>
                    <a:pt x="1333" y="1518"/>
                    <a:pt x="1333" y="1518"/>
                    <a:pt x="1333" y="1518"/>
                  </a:cubicBezTo>
                  <a:cubicBezTo>
                    <a:pt x="1333" y="1518"/>
                    <a:pt x="1334" y="1530"/>
                    <a:pt x="1341" y="1539"/>
                  </a:cubicBezTo>
                  <a:cubicBezTo>
                    <a:pt x="1347" y="1547"/>
                    <a:pt x="1354" y="1543"/>
                    <a:pt x="1354" y="1543"/>
                  </a:cubicBezTo>
                  <a:cubicBezTo>
                    <a:pt x="1360" y="1532"/>
                    <a:pt x="1360" y="1532"/>
                    <a:pt x="1360" y="1532"/>
                  </a:cubicBezTo>
                  <a:cubicBezTo>
                    <a:pt x="1360" y="1532"/>
                    <a:pt x="1378" y="1530"/>
                    <a:pt x="1388" y="1521"/>
                  </a:cubicBezTo>
                  <a:cubicBezTo>
                    <a:pt x="1399" y="1513"/>
                    <a:pt x="1443" y="1482"/>
                    <a:pt x="1443" y="1482"/>
                  </a:cubicBezTo>
                  <a:cubicBezTo>
                    <a:pt x="1438" y="1472"/>
                    <a:pt x="1438" y="1472"/>
                    <a:pt x="1438" y="1472"/>
                  </a:cubicBezTo>
                  <a:cubicBezTo>
                    <a:pt x="1462" y="1468"/>
                    <a:pt x="1462" y="1468"/>
                    <a:pt x="1462" y="1468"/>
                  </a:cubicBezTo>
                  <a:cubicBezTo>
                    <a:pt x="1471" y="1476"/>
                    <a:pt x="1471" y="1476"/>
                    <a:pt x="1471" y="1476"/>
                  </a:cubicBezTo>
                  <a:cubicBezTo>
                    <a:pt x="1471" y="1476"/>
                    <a:pt x="1510" y="1469"/>
                    <a:pt x="1533" y="1461"/>
                  </a:cubicBezTo>
                  <a:cubicBezTo>
                    <a:pt x="1555" y="1452"/>
                    <a:pt x="1557" y="1408"/>
                    <a:pt x="1560" y="1396"/>
                  </a:cubicBezTo>
                  <a:cubicBezTo>
                    <a:pt x="1564" y="1385"/>
                    <a:pt x="1590" y="1370"/>
                    <a:pt x="1590" y="1370"/>
                  </a:cubicBezTo>
                  <a:cubicBezTo>
                    <a:pt x="1590" y="1355"/>
                    <a:pt x="1590" y="1355"/>
                    <a:pt x="1590" y="1355"/>
                  </a:cubicBezTo>
                  <a:cubicBezTo>
                    <a:pt x="1590" y="1355"/>
                    <a:pt x="1605" y="1349"/>
                    <a:pt x="1613" y="1338"/>
                  </a:cubicBezTo>
                  <a:cubicBezTo>
                    <a:pt x="1620" y="1328"/>
                    <a:pt x="1631" y="1314"/>
                    <a:pt x="1631" y="1314"/>
                  </a:cubicBezTo>
                  <a:cubicBezTo>
                    <a:pt x="1631" y="1314"/>
                    <a:pt x="1633" y="1285"/>
                    <a:pt x="1641" y="1275"/>
                  </a:cubicBezTo>
                  <a:cubicBezTo>
                    <a:pt x="1648" y="1266"/>
                    <a:pt x="1682" y="1228"/>
                    <a:pt x="1695" y="1222"/>
                  </a:cubicBezTo>
                  <a:cubicBezTo>
                    <a:pt x="1707" y="1216"/>
                    <a:pt x="1709" y="1185"/>
                    <a:pt x="1709" y="1185"/>
                  </a:cubicBezTo>
                  <a:cubicBezTo>
                    <a:pt x="1709" y="1185"/>
                    <a:pt x="1732" y="1189"/>
                    <a:pt x="1741" y="1179"/>
                  </a:cubicBezTo>
                  <a:cubicBezTo>
                    <a:pt x="1750" y="1170"/>
                    <a:pt x="1797" y="1111"/>
                    <a:pt x="1800" y="1104"/>
                  </a:cubicBezTo>
                  <a:cubicBezTo>
                    <a:pt x="1804" y="1098"/>
                    <a:pt x="1803" y="1067"/>
                    <a:pt x="1813" y="1060"/>
                  </a:cubicBezTo>
                  <a:cubicBezTo>
                    <a:pt x="1822" y="1053"/>
                    <a:pt x="1864" y="971"/>
                    <a:pt x="1874" y="952"/>
                  </a:cubicBezTo>
                  <a:cubicBezTo>
                    <a:pt x="1884" y="933"/>
                    <a:pt x="1872" y="920"/>
                    <a:pt x="1871" y="907"/>
                  </a:cubicBezTo>
                  <a:cubicBezTo>
                    <a:pt x="1870" y="894"/>
                    <a:pt x="1880" y="873"/>
                    <a:pt x="1889" y="859"/>
                  </a:cubicBezTo>
                  <a:cubicBezTo>
                    <a:pt x="1898" y="845"/>
                    <a:pt x="1888" y="783"/>
                    <a:pt x="1888" y="783"/>
                  </a:cubicBezTo>
                  <a:lnTo>
                    <a:pt x="1869" y="774"/>
                  </a:lnTo>
                  <a:close/>
                  <a:moveTo>
                    <a:pt x="1347" y="1624"/>
                  </a:moveTo>
                  <a:cubicBezTo>
                    <a:pt x="1349" y="1631"/>
                    <a:pt x="1373" y="1619"/>
                    <a:pt x="1364" y="1612"/>
                  </a:cubicBezTo>
                  <a:cubicBezTo>
                    <a:pt x="1355" y="1605"/>
                    <a:pt x="1347" y="1624"/>
                    <a:pt x="1347" y="1624"/>
                  </a:cubicBezTo>
                  <a:close/>
                  <a:moveTo>
                    <a:pt x="1332" y="1632"/>
                  </a:moveTo>
                  <a:cubicBezTo>
                    <a:pt x="1323" y="1626"/>
                    <a:pt x="1312" y="1646"/>
                    <a:pt x="1312" y="1646"/>
                  </a:cubicBezTo>
                  <a:cubicBezTo>
                    <a:pt x="1312" y="1646"/>
                    <a:pt x="1308" y="1640"/>
                    <a:pt x="1304" y="1640"/>
                  </a:cubicBezTo>
                  <a:cubicBezTo>
                    <a:pt x="1300" y="1639"/>
                    <a:pt x="1277" y="1643"/>
                    <a:pt x="1277" y="1643"/>
                  </a:cubicBezTo>
                  <a:cubicBezTo>
                    <a:pt x="1274" y="1651"/>
                    <a:pt x="1274" y="1651"/>
                    <a:pt x="1274" y="1651"/>
                  </a:cubicBezTo>
                  <a:cubicBezTo>
                    <a:pt x="1261" y="1640"/>
                    <a:pt x="1261" y="1640"/>
                    <a:pt x="1261" y="1640"/>
                  </a:cubicBezTo>
                  <a:cubicBezTo>
                    <a:pt x="1236" y="1638"/>
                    <a:pt x="1236" y="1638"/>
                    <a:pt x="1236" y="1638"/>
                  </a:cubicBezTo>
                  <a:cubicBezTo>
                    <a:pt x="1221" y="1620"/>
                    <a:pt x="1221" y="1620"/>
                    <a:pt x="1221" y="1620"/>
                  </a:cubicBezTo>
                  <a:cubicBezTo>
                    <a:pt x="1221" y="1620"/>
                    <a:pt x="1216" y="1623"/>
                    <a:pt x="1210" y="1624"/>
                  </a:cubicBezTo>
                  <a:cubicBezTo>
                    <a:pt x="1205" y="1625"/>
                    <a:pt x="1188" y="1605"/>
                    <a:pt x="1188" y="1605"/>
                  </a:cubicBezTo>
                  <a:cubicBezTo>
                    <a:pt x="1184" y="1616"/>
                    <a:pt x="1184" y="1616"/>
                    <a:pt x="1184" y="1616"/>
                  </a:cubicBezTo>
                  <a:cubicBezTo>
                    <a:pt x="1188" y="1629"/>
                    <a:pt x="1188" y="1629"/>
                    <a:pt x="1188" y="1629"/>
                  </a:cubicBezTo>
                  <a:cubicBezTo>
                    <a:pt x="1188" y="1629"/>
                    <a:pt x="1189" y="1645"/>
                    <a:pt x="1187" y="1650"/>
                  </a:cubicBezTo>
                  <a:cubicBezTo>
                    <a:pt x="1185" y="1655"/>
                    <a:pt x="1179" y="1663"/>
                    <a:pt x="1185" y="1674"/>
                  </a:cubicBezTo>
                  <a:cubicBezTo>
                    <a:pt x="1191" y="1685"/>
                    <a:pt x="1184" y="1691"/>
                    <a:pt x="1176" y="1694"/>
                  </a:cubicBezTo>
                  <a:cubicBezTo>
                    <a:pt x="1167" y="1696"/>
                    <a:pt x="1160" y="1686"/>
                    <a:pt x="1160" y="1686"/>
                  </a:cubicBezTo>
                  <a:cubicBezTo>
                    <a:pt x="1160" y="1686"/>
                    <a:pt x="1156" y="1700"/>
                    <a:pt x="1155" y="1713"/>
                  </a:cubicBezTo>
                  <a:cubicBezTo>
                    <a:pt x="1154" y="1727"/>
                    <a:pt x="1166" y="1748"/>
                    <a:pt x="1166" y="1748"/>
                  </a:cubicBezTo>
                  <a:cubicBezTo>
                    <a:pt x="1181" y="1750"/>
                    <a:pt x="1181" y="1750"/>
                    <a:pt x="1181" y="1750"/>
                  </a:cubicBezTo>
                  <a:cubicBezTo>
                    <a:pt x="1168" y="1757"/>
                    <a:pt x="1168" y="1757"/>
                    <a:pt x="1168" y="1757"/>
                  </a:cubicBezTo>
                  <a:cubicBezTo>
                    <a:pt x="1173" y="1774"/>
                    <a:pt x="1173" y="1774"/>
                    <a:pt x="1173" y="1774"/>
                  </a:cubicBezTo>
                  <a:cubicBezTo>
                    <a:pt x="1173" y="1774"/>
                    <a:pt x="1185" y="1769"/>
                    <a:pt x="1191" y="1766"/>
                  </a:cubicBezTo>
                  <a:cubicBezTo>
                    <a:pt x="1198" y="1763"/>
                    <a:pt x="1203" y="1773"/>
                    <a:pt x="1214" y="1769"/>
                  </a:cubicBezTo>
                  <a:cubicBezTo>
                    <a:pt x="1225" y="1764"/>
                    <a:pt x="1232" y="1748"/>
                    <a:pt x="1239" y="1752"/>
                  </a:cubicBezTo>
                  <a:cubicBezTo>
                    <a:pt x="1247" y="1757"/>
                    <a:pt x="1236" y="1768"/>
                    <a:pt x="1236" y="1768"/>
                  </a:cubicBezTo>
                  <a:cubicBezTo>
                    <a:pt x="1247" y="1772"/>
                    <a:pt x="1247" y="1772"/>
                    <a:pt x="1247" y="1772"/>
                  </a:cubicBezTo>
                  <a:cubicBezTo>
                    <a:pt x="1247" y="1772"/>
                    <a:pt x="1268" y="1744"/>
                    <a:pt x="1277" y="1738"/>
                  </a:cubicBezTo>
                  <a:cubicBezTo>
                    <a:pt x="1285" y="1733"/>
                    <a:pt x="1268" y="1726"/>
                    <a:pt x="1268" y="1726"/>
                  </a:cubicBezTo>
                  <a:cubicBezTo>
                    <a:pt x="1282" y="1706"/>
                    <a:pt x="1282" y="1706"/>
                    <a:pt x="1282" y="1706"/>
                  </a:cubicBezTo>
                  <a:cubicBezTo>
                    <a:pt x="1282" y="1706"/>
                    <a:pt x="1292" y="1710"/>
                    <a:pt x="1303" y="1704"/>
                  </a:cubicBezTo>
                  <a:cubicBezTo>
                    <a:pt x="1314" y="1699"/>
                    <a:pt x="1305" y="1678"/>
                    <a:pt x="1315" y="1667"/>
                  </a:cubicBezTo>
                  <a:cubicBezTo>
                    <a:pt x="1326" y="1656"/>
                    <a:pt x="1340" y="1638"/>
                    <a:pt x="1332" y="1632"/>
                  </a:cubicBezTo>
                  <a:close/>
                  <a:moveTo>
                    <a:pt x="1269" y="162"/>
                  </a:moveTo>
                  <a:cubicBezTo>
                    <a:pt x="1263" y="162"/>
                    <a:pt x="1259" y="193"/>
                    <a:pt x="1259" y="193"/>
                  </a:cubicBezTo>
                  <a:cubicBezTo>
                    <a:pt x="1269" y="207"/>
                    <a:pt x="1290" y="195"/>
                    <a:pt x="1290" y="195"/>
                  </a:cubicBezTo>
                  <a:cubicBezTo>
                    <a:pt x="1286" y="186"/>
                    <a:pt x="1286" y="186"/>
                    <a:pt x="1286" y="186"/>
                  </a:cubicBezTo>
                  <a:cubicBezTo>
                    <a:pt x="1290" y="167"/>
                    <a:pt x="1290" y="167"/>
                    <a:pt x="1290" y="167"/>
                  </a:cubicBezTo>
                  <a:cubicBezTo>
                    <a:pt x="1290" y="167"/>
                    <a:pt x="1274" y="162"/>
                    <a:pt x="1269" y="162"/>
                  </a:cubicBezTo>
                  <a:close/>
                  <a:moveTo>
                    <a:pt x="1182" y="1554"/>
                  </a:moveTo>
                  <a:cubicBezTo>
                    <a:pt x="1175" y="1581"/>
                    <a:pt x="1175" y="1581"/>
                    <a:pt x="1175" y="1581"/>
                  </a:cubicBezTo>
                  <a:cubicBezTo>
                    <a:pt x="1209" y="1549"/>
                    <a:pt x="1209" y="1549"/>
                    <a:pt x="1209" y="1549"/>
                  </a:cubicBezTo>
                  <a:lnTo>
                    <a:pt x="1182" y="1554"/>
                  </a:lnTo>
                  <a:close/>
                  <a:moveTo>
                    <a:pt x="1357" y="1597"/>
                  </a:moveTo>
                  <a:cubicBezTo>
                    <a:pt x="1345" y="1572"/>
                    <a:pt x="1345" y="1572"/>
                    <a:pt x="1345" y="1572"/>
                  </a:cubicBezTo>
                  <a:cubicBezTo>
                    <a:pt x="1345" y="1572"/>
                    <a:pt x="1333" y="1579"/>
                    <a:pt x="1332" y="1587"/>
                  </a:cubicBezTo>
                  <a:cubicBezTo>
                    <a:pt x="1332" y="1594"/>
                    <a:pt x="1334" y="1597"/>
                    <a:pt x="1343" y="1600"/>
                  </a:cubicBezTo>
                  <a:cubicBezTo>
                    <a:pt x="1352" y="1603"/>
                    <a:pt x="1357" y="1597"/>
                    <a:pt x="1357" y="1597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" name="Freeform 339">
              <a:extLst>
                <a:ext uri="{FF2B5EF4-FFF2-40B4-BE49-F238E27FC236}">
                  <a16:creationId xmlns:a16="http://schemas.microsoft.com/office/drawing/2014/main" id="{E7EE5F88-EE07-D2E9-4314-6001263B56F5}"/>
                </a:ext>
              </a:extLst>
            </p:cNvPr>
            <p:cNvSpPr>
              <a:spLocks/>
            </p:cNvSpPr>
            <p:nvPr/>
          </p:nvSpPr>
          <p:spPr bwMode="gray">
            <a:xfrm>
              <a:off x="-14816" y="-15399"/>
              <a:ext cx="52" cy="59"/>
            </a:xfrm>
            <a:custGeom>
              <a:avLst/>
              <a:gdLst>
                <a:gd name="T0" fmla="*/ 0 w 22"/>
                <a:gd name="T1" fmla="*/ 15 h 25"/>
                <a:gd name="T2" fmla="*/ 12 w 22"/>
                <a:gd name="T3" fmla="*/ 22 h 25"/>
                <a:gd name="T4" fmla="*/ 15 w 22"/>
                <a:gd name="T5" fmla="*/ 9 h 25"/>
                <a:gd name="T6" fmla="*/ 0 w 22"/>
                <a:gd name="T7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5">
                  <a:moveTo>
                    <a:pt x="0" y="15"/>
                  </a:moveTo>
                  <a:cubicBezTo>
                    <a:pt x="0" y="15"/>
                    <a:pt x="2" y="25"/>
                    <a:pt x="12" y="22"/>
                  </a:cubicBezTo>
                  <a:cubicBezTo>
                    <a:pt x="22" y="19"/>
                    <a:pt x="18" y="18"/>
                    <a:pt x="15" y="9"/>
                  </a:cubicBezTo>
                  <a:cubicBezTo>
                    <a:pt x="12" y="0"/>
                    <a:pt x="0" y="4"/>
                    <a:pt x="0" y="15"/>
                  </a:cubicBezTo>
                  <a:close/>
                </a:path>
              </a:pathLst>
            </a:custGeom>
            <a:grpFill/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" name="Freeform 340">
              <a:extLst>
                <a:ext uri="{FF2B5EF4-FFF2-40B4-BE49-F238E27FC236}">
                  <a16:creationId xmlns:a16="http://schemas.microsoft.com/office/drawing/2014/main" id="{F2C927E4-E113-9BF8-5686-CA90934F4AA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8896" y="-19856"/>
              <a:ext cx="8783" cy="4554"/>
            </a:xfrm>
            <a:custGeom>
              <a:avLst/>
              <a:gdLst>
                <a:gd name="T0" fmla="*/ 1824 w 3718"/>
                <a:gd name="T1" fmla="*/ 304 h 1928"/>
                <a:gd name="T2" fmla="*/ 1868 w 3718"/>
                <a:gd name="T3" fmla="*/ 216 h 1928"/>
                <a:gd name="T4" fmla="*/ 141 w 3718"/>
                <a:gd name="T5" fmla="*/ 1354 h 1928"/>
                <a:gd name="T6" fmla="*/ 138 w 3718"/>
                <a:gd name="T7" fmla="*/ 1561 h 1928"/>
                <a:gd name="T8" fmla="*/ 1554 w 3718"/>
                <a:gd name="T9" fmla="*/ 213 h 1928"/>
                <a:gd name="T10" fmla="*/ 34 w 3718"/>
                <a:gd name="T11" fmla="*/ 1340 h 1928"/>
                <a:gd name="T12" fmla="*/ 1227 w 3718"/>
                <a:gd name="T13" fmla="*/ 437 h 1928"/>
                <a:gd name="T14" fmla="*/ 2245 w 3718"/>
                <a:gd name="T15" fmla="*/ 414 h 1928"/>
                <a:gd name="T16" fmla="*/ 2627 w 3718"/>
                <a:gd name="T17" fmla="*/ 171 h 1928"/>
                <a:gd name="T18" fmla="*/ 2592 w 3718"/>
                <a:gd name="T19" fmla="*/ 114 h 1928"/>
                <a:gd name="T20" fmla="*/ 2731 w 3718"/>
                <a:gd name="T21" fmla="*/ 327 h 1928"/>
                <a:gd name="T22" fmla="*/ 2578 w 3718"/>
                <a:gd name="T23" fmla="*/ 240 h 1928"/>
                <a:gd name="T24" fmla="*/ 2488 w 3718"/>
                <a:gd name="T25" fmla="*/ 156 h 1928"/>
                <a:gd name="T26" fmla="*/ 1744 w 3718"/>
                <a:gd name="T27" fmla="*/ 405 h 1928"/>
                <a:gd name="T28" fmla="*/ 1851 w 3718"/>
                <a:gd name="T29" fmla="*/ 586 h 1928"/>
                <a:gd name="T30" fmla="*/ 2278 w 3718"/>
                <a:gd name="T31" fmla="*/ 144 h 1928"/>
                <a:gd name="T32" fmla="*/ 3024 w 3718"/>
                <a:gd name="T33" fmla="*/ 564 h 1928"/>
                <a:gd name="T34" fmla="*/ 2988 w 3718"/>
                <a:gd name="T35" fmla="*/ 474 h 1928"/>
                <a:gd name="T36" fmla="*/ 2753 w 3718"/>
                <a:gd name="T37" fmla="*/ 381 h 1928"/>
                <a:gd name="T38" fmla="*/ 2565 w 3718"/>
                <a:gd name="T39" fmla="*/ 358 h 1928"/>
                <a:gd name="T40" fmla="*/ 2816 w 3718"/>
                <a:gd name="T41" fmla="*/ 590 h 1928"/>
                <a:gd name="T42" fmla="*/ 2732 w 3718"/>
                <a:gd name="T43" fmla="*/ 829 h 1928"/>
                <a:gd name="T44" fmla="*/ 2995 w 3718"/>
                <a:gd name="T45" fmla="*/ 792 h 1928"/>
                <a:gd name="T46" fmla="*/ 3152 w 3718"/>
                <a:gd name="T47" fmla="*/ 694 h 1928"/>
                <a:gd name="T48" fmla="*/ 2821 w 3718"/>
                <a:gd name="T49" fmla="*/ 613 h 1928"/>
                <a:gd name="T50" fmla="*/ 3034 w 3718"/>
                <a:gd name="T51" fmla="*/ 25 h 1928"/>
                <a:gd name="T52" fmla="*/ 3027 w 3718"/>
                <a:gd name="T53" fmla="*/ 92 h 1928"/>
                <a:gd name="T54" fmla="*/ 2737 w 3718"/>
                <a:gd name="T55" fmla="*/ 191 h 1928"/>
                <a:gd name="T56" fmla="*/ 2975 w 3718"/>
                <a:gd name="T57" fmla="*/ 248 h 1928"/>
                <a:gd name="T58" fmla="*/ 3379 w 3718"/>
                <a:gd name="T59" fmla="*/ 91 h 1928"/>
                <a:gd name="T60" fmla="*/ 2747 w 3718"/>
                <a:gd name="T61" fmla="*/ 549 h 1928"/>
                <a:gd name="T62" fmla="*/ 2686 w 3718"/>
                <a:gd name="T63" fmla="*/ 1536 h 1928"/>
                <a:gd name="T64" fmla="*/ 2958 w 3718"/>
                <a:gd name="T65" fmla="*/ 1304 h 1928"/>
                <a:gd name="T66" fmla="*/ 2899 w 3718"/>
                <a:gd name="T67" fmla="*/ 1093 h 1928"/>
                <a:gd name="T68" fmla="*/ 2744 w 3718"/>
                <a:gd name="T69" fmla="*/ 1079 h 1928"/>
                <a:gd name="T70" fmla="*/ 2677 w 3718"/>
                <a:gd name="T71" fmla="*/ 900 h 1928"/>
                <a:gd name="T72" fmla="*/ 2180 w 3718"/>
                <a:gd name="T73" fmla="*/ 1298 h 1928"/>
                <a:gd name="T74" fmla="*/ 1908 w 3718"/>
                <a:gd name="T75" fmla="*/ 1200 h 1928"/>
                <a:gd name="T76" fmla="*/ 1986 w 3718"/>
                <a:gd name="T77" fmla="*/ 814 h 1928"/>
                <a:gd name="T78" fmla="*/ 2401 w 3718"/>
                <a:gd name="T79" fmla="*/ 658 h 1928"/>
                <a:gd name="T80" fmla="*/ 2262 w 3718"/>
                <a:gd name="T81" fmla="*/ 563 h 1928"/>
                <a:gd name="T82" fmla="*/ 2163 w 3718"/>
                <a:gd name="T83" fmla="*/ 561 h 1928"/>
                <a:gd name="T84" fmla="*/ 1863 w 3718"/>
                <a:gd name="T85" fmla="*/ 625 h 1928"/>
                <a:gd name="T86" fmla="*/ 1155 w 3718"/>
                <a:gd name="T87" fmla="*/ 554 h 1928"/>
                <a:gd name="T88" fmla="*/ 983 w 3718"/>
                <a:gd name="T89" fmla="*/ 514 h 1928"/>
                <a:gd name="T90" fmla="*/ 52 w 3718"/>
                <a:gd name="T91" fmla="*/ 964 h 1928"/>
                <a:gd name="T92" fmla="*/ 225 w 3718"/>
                <a:gd name="T93" fmla="*/ 1187 h 1928"/>
                <a:gd name="T94" fmla="*/ 184 w 3718"/>
                <a:gd name="T95" fmla="*/ 1387 h 1928"/>
                <a:gd name="T96" fmla="*/ 1394 w 3718"/>
                <a:gd name="T97" fmla="*/ 1537 h 1928"/>
                <a:gd name="T98" fmla="*/ 1727 w 3718"/>
                <a:gd name="T99" fmla="*/ 1604 h 1928"/>
                <a:gd name="T100" fmla="*/ 1868 w 3718"/>
                <a:gd name="T101" fmla="*/ 1783 h 1928"/>
                <a:gd name="T102" fmla="*/ 1928 w 3718"/>
                <a:gd name="T103" fmla="*/ 1826 h 1928"/>
                <a:gd name="T104" fmla="*/ 2453 w 3718"/>
                <a:gd name="T105" fmla="*/ 1735 h 1928"/>
                <a:gd name="T106" fmla="*/ 2655 w 3718"/>
                <a:gd name="T107" fmla="*/ 1772 h 1928"/>
                <a:gd name="T108" fmla="*/ 2574 w 3718"/>
                <a:gd name="T109" fmla="*/ 1597 h 1928"/>
                <a:gd name="T110" fmla="*/ 2967 w 3718"/>
                <a:gd name="T111" fmla="*/ 1436 h 1928"/>
                <a:gd name="T112" fmla="*/ 1119 w 3718"/>
                <a:gd name="T113" fmla="*/ 664 h 1928"/>
                <a:gd name="T114" fmla="*/ 990 w 3718"/>
                <a:gd name="T115" fmla="*/ 760 h 1928"/>
                <a:gd name="T116" fmla="*/ 985 w 3718"/>
                <a:gd name="T117" fmla="*/ 939 h 1928"/>
                <a:gd name="T118" fmla="*/ 1403 w 3718"/>
                <a:gd name="T119" fmla="*/ 1433 h 1928"/>
                <a:gd name="T120" fmla="*/ 2456 w 3718"/>
                <a:gd name="T121" fmla="*/ 825 h 1928"/>
                <a:gd name="T122" fmla="*/ 2386 w 3718"/>
                <a:gd name="T123" fmla="*/ 823 h 1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18" h="1928">
                  <a:moveTo>
                    <a:pt x="2074" y="170"/>
                  </a:moveTo>
                  <a:cubicBezTo>
                    <a:pt x="2084" y="169"/>
                    <a:pt x="2113" y="177"/>
                    <a:pt x="2115" y="169"/>
                  </a:cubicBezTo>
                  <a:cubicBezTo>
                    <a:pt x="2117" y="160"/>
                    <a:pt x="2107" y="154"/>
                    <a:pt x="2091" y="154"/>
                  </a:cubicBezTo>
                  <a:cubicBezTo>
                    <a:pt x="2074" y="154"/>
                    <a:pt x="2009" y="165"/>
                    <a:pt x="2009" y="165"/>
                  </a:cubicBezTo>
                  <a:cubicBezTo>
                    <a:pt x="2009" y="165"/>
                    <a:pt x="2065" y="171"/>
                    <a:pt x="2074" y="170"/>
                  </a:cubicBezTo>
                  <a:close/>
                  <a:moveTo>
                    <a:pt x="1990" y="214"/>
                  </a:moveTo>
                  <a:cubicBezTo>
                    <a:pt x="2052" y="218"/>
                    <a:pt x="2047" y="199"/>
                    <a:pt x="2047" y="199"/>
                  </a:cubicBezTo>
                  <a:cubicBezTo>
                    <a:pt x="2043" y="189"/>
                    <a:pt x="2043" y="189"/>
                    <a:pt x="2043" y="189"/>
                  </a:cubicBezTo>
                  <a:cubicBezTo>
                    <a:pt x="2089" y="184"/>
                    <a:pt x="2089" y="184"/>
                    <a:pt x="2089" y="184"/>
                  </a:cubicBezTo>
                  <a:cubicBezTo>
                    <a:pt x="2078" y="176"/>
                    <a:pt x="2078" y="176"/>
                    <a:pt x="2078" y="176"/>
                  </a:cubicBezTo>
                  <a:cubicBezTo>
                    <a:pt x="2033" y="178"/>
                    <a:pt x="2033" y="178"/>
                    <a:pt x="2033" y="178"/>
                  </a:cubicBezTo>
                  <a:cubicBezTo>
                    <a:pt x="2025" y="186"/>
                    <a:pt x="2025" y="186"/>
                    <a:pt x="2025" y="186"/>
                  </a:cubicBezTo>
                  <a:cubicBezTo>
                    <a:pt x="2025" y="186"/>
                    <a:pt x="1966" y="173"/>
                    <a:pt x="1959" y="189"/>
                  </a:cubicBezTo>
                  <a:cubicBezTo>
                    <a:pt x="1953" y="205"/>
                    <a:pt x="1990" y="214"/>
                    <a:pt x="1990" y="214"/>
                  </a:cubicBezTo>
                  <a:close/>
                  <a:moveTo>
                    <a:pt x="1785" y="257"/>
                  </a:moveTo>
                  <a:cubicBezTo>
                    <a:pt x="1749" y="275"/>
                    <a:pt x="1749" y="275"/>
                    <a:pt x="1749" y="275"/>
                  </a:cubicBezTo>
                  <a:cubicBezTo>
                    <a:pt x="1749" y="275"/>
                    <a:pt x="1784" y="281"/>
                    <a:pt x="1768" y="284"/>
                  </a:cubicBezTo>
                  <a:cubicBezTo>
                    <a:pt x="1752" y="288"/>
                    <a:pt x="1694" y="292"/>
                    <a:pt x="1694" y="292"/>
                  </a:cubicBezTo>
                  <a:cubicBezTo>
                    <a:pt x="1680" y="308"/>
                    <a:pt x="1680" y="308"/>
                    <a:pt x="1680" y="308"/>
                  </a:cubicBezTo>
                  <a:cubicBezTo>
                    <a:pt x="1717" y="303"/>
                    <a:pt x="1717" y="303"/>
                    <a:pt x="1717" y="303"/>
                  </a:cubicBezTo>
                  <a:cubicBezTo>
                    <a:pt x="1717" y="303"/>
                    <a:pt x="1732" y="308"/>
                    <a:pt x="1751" y="311"/>
                  </a:cubicBezTo>
                  <a:cubicBezTo>
                    <a:pt x="1770" y="314"/>
                    <a:pt x="1826" y="295"/>
                    <a:pt x="1826" y="295"/>
                  </a:cubicBezTo>
                  <a:cubicBezTo>
                    <a:pt x="1824" y="304"/>
                    <a:pt x="1824" y="304"/>
                    <a:pt x="1824" y="304"/>
                  </a:cubicBezTo>
                  <a:cubicBezTo>
                    <a:pt x="1824" y="304"/>
                    <a:pt x="1862" y="299"/>
                    <a:pt x="1892" y="297"/>
                  </a:cubicBezTo>
                  <a:cubicBezTo>
                    <a:pt x="1920" y="295"/>
                    <a:pt x="1895" y="302"/>
                    <a:pt x="1885" y="304"/>
                  </a:cubicBezTo>
                  <a:cubicBezTo>
                    <a:pt x="1875" y="305"/>
                    <a:pt x="1841" y="309"/>
                    <a:pt x="1816" y="312"/>
                  </a:cubicBezTo>
                  <a:cubicBezTo>
                    <a:pt x="1791" y="315"/>
                    <a:pt x="1760" y="326"/>
                    <a:pt x="1760" y="326"/>
                  </a:cubicBezTo>
                  <a:cubicBezTo>
                    <a:pt x="1760" y="326"/>
                    <a:pt x="1788" y="331"/>
                    <a:pt x="1838" y="333"/>
                  </a:cubicBezTo>
                  <a:cubicBezTo>
                    <a:pt x="1886" y="334"/>
                    <a:pt x="1920" y="313"/>
                    <a:pt x="1920" y="313"/>
                  </a:cubicBezTo>
                  <a:cubicBezTo>
                    <a:pt x="1970" y="300"/>
                    <a:pt x="1970" y="300"/>
                    <a:pt x="1970" y="300"/>
                  </a:cubicBezTo>
                  <a:cubicBezTo>
                    <a:pt x="1970" y="300"/>
                    <a:pt x="1987" y="306"/>
                    <a:pt x="2035" y="300"/>
                  </a:cubicBezTo>
                  <a:cubicBezTo>
                    <a:pt x="2081" y="294"/>
                    <a:pt x="2084" y="284"/>
                    <a:pt x="2103" y="279"/>
                  </a:cubicBezTo>
                  <a:cubicBezTo>
                    <a:pt x="2121" y="274"/>
                    <a:pt x="2106" y="254"/>
                    <a:pt x="2086" y="254"/>
                  </a:cubicBezTo>
                  <a:cubicBezTo>
                    <a:pt x="2066" y="255"/>
                    <a:pt x="2072" y="268"/>
                    <a:pt x="2072" y="268"/>
                  </a:cubicBezTo>
                  <a:cubicBezTo>
                    <a:pt x="2045" y="267"/>
                    <a:pt x="2045" y="267"/>
                    <a:pt x="2045" y="267"/>
                  </a:cubicBezTo>
                  <a:cubicBezTo>
                    <a:pt x="2045" y="267"/>
                    <a:pt x="2050" y="260"/>
                    <a:pt x="2055" y="252"/>
                  </a:cubicBezTo>
                  <a:cubicBezTo>
                    <a:pt x="2060" y="244"/>
                    <a:pt x="2073" y="229"/>
                    <a:pt x="2061" y="229"/>
                  </a:cubicBezTo>
                  <a:cubicBezTo>
                    <a:pt x="2049" y="228"/>
                    <a:pt x="2024" y="239"/>
                    <a:pt x="1991" y="249"/>
                  </a:cubicBezTo>
                  <a:cubicBezTo>
                    <a:pt x="1957" y="259"/>
                    <a:pt x="2012" y="256"/>
                    <a:pt x="2012" y="256"/>
                  </a:cubicBezTo>
                  <a:cubicBezTo>
                    <a:pt x="2009" y="272"/>
                    <a:pt x="2009" y="272"/>
                    <a:pt x="2009" y="272"/>
                  </a:cubicBezTo>
                  <a:cubicBezTo>
                    <a:pt x="1929" y="282"/>
                    <a:pt x="1929" y="282"/>
                    <a:pt x="1929" y="282"/>
                  </a:cubicBezTo>
                  <a:cubicBezTo>
                    <a:pt x="1929" y="282"/>
                    <a:pt x="1923" y="262"/>
                    <a:pt x="1928" y="253"/>
                  </a:cubicBezTo>
                  <a:cubicBezTo>
                    <a:pt x="1932" y="244"/>
                    <a:pt x="1875" y="240"/>
                    <a:pt x="1875" y="240"/>
                  </a:cubicBezTo>
                  <a:lnTo>
                    <a:pt x="1785" y="257"/>
                  </a:lnTo>
                  <a:close/>
                  <a:moveTo>
                    <a:pt x="1887" y="230"/>
                  </a:moveTo>
                  <a:cubicBezTo>
                    <a:pt x="1905" y="215"/>
                    <a:pt x="1886" y="206"/>
                    <a:pt x="1868" y="216"/>
                  </a:cubicBezTo>
                  <a:cubicBezTo>
                    <a:pt x="1849" y="226"/>
                    <a:pt x="1887" y="230"/>
                    <a:pt x="1887" y="230"/>
                  </a:cubicBezTo>
                  <a:close/>
                  <a:moveTo>
                    <a:pt x="2008" y="377"/>
                  </a:moveTo>
                  <a:cubicBezTo>
                    <a:pt x="1988" y="361"/>
                    <a:pt x="1988" y="361"/>
                    <a:pt x="1988" y="361"/>
                  </a:cubicBezTo>
                  <a:cubicBezTo>
                    <a:pt x="1969" y="363"/>
                    <a:pt x="1969" y="363"/>
                    <a:pt x="1969" y="363"/>
                  </a:cubicBezTo>
                  <a:cubicBezTo>
                    <a:pt x="1969" y="363"/>
                    <a:pt x="1957" y="348"/>
                    <a:pt x="1932" y="357"/>
                  </a:cubicBezTo>
                  <a:cubicBezTo>
                    <a:pt x="1906" y="365"/>
                    <a:pt x="1964" y="389"/>
                    <a:pt x="1964" y="389"/>
                  </a:cubicBezTo>
                  <a:lnTo>
                    <a:pt x="2008" y="377"/>
                  </a:lnTo>
                  <a:close/>
                  <a:moveTo>
                    <a:pt x="1638" y="280"/>
                  </a:moveTo>
                  <a:cubicBezTo>
                    <a:pt x="1598" y="290"/>
                    <a:pt x="1626" y="295"/>
                    <a:pt x="1626" y="295"/>
                  </a:cubicBezTo>
                  <a:cubicBezTo>
                    <a:pt x="1683" y="281"/>
                    <a:pt x="1679" y="269"/>
                    <a:pt x="1638" y="280"/>
                  </a:cubicBezTo>
                  <a:close/>
                  <a:moveTo>
                    <a:pt x="1978" y="572"/>
                  </a:moveTo>
                  <a:cubicBezTo>
                    <a:pt x="1997" y="574"/>
                    <a:pt x="2006" y="580"/>
                    <a:pt x="2022" y="588"/>
                  </a:cubicBezTo>
                  <a:cubicBezTo>
                    <a:pt x="2038" y="596"/>
                    <a:pt x="2092" y="587"/>
                    <a:pt x="2092" y="587"/>
                  </a:cubicBezTo>
                  <a:cubicBezTo>
                    <a:pt x="2078" y="542"/>
                    <a:pt x="2078" y="542"/>
                    <a:pt x="2078" y="542"/>
                  </a:cubicBezTo>
                  <a:cubicBezTo>
                    <a:pt x="2012" y="528"/>
                    <a:pt x="2012" y="528"/>
                    <a:pt x="2012" y="528"/>
                  </a:cubicBezTo>
                  <a:cubicBezTo>
                    <a:pt x="1990" y="553"/>
                    <a:pt x="1990" y="553"/>
                    <a:pt x="1990" y="553"/>
                  </a:cubicBezTo>
                  <a:cubicBezTo>
                    <a:pt x="1968" y="555"/>
                    <a:pt x="1968" y="555"/>
                    <a:pt x="1968" y="555"/>
                  </a:cubicBezTo>
                  <a:cubicBezTo>
                    <a:pt x="1968" y="555"/>
                    <a:pt x="1959" y="571"/>
                    <a:pt x="1978" y="572"/>
                  </a:cubicBezTo>
                  <a:close/>
                  <a:moveTo>
                    <a:pt x="109" y="1360"/>
                  </a:moveTo>
                  <a:cubicBezTo>
                    <a:pt x="109" y="1369"/>
                    <a:pt x="126" y="1366"/>
                    <a:pt x="126" y="1366"/>
                  </a:cubicBezTo>
                  <a:cubicBezTo>
                    <a:pt x="124" y="1383"/>
                    <a:pt x="124" y="1383"/>
                    <a:pt x="124" y="1383"/>
                  </a:cubicBezTo>
                  <a:cubicBezTo>
                    <a:pt x="143" y="1371"/>
                    <a:pt x="143" y="1371"/>
                    <a:pt x="143" y="1371"/>
                  </a:cubicBezTo>
                  <a:cubicBezTo>
                    <a:pt x="141" y="1354"/>
                    <a:pt x="141" y="1354"/>
                    <a:pt x="141" y="1354"/>
                  </a:cubicBezTo>
                  <a:cubicBezTo>
                    <a:pt x="141" y="1354"/>
                    <a:pt x="109" y="1351"/>
                    <a:pt x="109" y="1360"/>
                  </a:cubicBezTo>
                  <a:close/>
                  <a:moveTo>
                    <a:pt x="166" y="1535"/>
                  </a:moveTo>
                  <a:cubicBezTo>
                    <a:pt x="166" y="1535"/>
                    <a:pt x="163" y="1521"/>
                    <a:pt x="164" y="1514"/>
                  </a:cubicBezTo>
                  <a:cubicBezTo>
                    <a:pt x="165" y="1507"/>
                    <a:pt x="170" y="1495"/>
                    <a:pt x="162" y="1485"/>
                  </a:cubicBezTo>
                  <a:cubicBezTo>
                    <a:pt x="162" y="1485"/>
                    <a:pt x="136" y="1481"/>
                    <a:pt x="127" y="1479"/>
                  </a:cubicBezTo>
                  <a:cubicBezTo>
                    <a:pt x="118" y="1477"/>
                    <a:pt x="103" y="1453"/>
                    <a:pt x="91" y="1452"/>
                  </a:cubicBezTo>
                  <a:cubicBezTo>
                    <a:pt x="79" y="1451"/>
                    <a:pt x="59" y="1463"/>
                    <a:pt x="64" y="1471"/>
                  </a:cubicBezTo>
                  <a:cubicBezTo>
                    <a:pt x="69" y="1479"/>
                    <a:pt x="78" y="1477"/>
                    <a:pt x="78" y="1477"/>
                  </a:cubicBezTo>
                  <a:cubicBezTo>
                    <a:pt x="87" y="1471"/>
                    <a:pt x="87" y="1471"/>
                    <a:pt x="87" y="1471"/>
                  </a:cubicBezTo>
                  <a:cubicBezTo>
                    <a:pt x="94" y="1476"/>
                    <a:pt x="94" y="1476"/>
                    <a:pt x="94" y="1476"/>
                  </a:cubicBezTo>
                  <a:cubicBezTo>
                    <a:pt x="88" y="1483"/>
                    <a:pt x="88" y="1483"/>
                    <a:pt x="88" y="1483"/>
                  </a:cubicBezTo>
                  <a:cubicBezTo>
                    <a:pt x="88" y="1483"/>
                    <a:pt x="59" y="1488"/>
                    <a:pt x="67" y="1497"/>
                  </a:cubicBezTo>
                  <a:cubicBezTo>
                    <a:pt x="75" y="1506"/>
                    <a:pt x="90" y="1497"/>
                    <a:pt x="90" y="1497"/>
                  </a:cubicBezTo>
                  <a:cubicBezTo>
                    <a:pt x="85" y="1512"/>
                    <a:pt x="85" y="1512"/>
                    <a:pt x="85" y="1512"/>
                  </a:cubicBezTo>
                  <a:cubicBezTo>
                    <a:pt x="100" y="1511"/>
                    <a:pt x="100" y="1511"/>
                    <a:pt x="100" y="1511"/>
                  </a:cubicBezTo>
                  <a:cubicBezTo>
                    <a:pt x="86" y="1522"/>
                    <a:pt x="86" y="1522"/>
                    <a:pt x="86" y="1522"/>
                  </a:cubicBezTo>
                  <a:cubicBezTo>
                    <a:pt x="112" y="1520"/>
                    <a:pt x="112" y="1520"/>
                    <a:pt x="112" y="1520"/>
                  </a:cubicBezTo>
                  <a:cubicBezTo>
                    <a:pt x="112" y="1520"/>
                    <a:pt x="85" y="1531"/>
                    <a:pt x="91" y="1536"/>
                  </a:cubicBezTo>
                  <a:cubicBezTo>
                    <a:pt x="97" y="1541"/>
                    <a:pt x="109" y="1520"/>
                    <a:pt x="115" y="1531"/>
                  </a:cubicBezTo>
                  <a:cubicBezTo>
                    <a:pt x="121" y="1542"/>
                    <a:pt x="99" y="1546"/>
                    <a:pt x="105" y="1553"/>
                  </a:cubicBezTo>
                  <a:cubicBezTo>
                    <a:pt x="111" y="1560"/>
                    <a:pt x="137" y="1555"/>
                    <a:pt x="137" y="1555"/>
                  </a:cubicBezTo>
                  <a:cubicBezTo>
                    <a:pt x="150" y="1547"/>
                    <a:pt x="150" y="1547"/>
                    <a:pt x="150" y="1547"/>
                  </a:cubicBezTo>
                  <a:cubicBezTo>
                    <a:pt x="138" y="1561"/>
                    <a:pt x="138" y="1561"/>
                    <a:pt x="138" y="1561"/>
                  </a:cubicBezTo>
                  <a:cubicBezTo>
                    <a:pt x="138" y="1561"/>
                    <a:pt x="113" y="1561"/>
                    <a:pt x="124" y="1570"/>
                  </a:cubicBezTo>
                  <a:cubicBezTo>
                    <a:pt x="135" y="1579"/>
                    <a:pt x="144" y="1579"/>
                    <a:pt x="144" y="1579"/>
                  </a:cubicBezTo>
                  <a:cubicBezTo>
                    <a:pt x="144" y="1579"/>
                    <a:pt x="168" y="1596"/>
                    <a:pt x="180" y="1586"/>
                  </a:cubicBezTo>
                  <a:cubicBezTo>
                    <a:pt x="192" y="1576"/>
                    <a:pt x="201" y="1568"/>
                    <a:pt x="192" y="1557"/>
                  </a:cubicBezTo>
                  <a:cubicBezTo>
                    <a:pt x="183" y="1546"/>
                    <a:pt x="166" y="1535"/>
                    <a:pt x="166" y="1535"/>
                  </a:cubicBezTo>
                  <a:close/>
                  <a:moveTo>
                    <a:pt x="1536" y="249"/>
                  </a:moveTo>
                  <a:cubicBezTo>
                    <a:pt x="1536" y="249"/>
                    <a:pt x="1574" y="242"/>
                    <a:pt x="1583" y="248"/>
                  </a:cubicBezTo>
                  <a:cubicBezTo>
                    <a:pt x="1593" y="254"/>
                    <a:pt x="1587" y="264"/>
                    <a:pt x="1599" y="264"/>
                  </a:cubicBezTo>
                  <a:cubicBezTo>
                    <a:pt x="1612" y="264"/>
                    <a:pt x="1634" y="259"/>
                    <a:pt x="1634" y="259"/>
                  </a:cubicBezTo>
                  <a:cubicBezTo>
                    <a:pt x="1634" y="259"/>
                    <a:pt x="1650" y="268"/>
                    <a:pt x="1665" y="261"/>
                  </a:cubicBezTo>
                  <a:cubicBezTo>
                    <a:pt x="1681" y="255"/>
                    <a:pt x="1678" y="238"/>
                    <a:pt x="1678" y="238"/>
                  </a:cubicBezTo>
                  <a:cubicBezTo>
                    <a:pt x="1700" y="238"/>
                    <a:pt x="1700" y="238"/>
                    <a:pt x="1700" y="238"/>
                  </a:cubicBezTo>
                  <a:cubicBezTo>
                    <a:pt x="1744" y="224"/>
                    <a:pt x="1744" y="224"/>
                    <a:pt x="1744" y="224"/>
                  </a:cubicBezTo>
                  <a:cubicBezTo>
                    <a:pt x="1719" y="247"/>
                    <a:pt x="1719" y="247"/>
                    <a:pt x="1719" y="247"/>
                  </a:cubicBezTo>
                  <a:cubicBezTo>
                    <a:pt x="1754" y="253"/>
                    <a:pt x="1754" y="253"/>
                    <a:pt x="1754" y="253"/>
                  </a:cubicBezTo>
                  <a:cubicBezTo>
                    <a:pt x="1791" y="238"/>
                    <a:pt x="1791" y="238"/>
                    <a:pt x="1791" y="238"/>
                  </a:cubicBezTo>
                  <a:cubicBezTo>
                    <a:pt x="1854" y="209"/>
                    <a:pt x="1854" y="209"/>
                    <a:pt x="1854" y="209"/>
                  </a:cubicBezTo>
                  <a:cubicBezTo>
                    <a:pt x="1854" y="209"/>
                    <a:pt x="1806" y="194"/>
                    <a:pt x="1797" y="194"/>
                  </a:cubicBezTo>
                  <a:cubicBezTo>
                    <a:pt x="1787" y="194"/>
                    <a:pt x="1734" y="190"/>
                    <a:pt x="1734" y="190"/>
                  </a:cubicBezTo>
                  <a:cubicBezTo>
                    <a:pt x="1683" y="198"/>
                    <a:pt x="1683" y="198"/>
                    <a:pt x="1683" y="198"/>
                  </a:cubicBezTo>
                  <a:cubicBezTo>
                    <a:pt x="1680" y="212"/>
                    <a:pt x="1680" y="212"/>
                    <a:pt x="1680" y="212"/>
                  </a:cubicBezTo>
                  <a:cubicBezTo>
                    <a:pt x="1602" y="218"/>
                    <a:pt x="1602" y="218"/>
                    <a:pt x="1602" y="218"/>
                  </a:cubicBezTo>
                  <a:cubicBezTo>
                    <a:pt x="1602" y="218"/>
                    <a:pt x="1576" y="209"/>
                    <a:pt x="1554" y="213"/>
                  </a:cubicBezTo>
                  <a:cubicBezTo>
                    <a:pt x="1532" y="216"/>
                    <a:pt x="1535" y="224"/>
                    <a:pt x="1535" y="224"/>
                  </a:cubicBezTo>
                  <a:cubicBezTo>
                    <a:pt x="1535" y="229"/>
                    <a:pt x="1536" y="249"/>
                    <a:pt x="1536" y="249"/>
                  </a:cubicBezTo>
                  <a:close/>
                  <a:moveTo>
                    <a:pt x="100" y="1323"/>
                  </a:moveTo>
                  <a:cubicBezTo>
                    <a:pt x="102" y="1338"/>
                    <a:pt x="113" y="1344"/>
                    <a:pt x="113" y="1344"/>
                  </a:cubicBezTo>
                  <a:cubicBezTo>
                    <a:pt x="121" y="1323"/>
                    <a:pt x="121" y="1323"/>
                    <a:pt x="121" y="1323"/>
                  </a:cubicBezTo>
                  <a:cubicBezTo>
                    <a:pt x="121" y="1323"/>
                    <a:pt x="98" y="1308"/>
                    <a:pt x="100" y="1323"/>
                  </a:cubicBezTo>
                  <a:close/>
                  <a:moveTo>
                    <a:pt x="82" y="1291"/>
                  </a:moveTo>
                  <a:cubicBezTo>
                    <a:pt x="78" y="1290"/>
                    <a:pt x="62" y="1294"/>
                    <a:pt x="56" y="1297"/>
                  </a:cubicBezTo>
                  <a:cubicBezTo>
                    <a:pt x="50" y="1300"/>
                    <a:pt x="45" y="1315"/>
                    <a:pt x="35" y="1315"/>
                  </a:cubicBezTo>
                  <a:cubicBezTo>
                    <a:pt x="25" y="1315"/>
                    <a:pt x="24" y="1307"/>
                    <a:pt x="34" y="1307"/>
                  </a:cubicBezTo>
                  <a:cubicBezTo>
                    <a:pt x="44" y="1307"/>
                    <a:pt x="62" y="1294"/>
                    <a:pt x="48" y="1295"/>
                  </a:cubicBezTo>
                  <a:cubicBezTo>
                    <a:pt x="34" y="1296"/>
                    <a:pt x="32" y="1299"/>
                    <a:pt x="32" y="1299"/>
                  </a:cubicBezTo>
                  <a:cubicBezTo>
                    <a:pt x="32" y="1299"/>
                    <a:pt x="35" y="1285"/>
                    <a:pt x="24" y="1289"/>
                  </a:cubicBezTo>
                  <a:cubicBezTo>
                    <a:pt x="13" y="1293"/>
                    <a:pt x="11" y="1306"/>
                    <a:pt x="11" y="1306"/>
                  </a:cubicBezTo>
                  <a:cubicBezTo>
                    <a:pt x="3" y="1324"/>
                    <a:pt x="3" y="1324"/>
                    <a:pt x="3" y="1324"/>
                  </a:cubicBezTo>
                  <a:cubicBezTo>
                    <a:pt x="3" y="1324"/>
                    <a:pt x="0" y="1336"/>
                    <a:pt x="3" y="1337"/>
                  </a:cubicBezTo>
                  <a:cubicBezTo>
                    <a:pt x="6" y="1338"/>
                    <a:pt x="9" y="1347"/>
                    <a:pt x="9" y="1347"/>
                  </a:cubicBezTo>
                  <a:cubicBezTo>
                    <a:pt x="0" y="1351"/>
                    <a:pt x="0" y="1351"/>
                    <a:pt x="0" y="1351"/>
                  </a:cubicBezTo>
                  <a:cubicBezTo>
                    <a:pt x="5" y="1386"/>
                    <a:pt x="5" y="1386"/>
                    <a:pt x="5" y="1386"/>
                  </a:cubicBezTo>
                  <a:cubicBezTo>
                    <a:pt x="5" y="1386"/>
                    <a:pt x="0" y="1398"/>
                    <a:pt x="16" y="1397"/>
                  </a:cubicBezTo>
                  <a:cubicBezTo>
                    <a:pt x="27" y="1396"/>
                    <a:pt x="16" y="1379"/>
                    <a:pt x="13" y="1372"/>
                  </a:cubicBezTo>
                  <a:cubicBezTo>
                    <a:pt x="10" y="1365"/>
                    <a:pt x="18" y="1359"/>
                    <a:pt x="23" y="1356"/>
                  </a:cubicBezTo>
                  <a:cubicBezTo>
                    <a:pt x="28" y="1353"/>
                    <a:pt x="36" y="1344"/>
                    <a:pt x="34" y="1340"/>
                  </a:cubicBezTo>
                  <a:cubicBezTo>
                    <a:pt x="34" y="1340"/>
                    <a:pt x="32" y="1329"/>
                    <a:pt x="38" y="1324"/>
                  </a:cubicBezTo>
                  <a:cubicBezTo>
                    <a:pt x="44" y="1319"/>
                    <a:pt x="55" y="1308"/>
                    <a:pt x="64" y="1303"/>
                  </a:cubicBezTo>
                  <a:cubicBezTo>
                    <a:pt x="73" y="1298"/>
                    <a:pt x="86" y="1292"/>
                    <a:pt x="82" y="1291"/>
                  </a:cubicBezTo>
                  <a:close/>
                  <a:moveTo>
                    <a:pt x="1263" y="454"/>
                  </a:moveTo>
                  <a:cubicBezTo>
                    <a:pt x="1268" y="466"/>
                    <a:pt x="1238" y="482"/>
                    <a:pt x="1266" y="478"/>
                  </a:cubicBezTo>
                  <a:cubicBezTo>
                    <a:pt x="1294" y="474"/>
                    <a:pt x="1328" y="462"/>
                    <a:pt x="1328" y="462"/>
                  </a:cubicBezTo>
                  <a:cubicBezTo>
                    <a:pt x="1354" y="468"/>
                    <a:pt x="1354" y="468"/>
                    <a:pt x="1354" y="468"/>
                  </a:cubicBezTo>
                  <a:cubicBezTo>
                    <a:pt x="1405" y="430"/>
                    <a:pt x="1405" y="430"/>
                    <a:pt x="1405" y="430"/>
                  </a:cubicBezTo>
                  <a:cubicBezTo>
                    <a:pt x="1493" y="402"/>
                    <a:pt x="1493" y="402"/>
                    <a:pt x="1493" y="402"/>
                  </a:cubicBezTo>
                  <a:cubicBezTo>
                    <a:pt x="1576" y="379"/>
                    <a:pt x="1576" y="379"/>
                    <a:pt x="1576" y="379"/>
                  </a:cubicBezTo>
                  <a:cubicBezTo>
                    <a:pt x="1642" y="366"/>
                    <a:pt x="1642" y="366"/>
                    <a:pt x="1642" y="366"/>
                  </a:cubicBezTo>
                  <a:cubicBezTo>
                    <a:pt x="1642" y="366"/>
                    <a:pt x="1603" y="334"/>
                    <a:pt x="1600" y="330"/>
                  </a:cubicBezTo>
                  <a:cubicBezTo>
                    <a:pt x="1596" y="327"/>
                    <a:pt x="1549" y="333"/>
                    <a:pt x="1549" y="333"/>
                  </a:cubicBezTo>
                  <a:cubicBezTo>
                    <a:pt x="1505" y="339"/>
                    <a:pt x="1505" y="339"/>
                    <a:pt x="1505" y="339"/>
                  </a:cubicBezTo>
                  <a:cubicBezTo>
                    <a:pt x="1481" y="321"/>
                    <a:pt x="1481" y="321"/>
                    <a:pt x="1481" y="321"/>
                  </a:cubicBezTo>
                  <a:cubicBezTo>
                    <a:pt x="1427" y="328"/>
                    <a:pt x="1427" y="328"/>
                    <a:pt x="1427" y="328"/>
                  </a:cubicBezTo>
                  <a:cubicBezTo>
                    <a:pt x="1393" y="338"/>
                    <a:pt x="1393" y="338"/>
                    <a:pt x="1393" y="338"/>
                  </a:cubicBezTo>
                  <a:cubicBezTo>
                    <a:pt x="1383" y="351"/>
                    <a:pt x="1383" y="351"/>
                    <a:pt x="1383" y="351"/>
                  </a:cubicBezTo>
                  <a:cubicBezTo>
                    <a:pt x="1372" y="371"/>
                    <a:pt x="1372" y="371"/>
                    <a:pt x="1372" y="371"/>
                  </a:cubicBezTo>
                  <a:cubicBezTo>
                    <a:pt x="1340" y="380"/>
                    <a:pt x="1340" y="380"/>
                    <a:pt x="1340" y="380"/>
                  </a:cubicBezTo>
                  <a:cubicBezTo>
                    <a:pt x="1294" y="393"/>
                    <a:pt x="1294" y="393"/>
                    <a:pt x="1294" y="393"/>
                  </a:cubicBezTo>
                  <a:cubicBezTo>
                    <a:pt x="1307" y="401"/>
                    <a:pt x="1307" y="401"/>
                    <a:pt x="1307" y="401"/>
                  </a:cubicBezTo>
                  <a:cubicBezTo>
                    <a:pt x="1227" y="437"/>
                    <a:pt x="1227" y="437"/>
                    <a:pt x="1227" y="437"/>
                  </a:cubicBezTo>
                  <a:cubicBezTo>
                    <a:pt x="1227" y="437"/>
                    <a:pt x="1259" y="442"/>
                    <a:pt x="1263" y="454"/>
                  </a:cubicBezTo>
                  <a:close/>
                  <a:moveTo>
                    <a:pt x="132" y="1313"/>
                  </a:moveTo>
                  <a:cubicBezTo>
                    <a:pt x="125" y="1331"/>
                    <a:pt x="125" y="1331"/>
                    <a:pt x="125" y="1331"/>
                  </a:cubicBezTo>
                  <a:cubicBezTo>
                    <a:pt x="127" y="1343"/>
                    <a:pt x="127" y="1343"/>
                    <a:pt x="127" y="1343"/>
                  </a:cubicBezTo>
                  <a:cubicBezTo>
                    <a:pt x="143" y="1333"/>
                    <a:pt x="143" y="1333"/>
                    <a:pt x="143" y="1333"/>
                  </a:cubicBezTo>
                  <a:lnTo>
                    <a:pt x="132" y="1313"/>
                  </a:lnTo>
                  <a:close/>
                  <a:moveTo>
                    <a:pt x="2786" y="403"/>
                  </a:moveTo>
                  <a:cubicBezTo>
                    <a:pt x="2802" y="409"/>
                    <a:pt x="2824" y="395"/>
                    <a:pt x="2824" y="395"/>
                  </a:cubicBezTo>
                  <a:cubicBezTo>
                    <a:pt x="2865" y="394"/>
                    <a:pt x="2865" y="394"/>
                    <a:pt x="2865" y="394"/>
                  </a:cubicBezTo>
                  <a:cubicBezTo>
                    <a:pt x="2865" y="394"/>
                    <a:pt x="2891" y="404"/>
                    <a:pt x="2899" y="398"/>
                  </a:cubicBezTo>
                  <a:cubicBezTo>
                    <a:pt x="2906" y="393"/>
                    <a:pt x="2900" y="370"/>
                    <a:pt x="2883" y="366"/>
                  </a:cubicBezTo>
                  <a:cubicBezTo>
                    <a:pt x="2865" y="362"/>
                    <a:pt x="2849" y="367"/>
                    <a:pt x="2849" y="367"/>
                  </a:cubicBezTo>
                  <a:cubicBezTo>
                    <a:pt x="2823" y="367"/>
                    <a:pt x="2823" y="367"/>
                    <a:pt x="2823" y="367"/>
                  </a:cubicBezTo>
                  <a:cubicBezTo>
                    <a:pt x="2823" y="367"/>
                    <a:pt x="2793" y="355"/>
                    <a:pt x="2782" y="364"/>
                  </a:cubicBezTo>
                  <a:cubicBezTo>
                    <a:pt x="2772" y="372"/>
                    <a:pt x="2768" y="378"/>
                    <a:pt x="2768" y="378"/>
                  </a:cubicBezTo>
                  <a:cubicBezTo>
                    <a:pt x="2781" y="385"/>
                    <a:pt x="2781" y="385"/>
                    <a:pt x="2781" y="385"/>
                  </a:cubicBezTo>
                  <a:cubicBezTo>
                    <a:pt x="2781" y="385"/>
                    <a:pt x="2772" y="397"/>
                    <a:pt x="2786" y="403"/>
                  </a:cubicBezTo>
                  <a:close/>
                  <a:moveTo>
                    <a:pt x="2471" y="347"/>
                  </a:moveTo>
                  <a:cubicBezTo>
                    <a:pt x="2457" y="346"/>
                    <a:pt x="2380" y="337"/>
                    <a:pt x="2339" y="339"/>
                  </a:cubicBezTo>
                  <a:cubicBezTo>
                    <a:pt x="2300" y="340"/>
                    <a:pt x="2311" y="339"/>
                    <a:pt x="2310" y="347"/>
                  </a:cubicBezTo>
                  <a:cubicBezTo>
                    <a:pt x="2308" y="356"/>
                    <a:pt x="2294" y="359"/>
                    <a:pt x="2260" y="367"/>
                  </a:cubicBezTo>
                  <a:cubicBezTo>
                    <a:pt x="2227" y="374"/>
                    <a:pt x="2259" y="375"/>
                    <a:pt x="2257" y="397"/>
                  </a:cubicBezTo>
                  <a:cubicBezTo>
                    <a:pt x="2245" y="414"/>
                    <a:pt x="2245" y="414"/>
                    <a:pt x="2245" y="414"/>
                  </a:cubicBezTo>
                  <a:cubicBezTo>
                    <a:pt x="2265" y="426"/>
                    <a:pt x="2265" y="426"/>
                    <a:pt x="2265" y="426"/>
                  </a:cubicBezTo>
                  <a:cubicBezTo>
                    <a:pt x="2318" y="404"/>
                    <a:pt x="2318" y="404"/>
                    <a:pt x="2318" y="404"/>
                  </a:cubicBezTo>
                  <a:cubicBezTo>
                    <a:pt x="2318" y="404"/>
                    <a:pt x="2299" y="397"/>
                    <a:pt x="2323" y="390"/>
                  </a:cubicBezTo>
                  <a:cubicBezTo>
                    <a:pt x="2348" y="383"/>
                    <a:pt x="2365" y="403"/>
                    <a:pt x="2365" y="403"/>
                  </a:cubicBezTo>
                  <a:cubicBezTo>
                    <a:pt x="2403" y="398"/>
                    <a:pt x="2403" y="398"/>
                    <a:pt x="2403" y="398"/>
                  </a:cubicBezTo>
                  <a:cubicBezTo>
                    <a:pt x="2398" y="383"/>
                    <a:pt x="2398" y="383"/>
                    <a:pt x="2398" y="383"/>
                  </a:cubicBezTo>
                  <a:cubicBezTo>
                    <a:pt x="2398" y="383"/>
                    <a:pt x="2447" y="381"/>
                    <a:pt x="2457" y="369"/>
                  </a:cubicBezTo>
                  <a:cubicBezTo>
                    <a:pt x="2467" y="358"/>
                    <a:pt x="2484" y="347"/>
                    <a:pt x="2471" y="347"/>
                  </a:cubicBezTo>
                  <a:close/>
                  <a:moveTo>
                    <a:pt x="2526" y="101"/>
                  </a:moveTo>
                  <a:cubicBezTo>
                    <a:pt x="2489" y="105"/>
                    <a:pt x="2489" y="105"/>
                    <a:pt x="2489" y="105"/>
                  </a:cubicBezTo>
                  <a:cubicBezTo>
                    <a:pt x="2503" y="123"/>
                    <a:pt x="2503" y="123"/>
                    <a:pt x="2503" y="123"/>
                  </a:cubicBezTo>
                  <a:lnTo>
                    <a:pt x="2526" y="101"/>
                  </a:lnTo>
                  <a:close/>
                  <a:moveTo>
                    <a:pt x="2406" y="324"/>
                  </a:moveTo>
                  <a:cubicBezTo>
                    <a:pt x="2417" y="317"/>
                    <a:pt x="2442" y="298"/>
                    <a:pt x="2438" y="290"/>
                  </a:cubicBezTo>
                  <a:cubicBezTo>
                    <a:pt x="2434" y="281"/>
                    <a:pt x="2400" y="283"/>
                    <a:pt x="2389" y="284"/>
                  </a:cubicBezTo>
                  <a:cubicBezTo>
                    <a:pt x="2366" y="286"/>
                    <a:pt x="2322" y="301"/>
                    <a:pt x="2334" y="309"/>
                  </a:cubicBezTo>
                  <a:cubicBezTo>
                    <a:pt x="2346" y="316"/>
                    <a:pt x="2406" y="324"/>
                    <a:pt x="2406" y="324"/>
                  </a:cubicBezTo>
                  <a:close/>
                  <a:moveTo>
                    <a:pt x="2634" y="123"/>
                  </a:moveTo>
                  <a:cubicBezTo>
                    <a:pt x="2598" y="131"/>
                    <a:pt x="2598" y="131"/>
                    <a:pt x="2598" y="131"/>
                  </a:cubicBezTo>
                  <a:cubicBezTo>
                    <a:pt x="2623" y="142"/>
                    <a:pt x="2623" y="142"/>
                    <a:pt x="2623" y="142"/>
                  </a:cubicBezTo>
                  <a:cubicBezTo>
                    <a:pt x="2623" y="142"/>
                    <a:pt x="2609" y="146"/>
                    <a:pt x="2611" y="156"/>
                  </a:cubicBezTo>
                  <a:cubicBezTo>
                    <a:pt x="2613" y="165"/>
                    <a:pt x="2640" y="162"/>
                    <a:pt x="2640" y="162"/>
                  </a:cubicBezTo>
                  <a:cubicBezTo>
                    <a:pt x="2627" y="171"/>
                    <a:pt x="2627" y="171"/>
                    <a:pt x="2627" y="171"/>
                  </a:cubicBezTo>
                  <a:cubicBezTo>
                    <a:pt x="2627" y="171"/>
                    <a:pt x="2645" y="175"/>
                    <a:pt x="2659" y="184"/>
                  </a:cubicBezTo>
                  <a:cubicBezTo>
                    <a:pt x="2673" y="192"/>
                    <a:pt x="2698" y="172"/>
                    <a:pt x="2698" y="172"/>
                  </a:cubicBezTo>
                  <a:cubicBezTo>
                    <a:pt x="2714" y="164"/>
                    <a:pt x="2714" y="164"/>
                    <a:pt x="2714" y="164"/>
                  </a:cubicBezTo>
                  <a:cubicBezTo>
                    <a:pt x="2714" y="164"/>
                    <a:pt x="2719" y="170"/>
                    <a:pt x="2725" y="181"/>
                  </a:cubicBezTo>
                  <a:cubicBezTo>
                    <a:pt x="2732" y="191"/>
                    <a:pt x="2756" y="173"/>
                    <a:pt x="2765" y="171"/>
                  </a:cubicBezTo>
                  <a:cubicBezTo>
                    <a:pt x="2774" y="169"/>
                    <a:pt x="2787" y="155"/>
                    <a:pt x="2787" y="155"/>
                  </a:cubicBezTo>
                  <a:cubicBezTo>
                    <a:pt x="2795" y="164"/>
                    <a:pt x="2795" y="164"/>
                    <a:pt x="2795" y="164"/>
                  </a:cubicBezTo>
                  <a:cubicBezTo>
                    <a:pt x="2795" y="164"/>
                    <a:pt x="2808" y="151"/>
                    <a:pt x="2810" y="146"/>
                  </a:cubicBezTo>
                  <a:cubicBezTo>
                    <a:pt x="2812" y="141"/>
                    <a:pt x="2865" y="143"/>
                    <a:pt x="2877" y="143"/>
                  </a:cubicBezTo>
                  <a:cubicBezTo>
                    <a:pt x="2889" y="143"/>
                    <a:pt x="2886" y="129"/>
                    <a:pt x="2886" y="129"/>
                  </a:cubicBezTo>
                  <a:cubicBezTo>
                    <a:pt x="2844" y="128"/>
                    <a:pt x="2844" y="128"/>
                    <a:pt x="2844" y="128"/>
                  </a:cubicBezTo>
                  <a:cubicBezTo>
                    <a:pt x="2864" y="117"/>
                    <a:pt x="2864" y="117"/>
                    <a:pt x="2864" y="117"/>
                  </a:cubicBezTo>
                  <a:cubicBezTo>
                    <a:pt x="2864" y="117"/>
                    <a:pt x="2872" y="97"/>
                    <a:pt x="2867" y="90"/>
                  </a:cubicBezTo>
                  <a:cubicBezTo>
                    <a:pt x="2863" y="84"/>
                    <a:pt x="2829" y="102"/>
                    <a:pt x="2829" y="102"/>
                  </a:cubicBezTo>
                  <a:cubicBezTo>
                    <a:pt x="2826" y="85"/>
                    <a:pt x="2826" y="85"/>
                    <a:pt x="2826" y="85"/>
                  </a:cubicBezTo>
                  <a:cubicBezTo>
                    <a:pt x="2794" y="91"/>
                    <a:pt x="2794" y="91"/>
                    <a:pt x="2794" y="91"/>
                  </a:cubicBezTo>
                  <a:cubicBezTo>
                    <a:pt x="2794" y="91"/>
                    <a:pt x="2791" y="71"/>
                    <a:pt x="2781" y="60"/>
                  </a:cubicBezTo>
                  <a:cubicBezTo>
                    <a:pt x="2772" y="49"/>
                    <a:pt x="2730" y="72"/>
                    <a:pt x="2730" y="72"/>
                  </a:cubicBezTo>
                  <a:cubicBezTo>
                    <a:pt x="2678" y="75"/>
                    <a:pt x="2678" y="75"/>
                    <a:pt x="2678" y="75"/>
                  </a:cubicBezTo>
                  <a:cubicBezTo>
                    <a:pt x="2695" y="88"/>
                    <a:pt x="2695" y="88"/>
                    <a:pt x="2695" y="88"/>
                  </a:cubicBezTo>
                  <a:cubicBezTo>
                    <a:pt x="2695" y="88"/>
                    <a:pt x="2658" y="85"/>
                    <a:pt x="2645" y="89"/>
                  </a:cubicBezTo>
                  <a:cubicBezTo>
                    <a:pt x="2633" y="93"/>
                    <a:pt x="2653" y="106"/>
                    <a:pt x="2653" y="106"/>
                  </a:cubicBezTo>
                  <a:cubicBezTo>
                    <a:pt x="2653" y="106"/>
                    <a:pt x="2596" y="100"/>
                    <a:pt x="2592" y="114"/>
                  </a:cubicBezTo>
                  <a:cubicBezTo>
                    <a:pt x="2587" y="128"/>
                    <a:pt x="2634" y="123"/>
                    <a:pt x="2634" y="123"/>
                  </a:cubicBezTo>
                  <a:close/>
                  <a:moveTo>
                    <a:pt x="2644" y="199"/>
                  </a:moveTo>
                  <a:cubicBezTo>
                    <a:pt x="2622" y="203"/>
                    <a:pt x="2622" y="213"/>
                    <a:pt x="2622" y="213"/>
                  </a:cubicBezTo>
                  <a:cubicBezTo>
                    <a:pt x="2640" y="216"/>
                    <a:pt x="2640" y="216"/>
                    <a:pt x="2640" y="216"/>
                  </a:cubicBezTo>
                  <a:cubicBezTo>
                    <a:pt x="2655" y="216"/>
                    <a:pt x="2667" y="195"/>
                    <a:pt x="2644" y="199"/>
                  </a:cubicBezTo>
                  <a:close/>
                  <a:moveTo>
                    <a:pt x="2488" y="226"/>
                  </a:moveTo>
                  <a:cubicBezTo>
                    <a:pt x="2484" y="226"/>
                    <a:pt x="2476" y="222"/>
                    <a:pt x="2476" y="222"/>
                  </a:cubicBezTo>
                  <a:cubicBezTo>
                    <a:pt x="2476" y="222"/>
                    <a:pt x="2416" y="222"/>
                    <a:pt x="2416" y="230"/>
                  </a:cubicBezTo>
                  <a:cubicBezTo>
                    <a:pt x="2416" y="239"/>
                    <a:pt x="2435" y="241"/>
                    <a:pt x="2435" y="241"/>
                  </a:cubicBezTo>
                  <a:cubicBezTo>
                    <a:pt x="2436" y="253"/>
                    <a:pt x="2436" y="253"/>
                    <a:pt x="2436" y="253"/>
                  </a:cubicBezTo>
                  <a:cubicBezTo>
                    <a:pt x="2436" y="253"/>
                    <a:pt x="2486" y="258"/>
                    <a:pt x="2490" y="256"/>
                  </a:cubicBezTo>
                  <a:cubicBezTo>
                    <a:pt x="2494" y="254"/>
                    <a:pt x="2506" y="255"/>
                    <a:pt x="2512" y="255"/>
                  </a:cubicBezTo>
                  <a:cubicBezTo>
                    <a:pt x="2510" y="263"/>
                    <a:pt x="2508" y="274"/>
                    <a:pt x="2508" y="274"/>
                  </a:cubicBezTo>
                  <a:cubicBezTo>
                    <a:pt x="2471" y="301"/>
                    <a:pt x="2471" y="301"/>
                    <a:pt x="2471" y="301"/>
                  </a:cubicBezTo>
                  <a:cubicBezTo>
                    <a:pt x="2485" y="307"/>
                    <a:pt x="2485" y="307"/>
                    <a:pt x="2485" y="307"/>
                  </a:cubicBezTo>
                  <a:cubicBezTo>
                    <a:pt x="2485" y="307"/>
                    <a:pt x="2461" y="322"/>
                    <a:pt x="2473" y="322"/>
                  </a:cubicBezTo>
                  <a:cubicBezTo>
                    <a:pt x="2485" y="322"/>
                    <a:pt x="2503" y="312"/>
                    <a:pt x="2503" y="312"/>
                  </a:cubicBezTo>
                  <a:cubicBezTo>
                    <a:pt x="2503" y="312"/>
                    <a:pt x="2494" y="325"/>
                    <a:pt x="2513" y="324"/>
                  </a:cubicBezTo>
                  <a:cubicBezTo>
                    <a:pt x="2532" y="323"/>
                    <a:pt x="2568" y="311"/>
                    <a:pt x="2568" y="311"/>
                  </a:cubicBezTo>
                  <a:cubicBezTo>
                    <a:pt x="2569" y="325"/>
                    <a:pt x="2569" y="325"/>
                    <a:pt x="2569" y="325"/>
                  </a:cubicBezTo>
                  <a:cubicBezTo>
                    <a:pt x="2614" y="322"/>
                    <a:pt x="2614" y="322"/>
                    <a:pt x="2614" y="322"/>
                  </a:cubicBezTo>
                  <a:cubicBezTo>
                    <a:pt x="2667" y="332"/>
                    <a:pt x="2667" y="332"/>
                    <a:pt x="2667" y="332"/>
                  </a:cubicBezTo>
                  <a:cubicBezTo>
                    <a:pt x="2731" y="327"/>
                    <a:pt x="2731" y="327"/>
                    <a:pt x="2731" y="327"/>
                  </a:cubicBezTo>
                  <a:cubicBezTo>
                    <a:pt x="2749" y="312"/>
                    <a:pt x="2749" y="312"/>
                    <a:pt x="2749" y="312"/>
                  </a:cubicBezTo>
                  <a:cubicBezTo>
                    <a:pt x="2749" y="312"/>
                    <a:pt x="2738" y="326"/>
                    <a:pt x="2751" y="327"/>
                  </a:cubicBezTo>
                  <a:cubicBezTo>
                    <a:pt x="2764" y="328"/>
                    <a:pt x="2839" y="326"/>
                    <a:pt x="2839" y="326"/>
                  </a:cubicBezTo>
                  <a:cubicBezTo>
                    <a:pt x="2846" y="312"/>
                    <a:pt x="2846" y="312"/>
                    <a:pt x="2846" y="312"/>
                  </a:cubicBezTo>
                  <a:cubicBezTo>
                    <a:pt x="2890" y="294"/>
                    <a:pt x="2890" y="294"/>
                    <a:pt x="2890" y="294"/>
                  </a:cubicBezTo>
                  <a:cubicBezTo>
                    <a:pt x="2879" y="290"/>
                    <a:pt x="2879" y="290"/>
                    <a:pt x="2879" y="290"/>
                  </a:cubicBezTo>
                  <a:cubicBezTo>
                    <a:pt x="2879" y="281"/>
                    <a:pt x="2879" y="281"/>
                    <a:pt x="2879" y="281"/>
                  </a:cubicBezTo>
                  <a:cubicBezTo>
                    <a:pt x="2879" y="281"/>
                    <a:pt x="2834" y="270"/>
                    <a:pt x="2818" y="270"/>
                  </a:cubicBezTo>
                  <a:cubicBezTo>
                    <a:pt x="2802" y="270"/>
                    <a:pt x="2681" y="294"/>
                    <a:pt x="2681" y="294"/>
                  </a:cubicBezTo>
                  <a:cubicBezTo>
                    <a:pt x="2681" y="294"/>
                    <a:pt x="2666" y="283"/>
                    <a:pt x="2658" y="282"/>
                  </a:cubicBezTo>
                  <a:cubicBezTo>
                    <a:pt x="2651" y="281"/>
                    <a:pt x="2621" y="294"/>
                    <a:pt x="2621" y="294"/>
                  </a:cubicBezTo>
                  <a:cubicBezTo>
                    <a:pt x="2608" y="280"/>
                    <a:pt x="2608" y="280"/>
                    <a:pt x="2608" y="280"/>
                  </a:cubicBezTo>
                  <a:cubicBezTo>
                    <a:pt x="2596" y="286"/>
                    <a:pt x="2596" y="286"/>
                    <a:pt x="2596" y="286"/>
                  </a:cubicBezTo>
                  <a:cubicBezTo>
                    <a:pt x="2574" y="282"/>
                    <a:pt x="2574" y="282"/>
                    <a:pt x="2574" y="282"/>
                  </a:cubicBezTo>
                  <a:cubicBezTo>
                    <a:pt x="2596" y="274"/>
                    <a:pt x="2596" y="274"/>
                    <a:pt x="2596" y="274"/>
                  </a:cubicBezTo>
                  <a:cubicBezTo>
                    <a:pt x="2583" y="268"/>
                    <a:pt x="2583" y="268"/>
                    <a:pt x="2583" y="268"/>
                  </a:cubicBezTo>
                  <a:cubicBezTo>
                    <a:pt x="2546" y="272"/>
                    <a:pt x="2546" y="272"/>
                    <a:pt x="2546" y="272"/>
                  </a:cubicBezTo>
                  <a:cubicBezTo>
                    <a:pt x="2570" y="265"/>
                    <a:pt x="2570" y="265"/>
                    <a:pt x="2570" y="265"/>
                  </a:cubicBezTo>
                  <a:cubicBezTo>
                    <a:pt x="2569" y="260"/>
                    <a:pt x="2569" y="260"/>
                    <a:pt x="2569" y="260"/>
                  </a:cubicBezTo>
                  <a:cubicBezTo>
                    <a:pt x="2615" y="259"/>
                    <a:pt x="2615" y="259"/>
                    <a:pt x="2615" y="259"/>
                  </a:cubicBezTo>
                  <a:cubicBezTo>
                    <a:pt x="2592" y="251"/>
                    <a:pt x="2592" y="251"/>
                    <a:pt x="2592" y="251"/>
                  </a:cubicBezTo>
                  <a:cubicBezTo>
                    <a:pt x="2576" y="251"/>
                    <a:pt x="2576" y="251"/>
                    <a:pt x="2576" y="251"/>
                  </a:cubicBezTo>
                  <a:cubicBezTo>
                    <a:pt x="2576" y="251"/>
                    <a:pt x="2588" y="241"/>
                    <a:pt x="2578" y="240"/>
                  </a:cubicBezTo>
                  <a:cubicBezTo>
                    <a:pt x="2570" y="239"/>
                    <a:pt x="2539" y="241"/>
                    <a:pt x="2523" y="244"/>
                  </a:cubicBezTo>
                  <a:cubicBezTo>
                    <a:pt x="2521" y="237"/>
                    <a:pt x="2492" y="226"/>
                    <a:pt x="2488" y="226"/>
                  </a:cubicBezTo>
                  <a:close/>
                  <a:moveTo>
                    <a:pt x="2173" y="281"/>
                  </a:moveTo>
                  <a:cubicBezTo>
                    <a:pt x="2182" y="281"/>
                    <a:pt x="2226" y="288"/>
                    <a:pt x="2226" y="288"/>
                  </a:cubicBezTo>
                  <a:cubicBezTo>
                    <a:pt x="2226" y="288"/>
                    <a:pt x="2202" y="308"/>
                    <a:pt x="2217" y="308"/>
                  </a:cubicBezTo>
                  <a:cubicBezTo>
                    <a:pt x="2232" y="308"/>
                    <a:pt x="2270" y="308"/>
                    <a:pt x="2270" y="308"/>
                  </a:cubicBezTo>
                  <a:cubicBezTo>
                    <a:pt x="2284" y="308"/>
                    <a:pt x="2309" y="302"/>
                    <a:pt x="2305" y="294"/>
                  </a:cubicBezTo>
                  <a:cubicBezTo>
                    <a:pt x="2301" y="285"/>
                    <a:pt x="2341" y="282"/>
                    <a:pt x="2339" y="273"/>
                  </a:cubicBezTo>
                  <a:cubicBezTo>
                    <a:pt x="2338" y="265"/>
                    <a:pt x="2376" y="259"/>
                    <a:pt x="2362" y="247"/>
                  </a:cubicBezTo>
                  <a:cubicBezTo>
                    <a:pt x="2348" y="236"/>
                    <a:pt x="2329" y="244"/>
                    <a:pt x="2329" y="244"/>
                  </a:cubicBezTo>
                  <a:cubicBezTo>
                    <a:pt x="2329" y="244"/>
                    <a:pt x="2282" y="229"/>
                    <a:pt x="2279" y="238"/>
                  </a:cubicBezTo>
                  <a:cubicBezTo>
                    <a:pt x="2276" y="246"/>
                    <a:pt x="2276" y="267"/>
                    <a:pt x="2276" y="267"/>
                  </a:cubicBezTo>
                  <a:cubicBezTo>
                    <a:pt x="2276" y="267"/>
                    <a:pt x="2255" y="242"/>
                    <a:pt x="2244" y="251"/>
                  </a:cubicBezTo>
                  <a:cubicBezTo>
                    <a:pt x="2232" y="259"/>
                    <a:pt x="2222" y="283"/>
                    <a:pt x="2213" y="276"/>
                  </a:cubicBezTo>
                  <a:cubicBezTo>
                    <a:pt x="2205" y="270"/>
                    <a:pt x="2200" y="245"/>
                    <a:pt x="2191" y="243"/>
                  </a:cubicBezTo>
                  <a:cubicBezTo>
                    <a:pt x="2181" y="241"/>
                    <a:pt x="2155" y="243"/>
                    <a:pt x="2156" y="256"/>
                  </a:cubicBezTo>
                  <a:cubicBezTo>
                    <a:pt x="2157" y="269"/>
                    <a:pt x="2165" y="281"/>
                    <a:pt x="2173" y="281"/>
                  </a:cubicBezTo>
                  <a:close/>
                  <a:moveTo>
                    <a:pt x="2477" y="192"/>
                  </a:moveTo>
                  <a:cubicBezTo>
                    <a:pt x="2487" y="195"/>
                    <a:pt x="2490" y="205"/>
                    <a:pt x="2490" y="205"/>
                  </a:cubicBezTo>
                  <a:cubicBezTo>
                    <a:pt x="2490" y="205"/>
                    <a:pt x="2532" y="202"/>
                    <a:pt x="2552" y="201"/>
                  </a:cubicBezTo>
                  <a:cubicBezTo>
                    <a:pt x="2571" y="200"/>
                    <a:pt x="2528" y="189"/>
                    <a:pt x="2528" y="189"/>
                  </a:cubicBezTo>
                  <a:cubicBezTo>
                    <a:pt x="2528" y="189"/>
                    <a:pt x="2537" y="179"/>
                    <a:pt x="2547" y="177"/>
                  </a:cubicBezTo>
                  <a:cubicBezTo>
                    <a:pt x="2558" y="175"/>
                    <a:pt x="2518" y="162"/>
                    <a:pt x="2488" y="156"/>
                  </a:cubicBezTo>
                  <a:cubicBezTo>
                    <a:pt x="2488" y="156"/>
                    <a:pt x="2464" y="160"/>
                    <a:pt x="2460" y="164"/>
                  </a:cubicBezTo>
                  <a:cubicBezTo>
                    <a:pt x="2456" y="169"/>
                    <a:pt x="2468" y="190"/>
                    <a:pt x="2477" y="192"/>
                  </a:cubicBezTo>
                  <a:close/>
                  <a:moveTo>
                    <a:pt x="2188" y="339"/>
                  </a:moveTo>
                  <a:cubicBezTo>
                    <a:pt x="2188" y="339"/>
                    <a:pt x="2127" y="341"/>
                    <a:pt x="2093" y="352"/>
                  </a:cubicBezTo>
                  <a:cubicBezTo>
                    <a:pt x="2060" y="363"/>
                    <a:pt x="2112" y="372"/>
                    <a:pt x="2101" y="385"/>
                  </a:cubicBezTo>
                  <a:cubicBezTo>
                    <a:pt x="2090" y="399"/>
                    <a:pt x="2068" y="364"/>
                    <a:pt x="2030" y="380"/>
                  </a:cubicBezTo>
                  <a:cubicBezTo>
                    <a:pt x="2042" y="405"/>
                    <a:pt x="2042" y="405"/>
                    <a:pt x="2042" y="405"/>
                  </a:cubicBezTo>
                  <a:cubicBezTo>
                    <a:pt x="2042" y="405"/>
                    <a:pt x="2048" y="415"/>
                    <a:pt x="2065" y="418"/>
                  </a:cubicBezTo>
                  <a:cubicBezTo>
                    <a:pt x="2083" y="421"/>
                    <a:pt x="2082" y="456"/>
                    <a:pt x="2082" y="456"/>
                  </a:cubicBezTo>
                  <a:cubicBezTo>
                    <a:pt x="2082" y="456"/>
                    <a:pt x="2152" y="447"/>
                    <a:pt x="2174" y="442"/>
                  </a:cubicBezTo>
                  <a:cubicBezTo>
                    <a:pt x="2196" y="436"/>
                    <a:pt x="2196" y="395"/>
                    <a:pt x="2196" y="395"/>
                  </a:cubicBezTo>
                  <a:cubicBezTo>
                    <a:pt x="2152" y="385"/>
                    <a:pt x="2152" y="385"/>
                    <a:pt x="2152" y="385"/>
                  </a:cubicBezTo>
                  <a:cubicBezTo>
                    <a:pt x="2152" y="385"/>
                    <a:pt x="2205" y="367"/>
                    <a:pt x="2232" y="358"/>
                  </a:cubicBezTo>
                  <a:cubicBezTo>
                    <a:pt x="2258" y="348"/>
                    <a:pt x="2188" y="339"/>
                    <a:pt x="2188" y="339"/>
                  </a:cubicBezTo>
                  <a:close/>
                  <a:moveTo>
                    <a:pt x="1929" y="499"/>
                  </a:moveTo>
                  <a:cubicBezTo>
                    <a:pt x="1927" y="493"/>
                    <a:pt x="1862" y="494"/>
                    <a:pt x="1862" y="494"/>
                  </a:cubicBezTo>
                  <a:cubicBezTo>
                    <a:pt x="1915" y="466"/>
                    <a:pt x="1915" y="466"/>
                    <a:pt x="1915" y="466"/>
                  </a:cubicBezTo>
                  <a:cubicBezTo>
                    <a:pt x="1915" y="466"/>
                    <a:pt x="1947" y="392"/>
                    <a:pt x="1918" y="383"/>
                  </a:cubicBezTo>
                  <a:cubicBezTo>
                    <a:pt x="1891" y="375"/>
                    <a:pt x="1852" y="393"/>
                    <a:pt x="1852" y="393"/>
                  </a:cubicBezTo>
                  <a:cubicBezTo>
                    <a:pt x="1852" y="393"/>
                    <a:pt x="1826" y="447"/>
                    <a:pt x="1802" y="450"/>
                  </a:cubicBezTo>
                  <a:cubicBezTo>
                    <a:pt x="1778" y="453"/>
                    <a:pt x="1818" y="413"/>
                    <a:pt x="1816" y="403"/>
                  </a:cubicBezTo>
                  <a:cubicBezTo>
                    <a:pt x="1814" y="393"/>
                    <a:pt x="1750" y="392"/>
                    <a:pt x="1750" y="392"/>
                  </a:cubicBezTo>
                  <a:cubicBezTo>
                    <a:pt x="1744" y="405"/>
                    <a:pt x="1744" y="405"/>
                    <a:pt x="1744" y="405"/>
                  </a:cubicBezTo>
                  <a:cubicBezTo>
                    <a:pt x="1744" y="405"/>
                    <a:pt x="1708" y="420"/>
                    <a:pt x="1671" y="423"/>
                  </a:cubicBezTo>
                  <a:cubicBezTo>
                    <a:pt x="1635" y="425"/>
                    <a:pt x="1687" y="412"/>
                    <a:pt x="1723" y="400"/>
                  </a:cubicBezTo>
                  <a:cubicBezTo>
                    <a:pt x="1761" y="388"/>
                    <a:pt x="1704" y="386"/>
                    <a:pt x="1704" y="386"/>
                  </a:cubicBezTo>
                  <a:cubicBezTo>
                    <a:pt x="1664" y="398"/>
                    <a:pt x="1664" y="398"/>
                    <a:pt x="1664" y="398"/>
                  </a:cubicBezTo>
                  <a:cubicBezTo>
                    <a:pt x="1636" y="401"/>
                    <a:pt x="1636" y="401"/>
                    <a:pt x="1636" y="401"/>
                  </a:cubicBezTo>
                  <a:cubicBezTo>
                    <a:pt x="1636" y="401"/>
                    <a:pt x="1651" y="391"/>
                    <a:pt x="1667" y="380"/>
                  </a:cubicBezTo>
                  <a:cubicBezTo>
                    <a:pt x="1682" y="369"/>
                    <a:pt x="1663" y="371"/>
                    <a:pt x="1663" y="371"/>
                  </a:cubicBezTo>
                  <a:cubicBezTo>
                    <a:pt x="1564" y="402"/>
                    <a:pt x="1564" y="402"/>
                    <a:pt x="1564" y="402"/>
                  </a:cubicBezTo>
                  <a:cubicBezTo>
                    <a:pt x="1550" y="403"/>
                    <a:pt x="1550" y="403"/>
                    <a:pt x="1550" y="403"/>
                  </a:cubicBezTo>
                  <a:cubicBezTo>
                    <a:pt x="1494" y="420"/>
                    <a:pt x="1494" y="420"/>
                    <a:pt x="1494" y="420"/>
                  </a:cubicBezTo>
                  <a:cubicBezTo>
                    <a:pt x="1496" y="428"/>
                    <a:pt x="1496" y="428"/>
                    <a:pt x="1496" y="428"/>
                  </a:cubicBezTo>
                  <a:cubicBezTo>
                    <a:pt x="1456" y="443"/>
                    <a:pt x="1456" y="443"/>
                    <a:pt x="1456" y="443"/>
                  </a:cubicBezTo>
                  <a:cubicBezTo>
                    <a:pt x="1447" y="453"/>
                    <a:pt x="1447" y="453"/>
                    <a:pt x="1447" y="453"/>
                  </a:cubicBezTo>
                  <a:cubicBezTo>
                    <a:pt x="1465" y="461"/>
                    <a:pt x="1465" y="461"/>
                    <a:pt x="1465" y="461"/>
                  </a:cubicBezTo>
                  <a:cubicBezTo>
                    <a:pt x="1465" y="461"/>
                    <a:pt x="1487" y="446"/>
                    <a:pt x="1492" y="458"/>
                  </a:cubicBezTo>
                  <a:cubicBezTo>
                    <a:pt x="1497" y="470"/>
                    <a:pt x="1451" y="464"/>
                    <a:pt x="1440" y="483"/>
                  </a:cubicBezTo>
                  <a:cubicBezTo>
                    <a:pt x="1428" y="503"/>
                    <a:pt x="1587" y="484"/>
                    <a:pt x="1565" y="502"/>
                  </a:cubicBezTo>
                  <a:cubicBezTo>
                    <a:pt x="1544" y="519"/>
                    <a:pt x="1417" y="508"/>
                    <a:pt x="1406" y="525"/>
                  </a:cubicBezTo>
                  <a:cubicBezTo>
                    <a:pt x="1395" y="542"/>
                    <a:pt x="1427" y="540"/>
                    <a:pt x="1450" y="552"/>
                  </a:cubicBezTo>
                  <a:cubicBezTo>
                    <a:pt x="1473" y="564"/>
                    <a:pt x="1438" y="557"/>
                    <a:pt x="1434" y="574"/>
                  </a:cubicBezTo>
                  <a:cubicBezTo>
                    <a:pt x="1430" y="590"/>
                    <a:pt x="1533" y="582"/>
                    <a:pt x="1533" y="582"/>
                  </a:cubicBezTo>
                  <a:cubicBezTo>
                    <a:pt x="1533" y="582"/>
                    <a:pt x="1702" y="566"/>
                    <a:pt x="1741" y="554"/>
                  </a:cubicBezTo>
                  <a:cubicBezTo>
                    <a:pt x="1768" y="545"/>
                    <a:pt x="1819" y="583"/>
                    <a:pt x="1851" y="586"/>
                  </a:cubicBezTo>
                  <a:cubicBezTo>
                    <a:pt x="1884" y="588"/>
                    <a:pt x="1895" y="551"/>
                    <a:pt x="1895" y="551"/>
                  </a:cubicBezTo>
                  <a:cubicBezTo>
                    <a:pt x="1843" y="550"/>
                    <a:pt x="1843" y="550"/>
                    <a:pt x="1843" y="550"/>
                  </a:cubicBezTo>
                  <a:cubicBezTo>
                    <a:pt x="1865" y="533"/>
                    <a:pt x="1865" y="533"/>
                    <a:pt x="1865" y="533"/>
                  </a:cubicBezTo>
                  <a:cubicBezTo>
                    <a:pt x="1865" y="533"/>
                    <a:pt x="1897" y="539"/>
                    <a:pt x="1929" y="532"/>
                  </a:cubicBezTo>
                  <a:cubicBezTo>
                    <a:pt x="1962" y="525"/>
                    <a:pt x="1931" y="506"/>
                    <a:pt x="1929" y="499"/>
                  </a:cubicBezTo>
                  <a:close/>
                  <a:moveTo>
                    <a:pt x="1909" y="590"/>
                  </a:moveTo>
                  <a:cubicBezTo>
                    <a:pt x="1941" y="591"/>
                    <a:pt x="1947" y="573"/>
                    <a:pt x="1925" y="574"/>
                  </a:cubicBezTo>
                  <a:cubicBezTo>
                    <a:pt x="1903" y="574"/>
                    <a:pt x="1909" y="590"/>
                    <a:pt x="1909" y="590"/>
                  </a:cubicBezTo>
                  <a:close/>
                  <a:moveTo>
                    <a:pt x="2183" y="224"/>
                  </a:moveTo>
                  <a:cubicBezTo>
                    <a:pt x="2201" y="221"/>
                    <a:pt x="2202" y="193"/>
                    <a:pt x="2187" y="193"/>
                  </a:cubicBezTo>
                  <a:cubicBezTo>
                    <a:pt x="2173" y="193"/>
                    <a:pt x="2166" y="226"/>
                    <a:pt x="2183" y="224"/>
                  </a:cubicBezTo>
                  <a:close/>
                  <a:moveTo>
                    <a:pt x="2307" y="155"/>
                  </a:moveTo>
                  <a:cubicBezTo>
                    <a:pt x="2307" y="155"/>
                    <a:pt x="2289" y="172"/>
                    <a:pt x="2303" y="173"/>
                  </a:cubicBezTo>
                  <a:cubicBezTo>
                    <a:pt x="2317" y="174"/>
                    <a:pt x="2349" y="175"/>
                    <a:pt x="2349" y="175"/>
                  </a:cubicBezTo>
                  <a:cubicBezTo>
                    <a:pt x="2349" y="175"/>
                    <a:pt x="2363" y="191"/>
                    <a:pt x="2380" y="191"/>
                  </a:cubicBezTo>
                  <a:cubicBezTo>
                    <a:pt x="2398" y="191"/>
                    <a:pt x="2411" y="177"/>
                    <a:pt x="2411" y="177"/>
                  </a:cubicBezTo>
                  <a:cubicBezTo>
                    <a:pt x="2402" y="169"/>
                    <a:pt x="2402" y="169"/>
                    <a:pt x="2402" y="169"/>
                  </a:cubicBezTo>
                  <a:cubicBezTo>
                    <a:pt x="2423" y="165"/>
                    <a:pt x="2423" y="165"/>
                    <a:pt x="2423" y="165"/>
                  </a:cubicBezTo>
                  <a:cubicBezTo>
                    <a:pt x="2393" y="143"/>
                    <a:pt x="2393" y="143"/>
                    <a:pt x="2393" y="143"/>
                  </a:cubicBezTo>
                  <a:cubicBezTo>
                    <a:pt x="2365" y="147"/>
                    <a:pt x="2365" y="147"/>
                    <a:pt x="2365" y="147"/>
                  </a:cubicBezTo>
                  <a:cubicBezTo>
                    <a:pt x="2355" y="132"/>
                    <a:pt x="2355" y="132"/>
                    <a:pt x="2355" y="132"/>
                  </a:cubicBezTo>
                  <a:cubicBezTo>
                    <a:pt x="2336" y="132"/>
                    <a:pt x="2336" y="132"/>
                    <a:pt x="2336" y="132"/>
                  </a:cubicBezTo>
                  <a:cubicBezTo>
                    <a:pt x="2314" y="132"/>
                    <a:pt x="2279" y="132"/>
                    <a:pt x="2278" y="144"/>
                  </a:cubicBezTo>
                  <a:cubicBezTo>
                    <a:pt x="2277" y="156"/>
                    <a:pt x="2307" y="155"/>
                    <a:pt x="2307" y="155"/>
                  </a:cubicBezTo>
                  <a:close/>
                  <a:moveTo>
                    <a:pt x="2285" y="872"/>
                  </a:moveTo>
                  <a:cubicBezTo>
                    <a:pt x="2230" y="922"/>
                    <a:pt x="2320" y="886"/>
                    <a:pt x="2320" y="886"/>
                  </a:cubicBezTo>
                  <a:cubicBezTo>
                    <a:pt x="2366" y="843"/>
                    <a:pt x="2339" y="821"/>
                    <a:pt x="2285" y="872"/>
                  </a:cubicBezTo>
                  <a:close/>
                  <a:moveTo>
                    <a:pt x="2943" y="929"/>
                  </a:moveTo>
                  <a:cubicBezTo>
                    <a:pt x="2953" y="921"/>
                    <a:pt x="2946" y="918"/>
                    <a:pt x="2946" y="918"/>
                  </a:cubicBezTo>
                  <a:cubicBezTo>
                    <a:pt x="2946" y="918"/>
                    <a:pt x="2924" y="913"/>
                    <a:pt x="2921" y="922"/>
                  </a:cubicBezTo>
                  <a:cubicBezTo>
                    <a:pt x="2921" y="922"/>
                    <a:pt x="2932" y="936"/>
                    <a:pt x="2943" y="929"/>
                  </a:cubicBezTo>
                  <a:close/>
                  <a:moveTo>
                    <a:pt x="2077" y="1360"/>
                  </a:moveTo>
                  <a:cubicBezTo>
                    <a:pt x="2105" y="1356"/>
                    <a:pt x="2070" y="1342"/>
                    <a:pt x="2070" y="1342"/>
                  </a:cubicBezTo>
                  <a:cubicBezTo>
                    <a:pt x="2026" y="1351"/>
                    <a:pt x="2048" y="1363"/>
                    <a:pt x="2077" y="1360"/>
                  </a:cubicBezTo>
                  <a:close/>
                  <a:moveTo>
                    <a:pt x="3172" y="665"/>
                  </a:moveTo>
                  <a:cubicBezTo>
                    <a:pt x="3167" y="669"/>
                    <a:pt x="3155" y="660"/>
                    <a:pt x="3155" y="660"/>
                  </a:cubicBezTo>
                  <a:cubicBezTo>
                    <a:pt x="3133" y="673"/>
                    <a:pt x="3133" y="673"/>
                    <a:pt x="3133" y="673"/>
                  </a:cubicBezTo>
                  <a:cubicBezTo>
                    <a:pt x="3135" y="656"/>
                    <a:pt x="3135" y="656"/>
                    <a:pt x="3135" y="656"/>
                  </a:cubicBezTo>
                  <a:cubicBezTo>
                    <a:pt x="3107" y="656"/>
                    <a:pt x="3107" y="656"/>
                    <a:pt x="3107" y="656"/>
                  </a:cubicBezTo>
                  <a:cubicBezTo>
                    <a:pt x="3107" y="656"/>
                    <a:pt x="3139" y="646"/>
                    <a:pt x="3133" y="636"/>
                  </a:cubicBezTo>
                  <a:cubicBezTo>
                    <a:pt x="3128" y="625"/>
                    <a:pt x="3079" y="624"/>
                    <a:pt x="3079" y="624"/>
                  </a:cubicBezTo>
                  <a:cubicBezTo>
                    <a:pt x="3073" y="613"/>
                    <a:pt x="3073" y="613"/>
                    <a:pt x="3073" y="613"/>
                  </a:cubicBezTo>
                  <a:cubicBezTo>
                    <a:pt x="3041" y="612"/>
                    <a:pt x="3041" y="612"/>
                    <a:pt x="3041" y="612"/>
                  </a:cubicBezTo>
                  <a:cubicBezTo>
                    <a:pt x="2997" y="581"/>
                    <a:pt x="2997" y="581"/>
                    <a:pt x="2997" y="581"/>
                  </a:cubicBezTo>
                  <a:cubicBezTo>
                    <a:pt x="3044" y="578"/>
                    <a:pt x="3044" y="578"/>
                    <a:pt x="3044" y="578"/>
                  </a:cubicBezTo>
                  <a:cubicBezTo>
                    <a:pt x="3024" y="564"/>
                    <a:pt x="3024" y="564"/>
                    <a:pt x="3024" y="564"/>
                  </a:cubicBezTo>
                  <a:cubicBezTo>
                    <a:pt x="3024" y="564"/>
                    <a:pt x="3037" y="560"/>
                    <a:pt x="3041" y="560"/>
                  </a:cubicBezTo>
                  <a:cubicBezTo>
                    <a:pt x="3045" y="560"/>
                    <a:pt x="3097" y="572"/>
                    <a:pt x="3091" y="558"/>
                  </a:cubicBezTo>
                  <a:cubicBezTo>
                    <a:pt x="3084" y="545"/>
                    <a:pt x="3029" y="548"/>
                    <a:pt x="3029" y="548"/>
                  </a:cubicBezTo>
                  <a:cubicBezTo>
                    <a:pt x="3011" y="546"/>
                    <a:pt x="3011" y="546"/>
                    <a:pt x="3011" y="546"/>
                  </a:cubicBezTo>
                  <a:cubicBezTo>
                    <a:pt x="3011" y="546"/>
                    <a:pt x="3088" y="544"/>
                    <a:pt x="3091" y="534"/>
                  </a:cubicBezTo>
                  <a:cubicBezTo>
                    <a:pt x="3093" y="525"/>
                    <a:pt x="3069" y="525"/>
                    <a:pt x="3069" y="525"/>
                  </a:cubicBezTo>
                  <a:cubicBezTo>
                    <a:pt x="3000" y="536"/>
                    <a:pt x="3000" y="536"/>
                    <a:pt x="3000" y="536"/>
                  </a:cubicBezTo>
                  <a:cubicBezTo>
                    <a:pt x="3040" y="512"/>
                    <a:pt x="3040" y="512"/>
                    <a:pt x="3040" y="512"/>
                  </a:cubicBezTo>
                  <a:cubicBezTo>
                    <a:pt x="3040" y="512"/>
                    <a:pt x="3093" y="518"/>
                    <a:pt x="3077" y="504"/>
                  </a:cubicBezTo>
                  <a:cubicBezTo>
                    <a:pt x="3061" y="489"/>
                    <a:pt x="3035" y="489"/>
                    <a:pt x="3035" y="489"/>
                  </a:cubicBezTo>
                  <a:cubicBezTo>
                    <a:pt x="3009" y="504"/>
                    <a:pt x="3009" y="504"/>
                    <a:pt x="3009" y="504"/>
                  </a:cubicBezTo>
                  <a:cubicBezTo>
                    <a:pt x="2999" y="500"/>
                    <a:pt x="2999" y="500"/>
                    <a:pt x="2999" y="500"/>
                  </a:cubicBezTo>
                  <a:cubicBezTo>
                    <a:pt x="2971" y="520"/>
                    <a:pt x="2971" y="520"/>
                    <a:pt x="2971" y="520"/>
                  </a:cubicBezTo>
                  <a:cubicBezTo>
                    <a:pt x="2973" y="505"/>
                    <a:pt x="2973" y="505"/>
                    <a:pt x="2973" y="505"/>
                  </a:cubicBezTo>
                  <a:cubicBezTo>
                    <a:pt x="2959" y="517"/>
                    <a:pt x="2959" y="517"/>
                    <a:pt x="2959" y="517"/>
                  </a:cubicBezTo>
                  <a:cubicBezTo>
                    <a:pt x="2973" y="497"/>
                    <a:pt x="2973" y="497"/>
                    <a:pt x="2973" y="497"/>
                  </a:cubicBezTo>
                  <a:cubicBezTo>
                    <a:pt x="2973" y="497"/>
                    <a:pt x="2993" y="502"/>
                    <a:pt x="3003" y="493"/>
                  </a:cubicBezTo>
                  <a:cubicBezTo>
                    <a:pt x="3012" y="484"/>
                    <a:pt x="3012" y="470"/>
                    <a:pt x="3005" y="472"/>
                  </a:cubicBezTo>
                  <a:cubicBezTo>
                    <a:pt x="2999" y="473"/>
                    <a:pt x="2991" y="485"/>
                    <a:pt x="2991" y="485"/>
                  </a:cubicBezTo>
                  <a:cubicBezTo>
                    <a:pt x="2967" y="486"/>
                    <a:pt x="2967" y="486"/>
                    <a:pt x="2967" y="486"/>
                  </a:cubicBezTo>
                  <a:cubicBezTo>
                    <a:pt x="2952" y="493"/>
                    <a:pt x="2952" y="493"/>
                    <a:pt x="2952" y="493"/>
                  </a:cubicBezTo>
                  <a:cubicBezTo>
                    <a:pt x="2968" y="474"/>
                    <a:pt x="2968" y="474"/>
                    <a:pt x="2968" y="474"/>
                  </a:cubicBezTo>
                  <a:cubicBezTo>
                    <a:pt x="2988" y="474"/>
                    <a:pt x="2988" y="474"/>
                    <a:pt x="2988" y="474"/>
                  </a:cubicBezTo>
                  <a:cubicBezTo>
                    <a:pt x="2988" y="474"/>
                    <a:pt x="3012" y="465"/>
                    <a:pt x="2999" y="457"/>
                  </a:cubicBezTo>
                  <a:cubicBezTo>
                    <a:pt x="2985" y="449"/>
                    <a:pt x="2941" y="469"/>
                    <a:pt x="2941" y="469"/>
                  </a:cubicBezTo>
                  <a:cubicBezTo>
                    <a:pt x="2933" y="460"/>
                    <a:pt x="2933" y="460"/>
                    <a:pt x="2933" y="460"/>
                  </a:cubicBezTo>
                  <a:cubicBezTo>
                    <a:pt x="2917" y="472"/>
                    <a:pt x="2917" y="472"/>
                    <a:pt x="2917" y="472"/>
                  </a:cubicBezTo>
                  <a:cubicBezTo>
                    <a:pt x="2932" y="452"/>
                    <a:pt x="2932" y="452"/>
                    <a:pt x="2932" y="452"/>
                  </a:cubicBezTo>
                  <a:cubicBezTo>
                    <a:pt x="2895" y="465"/>
                    <a:pt x="2895" y="465"/>
                    <a:pt x="2895" y="465"/>
                  </a:cubicBezTo>
                  <a:cubicBezTo>
                    <a:pt x="2895" y="450"/>
                    <a:pt x="2895" y="450"/>
                    <a:pt x="2895" y="450"/>
                  </a:cubicBezTo>
                  <a:cubicBezTo>
                    <a:pt x="2895" y="450"/>
                    <a:pt x="2931" y="441"/>
                    <a:pt x="2931" y="437"/>
                  </a:cubicBezTo>
                  <a:cubicBezTo>
                    <a:pt x="2931" y="433"/>
                    <a:pt x="2881" y="442"/>
                    <a:pt x="2881" y="442"/>
                  </a:cubicBezTo>
                  <a:cubicBezTo>
                    <a:pt x="2880" y="434"/>
                    <a:pt x="2880" y="434"/>
                    <a:pt x="2880" y="434"/>
                  </a:cubicBezTo>
                  <a:cubicBezTo>
                    <a:pt x="2880" y="434"/>
                    <a:pt x="2928" y="424"/>
                    <a:pt x="2923" y="417"/>
                  </a:cubicBezTo>
                  <a:cubicBezTo>
                    <a:pt x="2917" y="410"/>
                    <a:pt x="2852" y="409"/>
                    <a:pt x="2844" y="406"/>
                  </a:cubicBezTo>
                  <a:cubicBezTo>
                    <a:pt x="2836" y="404"/>
                    <a:pt x="2820" y="406"/>
                    <a:pt x="2819" y="410"/>
                  </a:cubicBezTo>
                  <a:cubicBezTo>
                    <a:pt x="2817" y="414"/>
                    <a:pt x="2828" y="428"/>
                    <a:pt x="2828" y="428"/>
                  </a:cubicBezTo>
                  <a:cubicBezTo>
                    <a:pt x="2804" y="424"/>
                    <a:pt x="2804" y="424"/>
                    <a:pt x="2804" y="424"/>
                  </a:cubicBezTo>
                  <a:cubicBezTo>
                    <a:pt x="2807" y="442"/>
                    <a:pt x="2807" y="442"/>
                    <a:pt x="2807" y="442"/>
                  </a:cubicBezTo>
                  <a:cubicBezTo>
                    <a:pt x="2793" y="425"/>
                    <a:pt x="2793" y="425"/>
                    <a:pt x="2793" y="425"/>
                  </a:cubicBezTo>
                  <a:cubicBezTo>
                    <a:pt x="2768" y="441"/>
                    <a:pt x="2768" y="441"/>
                    <a:pt x="2768" y="441"/>
                  </a:cubicBezTo>
                  <a:cubicBezTo>
                    <a:pt x="2768" y="441"/>
                    <a:pt x="2773" y="426"/>
                    <a:pt x="2768" y="422"/>
                  </a:cubicBezTo>
                  <a:cubicBezTo>
                    <a:pt x="2763" y="418"/>
                    <a:pt x="2715" y="438"/>
                    <a:pt x="2715" y="438"/>
                  </a:cubicBezTo>
                  <a:cubicBezTo>
                    <a:pt x="2727" y="413"/>
                    <a:pt x="2727" y="413"/>
                    <a:pt x="2727" y="413"/>
                  </a:cubicBezTo>
                  <a:cubicBezTo>
                    <a:pt x="2727" y="413"/>
                    <a:pt x="2767" y="412"/>
                    <a:pt x="2767" y="402"/>
                  </a:cubicBezTo>
                  <a:cubicBezTo>
                    <a:pt x="2767" y="393"/>
                    <a:pt x="2753" y="381"/>
                    <a:pt x="2753" y="381"/>
                  </a:cubicBezTo>
                  <a:cubicBezTo>
                    <a:pt x="2753" y="381"/>
                    <a:pt x="2777" y="364"/>
                    <a:pt x="2761" y="361"/>
                  </a:cubicBezTo>
                  <a:cubicBezTo>
                    <a:pt x="2745" y="358"/>
                    <a:pt x="2699" y="362"/>
                    <a:pt x="2699" y="362"/>
                  </a:cubicBezTo>
                  <a:cubicBezTo>
                    <a:pt x="2684" y="373"/>
                    <a:pt x="2684" y="373"/>
                    <a:pt x="2684" y="373"/>
                  </a:cubicBezTo>
                  <a:cubicBezTo>
                    <a:pt x="2625" y="374"/>
                    <a:pt x="2625" y="374"/>
                    <a:pt x="2625" y="374"/>
                  </a:cubicBezTo>
                  <a:cubicBezTo>
                    <a:pt x="2632" y="385"/>
                    <a:pt x="2632" y="385"/>
                    <a:pt x="2632" y="385"/>
                  </a:cubicBezTo>
                  <a:cubicBezTo>
                    <a:pt x="2652" y="393"/>
                    <a:pt x="2652" y="393"/>
                    <a:pt x="2652" y="393"/>
                  </a:cubicBezTo>
                  <a:cubicBezTo>
                    <a:pt x="2623" y="385"/>
                    <a:pt x="2623" y="385"/>
                    <a:pt x="2623" y="385"/>
                  </a:cubicBezTo>
                  <a:cubicBezTo>
                    <a:pt x="2629" y="401"/>
                    <a:pt x="2629" y="401"/>
                    <a:pt x="2629" y="401"/>
                  </a:cubicBezTo>
                  <a:cubicBezTo>
                    <a:pt x="2629" y="401"/>
                    <a:pt x="2597" y="388"/>
                    <a:pt x="2588" y="400"/>
                  </a:cubicBezTo>
                  <a:cubicBezTo>
                    <a:pt x="2579" y="412"/>
                    <a:pt x="2596" y="424"/>
                    <a:pt x="2596" y="424"/>
                  </a:cubicBezTo>
                  <a:cubicBezTo>
                    <a:pt x="2599" y="441"/>
                    <a:pt x="2599" y="441"/>
                    <a:pt x="2599" y="441"/>
                  </a:cubicBezTo>
                  <a:cubicBezTo>
                    <a:pt x="2599" y="441"/>
                    <a:pt x="2579" y="429"/>
                    <a:pt x="2568" y="432"/>
                  </a:cubicBezTo>
                  <a:cubicBezTo>
                    <a:pt x="2557" y="434"/>
                    <a:pt x="2543" y="453"/>
                    <a:pt x="2555" y="454"/>
                  </a:cubicBezTo>
                  <a:cubicBezTo>
                    <a:pt x="2567" y="456"/>
                    <a:pt x="2571" y="462"/>
                    <a:pt x="2571" y="462"/>
                  </a:cubicBezTo>
                  <a:cubicBezTo>
                    <a:pt x="2540" y="477"/>
                    <a:pt x="2540" y="477"/>
                    <a:pt x="2540" y="477"/>
                  </a:cubicBezTo>
                  <a:cubicBezTo>
                    <a:pt x="2500" y="481"/>
                    <a:pt x="2500" y="481"/>
                    <a:pt x="2500" y="481"/>
                  </a:cubicBezTo>
                  <a:cubicBezTo>
                    <a:pt x="2500" y="481"/>
                    <a:pt x="2539" y="473"/>
                    <a:pt x="2539" y="464"/>
                  </a:cubicBezTo>
                  <a:cubicBezTo>
                    <a:pt x="2539" y="454"/>
                    <a:pt x="2515" y="453"/>
                    <a:pt x="2525" y="440"/>
                  </a:cubicBezTo>
                  <a:cubicBezTo>
                    <a:pt x="2536" y="426"/>
                    <a:pt x="2549" y="425"/>
                    <a:pt x="2549" y="425"/>
                  </a:cubicBezTo>
                  <a:cubicBezTo>
                    <a:pt x="2549" y="406"/>
                    <a:pt x="2549" y="406"/>
                    <a:pt x="2549" y="406"/>
                  </a:cubicBezTo>
                  <a:cubicBezTo>
                    <a:pt x="2549" y="406"/>
                    <a:pt x="2584" y="384"/>
                    <a:pt x="2596" y="378"/>
                  </a:cubicBezTo>
                  <a:cubicBezTo>
                    <a:pt x="2608" y="373"/>
                    <a:pt x="2653" y="366"/>
                    <a:pt x="2645" y="362"/>
                  </a:cubicBezTo>
                  <a:cubicBezTo>
                    <a:pt x="2637" y="358"/>
                    <a:pt x="2591" y="357"/>
                    <a:pt x="2565" y="358"/>
                  </a:cubicBezTo>
                  <a:cubicBezTo>
                    <a:pt x="2540" y="360"/>
                    <a:pt x="2472" y="401"/>
                    <a:pt x="2472" y="401"/>
                  </a:cubicBezTo>
                  <a:cubicBezTo>
                    <a:pt x="2472" y="401"/>
                    <a:pt x="2443" y="414"/>
                    <a:pt x="2433" y="416"/>
                  </a:cubicBezTo>
                  <a:cubicBezTo>
                    <a:pt x="2424" y="417"/>
                    <a:pt x="2420" y="428"/>
                    <a:pt x="2420" y="428"/>
                  </a:cubicBezTo>
                  <a:cubicBezTo>
                    <a:pt x="2420" y="428"/>
                    <a:pt x="2373" y="454"/>
                    <a:pt x="2391" y="461"/>
                  </a:cubicBezTo>
                  <a:cubicBezTo>
                    <a:pt x="2408" y="468"/>
                    <a:pt x="2460" y="464"/>
                    <a:pt x="2453" y="473"/>
                  </a:cubicBezTo>
                  <a:cubicBezTo>
                    <a:pt x="2447" y="482"/>
                    <a:pt x="2360" y="481"/>
                    <a:pt x="2381" y="496"/>
                  </a:cubicBezTo>
                  <a:cubicBezTo>
                    <a:pt x="2403" y="510"/>
                    <a:pt x="2429" y="513"/>
                    <a:pt x="2429" y="513"/>
                  </a:cubicBezTo>
                  <a:cubicBezTo>
                    <a:pt x="2460" y="501"/>
                    <a:pt x="2460" y="501"/>
                    <a:pt x="2460" y="501"/>
                  </a:cubicBezTo>
                  <a:cubicBezTo>
                    <a:pt x="2460" y="501"/>
                    <a:pt x="2451" y="517"/>
                    <a:pt x="2473" y="517"/>
                  </a:cubicBezTo>
                  <a:cubicBezTo>
                    <a:pt x="2496" y="517"/>
                    <a:pt x="2584" y="536"/>
                    <a:pt x="2595" y="530"/>
                  </a:cubicBezTo>
                  <a:cubicBezTo>
                    <a:pt x="2605" y="525"/>
                    <a:pt x="2581" y="513"/>
                    <a:pt x="2581" y="513"/>
                  </a:cubicBezTo>
                  <a:cubicBezTo>
                    <a:pt x="2581" y="513"/>
                    <a:pt x="2648" y="520"/>
                    <a:pt x="2659" y="521"/>
                  </a:cubicBezTo>
                  <a:cubicBezTo>
                    <a:pt x="2669" y="522"/>
                    <a:pt x="2696" y="533"/>
                    <a:pt x="2705" y="528"/>
                  </a:cubicBezTo>
                  <a:cubicBezTo>
                    <a:pt x="2715" y="522"/>
                    <a:pt x="2696" y="502"/>
                    <a:pt x="2696" y="502"/>
                  </a:cubicBezTo>
                  <a:cubicBezTo>
                    <a:pt x="2727" y="496"/>
                    <a:pt x="2727" y="496"/>
                    <a:pt x="2727" y="496"/>
                  </a:cubicBezTo>
                  <a:cubicBezTo>
                    <a:pt x="2727" y="496"/>
                    <a:pt x="2735" y="518"/>
                    <a:pt x="2739" y="517"/>
                  </a:cubicBezTo>
                  <a:cubicBezTo>
                    <a:pt x="2743" y="516"/>
                    <a:pt x="2757" y="532"/>
                    <a:pt x="2757" y="532"/>
                  </a:cubicBezTo>
                  <a:cubicBezTo>
                    <a:pt x="2777" y="525"/>
                    <a:pt x="2777" y="525"/>
                    <a:pt x="2777" y="525"/>
                  </a:cubicBezTo>
                  <a:cubicBezTo>
                    <a:pt x="2777" y="525"/>
                    <a:pt x="2769" y="545"/>
                    <a:pt x="2773" y="546"/>
                  </a:cubicBezTo>
                  <a:cubicBezTo>
                    <a:pt x="2777" y="548"/>
                    <a:pt x="2807" y="554"/>
                    <a:pt x="2807" y="554"/>
                  </a:cubicBezTo>
                  <a:cubicBezTo>
                    <a:pt x="2807" y="554"/>
                    <a:pt x="2785" y="573"/>
                    <a:pt x="2793" y="573"/>
                  </a:cubicBezTo>
                  <a:cubicBezTo>
                    <a:pt x="2801" y="573"/>
                    <a:pt x="2820" y="573"/>
                    <a:pt x="2820" y="573"/>
                  </a:cubicBezTo>
                  <a:cubicBezTo>
                    <a:pt x="2816" y="590"/>
                    <a:pt x="2816" y="590"/>
                    <a:pt x="2816" y="590"/>
                  </a:cubicBezTo>
                  <a:cubicBezTo>
                    <a:pt x="2816" y="590"/>
                    <a:pt x="2849" y="594"/>
                    <a:pt x="2849" y="610"/>
                  </a:cubicBezTo>
                  <a:cubicBezTo>
                    <a:pt x="2849" y="626"/>
                    <a:pt x="2827" y="660"/>
                    <a:pt x="2821" y="661"/>
                  </a:cubicBezTo>
                  <a:cubicBezTo>
                    <a:pt x="2816" y="662"/>
                    <a:pt x="2728" y="701"/>
                    <a:pt x="2728" y="701"/>
                  </a:cubicBezTo>
                  <a:cubicBezTo>
                    <a:pt x="2728" y="701"/>
                    <a:pt x="2756" y="720"/>
                    <a:pt x="2741" y="726"/>
                  </a:cubicBezTo>
                  <a:cubicBezTo>
                    <a:pt x="2727" y="733"/>
                    <a:pt x="2707" y="734"/>
                    <a:pt x="2707" y="734"/>
                  </a:cubicBezTo>
                  <a:cubicBezTo>
                    <a:pt x="2655" y="741"/>
                    <a:pt x="2655" y="741"/>
                    <a:pt x="2655" y="741"/>
                  </a:cubicBezTo>
                  <a:cubicBezTo>
                    <a:pt x="2649" y="756"/>
                    <a:pt x="2649" y="756"/>
                    <a:pt x="2649" y="756"/>
                  </a:cubicBezTo>
                  <a:cubicBezTo>
                    <a:pt x="2640" y="742"/>
                    <a:pt x="2640" y="742"/>
                    <a:pt x="2640" y="742"/>
                  </a:cubicBezTo>
                  <a:cubicBezTo>
                    <a:pt x="2640" y="742"/>
                    <a:pt x="2613" y="733"/>
                    <a:pt x="2600" y="736"/>
                  </a:cubicBezTo>
                  <a:cubicBezTo>
                    <a:pt x="2587" y="738"/>
                    <a:pt x="2588" y="750"/>
                    <a:pt x="2588" y="750"/>
                  </a:cubicBezTo>
                  <a:cubicBezTo>
                    <a:pt x="2588" y="750"/>
                    <a:pt x="2543" y="760"/>
                    <a:pt x="2543" y="776"/>
                  </a:cubicBezTo>
                  <a:cubicBezTo>
                    <a:pt x="2543" y="800"/>
                    <a:pt x="2577" y="794"/>
                    <a:pt x="2604" y="785"/>
                  </a:cubicBezTo>
                  <a:cubicBezTo>
                    <a:pt x="2631" y="776"/>
                    <a:pt x="2637" y="777"/>
                    <a:pt x="2637" y="777"/>
                  </a:cubicBezTo>
                  <a:cubicBezTo>
                    <a:pt x="2637" y="777"/>
                    <a:pt x="2656" y="790"/>
                    <a:pt x="2663" y="785"/>
                  </a:cubicBezTo>
                  <a:cubicBezTo>
                    <a:pt x="2669" y="780"/>
                    <a:pt x="2665" y="769"/>
                    <a:pt x="2665" y="769"/>
                  </a:cubicBezTo>
                  <a:cubicBezTo>
                    <a:pt x="2681" y="754"/>
                    <a:pt x="2681" y="754"/>
                    <a:pt x="2681" y="754"/>
                  </a:cubicBezTo>
                  <a:cubicBezTo>
                    <a:pt x="2681" y="754"/>
                    <a:pt x="2668" y="766"/>
                    <a:pt x="2677" y="769"/>
                  </a:cubicBezTo>
                  <a:cubicBezTo>
                    <a:pt x="2687" y="772"/>
                    <a:pt x="2721" y="772"/>
                    <a:pt x="2721" y="772"/>
                  </a:cubicBezTo>
                  <a:cubicBezTo>
                    <a:pt x="2721" y="772"/>
                    <a:pt x="2707" y="778"/>
                    <a:pt x="2708" y="785"/>
                  </a:cubicBezTo>
                  <a:cubicBezTo>
                    <a:pt x="2709" y="792"/>
                    <a:pt x="2731" y="796"/>
                    <a:pt x="2731" y="796"/>
                  </a:cubicBezTo>
                  <a:cubicBezTo>
                    <a:pt x="2731" y="796"/>
                    <a:pt x="2717" y="805"/>
                    <a:pt x="2728" y="812"/>
                  </a:cubicBezTo>
                  <a:cubicBezTo>
                    <a:pt x="2739" y="818"/>
                    <a:pt x="2763" y="818"/>
                    <a:pt x="2763" y="818"/>
                  </a:cubicBezTo>
                  <a:cubicBezTo>
                    <a:pt x="2732" y="829"/>
                    <a:pt x="2732" y="829"/>
                    <a:pt x="2732" y="829"/>
                  </a:cubicBezTo>
                  <a:cubicBezTo>
                    <a:pt x="2732" y="829"/>
                    <a:pt x="2737" y="850"/>
                    <a:pt x="2743" y="849"/>
                  </a:cubicBezTo>
                  <a:cubicBezTo>
                    <a:pt x="2748" y="848"/>
                    <a:pt x="2759" y="841"/>
                    <a:pt x="2759" y="841"/>
                  </a:cubicBezTo>
                  <a:cubicBezTo>
                    <a:pt x="2759" y="841"/>
                    <a:pt x="2761" y="856"/>
                    <a:pt x="2771" y="857"/>
                  </a:cubicBezTo>
                  <a:cubicBezTo>
                    <a:pt x="2780" y="858"/>
                    <a:pt x="2801" y="861"/>
                    <a:pt x="2801" y="861"/>
                  </a:cubicBezTo>
                  <a:cubicBezTo>
                    <a:pt x="2801" y="861"/>
                    <a:pt x="2800" y="878"/>
                    <a:pt x="2816" y="882"/>
                  </a:cubicBezTo>
                  <a:cubicBezTo>
                    <a:pt x="2832" y="886"/>
                    <a:pt x="2843" y="878"/>
                    <a:pt x="2857" y="886"/>
                  </a:cubicBezTo>
                  <a:cubicBezTo>
                    <a:pt x="2872" y="894"/>
                    <a:pt x="2908" y="909"/>
                    <a:pt x="2908" y="909"/>
                  </a:cubicBezTo>
                  <a:cubicBezTo>
                    <a:pt x="2908" y="909"/>
                    <a:pt x="2919" y="889"/>
                    <a:pt x="2907" y="876"/>
                  </a:cubicBezTo>
                  <a:cubicBezTo>
                    <a:pt x="2895" y="862"/>
                    <a:pt x="2875" y="850"/>
                    <a:pt x="2875" y="850"/>
                  </a:cubicBezTo>
                  <a:cubicBezTo>
                    <a:pt x="2875" y="850"/>
                    <a:pt x="2855" y="825"/>
                    <a:pt x="2860" y="817"/>
                  </a:cubicBezTo>
                  <a:cubicBezTo>
                    <a:pt x="2865" y="809"/>
                    <a:pt x="2888" y="832"/>
                    <a:pt x="2888" y="832"/>
                  </a:cubicBezTo>
                  <a:cubicBezTo>
                    <a:pt x="2888" y="812"/>
                    <a:pt x="2888" y="812"/>
                    <a:pt x="2888" y="812"/>
                  </a:cubicBezTo>
                  <a:cubicBezTo>
                    <a:pt x="2888" y="812"/>
                    <a:pt x="2897" y="837"/>
                    <a:pt x="2907" y="837"/>
                  </a:cubicBezTo>
                  <a:cubicBezTo>
                    <a:pt x="2916" y="837"/>
                    <a:pt x="2931" y="833"/>
                    <a:pt x="2931" y="833"/>
                  </a:cubicBezTo>
                  <a:cubicBezTo>
                    <a:pt x="2931" y="833"/>
                    <a:pt x="2927" y="854"/>
                    <a:pt x="2937" y="853"/>
                  </a:cubicBezTo>
                  <a:cubicBezTo>
                    <a:pt x="2948" y="852"/>
                    <a:pt x="2952" y="864"/>
                    <a:pt x="2952" y="864"/>
                  </a:cubicBezTo>
                  <a:cubicBezTo>
                    <a:pt x="2965" y="849"/>
                    <a:pt x="2965" y="849"/>
                    <a:pt x="2965" y="849"/>
                  </a:cubicBezTo>
                  <a:cubicBezTo>
                    <a:pt x="2965" y="849"/>
                    <a:pt x="2975" y="861"/>
                    <a:pt x="2980" y="858"/>
                  </a:cubicBezTo>
                  <a:cubicBezTo>
                    <a:pt x="2985" y="856"/>
                    <a:pt x="2979" y="840"/>
                    <a:pt x="2979" y="840"/>
                  </a:cubicBezTo>
                  <a:cubicBezTo>
                    <a:pt x="2989" y="809"/>
                    <a:pt x="2989" y="809"/>
                    <a:pt x="2989" y="809"/>
                  </a:cubicBezTo>
                  <a:cubicBezTo>
                    <a:pt x="2989" y="809"/>
                    <a:pt x="2989" y="836"/>
                    <a:pt x="2997" y="836"/>
                  </a:cubicBezTo>
                  <a:cubicBezTo>
                    <a:pt x="3005" y="836"/>
                    <a:pt x="3009" y="808"/>
                    <a:pt x="3009" y="808"/>
                  </a:cubicBezTo>
                  <a:cubicBezTo>
                    <a:pt x="2995" y="792"/>
                    <a:pt x="2995" y="792"/>
                    <a:pt x="2995" y="792"/>
                  </a:cubicBezTo>
                  <a:cubicBezTo>
                    <a:pt x="3009" y="788"/>
                    <a:pt x="3009" y="788"/>
                    <a:pt x="3009" y="788"/>
                  </a:cubicBezTo>
                  <a:cubicBezTo>
                    <a:pt x="2997" y="778"/>
                    <a:pt x="2997" y="778"/>
                    <a:pt x="2997" y="778"/>
                  </a:cubicBezTo>
                  <a:cubicBezTo>
                    <a:pt x="2999" y="765"/>
                    <a:pt x="2999" y="765"/>
                    <a:pt x="2999" y="765"/>
                  </a:cubicBezTo>
                  <a:cubicBezTo>
                    <a:pt x="2979" y="768"/>
                    <a:pt x="2979" y="768"/>
                    <a:pt x="2979" y="768"/>
                  </a:cubicBezTo>
                  <a:cubicBezTo>
                    <a:pt x="2979" y="757"/>
                    <a:pt x="2979" y="757"/>
                    <a:pt x="2979" y="757"/>
                  </a:cubicBezTo>
                  <a:cubicBezTo>
                    <a:pt x="2964" y="757"/>
                    <a:pt x="2964" y="757"/>
                    <a:pt x="2964" y="757"/>
                  </a:cubicBezTo>
                  <a:cubicBezTo>
                    <a:pt x="2963" y="724"/>
                    <a:pt x="2963" y="724"/>
                    <a:pt x="2963" y="724"/>
                  </a:cubicBezTo>
                  <a:cubicBezTo>
                    <a:pt x="2941" y="725"/>
                    <a:pt x="2941" y="725"/>
                    <a:pt x="2941" y="725"/>
                  </a:cubicBezTo>
                  <a:cubicBezTo>
                    <a:pt x="2941" y="725"/>
                    <a:pt x="2929" y="705"/>
                    <a:pt x="2941" y="702"/>
                  </a:cubicBezTo>
                  <a:cubicBezTo>
                    <a:pt x="2953" y="700"/>
                    <a:pt x="2961" y="717"/>
                    <a:pt x="2969" y="714"/>
                  </a:cubicBezTo>
                  <a:cubicBezTo>
                    <a:pt x="2977" y="712"/>
                    <a:pt x="2976" y="686"/>
                    <a:pt x="2976" y="686"/>
                  </a:cubicBezTo>
                  <a:cubicBezTo>
                    <a:pt x="2991" y="690"/>
                    <a:pt x="2991" y="690"/>
                    <a:pt x="2991" y="690"/>
                  </a:cubicBezTo>
                  <a:cubicBezTo>
                    <a:pt x="3016" y="678"/>
                    <a:pt x="3016" y="678"/>
                    <a:pt x="3016" y="678"/>
                  </a:cubicBezTo>
                  <a:cubicBezTo>
                    <a:pt x="3016" y="678"/>
                    <a:pt x="3017" y="710"/>
                    <a:pt x="3024" y="704"/>
                  </a:cubicBezTo>
                  <a:cubicBezTo>
                    <a:pt x="3031" y="697"/>
                    <a:pt x="3044" y="697"/>
                    <a:pt x="3044" y="697"/>
                  </a:cubicBezTo>
                  <a:cubicBezTo>
                    <a:pt x="3036" y="709"/>
                    <a:pt x="3036" y="709"/>
                    <a:pt x="3036" y="709"/>
                  </a:cubicBezTo>
                  <a:cubicBezTo>
                    <a:pt x="3051" y="710"/>
                    <a:pt x="3051" y="710"/>
                    <a:pt x="3051" y="710"/>
                  </a:cubicBezTo>
                  <a:cubicBezTo>
                    <a:pt x="3044" y="729"/>
                    <a:pt x="3044" y="729"/>
                    <a:pt x="3044" y="729"/>
                  </a:cubicBezTo>
                  <a:cubicBezTo>
                    <a:pt x="3044" y="729"/>
                    <a:pt x="3067" y="770"/>
                    <a:pt x="3083" y="760"/>
                  </a:cubicBezTo>
                  <a:cubicBezTo>
                    <a:pt x="3099" y="749"/>
                    <a:pt x="3101" y="724"/>
                    <a:pt x="3101" y="724"/>
                  </a:cubicBezTo>
                  <a:cubicBezTo>
                    <a:pt x="3108" y="714"/>
                    <a:pt x="3108" y="714"/>
                    <a:pt x="3108" y="714"/>
                  </a:cubicBezTo>
                  <a:cubicBezTo>
                    <a:pt x="3108" y="714"/>
                    <a:pt x="3127" y="730"/>
                    <a:pt x="3140" y="721"/>
                  </a:cubicBezTo>
                  <a:cubicBezTo>
                    <a:pt x="3153" y="712"/>
                    <a:pt x="3152" y="694"/>
                    <a:pt x="3152" y="694"/>
                  </a:cubicBezTo>
                  <a:cubicBezTo>
                    <a:pt x="3152" y="694"/>
                    <a:pt x="3187" y="704"/>
                    <a:pt x="3201" y="688"/>
                  </a:cubicBezTo>
                  <a:cubicBezTo>
                    <a:pt x="3216" y="672"/>
                    <a:pt x="3177" y="661"/>
                    <a:pt x="3172" y="665"/>
                  </a:cubicBezTo>
                  <a:close/>
                  <a:moveTo>
                    <a:pt x="2983" y="872"/>
                  </a:moveTo>
                  <a:cubicBezTo>
                    <a:pt x="2963" y="876"/>
                    <a:pt x="2963" y="876"/>
                    <a:pt x="2963" y="876"/>
                  </a:cubicBezTo>
                  <a:cubicBezTo>
                    <a:pt x="2960" y="885"/>
                    <a:pt x="2960" y="885"/>
                    <a:pt x="2960" y="885"/>
                  </a:cubicBezTo>
                  <a:cubicBezTo>
                    <a:pt x="2983" y="882"/>
                    <a:pt x="2983" y="882"/>
                    <a:pt x="2983" y="882"/>
                  </a:cubicBezTo>
                  <a:lnTo>
                    <a:pt x="2983" y="872"/>
                  </a:lnTo>
                  <a:close/>
                  <a:moveTo>
                    <a:pt x="2758" y="861"/>
                  </a:moveTo>
                  <a:cubicBezTo>
                    <a:pt x="2746" y="862"/>
                    <a:pt x="2747" y="878"/>
                    <a:pt x="2761" y="878"/>
                  </a:cubicBezTo>
                  <a:cubicBezTo>
                    <a:pt x="2785" y="878"/>
                    <a:pt x="2771" y="859"/>
                    <a:pt x="2758" y="861"/>
                  </a:cubicBezTo>
                  <a:close/>
                  <a:moveTo>
                    <a:pt x="2555" y="832"/>
                  </a:moveTo>
                  <a:cubicBezTo>
                    <a:pt x="2565" y="822"/>
                    <a:pt x="2540" y="818"/>
                    <a:pt x="2540" y="818"/>
                  </a:cubicBezTo>
                  <a:cubicBezTo>
                    <a:pt x="2540" y="818"/>
                    <a:pt x="2540" y="847"/>
                    <a:pt x="2555" y="832"/>
                  </a:cubicBezTo>
                  <a:close/>
                  <a:moveTo>
                    <a:pt x="2800" y="969"/>
                  </a:moveTo>
                  <a:cubicBezTo>
                    <a:pt x="2777" y="971"/>
                    <a:pt x="2777" y="971"/>
                    <a:pt x="2777" y="971"/>
                  </a:cubicBezTo>
                  <a:cubicBezTo>
                    <a:pt x="2801" y="987"/>
                    <a:pt x="2801" y="987"/>
                    <a:pt x="2801" y="987"/>
                  </a:cubicBezTo>
                  <a:cubicBezTo>
                    <a:pt x="2820" y="978"/>
                    <a:pt x="2800" y="969"/>
                    <a:pt x="2800" y="969"/>
                  </a:cubicBezTo>
                  <a:close/>
                  <a:moveTo>
                    <a:pt x="2779" y="582"/>
                  </a:moveTo>
                  <a:cubicBezTo>
                    <a:pt x="2752" y="576"/>
                    <a:pt x="2779" y="594"/>
                    <a:pt x="2779" y="594"/>
                  </a:cubicBezTo>
                  <a:cubicBezTo>
                    <a:pt x="2795" y="592"/>
                    <a:pt x="2807" y="588"/>
                    <a:pt x="2779" y="582"/>
                  </a:cubicBezTo>
                  <a:close/>
                  <a:moveTo>
                    <a:pt x="2779" y="626"/>
                  </a:moveTo>
                  <a:cubicBezTo>
                    <a:pt x="2821" y="624"/>
                    <a:pt x="2821" y="624"/>
                    <a:pt x="2821" y="624"/>
                  </a:cubicBezTo>
                  <a:cubicBezTo>
                    <a:pt x="2821" y="613"/>
                    <a:pt x="2821" y="613"/>
                    <a:pt x="2821" y="613"/>
                  </a:cubicBezTo>
                  <a:cubicBezTo>
                    <a:pt x="2791" y="615"/>
                    <a:pt x="2791" y="615"/>
                    <a:pt x="2791" y="615"/>
                  </a:cubicBezTo>
                  <a:lnTo>
                    <a:pt x="2779" y="626"/>
                  </a:lnTo>
                  <a:close/>
                  <a:moveTo>
                    <a:pt x="3715" y="26"/>
                  </a:moveTo>
                  <a:cubicBezTo>
                    <a:pt x="3713" y="23"/>
                    <a:pt x="3658" y="28"/>
                    <a:pt x="3658" y="28"/>
                  </a:cubicBezTo>
                  <a:cubicBezTo>
                    <a:pt x="3660" y="18"/>
                    <a:pt x="3660" y="18"/>
                    <a:pt x="3660" y="18"/>
                  </a:cubicBezTo>
                  <a:cubicBezTo>
                    <a:pt x="3660" y="18"/>
                    <a:pt x="3625" y="10"/>
                    <a:pt x="3612" y="10"/>
                  </a:cubicBezTo>
                  <a:cubicBezTo>
                    <a:pt x="3599" y="10"/>
                    <a:pt x="3527" y="25"/>
                    <a:pt x="3527" y="25"/>
                  </a:cubicBezTo>
                  <a:cubicBezTo>
                    <a:pt x="3560" y="10"/>
                    <a:pt x="3560" y="10"/>
                    <a:pt x="3560" y="10"/>
                  </a:cubicBezTo>
                  <a:cubicBezTo>
                    <a:pt x="3515" y="12"/>
                    <a:pt x="3515" y="12"/>
                    <a:pt x="3515" y="12"/>
                  </a:cubicBezTo>
                  <a:cubicBezTo>
                    <a:pt x="3515" y="12"/>
                    <a:pt x="3479" y="0"/>
                    <a:pt x="3469" y="2"/>
                  </a:cubicBezTo>
                  <a:cubicBezTo>
                    <a:pt x="3458" y="4"/>
                    <a:pt x="3453" y="15"/>
                    <a:pt x="3453" y="15"/>
                  </a:cubicBezTo>
                  <a:cubicBezTo>
                    <a:pt x="3453" y="15"/>
                    <a:pt x="3427" y="3"/>
                    <a:pt x="3418" y="3"/>
                  </a:cubicBezTo>
                  <a:cubicBezTo>
                    <a:pt x="3409" y="3"/>
                    <a:pt x="3389" y="18"/>
                    <a:pt x="3389" y="18"/>
                  </a:cubicBezTo>
                  <a:cubicBezTo>
                    <a:pt x="3363" y="10"/>
                    <a:pt x="3363" y="10"/>
                    <a:pt x="3363" y="10"/>
                  </a:cubicBezTo>
                  <a:cubicBezTo>
                    <a:pt x="3290" y="7"/>
                    <a:pt x="3290" y="7"/>
                    <a:pt x="3290" y="7"/>
                  </a:cubicBezTo>
                  <a:cubicBezTo>
                    <a:pt x="3308" y="25"/>
                    <a:pt x="3308" y="25"/>
                    <a:pt x="3308" y="25"/>
                  </a:cubicBezTo>
                  <a:cubicBezTo>
                    <a:pt x="3266" y="11"/>
                    <a:pt x="3266" y="11"/>
                    <a:pt x="3266" y="11"/>
                  </a:cubicBezTo>
                  <a:cubicBezTo>
                    <a:pt x="3225" y="18"/>
                    <a:pt x="3225" y="18"/>
                    <a:pt x="3225" y="18"/>
                  </a:cubicBezTo>
                  <a:cubicBezTo>
                    <a:pt x="3225" y="18"/>
                    <a:pt x="3195" y="12"/>
                    <a:pt x="3179" y="12"/>
                  </a:cubicBezTo>
                  <a:cubicBezTo>
                    <a:pt x="3163" y="12"/>
                    <a:pt x="3114" y="24"/>
                    <a:pt x="3114" y="24"/>
                  </a:cubicBezTo>
                  <a:cubicBezTo>
                    <a:pt x="3172" y="42"/>
                    <a:pt x="3172" y="42"/>
                    <a:pt x="3172" y="42"/>
                  </a:cubicBezTo>
                  <a:cubicBezTo>
                    <a:pt x="3114" y="34"/>
                    <a:pt x="3114" y="34"/>
                    <a:pt x="3114" y="34"/>
                  </a:cubicBezTo>
                  <a:cubicBezTo>
                    <a:pt x="3114" y="34"/>
                    <a:pt x="3059" y="23"/>
                    <a:pt x="3034" y="25"/>
                  </a:cubicBezTo>
                  <a:cubicBezTo>
                    <a:pt x="3010" y="28"/>
                    <a:pt x="3018" y="42"/>
                    <a:pt x="3018" y="42"/>
                  </a:cubicBezTo>
                  <a:cubicBezTo>
                    <a:pt x="3018" y="42"/>
                    <a:pt x="2956" y="36"/>
                    <a:pt x="2943" y="36"/>
                  </a:cubicBezTo>
                  <a:cubicBezTo>
                    <a:pt x="2930" y="36"/>
                    <a:pt x="2830" y="46"/>
                    <a:pt x="2826" y="48"/>
                  </a:cubicBezTo>
                  <a:cubicBezTo>
                    <a:pt x="2823" y="50"/>
                    <a:pt x="2849" y="56"/>
                    <a:pt x="2849" y="56"/>
                  </a:cubicBezTo>
                  <a:cubicBezTo>
                    <a:pt x="2905" y="59"/>
                    <a:pt x="2905" y="59"/>
                    <a:pt x="2905" y="59"/>
                  </a:cubicBezTo>
                  <a:cubicBezTo>
                    <a:pt x="2850" y="67"/>
                    <a:pt x="2850" y="67"/>
                    <a:pt x="2850" y="67"/>
                  </a:cubicBezTo>
                  <a:cubicBezTo>
                    <a:pt x="2850" y="67"/>
                    <a:pt x="2870" y="76"/>
                    <a:pt x="2884" y="76"/>
                  </a:cubicBezTo>
                  <a:cubicBezTo>
                    <a:pt x="2898" y="76"/>
                    <a:pt x="2935" y="70"/>
                    <a:pt x="2935" y="70"/>
                  </a:cubicBezTo>
                  <a:cubicBezTo>
                    <a:pt x="2935" y="70"/>
                    <a:pt x="2960" y="62"/>
                    <a:pt x="2978" y="62"/>
                  </a:cubicBezTo>
                  <a:cubicBezTo>
                    <a:pt x="2997" y="62"/>
                    <a:pt x="3040" y="71"/>
                    <a:pt x="3040" y="71"/>
                  </a:cubicBezTo>
                  <a:cubicBezTo>
                    <a:pt x="3040" y="71"/>
                    <a:pt x="2989" y="72"/>
                    <a:pt x="2977" y="73"/>
                  </a:cubicBezTo>
                  <a:cubicBezTo>
                    <a:pt x="2965" y="74"/>
                    <a:pt x="2930" y="87"/>
                    <a:pt x="2930" y="87"/>
                  </a:cubicBezTo>
                  <a:cubicBezTo>
                    <a:pt x="2930" y="87"/>
                    <a:pt x="2958" y="87"/>
                    <a:pt x="2979" y="89"/>
                  </a:cubicBezTo>
                  <a:cubicBezTo>
                    <a:pt x="3001" y="91"/>
                    <a:pt x="3006" y="83"/>
                    <a:pt x="3006" y="83"/>
                  </a:cubicBezTo>
                  <a:cubicBezTo>
                    <a:pt x="3050" y="83"/>
                    <a:pt x="3050" y="83"/>
                    <a:pt x="3050" y="83"/>
                  </a:cubicBezTo>
                  <a:cubicBezTo>
                    <a:pt x="3050" y="83"/>
                    <a:pt x="3064" y="84"/>
                    <a:pt x="3081" y="84"/>
                  </a:cubicBezTo>
                  <a:cubicBezTo>
                    <a:pt x="3098" y="84"/>
                    <a:pt x="3138" y="73"/>
                    <a:pt x="3142" y="70"/>
                  </a:cubicBezTo>
                  <a:cubicBezTo>
                    <a:pt x="3147" y="66"/>
                    <a:pt x="3173" y="63"/>
                    <a:pt x="3186" y="59"/>
                  </a:cubicBezTo>
                  <a:cubicBezTo>
                    <a:pt x="3199" y="54"/>
                    <a:pt x="3220" y="59"/>
                    <a:pt x="3220" y="59"/>
                  </a:cubicBezTo>
                  <a:cubicBezTo>
                    <a:pt x="3162" y="76"/>
                    <a:pt x="3162" y="76"/>
                    <a:pt x="3162" y="76"/>
                  </a:cubicBezTo>
                  <a:cubicBezTo>
                    <a:pt x="3185" y="77"/>
                    <a:pt x="3185" y="77"/>
                    <a:pt x="3185" y="77"/>
                  </a:cubicBezTo>
                  <a:cubicBezTo>
                    <a:pt x="3153" y="87"/>
                    <a:pt x="3153" y="87"/>
                    <a:pt x="3153" y="87"/>
                  </a:cubicBezTo>
                  <a:cubicBezTo>
                    <a:pt x="3153" y="87"/>
                    <a:pt x="3040" y="92"/>
                    <a:pt x="3027" y="92"/>
                  </a:cubicBezTo>
                  <a:cubicBezTo>
                    <a:pt x="3014" y="92"/>
                    <a:pt x="3014" y="104"/>
                    <a:pt x="3014" y="104"/>
                  </a:cubicBezTo>
                  <a:cubicBezTo>
                    <a:pt x="3065" y="119"/>
                    <a:pt x="3065" y="119"/>
                    <a:pt x="3065" y="119"/>
                  </a:cubicBezTo>
                  <a:cubicBezTo>
                    <a:pt x="3065" y="119"/>
                    <a:pt x="3045" y="125"/>
                    <a:pt x="3033" y="125"/>
                  </a:cubicBezTo>
                  <a:cubicBezTo>
                    <a:pt x="3022" y="125"/>
                    <a:pt x="2974" y="99"/>
                    <a:pt x="2974" y="99"/>
                  </a:cubicBezTo>
                  <a:cubicBezTo>
                    <a:pt x="2974" y="99"/>
                    <a:pt x="2925" y="100"/>
                    <a:pt x="2912" y="100"/>
                  </a:cubicBezTo>
                  <a:cubicBezTo>
                    <a:pt x="2899" y="100"/>
                    <a:pt x="2891" y="115"/>
                    <a:pt x="2891" y="115"/>
                  </a:cubicBezTo>
                  <a:cubicBezTo>
                    <a:pt x="2912" y="126"/>
                    <a:pt x="2912" y="126"/>
                    <a:pt x="2912" y="126"/>
                  </a:cubicBezTo>
                  <a:cubicBezTo>
                    <a:pt x="2912" y="126"/>
                    <a:pt x="2923" y="142"/>
                    <a:pt x="2940" y="145"/>
                  </a:cubicBezTo>
                  <a:cubicBezTo>
                    <a:pt x="2956" y="148"/>
                    <a:pt x="2989" y="144"/>
                    <a:pt x="2989" y="144"/>
                  </a:cubicBezTo>
                  <a:cubicBezTo>
                    <a:pt x="2989" y="144"/>
                    <a:pt x="2981" y="153"/>
                    <a:pt x="2964" y="155"/>
                  </a:cubicBezTo>
                  <a:cubicBezTo>
                    <a:pt x="2948" y="157"/>
                    <a:pt x="2917" y="151"/>
                    <a:pt x="2909" y="149"/>
                  </a:cubicBezTo>
                  <a:cubicBezTo>
                    <a:pt x="2902" y="147"/>
                    <a:pt x="2846" y="157"/>
                    <a:pt x="2828" y="157"/>
                  </a:cubicBezTo>
                  <a:cubicBezTo>
                    <a:pt x="2809" y="157"/>
                    <a:pt x="2774" y="182"/>
                    <a:pt x="2774" y="182"/>
                  </a:cubicBezTo>
                  <a:cubicBezTo>
                    <a:pt x="2823" y="174"/>
                    <a:pt x="2823" y="174"/>
                    <a:pt x="2823" y="174"/>
                  </a:cubicBezTo>
                  <a:cubicBezTo>
                    <a:pt x="2821" y="186"/>
                    <a:pt x="2821" y="186"/>
                    <a:pt x="2821" y="186"/>
                  </a:cubicBezTo>
                  <a:cubicBezTo>
                    <a:pt x="2863" y="174"/>
                    <a:pt x="2863" y="174"/>
                    <a:pt x="2863" y="174"/>
                  </a:cubicBezTo>
                  <a:cubicBezTo>
                    <a:pt x="2816" y="192"/>
                    <a:pt x="2816" y="192"/>
                    <a:pt x="2816" y="192"/>
                  </a:cubicBezTo>
                  <a:cubicBezTo>
                    <a:pt x="2816" y="192"/>
                    <a:pt x="2824" y="203"/>
                    <a:pt x="2840" y="203"/>
                  </a:cubicBezTo>
                  <a:cubicBezTo>
                    <a:pt x="2857" y="203"/>
                    <a:pt x="2902" y="186"/>
                    <a:pt x="2902" y="186"/>
                  </a:cubicBezTo>
                  <a:cubicBezTo>
                    <a:pt x="2834" y="212"/>
                    <a:pt x="2834" y="212"/>
                    <a:pt x="2834" y="212"/>
                  </a:cubicBezTo>
                  <a:cubicBezTo>
                    <a:pt x="2789" y="209"/>
                    <a:pt x="2789" y="209"/>
                    <a:pt x="2789" y="209"/>
                  </a:cubicBezTo>
                  <a:cubicBezTo>
                    <a:pt x="2780" y="192"/>
                    <a:pt x="2780" y="192"/>
                    <a:pt x="2780" y="192"/>
                  </a:cubicBezTo>
                  <a:cubicBezTo>
                    <a:pt x="2780" y="192"/>
                    <a:pt x="2747" y="189"/>
                    <a:pt x="2737" y="191"/>
                  </a:cubicBezTo>
                  <a:cubicBezTo>
                    <a:pt x="2727" y="193"/>
                    <a:pt x="2741" y="218"/>
                    <a:pt x="2741" y="218"/>
                  </a:cubicBezTo>
                  <a:cubicBezTo>
                    <a:pt x="2741" y="218"/>
                    <a:pt x="2697" y="222"/>
                    <a:pt x="2691" y="222"/>
                  </a:cubicBezTo>
                  <a:cubicBezTo>
                    <a:pt x="2684" y="222"/>
                    <a:pt x="2654" y="237"/>
                    <a:pt x="2634" y="239"/>
                  </a:cubicBezTo>
                  <a:cubicBezTo>
                    <a:pt x="2622" y="240"/>
                    <a:pt x="2613" y="241"/>
                    <a:pt x="2610" y="241"/>
                  </a:cubicBezTo>
                  <a:cubicBezTo>
                    <a:pt x="2607" y="241"/>
                    <a:pt x="2626" y="247"/>
                    <a:pt x="2641" y="247"/>
                  </a:cubicBezTo>
                  <a:cubicBezTo>
                    <a:pt x="2656" y="247"/>
                    <a:pt x="2663" y="240"/>
                    <a:pt x="2663" y="240"/>
                  </a:cubicBezTo>
                  <a:cubicBezTo>
                    <a:pt x="2655" y="252"/>
                    <a:pt x="2655" y="252"/>
                    <a:pt x="2655" y="252"/>
                  </a:cubicBezTo>
                  <a:cubicBezTo>
                    <a:pt x="2680" y="247"/>
                    <a:pt x="2680" y="247"/>
                    <a:pt x="2680" y="247"/>
                  </a:cubicBezTo>
                  <a:cubicBezTo>
                    <a:pt x="2695" y="240"/>
                    <a:pt x="2695" y="240"/>
                    <a:pt x="2695" y="240"/>
                  </a:cubicBezTo>
                  <a:cubicBezTo>
                    <a:pt x="2695" y="248"/>
                    <a:pt x="2695" y="248"/>
                    <a:pt x="2695" y="248"/>
                  </a:cubicBezTo>
                  <a:cubicBezTo>
                    <a:pt x="2712" y="246"/>
                    <a:pt x="2712" y="246"/>
                    <a:pt x="2712" y="246"/>
                  </a:cubicBezTo>
                  <a:cubicBezTo>
                    <a:pt x="2728" y="244"/>
                    <a:pt x="2728" y="244"/>
                    <a:pt x="2728" y="244"/>
                  </a:cubicBezTo>
                  <a:cubicBezTo>
                    <a:pt x="2728" y="244"/>
                    <a:pt x="2729" y="253"/>
                    <a:pt x="2740" y="254"/>
                  </a:cubicBezTo>
                  <a:cubicBezTo>
                    <a:pt x="2751" y="255"/>
                    <a:pt x="2773" y="241"/>
                    <a:pt x="2773" y="241"/>
                  </a:cubicBezTo>
                  <a:cubicBezTo>
                    <a:pt x="2778" y="250"/>
                    <a:pt x="2778" y="250"/>
                    <a:pt x="2778" y="250"/>
                  </a:cubicBezTo>
                  <a:cubicBezTo>
                    <a:pt x="2796" y="240"/>
                    <a:pt x="2796" y="240"/>
                    <a:pt x="2796" y="240"/>
                  </a:cubicBezTo>
                  <a:cubicBezTo>
                    <a:pt x="2796" y="240"/>
                    <a:pt x="2802" y="248"/>
                    <a:pt x="2810" y="251"/>
                  </a:cubicBezTo>
                  <a:cubicBezTo>
                    <a:pt x="2819" y="253"/>
                    <a:pt x="2828" y="242"/>
                    <a:pt x="2828" y="242"/>
                  </a:cubicBezTo>
                  <a:cubicBezTo>
                    <a:pt x="2828" y="242"/>
                    <a:pt x="2837" y="250"/>
                    <a:pt x="2850" y="250"/>
                  </a:cubicBezTo>
                  <a:cubicBezTo>
                    <a:pt x="2863" y="250"/>
                    <a:pt x="2853" y="238"/>
                    <a:pt x="2853" y="238"/>
                  </a:cubicBezTo>
                  <a:cubicBezTo>
                    <a:pt x="2891" y="252"/>
                    <a:pt x="2891" y="252"/>
                    <a:pt x="2891" y="252"/>
                  </a:cubicBezTo>
                  <a:cubicBezTo>
                    <a:pt x="2891" y="252"/>
                    <a:pt x="2898" y="261"/>
                    <a:pt x="2902" y="261"/>
                  </a:cubicBezTo>
                  <a:cubicBezTo>
                    <a:pt x="2906" y="261"/>
                    <a:pt x="2964" y="248"/>
                    <a:pt x="2975" y="248"/>
                  </a:cubicBezTo>
                  <a:cubicBezTo>
                    <a:pt x="2986" y="248"/>
                    <a:pt x="3011" y="238"/>
                    <a:pt x="3015" y="231"/>
                  </a:cubicBezTo>
                  <a:cubicBezTo>
                    <a:pt x="3019" y="225"/>
                    <a:pt x="2973" y="230"/>
                    <a:pt x="2973" y="230"/>
                  </a:cubicBezTo>
                  <a:cubicBezTo>
                    <a:pt x="2973" y="230"/>
                    <a:pt x="2982" y="223"/>
                    <a:pt x="2975" y="220"/>
                  </a:cubicBezTo>
                  <a:cubicBezTo>
                    <a:pt x="2969" y="218"/>
                    <a:pt x="2943" y="220"/>
                    <a:pt x="2943" y="220"/>
                  </a:cubicBezTo>
                  <a:cubicBezTo>
                    <a:pt x="2905" y="214"/>
                    <a:pt x="2905" y="214"/>
                    <a:pt x="2905" y="214"/>
                  </a:cubicBezTo>
                  <a:cubicBezTo>
                    <a:pt x="2917" y="201"/>
                    <a:pt x="2917" y="201"/>
                    <a:pt x="2917" y="201"/>
                  </a:cubicBezTo>
                  <a:cubicBezTo>
                    <a:pt x="2959" y="215"/>
                    <a:pt x="2959" y="215"/>
                    <a:pt x="2959" y="215"/>
                  </a:cubicBezTo>
                  <a:cubicBezTo>
                    <a:pt x="2959" y="215"/>
                    <a:pt x="3014" y="212"/>
                    <a:pt x="3034" y="211"/>
                  </a:cubicBezTo>
                  <a:cubicBezTo>
                    <a:pt x="3055" y="210"/>
                    <a:pt x="3050" y="192"/>
                    <a:pt x="3050" y="192"/>
                  </a:cubicBezTo>
                  <a:cubicBezTo>
                    <a:pt x="3050" y="192"/>
                    <a:pt x="3075" y="187"/>
                    <a:pt x="3094" y="187"/>
                  </a:cubicBezTo>
                  <a:cubicBezTo>
                    <a:pt x="3112" y="187"/>
                    <a:pt x="3150" y="178"/>
                    <a:pt x="3150" y="178"/>
                  </a:cubicBezTo>
                  <a:cubicBezTo>
                    <a:pt x="3132" y="167"/>
                    <a:pt x="3132" y="167"/>
                    <a:pt x="3132" y="167"/>
                  </a:cubicBezTo>
                  <a:cubicBezTo>
                    <a:pt x="3132" y="167"/>
                    <a:pt x="3155" y="167"/>
                    <a:pt x="3180" y="161"/>
                  </a:cubicBezTo>
                  <a:cubicBezTo>
                    <a:pt x="3205" y="156"/>
                    <a:pt x="3147" y="146"/>
                    <a:pt x="3147" y="146"/>
                  </a:cubicBezTo>
                  <a:cubicBezTo>
                    <a:pt x="3147" y="146"/>
                    <a:pt x="3115" y="147"/>
                    <a:pt x="3104" y="143"/>
                  </a:cubicBezTo>
                  <a:cubicBezTo>
                    <a:pt x="3094" y="139"/>
                    <a:pt x="3152" y="125"/>
                    <a:pt x="3155" y="126"/>
                  </a:cubicBezTo>
                  <a:cubicBezTo>
                    <a:pt x="3158" y="127"/>
                    <a:pt x="3200" y="131"/>
                    <a:pt x="3200" y="131"/>
                  </a:cubicBezTo>
                  <a:cubicBezTo>
                    <a:pt x="3200" y="131"/>
                    <a:pt x="3248" y="129"/>
                    <a:pt x="3263" y="126"/>
                  </a:cubicBezTo>
                  <a:cubicBezTo>
                    <a:pt x="3278" y="122"/>
                    <a:pt x="3229" y="120"/>
                    <a:pt x="3247" y="113"/>
                  </a:cubicBezTo>
                  <a:cubicBezTo>
                    <a:pt x="3264" y="105"/>
                    <a:pt x="3296" y="119"/>
                    <a:pt x="3316" y="119"/>
                  </a:cubicBezTo>
                  <a:cubicBezTo>
                    <a:pt x="3335" y="119"/>
                    <a:pt x="3328" y="102"/>
                    <a:pt x="3328" y="102"/>
                  </a:cubicBezTo>
                  <a:cubicBezTo>
                    <a:pt x="3376" y="105"/>
                    <a:pt x="3376" y="105"/>
                    <a:pt x="3376" y="105"/>
                  </a:cubicBezTo>
                  <a:cubicBezTo>
                    <a:pt x="3379" y="91"/>
                    <a:pt x="3379" y="91"/>
                    <a:pt x="3379" y="91"/>
                  </a:cubicBezTo>
                  <a:cubicBezTo>
                    <a:pt x="3379" y="91"/>
                    <a:pt x="3392" y="95"/>
                    <a:pt x="3401" y="95"/>
                  </a:cubicBezTo>
                  <a:cubicBezTo>
                    <a:pt x="3409" y="95"/>
                    <a:pt x="3440" y="83"/>
                    <a:pt x="3440" y="83"/>
                  </a:cubicBezTo>
                  <a:cubicBezTo>
                    <a:pt x="3440" y="83"/>
                    <a:pt x="3499" y="73"/>
                    <a:pt x="3531" y="67"/>
                  </a:cubicBezTo>
                  <a:cubicBezTo>
                    <a:pt x="3564" y="62"/>
                    <a:pt x="3567" y="57"/>
                    <a:pt x="3562" y="57"/>
                  </a:cubicBezTo>
                  <a:cubicBezTo>
                    <a:pt x="3558" y="57"/>
                    <a:pt x="3491" y="60"/>
                    <a:pt x="3491" y="60"/>
                  </a:cubicBezTo>
                  <a:cubicBezTo>
                    <a:pt x="3474" y="67"/>
                    <a:pt x="3474" y="67"/>
                    <a:pt x="3474" y="67"/>
                  </a:cubicBezTo>
                  <a:cubicBezTo>
                    <a:pt x="3428" y="64"/>
                    <a:pt x="3428" y="64"/>
                    <a:pt x="3428" y="64"/>
                  </a:cubicBezTo>
                  <a:cubicBezTo>
                    <a:pt x="3481" y="61"/>
                    <a:pt x="3481" y="61"/>
                    <a:pt x="3481" y="61"/>
                  </a:cubicBezTo>
                  <a:cubicBezTo>
                    <a:pt x="3479" y="52"/>
                    <a:pt x="3479" y="52"/>
                    <a:pt x="3479" y="52"/>
                  </a:cubicBezTo>
                  <a:cubicBezTo>
                    <a:pt x="3512" y="57"/>
                    <a:pt x="3512" y="57"/>
                    <a:pt x="3512" y="57"/>
                  </a:cubicBezTo>
                  <a:cubicBezTo>
                    <a:pt x="3512" y="57"/>
                    <a:pt x="3517" y="49"/>
                    <a:pt x="3526" y="49"/>
                  </a:cubicBezTo>
                  <a:cubicBezTo>
                    <a:pt x="3534" y="49"/>
                    <a:pt x="3635" y="45"/>
                    <a:pt x="3653" y="44"/>
                  </a:cubicBezTo>
                  <a:cubicBezTo>
                    <a:pt x="3671" y="43"/>
                    <a:pt x="3718" y="30"/>
                    <a:pt x="3715" y="26"/>
                  </a:cubicBezTo>
                  <a:close/>
                  <a:moveTo>
                    <a:pt x="2687" y="644"/>
                  </a:moveTo>
                  <a:cubicBezTo>
                    <a:pt x="2722" y="650"/>
                    <a:pt x="2732" y="643"/>
                    <a:pt x="2747" y="633"/>
                  </a:cubicBezTo>
                  <a:cubicBezTo>
                    <a:pt x="2763" y="624"/>
                    <a:pt x="2759" y="608"/>
                    <a:pt x="2745" y="604"/>
                  </a:cubicBezTo>
                  <a:cubicBezTo>
                    <a:pt x="2731" y="601"/>
                    <a:pt x="2698" y="610"/>
                    <a:pt x="2698" y="610"/>
                  </a:cubicBezTo>
                  <a:cubicBezTo>
                    <a:pt x="2660" y="634"/>
                    <a:pt x="2652" y="639"/>
                    <a:pt x="2687" y="644"/>
                  </a:cubicBezTo>
                  <a:close/>
                  <a:moveTo>
                    <a:pt x="2674" y="560"/>
                  </a:moveTo>
                  <a:cubicBezTo>
                    <a:pt x="2658" y="565"/>
                    <a:pt x="2633" y="576"/>
                    <a:pt x="2657" y="571"/>
                  </a:cubicBezTo>
                  <a:cubicBezTo>
                    <a:pt x="2680" y="566"/>
                    <a:pt x="2700" y="558"/>
                    <a:pt x="2700" y="558"/>
                  </a:cubicBezTo>
                  <a:cubicBezTo>
                    <a:pt x="2724" y="540"/>
                    <a:pt x="2690" y="555"/>
                    <a:pt x="2674" y="560"/>
                  </a:cubicBezTo>
                  <a:close/>
                  <a:moveTo>
                    <a:pt x="2747" y="549"/>
                  </a:moveTo>
                  <a:cubicBezTo>
                    <a:pt x="2733" y="543"/>
                    <a:pt x="2722" y="562"/>
                    <a:pt x="2735" y="566"/>
                  </a:cubicBezTo>
                  <a:cubicBezTo>
                    <a:pt x="2735" y="566"/>
                    <a:pt x="2761" y="555"/>
                    <a:pt x="2747" y="549"/>
                  </a:cubicBezTo>
                  <a:close/>
                  <a:moveTo>
                    <a:pt x="2349" y="710"/>
                  </a:moveTo>
                  <a:cubicBezTo>
                    <a:pt x="2337" y="712"/>
                    <a:pt x="2327" y="729"/>
                    <a:pt x="2346" y="729"/>
                  </a:cubicBezTo>
                  <a:cubicBezTo>
                    <a:pt x="2357" y="729"/>
                    <a:pt x="2362" y="708"/>
                    <a:pt x="2349" y="710"/>
                  </a:cubicBezTo>
                  <a:close/>
                  <a:moveTo>
                    <a:pt x="2390" y="712"/>
                  </a:moveTo>
                  <a:cubicBezTo>
                    <a:pt x="2374" y="710"/>
                    <a:pt x="2385" y="727"/>
                    <a:pt x="2385" y="727"/>
                  </a:cubicBezTo>
                  <a:cubicBezTo>
                    <a:pt x="2396" y="726"/>
                    <a:pt x="2405" y="713"/>
                    <a:pt x="2390" y="712"/>
                  </a:cubicBezTo>
                  <a:close/>
                  <a:moveTo>
                    <a:pt x="2500" y="829"/>
                  </a:moveTo>
                  <a:cubicBezTo>
                    <a:pt x="2477" y="841"/>
                    <a:pt x="2509" y="849"/>
                    <a:pt x="2509" y="849"/>
                  </a:cubicBezTo>
                  <a:cubicBezTo>
                    <a:pt x="2532" y="836"/>
                    <a:pt x="2524" y="816"/>
                    <a:pt x="2500" y="829"/>
                  </a:cubicBezTo>
                  <a:close/>
                  <a:moveTo>
                    <a:pt x="2653" y="1691"/>
                  </a:moveTo>
                  <a:cubicBezTo>
                    <a:pt x="2633" y="1687"/>
                    <a:pt x="2622" y="1678"/>
                    <a:pt x="2622" y="1678"/>
                  </a:cubicBezTo>
                  <a:cubicBezTo>
                    <a:pt x="2612" y="1687"/>
                    <a:pt x="2612" y="1687"/>
                    <a:pt x="2612" y="1687"/>
                  </a:cubicBezTo>
                  <a:cubicBezTo>
                    <a:pt x="2612" y="1687"/>
                    <a:pt x="2629" y="1696"/>
                    <a:pt x="2633" y="1699"/>
                  </a:cubicBezTo>
                  <a:cubicBezTo>
                    <a:pt x="2637" y="1702"/>
                    <a:pt x="2656" y="1701"/>
                    <a:pt x="2656" y="1701"/>
                  </a:cubicBezTo>
                  <a:cubicBezTo>
                    <a:pt x="2656" y="1701"/>
                    <a:pt x="2666" y="1706"/>
                    <a:pt x="2676" y="1705"/>
                  </a:cubicBezTo>
                  <a:cubicBezTo>
                    <a:pt x="2687" y="1704"/>
                    <a:pt x="2691" y="1693"/>
                    <a:pt x="2691" y="1693"/>
                  </a:cubicBezTo>
                  <a:cubicBezTo>
                    <a:pt x="2691" y="1693"/>
                    <a:pt x="2674" y="1695"/>
                    <a:pt x="2653" y="1691"/>
                  </a:cubicBezTo>
                  <a:close/>
                  <a:moveTo>
                    <a:pt x="2731" y="1524"/>
                  </a:moveTo>
                  <a:cubicBezTo>
                    <a:pt x="2731" y="1524"/>
                    <a:pt x="2698" y="1516"/>
                    <a:pt x="2671" y="1515"/>
                  </a:cubicBezTo>
                  <a:cubicBezTo>
                    <a:pt x="2644" y="1514"/>
                    <a:pt x="2686" y="1526"/>
                    <a:pt x="2686" y="1526"/>
                  </a:cubicBezTo>
                  <a:cubicBezTo>
                    <a:pt x="2686" y="1536"/>
                    <a:pt x="2686" y="1536"/>
                    <a:pt x="2686" y="1536"/>
                  </a:cubicBezTo>
                  <a:cubicBezTo>
                    <a:pt x="2686" y="1536"/>
                    <a:pt x="2719" y="1541"/>
                    <a:pt x="2748" y="1546"/>
                  </a:cubicBezTo>
                  <a:cubicBezTo>
                    <a:pt x="2777" y="1551"/>
                    <a:pt x="2804" y="1540"/>
                    <a:pt x="2731" y="1524"/>
                  </a:cubicBezTo>
                  <a:close/>
                  <a:moveTo>
                    <a:pt x="2793" y="1702"/>
                  </a:moveTo>
                  <a:cubicBezTo>
                    <a:pt x="2780" y="1699"/>
                    <a:pt x="2766" y="1706"/>
                    <a:pt x="2761" y="1709"/>
                  </a:cubicBezTo>
                  <a:cubicBezTo>
                    <a:pt x="2765" y="1706"/>
                    <a:pt x="2774" y="1700"/>
                    <a:pt x="2783" y="1690"/>
                  </a:cubicBezTo>
                  <a:cubicBezTo>
                    <a:pt x="2795" y="1677"/>
                    <a:pt x="2764" y="1676"/>
                    <a:pt x="2750" y="1692"/>
                  </a:cubicBezTo>
                  <a:cubicBezTo>
                    <a:pt x="2744" y="1706"/>
                    <a:pt x="2744" y="1706"/>
                    <a:pt x="2744" y="1706"/>
                  </a:cubicBezTo>
                  <a:cubicBezTo>
                    <a:pt x="2736" y="1720"/>
                    <a:pt x="2736" y="1720"/>
                    <a:pt x="2736" y="1720"/>
                  </a:cubicBezTo>
                  <a:cubicBezTo>
                    <a:pt x="2773" y="1715"/>
                    <a:pt x="2773" y="1715"/>
                    <a:pt x="2773" y="1715"/>
                  </a:cubicBezTo>
                  <a:cubicBezTo>
                    <a:pt x="2773" y="1715"/>
                    <a:pt x="2810" y="1706"/>
                    <a:pt x="2793" y="1702"/>
                  </a:cubicBezTo>
                  <a:close/>
                  <a:moveTo>
                    <a:pt x="3058" y="1312"/>
                  </a:moveTo>
                  <a:cubicBezTo>
                    <a:pt x="3051" y="1320"/>
                    <a:pt x="3052" y="1335"/>
                    <a:pt x="3037" y="1324"/>
                  </a:cubicBezTo>
                  <a:cubicBezTo>
                    <a:pt x="3022" y="1313"/>
                    <a:pt x="3046" y="1306"/>
                    <a:pt x="3046" y="1306"/>
                  </a:cubicBezTo>
                  <a:cubicBezTo>
                    <a:pt x="3043" y="1289"/>
                    <a:pt x="3043" y="1289"/>
                    <a:pt x="3043" y="1289"/>
                  </a:cubicBezTo>
                  <a:cubicBezTo>
                    <a:pt x="3023" y="1288"/>
                    <a:pt x="3023" y="1288"/>
                    <a:pt x="3023" y="1288"/>
                  </a:cubicBezTo>
                  <a:cubicBezTo>
                    <a:pt x="3023" y="1288"/>
                    <a:pt x="2977" y="1308"/>
                    <a:pt x="2974" y="1312"/>
                  </a:cubicBezTo>
                  <a:cubicBezTo>
                    <a:pt x="2971" y="1316"/>
                    <a:pt x="2935" y="1320"/>
                    <a:pt x="2935" y="1320"/>
                  </a:cubicBezTo>
                  <a:cubicBezTo>
                    <a:pt x="2914" y="1334"/>
                    <a:pt x="2914" y="1334"/>
                    <a:pt x="2914" y="1334"/>
                  </a:cubicBezTo>
                  <a:cubicBezTo>
                    <a:pt x="2922" y="1319"/>
                    <a:pt x="2922" y="1319"/>
                    <a:pt x="2922" y="1319"/>
                  </a:cubicBezTo>
                  <a:cubicBezTo>
                    <a:pt x="2907" y="1308"/>
                    <a:pt x="2907" y="1308"/>
                    <a:pt x="2907" y="1308"/>
                  </a:cubicBezTo>
                  <a:cubicBezTo>
                    <a:pt x="2930" y="1313"/>
                    <a:pt x="2930" y="1313"/>
                    <a:pt x="2930" y="1313"/>
                  </a:cubicBezTo>
                  <a:cubicBezTo>
                    <a:pt x="2940" y="1305"/>
                    <a:pt x="2940" y="1305"/>
                    <a:pt x="2940" y="1305"/>
                  </a:cubicBezTo>
                  <a:cubicBezTo>
                    <a:pt x="2958" y="1304"/>
                    <a:pt x="2958" y="1304"/>
                    <a:pt x="2958" y="1304"/>
                  </a:cubicBezTo>
                  <a:cubicBezTo>
                    <a:pt x="2960" y="1291"/>
                    <a:pt x="2960" y="1291"/>
                    <a:pt x="2960" y="1291"/>
                  </a:cubicBezTo>
                  <a:cubicBezTo>
                    <a:pt x="2960" y="1291"/>
                    <a:pt x="2981" y="1294"/>
                    <a:pt x="2993" y="1289"/>
                  </a:cubicBezTo>
                  <a:cubicBezTo>
                    <a:pt x="3005" y="1284"/>
                    <a:pt x="3022" y="1275"/>
                    <a:pt x="3022" y="1275"/>
                  </a:cubicBezTo>
                  <a:cubicBezTo>
                    <a:pt x="3022" y="1275"/>
                    <a:pt x="3070" y="1280"/>
                    <a:pt x="3069" y="1275"/>
                  </a:cubicBezTo>
                  <a:cubicBezTo>
                    <a:pt x="3068" y="1270"/>
                    <a:pt x="3050" y="1262"/>
                    <a:pt x="3050" y="1262"/>
                  </a:cubicBezTo>
                  <a:cubicBezTo>
                    <a:pt x="3049" y="1246"/>
                    <a:pt x="3049" y="1246"/>
                    <a:pt x="3049" y="1246"/>
                  </a:cubicBezTo>
                  <a:cubicBezTo>
                    <a:pt x="3049" y="1246"/>
                    <a:pt x="3021" y="1255"/>
                    <a:pt x="3015" y="1254"/>
                  </a:cubicBezTo>
                  <a:cubicBezTo>
                    <a:pt x="3009" y="1253"/>
                    <a:pt x="3007" y="1241"/>
                    <a:pt x="3007" y="1241"/>
                  </a:cubicBezTo>
                  <a:cubicBezTo>
                    <a:pt x="2967" y="1253"/>
                    <a:pt x="2967" y="1253"/>
                    <a:pt x="2967" y="1253"/>
                  </a:cubicBezTo>
                  <a:cubicBezTo>
                    <a:pt x="2969" y="1233"/>
                    <a:pt x="2969" y="1233"/>
                    <a:pt x="2969" y="1233"/>
                  </a:cubicBezTo>
                  <a:cubicBezTo>
                    <a:pt x="2940" y="1243"/>
                    <a:pt x="2940" y="1243"/>
                    <a:pt x="2940" y="1243"/>
                  </a:cubicBezTo>
                  <a:cubicBezTo>
                    <a:pt x="2940" y="1243"/>
                    <a:pt x="2971" y="1208"/>
                    <a:pt x="2963" y="1204"/>
                  </a:cubicBezTo>
                  <a:cubicBezTo>
                    <a:pt x="2955" y="1200"/>
                    <a:pt x="2930" y="1200"/>
                    <a:pt x="2930" y="1200"/>
                  </a:cubicBezTo>
                  <a:cubicBezTo>
                    <a:pt x="2933" y="1184"/>
                    <a:pt x="2933" y="1184"/>
                    <a:pt x="2933" y="1184"/>
                  </a:cubicBezTo>
                  <a:cubicBezTo>
                    <a:pt x="2911" y="1184"/>
                    <a:pt x="2911" y="1184"/>
                    <a:pt x="2911" y="1184"/>
                  </a:cubicBezTo>
                  <a:cubicBezTo>
                    <a:pt x="2920" y="1170"/>
                    <a:pt x="2920" y="1170"/>
                    <a:pt x="2920" y="1170"/>
                  </a:cubicBezTo>
                  <a:cubicBezTo>
                    <a:pt x="2902" y="1154"/>
                    <a:pt x="2902" y="1154"/>
                    <a:pt x="2902" y="1154"/>
                  </a:cubicBezTo>
                  <a:cubicBezTo>
                    <a:pt x="2902" y="1154"/>
                    <a:pt x="2932" y="1161"/>
                    <a:pt x="2940" y="1155"/>
                  </a:cubicBezTo>
                  <a:cubicBezTo>
                    <a:pt x="2948" y="1149"/>
                    <a:pt x="2959" y="1144"/>
                    <a:pt x="2959" y="1144"/>
                  </a:cubicBezTo>
                  <a:cubicBezTo>
                    <a:pt x="2929" y="1126"/>
                    <a:pt x="2929" y="1126"/>
                    <a:pt x="2929" y="1126"/>
                  </a:cubicBezTo>
                  <a:cubicBezTo>
                    <a:pt x="2962" y="1107"/>
                    <a:pt x="2962" y="1107"/>
                    <a:pt x="2962" y="1107"/>
                  </a:cubicBezTo>
                  <a:cubicBezTo>
                    <a:pt x="2929" y="1092"/>
                    <a:pt x="2929" y="1092"/>
                    <a:pt x="2929" y="1092"/>
                  </a:cubicBezTo>
                  <a:cubicBezTo>
                    <a:pt x="2899" y="1093"/>
                    <a:pt x="2899" y="1093"/>
                    <a:pt x="2899" y="1093"/>
                  </a:cubicBezTo>
                  <a:cubicBezTo>
                    <a:pt x="2935" y="1080"/>
                    <a:pt x="2935" y="1080"/>
                    <a:pt x="2935" y="1080"/>
                  </a:cubicBezTo>
                  <a:cubicBezTo>
                    <a:pt x="2910" y="1074"/>
                    <a:pt x="2910" y="1074"/>
                    <a:pt x="2910" y="1074"/>
                  </a:cubicBezTo>
                  <a:cubicBezTo>
                    <a:pt x="2940" y="1060"/>
                    <a:pt x="2940" y="1060"/>
                    <a:pt x="2940" y="1060"/>
                  </a:cubicBezTo>
                  <a:cubicBezTo>
                    <a:pt x="2935" y="1044"/>
                    <a:pt x="2935" y="1044"/>
                    <a:pt x="2935" y="1044"/>
                  </a:cubicBezTo>
                  <a:cubicBezTo>
                    <a:pt x="2913" y="1042"/>
                    <a:pt x="2913" y="1042"/>
                    <a:pt x="2913" y="1042"/>
                  </a:cubicBezTo>
                  <a:cubicBezTo>
                    <a:pt x="2913" y="1042"/>
                    <a:pt x="2931" y="1032"/>
                    <a:pt x="2923" y="1013"/>
                  </a:cubicBezTo>
                  <a:cubicBezTo>
                    <a:pt x="2915" y="994"/>
                    <a:pt x="2907" y="997"/>
                    <a:pt x="2907" y="997"/>
                  </a:cubicBezTo>
                  <a:cubicBezTo>
                    <a:pt x="2916" y="983"/>
                    <a:pt x="2916" y="983"/>
                    <a:pt x="2916" y="983"/>
                  </a:cubicBezTo>
                  <a:cubicBezTo>
                    <a:pt x="2916" y="983"/>
                    <a:pt x="2892" y="994"/>
                    <a:pt x="2887" y="1001"/>
                  </a:cubicBezTo>
                  <a:cubicBezTo>
                    <a:pt x="2882" y="1008"/>
                    <a:pt x="2886" y="1014"/>
                    <a:pt x="2886" y="1014"/>
                  </a:cubicBezTo>
                  <a:cubicBezTo>
                    <a:pt x="2867" y="1008"/>
                    <a:pt x="2867" y="1008"/>
                    <a:pt x="2867" y="1008"/>
                  </a:cubicBezTo>
                  <a:cubicBezTo>
                    <a:pt x="2871" y="1030"/>
                    <a:pt x="2871" y="1030"/>
                    <a:pt x="2871" y="1030"/>
                  </a:cubicBezTo>
                  <a:cubicBezTo>
                    <a:pt x="2853" y="1029"/>
                    <a:pt x="2853" y="1029"/>
                    <a:pt x="2853" y="1029"/>
                  </a:cubicBezTo>
                  <a:cubicBezTo>
                    <a:pt x="2845" y="1043"/>
                    <a:pt x="2845" y="1043"/>
                    <a:pt x="2845" y="1043"/>
                  </a:cubicBezTo>
                  <a:cubicBezTo>
                    <a:pt x="2850" y="1049"/>
                    <a:pt x="2850" y="1049"/>
                    <a:pt x="2850" y="1049"/>
                  </a:cubicBezTo>
                  <a:cubicBezTo>
                    <a:pt x="2834" y="1050"/>
                    <a:pt x="2834" y="1050"/>
                    <a:pt x="2834" y="1050"/>
                  </a:cubicBezTo>
                  <a:cubicBezTo>
                    <a:pt x="2819" y="1080"/>
                    <a:pt x="2819" y="1080"/>
                    <a:pt x="2819" y="1080"/>
                  </a:cubicBezTo>
                  <a:cubicBezTo>
                    <a:pt x="2811" y="1080"/>
                    <a:pt x="2811" y="1080"/>
                    <a:pt x="2811" y="1080"/>
                  </a:cubicBezTo>
                  <a:cubicBezTo>
                    <a:pt x="2821" y="1055"/>
                    <a:pt x="2821" y="1055"/>
                    <a:pt x="2821" y="1055"/>
                  </a:cubicBezTo>
                  <a:cubicBezTo>
                    <a:pt x="2821" y="1055"/>
                    <a:pt x="2811" y="1040"/>
                    <a:pt x="2802" y="1049"/>
                  </a:cubicBezTo>
                  <a:cubicBezTo>
                    <a:pt x="2793" y="1058"/>
                    <a:pt x="2781" y="1071"/>
                    <a:pt x="2774" y="1072"/>
                  </a:cubicBezTo>
                  <a:cubicBezTo>
                    <a:pt x="2767" y="1073"/>
                    <a:pt x="2739" y="1094"/>
                    <a:pt x="2739" y="1094"/>
                  </a:cubicBezTo>
                  <a:cubicBezTo>
                    <a:pt x="2744" y="1079"/>
                    <a:pt x="2744" y="1079"/>
                    <a:pt x="2744" y="1079"/>
                  </a:cubicBezTo>
                  <a:cubicBezTo>
                    <a:pt x="2743" y="1068"/>
                    <a:pt x="2743" y="1068"/>
                    <a:pt x="2743" y="1068"/>
                  </a:cubicBezTo>
                  <a:cubicBezTo>
                    <a:pt x="2718" y="1089"/>
                    <a:pt x="2718" y="1089"/>
                    <a:pt x="2718" y="1089"/>
                  </a:cubicBezTo>
                  <a:cubicBezTo>
                    <a:pt x="2674" y="1099"/>
                    <a:pt x="2674" y="1099"/>
                    <a:pt x="2674" y="1099"/>
                  </a:cubicBezTo>
                  <a:cubicBezTo>
                    <a:pt x="2715" y="1085"/>
                    <a:pt x="2715" y="1085"/>
                    <a:pt x="2715" y="1085"/>
                  </a:cubicBezTo>
                  <a:cubicBezTo>
                    <a:pt x="2715" y="1085"/>
                    <a:pt x="2739" y="1058"/>
                    <a:pt x="2726" y="1052"/>
                  </a:cubicBezTo>
                  <a:cubicBezTo>
                    <a:pt x="2713" y="1046"/>
                    <a:pt x="2698" y="1052"/>
                    <a:pt x="2698" y="1052"/>
                  </a:cubicBezTo>
                  <a:cubicBezTo>
                    <a:pt x="2698" y="1052"/>
                    <a:pt x="2665" y="1067"/>
                    <a:pt x="2667" y="1056"/>
                  </a:cubicBezTo>
                  <a:cubicBezTo>
                    <a:pt x="2669" y="1045"/>
                    <a:pt x="2686" y="1042"/>
                    <a:pt x="2686" y="1042"/>
                  </a:cubicBezTo>
                  <a:cubicBezTo>
                    <a:pt x="2685" y="1049"/>
                    <a:pt x="2685" y="1049"/>
                    <a:pt x="2685" y="1049"/>
                  </a:cubicBezTo>
                  <a:cubicBezTo>
                    <a:pt x="2699" y="1044"/>
                    <a:pt x="2699" y="1044"/>
                    <a:pt x="2699" y="1044"/>
                  </a:cubicBezTo>
                  <a:cubicBezTo>
                    <a:pt x="2696" y="1025"/>
                    <a:pt x="2696" y="1025"/>
                    <a:pt x="2696" y="1025"/>
                  </a:cubicBezTo>
                  <a:cubicBezTo>
                    <a:pt x="2696" y="1025"/>
                    <a:pt x="2721" y="1011"/>
                    <a:pt x="2712" y="1004"/>
                  </a:cubicBezTo>
                  <a:cubicBezTo>
                    <a:pt x="2703" y="997"/>
                    <a:pt x="2676" y="993"/>
                    <a:pt x="2676" y="993"/>
                  </a:cubicBezTo>
                  <a:cubicBezTo>
                    <a:pt x="2676" y="993"/>
                    <a:pt x="2721" y="995"/>
                    <a:pt x="2724" y="983"/>
                  </a:cubicBezTo>
                  <a:cubicBezTo>
                    <a:pt x="2727" y="971"/>
                    <a:pt x="2730" y="968"/>
                    <a:pt x="2736" y="964"/>
                  </a:cubicBezTo>
                  <a:cubicBezTo>
                    <a:pt x="2742" y="960"/>
                    <a:pt x="2762" y="959"/>
                    <a:pt x="2752" y="950"/>
                  </a:cubicBezTo>
                  <a:cubicBezTo>
                    <a:pt x="2742" y="941"/>
                    <a:pt x="2732" y="957"/>
                    <a:pt x="2732" y="957"/>
                  </a:cubicBezTo>
                  <a:cubicBezTo>
                    <a:pt x="2726" y="940"/>
                    <a:pt x="2726" y="940"/>
                    <a:pt x="2726" y="940"/>
                  </a:cubicBezTo>
                  <a:cubicBezTo>
                    <a:pt x="2726" y="940"/>
                    <a:pt x="2695" y="941"/>
                    <a:pt x="2686" y="941"/>
                  </a:cubicBezTo>
                  <a:cubicBezTo>
                    <a:pt x="2677" y="941"/>
                    <a:pt x="2675" y="926"/>
                    <a:pt x="2683" y="923"/>
                  </a:cubicBezTo>
                  <a:cubicBezTo>
                    <a:pt x="2691" y="920"/>
                    <a:pt x="2692" y="913"/>
                    <a:pt x="2685" y="911"/>
                  </a:cubicBezTo>
                  <a:cubicBezTo>
                    <a:pt x="2678" y="909"/>
                    <a:pt x="2672" y="916"/>
                    <a:pt x="2672" y="916"/>
                  </a:cubicBezTo>
                  <a:cubicBezTo>
                    <a:pt x="2677" y="900"/>
                    <a:pt x="2677" y="900"/>
                    <a:pt x="2677" y="900"/>
                  </a:cubicBezTo>
                  <a:cubicBezTo>
                    <a:pt x="2653" y="904"/>
                    <a:pt x="2653" y="904"/>
                    <a:pt x="2653" y="904"/>
                  </a:cubicBezTo>
                  <a:cubicBezTo>
                    <a:pt x="2653" y="904"/>
                    <a:pt x="2657" y="875"/>
                    <a:pt x="2640" y="875"/>
                  </a:cubicBezTo>
                  <a:cubicBezTo>
                    <a:pt x="2623" y="875"/>
                    <a:pt x="2595" y="892"/>
                    <a:pt x="2595" y="892"/>
                  </a:cubicBezTo>
                  <a:cubicBezTo>
                    <a:pt x="2595" y="892"/>
                    <a:pt x="2587" y="881"/>
                    <a:pt x="2579" y="881"/>
                  </a:cubicBezTo>
                  <a:cubicBezTo>
                    <a:pt x="2571" y="881"/>
                    <a:pt x="2554" y="890"/>
                    <a:pt x="2554" y="890"/>
                  </a:cubicBezTo>
                  <a:cubicBezTo>
                    <a:pt x="2554" y="890"/>
                    <a:pt x="2508" y="868"/>
                    <a:pt x="2492" y="871"/>
                  </a:cubicBezTo>
                  <a:cubicBezTo>
                    <a:pt x="2476" y="874"/>
                    <a:pt x="2470" y="886"/>
                    <a:pt x="2470" y="886"/>
                  </a:cubicBezTo>
                  <a:cubicBezTo>
                    <a:pt x="2470" y="886"/>
                    <a:pt x="2449" y="896"/>
                    <a:pt x="2456" y="904"/>
                  </a:cubicBezTo>
                  <a:cubicBezTo>
                    <a:pt x="2463" y="912"/>
                    <a:pt x="2476" y="913"/>
                    <a:pt x="2470" y="921"/>
                  </a:cubicBezTo>
                  <a:cubicBezTo>
                    <a:pt x="2464" y="929"/>
                    <a:pt x="2439" y="945"/>
                    <a:pt x="2439" y="945"/>
                  </a:cubicBezTo>
                  <a:cubicBezTo>
                    <a:pt x="2421" y="952"/>
                    <a:pt x="2421" y="952"/>
                    <a:pt x="2421" y="952"/>
                  </a:cubicBezTo>
                  <a:cubicBezTo>
                    <a:pt x="2438" y="961"/>
                    <a:pt x="2438" y="961"/>
                    <a:pt x="2438" y="961"/>
                  </a:cubicBezTo>
                  <a:cubicBezTo>
                    <a:pt x="2438" y="961"/>
                    <a:pt x="2423" y="968"/>
                    <a:pt x="2422" y="977"/>
                  </a:cubicBezTo>
                  <a:cubicBezTo>
                    <a:pt x="2421" y="986"/>
                    <a:pt x="2429" y="993"/>
                    <a:pt x="2421" y="1003"/>
                  </a:cubicBezTo>
                  <a:cubicBezTo>
                    <a:pt x="2413" y="1013"/>
                    <a:pt x="2406" y="1005"/>
                    <a:pt x="2393" y="1013"/>
                  </a:cubicBezTo>
                  <a:cubicBezTo>
                    <a:pt x="2380" y="1021"/>
                    <a:pt x="2382" y="1034"/>
                    <a:pt x="2382" y="1034"/>
                  </a:cubicBezTo>
                  <a:cubicBezTo>
                    <a:pt x="2382" y="1034"/>
                    <a:pt x="2366" y="1037"/>
                    <a:pt x="2360" y="1043"/>
                  </a:cubicBezTo>
                  <a:cubicBezTo>
                    <a:pt x="2354" y="1049"/>
                    <a:pt x="2334" y="1054"/>
                    <a:pt x="2336" y="1062"/>
                  </a:cubicBezTo>
                  <a:cubicBezTo>
                    <a:pt x="2338" y="1070"/>
                    <a:pt x="2375" y="1084"/>
                    <a:pt x="2375" y="1093"/>
                  </a:cubicBezTo>
                  <a:cubicBezTo>
                    <a:pt x="2375" y="1102"/>
                    <a:pt x="2374" y="1167"/>
                    <a:pt x="2339" y="1187"/>
                  </a:cubicBezTo>
                  <a:cubicBezTo>
                    <a:pt x="2304" y="1207"/>
                    <a:pt x="2259" y="1242"/>
                    <a:pt x="2241" y="1243"/>
                  </a:cubicBezTo>
                  <a:cubicBezTo>
                    <a:pt x="2223" y="1244"/>
                    <a:pt x="2174" y="1247"/>
                    <a:pt x="2171" y="1256"/>
                  </a:cubicBezTo>
                  <a:cubicBezTo>
                    <a:pt x="2168" y="1265"/>
                    <a:pt x="2180" y="1293"/>
                    <a:pt x="2180" y="1298"/>
                  </a:cubicBezTo>
                  <a:cubicBezTo>
                    <a:pt x="2180" y="1303"/>
                    <a:pt x="2159" y="1324"/>
                    <a:pt x="2155" y="1339"/>
                  </a:cubicBezTo>
                  <a:cubicBezTo>
                    <a:pt x="2151" y="1354"/>
                    <a:pt x="2154" y="1387"/>
                    <a:pt x="2154" y="1387"/>
                  </a:cubicBezTo>
                  <a:cubicBezTo>
                    <a:pt x="2154" y="1387"/>
                    <a:pt x="2120" y="1404"/>
                    <a:pt x="2119" y="1409"/>
                  </a:cubicBezTo>
                  <a:cubicBezTo>
                    <a:pt x="2118" y="1414"/>
                    <a:pt x="2117" y="1431"/>
                    <a:pt x="2117" y="1431"/>
                  </a:cubicBezTo>
                  <a:cubicBezTo>
                    <a:pt x="2104" y="1447"/>
                    <a:pt x="2104" y="1447"/>
                    <a:pt x="2104" y="1447"/>
                  </a:cubicBezTo>
                  <a:cubicBezTo>
                    <a:pt x="2104" y="1447"/>
                    <a:pt x="2111" y="1423"/>
                    <a:pt x="2100" y="1422"/>
                  </a:cubicBezTo>
                  <a:cubicBezTo>
                    <a:pt x="2089" y="1421"/>
                    <a:pt x="2067" y="1435"/>
                    <a:pt x="2072" y="1446"/>
                  </a:cubicBezTo>
                  <a:cubicBezTo>
                    <a:pt x="2077" y="1457"/>
                    <a:pt x="2071" y="1466"/>
                    <a:pt x="2071" y="1466"/>
                  </a:cubicBezTo>
                  <a:cubicBezTo>
                    <a:pt x="2071" y="1466"/>
                    <a:pt x="2069" y="1446"/>
                    <a:pt x="2063" y="1441"/>
                  </a:cubicBezTo>
                  <a:cubicBezTo>
                    <a:pt x="2057" y="1436"/>
                    <a:pt x="2019" y="1447"/>
                    <a:pt x="2019" y="1447"/>
                  </a:cubicBezTo>
                  <a:cubicBezTo>
                    <a:pt x="2019" y="1447"/>
                    <a:pt x="2055" y="1426"/>
                    <a:pt x="2051" y="1413"/>
                  </a:cubicBezTo>
                  <a:cubicBezTo>
                    <a:pt x="2047" y="1400"/>
                    <a:pt x="2011" y="1389"/>
                    <a:pt x="2011" y="1389"/>
                  </a:cubicBezTo>
                  <a:cubicBezTo>
                    <a:pt x="2011" y="1389"/>
                    <a:pt x="2028" y="1386"/>
                    <a:pt x="2028" y="1379"/>
                  </a:cubicBezTo>
                  <a:cubicBezTo>
                    <a:pt x="2028" y="1372"/>
                    <a:pt x="2016" y="1346"/>
                    <a:pt x="2016" y="1346"/>
                  </a:cubicBezTo>
                  <a:cubicBezTo>
                    <a:pt x="2038" y="1331"/>
                    <a:pt x="2038" y="1331"/>
                    <a:pt x="2038" y="1331"/>
                  </a:cubicBezTo>
                  <a:cubicBezTo>
                    <a:pt x="2037" y="1316"/>
                    <a:pt x="2037" y="1316"/>
                    <a:pt x="2037" y="1316"/>
                  </a:cubicBezTo>
                  <a:cubicBezTo>
                    <a:pt x="2054" y="1305"/>
                    <a:pt x="2054" y="1305"/>
                    <a:pt x="2054" y="1305"/>
                  </a:cubicBezTo>
                  <a:cubicBezTo>
                    <a:pt x="2053" y="1280"/>
                    <a:pt x="2053" y="1280"/>
                    <a:pt x="2053" y="1280"/>
                  </a:cubicBezTo>
                  <a:cubicBezTo>
                    <a:pt x="2053" y="1280"/>
                    <a:pt x="2102" y="1253"/>
                    <a:pt x="2078" y="1241"/>
                  </a:cubicBezTo>
                  <a:cubicBezTo>
                    <a:pt x="2054" y="1229"/>
                    <a:pt x="1982" y="1233"/>
                    <a:pt x="1982" y="1233"/>
                  </a:cubicBezTo>
                  <a:cubicBezTo>
                    <a:pt x="1958" y="1241"/>
                    <a:pt x="1958" y="1241"/>
                    <a:pt x="1958" y="1241"/>
                  </a:cubicBezTo>
                  <a:cubicBezTo>
                    <a:pt x="1958" y="1241"/>
                    <a:pt x="1976" y="1220"/>
                    <a:pt x="1966" y="1215"/>
                  </a:cubicBezTo>
                  <a:cubicBezTo>
                    <a:pt x="1956" y="1210"/>
                    <a:pt x="1908" y="1200"/>
                    <a:pt x="1908" y="1200"/>
                  </a:cubicBezTo>
                  <a:cubicBezTo>
                    <a:pt x="1908" y="1200"/>
                    <a:pt x="1913" y="1178"/>
                    <a:pt x="1894" y="1164"/>
                  </a:cubicBezTo>
                  <a:cubicBezTo>
                    <a:pt x="1875" y="1150"/>
                    <a:pt x="1850" y="1149"/>
                    <a:pt x="1850" y="1149"/>
                  </a:cubicBezTo>
                  <a:cubicBezTo>
                    <a:pt x="1850" y="1149"/>
                    <a:pt x="1851" y="1137"/>
                    <a:pt x="1823" y="1136"/>
                  </a:cubicBezTo>
                  <a:cubicBezTo>
                    <a:pt x="1795" y="1135"/>
                    <a:pt x="1726" y="1147"/>
                    <a:pt x="1726" y="1147"/>
                  </a:cubicBezTo>
                  <a:cubicBezTo>
                    <a:pt x="1726" y="1147"/>
                    <a:pt x="1759" y="1137"/>
                    <a:pt x="1760" y="1125"/>
                  </a:cubicBezTo>
                  <a:cubicBezTo>
                    <a:pt x="1761" y="1113"/>
                    <a:pt x="1779" y="1061"/>
                    <a:pt x="1779" y="1061"/>
                  </a:cubicBezTo>
                  <a:cubicBezTo>
                    <a:pt x="1779" y="1061"/>
                    <a:pt x="1749" y="1055"/>
                    <a:pt x="1746" y="1057"/>
                  </a:cubicBezTo>
                  <a:cubicBezTo>
                    <a:pt x="1743" y="1059"/>
                    <a:pt x="1720" y="1075"/>
                    <a:pt x="1720" y="1075"/>
                  </a:cubicBezTo>
                  <a:cubicBezTo>
                    <a:pt x="1730" y="1056"/>
                    <a:pt x="1730" y="1056"/>
                    <a:pt x="1730" y="1056"/>
                  </a:cubicBezTo>
                  <a:cubicBezTo>
                    <a:pt x="1726" y="1041"/>
                    <a:pt x="1726" y="1041"/>
                    <a:pt x="1726" y="1041"/>
                  </a:cubicBezTo>
                  <a:cubicBezTo>
                    <a:pt x="1726" y="1041"/>
                    <a:pt x="1752" y="1019"/>
                    <a:pt x="1764" y="998"/>
                  </a:cubicBezTo>
                  <a:cubicBezTo>
                    <a:pt x="1776" y="977"/>
                    <a:pt x="1844" y="940"/>
                    <a:pt x="1844" y="940"/>
                  </a:cubicBezTo>
                  <a:cubicBezTo>
                    <a:pt x="1838" y="929"/>
                    <a:pt x="1838" y="929"/>
                    <a:pt x="1838" y="929"/>
                  </a:cubicBezTo>
                  <a:cubicBezTo>
                    <a:pt x="1881" y="915"/>
                    <a:pt x="1881" y="915"/>
                    <a:pt x="1881" y="915"/>
                  </a:cubicBezTo>
                  <a:cubicBezTo>
                    <a:pt x="1882" y="904"/>
                    <a:pt x="1882" y="904"/>
                    <a:pt x="1882" y="904"/>
                  </a:cubicBezTo>
                  <a:cubicBezTo>
                    <a:pt x="1909" y="900"/>
                    <a:pt x="1909" y="900"/>
                    <a:pt x="1909" y="900"/>
                  </a:cubicBezTo>
                  <a:cubicBezTo>
                    <a:pt x="1911" y="887"/>
                    <a:pt x="1911" y="887"/>
                    <a:pt x="1911" y="887"/>
                  </a:cubicBezTo>
                  <a:cubicBezTo>
                    <a:pt x="1932" y="884"/>
                    <a:pt x="1932" y="884"/>
                    <a:pt x="1932" y="884"/>
                  </a:cubicBezTo>
                  <a:cubicBezTo>
                    <a:pt x="1966" y="857"/>
                    <a:pt x="1966" y="857"/>
                    <a:pt x="1966" y="857"/>
                  </a:cubicBezTo>
                  <a:cubicBezTo>
                    <a:pt x="1966" y="857"/>
                    <a:pt x="2040" y="860"/>
                    <a:pt x="2040" y="847"/>
                  </a:cubicBezTo>
                  <a:cubicBezTo>
                    <a:pt x="2040" y="834"/>
                    <a:pt x="2020" y="819"/>
                    <a:pt x="2020" y="819"/>
                  </a:cubicBezTo>
                  <a:cubicBezTo>
                    <a:pt x="1980" y="824"/>
                    <a:pt x="1980" y="824"/>
                    <a:pt x="1980" y="824"/>
                  </a:cubicBezTo>
                  <a:cubicBezTo>
                    <a:pt x="1986" y="814"/>
                    <a:pt x="1986" y="814"/>
                    <a:pt x="1986" y="814"/>
                  </a:cubicBezTo>
                  <a:cubicBezTo>
                    <a:pt x="1950" y="800"/>
                    <a:pt x="1950" y="800"/>
                    <a:pt x="1950" y="800"/>
                  </a:cubicBezTo>
                  <a:cubicBezTo>
                    <a:pt x="1966" y="795"/>
                    <a:pt x="1966" y="795"/>
                    <a:pt x="1966" y="795"/>
                  </a:cubicBezTo>
                  <a:cubicBezTo>
                    <a:pt x="2021" y="811"/>
                    <a:pt x="2021" y="811"/>
                    <a:pt x="2021" y="811"/>
                  </a:cubicBezTo>
                  <a:cubicBezTo>
                    <a:pt x="2021" y="811"/>
                    <a:pt x="2042" y="833"/>
                    <a:pt x="2061" y="825"/>
                  </a:cubicBezTo>
                  <a:cubicBezTo>
                    <a:pt x="2080" y="817"/>
                    <a:pt x="2096" y="784"/>
                    <a:pt x="2103" y="789"/>
                  </a:cubicBezTo>
                  <a:cubicBezTo>
                    <a:pt x="2110" y="794"/>
                    <a:pt x="2131" y="804"/>
                    <a:pt x="2140" y="802"/>
                  </a:cubicBezTo>
                  <a:cubicBezTo>
                    <a:pt x="2140" y="802"/>
                    <a:pt x="2185" y="783"/>
                    <a:pt x="2203" y="776"/>
                  </a:cubicBezTo>
                  <a:cubicBezTo>
                    <a:pt x="2221" y="769"/>
                    <a:pt x="2255" y="750"/>
                    <a:pt x="2243" y="747"/>
                  </a:cubicBezTo>
                  <a:cubicBezTo>
                    <a:pt x="2231" y="744"/>
                    <a:pt x="2175" y="744"/>
                    <a:pt x="2175" y="744"/>
                  </a:cubicBezTo>
                  <a:cubicBezTo>
                    <a:pt x="2171" y="728"/>
                    <a:pt x="2171" y="728"/>
                    <a:pt x="2171" y="728"/>
                  </a:cubicBezTo>
                  <a:cubicBezTo>
                    <a:pt x="2115" y="708"/>
                    <a:pt x="2115" y="708"/>
                    <a:pt x="2115" y="708"/>
                  </a:cubicBezTo>
                  <a:cubicBezTo>
                    <a:pt x="2115" y="708"/>
                    <a:pt x="2171" y="700"/>
                    <a:pt x="2186" y="706"/>
                  </a:cubicBezTo>
                  <a:cubicBezTo>
                    <a:pt x="2201" y="712"/>
                    <a:pt x="2215" y="738"/>
                    <a:pt x="2230" y="738"/>
                  </a:cubicBezTo>
                  <a:cubicBezTo>
                    <a:pt x="2245" y="738"/>
                    <a:pt x="2324" y="700"/>
                    <a:pt x="2324" y="700"/>
                  </a:cubicBezTo>
                  <a:cubicBezTo>
                    <a:pt x="2305" y="692"/>
                    <a:pt x="2305" y="692"/>
                    <a:pt x="2305" y="692"/>
                  </a:cubicBezTo>
                  <a:cubicBezTo>
                    <a:pt x="2305" y="692"/>
                    <a:pt x="2319" y="680"/>
                    <a:pt x="2337" y="680"/>
                  </a:cubicBezTo>
                  <a:cubicBezTo>
                    <a:pt x="2355" y="680"/>
                    <a:pt x="2360" y="694"/>
                    <a:pt x="2360" y="694"/>
                  </a:cubicBezTo>
                  <a:cubicBezTo>
                    <a:pt x="2380" y="701"/>
                    <a:pt x="2380" y="701"/>
                    <a:pt x="2380" y="701"/>
                  </a:cubicBezTo>
                  <a:cubicBezTo>
                    <a:pt x="2381" y="688"/>
                    <a:pt x="2381" y="688"/>
                    <a:pt x="2381" y="688"/>
                  </a:cubicBezTo>
                  <a:cubicBezTo>
                    <a:pt x="2381" y="688"/>
                    <a:pt x="2395" y="705"/>
                    <a:pt x="2400" y="696"/>
                  </a:cubicBezTo>
                  <a:cubicBezTo>
                    <a:pt x="2405" y="687"/>
                    <a:pt x="2388" y="669"/>
                    <a:pt x="2388" y="669"/>
                  </a:cubicBezTo>
                  <a:cubicBezTo>
                    <a:pt x="2374" y="663"/>
                    <a:pt x="2374" y="663"/>
                    <a:pt x="2374" y="663"/>
                  </a:cubicBezTo>
                  <a:cubicBezTo>
                    <a:pt x="2401" y="658"/>
                    <a:pt x="2401" y="658"/>
                    <a:pt x="2401" y="658"/>
                  </a:cubicBezTo>
                  <a:cubicBezTo>
                    <a:pt x="2401" y="658"/>
                    <a:pt x="2415" y="697"/>
                    <a:pt x="2424" y="695"/>
                  </a:cubicBezTo>
                  <a:cubicBezTo>
                    <a:pt x="2433" y="693"/>
                    <a:pt x="2546" y="660"/>
                    <a:pt x="2532" y="641"/>
                  </a:cubicBezTo>
                  <a:cubicBezTo>
                    <a:pt x="2518" y="622"/>
                    <a:pt x="2507" y="607"/>
                    <a:pt x="2518" y="600"/>
                  </a:cubicBezTo>
                  <a:cubicBezTo>
                    <a:pt x="2529" y="593"/>
                    <a:pt x="2579" y="591"/>
                    <a:pt x="2580" y="585"/>
                  </a:cubicBezTo>
                  <a:cubicBezTo>
                    <a:pt x="2581" y="579"/>
                    <a:pt x="2570" y="553"/>
                    <a:pt x="2570" y="553"/>
                  </a:cubicBezTo>
                  <a:cubicBezTo>
                    <a:pt x="2558" y="538"/>
                    <a:pt x="2558" y="538"/>
                    <a:pt x="2558" y="538"/>
                  </a:cubicBezTo>
                  <a:cubicBezTo>
                    <a:pt x="2558" y="538"/>
                    <a:pt x="2496" y="520"/>
                    <a:pt x="2470" y="538"/>
                  </a:cubicBezTo>
                  <a:cubicBezTo>
                    <a:pt x="2444" y="556"/>
                    <a:pt x="2466" y="568"/>
                    <a:pt x="2466" y="568"/>
                  </a:cubicBezTo>
                  <a:cubicBezTo>
                    <a:pt x="2442" y="583"/>
                    <a:pt x="2442" y="583"/>
                    <a:pt x="2442" y="583"/>
                  </a:cubicBezTo>
                  <a:cubicBezTo>
                    <a:pt x="2428" y="583"/>
                    <a:pt x="2428" y="583"/>
                    <a:pt x="2428" y="583"/>
                  </a:cubicBezTo>
                  <a:cubicBezTo>
                    <a:pt x="2383" y="614"/>
                    <a:pt x="2383" y="614"/>
                    <a:pt x="2383" y="614"/>
                  </a:cubicBezTo>
                  <a:cubicBezTo>
                    <a:pt x="2366" y="621"/>
                    <a:pt x="2366" y="621"/>
                    <a:pt x="2366" y="621"/>
                  </a:cubicBezTo>
                  <a:cubicBezTo>
                    <a:pt x="2366" y="621"/>
                    <a:pt x="2354" y="639"/>
                    <a:pt x="2350" y="642"/>
                  </a:cubicBezTo>
                  <a:cubicBezTo>
                    <a:pt x="2346" y="645"/>
                    <a:pt x="2327" y="646"/>
                    <a:pt x="2327" y="646"/>
                  </a:cubicBezTo>
                  <a:cubicBezTo>
                    <a:pt x="2304" y="658"/>
                    <a:pt x="2304" y="658"/>
                    <a:pt x="2304" y="658"/>
                  </a:cubicBezTo>
                  <a:cubicBezTo>
                    <a:pt x="2304" y="658"/>
                    <a:pt x="2293" y="624"/>
                    <a:pt x="2299" y="613"/>
                  </a:cubicBezTo>
                  <a:cubicBezTo>
                    <a:pt x="2305" y="602"/>
                    <a:pt x="2336" y="607"/>
                    <a:pt x="2341" y="591"/>
                  </a:cubicBezTo>
                  <a:cubicBezTo>
                    <a:pt x="2346" y="575"/>
                    <a:pt x="2330" y="558"/>
                    <a:pt x="2327" y="558"/>
                  </a:cubicBezTo>
                  <a:cubicBezTo>
                    <a:pt x="2324" y="558"/>
                    <a:pt x="2271" y="582"/>
                    <a:pt x="2271" y="582"/>
                  </a:cubicBezTo>
                  <a:cubicBezTo>
                    <a:pt x="2252" y="603"/>
                    <a:pt x="2252" y="603"/>
                    <a:pt x="2252" y="603"/>
                  </a:cubicBezTo>
                  <a:cubicBezTo>
                    <a:pt x="2246" y="594"/>
                    <a:pt x="2246" y="594"/>
                    <a:pt x="2246" y="594"/>
                  </a:cubicBezTo>
                  <a:cubicBezTo>
                    <a:pt x="2264" y="576"/>
                    <a:pt x="2264" y="576"/>
                    <a:pt x="2264" y="576"/>
                  </a:cubicBezTo>
                  <a:cubicBezTo>
                    <a:pt x="2262" y="563"/>
                    <a:pt x="2262" y="563"/>
                    <a:pt x="2262" y="563"/>
                  </a:cubicBezTo>
                  <a:cubicBezTo>
                    <a:pt x="2292" y="552"/>
                    <a:pt x="2292" y="552"/>
                    <a:pt x="2292" y="552"/>
                  </a:cubicBezTo>
                  <a:cubicBezTo>
                    <a:pt x="2265" y="547"/>
                    <a:pt x="2265" y="547"/>
                    <a:pt x="2265" y="547"/>
                  </a:cubicBezTo>
                  <a:cubicBezTo>
                    <a:pt x="2270" y="537"/>
                    <a:pt x="2270" y="537"/>
                    <a:pt x="2270" y="537"/>
                  </a:cubicBezTo>
                  <a:cubicBezTo>
                    <a:pt x="2238" y="547"/>
                    <a:pt x="2238" y="547"/>
                    <a:pt x="2238" y="547"/>
                  </a:cubicBezTo>
                  <a:cubicBezTo>
                    <a:pt x="2224" y="539"/>
                    <a:pt x="2224" y="539"/>
                    <a:pt x="2224" y="539"/>
                  </a:cubicBezTo>
                  <a:cubicBezTo>
                    <a:pt x="2249" y="530"/>
                    <a:pt x="2249" y="530"/>
                    <a:pt x="2249" y="530"/>
                  </a:cubicBezTo>
                  <a:cubicBezTo>
                    <a:pt x="2250" y="520"/>
                    <a:pt x="2250" y="520"/>
                    <a:pt x="2250" y="520"/>
                  </a:cubicBezTo>
                  <a:cubicBezTo>
                    <a:pt x="2250" y="520"/>
                    <a:pt x="2286" y="528"/>
                    <a:pt x="2284" y="515"/>
                  </a:cubicBezTo>
                  <a:cubicBezTo>
                    <a:pt x="2282" y="502"/>
                    <a:pt x="2254" y="505"/>
                    <a:pt x="2266" y="488"/>
                  </a:cubicBezTo>
                  <a:cubicBezTo>
                    <a:pt x="2278" y="471"/>
                    <a:pt x="2289" y="446"/>
                    <a:pt x="2273" y="445"/>
                  </a:cubicBezTo>
                  <a:cubicBezTo>
                    <a:pt x="2248" y="435"/>
                    <a:pt x="2248" y="435"/>
                    <a:pt x="2248" y="435"/>
                  </a:cubicBezTo>
                  <a:cubicBezTo>
                    <a:pt x="2229" y="443"/>
                    <a:pt x="2229" y="443"/>
                    <a:pt x="2229" y="443"/>
                  </a:cubicBezTo>
                  <a:cubicBezTo>
                    <a:pt x="2229" y="443"/>
                    <a:pt x="2202" y="445"/>
                    <a:pt x="2201" y="449"/>
                  </a:cubicBezTo>
                  <a:cubicBezTo>
                    <a:pt x="2200" y="453"/>
                    <a:pt x="2208" y="462"/>
                    <a:pt x="2202" y="463"/>
                  </a:cubicBezTo>
                  <a:cubicBezTo>
                    <a:pt x="2196" y="464"/>
                    <a:pt x="2160" y="457"/>
                    <a:pt x="2152" y="466"/>
                  </a:cubicBezTo>
                  <a:cubicBezTo>
                    <a:pt x="2144" y="475"/>
                    <a:pt x="2127" y="484"/>
                    <a:pt x="2136" y="488"/>
                  </a:cubicBezTo>
                  <a:cubicBezTo>
                    <a:pt x="2145" y="492"/>
                    <a:pt x="2156" y="494"/>
                    <a:pt x="2156" y="494"/>
                  </a:cubicBezTo>
                  <a:cubicBezTo>
                    <a:pt x="2156" y="494"/>
                    <a:pt x="2107" y="507"/>
                    <a:pt x="2109" y="520"/>
                  </a:cubicBezTo>
                  <a:cubicBezTo>
                    <a:pt x="2111" y="533"/>
                    <a:pt x="2138" y="543"/>
                    <a:pt x="2138" y="543"/>
                  </a:cubicBezTo>
                  <a:cubicBezTo>
                    <a:pt x="2154" y="536"/>
                    <a:pt x="2154" y="536"/>
                    <a:pt x="2154" y="536"/>
                  </a:cubicBezTo>
                  <a:cubicBezTo>
                    <a:pt x="2154" y="536"/>
                    <a:pt x="2153" y="557"/>
                    <a:pt x="2159" y="554"/>
                  </a:cubicBezTo>
                  <a:cubicBezTo>
                    <a:pt x="2165" y="551"/>
                    <a:pt x="2194" y="546"/>
                    <a:pt x="2183" y="554"/>
                  </a:cubicBezTo>
                  <a:cubicBezTo>
                    <a:pt x="2172" y="562"/>
                    <a:pt x="2163" y="561"/>
                    <a:pt x="2163" y="561"/>
                  </a:cubicBezTo>
                  <a:cubicBezTo>
                    <a:pt x="2150" y="556"/>
                    <a:pt x="2150" y="556"/>
                    <a:pt x="2150" y="556"/>
                  </a:cubicBezTo>
                  <a:cubicBezTo>
                    <a:pt x="2148" y="565"/>
                    <a:pt x="2148" y="565"/>
                    <a:pt x="2148" y="565"/>
                  </a:cubicBezTo>
                  <a:cubicBezTo>
                    <a:pt x="2148" y="565"/>
                    <a:pt x="2112" y="571"/>
                    <a:pt x="2124" y="575"/>
                  </a:cubicBezTo>
                  <a:cubicBezTo>
                    <a:pt x="2136" y="579"/>
                    <a:pt x="2163" y="559"/>
                    <a:pt x="2157" y="572"/>
                  </a:cubicBezTo>
                  <a:cubicBezTo>
                    <a:pt x="2151" y="585"/>
                    <a:pt x="2132" y="594"/>
                    <a:pt x="2119" y="598"/>
                  </a:cubicBezTo>
                  <a:cubicBezTo>
                    <a:pt x="2106" y="602"/>
                    <a:pt x="2086" y="617"/>
                    <a:pt x="2086" y="617"/>
                  </a:cubicBezTo>
                  <a:cubicBezTo>
                    <a:pt x="2086" y="617"/>
                    <a:pt x="2064" y="605"/>
                    <a:pt x="2060" y="612"/>
                  </a:cubicBezTo>
                  <a:cubicBezTo>
                    <a:pt x="2056" y="619"/>
                    <a:pt x="2035" y="625"/>
                    <a:pt x="2036" y="635"/>
                  </a:cubicBezTo>
                  <a:cubicBezTo>
                    <a:pt x="2037" y="645"/>
                    <a:pt x="2030" y="654"/>
                    <a:pt x="2030" y="654"/>
                  </a:cubicBezTo>
                  <a:cubicBezTo>
                    <a:pt x="2026" y="645"/>
                    <a:pt x="2026" y="645"/>
                    <a:pt x="2026" y="645"/>
                  </a:cubicBezTo>
                  <a:cubicBezTo>
                    <a:pt x="2026" y="645"/>
                    <a:pt x="2001" y="644"/>
                    <a:pt x="2003" y="638"/>
                  </a:cubicBezTo>
                  <a:cubicBezTo>
                    <a:pt x="2005" y="632"/>
                    <a:pt x="2047" y="604"/>
                    <a:pt x="2047" y="604"/>
                  </a:cubicBezTo>
                  <a:cubicBezTo>
                    <a:pt x="2022" y="604"/>
                    <a:pt x="2022" y="604"/>
                    <a:pt x="2022" y="604"/>
                  </a:cubicBezTo>
                  <a:cubicBezTo>
                    <a:pt x="2022" y="604"/>
                    <a:pt x="2015" y="590"/>
                    <a:pt x="2008" y="590"/>
                  </a:cubicBezTo>
                  <a:cubicBezTo>
                    <a:pt x="2001" y="590"/>
                    <a:pt x="1985" y="596"/>
                    <a:pt x="1985" y="596"/>
                  </a:cubicBezTo>
                  <a:cubicBezTo>
                    <a:pt x="1985" y="596"/>
                    <a:pt x="1964" y="589"/>
                    <a:pt x="1961" y="597"/>
                  </a:cubicBezTo>
                  <a:cubicBezTo>
                    <a:pt x="1958" y="605"/>
                    <a:pt x="1956" y="612"/>
                    <a:pt x="1960" y="613"/>
                  </a:cubicBezTo>
                  <a:cubicBezTo>
                    <a:pt x="1964" y="614"/>
                    <a:pt x="1993" y="627"/>
                    <a:pt x="1983" y="630"/>
                  </a:cubicBezTo>
                  <a:cubicBezTo>
                    <a:pt x="1973" y="633"/>
                    <a:pt x="1955" y="618"/>
                    <a:pt x="1955" y="618"/>
                  </a:cubicBezTo>
                  <a:cubicBezTo>
                    <a:pt x="1941" y="609"/>
                    <a:pt x="1941" y="609"/>
                    <a:pt x="1941" y="609"/>
                  </a:cubicBezTo>
                  <a:cubicBezTo>
                    <a:pt x="1940" y="629"/>
                    <a:pt x="1940" y="629"/>
                    <a:pt x="1940" y="629"/>
                  </a:cubicBezTo>
                  <a:cubicBezTo>
                    <a:pt x="1940" y="629"/>
                    <a:pt x="1925" y="638"/>
                    <a:pt x="1916" y="636"/>
                  </a:cubicBezTo>
                  <a:cubicBezTo>
                    <a:pt x="1907" y="634"/>
                    <a:pt x="1874" y="625"/>
                    <a:pt x="1863" y="625"/>
                  </a:cubicBezTo>
                  <a:cubicBezTo>
                    <a:pt x="1852" y="625"/>
                    <a:pt x="1830" y="629"/>
                    <a:pt x="1819" y="628"/>
                  </a:cubicBezTo>
                  <a:cubicBezTo>
                    <a:pt x="1808" y="627"/>
                    <a:pt x="1791" y="610"/>
                    <a:pt x="1791" y="610"/>
                  </a:cubicBezTo>
                  <a:cubicBezTo>
                    <a:pt x="1752" y="613"/>
                    <a:pt x="1752" y="613"/>
                    <a:pt x="1752" y="613"/>
                  </a:cubicBezTo>
                  <a:cubicBezTo>
                    <a:pt x="1752" y="613"/>
                    <a:pt x="1737" y="599"/>
                    <a:pt x="1729" y="597"/>
                  </a:cubicBezTo>
                  <a:cubicBezTo>
                    <a:pt x="1721" y="595"/>
                    <a:pt x="1704" y="595"/>
                    <a:pt x="1692" y="601"/>
                  </a:cubicBezTo>
                  <a:cubicBezTo>
                    <a:pt x="1680" y="607"/>
                    <a:pt x="1685" y="609"/>
                    <a:pt x="1672" y="609"/>
                  </a:cubicBezTo>
                  <a:cubicBezTo>
                    <a:pt x="1659" y="609"/>
                    <a:pt x="1631" y="602"/>
                    <a:pt x="1624" y="611"/>
                  </a:cubicBezTo>
                  <a:cubicBezTo>
                    <a:pt x="1617" y="620"/>
                    <a:pt x="1605" y="646"/>
                    <a:pt x="1605" y="646"/>
                  </a:cubicBezTo>
                  <a:cubicBezTo>
                    <a:pt x="1597" y="666"/>
                    <a:pt x="1597" y="666"/>
                    <a:pt x="1597" y="666"/>
                  </a:cubicBezTo>
                  <a:cubicBezTo>
                    <a:pt x="1576" y="668"/>
                    <a:pt x="1576" y="668"/>
                    <a:pt x="1576" y="668"/>
                  </a:cubicBezTo>
                  <a:cubicBezTo>
                    <a:pt x="1571" y="687"/>
                    <a:pt x="1571" y="687"/>
                    <a:pt x="1571" y="687"/>
                  </a:cubicBezTo>
                  <a:cubicBezTo>
                    <a:pt x="1556" y="654"/>
                    <a:pt x="1556" y="654"/>
                    <a:pt x="1556" y="654"/>
                  </a:cubicBezTo>
                  <a:cubicBezTo>
                    <a:pt x="1556" y="654"/>
                    <a:pt x="1598" y="665"/>
                    <a:pt x="1587" y="646"/>
                  </a:cubicBezTo>
                  <a:cubicBezTo>
                    <a:pt x="1576" y="627"/>
                    <a:pt x="1544" y="625"/>
                    <a:pt x="1544" y="625"/>
                  </a:cubicBezTo>
                  <a:cubicBezTo>
                    <a:pt x="1546" y="616"/>
                    <a:pt x="1546" y="616"/>
                    <a:pt x="1546" y="616"/>
                  </a:cubicBezTo>
                  <a:cubicBezTo>
                    <a:pt x="1546" y="616"/>
                    <a:pt x="1477" y="629"/>
                    <a:pt x="1440" y="629"/>
                  </a:cubicBezTo>
                  <a:cubicBezTo>
                    <a:pt x="1403" y="629"/>
                    <a:pt x="1337" y="625"/>
                    <a:pt x="1350" y="619"/>
                  </a:cubicBezTo>
                  <a:cubicBezTo>
                    <a:pt x="1363" y="613"/>
                    <a:pt x="1447" y="616"/>
                    <a:pt x="1427" y="594"/>
                  </a:cubicBezTo>
                  <a:cubicBezTo>
                    <a:pt x="1407" y="572"/>
                    <a:pt x="1388" y="570"/>
                    <a:pt x="1364" y="572"/>
                  </a:cubicBezTo>
                  <a:cubicBezTo>
                    <a:pt x="1340" y="574"/>
                    <a:pt x="1301" y="560"/>
                    <a:pt x="1295" y="557"/>
                  </a:cubicBezTo>
                  <a:cubicBezTo>
                    <a:pt x="1289" y="554"/>
                    <a:pt x="1271" y="554"/>
                    <a:pt x="1271" y="554"/>
                  </a:cubicBezTo>
                  <a:cubicBezTo>
                    <a:pt x="1271" y="554"/>
                    <a:pt x="1223" y="527"/>
                    <a:pt x="1205" y="528"/>
                  </a:cubicBezTo>
                  <a:cubicBezTo>
                    <a:pt x="1187" y="529"/>
                    <a:pt x="1155" y="554"/>
                    <a:pt x="1155" y="554"/>
                  </a:cubicBezTo>
                  <a:cubicBezTo>
                    <a:pt x="1119" y="554"/>
                    <a:pt x="1119" y="554"/>
                    <a:pt x="1119" y="554"/>
                  </a:cubicBezTo>
                  <a:cubicBezTo>
                    <a:pt x="1139" y="542"/>
                    <a:pt x="1139" y="542"/>
                    <a:pt x="1139" y="542"/>
                  </a:cubicBezTo>
                  <a:cubicBezTo>
                    <a:pt x="1139" y="534"/>
                    <a:pt x="1139" y="534"/>
                    <a:pt x="1139" y="534"/>
                  </a:cubicBezTo>
                  <a:cubicBezTo>
                    <a:pt x="1156" y="514"/>
                    <a:pt x="1156" y="514"/>
                    <a:pt x="1156" y="514"/>
                  </a:cubicBezTo>
                  <a:cubicBezTo>
                    <a:pt x="1156" y="514"/>
                    <a:pt x="1117" y="532"/>
                    <a:pt x="1110" y="539"/>
                  </a:cubicBezTo>
                  <a:cubicBezTo>
                    <a:pt x="1103" y="546"/>
                    <a:pt x="1087" y="568"/>
                    <a:pt x="1072" y="553"/>
                  </a:cubicBezTo>
                  <a:cubicBezTo>
                    <a:pt x="1057" y="538"/>
                    <a:pt x="1078" y="522"/>
                    <a:pt x="1075" y="511"/>
                  </a:cubicBezTo>
                  <a:cubicBezTo>
                    <a:pt x="1072" y="500"/>
                    <a:pt x="1049" y="489"/>
                    <a:pt x="1046" y="498"/>
                  </a:cubicBezTo>
                  <a:cubicBezTo>
                    <a:pt x="1043" y="507"/>
                    <a:pt x="1056" y="513"/>
                    <a:pt x="1056" y="513"/>
                  </a:cubicBezTo>
                  <a:cubicBezTo>
                    <a:pt x="1056" y="513"/>
                    <a:pt x="1036" y="511"/>
                    <a:pt x="1025" y="515"/>
                  </a:cubicBezTo>
                  <a:cubicBezTo>
                    <a:pt x="1014" y="519"/>
                    <a:pt x="998" y="530"/>
                    <a:pt x="993" y="534"/>
                  </a:cubicBezTo>
                  <a:cubicBezTo>
                    <a:pt x="988" y="538"/>
                    <a:pt x="970" y="533"/>
                    <a:pt x="970" y="533"/>
                  </a:cubicBezTo>
                  <a:cubicBezTo>
                    <a:pt x="970" y="533"/>
                    <a:pt x="923" y="543"/>
                    <a:pt x="919" y="544"/>
                  </a:cubicBezTo>
                  <a:cubicBezTo>
                    <a:pt x="915" y="545"/>
                    <a:pt x="890" y="560"/>
                    <a:pt x="890" y="560"/>
                  </a:cubicBezTo>
                  <a:cubicBezTo>
                    <a:pt x="876" y="547"/>
                    <a:pt x="876" y="547"/>
                    <a:pt x="876" y="547"/>
                  </a:cubicBezTo>
                  <a:cubicBezTo>
                    <a:pt x="876" y="547"/>
                    <a:pt x="843" y="564"/>
                    <a:pt x="833" y="565"/>
                  </a:cubicBezTo>
                  <a:cubicBezTo>
                    <a:pt x="823" y="566"/>
                    <a:pt x="805" y="578"/>
                    <a:pt x="805" y="578"/>
                  </a:cubicBezTo>
                  <a:cubicBezTo>
                    <a:pt x="783" y="580"/>
                    <a:pt x="783" y="580"/>
                    <a:pt x="783" y="580"/>
                  </a:cubicBezTo>
                  <a:cubicBezTo>
                    <a:pt x="783" y="580"/>
                    <a:pt x="800" y="562"/>
                    <a:pt x="815" y="559"/>
                  </a:cubicBezTo>
                  <a:cubicBezTo>
                    <a:pt x="830" y="556"/>
                    <a:pt x="864" y="543"/>
                    <a:pt x="864" y="543"/>
                  </a:cubicBezTo>
                  <a:cubicBezTo>
                    <a:pt x="864" y="543"/>
                    <a:pt x="895" y="546"/>
                    <a:pt x="906" y="541"/>
                  </a:cubicBezTo>
                  <a:cubicBezTo>
                    <a:pt x="917" y="536"/>
                    <a:pt x="978" y="522"/>
                    <a:pt x="978" y="522"/>
                  </a:cubicBezTo>
                  <a:cubicBezTo>
                    <a:pt x="978" y="522"/>
                    <a:pt x="990" y="519"/>
                    <a:pt x="983" y="514"/>
                  </a:cubicBezTo>
                  <a:cubicBezTo>
                    <a:pt x="976" y="509"/>
                    <a:pt x="955" y="516"/>
                    <a:pt x="955" y="516"/>
                  </a:cubicBezTo>
                  <a:cubicBezTo>
                    <a:pt x="955" y="516"/>
                    <a:pt x="937" y="515"/>
                    <a:pt x="930" y="517"/>
                  </a:cubicBezTo>
                  <a:cubicBezTo>
                    <a:pt x="923" y="519"/>
                    <a:pt x="916" y="527"/>
                    <a:pt x="911" y="528"/>
                  </a:cubicBezTo>
                  <a:cubicBezTo>
                    <a:pt x="906" y="529"/>
                    <a:pt x="887" y="529"/>
                    <a:pt x="887" y="529"/>
                  </a:cubicBezTo>
                  <a:cubicBezTo>
                    <a:pt x="872" y="532"/>
                    <a:pt x="872" y="532"/>
                    <a:pt x="872" y="532"/>
                  </a:cubicBezTo>
                  <a:cubicBezTo>
                    <a:pt x="872" y="532"/>
                    <a:pt x="855" y="532"/>
                    <a:pt x="843" y="535"/>
                  </a:cubicBezTo>
                  <a:cubicBezTo>
                    <a:pt x="831" y="538"/>
                    <a:pt x="820" y="550"/>
                    <a:pt x="820" y="550"/>
                  </a:cubicBezTo>
                  <a:cubicBezTo>
                    <a:pt x="806" y="552"/>
                    <a:pt x="806" y="552"/>
                    <a:pt x="806" y="552"/>
                  </a:cubicBezTo>
                  <a:cubicBezTo>
                    <a:pt x="771" y="565"/>
                    <a:pt x="771" y="565"/>
                    <a:pt x="771" y="565"/>
                  </a:cubicBezTo>
                  <a:cubicBezTo>
                    <a:pt x="771" y="565"/>
                    <a:pt x="756" y="568"/>
                    <a:pt x="753" y="571"/>
                  </a:cubicBezTo>
                  <a:cubicBezTo>
                    <a:pt x="750" y="574"/>
                    <a:pt x="748" y="590"/>
                    <a:pt x="741" y="586"/>
                  </a:cubicBezTo>
                  <a:cubicBezTo>
                    <a:pt x="734" y="582"/>
                    <a:pt x="733" y="567"/>
                    <a:pt x="744" y="565"/>
                  </a:cubicBezTo>
                  <a:cubicBezTo>
                    <a:pt x="755" y="563"/>
                    <a:pt x="784" y="553"/>
                    <a:pt x="793" y="547"/>
                  </a:cubicBezTo>
                  <a:cubicBezTo>
                    <a:pt x="802" y="541"/>
                    <a:pt x="760" y="535"/>
                    <a:pt x="753" y="544"/>
                  </a:cubicBezTo>
                  <a:cubicBezTo>
                    <a:pt x="746" y="553"/>
                    <a:pt x="719" y="558"/>
                    <a:pt x="712" y="558"/>
                  </a:cubicBezTo>
                  <a:cubicBezTo>
                    <a:pt x="705" y="558"/>
                    <a:pt x="705" y="585"/>
                    <a:pt x="705" y="585"/>
                  </a:cubicBezTo>
                  <a:cubicBezTo>
                    <a:pt x="689" y="576"/>
                    <a:pt x="689" y="576"/>
                    <a:pt x="689" y="576"/>
                  </a:cubicBezTo>
                  <a:cubicBezTo>
                    <a:pt x="647" y="570"/>
                    <a:pt x="647" y="570"/>
                    <a:pt x="647" y="570"/>
                  </a:cubicBezTo>
                  <a:cubicBezTo>
                    <a:pt x="647" y="570"/>
                    <a:pt x="621" y="558"/>
                    <a:pt x="623" y="553"/>
                  </a:cubicBezTo>
                  <a:cubicBezTo>
                    <a:pt x="625" y="548"/>
                    <a:pt x="629" y="539"/>
                    <a:pt x="629" y="539"/>
                  </a:cubicBezTo>
                  <a:cubicBezTo>
                    <a:pt x="555" y="540"/>
                    <a:pt x="555" y="540"/>
                    <a:pt x="555" y="540"/>
                  </a:cubicBezTo>
                  <a:cubicBezTo>
                    <a:pt x="567" y="540"/>
                    <a:pt x="567" y="540"/>
                    <a:pt x="567" y="540"/>
                  </a:cubicBezTo>
                  <a:cubicBezTo>
                    <a:pt x="52" y="964"/>
                    <a:pt x="52" y="964"/>
                    <a:pt x="52" y="964"/>
                  </a:cubicBezTo>
                  <a:cubicBezTo>
                    <a:pt x="52" y="964"/>
                    <a:pt x="26" y="978"/>
                    <a:pt x="32" y="984"/>
                  </a:cubicBezTo>
                  <a:cubicBezTo>
                    <a:pt x="38" y="990"/>
                    <a:pt x="67" y="984"/>
                    <a:pt x="67" y="984"/>
                  </a:cubicBezTo>
                  <a:cubicBezTo>
                    <a:pt x="70" y="984"/>
                    <a:pt x="79" y="979"/>
                    <a:pt x="79" y="979"/>
                  </a:cubicBezTo>
                  <a:cubicBezTo>
                    <a:pt x="103" y="979"/>
                    <a:pt x="103" y="979"/>
                    <a:pt x="103" y="979"/>
                  </a:cubicBezTo>
                  <a:cubicBezTo>
                    <a:pt x="88" y="994"/>
                    <a:pt x="88" y="994"/>
                    <a:pt x="88" y="994"/>
                  </a:cubicBezTo>
                  <a:cubicBezTo>
                    <a:pt x="88" y="994"/>
                    <a:pt x="88" y="1003"/>
                    <a:pt x="88" y="1013"/>
                  </a:cubicBezTo>
                  <a:cubicBezTo>
                    <a:pt x="88" y="1024"/>
                    <a:pt x="107" y="1032"/>
                    <a:pt x="107" y="1032"/>
                  </a:cubicBezTo>
                  <a:cubicBezTo>
                    <a:pt x="107" y="1032"/>
                    <a:pt x="88" y="1051"/>
                    <a:pt x="93" y="1051"/>
                  </a:cubicBezTo>
                  <a:cubicBezTo>
                    <a:pt x="99" y="1051"/>
                    <a:pt x="115" y="1038"/>
                    <a:pt x="115" y="1038"/>
                  </a:cubicBezTo>
                  <a:cubicBezTo>
                    <a:pt x="115" y="1038"/>
                    <a:pt x="136" y="1031"/>
                    <a:pt x="143" y="1031"/>
                  </a:cubicBezTo>
                  <a:cubicBezTo>
                    <a:pt x="151" y="1031"/>
                    <a:pt x="157" y="1021"/>
                    <a:pt x="157" y="1021"/>
                  </a:cubicBezTo>
                  <a:cubicBezTo>
                    <a:pt x="169" y="1021"/>
                    <a:pt x="169" y="1021"/>
                    <a:pt x="169" y="1021"/>
                  </a:cubicBezTo>
                  <a:cubicBezTo>
                    <a:pt x="171" y="1013"/>
                    <a:pt x="171" y="1013"/>
                    <a:pt x="171" y="1013"/>
                  </a:cubicBezTo>
                  <a:cubicBezTo>
                    <a:pt x="171" y="1013"/>
                    <a:pt x="199" y="1003"/>
                    <a:pt x="217" y="1008"/>
                  </a:cubicBezTo>
                  <a:cubicBezTo>
                    <a:pt x="236" y="1014"/>
                    <a:pt x="209" y="1024"/>
                    <a:pt x="209" y="1024"/>
                  </a:cubicBezTo>
                  <a:cubicBezTo>
                    <a:pt x="209" y="1041"/>
                    <a:pt x="209" y="1041"/>
                    <a:pt x="209" y="1041"/>
                  </a:cubicBezTo>
                  <a:cubicBezTo>
                    <a:pt x="203" y="1052"/>
                    <a:pt x="203" y="1052"/>
                    <a:pt x="203" y="1052"/>
                  </a:cubicBezTo>
                  <a:cubicBezTo>
                    <a:pt x="203" y="1052"/>
                    <a:pt x="210" y="1054"/>
                    <a:pt x="216" y="1072"/>
                  </a:cubicBezTo>
                  <a:cubicBezTo>
                    <a:pt x="223" y="1089"/>
                    <a:pt x="206" y="1108"/>
                    <a:pt x="206" y="1108"/>
                  </a:cubicBezTo>
                  <a:cubicBezTo>
                    <a:pt x="206" y="1132"/>
                    <a:pt x="206" y="1132"/>
                    <a:pt x="206" y="1132"/>
                  </a:cubicBezTo>
                  <a:cubicBezTo>
                    <a:pt x="206" y="1132"/>
                    <a:pt x="200" y="1149"/>
                    <a:pt x="195" y="1162"/>
                  </a:cubicBezTo>
                  <a:cubicBezTo>
                    <a:pt x="190" y="1175"/>
                    <a:pt x="218" y="1176"/>
                    <a:pt x="218" y="1180"/>
                  </a:cubicBezTo>
                  <a:cubicBezTo>
                    <a:pt x="218" y="1185"/>
                    <a:pt x="225" y="1187"/>
                    <a:pt x="225" y="1187"/>
                  </a:cubicBezTo>
                  <a:cubicBezTo>
                    <a:pt x="225" y="1187"/>
                    <a:pt x="235" y="1186"/>
                    <a:pt x="235" y="1194"/>
                  </a:cubicBezTo>
                  <a:cubicBezTo>
                    <a:pt x="235" y="1202"/>
                    <a:pt x="208" y="1213"/>
                    <a:pt x="208" y="1213"/>
                  </a:cubicBezTo>
                  <a:cubicBezTo>
                    <a:pt x="208" y="1213"/>
                    <a:pt x="208" y="1229"/>
                    <a:pt x="198" y="1239"/>
                  </a:cubicBezTo>
                  <a:cubicBezTo>
                    <a:pt x="194" y="1243"/>
                    <a:pt x="173" y="1254"/>
                    <a:pt x="152" y="1264"/>
                  </a:cubicBezTo>
                  <a:cubicBezTo>
                    <a:pt x="150" y="1269"/>
                    <a:pt x="149" y="1274"/>
                    <a:pt x="148" y="1278"/>
                  </a:cubicBezTo>
                  <a:cubicBezTo>
                    <a:pt x="147" y="1285"/>
                    <a:pt x="142" y="1299"/>
                    <a:pt x="142" y="1299"/>
                  </a:cubicBezTo>
                  <a:cubicBezTo>
                    <a:pt x="133" y="1305"/>
                    <a:pt x="133" y="1305"/>
                    <a:pt x="133" y="1305"/>
                  </a:cubicBezTo>
                  <a:cubicBezTo>
                    <a:pt x="133" y="1305"/>
                    <a:pt x="142" y="1309"/>
                    <a:pt x="143" y="1316"/>
                  </a:cubicBezTo>
                  <a:cubicBezTo>
                    <a:pt x="144" y="1323"/>
                    <a:pt x="151" y="1326"/>
                    <a:pt x="151" y="1326"/>
                  </a:cubicBezTo>
                  <a:cubicBezTo>
                    <a:pt x="151" y="1326"/>
                    <a:pt x="201" y="1287"/>
                    <a:pt x="201" y="1296"/>
                  </a:cubicBezTo>
                  <a:cubicBezTo>
                    <a:pt x="201" y="1305"/>
                    <a:pt x="185" y="1306"/>
                    <a:pt x="183" y="1311"/>
                  </a:cubicBezTo>
                  <a:cubicBezTo>
                    <a:pt x="181" y="1316"/>
                    <a:pt x="185" y="1326"/>
                    <a:pt x="185" y="1326"/>
                  </a:cubicBezTo>
                  <a:cubicBezTo>
                    <a:pt x="194" y="1333"/>
                    <a:pt x="194" y="1333"/>
                    <a:pt x="194" y="1333"/>
                  </a:cubicBezTo>
                  <a:cubicBezTo>
                    <a:pt x="165" y="1332"/>
                    <a:pt x="165" y="1332"/>
                    <a:pt x="165" y="1332"/>
                  </a:cubicBezTo>
                  <a:cubicBezTo>
                    <a:pt x="165" y="1332"/>
                    <a:pt x="143" y="1359"/>
                    <a:pt x="153" y="1360"/>
                  </a:cubicBezTo>
                  <a:cubicBezTo>
                    <a:pt x="163" y="1361"/>
                    <a:pt x="169" y="1367"/>
                    <a:pt x="169" y="1367"/>
                  </a:cubicBezTo>
                  <a:cubicBezTo>
                    <a:pt x="169" y="1367"/>
                    <a:pt x="157" y="1388"/>
                    <a:pt x="164" y="1385"/>
                  </a:cubicBezTo>
                  <a:cubicBezTo>
                    <a:pt x="171" y="1382"/>
                    <a:pt x="212" y="1354"/>
                    <a:pt x="212" y="1354"/>
                  </a:cubicBezTo>
                  <a:cubicBezTo>
                    <a:pt x="211" y="1363"/>
                    <a:pt x="211" y="1363"/>
                    <a:pt x="211" y="1363"/>
                  </a:cubicBezTo>
                  <a:cubicBezTo>
                    <a:pt x="192" y="1374"/>
                    <a:pt x="192" y="1374"/>
                    <a:pt x="192" y="1374"/>
                  </a:cubicBezTo>
                  <a:cubicBezTo>
                    <a:pt x="207" y="1380"/>
                    <a:pt x="207" y="1380"/>
                    <a:pt x="207" y="1380"/>
                  </a:cubicBezTo>
                  <a:cubicBezTo>
                    <a:pt x="207" y="1380"/>
                    <a:pt x="202" y="1400"/>
                    <a:pt x="194" y="1398"/>
                  </a:cubicBezTo>
                  <a:cubicBezTo>
                    <a:pt x="186" y="1396"/>
                    <a:pt x="184" y="1387"/>
                    <a:pt x="184" y="1387"/>
                  </a:cubicBezTo>
                  <a:cubicBezTo>
                    <a:pt x="184" y="1387"/>
                    <a:pt x="151" y="1397"/>
                    <a:pt x="145" y="1403"/>
                  </a:cubicBezTo>
                  <a:cubicBezTo>
                    <a:pt x="139" y="1409"/>
                    <a:pt x="133" y="1417"/>
                    <a:pt x="133" y="1417"/>
                  </a:cubicBezTo>
                  <a:cubicBezTo>
                    <a:pt x="133" y="1417"/>
                    <a:pt x="151" y="1412"/>
                    <a:pt x="156" y="1412"/>
                  </a:cubicBezTo>
                  <a:cubicBezTo>
                    <a:pt x="161" y="1412"/>
                    <a:pt x="182" y="1412"/>
                    <a:pt x="182" y="1412"/>
                  </a:cubicBezTo>
                  <a:cubicBezTo>
                    <a:pt x="182" y="1412"/>
                    <a:pt x="146" y="1421"/>
                    <a:pt x="140" y="1424"/>
                  </a:cubicBezTo>
                  <a:cubicBezTo>
                    <a:pt x="134" y="1427"/>
                    <a:pt x="138" y="1435"/>
                    <a:pt x="138" y="1435"/>
                  </a:cubicBezTo>
                  <a:cubicBezTo>
                    <a:pt x="138" y="1435"/>
                    <a:pt x="105" y="1423"/>
                    <a:pt x="114" y="1437"/>
                  </a:cubicBezTo>
                  <a:cubicBezTo>
                    <a:pt x="123" y="1451"/>
                    <a:pt x="132" y="1455"/>
                    <a:pt x="132" y="1455"/>
                  </a:cubicBezTo>
                  <a:cubicBezTo>
                    <a:pt x="164" y="1444"/>
                    <a:pt x="164" y="1444"/>
                    <a:pt x="164" y="1444"/>
                  </a:cubicBezTo>
                  <a:cubicBezTo>
                    <a:pt x="173" y="1459"/>
                    <a:pt x="173" y="1459"/>
                    <a:pt x="173" y="1459"/>
                  </a:cubicBezTo>
                  <a:cubicBezTo>
                    <a:pt x="198" y="1445"/>
                    <a:pt x="198" y="1445"/>
                    <a:pt x="198" y="1445"/>
                  </a:cubicBezTo>
                  <a:cubicBezTo>
                    <a:pt x="198" y="1445"/>
                    <a:pt x="165" y="1479"/>
                    <a:pt x="176" y="1478"/>
                  </a:cubicBezTo>
                  <a:cubicBezTo>
                    <a:pt x="187" y="1477"/>
                    <a:pt x="217" y="1454"/>
                    <a:pt x="217" y="1454"/>
                  </a:cubicBezTo>
                  <a:cubicBezTo>
                    <a:pt x="217" y="1454"/>
                    <a:pt x="190" y="1484"/>
                    <a:pt x="194" y="1484"/>
                  </a:cubicBezTo>
                  <a:cubicBezTo>
                    <a:pt x="198" y="1484"/>
                    <a:pt x="216" y="1479"/>
                    <a:pt x="216" y="1479"/>
                  </a:cubicBezTo>
                  <a:cubicBezTo>
                    <a:pt x="216" y="1479"/>
                    <a:pt x="178" y="1508"/>
                    <a:pt x="190" y="1509"/>
                  </a:cubicBezTo>
                  <a:cubicBezTo>
                    <a:pt x="202" y="1510"/>
                    <a:pt x="229" y="1490"/>
                    <a:pt x="229" y="1490"/>
                  </a:cubicBezTo>
                  <a:cubicBezTo>
                    <a:pt x="229" y="1490"/>
                    <a:pt x="203" y="1518"/>
                    <a:pt x="210" y="1520"/>
                  </a:cubicBezTo>
                  <a:cubicBezTo>
                    <a:pt x="217" y="1522"/>
                    <a:pt x="233" y="1526"/>
                    <a:pt x="233" y="1529"/>
                  </a:cubicBezTo>
                  <a:cubicBezTo>
                    <a:pt x="233" y="1531"/>
                    <a:pt x="231" y="1548"/>
                    <a:pt x="228" y="1561"/>
                  </a:cubicBezTo>
                  <a:cubicBezTo>
                    <a:pt x="228" y="1561"/>
                    <a:pt x="228" y="1561"/>
                    <a:pt x="228" y="1561"/>
                  </a:cubicBezTo>
                  <a:cubicBezTo>
                    <a:pt x="1370" y="1561"/>
                    <a:pt x="1370" y="1561"/>
                    <a:pt x="1370" y="1561"/>
                  </a:cubicBezTo>
                  <a:cubicBezTo>
                    <a:pt x="1370" y="1561"/>
                    <a:pt x="1384" y="1526"/>
                    <a:pt x="1394" y="1537"/>
                  </a:cubicBezTo>
                  <a:cubicBezTo>
                    <a:pt x="1404" y="1547"/>
                    <a:pt x="1379" y="1557"/>
                    <a:pt x="1388" y="1566"/>
                  </a:cubicBezTo>
                  <a:cubicBezTo>
                    <a:pt x="1396" y="1574"/>
                    <a:pt x="1415" y="1575"/>
                    <a:pt x="1415" y="1575"/>
                  </a:cubicBezTo>
                  <a:cubicBezTo>
                    <a:pt x="1415" y="1575"/>
                    <a:pt x="1422" y="1585"/>
                    <a:pt x="1430" y="1585"/>
                  </a:cubicBezTo>
                  <a:cubicBezTo>
                    <a:pt x="1438" y="1585"/>
                    <a:pt x="1436" y="1573"/>
                    <a:pt x="1449" y="1573"/>
                  </a:cubicBezTo>
                  <a:cubicBezTo>
                    <a:pt x="1462" y="1573"/>
                    <a:pt x="1465" y="1593"/>
                    <a:pt x="1471" y="1593"/>
                  </a:cubicBezTo>
                  <a:cubicBezTo>
                    <a:pt x="1477" y="1593"/>
                    <a:pt x="1484" y="1596"/>
                    <a:pt x="1487" y="1593"/>
                  </a:cubicBezTo>
                  <a:cubicBezTo>
                    <a:pt x="1490" y="1590"/>
                    <a:pt x="1503" y="1614"/>
                    <a:pt x="1509" y="1608"/>
                  </a:cubicBezTo>
                  <a:cubicBezTo>
                    <a:pt x="1515" y="1602"/>
                    <a:pt x="1531" y="1591"/>
                    <a:pt x="1531" y="1591"/>
                  </a:cubicBezTo>
                  <a:cubicBezTo>
                    <a:pt x="1531" y="1601"/>
                    <a:pt x="1531" y="1601"/>
                    <a:pt x="1531" y="1601"/>
                  </a:cubicBezTo>
                  <a:cubicBezTo>
                    <a:pt x="1561" y="1600"/>
                    <a:pt x="1561" y="1600"/>
                    <a:pt x="1561" y="1600"/>
                  </a:cubicBezTo>
                  <a:cubicBezTo>
                    <a:pt x="1561" y="1600"/>
                    <a:pt x="1558" y="1606"/>
                    <a:pt x="1586" y="1606"/>
                  </a:cubicBezTo>
                  <a:cubicBezTo>
                    <a:pt x="1598" y="1598"/>
                    <a:pt x="1605" y="1585"/>
                    <a:pt x="1606" y="1582"/>
                  </a:cubicBezTo>
                  <a:cubicBezTo>
                    <a:pt x="1607" y="1578"/>
                    <a:pt x="1626" y="1586"/>
                    <a:pt x="1626" y="1586"/>
                  </a:cubicBezTo>
                  <a:cubicBezTo>
                    <a:pt x="1634" y="1580"/>
                    <a:pt x="1634" y="1580"/>
                    <a:pt x="1634" y="1580"/>
                  </a:cubicBezTo>
                  <a:cubicBezTo>
                    <a:pt x="1634" y="1580"/>
                    <a:pt x="1641" y="1568"/>
                    <a:pt x="1642" y="1565"/>
                  </a:cubicBezTo>
                  <a:cubicBezTo>
                    <a:pt x="1643" y="1562"/>
                    <a:pt x="1651" y="1575"/>
                    <a:pt x="1651" y="1575"/>
                  </a:cubicBezTo>
                  <a:cubicBezTo>
                    <a:pt x="1668" y="1572"/>
                    <a:pt x="1668" y="1572"/>
                    <a:pt x="1668" y="1572"/>
                  </a:cubicBezTo>
                  <a:cubicBezTo>
                    <a:pt x="1668" y="1572"/>
                    <a:pt x="1659" y="1562"/>
                    <a:pt x="1668" y="1555"/>
                  </a:cubicBezTo>
                  <a:cubicBezTo>
                    <a:pt x="1677" y="1548"/>
                    <a:pt x="1686" y="1563"/>
                    <a:pt x="1686" y="1563"/>
                  </a:cubicBezTo>
                  <a:cubicBezTo>
                    <a:pt x="1704" y="1563"/>
                    <a:pt x="1704" y="1563"/>
                    <a:pt x="1704" y="1563"/>
                  </a:cubicBezTo>
                  <a:cubicBezTo>
                    <a:pt x="1708" y="1567"/>
                    <a:pt x="1708" y="1567"/>
                    <a:pt x="1708" y="1567"/>
                  </a:cubicBezTo>
                  <a:cubicBezTo>
                    <a:pt x="1708" y="1567"/>
                    <a:pt x="1728" y="1568"/>
                    <a:pt x="1733" y="1573"/>
                  </a:cubicBezTo>
                  <a:cubicBezTo>
                    <a:pt x="1738" y="1578"/>
                    <a:pt x="1727" y="1604"/>
                    <a:pt x="1727" y="1604"/>
                  </a:cubicBezTo>
                  <a:cubicBezTo>
                    <a:pt x="1733" y="1611"/>
                    <a:pt x="1733" y="1611"/>
                    <a:pt x="1733" y="1611"/>
                  </a:cubicBezTo>
                  <a:cubicBezTo>
                    <a:pt x="1727" y="1626"/>
                    <a:pt x="1727" y="1626"/>
                    <a:pt x="1727" y="1626"/>
                  </a:cubicBezTo>
                  <a:cubicBezTo>
                    <a:pt x="1727" y="1626"/>
                    <a:pt x="1766" y="1603"/>
                    <a:pt x="1777" y="1610"/>
                  </a:cubicBezTo>
                  <a:cubicBezTo>
                    <a:pt x="1788" y="1617"/>
                    <a:pt x="1760" y="1627"/>
                    <a:pt x="1759" y="1631"/>
                  </a:cubicBezTo>
                  <a:cubicBezTo>
                    <a:pt x="1758" y="1635"/>
                    <a:pt x="1773" y="1638"/>
                    <a:pt x="1773" y="1643"/>
                  </a:cubicBezTo>
                  <a:cubicBezTo>
                    <a:pt x="1773" y="1648"/>
                    <a:pt x="1757" y="1654"/>
                    <a:pt x="1757" y="1659"/>
                  </a:cubicBezTo>
                  <a:cubicBezTo>
                    <a:pt x="1757" y="1664"/>
                    <a:pt x="1770" y="1664"/>
                    <a:pt x="1767" y="1671"/>
                  </a:cubicBezTo>
                  <a:cubicBezTo>
                    <a:pt x="1764" y="1678"/>
                    <a:pt x="1758" y="1679"/>
                    <a:pt x="1758" y="1679"/>
                  </a:cubicBezTo>
                  <a:cubicBezTo>
                    <a:pt x="1756" y="1685"/>
                    <a:pt x="1756" y="1685"/>
                    <a:pt x="1756" y="1685"/>
                  </a:cubicBezTo>
                  <a:cubicBezTo>
                    <a:pt x="1769" y="1685"/>
                    <a:pt x="1769" y="1685"/>
                    <a:pt x="1769" y="1685"/>
                  </a:cubicBezTo>
                  <a:cubicBezTo>
                    <a:pt x="1765" y="1700"/>
                    <a:pt x="1765" y="1700"/>
                    <a:pt x="1765" y="1700"/>
                  </a:cubicBezTo>
                  <a:cubicBezTo>
                    <a:pt x="1771" y="1700"/>
                    <a:pt x="1778" y="1701"/>
                    <a:pt x="1781" y="1701"/>
                  </a:cubicBezTo>
                  <a:cubicBezTo>
                    <a:pt x="1786" y="1700"/>
                    <a:pt x="1794" y="1703"/>
                    <a:pt x="1806" y="1704"/>
                  </a:cubicBezTo>
                  <a:cubicBezTo>
                    <a:pt x="1818" y="1705"/>
                    <a:pt x="1825" y="1703"/>
                    <a:pt x="1825" y="1703"/>
                  </a:cubicBezTo>
                  <a:cubicBezTo>
                    <a:pt x="1837" y="1703"/>
                    <a:pt x="1852" y="1715"/>
                    <a:pt x="1863" y="1715"/>
                  </a:cubicBezTo>
                  <a:cubicBezTo>
                    <a:pt x="1874" y="1715"/>
                    <a:pt x="1884" y="1715"/>
                    <a:pt x="1884" y="1715"/>
                  </a:cubicBezTo>
                  <a:cubicBezTo>
                    <a:pt x="1906" y="1715"/>
                    <a:pt x="1904" y="1729"/>
                    <a:pt x="1904" y="1738"/>
                  </a:cubicBezTo>
                  <a:cubicBezTo>
                    <a:pt x="1904" y="1747"/>
                    <a:pt x="1914" y="1736"/>
                    <a:pt x="1914" y="1746"/>
                  </a:cubicBezTo>
                  <a:cubicBezTo>
                    <a:pt x="1914" y="1756"/>
                    <a:pt x="1910" y="1759"/>
                    <a:pt x="1905" y="1764"/>
                  </a:cubicBezTo>
                  <a:cubicBezTo>
                    <a:pt x="1900" y="1769"/>
                    <a:pt x="1918" y="1777"/>
                    <a:pt x="1918" y="1777"/>
                  </a:cubicBezTo>
                  <a:cubicBezTo>
                    <a:pt x="1903" y="1776"/>
                    <a:pt x="1903" y="1776"/>
                    <a:pt x="1903" y="1776"/>
                  </a:cubicBezTo>
                  <a:cubicBezTo>
                    <a:pt x="1903" y="1776"/>
                    <a:pt x="1903" y="1785"/>
                    <a:pt x="1896" y="1793"/>
                  </a:cubicBezTo>
                  <a:cubicBezTo>
                    <a:pt x="1888" y="1800"/>
                    <a:pt x="1887" y="1793"/>
                    <a:pt x="1868" y="1783"/>
                  </a:cubicBezTo>
                  <a:cubicBezTo>
                    <a:pt x="1849" y="1773"/>
                    <a:pt x="1855" y="1754"/>
                    <a:pt x="1855" y="1754"/>
                  </a:cubicBezTo>
                  <a:cubicBezTo>
                    <a:pt x="1844" y="1749"/>
                    <a:pt x="1844" y="1749"/>
                    <a:pt x="1844" y="1749"/>
                  </a:cubicBezTo>
                  <a:cubicBezTo>
                    <a:pt x="1846" y="1761"/>
                    <a:pt x="1846" y="1761"/>
                    <a:pt x="1846" y="1761"/>
                  </a:cubicBezTo>
                  <a:cubicBezTo>
                    <a:pt x="1846" y="1761"/>
                    <a:pt x="1854" y="1774"/>
                    <a:pt x="1846" y="1788"/>
                  </a:cubicBezTo>
                  <a:cubicBezTo>
                    <a:pt x="1838" y="1802"/>
                    <a:pt x="1820" y="1806"/>
                    <a:pt x="1812" y="1819"/>
                  </a:cubicBezTo>
                  <a:cubicBezTo>
                    <a:pt x="1804" y="1832"/>
                    <a:pt x="1801" y="1844"/>
                    <a:pt x="1793" y="1853"/>
                  </a:cubicBezTo>
                  <a:cubicBezTo>
                    <a:pt x="1785" y="1861"/>
                    <a:pt x="1769" y="1868"/>
                    <a:pt x="1762" y="1864"/>
                  </a:cubicBezTo>
                  <a:cubicBezTo>
                    <a:pt x="1758" y="1869"/>
                    <a:pt x="1755" y="1873"/>
                    <a:pt x="1755" y="1873"/>
                  </a:cubicBezTo>
                  <a:cubicBezTo>
                    <a:pt x="1755" y="1873"/>
                    <a:pt x="1757" y="1894"/>
                    <a:pt x="1749" y="1894"/>
                  </a:cubicBezTo>
                  <a:cubicBezTo>
                    <a:pt x="1741" y="1894"/>
                    <a:pt x="1696" y="1916"/>
                    <a:pt x="1706" y="1926"/>
                  </a:cubicBezTo>
                  <a:cubicBezTo>
                    <a:pt x="1707" y="1926"/>
                    <a:pt x="1707" y="1927"/>
                    <a:pt x="1708" y="1928"/>
                  </a:cubicBezTo>
                  <a:cubicBezTo>
                    <a:pt x="1716" y="1924"/>
                    <a:pt x="1723" y="1921"/>
                    <a:pt x="1724" y="1921"/>
                  </a:cubicBezTo>
                  <a:cubicBezTo>
                    <a:pt x="1727" y="1921"/>
                    <a:pt x="1731" y="1926"/>
                    <a:pt x="1731" y="1926"/>
                  </a:cubicBezTo>
                  <a:cubicBezTo>
                    <a:pt x="1731" y="1926"/>
                    <a:pt x="1746" y="1912"/>
                    <a:pt x="1754" y="1910"/>
                  </a:cubicBezTo>
                  <a:cubicBezTo>
                    <a:pt x="1762" y="1908"/>
                    <a:pt x="1770" y="1911"/>
                    <a:pt x="1770" y="1911"/>
                  </a:cubicBezTo>
                  <a:cubicBezTo>
                    <a:pt x="1770" y="1911"/>
                    <a:pt x="1775" y="1890"/>
                    <a:pt x="1800" y="1889"/>
                  </a:cubicBezTo>
                  <a:cubicBezTo>
                    <a:pt x="1825" y="1888"/>
                    <a:pt x="1842" y="1895"/>
                    <a:pt x="1842" y="1895"/>
                  </a:cubicBezTo>
                  <a:cubicBezTo>
                    <a:pt x="1858" y="1881"/>
                    <a:pt x="1858" y="1881"/>
                    <a:pt x="1858" y="1881"/>
                  </a:cubicBezTo>
                  <a:cubicBezTo>
                    <a:pt x="1900" y="1883"/>
                    <a:pt x="1900" y="1883"/>
                    <a:pt x="1900" y="1883"/>
                  </a:cubicBezTo>
                  <a:cubicBezTo>
                    <a:pt x="1903" y="1880"/>
                    <a:pt x="1905" y="1878"/>
                    <a:pt x="1906" y="1876"/>
                  </a:cubicBezTo>
                  <a:cubicBezTo>
                    <a:pt x="1908" y="1870"/>
                    <a:pt x="1908" y="1866"/>
                    <a:pt x="1907" y="1862"/>
                  </a:cubicBezTo>
                  <a:cubicBezTo>
                    <a:pt x="1889" y="1866"/>
                    <a:pt x="1883" y="1865"/>
                    <a:pt x="1882" y="1858"/>
                  </a:cubicBezTo>
                  <a:cubicBezTo>
                    <a:pt x="1881" y="1848"/>
                    <a:pt x="1915" y="1826"/>
                    <a:pt x="1928" y="1826"/>
                  </a:cubicBezTo>
                  <a:cubicBezTo>
                    <a:pt x="1941" y="1826"/>
                    <a:pt x="1960" y="1821"/>
                    <a:pt x="1964" y="1821"/>
                  </a:cubicBezTo>
                  <a:cubicBezTo>
                    <a:pt x="1968" y="1821"/>
                    <a:pt x="1985" y="1815"/>
                    <a:pt x="1985" y="1815"/>
                  </a:cubicBezTo>
                  <a:cubicBezTo>
                    <a:pt x="1985" y="1815"/>
                    <a:pt x="2012" y="1825"/>
                    <a:pt x="2016" y="1825"/>
                  </a:cubicBezTo>
                  <a:cubicBezTo>
                    <a:pt x="2020" y="1825"/>
                    <a:pt x="2020" y="1809"/>
                    <a:pt x="2020" y="1809"/>
                  </a:cubicBezTo>
                  <a:cubicBezTo>
                    <a:pt x="2020" y="1809"/>
                    <a:pt x="2027" y="1800"/>
                    <a:pt x="2037" y="1803"/>
                  </a:cubicBezTo>
                  <a:cubicBezTo>
                    <a:pt x="2040" y="1804"/>
                    <a:pt x="2042" y="1805"/>
                    <a:pt x="2043" y="1806"/>
                  </a:cubicBezTo>
                  <a:cubicBezTo>
                    <a:pt x="2045" y="1805"/>
                    <a:pt x="2047" y="1804"/>
                    <a:pt x="2048" y="1804"/>
                  </a:cubicBezTo>
                  <a:cubicBezTo>
                    <a:pt x="2054" y="1804"/>
                    <a:pt x="2056" y="1802"/>
                    <a:pt x="2064" y="1802"/>
                  </a:cubicBezTo>
                  <a:cubicBezTo>
                    <a:pt x="2072" y="1802"/>
                    <a:pt x="2106" y="1764"/>
                    <a:pt x="2123" y="1764"/>
                  </a:cubicBezTo>
                  <a:cubicBezTo>
                    <a:pt x="2140" y="1764"/>
                    <a:pt x="2271" y="1764"/>
                    <a:pt x="2271" y="1764"/>
                  </a:cubicBezTo>
                  <a:cubicBezTo>
                    <a:pt x="2271" y="1764"/>
                    <a:pt x="2271" y="1749"/>
                    <a:pt x="2283" y="1749"/>
                  </a:cubicBezTo>
                  <a:cubicBezTo>
                    <a:pt x="2295" y="1749"/>
                    <a:pt x="2303" y="1748"/>
                    <a:pt x="2303" y="1748"/>
                  </a:cubicBezTo>
                  <a:cubicBezTo>
                    <a:pt x="2303" y="1748"/>
                    <a:pt x="2314" y="1727"/>
                    <a:pt x="2323" y="1727"/>
                  </a:cubicBezTo>
                  <a:cubicBezTo>
                    <a:pt x="2333" y="1727"/>
                    <a:pt x="2340" y="1734"/>
                    <a:pt x="2340" y="1727"/>
                  </a:cubicBezTo>
                  <a:cubicBezTo>
                    <a:pt x="2340" y="1720"/>
                    <a:pt x="2343" y="1698"/>
                    <a:pt x="2349" y="1698"/>
                  </a:cubicBezTo>
                  <a:cubicBezTo>
                    <a:pt x="2355" y="1698"/>
                    <a:pt x="2363" y="1690"/>
                    <a:pt x="2363" y="1690"/>
                  </a:cubicBezTo>
                  <a:cubicBezTo>
                    <a:pt x="2363" y="1676"/>
                    <a:pt x="2363" y="1676"/>
                    <a:pt x="2363" y="1676"/>
                  </a:cubicBezTo>
                  <a:cubicBezTo>
                    <a:pt x="2390" y="1657"/>
                    <a:pt x="2390" y="1657"/>
                    <a:pt x="2390" y="1657"/>
                  </a:cubicBezTo>
                  <a:cubicBezTo>
                    <a:pt x="2390" y="1657"/>
                    <a:pt x="2401" y="1636"/>
                    <a:pt x="2414" y="1636"/>
                  </a:cubicBezTo>
                  <a:cubicBezTo>
                    <a:pt x="2427" y="1636"/>
                    <a:pt x="2418" y="1645"/>
                    <a:pt x="2430" y="1645"/>
                  </a:cubicBezTo>
                  <a:cubicBezTo>
                    <a:pt x="2442" y="1645"/>
                    <a:pt x="2469" y="1634"/>
                    <a:pt x="2469" y="1651"/>
                  </a:cubicBezTo>
                  <a:cubicBezTo>
                    <a:pt x="2469" y="1668"/>
                    <a:pt x="2439" y="1725"/>
                    <a:pt x="2442" y="1728"/>
                  </a:cubicBezTo>
                  <a:cubicBezTo>
                    <a:pt x="2445" y="1731"/>
                    <a:pt x="2453" y="1735"/>
                    <a:pt x="2453" y="1735"/>
                  </a:cubicBezTo>
                  <a:cubicBezTo>
                    <a:pt x="2453" y="1735"/>
                    <a:pt x="2439" y="1748"/>
                    <a:pt x="2444" y="1753"/>
                  </a:cubicBezTo>
                  <a:cubicBezTo>
                    <a:pt x="2449" y="1758"/>
                    <a:pt x="2457" y="1755"/>
                    <a:pt x="2457" y="1755"/>
                  </a:cubicBezTo>
                  <a:cubicBezTo>
                    <a:pt x="2458" y="1759"/>
                    <a:pt x="2458" y="1759"/>
                    <a:pt x="2458" y="1759"/>
                  </a:cubicBezTo>
                  <a:cubicBezTo>
                    <a:pt x="2462" y="1761"/>
                    <a:pt x="2472" y="1765"/>
                    <a:pt x="2484" y="1760"/>
                  </a:cubicBezTo>
                  <a:cubicBezTo>
                    <a:pt x="2499" y="1754"/>
                    <a:pt x="2511" y="1738"/>
                    <a:pt x="2511" y="1738"/>
                  </a:cubicBezTo>
                  <a:cubicBezTo>
                    <a:pt x="2517" y="1752"/>
                    <a:pt x="2517" y="1752"/>
                    <a:pt x="2517" y="1752"/>
                  </a:cubicBezTo>
                  <a:cubicBezTo>
                    <a:pt x="2517" y="1752"/>
                    <a:pt x="2549" y="1738"/>
                    <a:pt x="2554" y="1734"/>
                  </a:cubicBezTo>
                  <a:cubicBezTo>
                    <a:pt x="2559" y="1730"/>
                    <a:pt x="2580" y="1724"/>
                    <a:pt x="2580" y="1724"/>
                  </a:cubicBezTo>
                  <a:cubicBezTo>
                    <a:pt x="2590" y="1725"/>
                    <a:pt x="2590" y="1725"/>
                    <a:pt x="2590" y="1725"/>
                  </a:cubicBezTo>
                  <a:cubicBezTo>
                    <a:pt x="2561" y="1748"/>
                    <a:pt x="2561" y="1748"/>
                    <a:pt x="2561" y="1748"/>
                  </a:cubicBezTo>
                  <a:cubicBezTo>
                    <a:pt x="2622" y="1742"/>
                    <a:pt x="2622" y="1742"/>
                    <a:pt x="2622" y="1742"/>
                  </a:cubicBezTo>
                  <a:cubicBezTo>
                    <a:pt x="2622" y="1742"/>
                    <a:pt x="2593" y="1745"/>
                    <a:pt x="2592" y="1751"/>
                  </a:cubicBezTo>
                  <a:cubicBezTo>
                    <a:pt x="2591" y="1757"/>
                    <a:pt x="2587" y="1764"/>
                    <a:pt x="2587" y="1764"/>
                  </a:cubicBezTo>
                  <a:cubicBezTo>
                    <a:pt x="2587" y="1764"/>
                    <a:pt x="2568" y="1753"/>
                    <a:pt x="2561" y="1756"/>
                  </a:cubicBezTo>
                  <a:cubicBezTo>
                    <a:pt x="2554" y="1759"/>
                    <a:pt x="2486" y="1793"/>
                    <a:pt x="2483" y="1801"/>
                  </a:cubicBezTo>
                  <a:cubicBezTo>
                    <a:pt x="2480" y="1809"/>
                    <a:pt x="2474" y="1833"/>
                    <a:pt x="2479" y="1834"/>
                  </a:cubicBezTo>
                  <a:cubicBezTo>
                    <a:pt x="2484" y="1835"/>
                    <a:pt x="2491" y="1829"/>
                    <a:pt x="2491" y="1829"/>
                  </a:cubicBezTo>
                  <a:cubicBezTo>
                    <a:pt x="2491" y="1829"/>
                    <a:pt x="2489" y="1845"/>
                    <a:pt x="2498" y="1843"/>
                  </a:cubicBezTo>
                  <a:cubicBezTo>
                    <a:pt x="2507" y="1841"/>
                    <a:pt x="2513" y="1828"/>
                    <a:pt x="2513" y="1828"/>
                  </a:cubicBezTo>
                  <a:cubicBezTo>
                    <a:pt x="2513" y="1828"/>
                    <a:pt x="2539" y="1825"/>
                    <a:pt x="2553" y="1813"/>
                  </a:cubicBezTo>
                  <a:cubicBezTo>
                    <a:pt x="2567" y="1801"/>
                    <a:pt x="2582" y="1780"/>
                    <a:pt x="2582" y="1780"/>
                  </a:cubicBezTo>
                  <a:cubicBezTo>
                    <a:pt x="2582" y="1780"/>
                    <a:pt x="2582" y="1796"/>
                    <a:pt x="2596" y="1793"/>
                  </a:cubicBezTo>
                  <a:cubicBezTo>
                    <a:pt x="2610" y="1790"/>
                    <a:pt x="2644" y="1775"/>
                    <a:pt x="2655" y="1772"/>
                  </a:cubicBezTo>
                  <a:cubicBezTo>
                    <a:pt x="2666" y="1769"/>
                    <a:pt x="2718" y="1756"/>
                    <a:pt x="2718" y="1756"/>
                  </a:cubicBezTo>
                  <a:cubicBezTo>
                    <a:pt x="2709" y="1746"/>
                    <a:pt x="2709" y="1746"/>
                    <a:pt x="2709" y="1746"/>
                  </a:cubicBezTo>
                  <a:cubicBezTo>
                    <a:pt x="2713" y="1733"/>
                    <a:pt x="2713" y="1733"/>
                    <a:pt x="2713" y="1733"/>
                  </a:cubicBezTo>
                  <a:cubicBezTo>
                    <a:pt x="2692" y="1737"/>
                    <a:pt x="2692" y="1737"/>
                    <a:pt x="2692" y="1737"/>
                  </a:cubicBezTo>
                  <a:cubicBezTo>
                    <a:pt x="2691" y="1721"/>
                    <a:pt x="2691" y="1721"/>
                    <a:pt x="2691" y="1721"/>
                  </a:cubicBezTo>
                  <a:cubicBezTo>
                    <a:pt x="2691" y="1721"/>
                    <a:pt x="2667" y="1735"/>
                    <a:pt x="2661" y="1734"/>
                  </a:cubicBezTo>
                  <a:cubicBezTo>
                    <a:pt x="2655" y="1733"/>
                    <a:pt x="2657" y="1724"/>
                    <a:pt x="2657" y="1724"/>
                  </a:cubicBezTo>
                  <a:cubicBezTo>
                    <a:pt x="2657" y="1724"/>
                    <a:pt x="2625" y="1727"/>
                    <a:pt x="2619" y="1722"/>
                  </a:cubicBezTo>
                  <a:cubicBezTo>
                    <a:pt x="2613" y="1717"/>
                    <a:pt x="2605" y="1707"/>
                    <a:pt x="2614" y="1707"/>
                  </a:cubicBezTo>
                  <a:cubicBezTo>
                    <a:pt x="2623" y="1707"/>
                    <a:pt x="2610" y="1694"/>
                    <a:pt x="2599" y="1697"/>
                  </a:cubicBezTo>
                  <a:cubicBezTo>
                    <a:pt x="2588" y="1700"/>
                    <a:pt x="2584" y="1681"/>
                    <a:pt x="2584" y="1676"/>
                  </a:cubicBezTo>
                  <a:cubicBezTo>
                    <a:pt x="2584" y="1671"/>
                    <a:pt x="2596" y="1658"/>
                    <a:pt x="2596" y="1658"/>
                  </a:cubicBezTo>
                  <a:cubicBezTo>
                    <a:pt x="2580" y="1657"/>
                    <a:pt x="2580" y="1657"/>
                    <a:pt x="2580" y="1657"/>
                  </a:cubicBezTo>
                  <a:cubicBezTo>
                    <a:pt x="2580" y="1657"/>
                    <a:pt x="2599" y="1642"/>
                    <a:pt x="2606" y="1634"/>
                  </a:cubicBezTo>
                  <a:cubicBezTo>
                    <a:pt x="2613" y="1626"/>
                    <a:pt x="2632" y="1607"/>
                    <a:pt x="2632" y="1607"/>
                  </a:cubicBezTo>
                  <a:cubicBezTo>
                    <a:pt x="2622" y="1604"/>
                    <a:pt x="2622" y="1604"/>
                    <a:pt x="2622" y="1604"/>
                  </a:cubicBezTo>
                  <a:cubicBezTo>
                    <a:pt x="2608" y="1622"/>
                    <a:pt x="2608" y="1622"/>
                    <a:pt x="2608" y="1622"/>
                  </a:cubicBezTo>
                  <a:cubicBezTo>
                    <a:pt x="2593" y="1614"/>
                    <a:pt x="2593" y="1614"/>
                    <a:pt x="2593" y="1614"/>
                  </a:cubicBezTo>
                  <a:cubicBezTo>
                    <a:pt x="2574" y="1628"/>
                    <a:pt x="2574" y="1628"/>
                    <a:pt x="2574" y="1628"/>
                  </a:cubicBezTo>
                  <a:cubicBezTo>
                    <a:pt x="2571" y="1615"/>
                    <a:pt x="2571" y="1615"/>
                    <a:pt x="2571" y="1615"/>
                  </a:cubicBezTo>
                  <a:cubicBezTo>
                    <a:pt x="2552" y="1608"/>
                    <a:pt x="2552" y="1608"/>
                    <a:pt x="2552" y="1608"/>
                  </a:cubicBezTo>
                  <a:cubicBezTo>
                    <a:pt x="2537" y="1610"/>
                    <a:pt x="2537" y="1610"/>
                    <a:pt x="2537" y="1610"/>
                  </a:cubicBezTo>
                  <a:cubicBezTo>
                    <a:pt x="2574" y="1597"/>
                    <a:pt x="2574" y="1597"/>
                    <a:pt x="2574" y="1597"/>
                  </a:cubicBezTo>
                  <a:cubicBezTo>
                    <a:pt x="2574" y="1597"/>
                    <a:pt x="2581" y="1607"/>
                    <a:pt x="2591" y="1606"/>
                  </a:cubicBezTo>
                  <a:cubicBezTo>
                    <a:pt x="2601" y="1605"/>
                    <a:pt x="2624" y="1587"/>
                    <a:pt x="2624" y="1587"/>
                  </a:cubicBezTo>
                  <a:cubicBezTo>
                    <a:pt x="2624" y="1587"/>
                    <a:pt x="2650" y="1592"/>
                    <a:pt x="2651" y="1585"/>
                  </a:cubicBezTo>
                  <a:cubicBezTo>
                    <a:pt x="2652" y="1578"/>
                    <a:pt x="2644" y="1567"/>
                    <a:pt x="2644" y="1567"/>
                  </a:cubicBezTo>
                  <a:cubicBezTo>
                    <a:pt x="2660" y="1566"/>
                    <a:pt x="2660" y="1566"/>
                    <a:pt x="2660" y="1566"/>
                  </a:cubicBezTo>
                  <a:cubicBezTo>
                    <a:pt x="2660" y="1566"/>
                    <a:pt x="2651" y="1543"/>
                    <a:pt x="2609" y="1543"/>
                  </a:cubicBezTo>
                  <a:cubicBezTo>
                    <a:pt x="2567" y="1543"/>
                    <a:pt x="2517" y="1564"/>
                    <a:pt x="2494" y="1569"/>
                  </a:cubicBezTo>
                  <a:cubicBezTo>
                    <a:pt x="2471" y="1574"/>
                    <a:pt x="2434" y="1597"/>
                    <a:pt x="2427" y="1603"/>
                  </a:cubicBezTo>
                  <a:cubicBezTo>
                    <a:pt x="2420" y="1609"/>
                    <a:pt x="2378" y="1642"/>
                    <a:pt x="2368" y="1650"/>
                  </a:cubicBezTo>
                  <a:cubicBezTo>
                    <a:pt x="2358" y="1658"/>
                    <a:pt x="2322" y="1663"/>
                    <a:pt x="2322" y="1663"/>
                  </a:cubicBezTo>
                  <a:cubicBezTo>
                    <a:pt x="2322" y="1663"/>
                    <a:pt x="2372" y="1635"/>
                    <a:pt x="2381" y="1626"/>
                  </a:cubicBezTo>
                  <a:cubicBezTo>
                    <a:pt x="2390" y="1617"/>
                    <a:pt x="2403" y="1603"/>
                    <a:pt x="2403" y="1603"/>
                  </a:cubicBezTo>
                  <a:cubicBezTo>
                    <a:pt x="2388" y="1594"/>
                    <a:pt x="2388" y="1594"/>
                    <a:pt x="2388" y="1594"/>
                  </a:cubicBezTo>
                  <a:cubicBezTo>
                    <a:pt x="2388" y="1594"/>
                    <a:pt x="2409" y="1602"/>
                    <a:pt x="2414" y="1597"/>
                  </a:cubicBezTo>
                  <a:cubicBezTo>
                    <a:pt x="2419" y="1592"/>
                    <a:pt x="2469" y="1559"/>
                    <a:pt x="2481" y="1550"/>
                  </a:cubicBezTo>
                  <a:cubicBezTo>
                    <a:pt x="2493" y="1541"/>
                    <a:pt x="2531" y="1535"/>
                    <a:pt x="2535" y="1537"/>
                  </a:cubicBezTo>
                  <a:cubicBezTo>
                    <a:pt x="2539" y="1539"/>
                    <a:pt x="2561" y="1501"/>
                    <a:pt x="2591" y="1496"/>
                  </a:cubicBezTo>
                  <a:cubicBezTo>
                    <a:pt x="2621" y="1491"/>
                    <a:pt x="2697" y="1487"/>
                    <a:pt x="2713" y="1487"/>
                  </a:cubicBezTo>
                  <a:cubicBezTo>
                    <a:pt x="2729" y="1487"/>
                    <a:pt x="2788" y="1504"/>
                    <a:pt x="2798" y="1502"/>
                  </a:cubicBezTo>
                  <a:cubicBezTo>
                    <a:pt x="2808" y="1500"/>
                    <a:pt x="2829" y="1489"/>
                    <a:pt x="2839" y="1488"/>
                  </a:cubicBezTo>
                  <a:cubicBezTo>
                    <a:pt x="2849" y="1487"/>
                    <a:pt x="2880" y="1482"/>
                    <a:pt x="2892" y="1473"/>
                  </a:cubicBezTo>
                  <a:cubicBezTo>
                    <a:pt x="2904" y="1464"/>
                    <a:pt x="2930" y="1439"/>
                    <a:pt x="2940" y="1437"/>
                  </a:cubicBezTo>
                  <a:cubicBezTo>
                    <a:pt x="2950" y="1435"/>
                    <a:pt x="2967" y="1436"/>
                    <a:pt x="2967" y="1436"/>
                  </a:cubicBezTo>
                  <a:cubicBezTo>
                    <a:pt x="2967" y="1436"/>
                    <a:pt x="2980" y="1424"/>
                    <a:pt x="2990" y="1424"/>
                  </a:cubicBezTo>
                  <a:cubicBezTo>
                    <a:pt x="3000" y="1424"/>
                    <a:pt x="3001" y="1429"/>
                    <a:pt x="3018" y="1421"/>
                  </a:cubicBezTo>
                  <a:cubicBezTo>
                    <a:pt x="3018" y="1421"/>
                    <a:pt x="3083" y="1404"/>
                    <a:pt x="3077" y="1394"/>
                  </a:cubicBezTo>
                  <a:cubicBezTo>
                    <a:pt x="3071" y="1384"/>
                    <a:pt x="3052" y="1371"/>
                    <a:pt x="3052" y="1371"/>
                  </a:cubicBezTo>
                  <a:cubicBezTo>
                    <a:pt x="3052" y="1371"/>
                    <a:pt x="3076" y="1373"/>
                    <a:pt x="3076" y="1364"/>
                  </a:cubicBezTo>
                  <a:cubicBezTo>
                    <a:pt x="3076" y="1355"/>
                    <a:pt x="3072" y="1343"/>
                    <a:pt x="3072" y="1343"/>
                  </a:cubicBezTo>
                  <a:cubicBezTo>
                    <a:pt x="3072" y="1343"/>
                    <a:pt x="3100" y="1347"/>
                    <a:pt x="3094" y="1331"/>
                  </a:cubicBezTo>
                  <a:cubicBezTo>
                    <a:pt x="3088" y="1315"/>
                    <a:pt x="3065" y="1304"/>
                    <a:pt x="3058" y="1312"/>
                  </a:cubicBezTo>
                  <a:close/>
                  <a:moveTo>
                    <a:pt x="969" y="735"/>
                  </a:moveTo>
                  <a:cubicBezTo>
                    <a:pt x="976" y="730"/>
                    <a:pt x="1004" y="720"/>
                    <a:pt x="1004" y="720"/>
                  </a:cubicBezTo>
                  <a:cubicBezTo>
                    <a:pt x="1004" y="720"/>
                    <a:pt x="999" y="712"/>
                    <a:pt x="1005" y="709"/>
                  </a:cubicBezTo>
                  <a:cubicBezTo>
                    <a:pt x="1011" y="706"/>
                    <a:pt x="1029" y="715"/>
                    <a:pt x="1051" y="709"/>
                  </a:cubicBezTo>
                  <a:cubicBezTo>
                    <a:pt x="1073" y="703"/>
                    <a:pt x="1053" y="691"/>
                    <a:pt x="1034" y="691"/>
                  </a:cubicBezTo>
                  <a:cubicBezTo>
                    <a:pt x="1015" y="691"/>
                    <a:pt x="1010" y="698"/>
                    <a:pt x="999" y="703"/>
                  </a:cubicBezTo>
                  <a:cubicBezTo>
                    <a:pt x="988" y="708"/>
                    <a:pt x="989" y="698"/>
                    <a:pt x="989" y="698"/>
                  </a:cubicBezTo>
                  <a:cubicBezTo>
                    <a:pt x="977" y="703"/>
                    <a:pt x="977" y="703"/>
                    <a:pt x="977" y="703"/>
                  </a:cubicBezTo>
                  <a:cubicBezTo>
                    <a:pt x="954" y="700"/>
                    <a:pt x="954" y="700"/>
                    <a:pt x="954" y="700"/>
                  </a:cubicBezTo>
                  <a:cubicBezTo>
                    <a:pt x="954" y="700"/>
                    <a:pt x="933" y="710"/>
                    <a:pt x="924" y="707"/>
                  </a:cubicBezTo>
                  <a:cubicBezTo>
                    <a:pt x="915" y="704"/>
                    <a:pt x="950" y="694"/>
                    <a:pt x="960" y="689"/>
                  </a:cubicBezTo>
                  <a:cubicBezTo>
                    <a:pt x="970" y="684"/>
                    <a:pt x="979" y="690"/>
                    <a:pt x="992" y="690"/>
                  </a:cubicBezTo>
                  <a:cubicBezTo>
                    <a:pt x="1005" y="690"/>
                    <a:pt x="1001" y="681"/>
                    <a:pt x="1001" y="681"/>
                  </a:cubicBezTo>
                  <a:cubicBezTo>
                    <a:pt x="1071" y="676"/>
                    <a:pt x="1071" y="676"/>
                    <a:pt x="1071" y="676"/>
                  </a:cubicBezTo>
                  <a:cubicBezTo>
                    <a:pt x="1071" y="676"/>
                    <a:pt x="1106" y="666"/>
                    <a:pt x="1119" y="664"/>
                  </a:cubicBezTo>
                  <a:cubicBezTo>
                    <a:pt x="1132" y="662"/>
                    <a:pt x="1140" y="669"/>
                    <a:pt x="1140" y="669"/>
                  </a:cubicBezTo>
                  <a:cubicBezTo>
                    <a:pt x="1140" y="669"/>
                    <a:pt x="1143" y="663"/>
                    <a:pt x="1150" y="660"/>
                  </a:cubicBezTo>
                  <a:cubicBezTo>
                    <a:pt x="1157" y="657"/>
                    <a:pt x="1179" y="667"/>
                    <a:pt x="1179" y="667"/>
                  </a:cubicBezTo>
                  <a:cubicBezTo>
                    <a:pt x="1179" y="667"/>
                    <a:pt x="1157" y="673"/>
                    <a:pt x="1149" y="677"/>
                  </a:cubicBezTo>
                  <a:cubicBezTo>
                    <a:pt x="1141" y="681"/>
                    <a:pt x="1107" y="683"/>
                    <a:pt x="1107" y="683"/>
                  </a:cubicBezTo>
                  <a:cubicBezTo>
                    <a:pt x="1105" y="691"/>
                    <a:pt x="1105" y="691"/>
                    <a:pt x="1105" y="691"/>
                  </a:cubicBezTo>
                  <a:cubicBezTo>
                    <a:pt x="1123" y="691"/>
                    <a:pt x="1123" y="691"/>
                    <a:pt x="1123" y="691"/>
                  </a:cubicBezTo>
                  <a:cubicBezTo>
                    <a:pt x="1123" y="691"/>
                    <a:pt x="1134" y="694"/>
                    <a:pt x="1138" y="694"/>
                  </a:cubicBezTo>
                  <a:cubicBezTo>
                    <a:pt x="1142" y="694"/>
                    <a:pt x="1168" y="691"/>
                    <a:pt x="1182" y="690"/>
                  </a:cubicBezTo>
                  <a:cubicBezTo>
                    <a:pt x="1196" y="689"/>
                    <a:pt x="1176" y="680"/>
                    <a:pt x="1176" y="680"/>
                  </a:cubicBezTo>
                  <a:cubicBezTo>
                    <a:pt x="1213" y="679"/>
                    <a:pt x="1213" y="679"/>
                    <a:pt x="1213" y="679"/>
                  </a:cubicBezTo>
                  <a:cubicBezTo>
                    <a:pt x="1213" y="679"/>
                    <a:pt x="1208" y="692"/>
                    <a:pt x="1189" y="698"/>
                  </a:cubicBezTo>
                  <a:cubicBezTo>
                    <a:pt x="1170" y="704"/>
                    <a:pt x="1158" y="711"/>
                    <a:pt x="1158" y="711"/>
                  </a:cubicBezTo>
                  <a:cubicBezTo>
                    <a:pt x="1158" y="711"/>
                    <a:pt x="1157" y="723"/>
                    <a:pt x="1149" y="725"/>
                  </a:cubicBezTo>
                  <a:cubicBezTo>
                    <a:pt x="1141" y="727"/>
                    <a:pt x="1119" y="716"/>
                    <a:pt x="1119" y="716"/>
                  </a:cubicBezTo>
                  <a:cubicBezTo>
                    <a:pt x="1114" y="723"/>
                    <a:pt x="1114" y="723"/>
                    <a:pt x="1114" y="723"/>
                  </a:cubicBezTo>
                  <a:cubicBezTo>
                    <a:pt x="1104" y="714"/>
                    <a:pt x="1104" y="714"/>
                    <a:pt x="1104" y="714"/>
                  </a:cubicBezTo>
                  <a:cubicBezTo>
                    <a:pt x="1094" y="724"/>
                    <a:pt x="1094" y="724"/>
                    <a:pt x="1094" y="724"/>
                  </a:cubicBezTo>
                  <a:cubicBezTo>
                    <a:pt x="1094" y="724"/>
                    <a:pt x="1086" y="718"/>
                    <a:pt x="1080" y="725"/>
                  </a:cubicBezTo>
                  <a:cubicBezTo>
                    <a:pt x="1074" y="732"/>
                    <a:pt x="1086" y="738"/>
                    <a:pt x="1086" y="738"/>
                  </a:cubicBezTo>
                  <a:cubicBezTo>
                    <a:pt x="1065" y="741"/>
                    <a:pt x="1065" y="741"/>
                    <a:pt x="1065" y="741"/>
                  </a:cubicBezTo>
                  <a:cubicBezTo>
                    <a:pt x="1065" y="741"/>
                    <a:pt x="1050" y="751"/>
                    <a:pt x="1047" y="751"/>
                  </a:cubicBezTo>
                  <a:cubicBezTo>
                    <a:pt x="1044" y="751"/>
                    <a:pt x="1001" y="764"/>
                    <a:pt x="990" y="760"/>
                  </a:cubicBezTo>
                  <a:cubicBezTo>
                    <a:pt x="979" y="756"/>
                    <a:pt x="1018" y="749"/>
                    <a:pt x="1033" y="746"/>
                  </a:cubicBezTo>
                  <a:cubicBezTo>
                    <a:pt x="1048" y="743"/>
                    <a:pt x="1070" y="726"/>
                    <a:pt x="1057" y="724"/>
                  </a:cubicBezTo>
                  <a:cubicBezTo>
                    <a:pt x="1044" y="722"/>
                    <a:pt x="992" y="751"/>
                    <a:pt x="979" y="753"/>
                  </a:cubicBezTo>
                  <a:cubicBezTo>
                    <a:pt x="966" y="755"/>
                    <a:pt x="940" y="751"/>
                    <a:pt x="931" y="746"/>
                  </a:cubicBezTo>
                  <a:cubicBezTo>
                    <a:pt x="922" y="741"/>
                    <a:pt x="962" y="740"/>
                    <a:pt x="969" y="735"/>
                  </a:cubicBezTo>
                  <a:close/>
                  <a:moveTo>
                    <a:pt x="1324" y="872"/>
                  </a:moveTo>
                  <a:cubicBezTo>
                    <a:pt x="1324" y="869"/>
                    <a:pt x="1312" y="855"/>
                    <a:pt x="1308" y="862"/>
                  </a:cubicBezTo>
                  <a:cubicBezTo>
                    <a:pt x="1304" y="869"/>
                    <a:pt x="1305" y="876"/>
                    <a:pt x="1305" y="876"/>
                  </a:cubicBezTo>
                  <a:cubicBezTo>
                    <a:pt x="1305" y="876"/>
                    <a:pt x="1291" y="868"/>
                    <a:pt x="1285" y="870"/>
                  </a:cubicBezTo>
                  <a:cubicBezTo>
                    <a:pt x="1279" y="872"/>
                    <a:pt x="1283" y="879"/>
                    <a:pt x="1283" y="879"/>
                  </a:cubicBezTo>
                  <a:cubicBezTo>
                    <a:pt x="1266" y="881"/>
                    <a:pt x="1266" y="881"/>
                    <a:pt x="1266" y="881"/>
                  </a:cubicBezTo>
                  <a:cubicBezTo>
                    <a:pt x="1266" y="881"/>
                    <a:pt x="1254" y="877"/>
                    <a:pt x="1239" y="887"/>
                  </a:cubicBezTo>
                  <a:cubicBezTo>
                    <a:pt x="1224" y="897"/>
                    <a:pt x="1195" y="916"/>
                    <a:pt x="1181" y="919"/>
                  </a:cubicBezTo>
                  <a:cubicBezTo>
                    <a:pt x="1167" y="922"/>
                    <a:pt x="1147" y="928"/>
                    <a:pt x="1147" y="928"/>
                  </a:cubicBezTo>
                  <a:cubicBezTo>
                    <a:pt x="1147" y="928"/>
                    <a:pt x="1116" y="920"/>
                    <a:pt x="1108" y="928"/>
                  </a:cubicBezTo>
                  <a:cubicBezTo>
                    <a:pt x="1100" y="936"/>
                    <a:pt x="1094" y="947"/>
                    <a:pt x="1094" y="947"/>
                  </a:cubicBezTo>
                  <a:cubicBezTo>
                    <a:pt x="1065" y="947"/>
                    <a:pt x="1065" y="947"/>
                    <a:pt x="1065" y="947"/>
                  </a:cubicBezTo>
                  <a:cubicBezTo>
                    <a:pt x="1059" y="953"/>
                    <a:pt x="1059" y="953"/>
                    <a:pt x="1059" y="953"/>
                  </a:cubicBezTo>
                  <a:cubicBezTo>
                    <a:pt x="1059" y="953"/>
                    <a:pt x="1045" y="950"/>
                    <a:pt x="1038" y="952"/>
                  </a:cubicBezTo>
                  <a:cubicBezTo>
                    <a:pt x="1031" y="954"/>
                    <a:pt x="1012" y="957"/>
                    <a:pt x="1005" y="956"/>
                  </a:cubicBezTo>
                  <a:cubicBezTo>
                    <a:pt x="998" y="955"/>
                    <a:pt x="987" y="947"/>
                    <a:pt x="984" y="948"/>
                  </a:cubicBezTo>
                  <a:cubicBezTo>
                    <a:pt x="981" y="949"/>
                    <a:pt x="963" y="946"/>
                    <a:pt x="963" y="942"/>
                  </a:cubicBezTo>
                  <a:cubicBezTo>
                    <a:pt x="963" y="938"/>
                    <a:pt x="985" y="939"/>
                    <a:pt x="985" y="939"/>
                  </a:cubicBezTo>
                  <a:cubicBezTo>
                    <a:pt x="985" y="939"/>
                    <a:pt x="994" y="929"/>
                    <a:pt x="997" y="929"/>
                  </a:cubicBezTo>
                  <a:cubicBezTo>
                    <a:pt x="1000" y="929"/>
                    <a:pt x="1008" y="937"/>
                    <a:pt x="1018" y="937"/>
                  </a:cubicBezTo>
                  <a:cubicBezTo>
                    <a:pt x="1028" y="937"/>
                    <a:pt x="1028" y="929"/>
                    <a:pt x="1028" y="929"/>
                  </a:cubicBezTo>
                  <a:cubicBezTo>
                    <a:pt x="1039" y="929"/>
                    <a:pt x="1039" y="929"/>
                    <a:pt x="1039" y="929"/>
                  </a:cubicBezTo>
                  <a:cubicBezTo>
                    <a:pt x="1039" y="929"/>
                    <a:pt x="1049" y="911"/>
                    <a:pt x="1059" y="910"/>
                  </a:cubicBezTo>
                  <a:cubicBezTo>
                    <a:pt x="1069" y="909"/>
                    <a:pt x="1072" y="918"/>
                    <a:pt x="1090" y="911"/>
                  </a:cubicBezTo>
                  <a:cubicBezTo>
                    <a:pt x="1108" y="904"/>
                    <a:pt x="1093" y="882"/>
                    <a:pt x="1093" y="882"/>
                  </a:cubicBezTo>
                  <a:cubicBezTo>
                    <a:pt x="1093" y="882"/>
                    <a:pt x="1071" y="868"/>
                    <a:pt x="1085" y="862"/>
                  </a:cubicBezTo>
                  <a:cubicBezTo>
                    <a:pt x="1091" y="859"/>
                    <a:pt x="1099" y="872"/>
                    <a:pt x="1099" y="872"/>
                  </a:cubicBezTo>
                  <a:cubicBezTo>
                    <a:pt x="1107" y="871"/>
                    <a:pt x="1107" y="871"/>
                    <a:pt x="1107" y="871"/>
                  </a:cubicBezTo>
                  <a:cubicBezTo>
                    <a:pt x="1119" y="882"/>
                    <a:pt x="1119" y="882"/>
                    <a:pt x="1119" y="882"/>
                  </a:cubicBezTo>
                  <a:cubicBezTo>
                    <a:pt x="1119" y="882"/>
                    <a:pt x="1133" y="881"/>
                    <a:pt x="1137" y="884"/>
                  </a:cubicBezTo>
                  <a:cubicBezTo>
                    <a:pt x="1141" y="887"/>
                    <a:pt x="1130" y="902"/>
                    <a:pt x="1153" y="901"/>
                  </a:cubicBezTo>
                  <a:cubicBezTo>
                    <a:pt x="1176" y="900"/>
                    <a:pt x="1176" y="895"/>
                    <a:pt x="1176" y="895"/>
                  </a:cubicBezTo>
                  <a:cubicBezTo>
                    <a:pt x="1187" y="896"/>
                    <a:pt x="1187" y="896"/>
                    <a:pt x="1187" y="896"/>
                  </a:cubicBezTo>
                  <a:cubicBezTo>
                    <a:pt x="1187" y="896"/>
                    <a:pt x="1227" y="880"/>
                    <a:pt x="1241" y="871"/>
                  </a:cubicBezTo>
                  <a:cubicBezTo>
                    <a:pt x="1255" y="862"/>
                    <a:pt x="1277" y="855"/>
                    <a:pt x="1295" y="854"/>
                  </a:cubicBezTo>
                  <a:cubicBezTo>
                    <a:pt x="1313" y="853"/>
                    <a:pt x="1351" y="857"/>
                    <a:pt x="1348" y="861"/>
                  </a:cubicBezTo>
                  <a:cubicBezTo>
                    <a:pt x="1345" y="865"/>
                    <a:pt x="1324" y="875"/>
                    <a:pt x="1324" y="872"/>
                  </a:cubicBezTo>
                  <a:close/>
                  <a:moveTo>
                    <a:pt x="1405" y="1355"/>
                  </a:moveTo>
                  <a:cubicBezTo>
                    <a:pt x="1405" y="1355"/>
                    <a:pt x="1402" y="1384"/>
                    <a:pt x="1403" y="1393"/>
                  </a:cubicBezTo>
                  <a:cubicBezTo>
                    <a:pt x="1404" y="1402"/>
                    <a:pt x="1399" y="1411"/>
                    <a:pt x="1396" y="1416"/>
                  </a:cubicBezTo>
                  <a:cubicBezTo>
                    <a:pt x="1393" y="1421"/>
                    <a:pt x="1400" y="1422"/>
                    <a:pt x="1403" y="1433"/>
                  </a:cubicBezTo>
                  <a:cubicBezTo>
                    <a:pt x="1406" y="1444"/>
                    <a:pt x="1382" y="1471"/>
                    <a:pt x="1382" y="1471"/>
                  </a:cubicBezTo>
                  <a:cubicBezTo>
                    <a:pt x="1368" y="1466"/>
                    <a:pt x="1368" y="1466"/>
                    <a:pt x="1368" y="1466"/>
                  </a:cubicBezTo>
                  <a:cubicBezTo>
                    <a:pt x="1368" y="1466"/>
                    <a:pt x="1365" y="1485"/>
                    <a:pt x="1348" y="1482"/>
                  </a:cubicBezTo>
                  <a:cubicBezTo>
                    <a:pt x="1331" y="1479"/>
                    <a:pt x="1387" y="1431"/>
                    <a:pt x="1387" y="1419"/>
                  </a:cubicBezTo>
                  <a:cubicBezTo>
                    <a:pt x="1387" y="1407"/>
                    <a:pt x="1366" y="1427"/>
                    <a:pt x="1366" y="1427"/>
                  </a:cubicBezTo>
                  <a:cubicBezTo>
                    <a:pt x="1379" y="1406"/>
                    <a:pt x="1379" y="1406"/>
                    <a:pt x="1379" y="1406"/>
                  </a:cubicBezTo>
                  <a:cubicBezTo>
                    <a:pt x="1379" y="1406"/>
                    <a:pt x="1383" y="1393"/>
                    <a:pt x="1372" y="1390"/>
                  </a:cubicBezTo>
                  <a:cubicBezTo>
                    <a:pt x="1361" y="1387"/>
                    <a:pt x="1367" y="1407"/>
                    <a:pt x="1354" y="1407"/>
                  </a:cubicBezTo>
                  <a:cubicBezTo>
                    <a:pt x="1341" y="1407"/>
                    <a:pt x="1351" y="1376"/>
                    <a:pt x="1351" y="1376"/>
                  </a:cubicBezTo>
                  <a:cubicBezTo>
                    <a:pt x="1351" y="1376"/>
                    <a:pt x="1345" y="1370"/>
                    <a:pt x="1343" y="1361"/>
                  </a:cubicBezTo>
                  <a:cubicBezTo>
                    <a:pt x="1341" y="1352"/>
                    <a:pt x="1365" y="1352"/>
                    <a:pt x="1367" y="1346"/>
                  </a:cubicBezTo>
                  <a:cubicBezTo>
                    <a:pt x="1369" y="1340"/>
                    <a:pt x="1347" y="1349"/>
                    <a:pt x="1343" y="1340"/>
                  </a:cubicBezTo>
                  <a:cubicBezTo>
                    <a:pt x="1342" y="1338"/>
                    <a:pt x="1372" y="1307"/>
                    <a:pt x="1382" y="1303"/>
                  </a:cubicBezTo>
                  <a:cubicBezTo>
                    <a:pt x="1392" y="1299"/>
                    <a:pt x="1391" y="1306"/>
                    <a:pt x="1395" y="1307"/>
                  </a:cubicBezTo>
                  <a:cubicBezTo>
                    <a:pt x="1399" y="1308"/>
                    <a:pt x="1410" y="1305"/>
                    <a:pt x="1418" y="1322"/>
                  </a:cubicBezTo>
                  <a:cubicBezTo>
                    <a:pt x="1426" y="1339"/>
                    <a:pt x="1405" y="1355"/>
                    <a:pt x="1405" y="1355"/>
                  </a:cubicBezTo>
                  <a:close/>
                  <a:moveTo>
                    <a:pt x="156" y="1459"/>
                  </a:moveTo>
                  <a:cubicBezTo>
                    <a:pt x="146" y="1456"/>
                    <a:pt x="147" y="1473"/>
                    <a:pt x="147" y="1473"/>
                  </a:cubicBezTo>
                  <a:cubicBezTo>
                    <a:pt x="155" y="1473"/>
                    <a:pt x="166" y="1462"/>
                    <a:pt x="156" y="1459"/>
                  </a:cubicBezTo>
                  <a:close/>
                  <a:moveTo>
                    <a:pt x="2216" y="1197"/>
                  </a:moveTo>
                  <a:cubicBezTo>
                    <a:pt x="2248" y="1196"/>
                    <a:pt x="2259" y="1170"/>
                    <a:pt x="2228" y="1170"/>
                  </a:cubicBezTo>
                  <a:cubicBezTo>
                    <a:pt x="2196" y="1171"/>
                    <a:pt x="2216" y="1197"/>
                    <a:pt x="2216" y="1197"/>
                  </a:cubicBezTo>
                  <a:close/>
                  <a:moveTo>
                    <a:pt x="2456" y="825"/>
                  </a:moveTo>
                  <a:cubicBezTo>
                    <a:pt x="2456" y="825"/>
                    <a:pt x="2433" y="822"/>
                    <a:pt x="2423" y="814"/>
                  </a:cubicBezTo>
                  <a:cubicBezTo>
                    <a:pt x="2413" y="806"/>
                    <a:pt x="2418" y="785"/>
                    <a:pt x="2418" y="785"/>
                  </a:cubicBezTo>
                  <a:cubicBezTo>
                    <a:pt x="2397" y="769"/>
                    <a:pt x="2397" y="769"/>
                    <a:pt x="2397" y="769"/>
                  </a:cubicBezTo>
                  <a:cubicBezTo>
                    <a:pt x="2370" y="772"/>
                    <a:pt x="2370" y="772"/>
                    <a:pt x="2370" y="772"/>
                  </a:cubicBezTo>
                  <a:cubicBezTo>
                    <a:pt x="2366" y="763"/>
                    <a:pt x="2366" y="763"/>
                    <a:pt x="2366" y="763"/>
                  </a:cubicBezTo>
                  <a:cubicBezTo>
                    <a:pt x="2353" y="741"/>
                    <a:pt x="2353" y="741"/>
                    <a:pt x="2353" y="741"/>
                  </a:cubicBezTo>
                  <a:cubicBezTo>
                    <a:pt x="2330" y="745"/>
                    <a:pt x="2330" y="745"/>
                    <a:pt x="2330" y="745"/>
                  </a:cubicBezTo>
                  <a:cubicBezTo>
                    <a:pt x="2317" y="738"/>
                    <a:pt x="2317" y="738"/>
                    <a:pt x="2317" y="738"/>
                  </a:cubicBezTo>
                  <a:cubicBezTo>
                    <a:pt x="2329" y="727"/>
                    <a:pt x="2329" y="727"/>
                    <a:pt x="2329" y="727"/>
                  </a:cubicBezTo>
                  <a:cubicBezTo>
                    <a:pt x="2327" y="710"/>
                    <a:pt x="2327" y="710"/>
                    <a:pt x="2327" y="710"/>
                  </a:cubicBezTo>
                  <a:cubicBezTo>
                    <a:pt x="2293" y="728"/>
                    <a:pt x="2293" y="728"/>
                    <a:pt x="2293" y="728"/>
                  </a:cubicBezTo>
                  <a:cubicBezTo>
                    <a:pt x="2276" y="736"/>
                    <a:pt x="2276" y="736"/>
                    <a:pt x="2276" y="736"/>
                  </a:cubicBezTo>
                  <a:cubicBezTo>
                    <a:pt x="2257" y="764"/>
                    <a:pt x="2257" y="764"/>
                    <a:pt x="2257" y="764"/>
                  </a:cubicBezTo>
                  <a:cubicBezTo>
                    <a:pt x="2257" y="764"/>
                    <a:pt x="2226" y="771"/>
                    <a:pt x="2224" y="777"/>
                  </a:cubicBezTo>
                  <a:cubicBezTo>
                    <a:pt x="2222" y="783"/>
                    <a:pt x="2234" y="790"/>
                    <a:pt x="2224" y="793"/>
                  </a:cubicBezTo>
                  <a:cubicBezTo>
                    <a:pt x="2215" y="797"/>
                    <a:pt x="2186" y="807"/>
                    <a:pt x="2186" y="807"/>
                  </a:cubicBezTo>
                  <a:cubicBezTo>
                    <a:pt x="2203" y="815"/>
                    <a:pt x="2203" y="815"/>
                    <a:pt x="2203" y="815"/>
                  </a:cubicBezTo>
                  <a:cubicBezTo>
                    <a:pt x="2203" y="815"/>
                    <a:pt x="2230" y="811"/>
                    <a:pt x="2231" y="814"/>
                  </a:cubicBezTo>
                  <a:cubicBezTo>
                    <a:pt x="2231" y="817"/>
                    <a:pt x="2225" y="822"/>
                    <a:pt x="2225" y="833"/>
                  </a:cubicBezTo>
                  <a:cubicBezTo>
                    <a:pt x="2225" y="844"/>
                    <a:pt x="2268" y="845"/>
                    <a:pt x="2287" y="835"/>
                  </a:cubicBezTo>
                  <a:cubicBezTo>
                    <a:pt x="2306" y="826"/>
                    <a:pt x="2296" y="808"/>
                    <a:pt x="2324" y="809"/>
                  </a:cubicBezTo>
                  <a:cubicBezTo>
                    <a:pt x="2351" y="809"/>
                    <a:pt x="2355" y="818"/>
                    <a:pt x="2355" y="818"/>
                  </a:cubicBezTo>
                  <a:cubicBezTo>
                    <a:pt x="2386" y="823"/>
                    <a:pt x="2386" y="823"/>
                    <a:pt x="2386" y="823"/>
                  </a:cubicBezTo>
                  <a:cubicBezTo>
                    <a:pt x="2390" y="834"/>
                    <a:pt x="2390" y="834"/>
                    <a:pt x="2390" y="834"/>
                  </a:cubicBezTo>
                  <a:cubicBezTo>
                    <a:pt x="2452" y="838"/>
                    <a:pt x="2452" y="838"/>
                    <a:pt x="2452" y="838"/>
                  </a:cubicBezTo>
                  <a:lnTo>
                    <a:pt x="2456" y="825"/>
                  </a:lnTo>
                  <a:close/>
                  <a:moveTo>
                    <a:pt x="2393" y="886"/>
                  </a:moveTo>
                  <a:cubicBezTo>
                    <a:pt x="2352" y="899"/>
                    <a:pt x="2393" y="913"/>
                    <a:pt x="2393" y="913"/>
                  </a:cubicBezTo>
                  <a:cubicBezTo>
                    <a:pt x="2415" y="897"/>
                    <a:pt x="2434" y="872"/>
                    <a:pt x="2393" y="886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" name="Freeform 341">
              <a:extLst>
                <a:ext uri="{FF2B5EF4-FFF2-40B4-BE49-F238E27FC236}">
                  <a16:creationId xmlns:a16="http://schemas.microsoft.com/office/drawing/2014/main" id="{F60C702B-04E9-29B8-1844-962EF299781D}"/>
                </a:ext>
              </a:extLst>
            </p:cNvPr>
            <p:cNvSpPr>
              <a:spLocks/>
            </p:cNvSpPr>
            <p:nvPr/>
          </p:nvSpPr>
          <p:spPr bwMode="gray">
            <a:xfrm>
              <a:off x="-15577" y="-9989"/>
              <a:ext cx="1488" cy="2346"/>
            </a:xfrm>
            <a:custGeom>
              <a:avLst/>
              <a:gdLst>
                <a:gd name="T0" fmla="*/ 604 w 630"/>
                <a:gd name="T1" fmla="*/ 869 h 993"/>
                <a:gd name="T2" fmla="*/ 575 w 630"/>
                <a:gd name="T3" fmla="*/ 854 h 993"/>
                <a:gd name="T4" fmla="*/ 581 w 630"/>
                <a:gd name="T5" fmla="*/ 821 h 993"/>
                <a:gd name="T6" fmla="*/ 607 w 630"/>
                <a:gd name="T7" fmla="*/ 835 h 993"/>
                <a:gd name="T8" fmla="*/ 603 w 630"/>
                <a:gd name="T9" fmla="*/ 799 h 993"/>
                <a:gd name="T10" fmla="*/ 605 w 630"/>
                <a:gd name="T11" fmla="*/ 744 h 993"/>
                <a:gd name="T12" fmla="*/ 609 w 630"/>
                <a:gd name="T13" fmla="*/ 694 h 993"/>
                <a:gd name="T14" fmla="*/ 597 w 630"/>
                <a:gd name="T15" fmla="*/ 632 h 993"/>
                <a:gd name="T16" fmla="*/ 556 w 630"/>
                <a:gd name="T17" fmla="*/ 590 h 993"/>
                <a:gd name="T18" fmla="*/ 533 w 630"/>
                <a:gd name="T19" fmla="*/ 591 h 993"/>
                <a:gd name="T20" fmla="*/ 523 w 630"/>
                <a:gd name="T21" fmla="*/ 562 h 993"/>
                <a:gd name="T22" fmla="*/ 525 w 630"/>
                <a:gd name="T23" fmla="*/ 507 h 993"/>
                <a:gd name="T24" fmla="*/ 449 w 630"/>
                <a:gd name="T25" fmla="*/ 541 h 993"/>
                <a:gd name="T26" fmla="*/ 399 w 630"/>
                <a:gd name="T27" fmla="*/ 509 h 993"/>
                <a:gd name="T28" fmla="*/ 391 w 630"/>
                <a:gd name="T29" fmla="*/ 465 h 993"/>
                <a:gd name="T30" fmla="*/ 371 w 630"/>
                <a:gd name="T31" fmla="*/ 420 h 993"/>
                <a:gd name="T32" fmla="*/ 371 w 630"/>
                <a:gd name="T33" fmla="*/ 396 h 993"/>
                <a:gd name="T34" fmla="*/ 368 w 630"/>
                <a:gd name="T35" fmla="*/ 370 h 993"/>
                <a:gd name="T36" fmla="*/ 389 w 630"/>
                <a:gd name="T37" fmla="*/ 331 h 993"/>
                <a:gd name="T38" fmla="*/ 403 w 630"/>
                <a:gd name="T39" fmla="*/ 277 h 993"/>
                <a:gd name="T40" fmla="*/ 422 w 630"/>
                <a:gd name="T41" fmla="*/ 265 h 993"/>
                <a:gd name="T42" fmla="*/ 471 w 630"/>
                <a:gd name="T43" fmla="*/ 244 h 993"/>
                <a:gd name="T44" fmla="*/ 492 w 630"/>
                <a:gd name="T45" fmla="*/ 240 h 993"/>
                <a:gd name="T46" fmla="*/ 527 w 630"/>
                <a:gd name="T47" fmla="*/ 236 h 993"/>
                <a:gd name="T48" fmla="*/ 543 w 630"/>
                <a:gd name="T49" fmla="*/ 227 h 993"/>
                <a:gd name="T50" fmla="*/ 526 w 630"/>
                <a:gd name="T51" fmla="*/ 207 h 993"/>
                <a:gd name="T52" fmla="*/ 520 w 630"/>
                <a:gd name="T53" fmla="*/ 171 h 993"/>
                <a:gd name="T54" fmla="*/ 505 w 630"/>
                <a:gd name="T55" fmla="*/ 135 h 993"/>
                <a:gd name="T56" fmla="*/ 472 w 630"/>
                <a:gd name="T57" fmla="*/ 130 h 993"/>
                <a:gd name="T58" fmla="*/ 434 w 630"/>
                <a:gd name="T59" fmla="*/ 138 h 993"/>
                <a:gd name="T60" fmla="*/ 388 w 630"/>
                <a:gd name="T61" fmla="*/ 106 h 993"/>
                <a:gd name="T62" fmla="*/ 364 w 630"/>
                <a:gd name="T63" fmla="*/ 73 h 993"/>
                <a:gd name="T64" fmla="*/ 343 w 630"/>
                <a:gd name="T65" fmla="*/ 57 h 993"/>
                <a:gd name="T66" fmla="*/ 327 w 630"/>
                <a:gd name="T67" fmla="*/ 33 h 993"/>
                <a:gd name="T68" fmla="*/ 264 w 630"/>
                <a:gd name="T69" fmla="*/ 0 h 993"/>
                <a:gd name="T70" fmla="*/ 278 w 630"/>
                <a:gd name="T71" fmla="*/ 1 h 993"/>
                <a:gd name="T72" fmla="*/ 284 w 630"/>
                <a:gd name="T73" fmla="*/ 31 h 993"/>
                <a:gd name="T74" fmla="*/ 277 w 630"/>
                <a:gd name="T75" fmla="*/ 58 h 993"/>
                <a:gd name="T76" fmla="*/ 218 w 630"/>
                <a:gd name="T77" fmla="*/ 143 h 993"/>
                <a:gd name="T78" fmla="*/ 147 w 630"/>
                <a:gd name="T79" fmla="*/ 186 h 993"/>
                <a:gd name="T80" fmla="*/ 142 w 630"/>
                <a:gd name="T81" fmla="*/ 201 h 993"/>
                <a:gd name="T82" fmla="*/ 128 w 630"/>
                <a:gd name="T83" fmla="*/ 252 h 993"/>
                <a:gd name="T84" fmla="*/ 103 w 630"/>
                <a:gd name="T85" fmla="*/ 270 h 993"/>
                <a:gd name="T86" fmla="*/ 69 w 630"/>
                <a:gd name="T87" fmla="*/ 243 h 993"/>
                <a:gd name="T88" fmla="*/ 40 w 630"/>
                <a:gd name="T89" fmla="*/ 246 h 993"/>
                <a:gd name="T90" fmla="*/ 37 w 630"/>
                <a:gd name="T91" fmla="*/ 224 h 993"/>
                <a:gd name="T92" fmla="*/ 43 w 630"/>
                <a:gd name="T93" fmla="*/ 188 h 993"/>
                <a:gd name="T94" fmla="*/ 0 w 630"/>
                <a:gd name="T95" fmla="*/ 254 h 993"/>
                <a:gd name="T96" fmla="*/ 9 w 630"/>
                <a:gd name="T97" fmla="*/ 282 h 993"/>
                <a:gd name="T98" fmla="*/ 8 w 630"/>
                <a:gd name="T99" fmla="*/ 331 h 993"/>
                <a:gd name="T100" fmla="*/ 85 w 630"/>
                <a:gd name="T101" fmla="*/ 394 h 993"/>
                <a:gd name="T102" fmla="*/ 126 w 630"/>
                <a:gd name="T103" fmla="*/ 462 h 993"/>
                <a:gd name="T104" fmla="*/ 169 w 630"/>
                <a:gd name="T105" fmla="*/ 547 h 993"/>
                <a:gd name="T106" fmla="*/ 214 w 630"/>
                <a:gd name="T107" fmla="*/ 622 h 993"/>
                <a:gd name="T108" fmla="*/ 267 w 630"/>
                <a:gd name="T109" fmla="*/ 715 h 993"/>
                <a:gd name="T110" fmla="*/ 304 w 630"/>
                <a:gd name="T111" fmla="*/ 803 h 993"/>
                <a:gd name="T112" fmla="*/ 400 w 630"/>
                <a:gd name="T113" fmla="*/ 869 h 993"/>
                <a:gd name="T114" fmla="*/ 516 w 630"/>
                <a:gd name="T115" fmla="*/ 939 h 993"/>
                <a:gd name="T116" fmla="*/ 540 w 630"/>
                <a:gd name="T117" fmla="*/ 968 h 993"/>
                <a:gd name="T118" fmla="*/ 574 w 630"/>
                <a:gd name="T119" fmla="*/ 993 h 993"/>
                <a:gd name="T120" fmla="*/ 596 w 630"/>
                <a:gd name="T121" fmla="*/ 954 h 993"/>
                <a:gd name="T122" fmla="*/ 601 w 630"/>
                <a:gd name="T123" fmla="*/ 929 h 993"/>
                <a:gd name="T124" fmla="*/ 630 w 630"/>
                <a:gd name="T125" fmla="*/ 889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30" h="993">
                  <a:moveTo>
                    <a:pt x="622" y="880"/>
                  </a:moveTo>
                  <a:cubicBezTo>
                    <a:pt x="622" y="880"/>
                    <a:pt x="612" y="873"/>
                    <a:pt x="604" y="869"/>
                  </a:cubicBezTo>
                  <a:cubicBezTo>
                    <a:pt x="596" y="865"/>
                    <a:pt x="593" y="857"/>
                    <a:pt x="593" y="857"/>
                  </a:cubicBezTo>
                  <a:cubicBezTo>
                    <a:pt x="593" y="857"/>
                    <a:pt x="579" y="859"/>
                    <a:pt x="575" y="854"/>
                  </a:cubicBezTo>
                  <a:cubicBezTo>
                    <a:pt x="580" y="840"/>
                    <a:pt x="580" y="840"/>
                    <a:pt x="580" y="840"/>
                  </a:cubicBezTo>
                  <a:cubicBezTo>
                    <a:pt x="580" y="840"/>
                    <a:pt x="576" y="825"/>
                    <a:pt x="581" y="821"/>
                  </a:cubicBezTo>
                  <a:cubicBezTo>
                    <a:pt x="584" y="818"/>
                    <a:pt x="598" y="830"/>
                    <a:pt x="607" y="838"/>
                  </a:cubicBezTo>
                  <a:cubicBezTo>
                    <a:pt x="607" y="836"/>
                    <a:pt x="607" y="835"/>
                    <a:pt x="607" y="835"/>
                  </a:cubicBezTo>
                  <a:cubicBezTo>
                    <a:pt x="612" y="824"/>
                    <a:pt x="612" y="824"/>
                    <a:pt x="612" y="824"/>
                  </a:cubicBezTo>
                  <a:cubicBezTo>
                    <a:pt x="612" y="824"/>
                    <a:pt x="604" y="813"/>
                    <a:pt x="603" y="799"/>
                  </a:cubicBezTo>
                  <a:cubicBezTo>
                    <a:pt x="601" y="784"/>
                    <a:pt x="616" y="776"/>
                    <a:pt x="620" y="766"/>
                  </a:cubicBezTo>
                  <a:cubicBezTo>
                    <a:pt x="624" y="757"/>
                    <a:pt x="605" y="744"/>
                    <a:pt x="605" y="744"/>
                  </a:cubicBezTo>
                  <a:cubicBezTo>
                    <a:pt x="618" y="724"/>
                    <a:pt x="618" y="724"/>
                    <a:pt x="618" y="724"/>
                  </a:cubicBezTo>
                  <a:cubicBezTo>
                    <a:pt x="609" y="694"/>
                    <a:pt x="609" y="694"/>
                    <a:pt x="609" y="694"/>
                  </a:cubicBezTo>
                  <a:cubicBezTo>
                    <a:pt x="609" y="694"/>
                    <a:pt x="619" y="683"/>
                    <a:pt x="620" y="677"/>
                  </a:cubicBezTo>
                  <a:cubicBezTo>
                    <a:pt x="622" y="670"/>
                    <a:pt x="612" y="645"/>
                    <a:pt x="597" y="632"/>
                  </a:cubicBezTo>
                  <a:cubicBezTo>
                    <a:pt x="586" y="621"/>
                    <a:pt x="579" y="600"/>
                    <a:pt x="577" y="591"/>
                  </a:cubicBezTo>
                  <a:cubicBezTo>
                    <a:pt x="568" y="590"/>
                    <a:pt x="560" y="590"/>
                    <a:pt x="556" y="590"/>
                  </a:cubicBezTo>
                  <a:cubicBezTo>
                    <a:pt x="545" y="590"/>
                    <a:pt x="549" y="599"/>
                    <a:pt x="541" y="599"/>
                  </a:cubicBezTo>
                  <a:cubicBezTo>
                    <a:pt x="533" y="599"/>
                    <a:pt x="533" y="591"/>
                    <a:pt x="533" y="591"/>
                  </a:cubicBezTo>
                  <a:cubicBezTo>
                    <a:pt x="526" y="592"/>
                    <a:pt x="526" y="592"/>
                    <a:pt x="526" y="592"/>
                  </a:cubicBezTo>
                  <a:cubicBezTo>
                    <a:pt x="526" y="592"/>
                    <a:pt x="525" y="572"/>
                    <a:pt x="523" y="562"/>
                  </a:cubicBezTo>
                  <a:cubicBezTo>
                    <a:pt x="521" y="552"/>
                    <a:pt x="526" y="538"/>
                    <a:pt x="528" y="534"/>
                  </a:cubicBezTo>
                  <a:cubicBezTo>
                    <a:pt x="530" y="530"/>
                    <a:pt x="525" y="507"/>
                    <a:pt x="525" y="507"/>
                  </a:cubicBezTo>
                  <a:cubicBezTo>
                    <a:pt x="491" y="537"/>
                    <a:pt x="491" y="537"/>
                    <a:pt x="491" y="537"/>
                  </a:cubicBezTo>
                  <a:cubicBezTo>
                    <a:pt x="449" y="541"/>
                    <a:pt x="449" y="541"/>
                    <a:pt x="449" y="541"/>
                  </a:cubicBezTo>
                  <a:cubicBezTo>
                    <a:pt x="449" y="541"/>
                    <a:pt x="441" y="522"/>
                    <a:pt x="438" y="515"/>
                  </a:cubicBezTo>
                  <a:cubicBezTo>
                    <a:pt x="435" y="508"/>
                    <a:pt x="399" y="509"/>
                    <a:pt x="399" y="509"/>
                  </a:cubicBezTo>
                  <a:cubicBezTo>
                    <a:pt x="399" y="509"/>
                    <a:pt x="414" y="496"/>
                    <a:pt x="416" y="491"/>
                  </a:cubicBezTo>
                  <a:cubicBezTo>
                    <a:pt x="418" y="486"/>
                    <a:pt x="396" y="471"/>
                    <a:pt x="391" y="465"/>
                  </a:cubicBezTo>
                  <a:cubicBezTo>
                    <a:pt x="386" y="459"/>
                    <a:pt x="373" y="438"/>
                    <a:pt x="373" y="438"/>
                  </a:cubicBezTo>
                  <a:cubicBezTo>
                    <a:pt x="371" y="420"/>
                    <a:pt x="371" y="420"/>
                    <a:pt x="371" y="420"/>
                  </a:cubicBezTo>
                  <a:cubicBezTo>
                    <a:pt x="371" y="420"/>
                    <a:pt x="356" y="414"/>
                    <a:pt x="356" y="409"/>
                  </a:cubicBezTo>
                  <a:cubicBezTo>
                    <a:pt x="356" y="404"/>
                    <a:pt x="371" y="396"/>
                    <a:pt x="371" y="396"/>
                  </a:cubicBezTo>
                  <a:cubicBezTo>
                    <a:pt x="365" y="392"/>
                    <a:pt x="365" y="392"/>
                    <a:pt x="365" y="392"/>
                  </a:cubicBezTo>
                  <a:cubicBezTo>
                    <a:pt x="365" y="392"/>
                    <a:pt x="360" y="378"/>
                    <a:pt x="368" y="370"/>
                  </a:cubicBezTo>
                  <a:cubicBezTo>
                    <a:pt x="376" y="362"/>
                    <a:pt x="389" y="345"/>
                    <a:pt x="395" y="354"/>
                  </a:cubicBezTo>
                  <a:cubicBezTo>
                    <a:pt x="401" y="363"/>
                    <a:pt x="391" y="338"/>
                    <a:pt x="389" y="331"/>
                  </a:cubicBezTo>
                  <a:cubicBezTo>
                    <a:pt x="387" y="324"/>
                    <a:pt x="402" y="315"/>
                    <a:pt x="402" y="315"/>
                  </a:cubicBezTo>
                  <a:cubicBezTo>
                    <a:pt x="403" y="277"/>
                    <a:pt x="403" y="277"/>
                    <a:pt x="403" y="277"/>
                  </a:cubicBezTo>
                  <a:cubicBezTo>
                    <a:pt x="419" y="277"/>
                    <a:pt x="419" y="277"/>
                    <a:pt x="419" y="277"/>
                  </a:cubicBezTo>
                  <a:cubicBezTo>
                    <a:pt x="419" y="277"/>
                    <a:pt x="420" y="269"/>
                    <a:pt x="422" y="265"/>
                  </a:cubicBezTo>
                  <a:cubicBezTo>
                    <a:pt x="424" y="261"/>
                    <a:pt x="450" y="244"/>
                    <a:pt x="450" y="244"/>
                  </a:cubicBezTo>
                  <a:cubicBezTo>
                    <a:pt x="471" y="244"/>
                    <a:pt x="471" y="244"/>
                    <a:pt x="471" y="244"/>
                  </a:cubicBezTo>
                  <a:cubicBezTo>
                    <a:pt x="473" y="237"/>
                    <a:pt x="473" y="237"/>
                    <a:pt x="473" y="237"/>
                  </a:cubicBezTo>
                  <a:cubicBezTo>
                    <a:pt x="492" y="240"/>
                    <a:pt x="492" y="240"/>
                    <a:pt x="492" y="240"/>
                  </a:cubicBezTo>
                  <a:cubicBezTo>
                    <a:pt x="492" y="240"/>
                    <a:pt x="503" y="225"/>
                    <a:pt x="513" y="224"/>
                  </a:cubicBezTo>
                  <a:cubicBezTo>
                    <a:pt x="523" y="223"/>
                    <a:pt x="527" y="236"/>
                    <a:pt x="527" y="236"/>
                  </a:cubicBezTo>
                  <a:cubicBezTo>
                    <a:pt x="527" y="236"/>
                    <a:pt x="534" y="239"/>
                    <a:pt x="539" y="236"/>
                  </a:cubicBezTo>
                  <a:cubicBezTo>
                    <a:pt x="541" y="235"/>
                    <a:pt x="542" y="231"/>
                    <a:pt x="543" y="227"/>
                  </a:cubicBezTo>
                  <a:cubicBezTo>
                    <a:pt x="532" y="223"/>
                    <a:pt x="532" y="223"/>
                    <a:pt x="532" y="223"/>
                  </a:cubicBezTo>
                  <a:cubicBezTo>
                    <a:pt x="526" y="207"/>
                    <a:pt x="526" y="207"/>
                    <a:pt x="526" y="207"/>
                  </a:cubicBezTo>
                  <a:cubicBezTo>
                    <a:pt x="526" y="207"/>
                    <a:pt x="512" y="212"/>
                    <a:pt x="509" y="206"/>
                  </a:cubicBezTo>
                  <a:cubicBezTo>
                    <a:pt x="506" y="201"/>
                    <a:pt x="515" y="171"/>
                    <a:pt x="520" y="171"/>
                  </a:cubicBezTo>
                  <a:cubicBezTo>
                    <a:pt x="525" y="171"/>
                    <a:pt x="533" y="163"/>
                    <a:pt x="533" y="148"/>
                  </a:cubicBezTo>
                  <a:cubicBezTo>
                    <a:pt x="533" y="134"/>
                    <a:pt x="505" y="135"/>
                    <a:pt x="505" y="135"/>
                  </a:cubicBezTo>
                  <a:cubicBezTo>
                    <a:pt x="505" y="135"/>
                    <a:pt x="497" y="123"/>
                    <a:pt x="493" y="122"/>
                  </a:cubicBezTo>
                  <a:cubicBezTo>
                    <a:pt x="489" y="121"/>
                    <a:pt x="481" y="130"/>
                    <a:pt x="472" y="130"/>
                  </a:cubicBezTo>
                  <a:cubicBezTo>
                    <a:pt x="464" y="130"/>
                    <a:pt x="463" y="123"/>
                    <a:pt x="449" y="120"/>
                  </a:cubicBezTo>
                  <a:cubicBezTo>
                    <a:pt x="435" y="117"/>
                    <a:pt x="434" y="138"/>
                    <a:pt x="434" y="138"/>
                  </a:cubicBezTo>
                  <a:cubicBezTo>
                    <a:pt x="434" y="138"/>
                    <a:pt x="412" y="138"/>
                    <a:pt x="393" y="133"/>
                  </a:cubicBezTo>
                  <a:cubicBezTo>
                    <a:pt x="374" y="128"/>
                    <a:pt x="389" y="113"/>
                    <a:pt x="388" y="106"/>
                  </a:cubicBezTo>
                  <a:cubicBezTo>
                    <a:pt x="387" y="98"/>
                    <a:pt x="369" y="97"/>
                    <a:pt x="369" y="97"/>
                  </a:cubicBezTo>
                  <a:cubicBezTo>
                    <a:pt x="369" y="97"/>
                    <a:pt x="367" y="79"/>
                    <a:pt x="364" y="73"/>
                  </a:cubicBezTo>
                  <a:cubicBezTo>
                    <a:pt x="362" y="67"/>
                    <a:pt x="354" y="70"/>
                    <a:pt x="354" y="70"/>
                  </a:cubicBezTo>
                  <a:cubicBezTo>
                    <a:pt x="343" y="57"/>
                    <a:pt x="343" y="57"/>
                    <a:pt x="343" y="57"/>
                  </a:cubicBezTo>
                  <a:cubicBezTo>
                    <a:pt x="335" y="57"/>
                    <a:pt x="335" y="57"/>
                    <a:pt x="335" y="57"/>
                  </a:cubicBezTo>
                  <a:cubicBezTo>
                    <a:pt x="327" y="33"/>
                    <a:pt x="327" y="33"/>
                    <a:pt x="327" y="33"/>
                  </a:cubicBezTo>
                  <a:cubicBezTo>
                    <a:pt x="327" y="33"/>
                    <a:pt x="297" y="9"/>
                    <a:pt x="290" y="5"/>
                  </a:cubicBezTo>
                  <a:cubicBezTo>
                    <a:pt x="284" y="1"/>
                    <a:pt x="274" y="1"/>
                    <a:pt x="264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69" y="0"/>
                    <a:pt x="273" y="1"/>
                    <a:pt x="278" y="1"/>
                  </a:cubicBezTo>
                  <a:cubicBezTo>
                    <a:pt x="279" y="19"/>
                    <a:pt x="268" y="19"/>
                    <a:pt x="268" y="19"/>
                  </a:cubicBezTo>
                  <a:cubicBezTo>
                    <a:pt x="284" y="31"/>
                    <a:pt x="284" y="31"/>
                    <a:pt x="284" y="31"/>
                  </a:cubicBezTo>
                  <a:cubicBezTo>
                    <a:pt x="287" y="53"/>
                    <a:pt x="287" y="53"/>
                    <a:pt x="287" y="53"/>
                  </a:cubicBezTo>
                  <a:cubicBezTo>
                    <a:pt x="277" y="58"/>
                    <a:pt x="277" y="58"/>
                    <a:pt x="277" y="58"/>
                  </a:cubicBezTo>
                  <a:cubicBezTo>
                    <a:pt x="269" y="87"/>
                    <a:pt x="269" y="87"/>
                    <a:pt x="269" y="87"/>
                  </a:cubicBezTo>
                  <a:cubicBezTo>
                    <a:pt x="269" y="87"/>
                    <a:pt x="241" y="128"/>
                    <a:pt x="218" y="143"/>
                  </a:cubicBezTo>
                  <a:cubicBezTo>
                    <a:pt x="195" y="157"/>
                    <a:pt x="174" y="157"/>
                    <a:pt x="161" y="168"/>
                  </a:cubicBezTo>
                  <a:cubicBezTo>
                    <a:pt x="147" y="179"/>
                    <a:pt x="147" y="186"/>
                    <a:pt x="147" y="186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42" y="201"/>
                    <a:pt x="142" y="201"/>
                    <a:pt x="142" y="201"/>
                  </a:cubicBezTo>
                  <a:cubicBezTo>
                    <a:pt x="142" y="201"/>
                    <a:pt x="134" y="206"/>
                    <a:pt x="132" y="216"/>
                  </a:cubicBezTo>
                  <a:cubicBezTo>
                    <a:pt x="131" y="225"/>
                    <a:pt x="128" y="252"/>
                    <a:pt x="128" y="252"/>
                  </a:cubicBezTo>
                  <a:cubicBezTo>
                    <a:pt x="128" y="252"/>
                    <a:pt x="119" y="254"/>
                    <a:pt x="115" y="256"/>
                  </a:cubicBezTo>
                  <a:cubicBezTo>
                    <a:pt x="111" y="259"/>
                    <a:pt x="116" y="270"/>
                    <a:pt x="103" y="270"/>
                  </a:cubicBezTo>
                  <a:cubicBezTo>
                    <a:pt x="89" y="270"/>
                    <a:pt x="93" y="246"/>
                    <a:pt x="88" y="241"/>
                  </a:cubicBezTo>
                  <a:cubicBezTo>
                    <a:pt x="82" y="237"/>
                    <a:pt x="69" y="243"/>
                    <a:pt x="69" y="243"/>
                  </a:cubicBezTo>
                  <a:cubicBezTo>
                    <a:pt x="60" y="232"/>
                    <a:pt x="60" y="232"/>
                    <a:pt x="60" y="232"/>
                  </a:cubicBezTo>
                  <a:cubicBezTo>
                    <a:pt x="60" y="232"/>
                    <a:pt x="50" y="250"/>
                    <a:pt x="40" y="246"/>
                  </a:cubicBezTo>
                  <a:cubicBezTo>
                    <a:pt x="31" y="241"/>
                    <a:pt x="47" y="232"/>
                    <a:pt x="47" y="232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37" y="224"/>
                    <a:pt x="50" y="212"/>
                    <a:pt x="58" y="203"/>
                  </a:cubicBezTo>
                  <a:cubicBezTo>
                    <a:pt x="67" y="194"/>
                    <a:pt x="43" y="188"/>
                    <a:pt x="43" y="188"/>
                  </a:cubicBezTo>
                  <a:cubicBezTo>
                    <a:pt x="43" y="188"/>
                    <a:pt x="17" y="216"/>
                    <a:pt x="9" y="223"/>
                  </a:cubicBezTo>
                  <a:cubicBezTo>
                    <a:pt x="1" y="230"/>
                    <a:pt x="0" y="241"/>
                    <a:pt x="0" y="254"/>
                  </a:cubicBezTo>
                  <a:cubicBezTo>
                    <a:pt x="0" y="267"/>
                    <a:pt x="12" y="264"/>
                    <a:pt x="12" y="264"/>
                  </a:cubicBezTo>
                  <a:cubicBezTo>
                    <a:pt x="9" y="282"/>
                    <a:pt x="9" y="282"/>
                    <a:pt x="9" y="282"/>
                  </a:cubicBezTo>
                  <a:cubicBezTo>
                    <a:pt x="9" y="282"/>
                    <a:pt x="26" y="292"/>
                    <a:pt x="27" y="304"/>
                  </a:cubicBezTo>
                  <a:cubicBezTo>
                    <a:pt x="28" y="316"/>
                    <a:pt x="8" y="317"/>
                    <a:pt x="8" y="331"/>
                  </a:cubicBezTo>
                  <a:cubicBezTo>
                    <a:pt x="8" y="345"/>
                    <a:pt x="42" y="347"/>
                    <a:pt x="51" y="352"/>
                  </a:cubicBezTo>
                  <a:cubicBezTo>
                    <a:pt x="59" y="357"/>
                    <a:pt x="82" y="389"/>
                    <a:pt x="85" y="394"/>
                  </a:cubicBezTo>
                  <a:cubicBezTo>
                    <a:pt x="87" y="398"/>
                    <a:pt x="99" y="418"/>
                    <a:pt x="99" y="424"/>
                  </a:cubicBezTo>
                  <a:cubicBezTo>
                    <a:pt x="99" y="430"/>
                    <a:pt x="123" y="456"/>
                    <a:pt x="126" y="462"/>
                  </a:cubicBezTo>
                  <a:cubicBezTo>
                    <a:pt x="130" y="468"/>
                    <a:pt x="164" y="522"/>
                    <a:pt x="164" y="522"/>
                  </a:cubicBezTo>
                  <a:cubicBezTo>
                    <a:pt x="169" y="547"/>
                    <a:pt x="169" y="547"/>
                    <a:pt x="169" y="547"/>
                  </a:cubicBezTo>
                  <a:cubicBezTo>
                    <a:pt x="169" y="547"/>
                    <a:pt x="197" y="602"/>
                    <a:pt x="197" y="609"/>
                  </a:cubicBezTo>
                  <a:cubicBezTo>
                    <a:pt x="197" y="616"/>
                    <a:pt x="205" y="616"/>
                    <a:pt x="214" y="622"/>
                  </a:cubicBezTo>
                  <a:cubicBezTo>
                    <a:pt x="222" y="628"/>
                    <a:pt x="218" y="635"/>
                    <a:pt x="220" y="647"/>
                  </a:cubicBezTo>
                  <a:cubicBezTo>
                    <a:pt x="221" y="658"/>
                    <a:pt x="255" y="699"/>
                    <a:pt x="267" y="715"/>
                  </a:cubicBezTo>
                  <a:cubicBezTo>
                    <a:pt x="279" y="732"/>
                    <a:pt x="270" y="754"/>
                    <a:pt x="270" y="762"/>
                  </a:cubicBezTo>
                  <a:cubicBezTo>
                    <a:pt x="270" y="771"/>
                    <a:pt x="293" y="796"/>
                    <a:pt x="304" y="803"/>
                  </a:cubicBezTo>
                  <a:cubicBezTo>
                    <a:pt x="314" y="810"/>
                    <a:pt x="324" y="826"/>
                    <a:pt x="332" y="835"/>
                  </a:cubicBezTo>
                  <a:cubicBezTo>
                    <a:pt x="340" y="843"/>
                    <a:pt x="386" y="861"/>
                    <a:pt x="400" y="869"/>
                  </a:cubicBezTo>
                  <a:cubicBezTo>
                    <a:pt x="415" y="877"/>
                    <a:pt x="442" y="883"/>
                    <a:pt x="463" y="901"/>
                  </a:cubicBezTo>
                  <a:cubicBezTo>
                    <a:pt x="484" y="919"/>
                    <a:pt x="516" y="939"/>
                    <a:pt x="516" y="939"/>
                  </a:cubicBezTo>
                  <a:cubicBezTo>
                    <a:pt x="522" y="954"/>
                    <a:pt x="522" y="954"/>
                    <a:pt x="522" y="954"/>
                  </a:cubicBezTo>
                  <a:cubicBezTo>
                    <a:pt x="522" y="954"/>
                    <a:pt x="533" y="962"/>
                    <a:pt x="540" y="968"/>
                  </a:cubicBezTo>
                  <a:cubicBezTo>
                    <a:pt x="547" y="974"/>
                    <a:pt x="574" y="992"/>
                    <a:pt x="574" y="992"/>
                  </a:cubicBezTo>
                  <a:cubicBezTo>
                    <a:pt x="574" y="993"/>
                    <a:pt x="574" y="993"/>
                    <a:pt x="574" y="993"/>
                  </a:cubicBezTo>
                  <a:cubicBezTo>
                    <a:pt x="580" y="989"/>
                    <a:pt x="589" y="983"/>
                    <a:pt x="596" y="977"/>
                  </a:cubicBezTo>
                  <a:cubicBezTo>
                    <a:pt x="608" y="968"/>
                    <a:pt x="596" y="954"/>
                    <a:pt x="596" y="954"/>
                  </a:cubicBezTo>
                  <a:cubicBezTo>
                    <a:pt x="608" y="946"/>
                    <a:pt x="608" y="946"/>
                    <a:pt x="608" y="946"/>
                  </a:cubicBezTo>
                  <a:cubicBezTo>
                    <a:pt x="601" y="929"/>
                    <a:pt x="601" y="929"/>
                    <a:pt x="601" y="929"/>
                  </a:cubicBezTo>
                  <a:cubicBezTo>
                    <a:pt x="601" y="929"/>
                    <a:pt x="611" y="919"/>
                    <a:pt x="620" y="912"/>
                  </a:cubicBezTo>
                  <a:cubicBezTo>
                    <a:pt x="626" y="908"/>
                    <a:pt x="629" y="897"/>
                    <a:pt x="630" y="889"/>
                  </a:cubicBezTo>
                  <a:lnTo>
                    <a:pt x="622" y="880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" name="Freeform 342">
              <a:extLst>
                <a:ext uri="{FF2B5EF4-FFF2-40B4-BE49-F238E27FC236}">
                  <a16:creationId xmlns:a16="http://schemas.microsoft.com/office/drawing/2014/main" id="{4155396A-3CED-0FC4-1AE7-E359D5227F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4235" y="-8761"/>
              <a:ext cx="1427" cy="1682"/>
            </a:xfrm>
            <a:custGeom>
              <a:avLst/>
              <a:gdLst>
                <a:gd name="T0" fmla="*/ 1 w 604"/>
                <a:gd name="T1" fmla="*/ 70 h 712"/>
                <a:gd name="T2" fmla="*/ 599 w 604"/>
                <a:gd name="T3" fmla="*/ 500 h 712"/>
                <a:gd name="T4" fmla="*/ 584 w 604"/>
                <a:gd name="T5" fmla="*/ 421 h 712"/>
                <a:gd name="T6" fmla="*/ 561 w 604"/>
                <a:gd name="T7" fmla="*/ 361 h 712"/>
                <a:gd name="T8" fmla="*/ 468 w 604"/>
                <a:gd name="T9" fmla="*/ 314 h 712"/>
                <a:gd name="T10" fmla="*/ 463 w 604"/>
                <a:gd name="T11" fmla="*/ 290 h 712"/>
                <a:gd name="T12" fmla="*/ 450 w 604"/>
                <a:gd name="T13" fmla="*/ 250 h 712"/>
                <a:gd name="T14" fmla="*/ 418 w 604"/>
                <a:gd name="T15" fmla="*/ 209 h 712"/>
                <a:gd name="T16" fmla="*/ 367 w 604"/>
                <a:gd name="T17" fmla="*/ 190 h 712"/>
                <a:gd name="T18" fmla="*/ 320 w 604"/>
                <a:gd name="T19" fmla="*/ 163 h 712"/>
                <a:gd name="T20" fmla="*/ 290 w 604"/>
                <a:gd name="T21" fmla="*/ 152 h 712"/>
                <a:gd name="T22" fmla="*/ 258 w 604"/>
                <a:gd name="T23" fmla="*/ 153 h 712"/>
                <a:gd name="T24" fmla="*/ 230 w 604"/>
                <a:gd name="T25" fmla="*/ 130 h 712"/>
                <a:gd name="T26" fmla="*/ 210 w 604"/>
                <a:gd name="T27" fmla="*/ 97 h 712"/>
                <a:gd name="T28" fmla="*/ 200 w 604"/>
                <a:gd name="T29" fmla="*/ 52 h 712"/>
                <a:gd name="T30" fmla="*/ 211 w 604"/>
                <a:gd name="T31" fmla="*/ 4 h 712"/>
                <a:gd name="T32" fmla="*/ 183 w 604"/>
                <a:gd name="T33" fmla="*/ 6 h 712"/>
                <a:gd name="T34" fmla="*/ 151 w 604"/>
                <a:gd name="T35" fmla="*/ 13 h 712"/>
                <a:gd name="T36" fmla="*/ 104 w 604"/>
                <a:gd name="T37" fmla="*/ 38 h 712"/>
                <a:gd name="T38" fmla="*/ 76 w 604"/>
                <a:gd name="T39" fmla="*/ 57 h 712"/>
                <a:gd name="T40" fmla="*/ 50 w 604"/>
                <a:gd name="T41" fmla="*/ 81 h 712"/>
                <a:gd name="T42" fmla="*/ 9 w 604"/>
                <a:gd name="T43" fmla="*/ 71 h 712"/>
                <a:gd name="T44" fmla="*/ 52 w 604"/>
                <a:gd name="T45" fmla="*/ 157 h 712"/>
                <a:gd name="T46" fmla="*/ 50 w 604"/>
                <a:gd name="T47" fmla="*/ 204 h 712"/>
                <a:gd name="T48" fmla="*/ 52 w 604"/>
                <a:gd name="T49" fmla="*/ 246 h 712"/>
                <a:gd name="T50" fmla="*/ 44 w 604"/>
                <a:gd name="T51" fmla="*/ 304 h 712"/>
                <a:gd name="T52" fmla="*/ 39 w 604"/>
                <a:gd name="T53" fmla="*/ 318 h 712"/>
                <a:gd name="T54" fmla="*/ 62 w 604"/>
                <a:gd name="T55" fmla="*/ 339 h 712"/>
                <a:gd name="T56" fmla="*/ 76 w 604"/>
                <a:gd name="T57" fmla="*/ 359 h 712"/>
                <a:gd name="T58" fmla="*/ 62 w 604"/>
                <a:gd name="T59" fmla="*/ 369 h 712"/>
                <a:gd name="T60" fmla="*/ 33 w 604"/>
                <a:gd name="T61" fmla="*/ 409 h 712"/>
                <a:gd name="T62" fmla="*/ 39 w 604"/>
                <a:gd name="T63" fmla="*/ 427 h 712"/>
                <a:gd name="T64" fmla="*/ 64 w 604"/>
                <a:gd name="T65" fmla="*/ 449 h 712"/>
                <a:gd name="T66" fmla="*/ 105 w 604"/>
                <a:gd name="T67" fmla="*/ 525 h 712"/>
                <a:gd name="T68" fmla="*/ 104 w 604"/>
                <a:gd name="T69" fmla="*/ 554 h 712"/>
                <a:gd name="T70" fmla="*/ 102 w 604"/>
                <a:gd name="T71" fmla="*/ 588 h 712"/>
                <a:gd name="T72" fmla="*/ 134 w 604"/>
                <a:gd name="T73" fmla="*/ 627 h 712"/>
                <a:gd name="T74" fmla="*/ 147 w 604"/>
                <a:gd name="T75" fmla="*/ 684 h 712"/>
                <a:gd name="T76" fmla="*/ 188 w 604"/>
                <a:gd name="T77" fmla="*/ 708 h 712"/>
                <a:gd name="T78" fmla="*/ 199 w 604"/>
                <a:gd name="T79" fmla="*/ 691 h 712"/>
                <a:gd name="T80" fmla="*/ 214 w 604"/>
                <a:gd name="T81" fmla="*/ 674 h 712"/>
                <a:gd name="T82" fmla="*/ 241 w 604"/>
                <a:gd name="T83" fmla="*/ 670 h 712"/>
                <a:gd name="T84" fmla="*/ 318 w 604"/>
                <a:gd name="T85" fmla="*/ 707 h 712"/>
                <a:gd name="T86" fmla="*/ 374 w 604"/>
                <a:gd name="T87" fmla="*/ 664 h 712"/>
                <a:gd name="T88" fmla="*/ 403 w 604"/>
                <a:gd name="T89" fmla="*/ 607 h 712"/>
                <a:gd name="T90" fmla="*/ 413 w 604"/>
                <a:gd name="T91" fmla="*/ 558 h 712"/>
                <a:gd name="T92" fmla="*/ 486 w 604"/>
                <a:gd name="T93" fmla="*/ 527 h 712"/>
                <a:gd name="T94" fmla="*/ 574 w 604"/>
                <a:gd name="T95" fmla="*/ 546 h 712"/>
                <a:gd name="T96" fmla="*/ 602 w 604"/>
                <a:gd name="T97" fmla="*/ 555 h 712"/>
                <a:gd name="T98" fmla="*/ 603 w 604"/>
                <a:gd name="T99" fmla="*/ 508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04" h="712">
                  <a:moveTo>
                    <a:pt x="0" y="70"/>
                  </a:moveTo>
                  <a:cubicBezTo>
                    <a:pt x="1" y="70"/>
                    <a:pt x="1" y="70"/>
                    <a:pt x="1" y="70"/>
                  </a:cubicBezTo>
                  <a:cubicBezTo>
                    <a:pt x="1" y="70"/>
                    <a:pt x="1" y="70"/>
                    <a:pt x="0" y="70"/>
                  </a:cubicBezTo>
                  <a:close/>
                  <a:moveTo>
                    <a:pt x="599" y="500"/>
                  </a:moveTo>
                  <a:cubicBezTo>
                    <a:pt x="599" y="500"/>
                    <a:pt x="604" y="474"/>
                    <a:pt x="604" y="460"/>
                  </a:cubicBezTo>
                  <a:cubicBezTo>
                    <a:pt x="604" y="446"/>
                    <a:pt x="595" y="428"/>
                    <a:pt x="584" y="421"/>
                  </a:cubicBezTo>
                  <a:cubicBezTo>
                    <a:pt x="573" y="414"/>
                    <a:pt x="564" y="413"/>
                    <a:pt x="557" y="404"/>
                  </a:cubicBezTo>
                  <a:cubicBezTo>
                    <a:pt x="550" y="395"/>
                    <a:pt x="561" y="361"/>
                    <a:pt x="561" y="361"/>
                  </a:cubicBezTo>
                  <a:cubicBezTo>
                    <a:pt x="561" y="361"/>
                    <a:pt x="484" y="363"/>
                    <a:pt x="471" y="354"/>
                  </a:cubicBezTo>
                  <a:cubicBezTo>
                    <a:pt x="458" y="345"/>
                    <a:pt x="468" y="314"/>
                    <a:pt x="468" y="314"/>
                  </a:cubicBezTo>
                  <a:cubicBezTo>
                    <a:pt x="468" y="314"/>
                    <a:pt x="452" y="300"/>
                    <a:pt x="450" y="294"/>
                  </a:cubicBezTo>
                  <a:cubicBezTo>
                    <a:pt x="448" y="288"/>
                    <a:pt x="463" y="290"/>
                    <a:pt x="463" y="290"/>
                  </a:cubicBezTo>
                  <a:cubicBezTo>
                    <a:pt x="461" y="269"/>
                    <a:pt x="461" y="269"/>
                    <a:pt x="461" y="269"/>
                  </a:cubicBezTo>
                  <a:cubicBezTo>
                    <a:pt x="461" y="269"/>
                    <a:pt x="454" y="257"/>
                    <a:pt x="450" y="250"/>
                  </a:cubicBezTo>
                  <a:cubicBezTo>
                    <a:pt x="446" y="243"/>
                    <a:pt x="451" y="240"/>
                    <a:pt x="450" y="230"/>
                  </a:cubicBezTo>
                  <a:cubicBezTo>
                    <a:pt x="449" y="220"/>
                    <a:pt x="429" y="211"/>
                    <a:pt x="418" y="209"/>
                  </a:cubicBezTo>
                  <a:cubicBezTo>
                    <a:pt x="407" y="207"/>
                    <a:pt x="396" y="212"/>
                    <a:pt x="386" y="211"/>
                  </a:cubicBezTo>
                  <a:cubicBezTo>
                    <a:pt x="376" y="210"/>
                    <a:pt x="367" y="190"/>
                    <a:pt x="367" y="190"/>
                  </a:cubicBezTo>
                  <a:cubicBezTo>
                    <a:pt x="367" y="190"/>
                    <a:pt x="351" y="189"/>
                    <a:pt x="340" y="184"/>
                  </a:cubicBezTo>
                  <a:cubicBezTo>
                    <a:pt x="329" y="179"/>
                    <a:pt x="321" y="167"/>
                    <a:pt x="320" y="163"/>
                  </a:cubicBezTo>
                  <a:cubicBezTo>
                    <a:pt x="319" y="159"/>
                    <a:pt x="312" y="166"/>
                    <a:pt x="304" y="166"/>
                  </a:cubicBezTo>
                  <a:cubicBezTo>
                    <a:pt x="296" y="166"/>
                    <a:pt x="290" y="152"/>
                    <a:pt x="290" y="152"/>
                  </a:cubicBezTo>
                  <a:cubicBezTo>
                    <a:pt x="290" y="152"/>
                    <a:pt x="280" y="159"/>
                    <a:pt x="276" y="158"/>
                  </a:cubicBezTo>
                  <a:cubicBezTo>
                    <a:pt x="272" y="157"/>
                    <a:pt x="268" y="157"/>
                    <a:pt x="258" y="153"/>
                  </a:cubicBezTo>
                  <a:cubicBezTo>
                    <a:pt x="248" y="149"/>
                    <a:pt x="252" y="138"/>
                    <a:pt x="249" y="133"/>
                  </a:cubicBezTo>
                  <a:cubicBezTo>
                    <a:pt x="246" y="128"/>
                    <a:pt x="230" y="130"/>
                    <a:pt x="230" y="130"/>
                  </a:cubicBezTo>
                  <a:cubicBezTo>
                    <a:pt x="224" y="110"/>
                    <a:pt x="224" y="110"/>
                    <a:pt x="224" y="110"/>
                  </a:cubicBezTo>
                  <a:cubicBezTo>
                    <a:pt x="224" y="110"/>
                    <a:pt x="217" y="106"/>
                    <a:pt x="210" y="97"/>
                  </a:cubicBezTo>
                  <a:cubicBezTo>
                    <a:pt x="203" y="88"/>
                    <a:pt x="210" y="82"/>
                    <a:pt x="210" y="73"/>
                  </a:cubicBezTo>
                  <a:cubicBezTo>
                    <a:pt x="210" y="64"/>
                    <a:pt x="201" y="56"/>
                    <a:pt x="200" y="52"/>
                  </a:cubicBezTo>
                  <a:cubicBezTo>
                    <a:pt x="199" y="48"/>
                    <a:pt x="207" y="35"/>
                    <a:pt x="207" y="35"/>
                  </a:cubicBezTo>
                  <a:cubicBezTo>
                    <a:pt x="207" y="35"/>
                    <a:pt x="215" y="8"/>
                    <a:pt x="211" y="4"/>
                  </a:cubicBezTo>
                  <a:cubicBezTo>
                    <a:pt x="207" y="0"/>
                    <a:pt x="194" y="8"/>
                    <a:pt x="193" y="12"/>
                  </a:cubicBezTo>
                  <a:cubicBezTo>
                    <a:pt x="192" y="16"/>
                    <a:pt x="183" y="6"/>
                    <a:pt x="183" y="6"/>
                  </a:cubicBezTo>
                  <a:cubicBezTo>
                    <a:pt x="174" y="14"/>
                    <a:pt x="174" y="14"/>
                    <a:pt x="174" y="14"/>
                  </a:cubicBezTo>
                  <a:cubicBezTo>
                    <a:pt x="174" y="14"/>
                    <a:pt x="164" y="13"/>
                    <a:pt x="151" y="13"/>
                  </a:cubicBezTo>
                  <a:cubicBezTo>
                    <a:pt x="138" y="13"/>
                    <a:pt x="128" y="39"/>
                    <a:pt x="128" y="39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63" y="78"/>
                    <a:pt x="50" y="81"/>
                  </a:cubicBezTo>
                  <a:cubicBezTo>
                    <a:pt x="37" y="84"/>
                    <a:pt x="34" y="73"/>
                    <a:pt x="34" y="73"/>
                  </a:cubicBezTo>
                  <a:cubicBezTo>
                    <a:pt x="34" y="73"/>
                    <a:pt x="21" y="72"/>
                    <a:pt x="9" y="71"/>
                  </a:cubicBezTo>
                  <a:cubicBezTo>
                    <a:pt x="11" y="80"/>
                    <a:pt x="18" y="101"/>
                    <a:pt x="29" y="112"/>
                  </a:cubicBezTo>
                  <a:cubicBezTo>
                    <a:pt x="44" y="125"/>
                    <a:pt x="54" y="150"/>
                    <a:pt x="52" y="157"/>
                  </a:cubicBezTo>
                  <a:cubicBezTo>
                    <a:pt x="51" y="163"/>
                    <a:pt x="41" y="174"/>
                    <a:pt x="41" y="174"/>
                  </a:cubicBezTo>
                  <a:cubicBezTo>
                    <a:pt x="50" y="204"/>
                    <a:pt x="50" y="204"/>
                    <a:pt x="50" y="204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37" y="224"/>
                    <a:pt x="56" y="237"/>
                    <a:pt x="52" y="246"/>
                  </a:cubicBezTo>
                  <a:cubicBezTo>
                    <a:pt x="48" y="256"/>
                    <a:pt x="33" y="264"/>
                    <a:pt x="35" y="279"/>
                  </a:cubicBezTo>
                  <a:cubicBezTo>
                    <a:pt x="36" y="293"/>
                    <a:pt x="44" y="304"/>
                    <a:pt x="44" y="304"/>
                  </a:cubicBezTo>
                  <a:cubicBezTo>
                    <a:pt x="39" y="315"/>
                    <a:pt x="39" y="315"/>
                    <a:pt x="39" y="315"/>
                  </a:cubicBezTo>
                  <a:cubicBezTo>
                    <a:pt x="39" y="315"/>
                    <a:pt x="39" y="316"/>
                    <a:pt x="39" y="318"/>
                  </a:cubicBezTo>
                  <a:cubicBezTo>
                    <a:pt x="44" y="322"/>
                    <a:pt x="47" y="326"/>
                    <a:pt x="47" y="326"/>
                  </a:cubicBezTo>
                  <a:cubicBezTo>
                    <a:pt x="62" y="339"/>
                    <a:pt x="62" y="339"/>
                    <a:pt x="62" y="339"/>
                  </a:cubicBezTo>
                  <a:cubicBezTo>
                    <a:pt x="63" y="351"/>
                    <a:pt x="63" y="351"/>
                    <a:pt x="63" y="351"/>
                  </a:cubicBezTo>
                  <a:cubicBezTo>
                    <a:pt x="76" y="359"/>
                    <a:pt x="76" y="359"/>
                    <a:pt x="76" y="359"/>
                  </a:cubicBezTo>
                  <a:cubicBezTo>
                    <a:pt x="68" y="376"/>
                    <a:pt x="68" y="376"/>
                    <a:pt x="68" y="376"/>
                  </a:cubicBezTo>
                  <a:cubicBezTo>
                    <a:pt x="62" y="369"/>
                    <a:pt x="62" y="369"/>
                    <a:pt x="62" y="369"/>
                  </a:cubicBezTo>
                  <a:cubicBezTo>
                    <a:pt x="61" y="377"/>
                    <a:pt x="58" y="388"/>
                    <a:pt x="52" y="392"/>
                  </a:cubicBezTo>
                  <a:cubicBezTo>
                    <a:pt x="43" y="399"/>
                    <a:pt x="33" y="409"/>
                    <a:pt x="33" y="409"/>
                  </a:cubicBezTo>
                  <a:cubicBezTo>
                    <a:pt x="40" y="426"/>
                    <a:pt x="40" y="426"/>
                    <a:pt x="40" y="426"/>
                  </a:cubicBezTo>
                  <a:cubicBezTo>
                    <a:pt x="39" y="427"/>
                    <a:pt x="39" y="427"/>
                    <a:pt x="39" y="427"/>
                  </a:cubicBezTo>
                  <a:cubicBezTo>
                    <a:pt x="50" y="449"/>
                    <a:pt x="50" y="449"/>
                    <a:pt x="50" y="449"/>
                  </a:cubicBezTo>
                  <a:cubicBezTo>
                    <a:pt x="64" y="449"/>
                    <a:pt x="64" y="449"/>
                    <a:pt x="64" y="449"/>
                  </a:cubicBezTo>
                  <a:cubicBezTo>
                    <a:pt x="73" y="501"/>
                    <a:pt x="73" y="501"/>
                    <a:pt x="73" y="501"/>
                  </a:cubicBezTo>
                  <a:cubicBezTo>
                    <a:pt x="73" y="501"/>
                    <a:pt x="109" y="513"/>
                    <a:pt x="105" y="525"/>
                  </a:cubicBezTo>
                  <a:cubicBezTo>
                    <a:pt x="101" y="537"/>
                    <a:pt x="93" y="543"/>
                    <a:pt x="93" y="543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4" y="554"/>
                    <a:pt x="89" y="566"/>
                    <a:pt x="93" y="575"/>
                  </a:cubicBezTo>
                  <a:cubicBezTo>
                    <a:pt x="97" y="585"/>
                    <a:pt x="102" y="588"/>
                    <a:pt x="102" y="588"/>
                  </a:cubicBezTo>
                  <a:cubicBezTo>
                    <a:pt x="102" y="605"/>
                    <a:pt x="102" y="605"/>
                    <a:pt x="102" y="605"/>
                  </a:cubicBezTo>
                  <a:cubicBezTo>
                    <a:pt x="102" y="605"/>
                    <a:pt x="131" y="616"/>
                    <a:pt x="134" y="627"/>
                  </a:cubicBezTo>
                  <a:cubicBezTo>
                    <a:pt x="136" y="638"/>
                    <a:pt x="134" y="668"/>
                    <a:pt x="134" y="668"/>
                  </a:cubicBezTo>
                  <a:cubicBezTo>
                    <a:pt x="147" y="684"/>
                    <a:pt x="147" y="684"/>
                    <a:pt x="147" y="684"/>
                  </a:cubicBezTo>
                  <a:cubicBezTo>
                    <a:pt x="147" y="684"/>
                    <a:pt x="146" y="710"/>
                    <a:pt x="158" y="711"/>
                  </a:cubicBezTo>
                  <a:cubicBezTo>
                    <a:pt x="170" y="712"/>
                    <a:pt x="188" y="708"/>
                    <a:pt x="188" y="708"/>
                  </a:cubicBezTo>
                  <a:cubicBezTo>
                    <a:pt x="188" y="689"/>
                    <a:pt x="188" y="689"/>
                    <a:pt x="188" y="689"/>
                  </a:cubicBezTo>
                  <a:cubicBezTo>
                    <a:pt x="199" y="691"/>
                    <a:pt x="199" y="691"/>
                    <a:pt x="199" y="691"/>
                  </a:cubicBezTo>
                  <a:cubicBezTo>
                    <a:pt x="199" y="677"/>
                    <a:pt x="199" y="677"/>
                    <a:pt x="199" y="677"/>
                  </a:cubicBezTo>
                  <a:cubicBezTo>
                    <a:pt x="214" y="674"/>
                    <a:pt x="214" y="674"/>
                    <a:pt x="214" y="674"/>
                  </a:cubicBezTo>
                  <a:cubicBezTo>
                    <a:pt x="222" y="657"/>
                    <a:pt x="222" y="657"/>
                    <a:pt x="222" y="657"/>
                  </a:cubicBezTo>
                  <a:cubicBezTo>
                    <a:pt x="222" y="657"/>
                    <a:pt x="227" y="666"/>
                    <a:pt x="241" y="670"/>
                  </a:cubicBezTo>
                  <a:cubicBezTo>
                    <a:pt x="254" y="674"/>
                    <a:pt x="296" y="673"/>
                    <a:pt x="296" y="673"/>
                  </a:cubicBezTo>
                  <a:cubicBezTo>
                    <a:pt x="318" y="707"/>
                    <a:pt x="318" y="707"/>
                    <a:pt x="318" y="707"/>
                  </a:cubicBezTo>
                  <a:cubicBezTo>
                    <a:pt x="323" y="670"/>
                    <a:pt x="323" y="670"/>
                    <a:pt x="323" y="670"/>
                  </a:cubicBezTo>
                  <a:cubicBezTo>
                    <a:pt x="374" y="664"/>
                    <a:pt x="374" y="664"/>
                    <a:pt x="374" y="664"/>
                  </a:cubicBezTo>
                  <a:cubicBezTo>
                    <a:pt x="397" y="681"/>
                    <a:pt x="397" y="681"/>
                    <a:pt x="397" y="681"/>
                  </a:cubicBezTo>
                  <a:cubicBezTo>
                    <a:pt x="397" y="681"/>
                    <a:pt x="405" y="613"/>
                    <a:pt x="403" y="607"/>
                  </a:cubicBezTo>
                  <a:cubicBezTo>
                    <a:pt x="402" y="600"/>
                    <a:pt x="387" y="578"/>
                    <a:pt x="394" y="574"/>
                  </a:cubicBezTo>
                  <a:cubicBezTo>
                    <a:pt x="401" y="570"/>
                    <a:pt x="413" y="558"/>
                    <a:pt x="413" y="558"/>
                  </a:cubicBezTo>
                  <a:cubicBezTo>
                    <a:pt x="417" y="539"/>
                    <a:pt x="417" y="539"/>
                    <a:pt x="417" y="539"/>
                  </a:cubicBezTo>
                  <a:cubicBezTo>
                    <a:pt x="486" y="527"/>
                    <a:pt x="486" y="527"/>
                    <a:pt x="486" y="527"/>
                  </a:cubicBezTo>
                  <a:cubicBezTo>
                    <a:pt x="539" y="518"/>
                    <a:pt x="539" y="518"/>
                    <a:pt x="539" y="518"/>
                  </a:cubicBezTo>
                  <a:cubicBezTo>
                    <a:pt x="574" y="546"/>
                    <a:pt x="574" y="546"/>
                    <a:pt x="574" y="546"/>
                  </a:cubicBezTo>
                  <a:cubicBezTo>
                    <a:pt x="587" y="569"/>
                    <a:pt x="587" y="569"/>
                    <a:pt x="587" y="569"/>
                  </a:cubicBezTo>
                  <a:cubicBezTo>
                    <a:pt x="587" y="563"/>
                    <a:pt x="602" y="555"/>
                    <a:pt x="602" y="555"/>
                  </a:cubicBezTo>
                  <a:cubicBezTo>
                    <a:pt x="602" y="555"/>
                    <a:pt x="590" y="545"/>
                    <a:pt x="588" y="540"/>
                  </a:cubicBezTo>
                  <a:cubicBezTo>
                    <a:pt x="586" y="535"/>
                    <a:pt x="603" y="508"/>
                    <a:pt x="603" y="508"/>
                  </a:cubicBezTo>
                  <a:lnTo>
                    <a:pt x="599" y="500"/>
                  </a:ln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" name="Freeform 343">
              <a:extLst>
                <a:ext uri="{FF2B5EF4-FFF2-40B4-BE49-F238E27FC236}">
                  <a16:creationId xmlns:a16="http://schemas.microsoft.com/office/drawing/2014/main" id="{E0D671D3-04F2-DF61-FBDF-F58F1CC12245}"/>
                </a:ext>
              </a:extLst>
            </p:cNvPr>
            <p:cNvSpPr>
              <a:spLocks/>
            </p:cNvSpPr>
            <p:nvPr/>
          </p:nvSpPr>
          <p:spPr bwMode="gray">
            <a:xfrm>
              <a:off x="-716" y="-15753"/>
              <a:ext cx="1885" cy="1056"/>
            </a:xfrm>
            <a:custGeom>
              <a:avLst/>
              <a:gdLst>
                <a:gd name="T0" fmla="*/ 764 w 798"/>
                <a:gd name="T1" fmla="*/ 243 h 447"/>
                <a:gd name="T2" fmla="*/ 745 w 798"/>
                <a:gd name="T3" fmla="*/ 230 h 447"/>
                <a:gd name="T4" fmla="*/ 721 w 798"/>
                <a:gd name="T5" fmla="*/ 212 h 447"/>
                <a:gd name="T6" fmla="*/ 712 w 798"/>
                <a:gd name="T7" fmla="*/ 222 h 447"/>
                <a:gd name="T8" fmla="*/ 689 w 798"/>
                <a:gd name="T9" fmla="*/ 229 h 447"/>
                <a:gd name="T10" fmla="*/ 660 w 798"/>
                <a:gd name="T11" fmla="*/ 212 h 447"/>
                <a:gd name="T12" fmla="*/ 690 w 798"/>
                <a:gd name="T13" fmla="*/ 175 h 447"/>
                <a:gd name="T14" fmla="*/ 653 w 798"/>
                <a:gd name="T15" fmla="*/ 185 h 447"/>
                <a:gd name="T16" fmla="*/ 623 w 798"/>
                <a:gd name="T17" fmla="*/ 208 h 447"/>
                <a:gd name="T18" fmla="*/ 596 w 798"/>
                <a:gd name="T19" fmla="*/ 236 h 447"/>
                <a:gd name="T20" fmla="*/ 573 w 798"/>
                <a:gd name="T21" fmla="*/ 259 h 447"/>
                <a:gd name="T22" fmla="*/ 509 w 798"/>
                <a:gd name="T23" fmla="*/ 228 h 447"/>
                <a:gd name="T24" fmla="*/ 469 w 798"/>
                <a:gd name="T25" fmla="*/ 188 h 447"/>
                <a:gd name="T26" fmla="*/ 441 w 798"/>
                <a:gd name="T27" fmla="*/ 136 h 447"/>
                <a:gd name="T28" fmla="*/ 379 w 798"/>
                <a:gd name="T29" fmla="*/ 105 h 447"/>
                <a:gd name="T30" fmla="*/ 272 w 798"/>
                <a:gd name="T31" fmla="*/ 108 h 447"/>
                <a:gd name="T32" fmla="*/ 177 w 798"/>
                <a:gd name="T33" fmla="*/ 38 h 447"/>
                <a:gd name="T34" fmla="*/ 174 w 798"/>
                <a:gd name="T35" fmla="*/ 75 h 447"/>
                <a:gd name="T36" fmla="*/ 149 w 798"/>
                <a:gd name="T37" fmla="*/ 55 h 447"/>
                <a:gd name="T38" fmla="*/ 145 w 798"/>
                <a:gd name="T39" fmla="*/ 23 h 447"/>
                <a:gd name="T40" fmla="*/ 106 w 798"/>
                <a:gd name="T41" fmla="*/ 20 h 447"/>
                <a:gd name="T42" fmla="*/ 116 w 798"/>
                <a:gd name="T43" fmla="*/ 45 h 447"/>
                <a:gd name="T44" fmla="*/ 92 w 798"/>
                <a:gd name="T45" fmla="*/ 37 h 447"/>
                <a:gd name="T46" fmla="*/ 103 w 798"/>
                <a:gd name="T47" fmla="*/ 3 h 447"/>
                <a:gd name="T48" fmla="*/ 0 w 798"/>
                <a:gd name="T49" fmla="*/ 31 h 447"/>
                <a:gd name="T50" fmla="*/ 37 w 798"/>
                <a:gd name="T51" fmla="*/ 217 h 447"/>
                <a:gd name="T52" fmla="*/ 92 w 798"/>
                <a:gd name="T53" fmla="*/ 224 h 447"/>
                <a:gd name="T54" fmla="*/ 112 w 798"/>
                <a:gd name="T55" fmla="*/ 175 h 447"/>
                <a:gd name="T56" fmla="*/ 139 w 798"/>
                <a:gd name="T57" fmla="*/ 169 h 447"/>
                <a:gd name="T58" fmla="*/ 139 w 798"/>
                <a:gd name="T59" fmla="*/ 152 h 447"/>
                <a:gd name="T60" fmla="*/ 155 w 798"/>
                <a:gd name="T61" fmla="*/ 161 h 447"/>
                <a:gd name="T62" fmla="*/ 169 w 798"/>
                <a:gd name="T63" fmla="*/ 168 h 447"/>
                <a:gd name="T64" fmla="*/ 201 w 798"/>
                <a:gd name="T65" fmla="*/ 173 h 447"/>
                <a:gd name="T66" fmla="*/ 219 w 798"/>
                <a:gd name="T67" fmla="*/ 197 h 447"/>
                <a:gd name="T68" fmla="*/ 243 w 798"/>
                <a:gd name="T69" fmla="*/ 227 h 447"/>
                <a:gd name="T70" fmla="*/ 279 w 798"/>
                <a:gd name="T71" fmla="*/ 225 h 447"/>
                <a:gd name="T72" fmla="*/ 312 w 798"/>
                <a:gd name="T73" fmla="*/ 256 h 447"/>
                <a:gd name="T74" fmla="*/ 336 w 798"/>
                <a:gd name="T75" fmla="*/ 293 h 447"/>
                <a:gd name="T76" fmla="*/ 381 w 798"/>
                <a:gd name="T77" fmla="*/ 319 h 447"/>
                <a:gd name="T78" fmla="*/ 417 w 798"/>
                <a:gd name="T79" fmla="*/ 348 h 447"/>
                <a:gd name="T80" fmla="*/ 444 w 798"/>
                <a:gd name="T81" fmla="*/ 357 h 447"/>
                <a:gd name="T82" fmla="*/ 476 w 798"/>
                <a:gd name="T83" fmla="*/ 376 h 447"/>
                <a:gd name="T84" fmla="*/ 516 w 798"/>
                <a:gd name="T85" fmla="*/ 387 h 447"/>
                <a:gd name="T86" fmla="*/ 548 w 798"/>
                <a:gd name="T87" fmla="*/ 425 h 447"/>
                <a:gd name="T88" fmla="*/ 563 w 798"/>
                <a:gd name="T89" fmla="*/ 437 h 447"/>
                <a:gd name="T90" fmla="*/ 580 w 798"/>
                <a:gd name="T91" fmla="*/ 445 h 447"/>
                <a:gd name="T92" fmla="*/ 596 w 798"/>
                <a:gd name="T93" fmla="*/ 440 h 447"/>
                <a:gd name="T94" fmla="*/ 603 w 798"/>
                <a:gd name="T95" fmla="*/ 445 h 447"/>
                <a:gd name="T96" fmla="*/ 622 w 798"/>
                <a:gd name="T97" fmla="*/ 397 h 447"/>
                <a:gd name="T98" fmla="*/ 603 w 798"/>
                <a:gd name="T99" fmla="*/ 353 h 447"/>
                <a:gd name="T100" fmla="*/ 575 w 798"/>
                <a:gd name="T101" fmla="*/ 339 h 447"/>
                <a:gd name="T102" fmla="*/ 567 w 798"/>
                <a:gd name="T103" fmla="*/ 321 h 447"/>
                <a:gd name="T104" fmla="*/ 610 w 798"/>
                <a:gd name="T105" fmla="*/ 305 h 447"/>
                <a:gd name="T106" fmla="*/ 607 w 798"/>
                <a:gd name="T107" fmla="*/ 282 h 447"/>
                <a:gd name="T108" fmla="*/ 626 w 798"/>
                <a:gd name="T109" fmla="*/ 264 h 447"/>
                <a:gd name="T110" fmla="*/ 652 w 798"/>
                <a:gd name="T111" fmla="*/ 260 h 447"/>
                <a:gd name="T112" fmla="*/ 694 w 798"/>
                <a:gd name="T113" fmla="*/ 251 h 447"/>
                <a:gd name="T114" fmla="*/ 701 w 798"/>
                <a:gd name="T115" fmla="*/ 283 h 447"/>
                <a:gd name="T116" fmla="*/ 741 w 798"/>
                <a:gd name="T117" fmla="*/ 286 h 447"/>
                <a:gd name="T118" fmla="*/ 766 w 798"/>
                <a:gd name="T119" fmla="*/ 271 h 447"/>
                <a:gd name="T120" fmla="*/ 788 w 798"/>
                <a:gd name="T121" fmla="*/ 254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98" h="447">
                  <a:moveTo>
                    <a:pt x="769" y="248"/>
                  </a:moveTo>
                  <a:cubicBezTo>
                    <a:pt x="764" y="243"/>
                    <a:pt x="764" y="243"/>
                    <a:pt x="764" y="243"/>
                  </a:cubicBezTo>
                  <a:cubicBezTo>
                    <a:pt x="751" y="241"/>
                    <a:pt x="751" y="241"/>
                    <a:pt x="751" y="241"/>
                  </a:cubicBezTo>
                  <a:cubicBezTo>
                    <a:pt x="745" y="230"/>
                    <a:pt x="745" y="230"/>
                    <a:pt x="745" y="230"/>
                  </a:cubicBezTo>
                  <a:cubicBezTo>
                    <a:pt x="732" y="230"/>
                    <a:pt x="732" y="230"/>
                    <a:pt x="732" y="230"/>
                  </a:cubicBezTo>
                  <a:cubicBezTo>
                    <a:pt x="721" y="212"/>
                    <a:pt x="721" y="212"/>
                    <a:pt x="721" y="212"/>
                  </a:cubicBezTo>
                  <a:cubicBezTo>
                    <a:pt x="721" y="222"/>
                    <a:pt x="721" y="222"/>
                    <a:pt x="721" y="222"/>
                  </a:cubicBezTo>
                  <a:cubicBezTo>
                    <a:pt x="712" y="222"/>
                    <a:pt x="712" y="222"/>
                    <a:pt x="712" y="222"/>
                  </a:cubicBezTo>
                  <a:cubicBezTo>
                    <a:pt x="713" y="231"/>
                    <a:pt x="713" y="231"/>
                    <a:pt x="713" y="231"/>
                  </a:cubicBezTo>
                  <a:cubicBezTo>
                    <a:pt x="713" y="231"/>
                    <a:pt x="694" y="233"/>
                    <a:pt x="689" y="229"/>
                  </a:cubicBezTo>
                  <a:cubicBezTo>
                    <a:pt x="684" y="225"/>
                    <a:pt x="683" y="220"/>
                    <a:pt x="683" y="220"/>
                  </a:cubicBezTo>
                  <a:cubicBezTo>
                    <a:pt x="660" y="212"/>
                    <a:pt x="660" y="212"/>
                    <a:pt x="660" y="212"/>
                  </a:cubicBezTo>
                  <a:cubicBezTo>
                    <a:pt x="660" y="212"/>
                    <a:pt x="696" y="183"/>
                    <a:pt x="694" y="178"/>
                  </a:cubicBezTo>
                  <a:cubicBezTo>
                    <a:pt x="693" y="177"/>
                    <a:pt x="692" y="176"/>
                    <a:pt x="690" y="175"/>
                  </a:cubicBezTo>
                  <a:cubicBezTo>
                    <a:pt x="671" y="184"/>
                    <a:pt x="671" y="184"/>
                    <a:pt x="671" y="184"/>
                  </a:cubicBezTo>
                  <a:cubicBezTo>
                    <a:pt x="653" y="185"/>
                    <a:pt x="653" y="185"/>
                    <a:pt x="653" y="185"/>
                  </a:cubicBezTo>
                  <a:cubicBezTo>
                    <a:pt x="645" y="203"/>
                    <a:pt x="645" y="203"/>
                    <a:pt x="645" y="203"/>
                  </a:cubicBezTo>
                  <a:cubicBezTo>
                    <a:pt x="645" y="203"/>
                    <a:pt x="633" y="205"/>
                    <a:pt x="623" y="208"/>
                  </a:cubicBezTo>
                  <a:cubicBezTo>
                    <a:pt x="612" y="211"/>
                    <a:pt x="613" y="229"/>
                    <a:pt x="613" y="229"/>
                  </a:cubicBezTo>
                  <a:cubicBezTo>
                    <a:pt x="613" y="229"/>
                    <a:pt x="605" y="229"/>
                    <a:pt x="596" y="236"/>
                  </a:cubicBezTo>
                  <a:cubicBezTo>
                    <a:pt x="587" y="243"/>
                    <a:pt x="595" y="267"/>
                    <a:pt x="595" y="267"/>
                  </a:cubicBezTo>
                  <a:cubicBezTo>
                    <a:pt x="595" y="267"/>
                    <a:pt x="584" y="261"/>
                    <a:pt x="573" y="259"/>
                  </a:cubicBezTo>
                  <a:cubicBezTo>
                    <a:pt x="563" y="256"/>
                    <a:pt x="580" y="243"/>
                    <a:pt x="573" y="233"/>
                  </a:cubicBezTo>
                  <a:cubicBezTo>
                    <a:pt x="567" y="224"/>
                    <a:pt x="520" y="233"/>
                    <a:pt x="509" y="228"/>
                  </a:cubicBezTo>
                  <a:cubicBezTo>
                    <a:pt x="499" y="223"/>
                    <a:pt x="497" y="199"/>
                    <a:pt x="488" y="188"/>
                  </a:cubicBezTo>
                  <a:cubicBezTo>
                    <a:pt x="479" y="177"/>
                    <a:pt x="479" y="191"/>
                    <a:pt x="469" y="188"/>
                  </a:cubicBezTo>
                  <a:cubicBezTo>
                    <a:pt x="460" y="185"/>
                    <a:pt x="467" y="137"/>
                    <a:pt x="461" y="136"/>
                  </a:cubicBezTo>
                  <a:cubicBezTo>
                    <a:pt x="456" y="135"/>
                    <a:pt x="441" y="136"/>
                    <a:pt x="441" y="136"/>
                  </a:cubicBezTo>
                  <a:cubicBezTo>
                    <a:pt x="441" y="136"/>
                    <a:pt x="411" y="93"/>
                    <a:pt x="404" y="93"/>
                  </a:cubicBezTo>
                  <a:cubicBezTo>
                    <a:pt x="397" y="93"/>
                    <a:pt x="379" y="105"/>
                    <a:pt x="379" y="105"/>
                  </a:cubicBezTo>
                  <a:cubicBezTo>
                    <a:pt x="379" y="105"/>
                    <a:pt x="341" y="101"/>
                    <a:pt x="325" y="101"/>
                  </a:cubicBezTo>
                  <a:cubicBezTo>
                    <a:pt x="309" y="101"/>
                    <a:pt x="272" y="108"/>
                    <a:pt x="272" y="108"/>
                  </a:cubicBezTo>
                  <a:cubicBezTo>
                    <a:pt x="223" y="60"/>
                    <a:pt x="223" y="60"/>
                    <a:pt x="223" y="60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81" y="47"/>
                    <a:pt x="186" y="56"/>
                    <a:pt x="183" y="61"/>
                  </a:cubicBezTo>
                  <a:cubicBezTo>
                    <a:pt x="178" y="70"/>
                    <a:pt x="174" y="75"/>
                    <a:pt x="174" y="75"/>
                  </a:cubicBezTo>
                  <a:cubicBezTo>
                    <a:pt x="174" y="75"/>
                    <a:pt x="162" y="76"/>
                    <a:pt x="154" y="70"/>
                  </a:cubicBezTo>
                  <a:cubicBezTo>
                    <a:pt x="146" y="64"/>
                    <a:pt x="149" y="55"/>
                    <a:pt x="149" y="55"/>
                  </a:cubicBezTo>
                  <a:cubicBezTo>
                    <a:pt x="142" y="36"/>
                    <a:pt x="142" y="36"/>
                    <a:pt x="142" y="36"/>
                  </a:cubicBezTo>
                  <a:cubicBezTo>
                    <a:pt x="145" y="23"/>
                    <a:pt x="145" y="23"/>
                    <a:pt x="145" y="23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06" y="20"/>
                    <a:pt x="106" y="20"/>
                    <a:pt x="106" y="20"/>
                  </a:cubicBezTo>
                  <a:cubicBezTo>
                    <a:pt x="106" y="20"/>
                    <a:pt x="119" y="28"/>
                    <a:pt x="119" y="37"/>
                  </a:cubicBezTo>
                  <a:cubicBezTo>
                    <a:pt x="119" y="46"/>
                    <a:pt x="116" y="45"/>
                    <a:pt x="116" y="45"/>
                  </a:cubicBezTo>
                  <a:cubicBezTo>
                    <a:pt x="116" y="45"/>
                    <a:pt x="117" y="55"/>
                    <a:pt x="106" y="57"/>
                  </a:cubicBezTo>
                  <a:cubicBezTo>
                    <a:pt x="95" y="59"/>
                    <a:pt x="98" y="39"/>
                    <a:pt x="92" y="37"/>
                  </a:cubicBezTo>
                  <a:cubicBezTo>
                    <a:pt x="86" y="35"/>
                    <a:pt x="99" y="21"/>
                    <a:pt x="99" y="21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35" y="218"/>
                    <a:pt x="35" y="218"/>
                    <a:pt x="35" y="218"/>
                  </a:cubicBezTo>
                  <a:cubicBezTo>
                    <a:pt x="36" y="218"/>
                    <a:pt x="36" y="217"/>
                    <a:pt x="37" y="217"/>
                  </a:cubicBezTo>
                  <a:cubicBezTo>
                    <a:pt x="44" y="217"/>
                    <a:pt x="48" y="224"/>
                    <a:pt x="48" y="224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92" y="224"/>
                    <a:pt x="77" y="208"/>
                    <a:pt x="79" y="195"/>
                  </a:cubicBezTo>
                  <a:cubicBezTo>
                    <a:pt x="80" y="181"/>
                    <a:pt x="112" y="175"/>
                    <a:pt x="112" y="175"/>
                  </a:cubicBezTo>
                  <a:cubicBezTo>
                    <a:pt x="112" y="175"/>
                    <a:pt x="112" y="164"/>
                    <a:pt x="116" y="163"/>
                  </a:cubicBezTo>
                  <a:cubicBezTo>
                    <a:pt x="120" y="161"/>
                    <a:pt x="139" y="169"/>
                    <a:pt x="139" y="169"/>
                  </a:cubicBezTo>
                  <a:cubicBezTo>
                    <a:pt x="119" y="151"/>
                    <a:pt x="119" y="151"/>
                    <a:pt x="119" y="151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43" y="145"/>
                    <a:pt x="143" y="145"/>
                    <a:pt x="143" y="145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79" y="172"/>
                    <a:pt x="179" y="172"/>
                    <a:pt x="179" y="172"/>
                  </a:cubicBezTo>
                  <a:cubicBezTo>
                    <a:pt x="179" y="172"/>
                    <a:pt x="192" y="169"/>
                    <a:pt x="201" y="173"/>
                  </a:cubicBezTo>
                  <a:cubicBezTo>
                    <a:pt x="211" y="177"/>
                    <a:pt x="209" y="192"/>
                    <a:pt x="209" y="192"/>
                  </a:cubicBezTo>
                  <a:cubicBezTo>
                    <a:pt x="219" y="197"/>
                    <a:pt x="219" y="197"/>
                    <a:pt x="219" y="197"/>
                  </a:cubicBezTo>
                  <a:cubicBezTo>
                    <a:pt x="219" y="197"/>
                    <a:pt x="207" y="209"/>
                    <a:pt x="212" y="219"/>
                  </a:cubicBezTo>
                  <a:cubicBezTo>
                    <a:pt x="217" y="228"/>
                    <a:pt x="243" y="227"/>
                    <a:pt x="243" y="227"/>
                  </a:cubicBezTo>
                  <a:cubicBezTo>
                    <a:pt x="279" y="231"/>
                    <a:pt x="279" y="231"/>
                    <a:pt x="279" y="231"/>
                  </a:cubicBezTo>
                  <a:cubicBezTo>
                    <a:pt x="279" y="225"/>
                    <a:pt x="279" y="225"/>
                    <a:pt x="279" y="225"/>
                  </a:cubicBezTo>
                  <a:cubicBezTo>
                    <a:pt x="303" y="237"/>
                    <a:pt x="303" y="237"/>
                    <a:pt x="303" y="237"/>
                  </a:cubicBezTo>
                  <a:cubicBezTo>
                    <a:pt x="312" y="256"/>
                    <a:pt x="312" y="256"/>
                    <a:pt x="312" y="256"/>
                  </a:cubicBezTo>
                  <a:cubicBezTo>
                    <a:pt x="325" y="271"/>
                    <a:pt x="325" y="271"/>
                    <a:pt x="325" y="271"/>
                  </a:cubicBezTo>
                  <a:cubicBezTo>
                    <a:pt x="325" y="271"/>
                    <a:pt x="333" y="283"/>
                    <a:pt x="336" y="293"/>
                  </a:cubicBezTo>
                  <a:cubicBezTo>
                    <a:pt x="339" y="304"/>
                    <a:pt x="351" y="309"/>
                    <a:pt x="357" y="312"/>
                  </a:cubicBezTo>
                  <a:cubicBezTo>
                    <a:pt x="364" y="315"/>
                    <a:pt x="377" y="317"/>
                    <a:pt x="381" y="319"/>
                  </a:cubicBezTo>
                  <a:cubicBezTo>
                    <a:pt x="385" y="320"/>
                    <a:pt x="397" y="336"/>
                    <a:pt x="397" y="336"/>
                  </a:cubicBezTo>
                  <a:cubicBezTo>
                    <a:pt x="417" y="348"/>
                    <a:pt x="417" y="348"/>
                    <a:pt x="417" y="348"/>
                  </a:cubicBezTo>
                  <a:cubicBezTo>
                    <a:pt x="435" y="349"/>
                    <a:pt x="435" y="349"/>
                    <a:pt x="435" y="349"/>
                  </a:cubicBezTo>
                  <a:cubicBezTo>
                    <a:pt x="444" y="357"/>
                    <a:pt x="444" y="357"/>
                    <a:pt x="444" y="357"/>
                  </a:cubicBezTo>
                  <a:cubicBezTo>
                    <a:pt x="455" y="360"/>
                    <a:pt x="455" y="360"/>
                    <a:pt x="455" y="360"/>
                  </a:cubicBezTo>
                  <a:cubicBezTo>
                    <a:pt x="455" y="360"/>
                    <a:pt x="469" y="371"/>
                    <a:pt x="476" y="376"/>
                  </a:cubicBezTo>
                  <a:cubicBezTo>
                    <a:pt x="483" y="381"/>
                    <a:pt x="501" y="389"/>
                    <a:pt x="501" y="389"/>
                  </a:cubicBezTo>
                  <a:cubicBezTo>
                    <a:pt x="516" y="387"/>
                    <a:pt x="516" y="387"/>
                    <a:pt x="516" y="387"/>
                  </a:cubicBezTo>
                  <a:cubicBezTo>
                    <a:pt x="549" y="405"/>
                    <a:pt x="549" y="405"/>
                    <a:pt x="549" y="405"/>
                  </a:cubicBezTo>
                  <a:cubicBezTo>
                    <a:pt x="549" y="405"/>
                    <a:pt x="537" y="417"/>
                    <a:pt x="548" y="425"/>
                  </a:cubicBezTo>
                  <a:cubicBezTo>
                    <a:pt x="554" y="430"/>
                    <a:pt x="555" y="434"/>
                    <a:pt x="555" y="437"/>
                  </a:cubicBezTo>
                  <a:cubicBezTo>
                    <a:pt x="563" y="437"/>
                    <a:pt x="563" y="437"/>
                    <a:pt x="563" y="437"/>
                  </a:cubicBezTo>
                  <a:cubicBezTo>
                    <a:pt x="571" y="431"/>
                    <a:pt x="571" y="431"/>
                    <a:pt x="571" y="431"/>
                  </a:cubicBezTo>
                  <a:cubicBezTo>
                    <a:pt x="580" y="445"/>
                    <a:pt x="580" y="445"/>
                    <a:pt x="580" y="445"/>
                  </a:cubicBezTo>
                  <a:cubicBezTo>
                    <a:pt x="591" y="440"/>
                    <a:pt x="591" y="440"/>
                    <a:pt x="591" y="440"/>
                  </a:cubicBezTo>
                  <a:cubicBezTo>
                    <a:pt x="596" y="440"/>
                    <a:pt x="596" y="440"/>
                    <a:pt x="596" y="440"/>
                  </a:cubicBezTo>
                  <a:cubicBezTo>
                    <a:pt x="596" y="440"/>
                    <a:pt x="600" y="443"/>
                    <a:pt x="605" y="447"/>
                  </a:cubicBezTo>
                  <a:cubicBezTo>
                    <a:pt x="604" y="446"/>
                    <a:pt x="603" y="446"/>
                    <a:pt x="603" y="445"/>
                  </a:cubicBezTo>
                  <a:cubicBezTo>
                    <a:pt x="602" y="439"/>
                    <a:pt x="601" y="430"/>
                    <a:pt x="605" y="426"/>
                  </a:cubicBezTo>
                  <a:cubicBezTo>
                    <a:pt x="612" y="418"/>
                    <a:pt x="622" y="408"/>
                    <a:pt x="622" y="397"/>
                  </a:cubicBezTo>
                  <a:cubicBezTo>
                    <a:pt x="622" y="386"/>
                    <a:pt x="609" y="387"/>
                    <a:pt x="603" y="377"/>
                  </a:cubicBezTo>
                  <a:cubicBezTo>
                    <a:pt x="597" y="367"/>
                    <a:pt x="608" y="358"/>
                    <a:pt x="603" y="353"/>
                  </a:cubicBezTo>
                  <a:cubicBezTo>
                    <a:pt x="598" y="348"/>
                    <a:pt x="582" y="347"/>
                    <a:pt x="582" y="347"/>
                  </a:cubicBezTo>
                  <a:cubicBezTo>
                    <a:pt x="575" y="339"/>
                    <a:pt x="575" y="339"/>
                    <a:pt x="575" y="339"/>
                  </a:cubicBezTo>
                  <a:cubicBezTo>
                    <a:pt x="561" y="336"/>
                    <a:pt x="561" y="336"/>
                    <a:pt x="561" y="336"/>
                  </a:cubicBezTo>
                  <a:cubicBezTo>
                    <a:pt x="561" y="336"/>
                    <a:pt x="561" y="326"/>
                    <a:pt x="567" y="321"/>
                  </a:cubicBezTo>
                  <a:cubicBezTo>
                    <a:pt x="573" y="316"/>
                    <a:pt x="592" y="328"/>
                    <a:pt x="607" y="319"/>
                  </a:cubicBezTo>
                  <a:cubicBezTo>
                    <a:pt x="622" y="310"/>
                    <a:pt x="610" y="305"/>
                    <a:pt x="610" y="305"/>
                  </a:cubicBezTo>
                  <a:cubicBezTo>
                    <a:pt x="620" y="296"/>
                    <a:pt x="620" y="296"/>
                    <a:pt x="620" y="296"/>
                  </a:cubicBezTo>
                  <a:cubicBezTo>
                    <a:pt x="607" y="282"/>
                    <a:pt x="607" y="282"/>
                    <a:pt x="607" y="282"/>
                  </a:cubicBezTo>
                  <a:cubicBezTo>
                    <a:pt x="607" y="282"/>
                    <a:pt x="626" y="287"/>
                    <a:pt x="632" y="281"/>
                  </a:cubicBezTo>
                  <a:cubicBezTo>
                    <a:pt x="638" y="275"/>
                    <a:pt x="625" y="268"/>
                    <a:pt x="626" y="264"/>
                  </a:cubicBezTo>
                  <a:cubicBezTo>
                    <a:pt x="627" y="260"/>
                    <a:pt x="629" y="251"/>
                    <a:pt x="635" y="251"/>
                  </a:cubicBezTo>
                  <a:cubicBezTo>
                    <a:pt x="641" y="251"/>
                    <a:pt x="644" y="265"/>
                    <a:pt x="652" y="260"/>
                  </a:cubicBezTo>
                  <a:cubicBezTo>
                    <a:pt x="660" y="255"/>
                    <a:pt x="671" y="243"/>
                    <a:pt x="675" y="241"/>
                  </a:cubicBezTo>
                  <a:cubicBezTo>
                    <a:pt x="679" y="239"/>
                    <a:pt x="694" y="251"/>
                    <a:pt x="694" y="251"/>
                  </a:cubicBezTo>
                  <a:cubicBezTo>
                    <a:pt x="678" y="272"/>
                    <a:pt x="678" y="272"/>
                    <a:pt x="678" y="272"/>
                  </a:cubicBezTo>
                  <a:cubicBezTo>
                    <a:pt x="678" y="272"/>
                    <a:pt x="698" y="278"/>
                    <a:pt x="701" y="283"/>
                  </a:cubicBezTo>
                  <a:cubicBezTo>
                    <a:pt x="708" y="280"/>
                    <a:pt x="717" y="277"/>
                    <a:pt x="721" y="276"/>
                  </a:cubicBezTo>
                  <a:cubicBezTo>
                    <a:pt x="728" y="274"/>
                    <a:pt x="732" y="290"/>
                    <a:pt x="741" y="286"/>
                  </a:cubicBezTo>
                  <a:cubicBezTo>
                    <a:pt x="750" y="282"/>
                    <a:pt x="752" y="273"/>
                    <a:pt x="752" y="273"/>
                  </a:cubicBezTo>
                  <a:cubicBezTo>
                    <a:pt x="766" y="271"/>
                    <a:pt x="766" y="271"/>
                    <a:pt x="766" y="271"/>
                  </a:cubicBezTo>
                  <a:cubicBezTo>
                    <a:pt x="766" y="265"/>
                    <a:pt x="766" y="265"/>
                    <a:pt x="766" y="265"/>
                  </a:cubicBezTo>
                  <a:cubicBezTo>
                    <a:pt x="766" y="265"/>
                    <a:pt x="778" y="266"/>
                    <a:pt x="788" y="254"/>
                  </a:cubicBezTo>
                  <a:cubicBezTo>
                    <a:pt x="798" y="242"/>
                    <a:pt x="769" y="248"/>
                    <a:pt x="769" y="248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" name="Freeform 344">
              <a:extLst>
                <a:ext uri="{FF2B5EF4-FFF2-40B4-BE49-F238E27FC236}">
                  <a16:creationId xmlns:a16="http://schemas.microsoft.com/office/drawing/2014/main" id="{6EB60120-9DCE-BD5C-8A81-1B314F77DF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739" y="-16960"/>
              <a:ext cx="3952" cy="1838"/>
            </a:xfrm>
            <a:custGeom>
              <a:avLst/>
              <a:gdLst>
                <a:gd name="T0" fmla="*/ 545 w 1673"/>
                <a:gd name="T1" fmla="*/ 518 h 778"/>
                <a:gd name="T2" fmla="*/ 1655 w 1673"/>
                <a:gd name="T3" fmla="*/ 327 h 778"/>
                <a:gd name="T4" fmla="*/ 1625 w 1673"/>
                <a:gd name="T5" fmla="*/ 304 h 778"/>
                <a:gd name="T6" fmla="*/ 1481 w 1673"/>
                <a:gd name="T7" fmla="*/ 226 h 778"/>
                <a:gd name="T8" fmla="*/ 1372 w 1673"/>
                <a:gd name="T9" fmla="*/ 207 h 778"/>
                <a:gd name="T10" fmla="*/ 1126 w 1673"/>
                <a:gd name="T11" fmla="*/ 70 h 778"/>
                <a:gd name="T12" fmla="*/ 1085 w 1673"/>
                <a:gd name="T13" fmla="*/ 76 h 778"/>
                <a:gd name="T14" fmla="*/ 1016 w 1673"/>
                <a:gd name="T15" fmla="*/ 98 h 778"/>
                <a:gd name="T16" fmla="*/ 972 w 1673"/>
                <a:gd name="T17" fmla="*/ 71 h 778"/>
                <a:gd name="T18" fmla="*/ 909 w 1673"/>
                <a:gd name="T19" fmla="*/ 36 h 778"/>
                <a:gd name="T20" fmla="*/ 812 w 1673"/>
                <a:gd name="T21" fmla="*/ 2 h 778"/>
                <a:gd name="T22" fmla="*/ 674 w 1673"/>
                <a:gd name="T23" fmla="*/ 52 h 778"/>
                <a:gd name="T24" fmla="*/ 521 w 1673"/>
                <a:gd name="T25" fmla="*/ 95 h 778"/>
                <a:gd name="T26" fmla="*/ 534 w 1673"/>
                <a:gd name="T27" fmla="*/ 123 h 778"/>
                <a:gd name="T28" fmla="*/ 528 w 1673"/>
                <a:gd name="T29" fmla="*/ 190 h 778"/>
                <a:gd name="T30" fmla="*/ 486 w 1673"/>
                <a:gd name="T31" fmla="*/ 244 h 778"/>
                <a:gd name="T32" fmla="*/ 356 w 1673"/>
                <a:gd name="T33" fmla="*/ 247 h 778"/>
                <a:gd name="T34" fmla="*/ 282 w 1673"/>
                <a:gd name="T35" fmla="*/ 216 h 778"/>
                <a:gd name="T36" fmla="*/ 197 w 1673"/>
                <a:gd name="T37" fmla="*/ 187 h 778"/>
                <a:gd name="T38" fmla="*/ 86 w 1673"/>
                <a:gd name="T39" fmla="*/ 224 h 778"/>
                <a:gd name="T40" fmla="*/ 17 w 1673"/>
                <a:gd name="T41" fmla="*/ 251 h 778"/>
                <a:gd name="T42" fmla="*/ 8 w 1673"/>
                <a:gd name="T43" fmla="*/ 322 h 778"/>
                <a:gd name="T44" fmla="*/ 73 w 1673"/>
                <a:gd name="T45" fmla="*/ 394 h 778"/>
                <a:gd name="T46" fmla="*/ 136 w 1673"/>
                <a:gd name="T47" fmla="*/ 460 h 778"/>
                <a:gd name="T48" fmla="*/ 289 w 1673"/>
                <a:gd name="T49" fmla="*/ 455 h 778"/>
                <a:gd name="T50" fmla="*/ 352 w 1673"/>
                <a:gd name="T51" fmla="*/ 524 h 778"/>
                <a:gd name="T52" fmla="*/ 338 w 1673"/>
                <a:gd name="T53" fmla="*/ 531 h 778"/>
                <a:gd name="T54" fmla="*/ 218 w 1673"/>
                <a:gd name="T55" fmla="*/ 544 h 778"/>
                <a:gd name="T56" fmla="*/ 228 w 1673"/>
                <a:gd name="T57" fmla="*/ 598 h 778"/>
                <a:gd name="T58" fmla="*/ 274 w 1673"/>
                <a:gd name="T59" fmla="*/ 654 h 778"/>
                <a:gd name="T60" fmla="*/ 328 w 1673"/>
                <a:gd name="T61" fmla="*/ 709 h 778"/>
                <a:gd name="T62" fmla="*/ 408 w 1673"/>
                <a:gd name="T63" fmla="*/ 690 h 778"/>
                <a:gd name="T64" fmla="*/ 468 w 1673"/>
                <a:gd name="T65" fmla="*/ 729 h 778"/>
                <a:gd name="T66" fmla="*/ 536 w 1673"/>
                <a:gd name="T67" fmla="*/ 513 h 778"/>
                <a:gd name="T68" fmla="*/ 582 w 1673"/>
                <a:gd name="T69" fmla="*/ 492 h 778"/>
                <a:gd name="T70" fmla="*/ 604 w 1673"/>
                <a:gd name="T71" fmla="*/ 479 h 778"/>
                <a:gd name="T72" fmla="*/ 584 w 1673"/>
                <a:gd name="T73" fmla="*/ 460 h 778"/>
                <a:gd name="T74" fmla="*/ 636 w 1673"/>
                <a:gd name="T75" fmla="*/ 455 h 778"/>
                <a:gd name="T76" fmla="*/ 590 w 1673"/>
                <a:gd name="T77" fmla="*/ 493 h 778"/>
                <a:gd name="T78" fmla="*/ 610 w 1673"/>
                <a:gd name="T79" fmla="*/ 549 h 778"/>
                <a:gd name="T80" fmla="*/ 812 w 1673"/>
                <a:gd name="T81" fmla="*/ 616 h 778"/>
                <a:gd name="T82" fmla="*/ 902 w 1673"/>
                <a:gd name="T83" fmla="*/ 699 h 778"/>
                <a:gd name="T84" fmla="*/ 1006 w 1673"/>
                <a:gd name="T85" fmla="*/ 770 h 778"/>
                <a:gd name="T86" fmla="*/ 1056 w 1673"/>
                <a:gd name="T87" fmla="*/ 719 h 778"/>
                <a:gd name="T88" fmla="*/ 1123 w 1673"/>
                <a:gd name="T89" fmla="*/ 686 h 778"/>
                <a:gd name="T90" fmla="*/ 1208 w 1673"/>
                <a:gd name="T91" fmla="*/ 672 h 778"/>
                <a:gd name="T92" fmla="*/ 1264 w 1673"/>
                <a:gd name="T93" fmla="*/ 647 h 778"/>
                <a:gd name="T94" fmla="*/ 1402 w 1673"/>
                <a:gd name="T95" fmla="*/ 651 h 778"/>
                <a:gd name="T96" fmla="*/ 1471 w 1673"/>
                <a:gd name="T97" fmla="*/ 676 h 778"/>
                <a:gd name="T98" fmla="*/ 1503 w 1673"/>
                <a:gd name="T99" fmla="*/ 659 h 778"/>
                <a:gd name="T100" fmla="*/ 1484 w 1673"/>
                <a:gd name="T101" fmla="*/ 587 h 778"/>
                <a:gd name="T102" fmla="*/ 1516 w 1673"/>
                <a:gd name="T103" fmla="*/ 518 h 778"/>
                <a:gd name="T104" fmla="*/ 1541 w 1673"/>
                <a:gd name="T105" fmla="*/ 513 h 778"/>
                <a:gd name="T106" fmla="*/ 1614 w 1673"/>
                <a:gd name="T107" fmla="*/ 434 h 778"/>
                <a:gd name="T108" fmla="*/ 1641 w 1673"/>
                <a:gd name="T109" fmla="*/ 397 h 778"/>
                <a:gd name="T110" fmla="*/ 1385 w 1673"/>
                <a:gd name="T111" fmla="*/ 465 h 778"/>
                <a:gd name="T112" fmla="*/ 1320 w 1673"/>
                <a:gd name="T113" fmla="*/ 467 h 778"/>
                <a:gd name="T114" fmla="*/ 1246 w 1673"/>
                <a:gd name="T115" fmla="*/ 460 h 778"/>
                <a:gd name="T116" fmla="*/ 1195 w 1673"/>
                <a:gd name="T117" fmla="*/ 489 h 778"/>
                <a:gd name="T118" fmla="*/ 1200 w 1673"/>
                <a:gd name="T119" fmla="*/ 542 h 778"/>
                <a:gd name="T120" fmla="*/ 1193 w 1673"/>
                <a:gd name="T121" fmla="*/ 448 h 778"/>
                <a:gd name="T122" fmla="*/ 1306 w 1673"/>
                <a:gd name="T123" fmla="*/ 458 h 778"/>
                <a:gd name="T124" fmla="*/ 1385 w 1673"/>
                <a:gd name="T125" fmla="*/ 465 h 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73" h="778">
                  <a:moveTo>
                    <a:pt x="565" y="505"/>
                  </a:moveTo>
                  <a:cubicBezTo>
                    <a:pt x="558" y="500"/>
                    <a:pt x="557" y="497"/>
                    <a:pt x="557" y="497"/>
                  </a:cubicBezTo>
                  <a:cubicBezTo>
                    <a:pt x="548" y="511"/>
                    <a:pt x="548" y="511"/>
                    <a:pt x="548" y="511"/>
                  </a:cubicBezTo>
                  <a:cubicBezTo>
                    <a:pt x="545" y="518"/>
                    <a:pt x="545" y="518"/>
                    <a:pt x="545" y="518"/>
                  </a:cubicBezTo>
                  <a:cubicBezTo>
                    <a:pt x="578" y="534"/>
                    <a:pt x="578" y="534"/>
                    <a:pt x="578" y="534"/>
                  </a:cubicBezTo>
                  <a:cubicBezTo>
                    <a:pt x="580" y="525"/>
                    <a:pt x="580" y="525"/>
                    <a:pt x="580" y="525"/>
                  </a:cubicBezTo>
                  <a:cubicBezTo>
                    <a:pt x="580" y="525"/>
                    <a:pt x="572" y="510"/>
                    <a:pt x="565" y="505"/>
                  </a:cubicBezTo>
                  <a:close/>
                  <a:moveTo>
                    <a:pt x="1655" y="327"/>
                  </a:moveTo>
                  <a:cubicBezTo>
                    <a:pt x="1656" y="321"/>
                    <a:pt x="1666" y="322"/>
                    <a:pt x="1673" y="324"/>
                  </a:cubicBezTo>
                  <a:cubicBezTo>
                    <a:pt x="1649" y="298"/>
                    <a:pt x="1649" y="298"/>
                    <a:pt x="1649" y="298"/>
                  </a:cubicBezTo>
                  <a:cubicBezTo>
                    <a:pt x="1636" y="282"/>
                    <a:pt x="1636" y="282"/>
                    <a:pt x="1636" y="282"/>
                  </a:cubicBezTo>
                  <a:cubicBezTo>
                    <a:pt x="1625" y="304"/>
                    <a:pt x="1625" y="304"/>
                    <a:pt x="1625" y="304"/>
                  </a:cubicBezTo>
                  <a:cubicBezTo>
                    <a:pt x="1578" y="300"/>
                    <a:pt x="1578" y="300"/>
                    <a:pt x="1578" y="300"/>
                  </a:cubicBezTo>
                  <a:cubicBezTo>
                    <a:pt x="1578" y="300"/>
                    <a:pt x="1562" y="272"/>
                    <a:pt x="1561" y="268"/>
                  </a:cubicBezTo>
                  <a:cubicBezTo>
                    <a:pt x="1560" y="264"/>
                    <a:pt x="1525" y="259"/>
                    <a:pt x="1525" y="259"/>
                  </a:cubicBezTo>
                  <a:cubicBezTo>
                    <a:pt x="1525" y="259"/>
                    <a:pt x="1504" y="230"/>
                    <a:pt x="1481" y="226"/>
                  </a:cubicBezTo>
                  <a:cubicBezTo>
                    <a:pt x="1458" y="222"/>
                    <a:pt x="1442" y="243"/>
                    <a:pt x="1430" y="244"/>
                  </a:cubicBezTo>
                  <a:cubicBezTo>
                    <a:pt x="1418" y="246"/>
                    <a:pt x="1404" y="230"/>
                    <a:pt x="1404" y="230"/>
                  </a:cubicBezTo>
                  <a:cubicBezTo>
                    <a:pt x="1404" y="230"/>
                    <a:pt x="1386" y="228"/>
                    <a:pt x="1382" y="227"/>
                  </a:cubicBezTo>
                  <a:cubicBezTo>
                    <a:pt x="1378" y="226"/>
                    <a:pt x="1382" y="210"/>
                    <a:pt x="1372" y="207"/>
                  </a:cubicBezTo>
                  <a:cubicBezTo>
                    <a:pt x="1361" y="204"/>
                    <a:pt x="1365" y="234"/>
                    <a:pt x="1348" y="236"/>
                  </a:cubicBezTo>
                  <a:cubicBezTo>
                    <a:pt x="1330" y="239"/>
                    <a:pt x="1306" y="200"/>
                    <a:pt x="1292" y="187"/>
                  </a:cubicBezTo>
                  <a:cubicBezTo>
                    <a:pt x="1277" y="174"/>
                    <a:pt x="1205" y="107"/>
                    <a:pt x="1200" y="104"/>
                  </a:cubicBezTo>
                  <a:cubicBezTo>
                    <a:pt x="1194" y="102"/>
                    <a:pt x="1126" y="70"/>
                    <a:pt x="1126" y="70"/>
                  </a:cubicBezTo>
                  <a:cubicBezTo>
                    <a:pt x="1126" y="70"/>
                    <a:pt x="1146" y="58"/>
                    <a:pt x="1138" y="47"/>
                  </a:cubicBezTo>
                  <a:cubicBezTo>
                    <a:pt x="1130" y="36"/>
                    <a:pt x="1118" y="58"/>
                    <a:pt x="1118" y="58"/>
                  </a:cubicBezTo>
                  <a:cubicBezTo>
                    <a:pt x="1094" y="66"/>
                    <a:pt x="1094" y="66"/>
                    <a:pt x="1094" y="66"/>
                  </a:cubicBezTo>
                  <a:cubicBezTo>
                    <a:pt x="1085" y="76"/>
                    <a:pt x="1085" y="76"/>
                    <a:pt x="1085" y="76"/>
                  </a:cubicBezTo>
                  <a:cubicBezTo>
                    <a:pt x="1085" y="76"/>
                    <a:pt x="1077" y="78"/>
                    <a:pt x="1070" y="82"/>
                  </a:cubicBezTo>
                  <a:cubicBezTo>
                    <a:pt x="1064" y="86"/>
                    <a:pt x="1072" y="94"/>
                    <a:pt x="1064" y="100"/>
                  </a:cubicBezTo>
                  <a:cubicBezTo>
                    <a:pt x="1056" y="107"/>
                    <a:pt x="1041" y="91"/>
                    <a:pt x="1034" y="88"/>
                  </a:cubicBezTo>
                  <a:cubicBezTo>
                    <a:pt x="1028" y="86"/>
                    <a:pt x="1026" y="99"/>
                    <a:pt x="1016" y="98"/>
                  </a:cubicBezTo>
                  <a:cubicBezTo>
                    <a:pt x="1005" y="96"/>
                    <a:pt x="1026" y="80"/>
                    <a:pt x="1017" y="71"/>
                  </a:cubicBezTo>
                  <a:cubicBezTo>
                    <a:pt x="1008" y="62"/>
                    <a:pt x="1002" y="74"/>
                    <a:pt x="1002" y="74"/>
                  </a:cubicBezTo>
                  <a:cubicBezTo>
                    <a:pt x="985" y="63"/>
                    <a:pt x="985" y="63"/>
                    <a:pt x="985" y="63"/>
                  </a:cubicBezTo>
                  <a:cubicBezTo>
                    <a:pt x="972" y="71"/>
                    <a:pt x="972" y="71"/>
                    <a:pt x="972" y="71"/>
                  </a:cubicBezTo>
                  <a:cubicBezTo>
                    <a:pt x="953" y="50"/>
                    <a:pt x="953" y="50"/>
                    <a:pt x="953" y="50"/>
                  </a:cubicBezTo>
                  <a:cubicBezTo>
                    <a:pt x="946" y="60"/>
                    <a:pt x="946" y="60"/>
                    <a:pt x="946" y="60"/>
                  </a:cubicBezTo>
                  <a:cubicBezTo>
                    <a:pt x="946" y="60"/>
                    <a:pt x="918" y="64"/>
                    <a:pt x="913" y="64"/>
                  </a:cubicBezTo>
                  <a:cubicBezTo>
                    <a:pt x="908" y="64"/>
                    <a:pt x="909" y="43"/>
                    <a:pt x="909" y="36"/>
                  </a:cubicBezTo>
                  <a:cubicBezTo>
                    <a:pt x="909" y="30"/>
                    <a:pt x="897" y="30"/>
                    <a:pt x="897" y="30"/>
                  </a:cubicBezTo>
                  <a:cubicBezTo>
                    <a:pt x="897" y="30"/>
                    <a:pt x="892" y="12"/>
                    <a:pt x="884" y="7"/>
                  </a:cubicBezTo>
                  <a:cubicBezTo>
                    <a:pt x="876" y="2"/>
                    <a:pt x="869" y="11"/>
                    <a:pt x="864" y="11"/>
                  </a:cubicBezTo>
                  <a:cubicBezTo>
                    <a:pt x="858" y="11"/>
                    <a:pt x="845" y="0"/>
                    <a:pt x="812" y="2"/>
                  </a:cubicBezTo>
                  <a:cubicBezTo>
                    <a:pt x="778" y="3"/>
                    <a:pt x="781" y="23"/>
                    <a:pt x="781" y="23"/>
                  </a:cubicBezTo>
                  <a:cubicBezTo>
                    <a:pt x="781" y="23"/>
                    <a:pt x="761" y="30"/>
                    <a:pt x="740" y="35"/>
                  </a:cubicBezTo>
                  <a:cubicBezTo>
                    <a:pt x="718" y="40"/>
                    <a:pt x="690" y="36"/>
                    <a:pt x="682" y="36"/>
                  </a:cubicBezTo>
                  <a:cubicBezTo>
                    <a:pt x="674" y="36"/>
                    <a:pt x="674" y="52"/>
                    <a:pt x="674" y="52"/>
                  </a:cubicBezTo>
                  <a:cubicBezTo>
                    <a:pt x="632" y="52"/>
                    <a:pt x="632" y="52"/>
                    <a:pt x="632" y="52"/>
                  </a:cubicBezTo>
                  <a:cubicBezTo>
                    <a:pt x="628" y="64"/>
                    <a:pt x="628" y="64"/>
                    <a:pt x="628" y="64"/>
                  </a:cubicBezTo>
                  <a:cubicBezTo>
                    <a:pt x="628" y="64"/>
                    <a:pt x="596" y="63"/>
                    <a:pt x="550" y="70"/>
                  </a:cubicBezTo>
                  <a:cubicBezTo>
                    <a:pt x="505" y="76"/>
                    <a:pt x="521" y="95"/>
                    <a:pt x="521" y="95"/>
                  </a:cubicBezTo>
                  <a:cubicBezTo>
                    <a:pt x="540" y="96"/>
                    <a:pt x="540" y="96"/>
                    <a:pt x="540" y="96"/>
                  </a:cubicBezTo>
                  <a:cubicBezTo>
                    <a:pt x="529" y="108"/>
                    <a:pt x="529" y="108"/>
                    <a:pt x="529" y="108"/>
                  </a:cubicBezTo>
                  <a:cubicBezTo>
                    <a:pt x="529" y="108"/>
                    <a:pt x="572" y="116"/>
                    <a:pt x="572" y="123"/>
                  </a:cubicBezTo>
                  <a:cubicBezTo>
                    <a:pt x="572" y="130"/>
                    <a:pt x="534" y="123"/>
                    <a:pt x="534" y="123"/>
                  </a:cubicBezTo>
                  <a:cubicBezTo>
                    <a:pt x="528" y="134"/>
                    <a:pt x="528" y="134"/>
                    <a:pt x="528" y="134"/>
                  </a:cubicBezTo>
                  <a:cubicBezTo>
                    <a:pt x="528" y="134"/>
                    <a:pt x="541" y="151"/>
                    <a:pt x="540" y="158"/>
                  </a:cubicBezTo>
                  <a:cubicBezTo>
                    <a:pt x="538" y="164"/>
                    <a:pt x="505" y="170"/>
                    <a:pt x="505" y="170"/>
                  </a:cubicBezTo>
                  <a:cubicBezTo>
                    <a:pt x="528" y="190"/>
                    <a:pt x="528" y="190"/>
                    <a:pt x="528" y="190"/>
                  </a:cubicBezTo>
                  <a:cubicBezTo>
                    <a:pt x="528" y="190"/>
                    <a:pt x="578" y="187"/>
                    <a:pt x="582" y="226"/>
                  </a:cubicBezTo>
                  <a:cubicBezTo>
                    <a:pt x="586" y="264"/>
                    <a:pt x="526" y="234"/>
                    <a:pt x="526" y="234"/>
                  </a:cubicBezTo>
                  <a:cubicBezTo>
                    <a:pt x="520" y="250"/>
                    <a:pt x="520" y="250"/>
                    <a:pt x="520" y="250"/>
                  </a:cubicBezTo>
                  <a:cubicBezTo>
                    <a:pt x="520" y="250"/>
                    <a:pt x="497" y="246"/>
                    <a:pt x="486" y="244"/>
                  </a:cubicBezTo>
                  <a:cubicBezTo>
                    <a:pt x="476" y="243"/>
                    <a:pt x="464" y="222"/>
                    <a:pt x="456" y="220"/>
                  </a:cubicBezTo>
                  <a:cubicBezTo>
                    <a:pt x="448" y="219"/>
                    <a:pt x="437" y="228"/>
                    <a:pt x="421" y="232"/>
                  </a:cubicBezTo>
                  <a:cubicBezTo>
                    <a:pt x="405" y="236"/>
                    <a:pt x="394" y="220"/>
                    <a:pt x="385" y="222"/>
                  </a:cubicBezTo>
                  <a:cubicBezTo>
                    <a:pt x="376" y="223"/>
                    <a:pt x="358" y="243"/>
                    <a:pt x="356" y="247"/>
                  </a:cubicBezTo>
                  <a:cubicBezTo>
                    <a:pt x="353" y="251"/>
                    <a:pt x="312" y="220"/>
                    <a:pt x="301" y="223"/>
                  </a:cubicBezTo>
                  <a:cubicBezTo>
                    <a:pt x="290" y="226"/>
                    <a:pt x="313" y="243"/>
                    <a:pt x="305" y="250"/>
                  </a:cubicBezTo>
                  <a:cubicBezTo>
                    <a:pt x="297" y="256"/>
                    <a:pt x="289" y="236"/>
                    <a:pt x="289" y="236"/>
                  </a:cubicBezTo>
                  <a:cubicBezTo>
                    <a:pt x="282" y="216"/>
                    <a:pt x="282" y="216"/>
                    <a:pt x="282" y="216"/>
                  </a:cubicBezTo>
                  <a:cubicBezTo>
                    <a:pt x="258" y="218"/>
                    <a:pt x="258" y="218"/>
                    <a:pt x="258" y="218"/>
                  </a:cubicBezTo>
                  <a:cubicBezTo>
                    <a:pt x="258" y="218"/>
                    <a:pt x="256" y="206"/>
                    <a:pt x="252" y="202"/>
                  </a:cubicBezTo>
                  <a:cubicBezTo>
                    <a:pt x="248" y="198"/>
                    <a:pt x="224" y="203"/>
                    <a:pt x="214" y="202"/>
                  </a:cubicBezTo>
                  <a:cubicBezTo>
                    <a:pt x="205" y="200"/>
                    <a:pt x="204" y="187"/>
                    <a:pt x="197" y="187"/>
                  </a:cubicBezTo>
                  <a:cubicBezTo>
                    <a:pt x="190" y="187"/>
                    <a:pt x="177" y="200"/>
                    <a:pt x="161" y="200"/>
                  </a:cubicBezTo>
                  <a:cubicBezTo>
                    <a:pt x="145" y="200"/>
                    <a:pt x="153" y="187"/>
                    <a:pt x="130" y="188"/>
                  </a:cubicBezTo>
                  <a:cubicBezTo>
                    <a:pt x="108" y="190"/>
                    <a:pt x="130" y="198"/>
                    <a:pt x="122" y="208"/>
                  </a:cubicBezTo>
                  <a:cubicBezTo>
                    <a:pt x="114" y="219"/>
                    <a:pt x="86" y="224"/>
                    <a:pt x="86" y="224"/>
                  </a:cubicBezTo>
                  <a:cubicBezTo>
                    <a:pt x="86" y="239"/>
                    <a:pt x="86" y="239"/>
                    <a:pt x="86" y="239"/>
                  </a:cubicBezTo>
                  <a:cubicBezTo>
                    <a:pt x="68" y="248"/>
                    <a:pt x="68" y="248"/>
                    <a:pt x="68" y="248"/>
                  </a:cubicBezTo>
                  <a:cubicBezTo>
                    <a:pt x="68" y="248"/>
                    <a:pt x="86" y="263"/>
                    <a:pt x="72" y="278"/>
                  </a:cubicBezTo>
                  <a:cubicBezTo>
                    <a:pt x="57" y="292"/>
                    <a:pt x="29" y="250"/>
                    <a:pt x="17" y="251"/>
                  </a:cubicBezTo>
                  <a:cubicBezTo>
                    <a:pt x="5" y="252"/>
                    <a:pt x="13" y="271"/>
                    <a:pt x="13" y="279"/>
                  </a:cubicBezTo>
                  <a:cubicBezTo>
                    <a:pt x="13" y="287"/>
                    <a:pt x="0" y="284"/>
                    <a:pt x="0" y="284"/>
                  </a:cubicBezTo>
                  <a:cubicBezTo>
                    <a:pt x="2" y="308"/>
                    <a:pt x="2" y="308"/>
                    <a:pt x="2" y="308"/>
                  </a:cubicBezTo>
                  <a:cubicBezTo>
                    <a:pt x="2" y="308"/>
                    <a:pt x="8" y="314"/>
                    <a:pt x="8" y="322"/>
                  </a:cubicBezTo>
                  <a:cubicBezTo>
                    <a:pt x="8" y="330"/>
                    <a:pt x="0" y="342"/>
                    <a:pt x="0" y="358"/>
                  </a:cubicBezTo>
                  <a:cubicBezTo>
                    <a:pt x="0" y="374"/>
                    <a:pt x="10" y="364"/>
                    <a:pt x="22" y="370"/>
                  </a:cubicBezTo>
                  <a:cubicBezTo>
                    <a:pt x="34" y="375"/>
                    <a:pt x="20" y="390"/>
                    <a:pt x="32" y="395"/>
                  </a:cubicBezTo>
                  <a:cubicBezTo>
                    <a:pt x="44" y="400"/>
                    <a:pt x="68" y="391"/>
                    <a:pt x="73" y="394"/>
                  </a:cubicBezTo>
                  <a:cubicBezTo>
                    <a:pt x="78" y="396"/>
                    <a:pt x="117" y="436"/>
                    <a:pt x="117" y="444"/>
                  </a:cubicBezTo>
                  <a:cubicBezTo>
                    <a:pt x="117" y="452"/>
                    <a:pt x="94" y="443"/>
                    <a:pt x="94" y="451"/>
                  </a:cubicBezTo>
                  <a:cubicBezTo>
                    <a:pt x="94" y="459"/>
                    <a:pt x="129" y="470"/>
                    <a:pt x="129" y="470"/>
                  </a:cubicBezTo>
                  <a:cubicBezTo>
                    <a:pt x="136" y="460"/>
                    <a:pt x="136" y="460"/>
                    <a:pt x="136" y="460"/>
                  </a:cubicBezTo>
                  <a:cubicBezTo>
                    <a:pt x="136" y="460"/>
                    <a:pt x="145" y="462"/>
                    <a:pt x="152" y="455"/>
                  </a:cubicBezTo>
                  <a:cubicBezTo>
                    <a:pt x="158" y="448"/>
                    <a:pt x="208" y="427"/>
                    <a:pt x="214" y="430"/>
                  </a:cubicBezTo>
                  <a:cubicBezTo>
                    <a:pt x="221" y="432"/>
                    <a:pt x="242" y="448"/>
                    <a:pt x="252" y="448"/>
                  </a:cubicBezTo>
                  <a:cubicBezTo>
                    <a:pt x="261" y="448"/>
                    <a:pt x="269" y="430"/>
                    <a:pt x="289" y="455"/>
                  </a:cubicBezTo>
                  <a:cubicBezTo>
                    <a:pt x="309" y="480"/>
                    <a:pt x="293" y="488"/>
                    <a:pt x="290" y="496"/>
                  </a:cubicBezTo>
                  <a:cubicBezTo>
                    <a:pt x="288" y="504"/>
                    <a:pt x="309" y="520"/>
                    <a:pt x="316" y="523"/>
                  </a:cubicBezTo>
                  <a:cubicBezTo>
                    <a:pt x="322" y="526"/>
                    <a:pt x="333" y="511"/>
                    <a:pt x="341" y="507"/>
                  </a:cubicBezTo>
                  <a:cubicBezTo>
                    <a:pt x="349" y="503"/>
                    <a:pt x="352" y="516"/>
                    <a:pt x="352" y="524"/>
                  </a:cubicBezTo>
                  <a:cubicBezTo>
                    <a:pt x="352" y="532"/>
                    <a:pt x="364" y="542"/>
                    <a:pt x="364" y="542"/>
                  </a:cubicBezTo>
                  <a:cubicBezTo>
                    <a:pt x="337" y="543"/>
                    <a:pt x="337" y="543"/>
                    <a:pt x="337" y="543"/>
                  </a:cubicBezTo>
                  <a:cubicBezTo>
                    <a:pt x="337" y="543"/>
                    <a:pt x="338" y="563"/>
                    <a:pt x="325" y="554"/>
                  </a:cubicBezTo>
                  <a:cubicBezTo>
                    <a:pt x="312" y="544"/>
                    <a:pt x="338" y="531"/>
                    <a:pt x="338" y="531"/>
                  </a:cubicBezTo>
                  <a:cubicBezTo>
                    <a:pt x="338" y="531"/>
                    <a:pt x="290" y="528"/>
                    <a:pt x="282" y="526"/>
                  </a:cubicBezTo>
                  <a:cubicBezTo>
                    <a:pt x="274" y="523"/>
                    <a:pt x="232" y="515"/>
                    <a:pt x="232" y="515"/>
                  </a:cubicBezTo>
                  <a:cubicBezTo>
                    <a:pt x="240" y="538"/>
                    <a:pt x="240" y="538"/>
                    <a:pt x="240" y="538"/>
                  </a:cubicBezTo>
                  <a:cubicBezTo>
                    <a:pt x="240" y="538"/>
                    <a:pt x="224" y="531"/>
                    <a:pt x="218" y="544"/>
                  </a:cubicBezTo>
                  <a:cubicBezTo>
                    <a:pt x="213" y="558"/>
                    <a:pt x="249" y="559"/>
                    <a:pt x="248" y="567"/>
                  </a:cubicBezTo>
                  <a:cubicBezTo>
                    <a:pt x="246" y="575"/>
                    <a:pt x="198" y="550"/>
                    <a:pt x="193" y="562"/>
                  </a:cubicBezTo>
                  <a:cubicBezTo>
                    <a:pt x="188" y="574"/>
                    <a:pt x="221" y="582"/>
                    <a:pt x="221" y="582"/>
                  </a:cubicBezTo>
                  <a:cubicBezTo>
                    <a:pt x="221" y="582"/>
                    <a:pt x="221" y="590"/>
                    <a:pt x="228" y="598"/>
                  </a:cubicBezTo>
                  <a:cubicBezTo>
                    <a:pt x="234" y="606"/>
                    <a:pt x="248" y="622"/>
                    <a:pt x="248" y="622"/>
                  </a:cubicBezTo>
                  <a:cubicBezTo>
                    <a:pt x="246" y="636"/>
                    <a:pt x="246" y="636"/>
                    <a:pt x="246" y="636"/>
                  </a:cubicBezTo>
                  <a:cubicBezTo>
                    <a:pt x="269" y="639"/>
                    <a:pt x="269" y="639"/>
                    <a:pt x="269" y="639"/>
                  </a:cubicBezTo>
                  <a:cubicBezTo>
                    <a:pt x="274" y="654"/>
                    <a:pt x="274" y="654"/>
                    <a:pt x="274" y="654"/>
                  </a:cubicBezTo>
                  <a:cubicBezTo>
                    <a:pt x="274" y="654"/>
                    <a:pt x="309" y="654"/>
                    <a:pt x="320" y="664"/>
                  </a:cubicBezTo>
                  <a:cubicBezTo>
                    <a:pt x="330" y="675"/>
                    <a:pt x="308" y="686"/>
                    <a:pt x="306" y="696"/>
                  </a:cubicBezTo>
                  <a:cubicBezTo>
                    <a:pt x="305" y="707"/>
                    <a:pt x="316" y="708"/>
                    <a:pt x="316" y="708"/>
                  </a:cubicBezTo>
                  <a:cubicBezTo>
                    <a:pt x="317" y="704"/>
                    <a:pt x="323" y="707"/>
                    <a:pt x="328" y="709"/>
                  </a:cubicBezTo>
                  <a:cubicBezTo>
                    <a:pt x="330" y="703"/>
                    <a:pt x="336" y="683"/>
                    <a:pt x="344" y="682"/>
                  </a:cubicBezTo>
                  <a:cubicBezTo>
                    <a:pt x="349" y="681"/>
                    <a:pt x="357" y="682"/>
                    <a:pt x="363" y="683"/>
                  </a:cubicBezTo>
                  <a:cubicBezTo>
                    <a:pt x="364" y="681"/>
                    <a:pt x="364" y="679"/>
                    <a:pt x="365" y="678"/>
                  </a:cubicBezTo>
                  <a:cubicBezTo>
                    <a:pt x="368" y="674"/>
                    <a:pt x="400" y="686"/>
                    <a:pt x="408" y="690"/>
                  </a:cubicBezTo>
                  <a:cubicBezTo>
                    <a:pt x="416" y="694"/>
                    <a:pt x="426" y="707"/>
                    <a:pt x="426" y="707"/>
                  </a:cubicBezTo>
                  <a:cubicBezTo>
                    <a:pt x="426" y="707"/>
                    <a:pt x="444" y="732"/>
                    <a:pt x="454" y="738"/>
                  </a:cubicBezTo>
                  <a:cubicBezTo>
                    <a:pt x="463" y="742"/>
                    <a:pt x="464" y="732"/>
                    <a:pt x="468" y="729"/>
                  </a:cubicBezTo>
                  <a:cubicBezTo>
                    <a:pt x="468" y="729"/>
                    <a:pt x="468" y="729"/>
                    <a:pt x="468" y="729"/>
                  </a:cubicBezTo>
                  <a:cubicBezTo>
                    <a:pt x="433" y="542"/>
                    <a:pt x="433" y="542"/>
                    <a:pt x="433" y="542"/>
                  </a:cubicBezTo>
                  <a:cubicBezTo>
                    <a:pt x="529" y="511"/>
                    <a:pt x="529" y="511"/>
                    <a:pt x="529" y="511"/>
                  </a:cubicBezTo>
                  <a:cubicBezTo>
                    <a:pt x="536" y="514"/>
                    <a:pt x="536" y="514"/>
                    <a:pt x="536" y="514"/>
                  </a:cubicBezTo>
                  <a:cubicBezTo>
                    <a:pt x="536" y="513"/>
                    <a:pt x="536" y="513"/>
                    <a:pt x="536" y="513"/>
                  </a:cubicBezTo>
                  <a:cubicBezTo>
                    <a:pt x="536" y="513"/>
                    <a:pt x="540" y="501"/>
                    <a:pt x="541" y="491"/>
                  </a:cubicBezTo>
                  <a:cubicBezTo>
                    <a:pt x="542" y="481"/>
                    <a:pt x="561" y="486"/>
                    <a:pt x="561" y="486"/>
                  </a:cubicBezTo>
                  <a:cubicBezTo>
                    <a:pt x="566" y="501"/>
                    <a:pt x="566" y="501"/>
                    <a:pt x="566" y="501"/>
                  </a:cubicBezTo>
                  <a:cubicBezTo>
                    <a:pt x="566" y="501"/>
                    <a:pt x="580" y="495"/>
                    <a:pt x="582" y="492"/>
                  </a:cubicBezTo>
                  <a:cubicBezTo>
                    <a:pt x="584" y="489"/>
                    <a:pt x="568" y="471"/>
                    <a:pt x="568" y="471"/>
                  </a:cubicBezTo>
                  <a:cubicBezTo>
                    <a:pt x="578" y="471"/>
                    <a:pt x="578" y="471"/>
                    <a:pt x="578" y="471"/>
                  </a:cubicBezTo>
                  <a:cubicBezTo>
                    <a:pt x="587" y="480"/>
                    <a:pt x="587" y="480"/>
                    <a:pt x="587" y="480"/>
                  </a:cubicBezTo>
                  <a:cubicBezTo>
                    <a:pt x="604" y="479"/>
                    <a:pt x="604" y="479"/>
                    <a:pt x="604" y="479"/>
                  </a:cubicBezTo>
                  <a:cubicBezTo>
                    <a:pt x="604" y="479"/>
                    <a:pt x="618" y="483"/>
                    <a:pt x="621" y="479"/>
                  </a:cubicBezTo>
                  <a:cubicBezTo>
                    <a:pt x="624" y="475"/>
                    <a:pt x="619" y="471"/>
                    <a:pt x="615" y="471"/>
                  </a:cubicBezTo>
                  <a:cubicBezTo>
                    <a:pt x="611" y="471"/>
                    <a:pt x="603" y="466"/>
                    <a:pt x="603" y="466"/>
                  </a:cubicBezTo>
                  <a:cubicBezTo>
                    <a:pt x="603" y="466"/>
                    <a:pt x="587" y="470"/>
                    <a:pt x="584" y="460"/>
                  </a:cubicBezTo>
                  <a:cubicBezTo>
                    <a:pt x="581" y="450"/>
                    <a:pt x="604" y="452"/>
                    <a:pt x="604" y="452"/>
                  </a:cubicBezTo>
                  <a:cubicBezTo>
                    <a:pt x="613" y="444"/>
                    <a:pt x="613" y="444"/>
                    <a:pt x="613" y="444"/>
                  </a:cubicBezTo>
                  <a:cubicBezTo>
                    <a:pt x="613" y="444"/>
                    <a:pt x="625" y="461"/>
                    <a:pt x="628" y="461"/>
                  </a:cubicBezTo>
                  <a:cubicBezTo>
                    <a:pt x="631" y="461"/>
                    <a:pt x="636" y="455"/>
                    <a:pt x="636" y="455"/>
                  </a:cubicBezTo>
                  <a:cubicBezTo>
                    <a:pt x="636" y="455"/>
                    <a:pt x="645" y="465"/>
                    <a:pt x="642" y="471"/>
                  </a:cubicBezTo>
                  <a:cubicBezTo>
                    <a:pt x="639" y="477"/>
                    <a:pt x="625" y="481"/>
                    <a:pt x="625" y="481"/>
                  </a:cubicBezTo>
                  <a:cubicBezTo>
                    <a:pt x="625" y="481"/>
                    <a:pt x="617" y="488"/>
                    <a:pt x="613" y="492"/>
                  </a:cubicBezTo>
                  <a:cubicBezTo>
                    <a:pt x="609" y="496"/>
                    <a:pt x="593" y="491"/>
                    <a:pt x="590" y="493"/>
                  </a:cubicBezTo>
                  <a:cubicBezTo>
                    <a:pt x="587" y="495"/>
                    <a:pt x="587" y="506"/>
                    <a:pt x="587" y="506"/>
                  </a:cubicBezTo>
                  <a:cubicBezTo>
                    <a:pt x="587" y="506"/>
                    <a:pt x="602" y="512"/>
                    <a:pt x="606" y="513"/>
                  </a:cubicBezTo>
                  <a:cubicBezTo>
                    <a:pt x="610" y="514"/>
                    <a:pt x="613" y="523"/>
                    <a:pt x="607" y="532"/>
                  </a:cubicBezTo>
                  <a:cubicBezTo>
                    <a:pt x="604" y="536"/>
                    <a:pt x="607" y="542"/>
                    <a:pt x="610" y="549"/>
                  </a:cubicBezTo>
                  <a:cubicBezTo>
                    <a:pt x="656" y="571"/>
                    <a:pt x="656" y="571"/>
                    <a:pt x="656" y="571"/>
                  </a:cubicBezTo>
                  <a:cubicBezTo>
                    <a:pt x="705" y="619"/>
                    <a:pt x="705" y="619"/>
                    <a:pt x="705" y="619"/>
                  </a:cubicBezTo>
                  <a:cubicBezTo>
                    <a:pt x="705" y="619"/>
                    <a:pt x="742" y="612"/>
                    <a:pt x="758" y="612"/>
                  </a:cubicBezTo>
                  <a:cubicBezTo>
                    <a:pt x="774" y="612"/>
                    <a:pt x="812" y="616"/>
                    <a:pt x="812" y="616"/>
                  </a:cubicBezTo>
                  <a:cubicBezTo>
                    <a:pt x="812" y="616"/>
                    <a:pt x="830" y="604"/>
                    <a:pt x="837" y="604"/>
                  </a:cubicBezTo>
                  <a:cubicBezTo>
                    <a:pt x="844" y="604"/>
                    <a:pt x="874" y="647"/>
                    <a:pt x="874" y="647"/>
                  </a:cubicBezTo>
                  <a:cubicBezTo>
                    <a:pt x="874" y="647"/>
                    <a:pt x="889" y="646"/>
                    <a:pt x="894" y="647"/>
                  </a:cubicBezTo>
                  <a:cubicBezTo>
                    <a:pt x="900" y="648"/>
                    <a:pt x="893" y="696"/>
                    <a:pt x="902" y="699"/>
                  </a:cubicBezTo>
                  <a:cubicBezTo>
                    <a:pt x="912" y="702"/>
                    <a:pt x="912" y="688"/>
                    <a:pt x="921" y="699"/>
                  </a:cubicBezTo>
                  <a:cubicBezTo>
                    <a:pt x="930" y="710"/>
                    <a:pt x="932" y="734"/>
                    <a:pt x="942" y="739"/>
                  </a:cubicBezTo>
                  <a:cubicBezTo>
                    <a:pt x="953" y="744"/>
                    <a:pt x="1000" y="735"/>
                    <a:pt x="1006" y="744"/>
                  </a:cubicBezTo>
                  <a:cubicBezTo>
                    <a:pt x="1013" y="754"/>
                    <a:pt x="996" y="767"/>
                    <a:pt x="1006" y="770"/>
                  </a:cubicBezTo>
                  <a:cubicBezTo>
                    <a:pt x="1017" y="772"/>
                    <a:pt x="1028" y="778"/>
                    <a:pt x="1028" y="778"/>
                  </a:cubicBezTo>
                  <a:cubicBezTo>
                    <a:pt x="1028" y="778"/>
                    <a:pt x="1020" y="754"/>
                    <a:pt x="1029" y="747"/>
                  </a:cubicBezTo>
                  <a:cubicBezTo>
                    <a:pt x="1038" y="740"/>
                    <a:pt x="1046" y="740"/>
                    <a:pt x="1046" y="740"/>
                  </a:cubicBezTo>
                  <a:cubicBezTo>
                    <a:pt x="1046" y="740"/>
                    <a:pt x="1045" y="722"/>
                    <a:pt x="1056" y="719"/>
                  </a:cubicBezTo>
                  <a:cubicBezTo>
                    <a:pt x="1066" y="716"/>
                    <a:pt x="1078" y="714"/>
                    <a:pt x="1078" y="714"/>
                  </a:cubicBezTo>
                  <a:cubicBezTo>
                    <a:pt x="1086" y="696"/>
                    <a:pt x="1086" y="696"/>
                    <a:pt x="1086" y="696"/>
                  </a:cubicBezTo>
                  <a:cubicBezTo>
                    <a:pt x="1104" y="695"/>
                    <a:pt x="1104" y="695"/>
                    <a:pt x="1104" y="695"/>
                  </a:cubicBezTo>
                  <a:cubicBezTo>
                    <a:pt x="1123" y="686"/>
                    <a:pt x="1123" y="686"/>
                    <a:pt x="1123" y="686"/>
                  </a:cubicBezTo>
                  <a:cubicBezTo>
                    <a:pt x="1117" y="683"/>
                    <a:pt x="1107" y="683"/>
                    <a:pt x="1107" y="683"/>
                  </a:cubicBezTo>
                  <a:cubicBezTo>
                    <a:pt x="1107" y="683"/>
                    <a:pt x="1108" y="654"/>
                    <a:pt x="1131" y="653"/>
                  </a:cubicBezTo>
                  <a:cubicBezTo>
                    <a:pt x="1154" y="652"/>
                    <a:pt x="1185" y="672"/>
                    <a:pt x="1185" y="672"/>
                  </a:cubicBezTo>
                  <a:cubicBezTo>
                    <a:pt x="1208" y="672"/>
                    <a:pt x="1208" y="672"/>
                    <a:pt x="1208" y="672"/>
                  </a:cubicBezTo>
                  <a:cubicBezTo>
                    <a:pt x="1219" y="678"/>
                    <a:pt x="1219" y="678"/>
                    <a:pt x="1219" y="678"/>
                  </a:cubicBezTo>
                  <a:cubicBezTo>
                    <a:pt x="1219" y="678"/>
                    <a:pt x="1211" y="643"/>
                    <a:pt x="1214" y="640"/>
                  </a:cubicBezTo>
                  <a:cubicBezTo>
                    <a:pt x="1217" y="637"/>
                    <a:pt x="1230" y="635"/>
                    <a:pt x="1240" y="635"/>
                  </a:cubicBezTo>
                  <a:cubicBezTo>
                    <a:pt x="1250" y="635"/>
                    <a:pt x="1260" y="647"/>
                    <a:pt x="1264" y="647"/>
                  </a:cubicBezTo>
                  <a:cubicBezTo>
                    <a:pt x="1268" y="647"/>
                    <a:pt x="1296" y="653"/>
                    <a:pt x="1296" y="653"/>
                  </a:cubicBezTo>
                  <a:cubicBezTo>
                    <a:pt x="1308" y="649"/>
                    <a:pt x="1308" y="649"/>
                    <a:pt x="1308" y="649"/>
                  </a:cubicBezTo>
                  <a:cubicBezTo>
                    <a:pt x="1308" y="649"/>
                    <a:pt x="1356" y="649"/>
                    <a:pt x="1364" y="648"/>
                  </a:cubicBezTo>
                  <a:cubicBezTo>
                    <a:pt x="1372" y="647"/>
                    <a:pt x="1402" y="651"/>
                    <a:pt x="1402" y="651"/>
                  </a:cubicBezTo>
                  <a:cubicBezTo>
                    <a:pt x="1434" y="650"/>
                    <a:pt x="1434" y="650"/>
                    <a:pt x="1434" y="650"/>
                  </a:cubicBezTo>
                  <a:cubicBezTo>
                    <a:pt x="1442" y="658"/>
                    <a:pt x="1442" y="658"/>
                    <a:pt x="1442" y="658"/>
                  </a:cubicBezTo>
                  <a:cubicBezTo>
                    <a:pt x="1454" y="658"/>
                    <a:pt x="1454" y="658"/>
                    <a:pt x="1454" y="658"/>
                  </a:cubicBezTo>
                  <a:cubicBezTo>
                    <a:pt x="1471" y="676"/>
                    <a:pt x="1471" y="676"/>
                    <a:pt x="1471" y="676"/>
                  </a:cubicBezTo>
                  <a:cubicBezTo>
                    <a:pt x="1499" y="676"/>
                    <a:pt x="1499" y="676"/>
                    <a:pt x="1499" y="676"/>
                  </a:cubicBezTo>
                  <a:cubicBezTo>
                    <a:pt x="1513" y="681"/>
                    <a:pt x="1513" y="681"/>
                    <a:pt x="1513" y="681"/>
                  </a:cubicBezTo>
                  <a:cubicBezTo>
                    <a:pt x="1512" y="680"/>
                    <a:pt x="1512" y="680"/>
                    <a:pt x="1512" y="680"/>
                  </a:cubicBezTo>
                  <a:cubicBezTo>
                    <a:pt x="1507" y="675"/>
                    <a:pt x="1503" y="664"/>
                    <a:pt x="1503" y="659"/>
                  </a:cubicBezTo>
                  <a:cubicBezTo>
                    <a:pt x="1503" y="654"/>
                    <a:pt x="1517" y="656"/>
                    <a:pt x="1517" y="656"/>
                  </a:cubicBezTo>
                  <a:cubicBezTo>
                    <a:pt x="1517" y="656"/>
                    <a:pt x="1506" y="644"/>
                    <a:pt x="1506" y="641"/>
                  </a:cubicBezTo>
                  <a:cubicBezTo>
                    <a:pt x="1506" y="638"/>
                    <a:pt x="1522" y="641"/>
                    <a:pt x="1522" y="634"/>
                  </a:cubicBezTo>
                  <a:cubicBezTo>
                    <a:pt x="1522" y="627"/>
                    <a:pt x="1492" y="596"/>
                    <a:pt x="1484" y="587"/>
                  </a:cubicBezTo>
                  <a:cubicBezTo>
                    <a:pt x="1476" y="578"/>
                    <a:pt x="1476" y="552"/>
                    <a:pt x="1476" y="552"/>
                  </a:cubicBezTo>
                  <a:cubicBezTo>
                    <a:pt x="1476" y="552"/>
                    <a:pt x="1458" y="555"/>
                    <a:pt x="1451" y="546"/>
                  </a:cubicBezTo>
                  <a:cubicBezTo>
                    <a:pt x="1444" y="537"/>
                    <a:pt x="1475" y="530"/>
                    <a:pt x="1481" y="529"/>
                  </a:cubicBezTo>
                  <a:cubicBezTo>
                    <a:pt x="1487" y="528"/>
                    <a:pt x="1511" y="518"/>
                    <a:pt x="1516" y="518"/>
                  </a:cubicBezTo>
                  <a:cubicBezTo>
                    <a:pt x="1521" y="518"/>
                    <a:pt x="1530" y="532"/>
                    <a:pt x="1530" y="532"/>
                  </a:cubicBezTo>
                  <a:cubicBezTo>
                    <a:pt x="1543" y="525"/>
                    <a:pt x="1543" y="525"/>
                    <a:pt x="1543" y="525"/>
                  </a:cubicBezTo>
                  <a:cubicBezTo>
                    <a:pt x="1543" y="525"/>
                    <a:pt x="1550" y="539"/>
                    <a:pt x="1559" y="528"/>
                  </a:cubicBezTo>
                  <a:cubicBezTo>
                    <a:pt x="1568" y="517"/>
                    <a:pt x="1545" y="515"/>
                    <a:pt x="1541" y="513"/>
                  </a:cubicBezTo>
                  <a:cubicBezTo>
                    <a:pt x="1537" y="511"/>
                    <a:pt x="1541" y="459"/>
                    <a:pt x="1541" y="447"/>
                  </a:cubicBezTo>
                  <a:cubicBezTo>
                    <a:pt x="1541" y="435"/>
                    <a:pt x="1540" y="420"/>
                    <a:pt x="1546" y="420"/>
                  </a:cubicBezTo>
                  <a:cubicBezTo>
                    <a:pt x="1552" y="420"/>
                    <a:pt x="1577" y="432"/>
                    <a:pt x="1585" y="434"/>
                  </a:cubicBezTo>
                  <a:cubicBezTo>
                    <a:pt x="1593" y="436"/>
                    <a:pt x="1614" y="434"/>
                    <a:pt x="1614" y="434"/>
                  </a:cubicBezTo>
                  <a:cubicBezTo>
                    <a:pt x="1623" y="442"/>
                    <a:pt x="1623" y="442"/>
                    <a:pt x="1623" y="442"/>
                  </a:cubicBezTo>
                  <a:cubicBezTo>
                    <a:pt x="1634" y="430"/>
                    <a:pt x="1634" y="430"/>
                    <a:pt x="1634" y="430"/>
                  </a:cubicBezTo>
                  <a:cubicBezTo>
                    <a:pt x="1634" y="430"/>
                    <a:pt x="1642" y="431"/>
                    <a:pt x="1649" y="426"/>
                  </a:cubicBezTo>
                  <a:cubicBezTo>
                    <a:pt x="1656" y="421"/>
                    <a:pt x="1650" y="410"/>
                    <a:pt x="1641" y="397"/>
                  </a:cubicBezTo>
                  <a:cubicBezTo>
                    <a:pt x="1632" y="384"/>
                    <a:pt x="1622" y="375"/>
                    <a:pt x="1627" y="361"/>
                  </a:cubicBezTo>
                  <a:cubicBezTo>
                    <a:pt x="1632" y="347"/>
                    <a:pt x="1661" y="357"/>
                    <a:pt x="1667" y="348"/>
                  </a:cubicBezTo>
                  <a:cubicBezTo>
                    <a:pt x="1673" y="339"/>
                    <a:pt x="1654" y="336"/>
                    <a:pt x="1655" y="327"/>
                  </a:cubicBezTo>
                  <a:close/>
                  <a:moveTo>
                    <a:pt x="1385" y="465"/>
                  </a:moveTo>
                  <a:cubicBezTo>
                    <a:pt x="1380" y="470"/>
                    <a:pt x="1363" y="466"/>
                    <a:pt x="1363" y="466"/>
                  </a:cubicBezTo>
                  <a:cubicBezTo>
                    <a:pt x="1363" y="466"/>
                    <a:pt x="1361" y="472"/>
                    <a:pt x="1356" y="473"/>
                  </a:cubicBezTo>
                  <a:cubicBezTo>
                    <a:pt x="1351" y="474"/>
                    <a:pt x="1340" y="464"/>
                    <a:pt x="1340" y="464"/>
                  </a:cubicBezTo>
                  <a:cubicBezTo>
                    <a:pt x="1320" y="467"/>
                    <a:pt x="1320" y="467"/>
                    <a:pt x="1320" y="467"/>
                  </a:cubicBezTo>
                  <a:cubicBezTo>
                    <a:pt x="1299" y="463"/>
                    <a:pt x="1299" y="463"/>
                    <a:pt x="1299" y="463"/>
                  </a:cubicBezTo>
                  <a:cubicBezTo>
                    <a:pt x="1287" y="464"/>
                    <a:pt x="1287" y="464"/>
                    <a:pt x="1287" y="464"/>
                  </a:cubicBezTo>
                  <a:cubicBezTo>
                    <a:pt x="1270" y="459"/>
                    <a:pt x="1270" y="459"/>
                    <a:pt x="1270" y="459"/>
                  </a:cubicBezTo>
                  <a:cubicBezTo>
                    <a:pt x="1270" y="459"/>
                    <a:pt x="1259" y="460"/>
                    <a:pt x="1246" y="460"/>
                  </a:cubicBezTo>
                  <a:cubicBezTo>
                    <a:pt x="1233" y="460"/>
                    <a:pt x="1236" y="454"/>
                    <a:pt x="1236" y="454"/>
                  </a:cubicBezTo>
                  <a:cubicBezTo>
                    <a:pt x="1236" y="454"/>
                    <a:pt x="1228" y="462"/>
                    <a:pt x="1222" y="464"/>
                  </a:cubicBezTo>
                  <a:cubicBezTo>
                    <a:pt x="1216" y="466"/>
                    <a:pt x="1215" y="476"/>
                    <a:pt x="1209" y="484"/>
                  </a:cubicBezTo>
                  <a:cubicBezTo>
                    <a:pt x="1203" y="492"/>
                    <a:pt x="1195" y="489"/>
                    <a:pt x="1195" y="489"/>
                  </a:cubicBezTo>
                  <a:cubicBezTo>
                    <a:pt x="1199" y="507"/>
                    <a:pt x="1199" y="507"/>
                    <a:pt x="1199" y="507"/>
                  </a:cubicBezTo>
                  <a:cubicBezTo>
                    <a:pt x="1191" y="514"/>
                    <a:pt x="1191" y="514"/>
                    <a:pt x="1191" y="514"/>
                  </a:cubicBezTo>
                  <a:cubicBezTo>
                    <a:pt x="1201" y="525"/>
                    <a:pt x="1201" y="525"/>
                    <a:pt x="1201" y="525"/>
                  </a:cubicBezTo>
                  <a:cubicBezTo>
                    <a:pt x="1200" y="542"/>
                    <a:pt x="1200" y="542"/>
                    <a:pt x="1200" y="542"/>
                  </a:cubicBezTo>
                  <a:cubicBezTo>
                    <a:pt x="1196" y="541"/>
                    <a:pt x="1167" y="507"/>
                    <a:pt x="1167" y="507"/>
                  </a:cubicBezTo>
                  <a:cubicBezTo>
                    <a:pt x="1167" y="507"/>
                    <a:pt x="1163" y="492"/>
                    <a:pt x="1163" y="481"/>
                  </a:cubicBezTo>
                  <a:cubicBezTo>
                    <a:pt x="1163" y="470"/>
                    <a:pt x="1181" y="467"/>
                    <a:pt x="1185" y="466"/>
                  </a:cubicBezTo>
                  <a:cubicBezTo>
                    <a:pt x="1189" y="465"/>
                    <a:pt x="1187" y="454"/>
                    <a:pt x="1193" y="448"/>
                  </a:cubicBezTo>
                  <a:cubicBezTo>
                    <a:pt x="1199" y="442"/>
                    <a:pt x="1224" y="448"/>
                    <a:pt x="1228" y="448"/>
                  </a:cubicBezTo>
                  <a:cubicBezTo>
                    <a:pt x="1232" y="448"/>
                    <a:pt x="1240" y="442"/>
                    <a:pt x="1253" y="443"/>
                  </a:cubicBezTo>
                  <a:cubicBezTo>
                    <a:pt x="1266" y="444"/>
                    <a:pt x="1274" y="451"/>
                    <a:pt x="1281" y="452"/>
                  </a:cubicBezTo>
                  <a:cubicBezTo>
                    <a:pt x="1288" y="453"/>
                    <a:pt x="1293" y="456"/>
                    <a:pt x="1306" y="458"/>
                  </a:cubicBezTo>
                  <a:cubicBezTo>
                    <a:pt x="1319" y="460"/>
                    <a:pt x="1315" y="449"/>
                    <a:pt x="1328" y="449"/>
                  </a:cubicBezTo>
                  <a:cubicBezTo>
                    <a:pt x="1341" y="449"/>
                    <a:pt x="1360" y="454"/>
                    <a:pt x="1360" y="454"/>
                  </a:cubicBezTo>
                  <a:cubicBezTo>
                    <a:pt x="1360" y="454"/>
                    <a:pt x="1370" y="445"/>
                    <a:pt x="1384" y="443"/>
                  </a:cubicBezTo>
                  <a:cubicBezTo>
                    <a:pt x="1398" y="441"/>
                    <a:pt x="1390" y="460"/>
                    <a:pt x="1385" y="465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" name="Freeform 345">
              <a:extLst>
                <a:ext uri="{FF2B5EF4-FFF2-40B4-BE49-F238E27FC236}">
                  <a16:creationId xmlns:a16="http://schemas.microsoft.com/office/drawing/2014/main" id="{E3C6B9F0-A666-13D6-9C0C-9B177217E35D}"/>
                </a:ext>
              </a:extLst>
            </p:cNvPr>
            <p:cNvSpPr>
              <a:spLocks/>
            </p:cNvSpPr>
            <p:nvPr/>
          </p:nvSpPr>
          <p:spPr bwMode="gray">
            <a:xfrm>
              <a:off x="-3116" y="-8652"/>
              <a:ext cx="1200" cy="2105"/>
            </a:xfrm>
            <a:custGeom>
              <a:avLst/>
              <a:gdLst>
                <a:gd name="T0" fmla="*/ 507 w 508"/>
                <a:gd name="T1" fmla="*/ 210 h 891"/>
                <a:gd name="T2" fmla="*/ 499 w 508"/>
                <a:gd name="T3" fmla="*/ 170 h 891"/>
                <a:gd name="T4" fmla="*/ 502 w 508"/>
                <a:gd name="T5" fmla="*/ 155 h 891"/>
                <a:gd name="T6" fmla="*/ 503 w 508"/>
                <a:gd name="T7" fmla="*/ 104 h 891"/>
                <a:gd name="T8" fmla="*/ 505 w 508"/>
                <a:gd name="T9" fmla="*/ 13 h 891"/>
                <a:gd name="T10" fmla="*/ 497 w 508"/>
                <a:gd name="T11" fmla="*/ 0 h 891"/>
                <a:gd name="T12" fmla="*/ 425 w 508"/>
                <a:gd name="T13" fmla="*/ 38 h 891"/>
                <a:gd name="T14" fmla="*/ 393 w 508"/>
                <a:gd name="T15" fmla="*/ 45 h 891"/>
                <a:gd name="T16" fmla="*/ 354 w 508"/>
                <a:gd name="T17" fmla="*/ 66 h 891"/>
                <a:gd name="T18" fmla="*/ 325 w 508"/>
                <a:gd name="T19" fmla="*/ 61 h 891"/>
                <a:gd name="T20" fmla="*/ 279 w 508"/>
                <a:gd name="T21" fmla="*/ 51 h 891"/>
                <a:gd name="T22" fmla="*/ 237 w 508"/>
                <a:gd name="T23" fmla="*/ 62 h 891"/>
                <a:gd name="T24" fmla="*/ 224 w 508"/>
                <a:gd name="T25" fmla="*/ 89 h 891"/>
                <a:gd name="T26" fmla="*/ 228 w 508"/>
                <a:gd name="T27" fmla="*/ 144 h 891"/>
                <a:gd name="T28" fmla="*/ 235 w 508"/>
                <a:gd name="T29" fmla="*/ 166 h 891"/>
                <a:gd name="T30" fmla="*/ 281 w 508"/>
                <a:gd name="T31" fmla="*/ 231 h 891"/>
                <a:gd name="T32" fmla="*/ 268 w 508"/>
                <a:gd name="T33" fmla="*/ 300 h 891"/>
                <a:gd name="T34" fmla="*/ 246 w 508"/>
                <a:gd name="T35" fmla="*/ 333 h 891"/>
                <a:gd name="T36" fmla="*/ 234 w 508"/>
                <a:gd name="T37" fmla="*/ 340 h 891"/>
                <a:gd name="T38" fmla="*/ 202 w 508"/>
                <a:gd name="T39" fmla="*/ 297 h 891"/>
                <a:gd name="T40" fmla="*/ 208 w 508"/>
                <a:gd name="T41" fmla="*/ 279 h 891"/>
                <a:gd name="T42" fmla="*/ 210 w 508"/>
                <a:gd name="T43" fmla="*/ 263 h 891"/>
                <a:gd name="T44" fmla="*/ 208 w 508"/>
                <a:gd name="T45" fmla="*/ 234 h 891"/>
                <a:gd name="T46" fmla="*/ 189 w 508"/>
                <a:gd name="T47" fmla="*/ 218 h 891"/>
                <a:gd name="T48" fmla="*/ 148 w 508"/>
                <a:gd name="T49" fmla="*/ 189 h 891"/>
                <a:gd name="T50" fmla="*/ 43 w 508"/>
                <a:gd name="T51" fmla="*/ 227 h 891"/>
                <a:gd name="T52" fmla="*/ 5 w 508"/>
                <a:gd name="T53" fmla="*/ 243 h 891"/>
                <a:gd name="T54" fmla="*/ 17 w 508"/>
                <a:gd name="T55" fmla="*/ 297 h 891"/>
                <a:gd name="T56" fmla="*/ 64 w 508"/>
                <a:gd name="T57" fmla="*/ 309 h 891"/>
                <a:gd name="T58" fmla="*/ 89 w 508"/>
                <a:gd name="T59" fmla="*/ 322 h 891"/>
                <a:gd name="T60" fmla="*/ 120 w 508"/>
                <a:gd name="T61" fmla="*/ 331 h 891"/>
                <a:gd name="T62" fmla="*/ 129 w 508"/>
                <a:gd name="T63" fmla="*/ 357 h 891"/>
                <a:gd name="T64" fmla="*/ 131 w 508"/>
                <a:gd name="T65" fmla="*/ 375 h 891"/>
                <a:gd name="T66" fmla="*/ 129 w 508"/>
                <a:gd name="T67" fmla="*/ 395 h 891"/>
                <a:gd name="T68" fmla="*/ 131 w 508"/>
                <a:gd name="T69" fmla="*/ 434 h 891"/>
                <a:gd name="T70" fmla="*/ 117 w 508"/>
                <a:gd name="T71" fmla="*/ 450 h 891"/>
                <a:gd name="T72" fmla="*/ 117 w 508"/>
                <a:gd name="T73" fmla="*/ 482 h 891"/>
                <a:gd name="T74" fmla="*/ 125 w 508"/>
                <a:gd name="T75" fmla="*/ 518 h 891"/>
                <a:gd name="T76" fmla="*/ 105 w 508"/>
                <a:gd name="T77" fmla="*/ 542 h 891"/>
                <a:gd name="T78" fmla="*/ 96 w 508"/>
                <a:gd name="T79" fmla="*/ 570 h 891"/>
                <a:gd name="T80" fmla="*/ 95 w 508"/>
                <a:gd name="T81" fmla="*/ 586 h 891"/>
                <a:gd name="T82" fmla="*/ 57 w 508"/>
                <a:gd name="T83" fmla="*/ 702 h 891"/>
                <a:gd name="T84" fmla="*/ 78 w 508"/>
                <a:gd name="T85" fmla="*/ 809 h 891"/>
                <a:gd name="T86" fmla="*/ 76 w 508"/>
                <a:gd name="T87" fmla="*/ 830 h 891"/>
                <a:gd name="T88" fmla="*/ 83 w 508"/>
                <a:gd name="T89" fmla="*/ 861 h 891"/>
                <a:gd name="T90" fmla="*/ 98 w 508"/>
                <a:gd name="T91" fmla="*/ 877 h 891"/>
                <a:gd name="T92" fmla="*/ 115 w 508"/>
                <a:gd name="T93" fmla="*/ 871 h 891"/>
                <a:gd name="T94" fmla="*/ 109 w 508"/>
                <a:gd name="T95" fmla="*/ 819 h 891"/>
                <a:gd name="T96" fmla="*/ 242 w 508"/>
                <a:gd name="T97" fmla="*/ 735 h 891"/>
                <a:gd name="T98" fmla="*/ 230 w 508"/>
                <a:gd name="T99" fmla="*/ 713 h 891"/>
                <a:gd name="T100" fmla="*/ 241 w 508"/>
                <a:gd name="T101" fmla="*/ 650 h 891"/>
                <a:gd name="T102" fmla="*/ 246 w 508"/>
                <a:gd name="T103" fmla="*/ 626 h 891"/>
                <a:gd name="T104" fmla="*/ 238 w 508"/>
                <a:gd name="T105" fmla="*/ 612 h 891"/>
                <a:gd name="T106" fmla="*/ 225 w 508"/>
                <a:gd name="T107" fmla="*/ 555 h 891"/>
                <a:gd name="T108" fmla="*/ 222 w 508"/>
                <a:gd name="T109" fmla="*/ 503 h 891"/>
                <a:gd name="T110" fmla="*/ 267 w 508"/>
                <a:gd name="T111" fmla="*/ 455 h 891"/>
                <a:gd name="T112" fmla="*/ 312 w 508"/>
                <a:gd name="T113" fmla="*/ 419 h 891"/>
                <a:gd name="T114" fmla="*/ 417 w 508"/>
                <a:gd name="T115" fmla="*/ 348 h 891"/>
                <a:gd name="T116" fmla="*/ 458 w 508"/>
                <a:gd name="T117" fmla="*/ 314 h 891"/>
                <a:gd name="T118" fmla="*/ 498 w 508"/>
                <a:gd name="T119" fmla="*/ 263 h 891"/>
                <a:gd name="T120" fmla="*/ 508 w 508"/>
                <a:gd name="T121" fmla="*/ 229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8" h="891">
                  <a:moveTo>
                    <a:pt x="508" y="229"/>
                  </a:moveTo>
                  <a:cubicBezTo>
                    <a:pt x="508" y="221"/>
                    <a:pt x="507" y="210"/>
                    <a:pt x="507" y="210"/>
                  </a:cubicBezTo>
                  <a:cubicBezTo>
                    <a:pt x="499" y="211"/>
                    <a:pt x="499" y="211"/>
                    <a:pt x="499" y="211"/>
                  </a:cubicBezTo>
                  <a:cubicBezTo>
                    <a:pt x="499" y="170"/>
                    <a:pt x="499" y="170"/>
                    <a:pt x="499" y="170"/>
                  </a:cubicBezTo>
                  <a:cubicBezTo>
                    <a:pt x="491" y="162"/>
                    <a:pt x="491" y="162"/>
                    <a:pt x="491" y="162"/>
                  </a:cubicBezTo>
                  <a:cubicBezTo>
                    <a:pt x="502" y="155"/>
                    <a:pt x="502" y="155"/>
                    <a:pt x="502" y="155"/>
                  </a:cubicBezTo>
                  <a:cubicBezTo>
                    <a:pt x="495" y="124"/>
                    <a:pt x="495" y="124"/>
                    <a:pt x="495" y="124"/>
                  </a:cubicBezTo>
                  <a:cubicBezTo>
                    <a:pt x="503" y="104"/>
                    <a:pt x="503" y="104"/>
                    <a:pt x="503" y="104"/>
                  </a:cubicBezTo>
                  <a:cubicBezTo>
                    <a:pt x="493" y="78"/>
                    <a:pt x="493" y="78"/>
                    <a:pt x="493" y="78"/>
                  </a:cubicBezTo>
                  <a:cubicBezTo>
                    <a:pt x="493" y="78"/>
                    <a:pt x="505" y="21"/>
                    <a:pt x="505" y="13"/>
                  </a:cubicBezTo>
                  <a:cubicBezTo>
                    <a:pt x="505" y="5"/>
                    <a:pt x="497" y="0"/>
                    <a:pt x="497" y="0"/>
                  </a:cubicBezTo>
                  <a:cubicBezTo>
                    <a:pt x="497" y="0"/>
                    <a:pt x="497" y="0"/>
                    <a:pt x="497" y="0"/>
                  </a:cubicBezTo>
                  <a:cubicBezTo>
                    <a:pt x="444" y="37"/>
                    <a:pt x="444" y="37"/>
                    <a:pt x="444" y="37"/>
                  </a:cubicBezTo>
                  <a:cubicBezTo>
                    <a:pt x="425" y="38"/>
                    <a:pt x="425" y="38"/>
                    <a:pt x="425" y="38"/>
                  </a:cubicBezTo>
                  <a:cubicBezTo>
                    <a:pt x="425" y="38"/>
                    <a:pt x="404" y="51"/>
                    <a:pt x="400" y="52"/>
                  </a:cubicBezTo>
                  <a:cubicBezTo>
                    <a:pt x="396" y="53"/>
                    <a:pt x="393" y="45"/>
                    <a:pt x="393" y="45"/>
                  </a:cubicBezTo>
                  <a:cubicBezTo>
                    <a:pt x="377" y="45"/>
                    <a:pt x="377" y="45"/>
                    <a:pt x="377" y="45"/>
                  </a:cubicBezTo>
                  <a:cubicBezTo>
                    <a:pt x="377" y="45"/>
                    <a:pt x="361" y="63"/>
                    <a:pt x="354" y="66"/>
                  </a:cubicBezTo>
                  <a:cubicBezTo>
                    <a:pt x="347" y="69"/>
                    <a:pt x="343" y="67"/>
                    <a:pt x="343" y="67"/>
                  </a:cubicBezTo>
                  <a:cubicBezTo>
                    <a:pt x="343" y="67"/>
                    <a:pt x="329" y="59"/>
                    <a:pt x="325" y="61"/>
                  </a:cubicBezTo>
                  <a:cubicBezTo>
                    <a:pt x="321" y="63"/>
                    <a:pt x="316" y="72"/>
                    <a:pt x="311" y="72"/>
                  </a:cubicBezTo>
                  <a:cubicBezTo>
                    <a:pt x="306" y="72"/>
                    <a:pt x="287" y="51"/>
                    <a:pt x="279" y="51"/>
                  </a:cubicBezTo>
                  <a:cubicBezTo>
                    <a:pt x="271" y="51"/>
                    <a:pt x="267" y="61"/>
                    <a:pt x="267" y="61"/>
                  </a:cubicBezTo>
                  <a:cubicBezTo>
                    <a:pt x="267" y="61"/>
                    <a:pt x="250" y="62"/>
                    <a:pt x="237" y="62"/>
                  </a:cubicBezTo>
                  <a:cubicBezTo>
                    <a:pt x="236" y="66"/>
                    <a:pt x="236" y="70"/>
                    <a:pt x="236" y="72"/>
                  </a:cubicBezTo>
                  <a:cubicBezTo>
                    <a:pt x="236" y="75"/>
                    <a:pt x="233" y="81"/>
                    <a:pt x="224" y="89"/>
                  </a:cubicBezTo>
                  <a:cubicBezTo>
                    <a:pt x="215" y="97"/>
                    <a:pt x="225" y="104"/>
                    <a:pt x="229" y="109"/>
                  </a:cubicBezTo>
                  <a:cubicBezTo>
                    <a:pt x="233" y="114"/>
                    <a:pt x="233" y="132"/>
                    <a:pt x="228" y="144"/>
                  </a:cubicBezTo>
                  <a:cubicBezTo>
                    <a:pt x="225" y="151"/>
                    <a:pt x="225" y="159"/>
                    <a:pt x="226" y="164"/>
                  </a:cubicBezTo>
                  <a:cubicBezTo>
                    <a:pt x="229" y="165"/>
                    <a:pt x="233" y="165"/>
                    <a:pt x="235" y="166"/>
                  </a:cubicBezTo>
                  <a:cubicBezTo>
                    <a:pt x="239" y="169"/>
                    <a:pt x="257" y="196"/>
                    <a:pt x="261" y="204"/>
                  </a:cubicBezTo>
                  <a:cubicBezTo>
                    <a:pt x="265" y="212"/>
                    <a:pt x="275" y="222"/>
                    <a:pt x="281" y="231"/>
                  </a:cubicBezTo>
                  <a:cubicBezTo>
                    <a:pt x="287" y="240"/>
                    <a:pt x="270" y="258"/>
                    <a:pt x="270" y="258"/>
                  </a:cubicBezTo>
                  <a:cubicBezTo>
                    <a:pt x="270" y="258"/>
                    <a:pt x="274" y="293"/>
                    <a:pt x="268" y="300"/>
                  </a:cubicBezTo>
                  <a:cubicBezTo>
                    <a:pt x="262" y="307"/>
                    <a:pt x="244" y="299"/>
                    <a:pt x="238" y="317"/>
                  </a:cubicBezTo>
                  <a:cubicBezTo>
                    <a:pt x="232" y="335"/>
                    <a:pt x="242" y="323"/>
                    <a:pt x="246" y="333"/>
                  </a:cubicBezTo>
                  <a:cubicBezTo>
                    <a:pt x="250" y="343"/>
                    <a:pt x="243" y="360"/>
                    <a:pt x="232" y="358"/>
                  </a:cubicBezTo>
                  <a:cubicBezTo>
                    <a:pt x="221" y="356"/>
                    <a:pt x="235" y="346"/>
                    <a:pt x="234" y="340"/>
                  </a:cubicBezTo>
                  <a:cubicBezTo>
                    <a:pt x="233" y="334"/>
                    <a:pt x="202" y="314"/>
                    <a:pt x="202" y="314"/>
                  </a:cubicBezTo>
                  <a:cubicBezTo>
                    <a:pt x="202" y="297"/>
                    <a:pt x="202" y="297"/>
                    <a:pt x="202" y="297"/>
                  </a:cubicBezTo>
                  <a:cubicBezTo>
                    <a:pt x="202" y="297"/>
                    <a:pt x="197" y="297"/>
                    <a:pt x="195" y="294"/>
                  </a:cubicBezTo>
                  <a:cubicBezTo>
                    <a:pt x="193" y="291"/>
                    <a:pt x="208" y="279"/>
                    <a:pt x="208" y="279"/>
                  </a:cubicBezTo>
                  <a:cubicBezTo>
                    <a:pt x="200" y="266"/>
                    <a:pt x="200" y="266"/>
                    <a:pt x="200" y="266"/>
                  </a:cubicBezTo>
                  <a:cubicBezTo>
                    <a:pt x="210" y="263"/>
                    <a:pt x="210" y="263"/>
                    <a:pt x="210" y="263"/>
                  </a:cubicBezTo>
                  <a:cubicBezTo>
                    <a:pt x="213" y="242"/>
                    <a:pt x="213" y="242"/>
                    <a:pt x="213" y="242"/>
                  </a:cubicBezTo>
                  <a:cubicBezTo>
                    <a:pt x="213" y="242"/>
                    <a:pt x="207" y="243"/>
                    <a:pt x="208" y="234"/>
                  </a:cubicBezTo>
                  <a:cubicBezTo>
                    <a:pt x="209" y="225"/>
                    <a:pt x="205" y="214"/>
                    <a:pt x="205" y="214"/>
                  </a:cubicBezTo>
                  <a:cubicBezTo>
                    <a:pt x="199" y="211"/>
                    <a:pt x="189" y="218"/>
                    <a:pt x="189" y="218"/>
                  </a:cubicBezTo>
                  <a:cubicBezTo>
                    <a:pt x="169" y="221"/>
                    <a:pt x="169" y="221"/>
                    <a:pt x="169" y="221"/>
                  </a:cubicBezTo>
                  <a:cubicBezTo>
                    <a:pt x="148" y="189"/>
                    <a:pt x="148" y="189"/>
                    <a:pt x="148" y="189"/>
                  </a:cubicBezTo>
                  <a:cubicBezTo>
                    <a:pt x="148" y="189"/>
                    <a:pt x="104" y="209"/>
                    <a:pt x="95" y="214"/>
                  </a:cubicBezTo>
                  <a:cubicBezTo>
                    <a:pt x="85" y="219"/>
                    <a:pt x="43" y="227"/>
                    <a:pt x="43" y="227"/>
                  </a:cubicBezTo>
                  <a:cubicBezTo>
                    <a:pt x="31" y="238"/>
                    <a:pt x="31" y="238"/>
                    <a:pt x="31" y="238"/>
                  </a:cubicBezTo>
                  <a:cubicBezTo>
                    <a:pt x="31" y="238"/>
                    <a:pt x="11" y="239"/>
                    <a:pt x="5" y="243"/>
                  </a:cubicBezTo>
                  <a:cubicBezTo>
                    <a:pt x="0" y="247"/>
                    <a:pt x="15" y="261"/>
                    <a:pt x="15" y="261"/>
                  </a:cubicBezTo>
                  <a:cubicBezTo>
                    <a:pt x="17" y="297"/>
                    <a:pt x="17" y="297"/>
                    <a:pt x="17" y="297"/>
                  </a:cubicBezTo>
                  <a:cubicBezTo>
                    <a:pt x="56" y="297"/>
                    <a:pt x="56" y="297"/>
                    <a:pt x="56" y="297"/>
                  </a:cubicBezTo>
                  <a:cubicBezTo>
                    <a:pt x="64" y="309"/>
                    <a:pt x="64" y="309"/>
                    <a:pt x="64" y="309"/>
                  </a:cubicBezTo>
                  <a:cubicBezTo>
                    <a:pt x="79" y="306"/>
                    <a:pt x="79" y="306"/>
                    <a:pt x="79" y="306"/>
                  </a:cubicBezTo>
                  <a:cubicBezTo>
                    <a:pt x="89" y="322"/>
                    <a:pt x="89" y="322"/>
                    <a:pt x="89" y="322"/>
                  </a:cubicBezTo>
                  <a:cubicBezTo>
                    <a:pt x="89" y="322"/>
                    <a:pt x="99" y="319"/>
                    <a:pt x="107" y="319"/>
                  </a:cubicBezTo>
                  <a:cubicBezTo>
                    <a:pt x="115" y="319"/>
                    <a:pt x="120" y="331"/>
                    <a:pt x="120" y="331"/>
                  </a:cubicBezTo>
                  <a:cubicBezTo>
                    <a:pt x="120" y="331"/>
                    <a:pt x="135" y="331"/>
                    <a:pt x="139" y="339"/>
                  </a:cubicBezTo>
                  <a:cubicBezTo>
                    <a:pt x="143" y="347"/>
                    <a:pt x="129" y="357"/>
                    <a:pt x="129" y="357"/>
                  </a:cubicBezTo>
                  <a:cubicBezTo>
                    <a:pt x="137" y="366"/>
                    <a:pt x="137" y="366"/>
                    <a:pt x="137" y="366"/>
                  </a:cubicBezTo>
                  <a:cubicBezTo>
                    <a:pt x="131" y="375"/>
                    <a:pt x="131" y="375"/>
                    <a:pt x="131" y="375"/>
                  </a:cubicBezTo>
                  <a:cubicBezTo>
                    <a:pt x="137" y="383"/>
                    <a:pt x="137" y="383"/>
                    <a:pt x="137" y="383"/>
                  </a:cubicBezTo>
                  <a:cubicBezTo>
                    <a:pt x="137" y="383"/>
                    <a:pt x="132" y="390"/>
                    <a:pt x="129" y="395"/>
                  </a:cubicBezTo>
                  <a:cubicBezTo>
                    <a:pt x="127" y="401"/>
                    <a:pt x="135" y="407"/>
                    <a:pt x="137" y="421"/>
                  </a:cubicBezTo>
                  <a:cubicBezTo>
                    <a:pt x="140" y="434"/>
                    <a:pt x="131" y="434"/>
                    <a:pt x="131" y="434"/>
                  </a:cubicBezTo>
                  <a:cubicBezTo>
                    <a:pt x="131" y="443"/>
                    <a:pt x="131" y="443"/>
                    <a:pt x="131" y="443"/>
                  </a:cubicBezTo>
                  <a:cubicBezTo>
                    <a:pt x="117" y="450"/>
                    <a:pt x="117" y="450"/>
                    <a:pt x="117" y="450"/>
                  </a:cubicBezTo>
                  <a:cubicBezTo>
                    <a:pt x="131" y="466"/>
                    <a:pt x="131" y="466"/>
                    <a:pt x="131" y="466"/>
                  </a:cubicBezTo>
                  <a:cubicBezTo>
                    <a:pt x="131" y="466"/>
                    <a:pt x="119" y="477"/>
                    <a:pt x="117" y="482"/>
                  </a:cubicBezTo>
                  <a:cubicBezTo>
                    <a:pt x="116" y="487"/>
                    <a:pt x="133" y="498"/>
                    <a:pt x="135" y="505"/>
                  </a:cubicBezTo>
                  <a:cubicBezTo>
                    <a:pt x="136" y="511"/>
                    <a:pt x="125" y="518"/>
                    <a:pt x="125" y="518"/>
                  </a:cubicBezTo>
                  <a:cubicBezTo>
                    <a:pt x="125" y="518"/>
                    <a:pt x="123" y="525"/>
                    <a:pt x="121" y="533"/>
                  </a:cubicBezTo>
                  <a:cubicBezTo>
                    <a:pt x="120" y="541"/>
                    <a:pt x="105" y="542"/>
                    <a:pt x="105" y="542"/>
                  </a:cubicBezTo>
                  <a:cubicBezTo>
                    <a:pt x="104" y="565"/>
                    <a:pt x="104" y="565"/>
                    <a:pt x="104" y="565"/>
                  </a:cubicBezTo>
                  <a:cubicBezTo>
                    <a:pt x="96" y="570"/>
                    <a:pt x="96" y="570"/>
                    <a:pt x="96" y="570"/>
                  </a:cubicBezTo>
                  <a:cubicBezTo>
                    <a:pt x="105" y="583"/>
                    <a:pt x="105" y="583"/>
                    <a:pt x="105" y="583"/>
                  </a:cubicBezTo>
                  <a:cubicBezTo>
                    <a:pt x="95" y="586"/>
                    <a:pt x="95" y="586"/>
                    <a:pt x="95" y="586"/>
                  </a:cubicBezTo>
                  <a:cubicBezTo>
                    <a:pt x="48" y="642"/>
                    <a:pt x="48" y="642"/>
                    <a:pt x="48" y="642"/>
                  </a:cubicBezTo>
                  <a:cubicBezTo>
                    <a:pt x="48" y="642"/>
                    <a:pt x="55" y="693"/>
                    <a:pt x="57" y="702"/>
                  </a:cubicBezTo>
                  <a:cubicBezTo>
                    <a:pt x="59" y="711"/>
                    <a:pt x="80" y="743"/>
                    <a:pt x="79" y="752"/>
                  </a:cubicBezTo>
                  <a:cubicBezTo>
                    <a:pt x="78" y="761"/>
                    <a:pt x="78" y="809"/>
                    <a:pt x="78" y="809"/>
                  </a:cubicBezTo>
                  <a:cubicBezTo>
                    <a:pt x="60" y="833"/>
                    <a:pt x="60" y="833"/>
                    <a:pt x="60" y="833"/>
                  </a:cubicBezTo>
                  <a:cubicBezTo>
                    <a:pt x="76" y="830"/>
                    <a:pt x="76" y="830"/>
                    <a:pt x="76" y="830"/>
                  </a:cubicBezTo>
                  <a:cubicBezTo>
                    <a:pt x="76" y="830"/>
                    <a:pt x="71" y="847"/>
                    <a:pt x="73" y="854"/>
                  </a:cubicBezTo>
                  <a:cubicBezTo>
                    <a:pt x="76" y="861"/>
                    <a:pt x="83" y="861"/>
                    <a:pt x="83" y="861"/>
                  </a:cubicBezTo>
                  <a:cubicBezTo>
                    <a:pt x="87" y="877"/>
                    <a:pt x="87" y="877"/>
                    <a:pt x="87" y="877"/>
                  </a:cubicBezTo>
                  <a:cubicBezTo>
                    <a:pt x="91" y="876"/>
                    <a:pt x="95" y="875"/>
                    <a:pt x="98" y="877"/>
                  </a:cubicBezTo>
                  <a:cubicBezTo>
                    <a:pt x="102" y="879"/>
                    <a:pt x="107" y="885"/>
                    <a:pt x="111" y="891"/>
                  </a:cubicBezTo>
                  <a:cubicBezTo>
                    <a:pt x="113" y="883"/>
                    <a:pt x="115" y="876"/>
                    <a:pt x="115" y="871"/>
                  </a:cubicBezTo>
                  <a:cubicBezTo>
                    <a:pt x="116" y="856"/>
                    <a:pt x="107" y="845"/>
                    <a:pt x="107" y="845"/>
                  </a:cubicBezTo>
                  <a:cubicBezTo>
                    <a:pt x="107" y="845"/>
                    <a:pt x="88" y="839"/>
                    <a:pt x="109" y="819"/>
                  </a:cubicBezTo>
                  <a:cubicBezTo>
                    <a:pt x="130" y="799"/>
                    <a:pt x="165" y="785"/>
                    <a:pt x="186" y="773"/>
                  </a:cubicBezTo>
                  <a:cubicBezTo>
                    <a:pt x="207" y="761"/>
                    <a:pt x="242" y="744"/>
                    <a:pt x="242" y="735"/>
                  </a:cubicBezTo>
                  <a:cubicBezTo>
                    <a:pt x="242" y="726"/>
                    <a:pt x="242" y="718"/>
                    <a:pt x="242" y="718"/>
                  </a:cubicBezTo>
                  <a:cubicBezTo>
                    <a:pt x="242" y="718"/>
                    <a:pt x="231" y="727"/>
                    <a:pt x="230" y="713"/>
                  </a:cubicBezTo>
                  <a:cubicBezTo>
                    <a:pt x="229" y="699"/>
                    <a:pt x="249" y="684"/>
                    <a:pt x="247" y="674"/>
                  </a:cubicBezTo>
                  <a:cubicBezTo>
                    <a:pt x="245" y="664"/>
                    <a:pt x="241" y="650"/>
                    <a:pt x="241" y="650"/>
                  </a:cubicBezTo>
                  <a:cubicBezTo>
                    <a:pt x="248" y="631"/>
                    <a:pt x="248" y="631"/>
                    <a:pt x="248" y="631"/>
                  </a:cubicBezTo>
                  <a:cubicBezTo>
                    <a:pt x="246" y="626"/>
                    <a:pt x="246" y="626"/>
                    <a:pt x="246" y="626"/>
                  </a:cubicBezTo>
                  <a:cubicBezTo>
                    <a:pt x="235" y="639"/>
                    <a:pt x="235" y="639"/>
                    <a:pt x="235" y="639"/>
                  </a:cubicBezTo>
                  <a:cubicBezTo>
                    <a:pt x="238" y="612"/>
                    <a:pt x="238" y="612"/>
                    <a:pt x="238" y="612"/>
                  </a:cubicBezTo>
                  <a:cubicBezTo>
                    <a:pt x="238" y="612"/>
                    <a:pt x="223" y="597"/>
                    <a:pt x="222" y="587"/>
                  </a:cubicBezTo>
                  <a:cubicBezTo>
                    <a:pt x="221" y="577"/>
                    <a:pt x="230" y="567"/>
                    <a:pt x="225" y="555"/>
                  </a:cubicBezTo>
                  <a:cubicBezTo>
                    <a:pt x="220" y="543"/>
                    <a:pt x="208" y="554"/>
                    <a:pt x="208" y="541"/>
                  </a:cubicBezTo>
                  <a:cubicBezTo>
                    <a:pt x="208" y="528"/>
                    <a:pt x="219" y="507"/>
                    <a:pt x="222" y="503"/>
                  </a:cubicBezTo>
                  <a:cubicBezTo>
                    <a:pt x="225" y="499"/>
                    <a:pt x="249" y="493"/>
                    <a:pt x="252" y="484"/>
                  </a:cubicBezTo>
                  <a:cubicBezTo>
                    <a:pt x="255" y="475"/>
                    <a:pt x="260" y="460"/>
                    <a:pt x="267" y="455"/>
                  </a:cubicBezTo>
                  <a:cubicBezTo>
                    <a:pt x="274" y="450"/>
                    <a:pt x="279" y="455"/>
                    <a:pt x="287" y="449"/>
                  </a:cubicBezTo>
                  <a:cubicBezTo>
                    <a:pt x="295" y="443"/>
                    <a:pt x="310" y="435"/>
                    <a:pt x="312" y="419"/>
                  </a:cubicBezTo>
                  <a:cubicBezTo>
                    <a:pt x="314" y="403"/>
                    <a:pt x="331" y="385"/>
                    <a:pt x="348" y="377"/>
                  </a:cubicBezTo>
                  <a:cubicBezTo>
                    <a:pt x="365" y="369"/>
                    <a:pt x="409" y="355"/>
                    <a:pt x="417" y="348"/>
                  </a:cubicBezTo>
                  <a:cubicBezTo>
                    <a:pt x="425" y="341"/>
                    <a:pt x="458" y="324"/>
                    <a:pt x="458" y="324"/>
                  </a:cubicBezTo>
                  <a:cubicBezTo>
                    <a:pt x="458" y="314"/>
                    <a:pt x="458" y="314"/>
                    <a:pt x="458" y="314"/>
                  </a:cubicBezTo>
                  <a:cubicBezTo>
                    <a:pt x="458" y="314"/>
                    <a:pt x="476" y="295"/>
                    <a:pt x="476" y="290"/>
                  </a:cubicBezTo>
                  <a:cubicBezTo>
                    <a:pt x="476" y="285"/>
                    <a:pt x="498" y="263"/>
                    <a:pt x="498" y="263"/>
                  </a:cubicBezTo>
                  <a:cubicBezTo>
                    <a:pt x="496" y="254"/>
                    <a:pt x="496" y="254"/>
                    <a:pt x="496" y="254"/>
                  </a:cubicBezTo>
                  <a:cubicBezTo>
                    <a:pt x="496" y="254"/>
                    <a:pt x="508" y="237"/>
                    <a:pt x="508" y="229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" name="Freeform 346">
              <a:extLst>
                <a:ext uri="{FF2B5EF4-FFF2-40B4-BE49-F238E27FC236}">
                  <a16:creationId xmlns:a16="http://schemas.microsoft.com/office/drawing/2014/main" id="{96A4F783-6977-8D48-5705-2F69817DB9B8}"/>
                </a:ext>
              </a:extLst>
            </p:cNvPr>
            <p:cNvSpPr>
              <a:spLocks/>
            </p:cNvSpPr>
            <p:nvPr/>
          </p:nvSpPr>
          <p:spPr bwMode="gray">
            <a:xfrm>
              <a:off x="-2821" y="-8784"/>
              <a:ext cx="383" cy="982"/>
            </a:xfrm>
            <a:custGeom>
              <a:avLst/>
              <a:gdLst>
                <a:gd name="T0" fmla="*/ 156 w 162"/>
                <a:gd name="T1" fmla="*/ 287 h 416"/>
                <a:gd name="T2" fmla="*/ 136 w 162"/>
                <a:gd name="T3" fmla="*/ 260 h 416"/>
                <a:gd name="T4" fmla="*/ 110 w 162"/>
                <a:gd name="T5" fmla="*/ 222 h 416"/>
                <a:gd name="T6" fmla="*/ 101 w 162"/>
                <a:gd name="T7" fmla="*/ 220 h 416"/>
                <a:gd name="T8" fmla="*/ 105 w 162"/>
                <a:gd name="T9" fmla="*/ 229 h 416"/>
                <a:gd name="T10" fmla="*/ 114 w 162"/>
                <a:gd name="T11" fmla="*/ 237 h 416"/>
                <a:gd name="T12" fmla="*/ 113 w 162"/>
                <a:gd name="T13" fmla="*/ 264 h 416"/>
                <a:gd name="T14" fmla="*/ 105 w 162"/>
                <a:gd name="T15" fmla="*/ 253 h 416"/>
                <a:gd name="T16" fmla="*/ 90 w 162"/>
                <a:gd name="T17" fmla="*/ 257 h 416"/>
                <a:gd name="T18" fmla="*/ 86 w 162"/>
                <a:gd name="T19" fmla="*/ 234 h 416"/>
                <a:gd name="T20" fmla="*/ 81 w 162"/>
                <a:gd name="T21" fmla="*/ 220 h 416"/>
                <a:gd name="T22" fmla="*/ 81 w 162"/>
                <a:gd name="T23" fmla="*/ 195 h 416"/>
                <a:gd name="T24" fmla="*/ 64 w 162"/>
                <a:gd name="T25" fmla="*/ 171 h 416"/>
                <a:gd name="T26" fmla="*/ 59 w 162"/>
                <a:gd name="T27" fmla="*/ 154 h 416"/>
                <a:gd name="T28" fmla="*/ 77 w 162"/>
                <a:gd name="T29" fmla="*/ 126 h 416"/>
                <a:gd name="T30" fmla="*/ 84 w 162"/>
                <a:gd name="T31" fmla="*/ 108 h 416"/>
                <a:gd name="T32" fmla="*/ 81 w 162"/>
                <a:gd name="T33" fmla="*/ 90 h 416"/>
                <a:gd name="T34" fmla="*/ 78 w 162"/>
                <a:gd name="T35" fmla="*/ 51 h 416"/>
                <a:gd name="T36" fmla="*/ 64 w 162"/>
                <a:gd name="T37" fmla="*/ 37 h 416"/>
                <a:gd name="T38" fmla="*/ 60 w 162"/>
                <a:gd name="T39" fmla="*/ 10 h 416"/>
                <a:gd name="T40" fmla="*/ 41 w 162"/>
                <a:gd name="T41" fmla="*/ 10 h 416"/>
                <a:gd name="T42" fmla="*/ 35 w 162"/>
                <a:gd name="T43" fmla="*/ 0 h 416"/>
                <a:gd name="T44" fmla="*/ 20 w 162"/>
                <a:gd name="T45" fmla="*/ 1 h 416"/>
                <a:gd name="T46" fmla="*/ 20 w 162"/>
                <a:gd name="T47" fmla="*/ 9 h 416"/>
                <a:gd name="T48" fmla="*/ 35 w 162"/>
                <a:gd name="T49" fmla="*/ 16 h 416"/>
                <a:gd name="T50" fmla="*/ 37 w 162"/>
                <a:gd name="T51" fmla="*/ 42 h 416"/>
                <a:gd name="T52" fmla="*/ 46 w 162"/>
                <a:gd name="T53" fmla="*/ 41 h 416"/>
                <a:gd name="T54" fmla="*/ 46 w 162"/>
                <a:gd name="T55" fmla="*/ 54 h 416"/>
                <a:gd name="T56" fmla="*/ 52 w 162"/>
                <a:gd name="T57" fmla="*/ 64 h 416"/>
                <a:gd name="T58" fmla="*/ 30 w 162"/>
                <a:gd name="T59" fmla="*/ 75 h 416"/>
                <a:gd name="T60" fmla="*/ 30 w 162"/>
                <a:gd name="T61" fmla="*/ 86 h 416"/>
                <a:gd name="T62" fmla="*/ 37 w 162"/>
                <a:gd name="T63" fmla="*/ 92 h 416"/>
                <a:gd name="T64" fmla="*/ 33 w 162"/>
                <a:gd name="T65" fmla="*/ 105 h 416"/>
                <a:gd name="T66" fmla="*/ 34 w 162"/>
                <a:gd name="T67" fmla="*/ 153 h 416"/>
                <a:gd name="T68" fmla="*/ 42 w 162"/>
                <a:gd name="T69" fmla="*/ 157 h 416"/>
                <a:gd name="T70" fmla="*/ 14 w 162"/>
                <a:gd name="T71" fmla="*/ 175 h 416"/>
                <a:gd name="T72" fmla="*/ 16 w 162"/>
                <a:gd name="T73" fmla="*/ 200 h 416"/>
                <a:gd name="T74" fmla="*/ 1 w 162"/>
                <a:gd name="T75" fmla="*/ 226 h 416"/>
                <a:gd name="T76" fmla="*/ 23 w 162"/>
                <a:gd name="T77" fmla="*/ 245 h 416"/>
                <a:gd name="T78" fmla="*/ 44 w 162"/>
                <a:gd name="T79" fmla="*/ 277 h 416"/>
                <a:gd name="T80" fmla="*/ 64 w 162"/>
                <a:gd name="T81" fmla="*/ 274 h 416"/>
                <a:gd name="T82" fmla="*/ 80 w 162"/>
                <a:gd name="T83" fmla="*/ 270 h 416"/>
                <a:gd name="T84" fmla="*/ 83 w 162"/>
                <a:gd name="T85" fmla="*/ 290 h 416"/>
                <a:gd name="T86" fmla="*/ 88 w 162"/>
                <a:gd name="T87" fmla="*/ 298 h 416"/>
                <a:gd name="T88" fmla="*/ 85 w 162"/>
                <a:gd name="T89" fmla="*/ 319 h 416"/>
                <a:gd name="T90" fmla="*/ 75 w 162"/>
                <a:gd name="T91" fmla="*/ 322 h 416"/>
                <a:gd name="T92" fmla="*/ 83 w 162"/>
                <a:gd name="T93" fmla="*/ 335 h 416"/>
                <a:gd name="T94" fmla="*/ 70 w 162"/>
                <a:gd name="T95" fmla="*/ 350 h 416"/>
                <a:gd name="T96" fmla="*/ 77 w 162"/>
                <a:gd name="T97" fmla="*/ 353 h 416"/>
                <a:gd name="T98" fmla="*/ 77 w 162"/>
                <a:gd name="T99" fmla="*/ 370 h 416"/>
                <a:gd name="T100" fmla="*/ 109 w 162"/>
                <a:gd name="T101" fmla="*/ 396 h 416"/>
                <a:gd name="T102" fmla="*/ 107 w 162"/>
                <a:gd name="T103" fmla="*/ 414 h 416"/>
                <a:gd name="T104" fmla="*/ 121 w 162"/>
                <a:gd name="T105" fmla="*/ 389 h 416"/>
                <a:gd name="T106" fmla="*/ 113 w 162"/>
                <a:gd name="T107" fmla="*/ 373 h 416"/>
                <a:gd name="T108" fmla="*/ 143 w 162"/>
                <a:gd name="T109" fmla="*/ 356 h 416"/>
                <a:gd name="T110" fmla="*/ 145 w 162"/>
                <a:gd name="T111" fmla="*/ 314 h 416"/>
                <a:gd name="T112" fmla="*/ 156 w 162"/>
                <a:gd name="T113" fmla="*/ 287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2" h="416">
                  <a:moveTo>
                    <a:pt x="156" y="287"/>
                  </a:moveTo>
                  <a:cubicBezTo>
                    <a:pt x="150" y="278"/>
                    <a:pt x="140" y="268"/>
                    <a:pt x="136" y="260"/>
                  </a:cubicBezTo>
                  <a:cubicBezTo>
                    <a:pt x="132" y="252"/>
                    <a:pt x="114" y="225"/>
                    <a:pt x="110" y="222"/>
                  </a:cubicBezTo>
                  <a:cubicBezTo>
                    <a:pt x="108" y="221"/>
                    <a:pt x="104" y="221"/>
                    <a:pt x="101" y="220"/>
                  </a:cubicBezTo>
                  <a:cubicBezTo>
                    <a:pt x="101" y="225"/>
                    <a:pt x="103" y="228"/>
                    <a:pt x="105" y="229"/>
                  </a:cubicBezTo>
                  <a:cubicBezTo>
                    <a:pt x="110" y="231"/>
                    <a:pt x="114" y="237"/>
                    <a:pt x="114" y="237"/>
                  </a:cubicBezTo>
                  <a:cubicBezTo>
                    <a:pt x="114" y="237"/>
                    <a:pt x="119" y="262"/>
                    <a:pt x="113" y="264"/>
                  </a:cubicBezTo>
                  <a:cubicBezTo>
                    <a:pt x="107" y="266"/>
                    <a:pt x="105" y="253"/>
                    <a:pt x="105" y="253"/>
                  </a:cubicBezTo>
                  <a:cubicBezTo>
                    <a:pt x="105" y="253"/>
                    <a:pt x="93" y="259"/>
                    <a:pt x="90" y="257"/>
                  </a:cubicBezTo>
                  <a:cubicBezTo>
                    <a:pt x="87" y="255"/>
                    <a:pt x="87" y="241"/>
                    <a:pt x="86" y="234"/>
                  </a:cubicBezTo>
                  <a:cubicBezTo>
                    <a:pt x="85" y="227"/>
                    <a:pt x="83" y="224"/>
                    <a:pt x="81" y="220"/>
                  </a:cubicBezTo>
                  <a:cubicBezTo>
                    <a:pt x="79" y="216"/>
                    <a:pt x="81" y="203"/>
                    <a:pt x="81" y="195"/>
                  </a:cubicBezTo>
                  <a:cubicBezTo>
                    <a:pt x="81" y="187"/>
                    <a:pt x="76" y="181"/>
                    <a:pt x="64" y="171"/>
                  </a:cubicBezTo>
                  <a:cubicBezTo>
                    <a:pt x="52" y="161"/>
                    <a:pt x="61" y="163"/>
                    <a:pt x="59" y="154"/>
                  </a:cubicBezTo>
                  <a:cubicBezTo>
                    <a:pt x="57" y="145"/>
                    <a:pt x="67" y="137"/>
                    <a:pt x="77" y="126"/>
                  </a:cubicBezTo>
                  <a:cubicBezTo>
                    <a:pt x="87" y="115"/>
                    <a:pt x="83" y="113"/>
                    <a:pt x="84" y="108"/>
                  </a:cubicBezTo>
                  <a:cubicBezTo>
                    <a:pt x="85" y="103"/>
                    <a:pt x="81" y="98"/>
                    <a:pt x="81" y="90"/>
                  </a:cubicBezTo>
                  <a:cubicBezTo>
                    <a:pt x="81" y="82"/>
                    <a:pt x="79" y="67"/>
                    <a:pt x="78" y="51"/>
                  </a:cubicBezTo>
                  <a:cubicBezTo>
                    <a:pt x="77" y="35"/>
                    <a:pt x="75" y="44"/>
                    <a:pt x="64" y="37"/>
                  </a:cubicBezTo>
                  <a:cubicBezTo>
                    <a:pt x="53" y="30"/>
                    <a:pt x="61" y="21"/>
                    <a:pt x="60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34" y="9"/>
                    <a:pt x="35" y="16"/>
                  </a:cubicBezTo>
                  <a:cubicBezTo>
                    <a:pt x="36" y="23"/>
                    <a:pt x="34" y="42"/>
                    <a:pt x="37" y="42"/>
                  </a:cubicBezTo>
                  <a:cubicBezTo>
                    <a:pt x="40" y="42"/>
                    <a:pt x="46" y="41"/>
                    <a:pt x="46" y="41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54"/>
                    <a:pt x="58" y="57"/>
                    <a:pt x="52" y="64"/>
                  </a:cubicBezTo>
                  <a:cubicBezTo>
                    <a:pt x="46" y="71"/>
                    <a:pt x="30" y="75"/>
                    <a:pt x="30" y="75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3" y="105"/>
                    <a:pt x="33" y="105"/>
                    <a:pt x="33" y="105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34" y="153"/>
                    <a:pt x="45" y="150"/>
                    <a:pt x="42" y="157"/>
                  </a:cubicBezTo>
                  <a:cubicBezTo>
                    <a:pt x="39" y="164"/>
                    <a:pt x="14" y="175"/>
                    <a:pt x="14" y="175"/>
                  </a:cubicBezTo>
                  <a:cubicBezTo>
                    <a:pt x="16" y="200"/>
                    <a:pt x="16" y="200"/>
                    <a:pt x="16" y="200"/>
                  </a:cubicBezTo>
                  <a:cubicBezTo>
                    <a:pt x="16" y="200"/>
                    <a:pt x="0" y="223"/>
                    <a:pt x="1" y="226"/>
                  </a:cubicBezTo>
                  <a:cubicBezTo>
                    <a:pt x="2" y="229"/>
                    <a:pt x="23" y="245"/>
                    <a:pt x="23" y="245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64" y="274"/>
                    <a:pt x="64" y="274"/>
                    <a:pt x="64" y="274"/>
                  </a:cubicBezTo>
                  <a:cubicBezTo>
                    <a:pt x="64" y="274"/>
                    <a:pt x="74" y="267"/>
                    <a:pt x="80" y="270"/>
                  </a:cubicBezTo>
                  <a:cubicBezTo>
                    <a:pt x="80" y="270"/>
                    <a:pt x="84" y="281"/>
                    <a:pt x="83" y="290"/>
                  </a:cubicBezTo>
                  <a:cubicBezTo>
                    <a:pt x="82" y="299"/>
                    <a:pt x="88" y="298"/>
                    <a:pt x="88" y="298"/>
                  </a:cubicBezTo>
                  <a:cubicBezTo>
                    <a:pt x="85" y="319"/>
                    <a:pt x="85" y="319"/>
                    <a:pt x="85" y="319"/>
                  </a:cubicBezTo>
                  <a:cubicBezTo>
                    <a:pt x="75" y="322"/>
                    <a:pt x="75" y="322"/>
                    <a:pt x="75" y="322"/>
                  </a:cubicBezTo>
                  <a:cubicBezTo>
                    <a:pt x="83" y="335"/>
                    <a:pt x="83" y="335"/>
                    <a:pt x="83" y="335"/>
                  </a:cubicBezTo>
                  <a:cubicBezTo>
                    <a:pt x="83" y="335"/>
                    <a:pt x="68" y="347"/>
                    <a:pt x="70" y="350"/>
                  </a:cubicBezTo>
                  <a:cubicBezTo>
                    <a:pt x="72" y="353"/>
                    <a:pt x="77" y="353"/>
                    <a:pt x="77" y="353"/>
                  </a:cubicBezTo>
                  <a:cubicBezTo>
                    <a:pt x="77" y="370"/>
                    <a:pt x="77" y="370"/>
                    <a:pt x="77" y="370"/>
                  </a:cubicBezTo>
                  <a:cubicBezTo>
                    <a:pt x="77" y="370"/>
                    <a:pt x="108" y="390"/>
                    <a:pt x="109" y="396"/>
                  </a:cubicBezTo>
                  <a:cubicBezTo>
                    <a:pt x="110" y="402"/>
                    <a:pt x="96" y="412"/>
                    <a:pt x="107" y="414"/>
                  </a:cubicBezTo>
                  <a:cubicBezTo>
                    <a:pt x="118" y="416"/>
                    <a:pt x="125" y="399"/>
                    <a:pt x="121" y="389"/>
                  </a:cubicBezTo>
                  <a:cubicBezTo>
                    <a:pt x="117" y="379"/>
                    <a:pt x="107" y="391"/>
                    <a:pt x="113" y="373"/>
                  </a:cubicBezTo>
                  <a:cubicBezTo>
                    <a:pt x="119" y="355"/>
                    <a:pt x="137" y="363"/>
                    <a:pt x="143" y="356"/>
                  </a:cubicBezTo>
                  <a:cubicBezTo>
                    <a:pt x="149" y="349"/>
                    <a:pt x="145" y="314"/>
                    <a:pt x="145" y="314"/>
                  </a:cubicBezTo>
                  <a:cubicBezTo>
                    <a:pt x="145" y="314"/>
                    <a:pt x="162" y="296"/>
                    <a:pt x="156" y="287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" name="Freeform 347">
              <a:extLst>
                <a:ext uri="{FF2B5EF4-FFF2-40B4-BE49-F238E27FC236}">
                  <a16:creationId xmlns:a16="http://schemas.microsoft.com/office/drawing/2014/main" id="{E9BCABB2-108C-70DB-BC80-CD5F3CC1C2D8}"/>
                </a:ext>
              </a:extLst>
            </p:cNvPr>
            <p:cNvSpPr>
              <a:spLocks/>
            </p:cNvSpPr>
            <p:nvPr/>
          </p:nvSpPr>
          <p:spPr bwMode="gray">
            <a:xfrm>
              <a:off x="-4014" y="-8945"/>
              <a:ext cx="1330" cy="1266"/>
            </a:xfrm>
            <a:custGeom>
              <a:avLst/>
              <a:gdLst>
                <a:gd name="T0" fmla="*/ 551 w 563"/>
                <a:gd name="T1" fmla="*/ 109 h 536"/>
                <a:gd name="T2" fmla="*/ 540 w 563"/>
                <a:gd name="T3" fmla="*/ 84 h 536"/>
                <a:gd name="T4" fmla="*/ 525 w 563"/>
                <a:gd name="T5" fmla="*/ 69 h 536"/>
                <a:gd name="T6" fmla="*/ 502 w 563"/>
                <a:gd name="T7" fmla="*/ 60 h 536"/>
                <a:gd name="T8" fmla="*/ 485 w 563"/>
                <a:gd name="T9" fmla="*/ 51 h 536"/>
                <a:gd name="T10" fmla="*/ 461 w 563"/>
                <a:gd name="T11" fmla="*/ 38 h 536"/>
                <a:gd name="T12" fmla="*/ 436 w 563"/>
                <a:gd name="T13" fmla="*/ 26 h 536"/>
                <a:gd name="T14" fmla="*/ 419 w 563"/>
                <a:gd name="T15" fmla="*/ 25 h 536"/>
                <a:gd name="T16" fmla="*/ 402 w 563"/>
                <a:gd name="T17" fmla="*/ 0 h 536"/>
                <a:gd name="T18" fmla="*/ 333 w 563"/>
                <a:gd name="T19" fmla="*/ 15 h 536"/>
                <a:gd name="T20" fmla="*/ 306 w 563"/>
                <a:gd name="T21" fmla="*/ 57 h 536"/>
                <a:gd name="T22" fmla="*/ 320 w 563"/>
                <a:gd name="T23" fmla="*/ 87 h 536"/>
                <a:gd name="T24" fmla="*/ 304 w 563"/>
                <a:gd name="T25" fmla="*/ 189 h 536"/>
                <a:gd name="T26" fmla="*/ 351 w 563"/>
                <a:gd name="T27" fmla="*/ 230 h 536"/>
                <a:gd name="T28" fmla="*/ 364 w 563"/>
                <a:gd name="T29" fmla="*/ 214 h 536"/>
                <a:gd name="T30" fmla="*/ 367 w 563"/>
                <a:gd name="T31" fmla="*/ 282 h 536"/>
                <a:gd name="T32" fmla="*/ 344 w 563"/>
                <a:gd name="T33" fmla="*/ 281 h 536"/>
                <a:gd name="T34" fmla="*/ 324 w 563"/>
                <a:gd name="T35" fmla="*/ 251 h 536"/>
                <a:gd name="T36" fmla="*/ 305 w 563"/>
                <a:gd name="T37" fmla="*/ 228 h 536"/>
                <a:gd name="T38" fmla="*/ 282 w 563"/>
                <a:gd name="T39" fmla="*/ 216 h 536"/>
                <a:gd name="T40" fmla="*/ 267 w 563"/>
                <a:gd name="T41" fmla="*/ 203 h 536"/>
                <a:gd name="T42" fmla="*/ 246 w 563"/>
                <a:gd name="T43" fmla="*/ 179 h 536"/>
                <a:gd name="T44" fmla="*/ 165 w 563"/>
                <a:gd name="T45" fmla="*/ 188 h 536"/>
                <a:gd name="T46" fmla="*/ 128 w 563"/>
                <a:gd name="T47" fmla="*/ 168 h 536"/>
                <a:gd name="T48" fmla="*/ 117 w 563"/>
                <a:gd name="T49" fmla="*/ 151 h 536"/>
                <a:gd name="T50" fmla="*/ 101 w 563"/>
                <a:gd name="T51" fmla="*/ 144 h 536"/>
                <a:gd name="T52" fmla="*/ 107 w 563"/>
                <a:gd name="T53" fmla="*/ 178 h 536"/>
                <a:gd name="T54" fmla="*/ 98 w 563"/>
                <a:gd name="T55" fmla="*/ 218 h 536"/>
                <a:gd name="T56" fmla="*/ 93 w 563"/>
                <a:gd name="T57" fmla="*/ 232 h 536"/>
                <a:gd name="T58" fmla="*/ 84 w 563"/>
                <a:gd name="T59" fmla="*/ 262 h 536"/>
                <a:gd name="T60" fmla="*/ 0 w 563"/>
                <a:gd name="T61" fmla="*/ 427 h 536"/>
                <a:gd name="T62" fmla="*/ 6 w 563"/>
                <a:gd name="T63" fmla="*/ 449 h 536"/>
                <a:gd name="T64" fmla="*/ 79 w 563"/>
                <a:gd name="T65" fmla="*/ 511 h 536"/>
                <a:gd name="T66" fmla="*/ 108 w 563"/>
                <a:gd name="T67" fmla="*/ 498 h 536"/>
                <a:gd name="T68" fmla="*/ 138 w 563"/>
                <a:gd name="T69" fmla="*/ 504 h 536"/>
                <a:gd name="T70" fmla="*/ 177 w 563"/>
                <a:gd name="T71" fmla="*/ 517 h 536"/>
                <a:gd name="T72" fmla="*/ 202 w 563"/>
                <a:gd name="T73" fmla="*/ 521 h 536"/>
                <a:gd name="T74" fmla="*/ 267 w 563"/>
                <a:gd name="T75" fmla="*/ 491 h 536"/>
                <a:gd name="T76" fmla="*/ 323 w 563"/>
                <a:gd name="T77" fmla="*/ 449 h 536"/>
                <a:gd name="T78" fmla="*/ 356 w 563"/>
                <a:gd name="T79" fmla="*/ 405 h 536"/>
                <a:gd name="T80" fmla="*/ 395 w 563"/>
                <a:gd name="T81" fmla="*/ 385 h 536"/>
                <a:gd name="T82" fmla="*/ 411 w 563"/>
                <a:gd name="T83" fmla="*/ 362 h 536"/>
                <a:gd name="T84" fmla="*/ 475 w 563"/>
                <a:gd name="T85" fmla="*/ 338 h 536"/>
                <a:gd name="T86" fmla="*/ 506 w 563"/>
                <a:gd name="T87" fmla="*/ 294 h 536"/>
                <a:gd name="T88" fmla="*/ 519 w 563"/>
                <a:gd name="T89" fmla="*/ 243 h 536"/>
                <a:gd name="T90" fmla="*/ 539 w 563"/>
                <a:gd name="T91" fmla="*/ 221 h 536"/>
                <a:gd name="T92" fmla="*/ 542 w 563"/>
                <a:gd name="T93" fmla="*/ 160 h 536"/>
                <a:gd name="T94" fmla="*/ 535 w 563"/>
                <a:gd name="T95" fmla="*/ 143 h 536"/>
                <a:gd name="T96" fmla="*/ 551 w 563"/>
                <a:gd name="T97" fmla="*/ 122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63" h="536">
                  <a:moveTo>
                    <a:pt x="551" y="122"/>
                  </a:moveTo>
                  <a:cubicBezTo>
                    <a:pt x="551" y="109"/>
                    <a:pt x="551" y="109"/>
                    <a:pt x="551" y="109"/>
                  </a:cubicBezTo>
                  <a:cubicBezTo>
                    <a:pt x="551" y="109"/>
                    <a:pt x="545" y="110"/>
                    <a:pt x="542" y="110"/>
                  </a:cubicBezTo>
                  <a:cubicBezTo>
                    <a:pt x="539" y="110"/>
                    <a:pt x="541" y="91"/>
                    <a:pt x="540" y="84"/>
                  </a:cubicBezTo>
                  <a:cubicBezTo>
                    <a:pt x="539" y="77"/>
                    <a:pt x="525" y="77"/>
                    <a:pt x="525" y="77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4" y="59"/>
                    <a:pt x="514" y="59"/>
                    <a:pt x="514" y="59"/>
                  </a:cubicBezTo>
                  <a:cubicBezTo>
                    <a:pt x="502" y="60"/>
                    <a:pt x="502" y="60"/>
                    <a:pt x="502" y="60"/>
                  </a:cubicBezTo>
                  <a:cubicBezTo>
                    <a:pt x="500" y="49"/>
                    <a:pt x="500" y="49"/>
                    <a:pt x="500" y="49"/>
                  </a:cubicBezTo>
                  <a:cubicBezTo>
                    <a:pt x="500" y="49"/>
                    <a:pt x="490" y="55"/>
                    <a:pt x="485" y="51"/>
                  </a:cubicBezTo>
                  <a:cubicBezTo>
                    <a:pt x="480" y="47"/>
                    <a:pt x="473" y="38"/>
                    <a:pt x="473" y="38"/>
                  </a:cubicBezTo>
                  <a:cubicBezTo>
                    <a:pt x="473" y="38"/>
                    <a:pt x="464" y="41"/>
                    <a:pt x="461" y="38"/>
                  </a:cubicBezTo>
                  <a:cubicBezTo>
                    <a:pt x="458" y="35"/>
                    <a:pt x="456" y="23"/>
                    <a:pt x="456" y="23"/>
                  </a:cubicBezTo>
                  <a:cubicBezTo>
                    <a:pt x="456" y="23"/>
                    <a:pt x="444" y="27"/>
                    <a:pt x="436" y="26"/>
                  </a:cubicBezTo>
                  <a:cubicBezTo>
                    <a:pt x="434" y="31"/>
                    <a:pt x="431" y="36"/>
                    <a:pt x="428" y="38"/>
                  </a:cubicBezTo>
                  <a:cubicBezTo>
                    <a:pt x="420" y="42"/>
                    <a:pt x="419" y="25"/>
                    <a:pt x="419" y="25"/>
                  </a:cubicBezTo>
                  <a:cubicBezTo>
                    <a:pt x="419" y="25"/>
                    <a:pt x="411" y="20"/>
                    <a:pt x="400" y="16"/>
                  </a:cubicBezTo>
                  <a:cubicBezTo>
                    <a:pt x="393" y="13"/>
                    <a:pt x="398" y="6"/>
                    <a:pt x="402" y="0"/>
                  </a:cubicBezTo>
                  <a:cubicBezTo>
                    <a:pt x="394" y="4"/>
                    <a:pt x="387" y="6"/>
                    <a:pt x="383" y="7"/>
                  </a:cubicBezTo>
                  <a:cubicBezTo>
                    <a:pt x="370" y="10"/>
                    <a:pt x="333" y="15"/>
                    <a:pt x="333" y="15"/>
                  </a:cubicBezTo>
                  <a:cubicBezTo>
                    <a:pt x="333" y="15"/>
                    <a:pt x="333" y="28"/>
                    <a:pt x="333" y="35"/>
                  </a:cubicBezTo>
                  <a:cubicBezTo>
                    <a:pt x="333" y="42"/>
                    <a:pt x="306" y="57"/>
                    <a:pt x="306" y="57"/>
                  </a:cubicBezTo>
                  <a:cubicBezTo>
                    <a:pt x="306" y="57"/>
                    <a:pt x="312" y="64"/>
                    <a:pt x="315" y="66"/>
                  </a:cubicBezTo>
                  <a:cubicBezTo>
                    <a:pt x="318" y="68"/>
                    <a:pt x="320" y="87"/>
                    <a:pt x="320" y="87"/>
                  </a:cubicBezTo>
                  <a:cubicBezTo>
                    <a:pt x="320" y="87"/>
                    <a:pt x="324" y="121"/>
                    <a:pt x="324" y="135"/>
                  </a:cubicBezTo>
                  <a:cubicBezTo>
                    <a:pt x="324" y="149"/>
                    <a:pt x="302" y="171"/>
                    <a:pt x="304" y="189"/>
                  </a:cubicBezTo>
                  <a:cubicBezTo>
                    <a:pt x="306" y="207"/>
                    <a:pt x="317" y="202"/>
                    <a:pt x="323" y="209"/>
                  </a:cubicBezTo>
                  <a:cubicBezTo>
                    <a:pt x="329" y="216"/>
                    <a:pt x="341" y="230"/>
                    <a:pt x="351" y="230"/>
                  </a:cubicBezTo>
                  <a:cubicBezTo>
                    <a:pt x="361" y="230"/>
                    <a:pt x="358" y="217"/>
                    <a:pt x="358" y="217"/>
                  </a:cubicBezTo>
                  <a:cubicBezTo>
                    <a:pt x="364" y="214"/>
                    <a:pt x="364" y="214"/>
                    <a:pt x="364" y="214"/>
                  </a:cubicBezTo>
                  <a:cubicBezTo>
                    <a:pt x="372" y="214"/>
                    <a:pt x="372" y="214"/>
                    <a:pt x="372" y="214"/>
                  </a:cubicBezTo>
                  <a:cubicBezTo>
                    <a:pt x="372" y="214"/>
                    <a:pt x="373" y="279"/>
                    <a:pt x="367" y="282"/>
                  </a:cubicBezTo>
                  <a:cubicBezTo>
                    <a:pt x="361" y="285"/>
                    <a:pt x="359" y="271"/>
                    <a:pt x="359" y="271"/>
                  </a:cubicBezTo>
                  <a:cubicBezTo>
                    <a:pt x="344" y="281"/>
                    <a:pt x="344" y="281"/>
                    <a:pt x="344" y="281"/>
                  </a:cubicBezTo>
                  <a:cubicBezTo>
                    <a:pt x="332" y="281"/>
                    <a:pt x="332" y="281"/>
                    <a:pt x="332" y="281"/>
                  </a:cubicBezTo>
                  <a:cubicBezTo>
                    <a:pt x="332" y="281"/>
                    <a:pt x="329" y="258"/>
                    <a:pt x="324" y="251"/>
                  </a:cubicBezTo>
                  <a:cubicBezTo>
                    <a:pt x="319" y="244"/>
                    <a:pt x="313" y="247"/>
                    <a:pt x="313" y="247"/>
                  </a:cubicBezTo>
                  <a:cubicBezTo>
                    <a:pt x="313" y="247"/>
                    <a:pt x="311" y="236"/>
                    <a:pt x="305" y="228"/>
                  </a:cubicBezTo>
                  <a:cubicBezTo>
                    <a:pt x="299" y="220"/>
                    <a:pt x="294" y="228"/>
                    <a:pt x="290" y="228"/>
                  </a:cubicBezTo>
                  <a:cubicBezTo>
                    <a:pt x="286" y="228"/>
                    <a:pt x="287" y="220"/>
                    <a:pt x="282" y="216"/>
                  </a:cubicBezTo>
                  <a:cubicBezTo>
                    <a:pt x="277" y="212"/>
                    <a:pt x="275" y="218"/>
                    <a:pt x="267" y="217"/>
                  </a:cubicBezTo>
                  <a:cubicBezTo>
                    <a:pt x="259" y="216"/>
                    <a:pt x="267" y="207"/>
                    <a:pt x="267" y="203"/>
                  </a:cubicBezTo>
                  <a:cubicBezTo>
                    <a:pt x="267" y="199"/>
                    <a:pt x="257" y="199"/>
                    <a:pt x="253" y="194"/>
                  </a:cubicBezTo>
                  <a:cubicBezTo>
                    <a:pt x="249" y="189"/>
                    <a:pt x="258" y="184"/>
                    <a:pt x="246" y="179"/>
                  </a:cubicBezTo>
                  <a:cubicBezTo>
                    <a:pt x="234" y="174"/>
                    <a:pt x="237" y="200"/>
                    <a:pt x="232" y="204"/>
                  </a:cubicBezTo>
                  <a:cubicBezTo>
                    <a:pt x="227" y="208"/>
                    <a:pt x="175" y="195"/>
                    <a:pt x="165" y="188"/>
                  </a:cubicBezTo>
                  <a:cubicBezTo>
                    <a:pt x="155" y="181"/>
                    <a:pt x="159" y="162"/>
                    <a:pt x="159" y="162"/>
                  </a:cubicBezTo>
                  <a:cubicBezTo>
                    <a:pt x="128" y="168"/>
                    <a:pt x="128" y="168"/>
                    <a:pt x="128" y="168"/>
                  </a:cubicBezTo>
                  <a:cubicBezTo>
                    <a:pt x="128" y="168"/>
                    <a:pt x="142" y="178"/>
                    <a:pt x="125" y="177"/>
                  </a:cubicBezTo>
                  <a:cubicBezTo>
                    <a:pt x="108" y="176"/>
                    <a:pt x="117" y="151"/>
                    <a:pt x="117" y="151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1" y="144"/>
                    <a:pt x="101" y="144"/>
                    <a:pt x="101" y="144"/>
                  </a:cubicBezTo>
                  <a:cubicBezTo>
                    <a:pt x="96" y="154"/>
                    <a:pt x="96" y="154"/>
                    <a:pt x="96" y="154"/>
                  </a:cubicBezTo>
                  <a:cubicBezTo>
                    <a:pt x="96" y="154"/>
                    <a:pt x="110" y="175"/>
                    <a:pt x="107" y="178"/>
                  </a:cubicBezTo>
                  <a:cubicBezTo>
                    <a:pt x="104" y="181"/>
                    <a:pt x="96" y="183"/>
                    <a:pt x="96" y="183"/>
                  </a:cubicBezTo>
                  <a:cubicBezTo>
                    <a:pt x="98" y="218"/>
                    <a:pt x="98" y="218"/>
                    <a:pt x="98" y="218"/>
                  </a:cubicBezTo>
                  <a:cubicBezTo>
                    <a:pt x="106" y="229"/>
                    <a:pt x="106" y="229"/>
                    <a:pt x="106" y="229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2"/>
                    <a:pt x="99" y="248"/>
                    <a:pt x="97" y="255"/>
                  </a:cubicBezTo>
                  <a:cubicBezTo>
                    <a:pt x="95" y="262"/>
                    <a:pt x="84" y="262"/>
                    <a:pt x="84" y="262"/>
                  </a:cubicBezTo>
                  <a:cubicBezTo>
                    <a:pt x="1" y="260"/>
                    <a:pt x="1" y="260"/>
                    <a:pt x="1" y="260"/>
                  </a:cubicBezTo>
                  <a:cubicBezTo>
                    <a:pt x="0" y="427"/>
                    <a:pt x="0" y="427"/>
                    <a:pt x="0" y="427"/>
                  </a:cubicBezTo>
                  <a:cubicBezTo>
                    <a:pt x="6" y="437"/>
                    <a:pt x="6" y="437"/>
                    <a:pt x="6" y="437"/>
                  </a:cubicBezTo>
                  <a:cubicBezTo>
                    <a:pt x="6" y="449"/>
                    <a:pt x="6" y="449"/>
                    <a:pt x="6" y="449"/>
                  </a:cubicBezTo>
                  <a:cubicBezTo>
                    <a:pt x="64" y="507"/>
                    <a:pt x="64" y="507"/>
                    <a:pt x="64" y="507"/>
                  </a:cubicBezTo>
                  <a:cubicBezTo>
                    <a:pt x="79" y="511"/>
                    <a:pt x="79" y="511"/>
                    <a:pt x="79" y="511"/>
                  </a:cubicBezTo>
                  <a:cubicBezTo>
                    <a:pt x="92" y="503"/>
                    <a:pt x="92" y="503"/>
                    <a:pt x="92" y="503"/>
                  </a:cubicBezTo>
                  <a:cubicBezTo>
                    <a:pt x="92" y="503"/>
                    <a:pt x="99" y="498"/>
                    <a:pt x="108" y="498"/>
                  </a:cubicBezTo>
                  <a:cubicBezTo>
                    <a:pt x="117" y="498"/>
                    <a:pt x="118" y="506"/>
                    <a:pt x="118" y="506"/>
                  </a:cubicBezTo>
                  <a:cubicBezTo>
                    <a:pt x="138" y="504"/>
                    <a:pt x="138" y="504"/>
                    <a:pt x="138" y="504"/>
                  </a:cubicBezTo>
                  <a:cubicBezTo>
                    <a:pt x="151" y="517"/>
                    <a:pt x="151" y="517"/>
                    <a:pt x="151" y="517"/>
                  </a:cubicBezTo>
                  <a:cubicBezTo>
                    <a:pt x="151" y="517"/>
                    <a:pt x="175" y="513"/>
                    <a:pt x="177" y="517"/>
                  </a:cubicBezTo>
                  <a:cubicBezTo>
                    <a:pt x="179" y="521"/>
                    <a:pt x="185" y="527"/>
                    <a:pt x="189" y="527"/>
                  </a:cubicBezTo>
                  <a:cubicBezTo>
                    <a:pt x="193" y="527"/>
                    <a:pt x="195" y="515"/>
                    <a:pt x="202" y="521"/>
                  </a:cubicBezTo>
                  <a:cubicBezTo>
                    <a:pt x="209" y="527"/>
                    <a:pt x="210" y="536"/>
                    <a:pt x="228" y="527"/>
                  </a:cubicBezTo>
                  <a:cubicBezTo>
                    <a:pt x="246" y="518"/>
                    <a:pt x="267" y="491"/>
                    <a:pt x="267" y="491"/>
                  </a:cubicBezTo>
                  <a:cubicBezTo>
                    <a:pt x="267" y="491"/>
                    <a:pt x="269" y="475"/>
                    <a:pt x="276" y="468"/>
                  </a:cubicBezTo>
                  <a:cubicBezTo>
                    <a:pt x="283" y="461"/>
                    <a:pt x="322" y="450"/>
                    <a:pt x="323" y="449"/>
                  </a:cubicBezTo>
                  <a:cubicBezTo>
                    <a:pt x="324" y="448"/>
                    <a:pt x="321" y="425"/>
                    <a:pt x="321" y="425"/>
                  </a:cubicBezTo>
                  <a:cubicBezTo>
                    <a:pt x="321" y="425"/>
                    <a:pt x="339" y="411"/>
                    <a:pt x="356" y="405"/>
                  </a:cubicBezTo>
                  <a:cubicBezTo>
                    <a:pt x="369" y="400"/>
                    <a:pt x="387" y="400"/>
                    <a:pt x="396" y="401"/>
                  </a:cubicBezTo>
                  <a:cubicBezTo>
                    <a:pt x="395" y="385"/>
                    <a:pt x="395" y="385"/>
                    <a:pt x="395" y="385"/>
                  </a:cubicBezTo>
                  <a:cubicBezTo>
                    <a:pt x="395" y="385"/>
                    <a:pt x="380" y="371"/>
                    <a:pt x="385" y="367"/>
                  </a:cubicBezTo>
                  <a:cubicBezTo>
                    <a:pt x="391" y="363"/>
                    <a:pt x="411" y="362"/>
                    <a:pt x="411" y="362"/>
                  </a:cubicBezTo>
                  <a:cubicBezTo>
                    <a:pt x="423" y="351"/>
                    <a:pt x="423" y="351"/>
                    <a:pt x="423" y="351"/>
                  </a:cubicBezTo>
                  <a:cubicBezTo>
                    <a:pt x="423" y="351"/>
                    <a:pt x="465" y="343"/>
                    <a:pt x="475" y="338"/>
                  </a:cubicBezTo>
                  <a:cubicBezTo>
                    <a:pt x="484" y="333"/>
                    <a:pt x="528" y="313"/>
                    <a:pt x="528" y="313"/>
                  </a:cubicBezTo>
                  <a:cubicBezTo>
                    <a:pt x="528" y="313"/>
                    <a:pt x="507" y="297"/>
                    <a:pt x="506" y="294"/>
                  </a:cubicBezTo>
                  <a:cubicBezTo>
                    <a:pt x="505" y="291"/>
                    <a:pt x="521" y="268"/>
                    <a:pt x="521" y="268"/>
                  </a:cubicBezTo>
                  <a:cubicBezTo>
                    <a:pt x="519" y="243"/>
                    <a:pt x="519" y="243"/>
                    <a:pt x="519" y="243"/>
                  </a:cubicBezTo>
                  <a:cubicBezTo>
                    <a:pt x="519" y="243"/>
                    <a:pt x="544" y="232"/>
                    <a:pt x="547" y="225"/>
                  </a:cubicBezTo>
                  <a:cubicBezTo>
                    <a:pt x="550" y="218"/>
                    <a:pt x="539" y="221"/>
                    <a:pt x="539" y="221"/>
                  </a:cubicBezTo>
                  <a:cubicBezTo>
                    <a:pt x="538" y="173"/>
                    <a:pt x="538" y="173"/>
                    <a:pt x="538" y="173"/>
                  </a:cubicBezTo>
                  <a:cubicBezTo>
                    <a:pt x="542" y="160"/>
                    <a:pt x="542" y="160"/>
                    <a:pt x="542" y="160"/>
                  </a:cubicBezTo>
                  <a:cubicBezTo>
                    <a:pt x="535" y="154"/>
                    <a:pt x="535" y="154"/>
                    <a:pt x="535" y="154"/>
                  </a:cubicBezTo>
                  <a:cubicBezTo>
                    <a:pt x="535" y="143"/>
                    <a:pt x="535" y="143"/>
                    <a:pt x="535" y="143"/>
                  </a:cubicBezTo>
                  <a:cubicBezTo>
                    <a:pt x="535" y="143"/>
                    <a:pt x="551" y="139"/>
                    <a:pt x="557" y="132"/>
                  </a:cubicBezTo>
                  <a:cubicBezTo>
                    <a:pt x="563" y="125"/>
                    <a:pt x="551" y="122"/>
                    <a:pt x="551" y="122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" name="Freeform 348">
              <a:extLst>
                <a:ext uri="{FF2B5EF4-FFF2-40B4-BE49-F238E27FC236}">
                  <a16:creationId xmlns:a16="http://schemas.microsoft.com/office/drawing/2014/main" id="{E5F593A6-172E-EB1A-3B48-48E5CD511522}"/>
                </a:ext>
              </a:extLst>
            </p:cNvPr>
            <p:cNvSpPr>
              <a:spLocks/>
            </p:cNvSpPr>
            <p:nvPr/>
          </p:nvSpPr>
          <p:spPr bwMode="gray">
            <a:xfrm>
              <a:off x="-5089" y="-10672"/>
              <a:ext cx="2131" cy="2400"/>
            </a:xfrm>
            <a:custGeom>
              <a:avLst/>
              <a:gdLst>
                <a:gd name="T0" fmla="*/ 838 w 902"/>
                <a:gd name="T1" fmla="*/ 264 h 1016"/>
                <a:gd name="T2" fmla="*/ 853 w 902"/>
                <a:gd name="T3" fmla="*/ 230 h 1016"/>
                <a:gd name="T4" fmla="*/ 890 w 902"/>
                <a:gd name="T5" fmla="*/ 163 h 1016"/>
                <a:gd name="T6" fmla="*/ 873 w 902"/>
                <a:gd name="T7" fmla="*/ 127 h 1016"/>
                <a:gd name="T8" fmla="*/ 869 w 902"/>
                <a:gd name="T9" fmla="*/ 98 h 1016"/>
                <a:gd name="T10" fmla="*/ 820 w 902"/>
                <a:gd name="T11" fmla="*/ 39 h 1016"/>
                <a:gd name="T12" fmla="*/ 765 w 902"/>
                <a:gd name="T13" fmla="*/ 61 h 1016"/>
                <a:gd name="T14" fmla="*/ 713 w 902"/>
                <a:gd name="T15" fmla="*/ 13 h 1016"/>
                <a:gd name="T16" fmla="*/ 659 w 902"/>
                <a:gd name="T17" fmla="*/ 10 h 1016"/>
                <a:gd name="T18" fmla="*/ 611 w 902"/>
                <a:gd name="T19" fmla="*/ 23 h 1016"/>
                <a:gd name="T20" fmla="*/ 560 w 902"/>
                <a:gd name="T21" fmla="*/ 32 h 1016"/>
                <a:gd name="T22" fmla="*/ 509 w 902"/>
                <a:gd name="T23" fmla="*/ 30 h 1016"/>
                <a:gd name="T24" fmla="*/ 462 w 902"/>
                <a:gd name="T25" fmla="*/ 63 h 1016"/>
                <a:gd name="T26" fmla="*/ 394 w 902"/>
                <a:gd name="T27" fmla="*/ 53 h 1016"/>
                <a:gd name="T28" fmla="*/ 346 w 902"/>
                <a:gd name="T29" fmla="*/ 15 h 1016"/>
                <a:gd name="T30" fmla="*/ 302 w 902"/>
                <a:gd name="T31" fmla="*/ 72 h 1016"/>
                <a:gd name="T32" fmla="*/ 301 w 902"/>
                <a:gd name="T33" fmla="*/ 103 h 1016"/>
                <a:gd name="T34" fmla="*/ 276 w 902"/>
                <a:gd name="T35" fmla="*/ 217 h 1016"/>
                <a:gd name="T36" fmla="*/ 262 w 902"/>
                <a:gd name="T37" fmla="*/ 289 h 1016"/>
                <a:gd name="T38" fmla="*/ 213 w 902"/>
                <a:gd name="T39" fmla="*/ 359 h 1016"/>
                <a:gd name="T40" fmla="*/ 187 w 902"/>
                <a:gd name="T41" fmla="*/ 477 h 1016"/>
                <a:gd name="T42" fmla="*/ 129 w 902"/>
                <a:gd name="T43" fmla="*/ 540 h 1016"/>
                <a:gd name="T44" fmla="*/ 83 w 902"/>
                <a:gd name="T45" fmla="*/ 533 h 1016"/>
                <a:gd name="T46" fmla="*/ 43 w 902"/>
                <a:gd name="T47" fmla="*/ 537 h 1016"/>
                <a:gd name="T48" fmla="*/ 9 w 902"/>
                <a:gd name="T49" fmla="*/ 565 h 1016"/>
                <a:gd name="T50" fmla="*/ 12 w 902"/>
                <a:gd name="T51" fmla="*/ 617 h 1016"/>
                <a:gd name="T52" fmla="*/ 57 w 902"/>
                <a:gd name="T53" fmla="*/ 607 h 1016"/>
                <a:gd name="T54" fmla="*/ 98 w 902"/>
                <a:gd name="T55" fmla="*/ 611 h 1016"/>
                <a:gd name="T56" fmla="*/ 153 w 902"/>
                <a:gd name="T57" fmla="*/ 609 h 1016"/>
                <a:gd name="T58" fmla="*/ 200 w 902"/>
                <a:gd name="T59" fmla="*/ 608 h 1016"/>
                <a:gd name="T60" fmla="*/ 223 w 902"/>
                <a:gd name="T61" fmla="*/ 664 h 1016"/>
                <a:gd name="T62" fmla="*/ 240 w 902"/>
                <a:gd name="T63" fmla="*/ 709 h 1016"/>
                <a:gd name="T64" fmla="*/ 270 w 902"/>
                <a:gd name="T65" fmla="*/ 726 h 1016"/>
                <a:gd name="T66" fmla="*/ 296 w 902"/>
                <a:gd name="T67" fmla="*/ 724 h 1016"/>
                <a:gd name="T68" fmla="*/ 337 w 902"/>
                <a:gd name="T69" fmla="*/ 720 h 1016"/>
                <a:gd name="T70" fmla="*/ 343 w 902"/>
                <a:gd name="T71" fmla="*/ 672 h 1016"/>
                <a:gd name="T72" fmla="*/ 391 w 902"/>
                <a:gd name="T73" fmla="*/ 678 h 1016"/>
                <a:gd name="T74" fmla="*/ 452 w 902"/>
                <a:gd name="T75" fmla="*/ 703 h 1016"/>
                <a:gd name="T76" fmla="*/ 461 w 902"/>
                <a:gd name="T77" fmla="*/ 747 h 1016"/>
                <a:gd name="T78" fmla="*/ 451 w 902"/>
                <a:gd name="T79" fmla="*/ 799 h 1016"/>
                <a:gd name="T80" fmla="*/ 471 w 902"/>
                <a:gd name="T81" fmla="*/ 869 h 1016"/>
                <a:gd name="T82" fmla="*/ 485 w 902"/>
                <a:gd name="T83" fmla="*/ 886 h 1016"/>
                <a:gd name="T84" fmla="*/ 526 w 902"/>
                <a:gd name="T85" fmla="*/ 880 h 1016"/>
                <a:gd name="T86" fmla="*/ 556 w 902"/>
                <a:gd name="T87" fmla="*/ 875 h 1016"/>
                <a:gd name="T88" fmla="*/ 580 w 902"/>
                <a:gd name="T89" fmla="*/ 908 h 1016"/>
                <a:gd name="T90" fmla="*/ 620 w 902"/>
                <a:gd name="T91" fmla="*/ 919 h 1016"/>
                <a:gd name="T92" fmla="*/ 708 w 902"/>
                <a:gd name="T93" fmla="*/ 925 h 1016"/>
                <a:gd name="T94" fmla="*/ 737 w 902"/>
                <a:gd name="T95" fmla="*/ 947 h 1016"/>
                <a:gd name="T96" fmla="*/ 768 w 902"/>
                <a:gd name="T97" fmla="*/ 978 h 1016"/>
                <a:gd name="T98" fmla="*/ 799 w 902"/>
                <a:gd name="T99" fmla="*/ 1012 h 1016"/>
                <a:gd name="T100" fmla="*/ 827 w 902"/>
                <a:gd name="T101" fmla="*/ 945 h 1016"/>
                <a:gd name="T102" fmla="*/ 806 w 902"/>
                <a:gd name="T103" fmla="*/ 961 h 1016"/>
                <a:gd name="T104" fmla="*/ 779 w 902"/>
                <a:gd name="T105" fmla="*/ 866 h 1016"/>
                <a:gd name="T106" fmla="*/ 761 w 902"/>
                <a:gd name="T107" fmla="*/ 788 h 1016"/>
                <a:gd name="T108" fmla="*/ 838 w 902"/>
                <a:gd name="T109" fmla="*/ 738 h 1016"/>
                <a:gd name="T110" fmla="*/ 850 w 902"/>
                <a:gd name="T111" fmla="*/ 710 h 1016"/>
                <a:gd name="T112" fmla="*/ 828 w 902"/>
                <a:gd name="T113" fmla="*/ 658 h 1016"/>
                <a:gd name="T114" fmla="*/ 810 w 902"/>
                <a:gd name="T115" fmla="*/ 589 h 1016"/>
                <a:gd name="T116" fmla="*/ 802 w 902"/>
                <a:gd name="T117" fmla="*/ 502 h 1016"/>
                <a:gd name="T118" fmla="*/ 816 w 902"/>
                <a:gd name="T119" fmla="*/ 471 h 1016"/>
                <a:gd name="T120" fmla="*/ 795 w 902"/>
                <a:gd name="T121" fmla="*/ 434 h 1016"/>
                <a:gd name="T122" fmla="*/ 799 w 902"/>
                <a:gd name="T123" fmla="*/ 384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02" h="1016">
                  <a:moveTo>
                    <a:pt x="828" y="315"/>
                  </a:moveTo>
                  <a:cubicBezTo>
                    <a:pt x="828" y="295"/>
                    <a:pt x="828" y="295"/>
                    <a:pt x="828" y="295"/>
                  </a:cubicBezTo>
                  <a:cubicBezTo>
                    <a:pt x="838" y="264"/>
                    <a:pt x="838" y="264"/>
                    <a:pt x="838" y="264"/>
                  </a:cubicBezTo>
                  <a:cubicBezTo>
                    <a:pt x="840" y="247"/>
                    <a:pt x="840" y="247"/>
                    <a:pt x="840" y="247"/>
                  </a:cubicBezTo>
                  <a:cubicBezTo>
                    <a:pt x="853" y="239"/>
                    <a:pt x="853" y="239"/>
                    <a:pt x="853" y="239"/>
                  </a:cubicBezTo>
                  <a:cubicBezTo>
                    <a:pt x="853" y="230"/>
                    <a:pt x="853" y="230"/>
                    <a:pt x="853" y="230"/>
                  </a:cubicBezTo>
                  <a:cubicBezTo>
                    <a:pt x="869" y="222"/>
                    <a:pt x="869" y="222"/>
                    <a:pt x="869" y="222"/>
                  </a:cubicBezTo>
                  <a:cubicBezTo>
                    <a:pt x="869" y="222"/>
                    <a:pt x="902" y="182"/>
                    <a:pt x="902" y="174"/>
                  </a:cubicBezTo>
                  <a:cubicBezTo>
                    <a:pt x="902" y="166"/>
                    <a:pt x="890" y="163"/>
                    <a:pt x="890" y="163"/>
                  </a:cubicBezTo>
                  <a:cubicBezTo>
                    <a:pt x="890" y="163"/>
                    <a:pt x="879" y="164"/>
                    <a:pt x="876" y="158"/>
                  </a:cubicBezTo>
                  <a:cubicBezTo>
                    <a:pt x="873" y="153"/>
                    <a:pt x="882" y="142"/>
                    <a:pt x="883" y="137"/>
                  </a:cubicBezTo>
                  <a:cubicBezTo>
                    <a:pt x="884" y="131"/>
                    <a:pt x="873" y="127"/>
                    <a:pt x="873" y="127"/>
                  </a:cubicBezTo>
                  <a:cubicBezTo>
                    <a:pt x="886" y="113"/>
                    <a:pt x="886" y="113"/>
                    <a:pt x="886" y="113"/>
                  </a:cubicBezTo>
                  <a:cubicBezTo>
                    <a:pt x="880" y="100"/>
                    <a:pt x="880" y="100"/>
                    <a:pt x="880" y="100"/>
                  </a:cubicBezTo>
                  <a:cubicBezTo>
                    <a:pt x="869" y="98"/>
                    <a:pt x="869" y="98"/>
                    <a:pt x="869" y="98"/>
                  </a:cubicBezTo>
                  <a:cubicBezTo>
                    <a:pt x="866" y="84"/>
                    <a:pt x="866" y="84"/>
                    <a:pt x="866" y="84"/>
                  </a:cubicBezTo>
                  <a:cubicBezTo>
                    <a:pt x="866" y="84"/>
                    <a:pt x="847" y="80"/>
                    <a:pt x="839" y="68"/>
                  </a:cubicBezTo>
                  <a:cubicBezTo>
                    <a:pt x="831" y="56"/>
                    <a:pt x="827" y="39"/>
                    <a:pt x="820" y="39"/>
                  </a:cubicBezTo>
                  <a:cubicBezTo>
                    <a:pt x="813" y="39"/>
                    <a:pt x="814" y="57"/>
                    <a:pt x="803" y="57"/>
                  </a:cubicBezTo>
                  <a:cubicBezTo>
                    <a:pt x="792" y="57"/>
                    <a:pt x="791" y="45"/>
                    <a:pt x="782" y="45"/>
                  </a:cubicBezTo>
                  <a:cubicBezTo>
                    <a:pt x="773" y="45"/>
                    <a:pt x="765" y="61"/>
                    <a:pt x="765" y="61"/>
                  </a:cubicBezTo>
                  <a:cubicBezTo>
                    <a:pt x="734" y="46"/>
                    <a:pt x="734" y="46"/>
                    <a:pt x="734" y="46"/>
                  </a:cubicBezTo>
                  <a:cubicBezTo>
                    <a:pt x="734" y="32"/>
                    <a:pt x="734" y="32"/>
                    <a:pt x="734" y="32"/>
                  </a:cubicBezTo>
                  <a:cubicBezTo>
                    <a:pt x="713" y="13"/>
                    <a:pt x="713" y="13"/>
                    <a:pt x="713" y="13"/>
                  </a:cubicBezTo>
                  <a:cubicBezTo>
                    <a:pt x="709" y="5"/>
                    <a:pt x="709" y="5"/>
                    <a:pt x="709" y="5"/>
                  </a:cubicBezTo>
                  <a:cubicBezTo>
                    <a:pt x="709" y="5"/>
                    <a:pt x="705" y="16"/>
                    <a:pt x="685" y="21"/>
                  </a:cubicBezTo>
                  <a:cubicBezTo>
                    <a:pt x="665" y="26"/>
                    <a:pt x="659" y="10"/>
                    <a:pt x="659" y="10"/>
                  </a:cubicBezTo>
                  <a:cubicBezTo>
                    <a:pt x="638" y="13"/>
                    <a:pt x="638" y="13"/>
                    <a:pt x="638" y="13"/>
                  </a:cubicBezTo>
                  <a:cubicBezTo>
                    <a:pt x="638" y="13"/>
                    <a:pt x="630" y="0"/>
                    <a:pt x="623" y="1"/>
                  </a:cubicBezTo>
                  <a:cubicBezTo>
                    <a:pt x="616" y="2"/>
                    <a:pt x="611" y="23"/>
                    <a:pt x="611" y="23"/>
                  </a:cubicBezTo>
                  <a:cubicBezTo>
                    <a:pt x="611" y="23"/>
                    <a:pt x="593" y="28"/>
                    <a:pt x="589" y="28"/>
                  </a:cubicBezTo>
                  <a:cubicBezTo>
                    <a:pt x="585" y="28"/>
                    <a:pt x="576" y="18"/>
                    <a:pt x="576" y="18"/>
                  </a:cubicBezTo>
                  <a:cubicBezTo>
                    <a:pt x="560" y="32"/>
                    <a:pt x="560" y="32"/>
                    <a:pt x="560" y="32"/>
                  </a:cubicBezTo>
                  <a:cubicBezTo>
                    <a:pt x="548" y="32"/>
                    <a:pt x="548" y="32"/>
                    <a:pt x="548" y="32"/>
                  </a:cubicBezTo>
                  <a:cubicBezTo>
                    <a:pt x="548" y="32"/>
                    <a:pt x="535" y="41"/>
                    <a:pt x="529" y="46"/>
                  </a:cubicBezTo>
                  <a:cubicBezTo>
                    <a:pt x="523" y="51"/>
                    <a:pt x="509" y="30"/>
                    <a:pt x="509" y="30"/>
                  </a:cubicBezTo>
                  <a:cubicBezTo>
                    <a:pt x="509" y="30"/>
                    <a:pt x="502" y="43"/>
                    <a:pt x="495" y="46"/>
                  </a:cubicBezTo>
                  <a:cubicBezTo>
                    <a:pt x="488" y="49"/>
                    <a:pt x="493" y="63"/>
                    <a:pt x="484" y="70"/>
                  </a:cubicBezTo>
                  <a:cubicBezTo>
                    <a:pt x="475" y="77"/>
                    <a:pt x="462" y="63"/>
                    <a:pt x="462" y="63"/>
                  </a:cubicBezTo>
                  <a:cubicBezTo>
                    <a:pt x="462" y="63"/>
                    <a:pt x="444" y="63"/>
                    <a:pt x="434" y="64"/>
                  </a:cubicBezTo>
                  <a:cubicBezTo>
                    <a:pt x="424" y="65"/>
                    <a:pt x="418" y="53"/>
                    <a:pt x="418" y="53"/>
                  </a:cubicBezTo>
                  <a:cubicBezTo>
                    <a:pt x="418" y="53"/>
                    <a:pt x="409" y="53"/>
                    <a:pt x="394" y="53"/>
                  </a:cubicBezTo>
                  <a:cubicBezTo>
                    <a:pt x="379" y="53"/>
                    <a:pt x="391" y="38"/>
                    <a:pt x="388" y="34"/>
                  </a:cubicBezTo>
                  <a:cubicBezTo>
                    <a:pt x="385" y="30"/>
                    <a:pt x="372" y="32"/>
                    <a:pt x="372" y="32"/>
                  </a:cubicBezTo>
                  <a:cubicBezTo>
                    <a:pt x="372" y="32"/>
                    <a:pt x="375" y="17"/>
                    <a:pt x="346" y="15"/>
                  </a:cubicBezTo>
                  <a:cubicBezTo>
                    <a:pt x="317" y="13"/>
                    <a:pt x="327" y="32"/>
                    <a:pt x="317" y="46"/>
                  </a:cubicBezTo>
                  <a:cubicBezTo>
                    <a:pt x="307" y="60"/>
                    <a:pt x="308" y="49"/>
                    <a:pt x="300" y="59"/>
                  </a:cubicBezTo>
                  <a:cubicBezTo>
                    <a:pt x="292" y="69"/>
                    <a:pt x="302" y="72"/>
                    <a:pt x="302" y="72"/>
                  </a:cubicBezTo>
                  <a:cubicBezTo>
                    <a:pt x="302" y="82"/>
                    <a:pt x="302" y="82"/>
                    <a:pt x="302" y="82"/>
                  </a:cubicBezTo>
                  <a:cubicBezTo>
                    <a:pt x="292" y="96"/>
                    <a:pt x="292" y="96"/>
                    <a:pt x="292" y="96"/>
                  </a:cubicBezTo>
                  <a:cubicBezTo>
                    <a:pt x="301" y="103"/>
                    <a:pt x="301" y="103"/>
                    <a:pt x="301" y="103"/>
                  </a:cubicBezTo>
                  <a:cubicBezTo>
                    <a:pt x="301" y="103"/>
                    <a:pt x="301" y="114"/>
                    <a:pt x="301" y="122"/>
                  </a:cubicBezTo>
                  <a:cubicBezTo>
                    <a:pt x="301" y="130"/>
                    <a:pt x="286" y="159"/>
                    <a:pt x="277" y="169"/>
                  </a:cubicBezTo>
                  <a:cubicBezTo>
                    <a:pt x="268" y="179"/>
                    <a:pt x="275" y="206"/>
                    <a:pt x="276" y="217"/>
                  </a:cubicBezTo>
                  <a:cubicBezTo>
                    <a:pt x="277" y="228"/>
                    <a:pt x="267" y="236"/>
                    <a:pt x="265" y="244"/>
                  </a:cubicBezTo>
                  <a:cubicBezTo>
                    <a:pt x="263" y="252"/>
                    <a:pt x="272" y="259"/>
                    <a:pt x="272" y="270"/>
                  </a:cubicBezTo>
                  <a:cubicBezTo>
                    <a:pt x="272" y="281"/>
                    <a:pt x="262" y="289"/>
                    <a:pt x="262" y="289"/>
                  </a:cubicBezTo>
                  <a:cubicBezTo>
                    <a:pt x="259" y="321"/>
                    <a:pt x="259" y="321"/>
                    <a:pt x="259" y="321"/>
                  </a:cubicBezTo>
                  <a:cubicBezTo>
                    <a:pt x="259" y="321"/>
                    <a:pt x="253" y="336"/>
                    <a:pt x="243" y="343"/>
                  </a:cubicBezTo>
                  <a:cubicBezTo>
                    <a:pt x="233" y="350"/>
                    <a:pt x="220" y="356"/>
                    <a:pt x="213" y="359"/>
                  </a:cubicBezTo>
                  <a:cubicBezTo>
                    <a:pt x="206" y="362"/>
                    <a:pt x="206" y="385"/>
                    <a:pt x="205" y="394"/>
                  </a:cubicBezTo>
                  <a:cubicBezTo>
                    <a:pt x="204" y="403"/>
                    <a:pt x="186" y="410"/>
                    <a:pt x="186" y="410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70" y="507"/>
                    <a:pt x="170" y="507"/>
                    <a:pt x="170" y="507"/>
                  </a:cubicBezTo>
                  <a:cubicBezTo>
                    <a:pt x="170" y="507"/>
                    <a:pt x="160" y="510"/>
                    <a:pt x="154" y="510"/>
                  </a:cubicBezTo>
                  <a:cubicBezTo>
                    <a:pt x="148" y="510"/>
                    <a:pt x="136" y="531"/>
                    <a:pt x="129" y="540"/>
                  </a:cubicBezTo>
                  <a:cubicBezTo>
                    <a:pt x="122" y="549"/>
                    <a:pt x="119" y="554"/>
                    <a:pt x="104" y="554"/>
                  </a:cubicBezTo>
                  <a:cubicBezTo>
                    <a:pt x="89" y="554"/>
                    <a:pt x="107" y="531"/>
                    <a:pt x="100" y="524"/>
                  </a:cubicBezTo>
                  <a:cubicBezTo>
                    <a:pt x="93" y="517"/>
                    <a:pt x="83" y="533"/>
                    <a:pt x="83" y="533"/>
                  </a:cubicBezTo>
                  <a:cubicBezTo>
                    <a:pt x="70" y="532"/>
                    <a:pt x="70" y="532"/>
                    <a:pt x="70" y="532"/>
                  </a:cubicBezTo>
                  <a:cubicBezTo>
                    <a:pt x="70" y="532"/>
                    <a:pt x="71" y="548"/>
                    <a:pt x="59" y="553"/>
                  </a:cubicBezTo>
                  <a:cubicBezTo>
                    <a:pt x="47" y="558"/>
                    <a:pt x="43" y="537"/>
                    <a:pt x="43" y="537"/>
                  </a:cubicBezTo>
                  <a:cubicBezTo>
                    <a:pt x="36" y="540"/>
                    <a:pt x="36" y="540"/>
                    <a:pt x="36" y="540"/>
                  </a:cubicBezTo>
                  <a:cubicBezTo>
                    <a:pt x="33" y="548"/>
                    <a:pt x="33" y="548"/>
                    <a:pt x="33" y="548"/>
                  </a:cubicBezTo>
                  <a:cubicBezTo>
                    <a:pt x="9" y="565"/>
                    <a:pt x="9" y="565"/>
                    <a:pt x="9" y="565"/>
                  </a:cubicBezTo>
                  <a:cubicBezTo>
                    <a:pt x="9" y="565"/>
                    <a:pt x="21" y="591"/>
                    <a:pt x="13" y="595"/>
                  </a:cubicBezTo>
                  <a:cubicBezTo>
                    <a:pt x="10" y="597"/>
                    <a:pt x="5" y="599"/>
                    <a:pt x="0" y="602"/>
                  </a:cubicBezTo>
                  <a:cubicBezTo>
                    <a:pt x="4" y="605"/>
                    <a:pt x="11" y="612"/>
                    <a:pt x="12" y="617"/>
                  </a:cubicBezTo>
                  <a:cubicBezTo>
                    <a:pt x="35" y="607"/>
                    <a:pt x="35" y="607"/>
                    <a:pt x="35" y="607"/>
                  </a:cubicBezTo>
                  <a:cubicBezTo>
                    <a:pt x="52" y="609"/>
                    <a:pt x="52" y="609"/>
                    <a:pt x="52" y="609"/>
                  </a:cubicBezTo>
                  <a:cubicBezTo>
                    <a:pt x="57" y="607"/>
                    <a:pt x="57" y="607"/>
                    <a:pt x="57" y="607"/>
                  </a:cubicBezTo>
                  <a:cubicBezTo>
                    <a:pt x="65" y="609"/>
                    <a:pt x="65" y="609"/>
                    <a:pt x="65" y="609"/>
                  </a:cubicBezTo>
                  <a:cubicBezTo>
                    <a:pt x="80" y="605"/>
                    <a:pt x="80" y="605"/>
                    <a:pt x="80" y="605"/>
                  </a:cubicBezTo>
                  <a:cubicBezTo>
                    <a:pt x="80" y="605"/>
                    <a:pt x="91" y="612"/>
                    <a:pt x="98" y="611"/>
                  </a:cubicBezTo>
                  <a:cubicBezTo>
                    <a:pt x="105" y="610"/>
                    <a:pt x="123" y="607"/>
                    <a:pt x="123" y="607"/>
                  </a:cubicBezTo>
                  <a:cubicBezTo>
                    <a:pt x="123" y="607"/>
                    <a:pt x="136" y="609"/>
                    <a:pt x="141" y="609"/>
                  </a:cubicBezTo>
                  <a:cubicBezTo>
                    <a:pt x="146" y="609"/>
                    <a:pt x="153" y="609"/>
                    <a:pt x="153" y="609"/>
                  </a:cubicBezTo>
                  <a:cubicBezTo>
                    <a:pt x="163" y="606"/>
                    <a:pt x="163" y="606"/>
                    <a:pt x="163" y="606"/>
                  </a:cubicBezTo>
                  <a:cubicBezTo>
                    <a:pt x="177" y="607"/>
                    <a:pt x="177" y="607"/>
                    <a:pt x="177" y="607"/>
                  </a:cubicBezTo>
                  <a:cubicBezTo>
                    <a:pt x="177" y="607"/>
                    <a:pt x="195" y="599"/>
                    <a:pt x="200" y="608"/>
                  </a:cubicBezTo>
                  <a:cubicBezTo>
                    <a:pt x="205" y="617"/>
                    <a:pt x="211" y="621"/>
                    <a:pt x="211" y="621"/>
                  </a:cubicBezTo>
                  <a:cubicBezTo>
                    <a:pt x="212" y="651"/>
                    <a:pt x="212" y="651"/>
                    <a:pt x="212" y="651"/>
                  </a:cubicBezTo>
                  <a:cubicBezTo>
                    <a:pt x="212" y="651"/>
                    <a:pt x="222" y="658"/>
                    <a:pt x="223" y="664"/>
                  </a:cubicBezTo>
                  <a:cubicBezTo>
                    <a:pt x="224" y="670"/>
                    <a:pt x="222" y="686"/>
                    <a:pt x="222" y="686"/>
                  </a:cubicBezTo>
                  <a:cubicBezTo>
                    <a:pt x="222" y="686"/>
                    <a:pt x="228" y="689"/>
                    <a:pt x="233" y="695"/>
                  </a:cubicBezTo>
                  <a:cubicBezTo>
                    <a:pt x="238" y="701"/>
                    <a:pt x="240" y="709"/>
                    <a:pt x="240" y="709"/>
                  </a:cubicBezTo>
                  <a:cubicBezTo>
                    <a:pt x="246" y="717"/>
                    <a:pt x="246" y="717"/>
                    <a:pt x="246" y="717"/>
                  </a:cubicBezTo>
                  <a:cubicBezTo>
                    <a:pt x="249" y="727"/>
                    <a:pt x="249" y="727"/>
                    <a:pt x="249" y="727"/>
                  </a:cubicBezTo>
                  <a:cubicBezTo>
                    <a:pt x="270" y="726"/>
                    <a:pt x="270" y="726"/>
                    <a:pt x="270" y="726"/>
                  </a:cubicBezTo>
                  <a:cubicBezTo>
                    <a:pt x="277" y="731"/>
                    <a:pt x="277" y="731"/>
                    <a:pt x="277" y="731"/>
                  </a:cubicBezTo>
                  <a:cubicBezTo>
                    <a:pt x="281" y="724"/>
                    <a:pt x="281" y="724"/>
                    <a:pt x="281" y="724"/>
                  </a:cubicBezTo>
                  <a:cubicBezTo>
                    <a:pt x="296" y="724"/>
                    <a:pt x="296" y="724"/>
                    <a:pt x="296" y="724"/>
                  </a:cubicBezTo>
                  <a:cubicBezTo>
                    <a:pt x="303" y="718"/>
                    <a:pt x="303" y="718"/>
                    <a:pt x="303" y="718"/>
                  </a:cubicBezTo>
                  <a:cubicBezTo>
                    <a:pt x="307" y="723"/>
                    <a:pt x="307" y="723"/>
                    <a:pt x="307" y="723"/>
                  </a:cubicBezTo>
                  <a:cubicBezTo>
                    <a:pt x="337" y="720"/>
                    <a:pt x="337" y="720"/>
                    <a:pt x="337" y="720"/>
                  </a:cubicBezTo>
                  <a:cubicBezTo>
                    <a:pt x="337" y="720"/>
                    <a:pt x="336" y="706"/>
                    <a:pt x="339" y="702"/>
                  </a:cubicBezTo>
                  <a:cubicBezTo>
                    <a:pt x="342" y="698"/>
                    <a:pt x="349" y="698"/>
                    <a:pt x="349" y="693"/>
                  </a:cubicBezTo>
                  <a:cubicBezTo>
                    <a:pt x="349" y="688"/>
                    <a:pt x="338" y="676"/>
                    <a:pt x="343" y="672"/>
                  </a:cubicBezTo>
                  <a:cubicBezTo>
                    <a:pt x="348" y="668"/>
                    <a:pt x="377" y="671"/>
                    <a:pt x="377" y="671"/>
                  </a:cubicBezTo>
                  <a:cubicBezTo>
                    <a:pt x="377" y="671"/>
                    <a:pt x="377" y="663"/>
                    <a:pt x="386" y="666"/>
                  </a:cubicBezTo>
                  <a:cubicBezTo>
                    <a:pt x="395" y="669"/>
                    <a:pt x="391" y="678"/>
                    <a:pt x="391" y="678"/>
                  </a:cubicBezTo>
                  <a:cubicBezTo>
                    <a:pt x="392" y="686"/>
                    <a:pt x="392" y="686"/>
                    <a:pt x="392" y="686"/>
                  </a:cubicBezTo>
                  <a:cubicBezTo>
                    <a:pt x="452" y="685"/>
                    <a:pt x="452" y="685"/>
                    <a:pt x="452" y="685"/>
                  </a:cubicBezTo>
                  <a:cubicBezTo>
                    <a:pt x="452" y="703"/>
                    <a:pt x="452" y="703"/>
                    <a:pt x="452" y="703"/>
                  </a:cubicBezTo>
                  <a:cubicBezTo>
                    <a:pt x="445" y="713"/>
                    <a:pt x="445" y="713"/>
                    <a:pt x="445" y="713"/>
                  </a:cubicBezTo>
                  <a:cubicBezTo>
                    <a:pt x="448" y="727"/>
                    <a:pt x="448" y="727"/>
                    <a:pt x="448" y="727"/>
                  </a:cubicBezTo>
                  <a:cubicBezTo>
                    <a:pt x="448" y="727"/>
                    <a:pt x="461" y="740"/>
                    <a:pt x="461" y="747"/>
                  </a:cubicBezTo>
                  <a:cubicBezTo>
                    <a:pt x="461" y="754"/>
                    <a:pt x="453" y="763"/>
                    <a:pt x="453" y="763"/>
                  </a:cubicBezTo>
                  <a:cubicBezTo>
                    <a:pt x="456" y="779"/>
                    <a:pt x="456" y="779"/>
                    <a:pt x="456" y="779"/>
                  </a:cubicBezTo>
                  <a:cubicBezTo>
                    <a:pt x="456" y="779"/>
                    <a:pt x="451" y="791"/>
                    <a:pt x="451" y="799"/>
                  </a:cubicBezTo>
                  <a:cubicBezTo>
                    <a:pt x="451" y="807"/>
                    <a:pt x="457" y="815"/>
                    <a:pt x="464" y="822"/>
                  </a:cubicBezTo>
                  <a:cubicBezTo>
                    <a:pt x="471" y="829"/>
                    <a:pt x="475" y="847"/>
                    <a:pt x="475" y="847"/>
                  </a:cubicBezTo>
                  <a:cubicBezTo>
                    <a:pt x="475" y="847"/>
                    <a:pt x="474" y="862"/>
                    <a:pt x="471" y="869"/>
                  </a:cubicBezTo>
                  <a:cubicBezTo>
                    <a:pt x="468" y="876"/>
                    <a:pt x="465" y="888"/>
                    <a:pt x="468" y="892"/>
                  </a:cubicBezTo>
                  <a:cubicBezTo>
                    <a:pt x="471" y="896"/>
                    <a:pt x="479" y="898"/>
                    <a:pt x="479" y="898"/>
                  </a:cubicBezTo>
                  <a:cubicBezTo>
                    <a:pt x="485" y="886"/>
                    <a:pt x="485" y="886"/>
                    <a:pt x="485" y="886"/>
                  </a:cubicBezTo>
                  <a:cubicBezTo>
                    <a:pt x="503" y="890"/>
                    <a:pt x="503" y="890"/>
                    <a:pt x="503" y="890"/>
                  </a:cubicBezTo>
                  <a:cubicBezTo>
                    <a:pt x="519" y="885"/>
                    <a:pt x="519" y="885"/>
                    <a:pt x="519" y="885"/>
                  </a:cubicBezTo>
                  <a:cubicBezTo>
                    <a:pt x="519" y="885"/>
                    <a:pt x="519" y="880"/>
                    <a:pt x="526" y="880"/>
                  </a:cubicBezTo>
                  <a:cubicBezTo>
                    <a:pt x="533" y="880"/>
                    <a:pt x="537" y="887"/>
                    <a:pt x="537" y="887"/>
                  </a:cubicBezTo>
                  <a:cubicBezTo>
                    <a:pt x="551" y="885"/>
                    <a:pt x="551" y="885"/>
                    <a:pt x="551" y="885"/>
                  </a:cubicBezTo>
                  <a:cubicBezTo>
                    <a:pt x="556" y="875"/>
                    <a:pt x="556" y="875"/>
                    <a:pt x="556" y="875"/>
                  </a:cubicBezTo>
                  <a:cubicBezTo>
                    <a:pt x="561" y="884"/>
                    <a:pt x="561" y="884"/>
                    <a:pt x="561" y="884"/>
                  </a:cubicBezTo>
                  <a:cubicBezTo>
                    <a:pt x="572" y="882"/>
                    <a:pt x="572" y="882"/>
                    <a:pt x="572" y="882"/>
                  </a:cubicBezTo>
                  <a:cubicBezTo>
                    <a:pt x="572" y="882"/>
                    <a:pt x="563" y="907"/>
                    <a:pt x="580" y="908"/>
                  </a:cubicBezTo>
                  <a:cubicBezTo>
                    <a:pt x="597" y="909"/>
                    <a:pt x="583" y="899"/>
                    <a:pt x="583" y="899"/>
                  </a:cubicBezTo>
                  <a:cubicBezTo>
                    <a:pt x="614" y="893"/>
                    <a:pt x="614" y="893"/>
                    <a:pt x="614" y="893"/>
                  </a:cubicBezTo>
                  <a:cubicBezTo>
                    <a:pt x="614" y="893"/>
                    <a:pt x="610" y="912"/>
                    <a:pt x="620" y="919"/>
                  </a:cubicBezTo>
                  <a:cubicBezTo>
                    <a:pt x="630" y="926"/>
                    <a:pt x="682" y="939"/>
                    <a:pt x="687" y="935"/>
                  </a:cubicBezTo>
                  <a:cubicBezTo>
                    <a:pt x="692" y="931"/>
                    <a:pt x="689" y="905"/>
                    <a:pt x="701" y="910"/>
                  </a:cubicBezTo>
                  <a:cubicBezTo>
                    <a:pt x="713" y="915"/>
                    <a:pt x="704" y="920"/>
                    <a:pt x="708" y="925"/>
                  </a:cubicBezTo>
                  <a:cubicBezTo>
                    <a:pt x="712" y="930"/>
                    <a:pt x="722" y="930"/>
                    <a:pt x="722" y="934"/>
                  </a:cubicBezTo>
                  <a:cubicBezTo>
                    <a:pt x="722" y="938"/>
                    <a:pt x="714" y="947"/>
                    <a:pt x="722" y="948"/>
                  </a:cubicBezTo>
                  <a:cubicBezTo>
                    <a:pt x="730" y="949"/>
                    <a:pt x="732" y="943"/>
                    <a:pt x="737" y="947"/>
                  </a:cubicBezTo>
                  <a:cubicBezTo>
                    <a:pt x="742" y="951"/>
                    <a:pt x="741" y="959"/>
                    <a:pt x="745" y="959"/>
                  </a:cubicBezTo>
                  <a:cubicBezTo>
                    <a:pt x="749" y="959"/>
                    <a:pt x="754" y="951"/>
                    <a:pt x="760" y="959"/>
                  </a:cubicBezTo>
                  <a:cubicBezTo>
                    <a:pt x="766" y="967"/>
                    <a:pt x="768" y="978"/>
                    <a:pt x="768" y="978"/>
                  </a:cubicBezTo>
                  <a:cubicBezTo>
                    <a:pt x="768" y="978"/>
                    <a:pt x="774" y="975"/>
                    <a:pt x="779" y="982"/>
                  </a:cubicBezTo>
                  <a:cubicBezTo>
                    <a:pt x="784" y="989"/>
                    <a:pt x="787" y="1012"/>
                    <a:pt x="787" y="1012"/>
                  </a:cubicBezTo>
                  <a:cubicBezTo>
                    <a:pt x="799" y="1012"/>
                    <a:pt x="799" y="1012"/>
                    <a:pt x="799" y="1012"/>
                  </a:cubicBezTo>
                  <a:cubicBezTo>
                    <a:pt x="814" y="1002"/>
                    <a:pt x="814" y="1002"/>
                    <a:pt x="814" y="1002"/>
                  </a:cubicBezTo>
                  <a:cubicBezTo>
                    <a:pt x="814" y="1002"/>
                    <a:pt x="816" y="1016"/>
                    <a:pt x="822" y="1013"/>
                  </a:cubicBezTo>
                  <a:cubicBezTo>
                    <a:pt x="828" y="1010"/>
                    <a:pt x="827" y="945"/>
                    <a:pt x="827" y="945"/>
                  </a:cubicBezTo>
                  <a:cubicBezTo>
                    <a:pt x="819" y="945"/>
                    <a:pt x="819" y="945"/>
                    <a:pt x="819" y="945"/>
                  </a:cubicBezTo>
                  <a:cubicBezTo>
                    <a:pt x="813" y="948"/>
                    <a:pt x="813" y="948"/>
                    <a:pt x="813" y="948"/>
                  </a:cubicBezTo>
                  <a:cubicBezTo>
                    <a:pt x="813" y="948"/>
                    <a:pt x="816" y="961"/>
                    <a:pt x="806" y="961"/>
                  </a:cubicBezTo>
                  <a:cubicBezTo>
                    <a:pt x="796" y="961"/>
                    <a:pt x="784" y="947"/>
                    <a:pt x="778" y="940"/>
                  </a:cubicBezTo>
                  <a:cubicBezTo>
                    <a:pt x="772" y="933"/>
                    <a:pt x="761" y="938"/>
                    <a:pt x="759" y="920"/>
                  </a:cubicBezTo>
                  <a:cubicBezTo>
                    <a:pt x="757" y="902"/>
                    <a:pt x="779" y="880"/>
                    <a:pt x="779" y="866"/>
                  </a:cubicBezTo>
                  <a:cubicBezTo>
                    <a:pt x="779" y="852"/>
                    <a:pt x="775" y="818"/>
                    <a:pt x="775" y="818"/>
                  </a:cubicBezTo>
                  <a:cubicBezTo>
                    <a:pt x="775" y="818"/>
                    <a:pt x="773" y="799"/>
                    <a:pt x="770" y="797"/>
                  </a:cubicBezTo>
                  <a:cubicBezTo>
                    <a:pt x="767" y="795"/>
                    <a:pt x="761" y="788"/>
                    <a:pt x="761" y="788"/>
                  </a:cubicBezTo>
                  <a:cubicBezTo>
                    <a:pt x="761" y="788"/>
                    <a:pt x="788" y="773"/>
                    <a:pt x="788" y="766"/>
                  </a:cubicBezTo>
                  <a:cubicBezTo>
                    <a:pt x="788" y="759"/>
                    <a:pt x="788" y="746"/>
                    <a:pt x="788" y="746"/>
                  </a:cubicBezTo>
                  <a:cubicBezTo>
                    <a:pt x="788" y="746"/>
                    <a:pt x="825" y="741"/>
                    <a:pt x="838" y="738"/>
                  </a:cubicBezTo>
                  <a:cubicBezTo>
                    <a:pt x="842" y="737"/>
                    <a:pt x="849" y="735"/>
                    <a:pt x="857" y="731"/>
                  </a:cubicBezTo>
                  <a:cubicBezTo>
                    <a:pt x="860" y="728"/>
                    <a:pt x="862" y="726"/>
                    <a:pt x="862" y="726"/>
                  </a:cubicBezTo>
                  <a:cubicBezTo>
                    <a:pt x="862" y="726"/>
                    <a:pt x="855" y="714"/>
                    <a:pt x="850" y="710"/>
                  </a:cubicBezTo>
                  <a:cubicBezTo>
                    <a:pt x="846" y="706"/>
                    <a:pt x="849" y="688"/>
                    <a:pt x="849" y="681"/>
                  </a:cubicBezTo>
                  <a:cubicBezTo>
                    <a:pt x="849" y="674"/>
                    <a:pt x="837" y="678"/>
                    <a:pt x="834" y="677"/>
                  </a:cubicBezTo>
                  <a:cubicBezTo>
                    <a:pt x="831" y="676"/>
                    <a:pt x="828" y="666"/>
                    <a:pt x="828" y="658"/>
                  </a:cubicBezTo>
                  <a:cubicBezTo>
                    <a:pt x="828" y="650"/>
                    <a:pt x="819" y="649"/>
                    <a:pt x="812" y="642"/>
                  </a:cubicBezTo>
                  <a:cubicBezTo>
                    <a:pt x="805" y="635"/>
                    <a:pt x="803" y="618"/>
                    <a:pt x="804" y="612"/>
                  </a:cubicBezTo>
                  <a:cubicBezTo>
                    <a:pt x="805" y="606"/>
                    <a:pt x="810" y="596"/>
                    <a:pt x="810" y="589"/>
                  </a:cubicBezTo>
                  <a:cubicBezTo>
                    <a:pt x="810" y="582"/>
                    <a:pt x="800" y="582"/>
                    <a:pt x="796" y="572"/>
                  </a:cubicBezTo>
                  <a:cubicBezTo>
                    <a:pt x="792" y="562"/>
                    <a:pt x="796" y="550"/>
                    <a:pt x="797" y="538"/>
                  </a:cubicBezTo>
                  <a:cubicBezTo>
                    <a:pt x="798" y="526"/>
                    <a:pt x="799" y="515"/>
                    <a:pt x="802" y="502"/>
                  </a:cubicBezTo>
                  <a:cubicBezTo>
                    <a:pt x="804" y="494"/>
                    <a:pt x="810" y="495"/>
                    <a:pt x="814" y="498"/>
                  </a:cubicBezTo>
                  <a:cubicBezTo>
                    <a:pt x="814" y="496"/>
                    <a:pt x="814" y="494"/>
                    <a:pt x="814" y="494"/>
                  </a:cubicBezTo>
                  <a:cubicBezTo>
                    <a:pt x="814" y="494"/>
                    <a:pt x="816" y="480"/>
                    <a:pt x="816" y="471"/>
                  </a:cubicBezTo>
                  <a:cubicBezTo>
                    <a:pt x="816" y="462"/>
                    <a:pt x="801" y="454"/>
                    <a:pt x="801" y="454"/>
                  </a:cubicBezTo>
                  <a:cubicBezTo>
                    <a:pt x="795" y="434"/>
                    <a:pt x="795" y="434"/>
                    <a:pt x="795" y="434"/>
                  </a:cubicBezTo>
                  <a:cubicBezTo>
                    <a:pt x="795" y="434"/>
                    <a:pt x="795" y="434"/>
                    <a:pt x="795" y="434"/>
                  </a:cubicBezTo>
                  <a:cubicBezTo>
                    <a:pt x="791" y="433"/>
                    <a:pt x="787" y="432"/>
                    <a:pt x="786" y="428"/>
                  </a:cubicBezTo>
                  <a:cubicBezTo>
                    <a:pt x="782" y="420"/>
                    <a:pt x="804" y="410"/>
                    <a:pt x="806" y="406"/>
                  </a:cubicBezTo>
                  <a:cubicBezTo>
                    <a:pt x="807" y="403"/>
                    <a:pt x="797" y="392"/>
                    <a:pt x="799" y="384"/>
                  </a:cubicBezTo>
                  <a:cubicBezTo>
                    <a:pt x="800" y="376"/>
                    <a:pt x="824" y="365"/>
                    <a:pt x="824" y="365"/>
                  </a:cubicBezTo>
                  <a:lnTo>
                    <a:pt x="828" y="315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" name="Freeform 349">
              <a:extLst>
                <a:ext uri="{FF2B5EF4-FFF2-40B4-BE49-F238E27FC236}">
                  <a16:creationId xmlns:a16="http://schemas.microsoft.com/office/drawing/2014/main" id="{0BC4D724-5831-01EE-0EB5-529E838B778F}"/>
                </a:ext>
              </a:extLst>
            </p:cNvPr>
            <p:cNvSpPr>
              <a:spLocks/>
            </p:cNvSpPr>
            <p:nvPr/>
          </p:nvSpPr>
          <p:spPr bwMode="gray">
            <a:xfrm>
              <a:off x="-3211" y="-9675"/>
              <a:ext cx="206" cy="265"/>
            </a:xfrm>
            <a:custGeom>
              <a:avLst/>
              <a:gdLst>
                <a:gd name="T0" fmla="*/ 21 w 87"/>
                <a:gd name="T1" fmla="*/ 49 h 112"/>
                <a:gd name="T2" fmla="*/ 19 w 87"/>
                <a:gd name="T3" fmla="*/ 72 h 112"/>
                <a:gd name="T4" fmla="*/ 25 w 87"/>
                <a:gd name="T5" fmla="*/ 112 h 112"/>
                <a:gd name="T6" fmla="*/ 45 w 87"/>
                <a:gd name="T7" fmla="*/ 103 h 112"/>
                <a:gd name="T8" fmla="*/ 61 w 87"/>
                <a:gd name="T9" fmla="*/ 68 h 112"/>
                <a:gd name="T10" fmla="*/ 80 w 87"/>
                <a:gd name="T11" fmla="*/ 56 h 112"/>
                <a:gd name="T12" fmla="*/ 78 w 87"/>
                <a:gd name="T13" fmla="*/ 47 h 112"/>
                <a:gd name="T14" fmla="*/ 86 w 87"/>
                <a:gd name="T15" fmla="*/ 44 h 112"/>
                <a:gd name="T16" fmla="*/ 87 w 87"/>
                <a:gd name="T17" fmla="*/ 33 h 112"/>
                <a:gd name="T18" fmla="*/ 65 w 87"/>
                <a:gd name="T19" fmla="*/ 23 h 112"/>
                <a:gd name="T20" fmla="*/ 71 w 87"/>
                <a:gd name="T21" fmla="*/ 0 h 112"/>
                <a:gd name="T22" fmla="*/ 77 w 87"/>
                <a:gd name="T23" fmla="*/ 0 h 112"/>
                <a:gd name="T24" fmla="*/ 74 w 87"/>
                <a:gd name="T25" fmla="*/ 0 h 112"/>
                <a:gd name="T26" fmla="*/ 44 w 87"/>
                <a:gd name="T27" fmla="*/ 0 h 112"/>
                <a:gd name="T28" fmla="*/ 39 w 87"/>
                <a:gd name="T29" fmla="*/ 17 h 112"/>
                <a:gd name="T30" fmla="*/ 22 w 87"/>
                <a:gd name="T31" fmla="*/ 24 h 112"/>
                <a:gd name="T32" fmla="*/ 9 w 87"/>
                <a:gd name="T33" fmla="*/ 11 h 112"/>
                <a:gd name="T34" fmla="*/ 0 w 87"/>
                <a:gd name="T35" fmla="*/ 12 h 112"/>
                <a:gd name="T36" fmla="*/ 6 w 87"/>
                <a:gd name="T37" fmla="*/ 32 h 112"/>
                <a:gd name="T38" fmla="*/ 21 w 87"/>
                <a:gd name="T39" fmla="*/ 4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12">
                  <a:moveTo>
                    <a:pt x="21" y="49"/>
                  </a:moveTo>
                  <a:cubicBezTo>
                    <a:pt x="21" y="58"/>
                    <a:pt x="19" y="72"/>
                    <a:pt x="19" y="72"/>
                  </a:cubicBezTo>
                  <a:cubicBezTo>
                    <a:pt x="19" y="72"/>
                    <a:pt x="19" y="99"/>
                    <a:pt x="25" y="112"/>
                  </a:cubicBezTo>
                  <a:cubicBezTo>
                    <a:pt x="29" y="112"/>
                    <a:pt x="35" y="110"/>
                    <a:pt x="45" y="103"/>
                  </a:cubicBezTo>
                  <a:cubicBezTo>
                    <a:pt x="61" y="91"/>
                    <a:pt x="54" y="81"/>
                    <a:pt x="61" y="68"/>
                  </a:cubicBezTo>
                  <a:cubicBezTo>
                    <a:pt x="68" y="55"/>
                    <a:pt x="80" y="56"/>
                    <a:pt x="80" y="56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33"/>
                    <a:pt x="63" y="32"/>
                    <a:pt x="65" y="23"/>
                  </a:cubicBezTo>
                  <a:cubicBezTo>
                    <a:pt x="67" y="14"/>
                    <a:pt x="71" y="0"/>
                    <a:pt x="71" y="0"/>
                  </a:cubicBezTo>
                  <a:cubicBezTo>
                    <a:pt x="71" y="0"/>
                    <a:pt x="74" y="0"/>
                    <a:pt x="77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17"/>
                    <a:pt x="26" y="24"/>
                    <a:pt x="22" y="24"/>
                  </a:cubicBezTo>
                  <a:cubicBezTo>
                    <a:pt x="18" y="24"/>
                    <a:pt x="9" y="11"/>
                    <a:pt x="9" y="11"/>
                  </a:cubicBezTo>
                  <a:cubicBezTo>
                    <a:pt x="9" y="11"/>
                    <a:pt x="5" y="12"/>
                    <a:pt x="0" y="1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21" y="40"/>
                    <a:pt x="21" y="49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" name="Freeform 350">
              <a:extLst>
                <a:ext uri="{FF2B5EF4-FFF2-40B4-BE49-F238E27FC236}">
                  <a16:creationId xmlns:a16="http://schemas.microsoft.com/office/drawing/2014/main" id="{713493BA-674A-E760-4FAE-D45DEE945A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3147" y="-9850"/>
              <a:ext cx="1205" cy="1368"/>
            </a:xfrm>
            <a:custGeom>
              <a:avLst/>
              <a:gdLst>
                <a:gd name="T0" fmla="*/ 477 w 510"/>
                <a:gd name="T1" fmla="*/ 478 h 579"/>
                <a:gd name="T2" fmla="*/ 458 w 510"/>
                <a:gd name="T3" fmla="*/ 405 h 579"/>
                <a:gd name="T4" fmla="*/ 456 w 510"/>
                <a:gd name="T5" fmla="*/ 360 h 579"/>
                <a:gd name="T6" fmla="*/ 436 w 510"/>
                <a:gd name="T7" fmla="*/ 290 h 579"/>
                <a:gd name="T8" fmla="*/ 455 w 510"/>
                <a:gd name="T9" fmla="*/ 198 h 579"/>
                <a:gd name="T10" fmla="*/ 391 w 510"/>
                <a:gd name="T11" fmla="*/ 118 h 579"/>
                <a:gd name="T12" fmla="*/ 216 w 510"/>
                <a:gd name="T13" fmla="*/ 1 h 579"/>
                <a:gd name="T14" fmla="*/ 206 w 510"/>
                <a:gd name="T15" fmla="*/ 1 h 579"/>
                <a:gd name="T16" fmla="*/ 194 w 510"/>
                <a:gd name="T17" fmla="*/ 31 h 579"/>
                <a:gd name="T18" fmla="*/ 206 w 510"/>
                <a:gd name="T19" fmla="*/ 59 h 579"/>
                <a:gd name="T20" fmla="*/ 162 w 510"/>
                <a:gd name="T21" fmla="*/ 71 h 579"/>
                <a:gd name="T22" fmla="*/ 161 w 510"/>
                <a:gd name="T23" fmla="*/ 99 h 579"/>
                <a:gd name="T24" fmla="*/ 150 w 510"/>
                <a:gd name="T25" fmla="*/ 73 h 579"/>
                <a:gd name="T26" fmla="*/ 123 w 510"/>
                <a:gd name="T27" fmla="*/ 66 h 579"/>
                <a:gd name="T28" fmla="*/ 104 w 510"/>
                <a:gd name="T29" fmla="*/ 80 h 579"/>
                <a:gd name="T30" fmla="*/ 112 w 510"/>
                <a:gd name="T31" fmla="*/ 2 h 579"/>
                <a:gd name="T32" fmla="*/ 51 w 510"/>
                <a:gd name="T33" fmla="*/ 0 h 579"/>
                <a:gd name="T34" fmla="*/ 60 w 510"/>
                <a:gd name="T35" fmla="*/ 31 h 579"/>
                <a:gd name="T36" fmla="*/ 64 w 510"/>
                <a:gd name="T37" fmla="*/ 64 h 579"/>
                <a:gd name="T38" fmla="*/ 38 w 510"/>
                <a:gd name="T39" fmla="*/ 97 h 579"/>
                <a:gd name="T40" fmla="*/ 59 w 510"/>
                <a:gd name="T41" fmla="*/ 118 h 579"/>
                <a:gd name="T42" fmla="*/ 53 w 510"/>
                <a:gd name="T43" fmla="*/ 130 h 579"/>
                <a:gd name="T44" fmla="*/ 18 w 510"/>
                <a:gd name="T45" fmla="*/ 177 h 579"/>
                <a:gd name="T46" fmla="*/ 0 w 510"/>
                <a:gd name="T47" fmla="*/ 194 h 579"/>
                <a:gd name="T48" fmla="*/ 8 w 510"/>
                <a:gd name="T49" fmla="*/ 226 h 579"/>
                <a:gd name="T50" fmla="*/ 9 w 510"/>
                <a:gd name="T51" fmla="*/ 279 h 579"/>
                <a:gd name="T52" fmla="*/ 51 w 510"/>
                <a:gd name="T53" fmla="*/ 322 h 579"/>
                <a:gd name="T54" fmla="*/ 56 w 510"/>
                <a:gd name="T55" fmla="*/ 370 h 579"/>
                <a:gd name="T56" fmla="*/ 69 w 510"/>
                <a:gd name="T57" fmla="*/ 409 h 579"/>
                <a:gd name="T58" fmla="*/ 94 w 510"/>
                <a:gd name="T59" fmla="*/ 421 h 579"/>
                <a:gd name="T60" fmla="*/ 118 w 510"/>
                <a:gd name="T61" fmla="*/ 434 h 579"/>
                <a:gd name="T62" fmla="*/ 135 w 510"/>
                <a:gd name="T63" fmla="*/ 443 h 579"/>
                <a:gd name="T64" fmla="*/ 158 w 510"/>
                <a:gd name="T65" fmla="*/ 452 h 579"/>
                <a:gd name="T66" fmla="*/ 179 w 510"/>
                <a:gd name="T67" fmla="*/ 461 h 579"/>
                <a:gd name="T68" fmla="*/ 212 w 510"/>
                <a:gd name="T69" fmla="*/ 453 h 579"/>
                <a:gd name="T70" fmla="*/ 232 w 510"/>
                <a:gd name="T71" fmla="*/ 514 h 579"/>
                <a:gd name="T72" fmla="*/ 231 w 510"/>
                <a:gd name="T73" fmla="*/ 539 h 579"/>
                <a:gd name="T74" fmla="*/ 249 w 510"/>
                <a:gd name="T75" fmla="*/ 569 h 579"/>
                <a:gd name="T76" fmla="*/ 292 w 510"/>
                <a:gd name="T77" fmla="*/ 558 h 579"/>
                <a:gd name="T78" fmla="*/ 338 w 510"/>
                <a:gd name="T79" fmla="*/ 568 h 579"/>
                <a:gd name="T80" fmla="*/ 367 w 510"/>
                <a:gd name="T81" fmla="*/ 573 h 579"/>
                <a:gd name="T82" fmla="*/ 406 w 510"/>
                <a:gd name="T83" fmla="*/ 552 h 579"/>
                <a:gd name="T84" fmla="*/ 438 w 510"/>
                <a:gd name="T85" fmla="*/ 545 h 579"/>
                <a:gd name="T86" fmla="*/ 510 w 510"/>
                <a:gd name="T87" fmla="*/ 507 h 579"/>
                <a:gd name="T88" fmla="*/ 481 w 510"/>
                <a:gd name="T89" fmla="*/ 237 h 579"/>
                <a:gd name="T90" fmla="*/ 481 w 510"/>
                <a:gd name="T91" fmla="*/ 237 h 579"/>
                <a:gd name="T92" fmla="*/ 478 w 510"/>
                <a:gd name="T93" fmla="*/ 294 h 579"/>
                <a:gd name="T94" fmla="*/ 458 w 510"/>
                <a:gd name="T95" fmla="*/ 251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10" h="579">
                  <a:moveTo>
                    <a:pt x="507" y="496"/>
                  </a:moveTo>
                  <a:cubicBezTo>
                    <a:pt x="507" y="496"/>
                    <a:pt x="479" y="489"/>
                    <a:pt x="477" y="478"/>
                  </a:cubicBezTo>
                  <a:cubicBezTo>
                    <a:pt x="475" y="467"/>
                    <a:pt x="473" y="436"/>
                    <a:pt x="473" y="436"/>
                  </a:cubicBezTo>
                  <a:cubicBezTo>
                    <a:pt x="458" y="405"/>
                    <a:pt x="458" y="405"/>
                    <a:pt x="458" y="405"/>
                  </a:cubicBezTo>
                  <a:cubicBezTo>
                    <a:pt x="467" y="374"/>
                    <a:pt x="467" y="374"/>
                    <a:pt x="467" y="374"/>
                  </a:cubicBezTo>
                  <a:cubicBezTo>
                    <a:pt x="456" y="360"/>
                    <a:pt x="456" y="360"/>
                    <a:pt x="456" y="360"/>
                  </a:cubicBezTo>
                  <a:cubicBezTo>
                    <a:pt x="456" y="360"/>
                    <a:pt x="476" y="325"/>
                    <a:pt x="471" y="317"/>
                  </a:cubicBezTo>
                  <a:cubicBezTo>
                    <a:pt x="466" y="309"/>
                    <a:pt x="439" y="302"/>
                    <a:pt x="436" y="290"/>
                  </a:cubicBezTo>
                  <a:cubicBezTo>
                    <a:pt x="433" y="278"/>
                    <a:pt x="450" y="239"/>
                    <a:pt x="451" y="232"/>
                  </a:cubicBezTo>
                  <a:cubicBezTo>
                    <a:pt x="452" y="226"/>
                    <a:pt x="454" y="203"/>
                    <a:pt x="455" y="198"/>
                  </a:cubicBezTo>
                  <a:cubicBezTo>
                    <a:pt x="380" y="128"/>
                    <a:pt x="380" y="128"/>
                    <a:pt x="380" y="128"/>
                  </a:cubicBezTo>
                  <a:cubicBezTo>
                    <a:pt x="380" y="128"/>
                    <a:pt x="388" y="122"/>
                    <a:pt x="391" y="118"/>
                  </a:cubicBezTo>
                  <a:cubicBezTo>
                    <a:pt x="394" y="114"/>
                    <a:pt x="382" y="105"/>
                    <a:pt x="382" y="105"/>
                  </a:cubicBezTo>
                  <a:cubicBezTo>
                    <a:pt x="216" y="1"/>
                    <a:pt x="216" y="1"/>
                    <a:pt x="216" y="1"/>
                  </a:cubicBezTo>
                  <a:cubicBezTo>
                    <a:pt x="206" y="1"/>
                    <a:pt x="206" y="1"/>
                    <a:pt x="206" y="1"/>
                  </a:cubicBezTo>
                  <a:cubicBezTo>
                    <a:pt x="206" y="1"/>
                    <a:pt x="206" y="1"/>
                    <a:pt x="206" y="1"/>
                  </a:cubicBezTo>
                  <a:cubicBezTo>
                    <a:pt x="206" y="10"/>
                    <a:pt x="209" y="24"/>
                    <a:pt x="209" y="24"/>
                  </a:cubicBezTo>
                  <a:cubicBezTo>
                    <a:pt x="194" y="31"/>
                    <a:pt x="194" y="31"/>
                    <a:pt x="194" y="31"/>
                  </a:cubicBezTo>
                  <a:cubicBezTo>
                    <a:pt x="194" y="31"/>
                    <a:pt x="181" y="40"/>
                    <a:pt x="176" y="55"/>
                  </a:cubicBezTo>
                  <a:cubicBezTo>
                    <a:pt x="171" y="70"/>
                    <a:pt x="206" y="59"/>
                    <a:pt x="206" y="59"/>
                  </a:cubicBezTo>
                  <a:cubicBezTo>
                    <a:pt x="206" y="59"/>
                    <a:pt x="187" y="75"/>
                    <a:pt x="181" y="78"/>
                  </a:cubicBezTo>
                  <a:cubicBezTo>
                    <a:pt x="175" y="81"/>
                    <a:pt x="171" y="72"/>
                    <a:pt x="162" y="71"/>
                  </a:cubicBezTo>
                  <a:cubicBezTo>
                    <a:pt x="153" y="70"/>
                    <a:pt x="154" y="89"/>
                    <a:pt x="154" y="89"/>
                  </a:cubicBezTo>
                  <a:cubicBezTo>
                    <a:pt x="161" y="99"/>
                    <a:pt x="161" y="99"/>
                    <a:pt x="161" y="99"/>
                  </a:cubicBezTo>
                  <a:cubicBezTo>
                    <a:pt x="161" y="99"/>
                    <a:pt x="158" y="100"/>
                    <a:pt x="148" y="99"/>
                  </a:cubicBezTo>
                  <a:cubicBezTo>
                    <a:pt x="138" y="98"/>
                    <a:pt x="150" y="73"/>
                    <a:pt x="150" y="73"/>
                  </a:cubicBezTo>
                  <a:cubicBezTo>
                    <a:pt x="138" y="78"/>
                    <a:pt x="138" y="78"/>
                    <a:pt x="138" y="78"/>
                  </a:cubicBezTo>
                  <a:cubicBezTo>
                    <a:pt x="138" y="78"/>
                    <a:pt x="130" y="66"/>
                    <a:pt x="123" y="66"/>
                  </a:cubicBezTo>
                  <a:cubicBezTo>
                    <a:pt x="113" y="66"/>
                    <a:pt x="114" y="92"/>
                    <a:pt x="109" y="92"/>
                  </a:cubicBezTo>
                  <a:cubicBezTo>
                    <a:pt x="104" y="92"/>
                    <a:pt x="104" y="80"/>
                    <a:pt x="104" y="80"/>
                  </a:cubicBezTo>
                  <a:cubicBezTo>
                    <a:pt x="104" y="80"/>
                    <a:pt x="99" y="54"/>
                    <a:pt x="101" y="40"/>
                  </a:cubicBezTo>
                  <a:cubicBezTo>
                    <a:pt x="103" y="26"/>
                    <a:pt x="111" y="8"/>
                    <a:pt x="112" y="2"/>
                  </a:cubicBezTo>
                  <a:cubicBezTo>
                    <a:pt x="112" y="1"/>
                    <a:pt x="112" y="1"/>
                    <a:pt x="11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3"/>
                    <a:pt x="56" y="23"/>
                    <a:pt x="60" y="31"/>
                  </a:cubicBezTo>
                  <a:cubicBezTo>
                    <a:pt x="64" y="39"/>
                    <a:pt x="58" y="44"/>
                    <a:pt x="58" y="44"/>
                  </a:cubicBezTo>
                  <a:cubicBezTo>
                    <a:pt x="58" y="44"/>
                    <a:pt x="64" y="52"/>
                    <a:pt x="64" y="64"/>
                  </a:cubicBezTo>
                  <a:cubicBezTo>
                    <a:pt x="64" y="76"/>
                    <a:pt x="44" y="74"/>
                    <a:pt x="44" y="74"/>
                  </a:cubicBezTo>
                  <a:cubicBezTo>
                    <a:pt x="44" y="74"/>
                    <a:pt x="40" y="88"/>
                    <a:pt x="38" y="97"/>
                  </a:cubicBezTo>
                  <a:cubicBezTo>
                    <a:pt x="36" y="106"/>
                    <a:pt x="60" y="107"/>
                    <a:pt x="60" y="107"/>
                  </a:cubicBezTo>
                  <a:cubicBezTo>
                    <a:pt x="59" y="118"/>
                    <a:pt x="59" y="118"/>
                    <a:pt x="59" y="118"/>
                  </a:cubicBezTo>
                  <a:cubicBezTo>
                    <a:pt x="51" y="121"/>
                    <a:pt x="51" y="121"/>
                    <a:pt x="51" y="121"/>
                  </a:cubicBezTo>
                  <a:cubicBezTo>
                    <a:pt x="53" y="130"/>
                    <a:pt x="53" y="130"/>
                    <a:pt x="53" y="130"/>
                  </a:cubicBezTo>
                  <a:cubicBezTo>
                    <a:pt x="53" y="130"/>
                    <a:pt x="41" y="129"/>
                    <a:pt x="34" y="142"/>
                  </a:cubicBezTo>
                  <a:cubicBezTo>
                    <a:pt x="27" y="155"/>
                    <a:pt x="34" y="165"/>
                    <a:pt x="18" y="177"/>
                  </a:cubicBezTo>
                  <a:cubicBezTo>
                    <a:pt x="11" y="182"/>
                    <a:pt x="6" y="184"/>
                    <a:pt x="2" y="185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0" y="194"/>
                    <a:pt x="6" y="205"/>
                    <a:pt x="9" y="209"/>
                  </a:cubicBezTo>
                  <a:cubicBezTo>
                    <a:pt x="12" y="213"/>
                    <a:pt x="8" y="226"/>
                    <a:pt x="8" y="226"/>
                  </a:cubicBezTo>
                  <a:cubicBezTo>
                    <a:pt x="8" y="226"/>
                    <a:pt x="19" y="256"/>
                    <a:pt x="15" y="261"/>
                  </a:cubicBezTo>
                  <a:cubicBezTo>
                    <a:pt x="11" y="266"/>
                    <a:pt x="8" y="269"/>
                    <a:pt x="9" y="279"/>
                  </a:cubicBezTo>
                  <a:cubicBezTo>
                    <a:pt x="10" y="289"/>
                    <a:pt x="18" y="294"/>
                    <a:pt x="24" y="296"/>
                  </a:cubicBezTo>
                  <a:cubicBezTo>
                    <a:pt x="30" y="298"/>
                    <a:pt x="47" y="316"/>
                    <a:pt x="51" y="322"/>
                  </a:cubicBezTo>
                  <a:cubicBezTo>
                    <a:pt x="55" y="328"/>
                    <a:pt x="51" y="337"/>
                    <a:pt x="49" y="345"/>
                  </a:cubicBezTo>
                  <a:cubicBezTo>
                    <a:pt x="47" y="353"/>
                    <a:pt x="56" y="370"/>
                    <a:pt x="56" y="370"/>
                  </a:cubicBezTo>
                  <a:cubicBezTo>
                    <a:pt x="74" y="394"/>
                    <a:pt x="74" y="394"/>
                    <a:pt x="74" y="394"/>
                  </a:cubicBezTo>
                  <a:cubicBezTo>
                    <a:pt x="74" y="394"/>
                    <a:pt x="72" y="401"/>
                    <a:pt x="69" y="409"/>
                  </a:cubicBezTo>
                  <a:cubicBezTo>
                    <a:pt x="77" y="410"/>
                    <a:pt x="89" y="406"/>
                    <a:pt x="89" y="406"/>
                  </a:cubicBezTo>
                  <a:cubicBezTo>
                    <a:pt x="89" y="406"/>
                    <a:pt x="91" y="418"/>
                    <a:pt x="94" y="421"/>
                  </a:cubicBezTo>
                  <a:cubicBezTo>
                    <a:pt x="97" y="424"/>
                    <a:pt x="106" y="421"/>
                    <a:pt x="106" y="421"/>
                  </a:cubicBezTo>
                  <a:cubicBezTo>
                    <a:pt x="106" y="421"/>
                    <a:pt x="113" y="430"/>
                    <a:pt x="118" y="434"/>
                  </a:cubicBezTo>
                  <a:cubicBezTo>
                    <a:pt x="123" y="438"/>
                    <a:pt x="133" y="432"/>
                    <a:pt x="133" y="432"/>
                  </a:cubicBezTo>
                  <a:cubicBezTo>
                    <a:pt x="135" y="443"/>
                    <a:pt x="135" y="443"/>
                    <a:pt x="135" y="443"/>
                  </a:cubicBezTo>
                  <a:cubicBezTo>
                    <a:pt x="147" y="442"/>
                    <a:pt x="147" y="442"/>
                    <a:pt x="147" y="442"/>
                  </a:cubicBezTo>
                  <a:cubicBezTo>
                    <a:pt x="158" y="452"/>
                    <a:pt x="158" y="452"/>
                    <a:pt x="158" y="452"/>
                  </a:cubicBezTo>
                  <a:cubicBezTo>
                    <a:pt x="173" y="451"/>
                    <a:pt x="173" y="451"/>
                    <a:pt x="173" y="451"/>
                  </a:cubicBezTo>
                  <a:cubicBezTo>
                    <a:pt x="179" y="461"/>
                    <a:pt x="179" y="461"/>
                    <a:pt x="179" y="461"/>
                  </a:cubicBezTo>
                  <a:cubicBezTo>
                    <a:pt x="198" y="461"/>
                    <a:pt x="198" y="461"/>
                    <a:pt x="198" y="461"/>
                  </a:cubicBezTo>
                  <a:cubicBezTo>
                    <a:pt x="198" y="461"/>
                    <a:pt x="202" y="448"/>
                    <a:pt x="212" y="453"/>
                  </a:cubicBezTo>
                  <a:cubicBezTo>
                    <a:pt x="222" y="458"/>
                    <a:pt x="230" y="479"/>
                    <a:pt x="230" y="479"/>
                  </a:cubicBezTo>
                  <a:cubicBezTo>
                    <a:pt x="232" y="514"/>
                    <a:pt x="232" y="514"/>
                    <a:pt x="232" y="514"/>
                  </a:cubicBezTo>
                  <a:cubicBezTo>
                    <a:pt x="232" y="514"/>
                    <a:pt x="237" y="515"/>
                    <a:pt x="237" y="522"/>
                  </a:cubicBezTo>
                  <a:cubicBezTo>
                    <a:pt x="237" y="529"/>
                    <a:pt x="234" y="531"/>
                    <a:pt x="231" y="539"/>
                  </a:cubicBezTo>
                  <a:cubicBezTo>
                    <a:pt x="228" y="547"/>
                    <a:pt x="250" y="557"/>
                    <a:pt x="250" y="557"/>
                  </a:cubicBezTo>
                  <a:cubicBezTo>
                    <a:pt x="249" y="569"/>
                    <a:pt x="249" y="569"/>
                    <a:pt x="249" y="569"/>
                  </a:cubicBezTo>
                  <a:cubicBezTo>
                    <a:pt x="262" y="569"/>
                    <a:pt x="280" y="568"/>
                    <a:pt x="280" y="568"/>
                  </a:cubicBezTo>
                  <a:cubicBezTo>
                    <a:pt x="280" y="568"/>
                    <a:pt x="284" y="558"/>
                    <a:pt x="292" y="558"/>
                  </a:cubicBezTo>
                  <a:cubicBezTo>
                    <a:pt x="300" y="558"/>
                    <a:pt x="319" y="579"/>
                    <a:pt x="324" y="579"/>
                  </a:cubicBezTo>
                  <a:cubicBezTo>
                    <a:pt x="329" y="579"/>
                    <a:pt x="334" y="570"/>
                    <a:pt x="338" y="568"/>
                  </a:cubicBezTo>
                  <a:cubicBezTo>
                    <a:pt x="342" y="566"/>
                    <a:pt x="356" y="574"/>
                    <a:pt x="356" y="574"/>
                  </a:cubicBezTo>
                  <a:cubicBezTo>
                    <a:pt x="356" y="574"/>
                    <a:pt x="360" y="576"/>
                    <a:pt x="367" y="573"/>
                  </a:cubicBezTo>
                  <a:cubicBezTo>
                    <a:pt x="374" y="570"/>
                    <a:pt x="390" y="552"/>
                    <a:pt x="390" y="552"/>
                  </a:cubicBezTo>
                  <a:cubicBezTo>
                    <a:pt x="406" y="552"/>
                    <a:pt x="406" y="552"/>
                    <a:pt x="406" y="552"/>
                  </a:cubicBezTo>
                  <a:cubicBezTo>
                    <a:pt x="406" y="552"/>
                    <a:pt x="409" y="560"/>
                    <a:pt x="413" y="559"/>
                  </a:cubicBezTo>
                  <a:cubicBezTo>
                    <a:pt x="417" y="558"/>
                    <a:pt x="438" y="545"/>
                    <a:pt x="438" y="545"/>
                  </a:cubicBezTo>
                  <a:cubicBezTo>
                    <a:pt x="457" y="544"/>
                    <a:pt x="457" y="544"/>
                    <a:pt x="457" y="544"/>
                  </a:cubicBezTo>
                  <a:cubicBezTo>
                    <a:pt x="510" y="507"/>
                    <a:pt x="510" y="507"/>
                    <a:pt x="510" y="507"/>
                  </a:cubicBezTo>
                  <a:lnTo>
                    <a:pt x="507" y="496"/>
                  </a:lnTo>
                  <a:close/>
                  <a:moveTo>
                    <a:pt x="481" y="237"/>
                  </a:moveTo>
                  <a:cubicBezTo>
                    <a:pt x="497" y="235"/>
                    <a:pt x="483" y="196"/>
                    <a:pt x="476" y="204"/>
                  </a:cubicBezTo>
                  <a:cubicBezTo>
                    <a:pt x="468" y="212"/>
                    <a:pt x="468" y="239"/>
                    <a:pt x="481" y="237"/>
                  </a:cubicBezTo>
                  <a:close/>
                  <a:moveTo>
                    <a:pt x="452" y="278"/>
                  </a:moveTo>
                  <a:cubicBezTo>
                    <a:pt x="452" y="278"/>
                    <a:pt x="468" y="296"/>
                    <a:pt x="478" y="294"/>
                  </a:cubicBezTo>
                  <a:cubicBezTo>
                    <a:pt x="487" y="292"/>
                    <a:pt x="470" y="272"/>
                    <a:pt x="470" y="272"/>
                  </a:cubicBezTo>
                  <a:cubicBezTo>
                    <a:pt x="470" y="272"/>
                    <a:pt x="474" y="251"/>
                    <a:pt x="458" y="251"/>
                  </a:cubicBezTo>
                  <a:cubicBezTo>
                    <a:pt x="442" y="251"/>
                    <a:pt x="452" y="278"/>
                    <a:pt x="452" y="278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chemeClr val="tx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" name="Freeform 351">
              <a:extLst>
                <a:ext uri="{FF2B5EF4-FFF2-40B4-BE49-F238E27FC236}">
                  <a16:creationId xmlns:a16="http://schemas.microsoft.com/office/drawing/2014/main" id="{99C3ED6B-83CC-CA39-DEC5-0A19934FDE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3142" y="-10516"/>
              <a:ext cx="628" cy="742"/>
            </a:xfrm>
            <a:custGeom>
              <a:avLst/>
              <a:gdLst>
                <a:gd name="T0" fmla="*/ 204 w 266"/>
                <a:gd name="T1" fmla="*/ 283 h 314"/>
                <a:gd name="T2" fmla="*/ 214 w 266"/>
                <a:gd name="T3" fmla="*/ 283 h 314"/>
                <a:gd name="T4" fmla="*/ 215 w 266"/>
                <a:gd name="T5" fmla="*/ 282 h 314"/>
                <a:gd name="T6" fmla="*/ 204 w 266"/>
                <a:gd name="T7" fmla="*/ 283 h 314"/>
                <a:gd name="T8" fmla="*/ 262 w 266"/>
                <a:gd name="T9" fmla="*/ 127 h 314"/>
                <a:gd name="T10" fmla="*/ 246 w 266"/>
                <a:gd name="T11" fmla="*/ 97 h 314"/>
                <a:gd name="T12" fmla="*/ 255 w 266"/>
                <a:gd name="T13" fmla="*/ 87 h 314"/>
                <a:gd name="T14" fmla="*/ 234 w 266"/>
                <a:gd name="T15" fmla="*/ 62 h 314"/>
                <a:gd name="T16" fmla="*/ 235 w 266"/>
                <a:gd name="T17" fmla="*/ 57 h 314"/>
                <a:gd name="T18" fmla="*/ 226 w 266"/>
                <a:gd name="T19" fmla="*/ 42 h 314"/>
                <a:gd name="T20" fmla="*/ 228 w 266"/>
                <a:gd name="T21" fmla="*/ 27 h 314"/>
                <a:gd name="T22" fmla="*/ 215 w 266"/>
                <a:gd name="T23" fmla="*/ 22 h 314"/>
                <a:gd name="T24" fmla="*/ 208 w 266"/>
                <a:gd name="T25" fmla="*/ 0 h 314"/>
                <a:gd name="T26" fmla="*/ 200 w 266"/>
                <a:gd name="T27" fmla="*/ 0 h 314"/>
                <a:gd name="T28" fmla="*/ 178 w 266"/>
                <a:gd name="T29" fmla="*/ 25 h 314"/>
                <a:gd name="T30" fmla="*/ 161 w 266"/>
                <a:gd name="T31" fmla="*/ 17 h 314"/>
                <a:gd name="T32" fmla="*/ 149 w 266"/>
                <a:gd name="T33" fmla="*/ 25 h 314"/>
                <a:gd name="T34" fmla="*/ 133 w 266"/>
                <a:gd name="T35" fmla="*/ 24 h 314"/>
                <a:gd name="T36" fmla="*/ 120 w 266"/>
                <a:gd name="T37" fmla="*/ 39 h 314"/>
                <a:gd name="T38" fmla="*/ 106 w 266"/>
                <a:gd name="T39" fmla="*/ 21 h 314"/>
                <a:gd name="T40" fmla="*/ 99 w 266"/>
                <a:gd name="T41" fmla="*/ 22 h 314"/>
                <a:gd name="T42" fmla="*/ 92 w 266"/>
                <a:gd name="T43" fmla="*/ 29 h 314"/>
                <a:gd name="T44" fmla="*/ 72 w 266"/>
                <a:gd name="T45" fmla="*/ 21 h 314"/>
                <a:gd name="T46" fmla="*/ 56 w 266"/>
                <a:gd name="T47" fmla="*/ 34 h 314"/>
                <a:gd name="T48" fmla="*/ 62 w 266"/>
                <a:gd name="T49" fmla="*/ 47 h 314"/>
                <a:gd name="T50" fmla="*/ 49 w 266"/>
                <a:gd name="T51" fmla="*/ 61 h 314"/>
                <a:gd name="T52" fmla="*/ 59 w 266"/>
                <a:gd name="T53" fmla="*/ 71 h 314"/>
                <a:gd name="T54" fmla="*/ 52 w 266"/>
                <a:gd name="T55" fmla="*/ 92 h 314"/>
                <a:gd name="T56" fmla="*/ 66 w 266"/>
                <a:gd name="T57" fmla="*/ 97 h 314"/>
                <a:gd name="T58" fmla="*/ 78 w 266"/>
                <a:gd name="T59" fmla="*/ 108 h 314"/>
                <a:gd name="T60" fmla="*/ 45 w 266"/>
                <a:gd name="T61" fmla="*/ 156 h 314"/>
                <a:gd name="T62" fmla="*/ 29 w 266"/>
                <a:gd name="T63" fmla="*/ 164 h 314"/>
                <a:gd name="T64" fmla="*/ 29 w 266"/>
                <a:gd name="T65" fmla="*/ 173 h 314"/>
                <a:gd name="T66" fmla="*/ 16 w 266"/>
                <a:gd name="T67" fmla="*/ 181 h 314"/>
                <a:gd name="T68" fmla="*/ 14 w 266"/>
                <a:gd name="T69" fmla="*/ 198 h 314"/>
                <a:gd name="T70" fmla="*/ 4 w 266"/>
                <a:gd name="T71" fmla="*/ 229 h 314"/>
                <a:gd name="T72" fmla="*/ 4 w 266"/>
                <a:gd name="T73" fmla="*/ 249 h 314"/>
                <a:gd name="T74" fmla="*/ 0 w 266"/>
                <a:gd name="T75" fmla="*/ 299 h 314"/>
                <a:gd name="T76" fmla="*/ 10 w 266"/>
                <a:gd name="T77" fmla="*/ 299 h 314"/>
                <a:gd name="T78" fmla="*/ 22 w 266"/>
                <a:gd name="T79" fmla="*/ 307 h 314"/>
                <a:gd name="T80" fmla="*/ 33 w 266"/>
                <a:gd name="T81" fmla="*/ 283 h 314"/>
                <a:gd name="T82" fmla="*/ 49 w 266"/>
                <a:gd name="T83" fmla="*/ 282 h 314"/>
                <a:gd name="T84" fmla="*/ 110 w 266"/>
                <a:gd name="T85" fmla="*/ 282 h 314"/>
                <a:gd name="T86" fmla="*/ 102 w 266"/>
                <a:gd name="T87" fmla="*/ 265 h 314"/>
                <a:gd name="T88" fmla="*/ 111 w 266"/>
                <a:gd name="T89" fmla="*/ 246 h 314"/>
                <a:gd name="T90" fmla="*/ 118 w 266"/>
                <a:gd name="T91" fmla="*/ 223 h 314"/>
                <a:gd name="T92" fmla="*/ 160 w 266"/>
                <a:gd name="T93" fmla="*/ 216 h 314"/>
                <a:gd name="T94" fmla="*/ 176 w 266"/>
                <a:gd name="T95" fmla="*/ 202 h 314"/>
                <a:gd name="T96" fmla="*/ 182 w 266"/>
                <a:gd name="T97" fmla="*/ 219 h 314"/>
                <a:gd name="T98" fmla="*/ 200 w 266"/>
                <a:gd name="T99" fmla="*/ 215 h 314"/>
                <a:gd name="T100" fmla="*/ 207 w 266"/>
                <a:gd name="T101" fmla="*/ 217 h 314"/>
                <a:gd name="T102" fmla="*/ 207 w 266"/>
                <a:gd name="T103" fmla="*/ 219 h 314"/>
                <a:gd name="T104" fmla="*/ 218 w 266"/>
                <a:gd name="T105" fmla="*/ 201 h 314"/>
                <a:gd name="T106" fmla="*/ 219 w 266"/>
                <a:gd name="T107" fmla="*/ 190 h 314"/>
                <a:gd name="T108" fmla="*/ 231 w 266"/>
                <a:gd name="T109" fmla="*/ 179 h 314"/>
                <a:gd name="T110" fmla="*/ 234 w 266"/>
                <a:gd name="T111" fmla="*/ 164 h 314"/>
                <a:gd name="T112" fmla="*/ 247 w 266"/>
                <a:gd name="T113" fmla="*/ 160 h 314"/>
                <a:gd name="T114" fmla="*/ 251 w 266"/>
                <a:gd name="T115" fmla="*/ 145 h 314"/>
                <a:gd name="T116" fmla="*/ 262 w 266"/>
                <a:gd name="T117" fmla="*/ 127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6" h="314">
                  <a:moveTo>
                    <a:pt x="204" y="283"/>
                  </a:moveTo>
                  <a:cubicBezTo>
                    <a:pt x="214" y="283"/>
                    <a:pt x="214" y="283"/>
                    <a:pt x="214" y="283"/>
                  </a:cubicBezTo>
                  <a:cubicBezTo>
                    <a:pt x="215" y="282"/>
                    <a:pt x="215" y="282"/>
                    <a:pt x="215" y="282"/>
                  </a:cubicBezTo>
                  <a:cubicBezTo>
                    <a:pt x="209" y="282"/>
                    <a:pt x="204" y="282"/>
                    <a:pt x="204" y="283"/>
                  </a:cubicBezTo>
                  <a:close/>
                  <a:moveTo>
                    <a:pt x="262" y="127"/>
                  </a:moveTo>
                  <a:cubicBezTo>
                    <a:pt x="258" y="121"/>
                    <a:pt x="245" y="102"/>
                    <a:pt x="246" y="97"/>
                  </a:cubicBezTo>
                  <a:cubicBezTo>
                    <a:pt x="247" y="92"/>
                    <a:pt x="255" y="87"/>
                    <a:pt x="255" y="87"/>
                  </a:cubicBezTo>
                  <a:cubicBezTo>
                    <a:pt x="234" y="62"/>
                    <a:pt x="234" y="62"/>
                    <a:pt x="234" y="62"/>
                  </a:cubicBezTo>
                  <a:cubicBezTo>
                    <a:pt x="235" y="57"/>
                    <a:pt x="235" y="57"/>
                    <a:pt x="235" y="57"/>
                  </a:cubicBezTo>
                  <a:cubicBezTo>
                    <a:pt x="235" y="57"/>
                    <a:pt x="224" y="48"/>
                    <a:pt x="226" y="42"/>
                  </a:cubicBezTo>
                  <a:cubicBezTo>
                    <a:pt x="228" y="36"/>
                    <a:pt x="228" y="27"/>
                    <a:pt x="228" y="27"/>
                  </a:cubicBezTo>
                  <a:cubicBezTo>
                    <a:pt x="228" y="27"/>
                    <a:pt x="215" y="35"/>
                    <a:pt x="215" y="22"/>
                  </a:cubicBezTo>
                  <a:cubicBezTo>
                    <a:pt x="215" y="9"/>
                    <a:pt x="208" y="0"/>
                    <a:pt x="208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00" y="0"/>
                    <a:pt x="191" y="27"/>
                    <a:pt x="178" y="25"/>
                  </a:cubicBezTo>
                  <a:cubicBezTo>
                    <a:pt x="165" y="23"/>
                    <a:pt x="166" y="17"/>
                    <a:pt x="161" y="17"/>
                  </a:cubicBezTo>
                  <a:cubicBezTo>
                    <a:pt x="156" y="17"/>
                    <a:pt x="149" y="25"/>
                    <a:pt x="149" y="25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99" y="22"/>
                    <a:pt x="98" y="30"/>
                    <a:pt x="92" y="29"/>
                  </a:cubicBezTo>
                  <a:cubicBezTo>
                    <a:pt x="86" y="28"/>
                    <a:pt x="77" y="21"/>
                    <a:pt x="72" y="21"/>
                  </a:cubicBezTo>
                  <a:cubicBezTo>
                    <a:pt x="67" y="21"/>
                    <a:pt x="56" y="34"/>
                    <a:pt x="56" y="34"/>
                  </a:cubicBezTo>
                  <a:cubicBezTo>
                    <a:pt x="62" y="47"/>
                    <a:pt x="62" y="47"/>
                    <a:pt x="62" y="47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60" y="65"/>
                    <a:pt x="59" y="71"/>
                  </a:cubicBezTo>
                  <a:cubicBezTo>
                    <a:pt x="58" y="76"/>
                    <a:pt x="49" y="87"/>
                    <a:pt x="52" y="92"/>
                  </a:cubicBezTo>
                  <a:cubicBezTo>
                    <a:pt x="55" y="98"/>
                    <a:pt x="66" y="97"/>
                    <a:pt x="66" y="97"/>
                  </a:cubicBezTo>
                  <a:cubicBezTo>
                    <a:pt x="66" y="97"/>
                    <a:pt x="78" y="100"/>
                    <a:pt x="78" y="108"/>
                  </a:cubicBezTo>
                  <a:cubicBezTo>
                    <a:pt x="78" y="116"/>
                    <a:pt x="45" y="156"/>
                    <a:pt x="45" y="156"/>
                  </a:cubicBezTo>
                  <a:cubicBezTo>
                    <a:pt x="29" y="164"/>
                    <a:pt x="29" y="164"/>
                    <a:pt x="29" y="164"/>
                  </a:cubicBezTo>
                  <a:cubicBezTo>
                    <a:pt x="29" y="173"/>
                    <a:pt x="29" y="173"/>
                    <a:pt x="29" y="173"/>
                  </a:cubicBezTo>
                  <a:cubicBezTo>
                    <a:pt x="16" y="181"/>
                    <a:pt x="16" y="181"/>
                    <a:pt x="16" y="181"/>
                  </a:cubicBezTo>
                  <a:cubicBezTo>
                    <a:pt x="14" y="198"/>
                    <a:pt x="14" y="198"/>
                    <a:pt x="14" y="198"/>
                  </a:cubicBezTo>
                  <a:cubicBezTo>
                    <a:pt x="4" y="229"/>
                    <a:pt x="4" y="229"/>
                    <a:pt x="4" y="229"/>
                  </a:cubicBezTo>
                  <a:cubicBezTo>
                    <a:pt x="4" y="249"/>
                    <a:pt x="4" y="249"/>
                    <a:pt x="4" y="249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299"/>
                    <a:pt x="16" y="314"/>
                    <a:pt x="22" y="307"/>
                  </a:cubicBezTo>
                  <a:cubicBezTo>
                    <a:pt x="29" y="299"/>
                    <a:pt x="33" y="283"/>
                    <a:pt x="33" y="283"/>
                  </a:cubicBezTo>
                  <a:cubicBezTo>
                    <a:pt x="49" y="282"/>
                    <a:pt x="49" y="282"/>
                    <a:pt x="49" y="282"/>
                  </a:cubicBezTo>
                  <a:cubicBezTo>
                    <a:pt x="110" y="282"/>
                    <a:pt x="110" y="282"/>
                    <a:pt x="110" y="282"/>
                  </a:cubicBezTo>
                  <a:cubicBezTo>
                    <a:pt x="110" y="277"/>
                    <a:pt x="104" y="271"/>
                    <a:pt x="102" y="265"/>
                  </a:cubicBezTo>
                  <a:cubicBezTo>
                    <a:pt x="100" y="258"/>
                    <a:pt x="107" y="250"/>
                    <a:pt x="111" y="246"/>
                  </a:cubicBezTo>
                  <a:cubicBezTo>
                    <a:pt x="115" y="242"/>
                    <a:pt x="109" y="230"/>
                    <a:pt x="118" y="223"/>
                  </a:cubicBezTo>
                  <a:cubicBezTo>
                    <a:pt x="127" y="216"/>
                    <a:pt x="157" y="218"/>
                    <a:pt x="160" y="216"/>
                  </a:cubicBezTo>
                  <a:cubicBezTo>
                    <a:pt x="163" y="214"/>
                    <a:pt x="170" y="202"/>
                    <a:pt x="176" y="202"/>
                  </a:cubicBezTo>
                  <a:cubicBezTo>
                    <a:pt x="182" y="202"/>
                    <a:pt x="182" y="219"/>
                    <a:pt x="182" y="219"/>
                  </a:cubicBezTo>
                  <a:cubicBezTo>
                    <a:pt x="182" y="219"/>
                    <a:pt x="189" y="212"/>
                    <a:pt x="200" y="215"/>
                  </a:cubicBezTo>
                  <a:cubicBezTo>
                    <a:pt x="202" y="215"/>
                    <a:pt x="204" y="216"/>
                    <a:pt x="207" y="217"/>
                  </a:cubicBezTo>
                  <a:cubicBezTo>
                    <a:pt x="207" y="218"/>
                    <a:pt x="207" y="218"/>
                    <a:pt x="207" y="219"/>
                  </a:cubicBezTo>
                  <a:cubicBezTo>
                    <a:pt x="207" y="208"/>
                    <a:pt x="218" y="201"/>
                    <a:pt x="218" y="201"/>
                  </a:cubicBezTo>
                  <a:cubicBezTo>
                    <a:pt x="219" y="190"/>
                    <a:pt x="219" y="190"/>
                    <a:pt x="219" y="190"/>
                  </a:cubicBezTo>
                  <a:cubicBezTo>
                    <a:pt x="231" y="179"/>
                    <a:pt x="231" y="179"/>
                    <a:pt x="231" y="179"/>
                  </a:cubicBezTo>
                  <a:cubicBezTo>
                    <a:pt x="231" y="179"/>
                    <a:pt x="227" y="170"/>
                    <a:pt x="234" y="164"/>
                  </a:cubicBezTo>
                  <a:cubicBezTo>
                    <a:pt x="241" y="158"/>
                    <a:pt x="247" y="160"/>
                    <a:pt x="247" y="160"/>
                  </a:cubicBezTo>
                  <a:cubicBezTo>
                    <a:pt x="251" y="145"/>
                    <a:pt x="251" y="145"/>
                    <a:pt x="251" y="145"/>
                  </a:cubicBezTo>
                  <a:cubicBezTo>
                    <a:pt x="251" y="145"/>
                    <a:pt x="266" y="133"/>
                    <a:pt x="262" y="127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chemeClr val="tx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" name="Freeform 352">
              <a:extLst>
                <a:ext uri="{FF2B5EF4-FFF2-40B4-BE49-F238E27FC236}">
                  <a16:creationId xmlns:a16="http://schemas.microsoft.com/office/drawing/2014/main" id="{16626962-2359-796E-5236-13B5B8910138}"/>
                </a:ext>
              </a:extLst>
            </p:cNvPr>
            <p:cNvSpPr>
              <a:spLocks/>
            </p:cNvSpPr>
            <p:nvPr/>
          </p:nvSpPr>
          <p:spPr bwMode="gray">
            <a:xfrm>
              <a:off x="-2658" y="-10584"/>
              <a:ext cx="893" cy="1202"/>
            </a:xfrm>
            <a:custGeom>
              <a:avLst/>
              <a:gdLst>
                <a:gd name="T0" fmla="*/ 337 w 378"/>
                <a:gd name="T1" fmla="*/ 100 h 509"/>
                <a:gd name="T2" fmla="*/ 358 w 378"/>
                <a:gd name="T3" fmla="*/ 79 h 509"/>
                <a:gd name="T4" fmla="*/ 378 w 378"/>
                <a:gd name="T5" fmla="*/ 43 h 509"/>
                <a:gd name="T6" fmla="*/ 362 w 378"/>
                <a:gd name="T7" fmla="*/ 37 h 509"/>
                <a:gd name="T8" fmla="*/ 358 w 378"/>
                <a:gd name="T9" fmla="*/ 41 h 509"/>
                <a:gd name="T10" fmla="*/ 340 w 378"/>
                <a:gd name="T11" fmla="*/ 40 h 509"/>
                <a:gd name="T12" fmla="*/ 324 w 378"/>
                <a:gd name="T13" fmla="*/ 23 h 509"/>
                <a:gd name="T14" fmla="*/ 312 w 378"/>
                <a:gd name="T15" fmla="*/ 32 h 509"/>
                <a:gd name="T16" fmla="*/ 283 w 378"/>
                <a:gd name="T17" fmla="*/ 46 h 509"/>
                <a:gd name="T18" fmla="*/ 278 w 378"/>
                <a:gd name="T19" fmla="*/ 56 h 509"/>
                <a:gd name="T20" fmla="*/ 265 w 378"/>
                <a:gd name="T21" fmla="*/ 70 h 509"/>
                <a:gd name="T22" fmla="*/ 234 w 378"/>
                <a:gd name="T23" fmla="*/ 61 h 509"/>
                <a:gd name="T24" fmla="*/ 194 w 378"/>
                <a:gd name="T25" fmla="*/ 57 h 509"/>
                <a:gd name="T26" fmla="*/ 143 w 378"/>
                <a:gd name="T27" fmla="*/ 17 h 509"/>
                <a:gd name="T28" fmla="*/ 96 w 378"/>
                <a:gd name="T29" fmla="*/ 15 h 509"/>
                <a:gd name="T30" fmla="*/ 90 w 378"/>
                <a:gd name="T31" fmla="*/ 0 h 509"/>
                <a:gd name="T32" fmla="*/ 77 w 378"/>
                <a:gd name="T33" fmla="*/ 8 h 509"/>
                <a:gd name="T34" fmla="*/ 17 w 378"/>
                <a:gd name="T35" fmla="*/ 9 h 509"/>
                <a:gd name="T36" fmla="*/ 3 w 378"/>
                <a:gd name="T37" fmla="*/ 29 h 509"/>
                <a:gd name="T38" fmla="*/ 10 w 378"/>
                <a:gd name="T39" fmla="*/ 51 h 509"/>
                <a:gd name="T40" fmla="*/ 23 w 378"/>
                <a:gd name="T41" fmla="*/ 56 h 509"/>
                <a:gd name="T42" fmla="*/ 21 w 378"/>
                <a:gd name="T43" fmla="*/ 71 h 509"/>
                <a:gd name="T44" fmla="*/ 30 w 378"/>
                <a:gd name="T45" fmla="*/ 86 h 509"/>
                <a:gd name="T46" fmla="*/ 29 w 378"/>
                <a:gd name="T47" fmla="*/ 91 h 509"/>
                <a:gd name="T48" fmla="*/ 50 w 378"/>
                <a:gd name="T49" fmla="*/ 116 h 509"/>
                <a:gd name="T50" fmla="*/ 41 w 378"/>
                <a:gd name="T51" fmla="*/ 126 h 509"/>
                <a:gd name="T52" fmla="*/ 57 w 378"/>
                <a:gd name="T53" fmla="*/ 156 h 509"/>
                <a:gd name="T54" fmla="*/ 46 w 378"/>
                <a:gd name="T55" fmla="*/ 174 h 509"/>
                <a:gd name="T56" fmla="*/ 42 w 378"/>
                <a:gd name="T57" fmla="*/ 189 h 509"/>
                <a:gd name="T58" fmla="*/ 29 w 378"/>
                <a:gd name="T59" fmla="*/ 193 h 509"/>
                <a:gd name="T60" fmla="*/ 26 w 378"/>
                <a:gd name="T61" fmla="*/ 208 h 509"/>
                <a:gd name="T62" fmla="*/ 14 w 378"/>
                <a:gd name="T63" fmla="*/ 219 h 509"/>
                <a:gd name="T64" fmla="*/ 13 w 378"/>
                <a:gd name="T65" fmla="*/ 230 h 509"/>
                <a:gd name="T66" fmla="*/ 2 w 378"/>
                <a:gd name="T67" fmla="*/ 248 h 509"/>
                <a:gd name="T68" fmla="*/ 18 w 378"/>
                <a:gd name="T69" fmla="*/ 270 h 509"/>
                <a:gd name="T70" fmla="*/ 25 w 378"/>
                <a:gd name="T71" fmla="*/ 262 h 509"/>
                <a:gd name="T72" fmla="*/ 39 w 378"/>
                <a:gd name="T73" fmla="*/ 261 h 509"/>
                <a:gd name="T74" fmla="*/ 42 w 378"/>
                <a:gd name="T75" fmla="*/ 273 h 509"/>
                <a:gd name="T76" fmla="*/ 33 w 378"/>
                <a:gd name="T77" fmla="*/ 275 h 509"/>
                <a:gd name="T78" fmla="*/ 23 w 378"/>
                <a:gd name="T79" fmla="*/ 283 h 509"/>
                <a:gd name="T80" fmla="*/ 9 w 378"/>
                <a:gd name="T81" fmla="*/ 283 h 509"/>
                <a:gd name="T82" fmla="*/ 13 w 378"/>
                <a:gd name="T83" fmla="*/ 302 h 509"/>
                <a:gd name="T84" fmla="*/ 9 w 378"/>
                <a:gd name="T85" fmla="*/ 312 h 509"/>
                <a:gd name="T86" fmla="*/ 175 w 378"/>
                <a:gd name="T87" fmla="*/ 416 h 509"/>
                <a:gd name="T88" fmla="*/ 184 w 378"/>
                <a:gd name="T89" fmla="*/ 429 h 509"/>
                <a:gd name="T90" fmla="*/ 173 w 378"/>
                <a:gd name="T91" fmla="*/ 439 h 509"/>
                <a:gd name="T92" fmla="*/ 248 w 378"/>
                <a:gd name="T93" fmla="*/ 509 h 509"/>
                <a:gd name="T94" fmla="*/ 248 w 378"/>
                <a:gd name="T95" fmla="*/ 508 h 509"/>
                <a:gd name="T96" fmla="*/ 261 w 378"/>
                <a:gd name="T97" fmla="*/ 505 h 509"/>
                <a:gd name="T98" fmla="*/ 281 w 378"/>
                <a:gd name="T99" fmla="*/ 463 h 509"/>
                <a:gd name="T100" fmla="*/ 279 w 378"/>
                <a:gd name="T101" fmla="*/ 441 h 509"/>
                <a:gd name="T102" fmla="*/ 299 w 378"/>
                <a:gd name="T103" fmla="*/ 424 h 509"/>
                <a:gd name="T104" fmla="*/ 301 w 378"/>
                <a:gd name="T105" fmla="*/ 398 h 509"/>
                <a:gd name="T106" fmla="*/ 324 w 378"/>
                <a:gd name="T107" fmla="*/ 388 h 509"/>
                <a:gd name="T108" fmla="*/ 328 w 378"/>
                <a:gd name="T109" fmla="*/ 361 h 509"/>
                <a:gd name="T110" fmla="*/ 360 w 378"/>
                <a:gd name="T111" fmla="*/ 351 h 509"/>
                <a:gd name="T112" fmla="*/ 364 w 378"/>
                <a:gd name="T113" fmla="*/ 343 h 509"/>
                <a:gd name="T114" fmla="*/ 336 w 378"/>
                <a:gd name="T115" fmla="*/ 303 h 509"/>
                <a:gd name="T116" fmla="*/ 337 w 378"/>
                <a:gd name="T117" fmla="*/ 10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78" h="509">
                  <a:moveTo>
                    <a:pt x="337" y="100"/>
                  </a:moveTo>
                  <a:cubicBezTo>
                    <a:pt x="337" y="100"/>
                    <a:pt x="351" y="87"/>
                    <a:pt x="358" y="79"/>
                  </a:cubicBezTo>
                  <a:cubicBezTo>
                    <a:pt x="365" y="71"/>
                    <a:pt x="378" y="43"/>
                    <a:pt x="378" y="43"/>
                  </a:cubicBezTo>
                  <a:cubicBezTo>
                    <a:pt x="362" y="37"/>
                    <a:pt x="362" y="37"/>
                    <a:pt x="362" y="37"/>
                  </a:cubicBezTo>
                  <a:cubicBezTo>
                    <a:pt x="358" y="41"/>
                    <a:pt x="358" y="41"/>
                    <a:pt x="358" y="41"/>
                  </a:cubicBezTo>
                  <a:cubicBezTo>
                    <a:pt x="340" y="40"/>
                    <a:pt x="340" y="40"/>
                    <a:pt x="340" y="40"/>
                  </a:cubicBezTo>
                  <a:cubicBezTo>
                    <a:pt x="324" y="23"/>
                    <a:pt x="324" y="23"/>
                    <a:pt x="324" y="23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32"/>
                    <a:pt x="290" y="40"/>
                    <a:pt x="283" y="46"/>
                  </a:cubicBezTo>
                  <a:cubicBezTo>
                    <a:pt x="276" y="52"/>
                    <a:pt x="278" y="56"/>
                    <a:pt x="278" y="56"/>
                  </a:cubicBezTo>
                  <a:cubicBezTo>
                    <a:pt x="265" y="70"/>
                    <a:pt x="265" y="70"/>
                    <a:pt x="265" y="70"/>
                  </a:cubicBezTo>
                  <a:cubicBezTo>
                    <a:pt x="265" y="70"/>
                    <a:pt x="247" y="63"/>
                    <a:pt x="234" y="61"/>
                  </a:cubicBezTo>
                  <a:cubicBezTo>
                    <a:pt x="221" y="59"/>
                    <a:pt x="194" y="57"/>
                    <a:pt x="194" y="57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10" y="38"/>
                    <a:pt x="10" y="51"/>
                  </a:cubicBezTo>
                  <a:cubicBezTo>
                    <a:pt x="10" y="64"/>
                    <a:pt x="23" y="56"/>
                    <a:pt x="23" y="56"/>
                  </a:cubicBezTo>
                  <a:cubicBezTo>
                    <a:pt x="23" y="56"/>
                    <a:pt x="23" y="65"/>
                    <a:pt x="21" y="71"/>
                  </a:cubicBezTo>
                  <a:cubicBezTo>
                    <a:pt x="19" y="77"/>
                    <a:pt x="30" y="86"/>
                    <a:pt x="30" y="86"/>
                  </a:cubicBezTo>
                  <a:cubicBezTo>
                    <a:pt x="29" y="91"/>
                    <a:pt x="29" y="91"/>
                    <a:pt x="29" y="91"/>
                  </a:cubicBezTo>
                  <a:cubicBezTo>
                    <a:pt x="50" y="116"/>
                    <a:pt x="50" y="116"/>
                    <a:pt x="50" y="116"/>
                  </a:cubicBezTo>
                  <a:cubicBezTo>
                    <a:pt x="50" y="116"/>
                    <a:pt x="42" y="121"/>
                    <a:pt x="41" y="126"/>
                  </a:cubicBezTo>
                  <a:cubicBezTo>
                    <a:pt x="40" y="131"/>
                    <a:pt x="53" y="150"/>
                    <a:pt x="57" y="156"/>
                  </a:cubicBezTo>
                  <a:cubicBezTo>
                    <a:pt x="61" y="162"/>
                    <a:pt x="46" y="174"/>
                    <a:pt x="46" y="174"/>
                  </a:cubicBezTo>
                  <a:cubicBezTo>
                    <a:pt x="42" y="189"/>
                    <a:pt x="42" y="189"/>
                    <a:pt x="42" y="189"/>
                  </a:cubicBezTo>
                  <a:cubicBezTo>
                    <a:pt x="42" y="189"/>
                    <a:pt x="36" y="187"/>
                    <a:pt x="29" y="193"/>
                  </a:cubicBezTo>
                  <a:cubicBezTo>
                    <a:pt x="22" y="199"/>
                    <a:pt x="26" y="208"/>
                    <a:pt x="26" y="208"/>
                  </a:cubicBezTo>
                  <a:cubicBezTo>
                    <a:pt x="14" y="219"/>
                    <a:pt x="14" y="219"/>
                    <a:pt x="14" y="219"/>
                  </a:cubicBezTo>
                  <a:cubicBezTo>
                    <a:pt x="13" y="230"/>
                    <a:pt x="13" y="230"/>
                    <a:pt x="13" y="230"/>
                  </a:cubicBezTo>
                  <a:cubicBezTo>
                    <a:pt x="13" y="230"/>
                    <a:pt x="2" y="237"/>
                    <a:pt x="2" y="248"/>
                  </a:cubicBezTo>
                  <a:cubicBezTo>
                    <a:pt x="2" y="259"/>
                    <a:pt x="11" y="269"/>
                    <a:pt x="18" y="270"/>
                  </a:cubicBezTo>
                  <a:cubicBezTo>
                    <a:pt x="25" y="271"/>
                    <a:pt x="25" y="262"/>
                    <a:pt x="25" y="262"/>
                  </a:cubicBezTo>
                  <a:cubicBezTo>
                    <a:pt x="39" y="261"/>
                    <a:pt x="39" y="261"/>
                    <a:pt x="39" y="261"/>
                  </a:cubicBezTo>
                  <a:cubicBezTo>
                    <a:pt x="42" y="273"/>
                    <a:pt x="42" y="273"/>
                    <a:pt x="42" y="273"/>
                  </a:cubicBezTo>
                  <a:cubicBezTo>
                    <a:pt x="33" y="275"/>
                    <a:pt x="33" y="275"/>
                    <a:pt x="33" y="275"/>
                  </a:cubicBezTo>
                  <a:cubicBezTo>
                    <a:pt x="23" y="283"/>
                    <a:pt x="23" y="283"/>
                    <a:pt x="23" y="283"/>
                  </a:cubicBezTo>
                  <a:cubicBezTo>
                    <a:pt x="23" y="283"/>
                    <a:pt x="18" y="273"/>
                    <a:pt x="9" y="283"/>
                  </a:cubicBezTo>
                  <a:cubicBezTo>
                    <a:pt x="0" y="293"/>
                    <a:pt x="13" y="302"/>
                    <a:pt x="13" y="302"/>
                  </a:cubicBezTo>
                  <a:cubicBezTo>
                    <a:pt x="9" y="312"/>
                    <a:pt x="9" y="312"/>
                    <a:pt x="9" y="312"/>
                  </a:cubicBezTo>
                  <a:cubicBezTo>
                    <a:pt x="175" y="416"/>
                    <a:pt x="175" y="416"/>
                    <a:pt x="175" y="416"/>
                  </a:cubicBezTo>
                  <a:cubicBezTo>
                    <a:pt x="175" y="416"/>
                    <a:pt x="187" y="425"/>
                    <a:pt x="184" y="429"/>
                  </a:cubicBezTo>
                  <a:cubicBezTo>
                    <a:pt x="181" y="433"/>
                    <a:pt x="173" y="439"/>
                    <a:pt x="173" y="439"/>
                  </a:cubicBezTo>
                  <a:cubicBezTo>
                    <a:pt x="248" y="509"/>
                    <a:pt x="248" y="509"/>
                    <a:pt x="248" y="509"/>
                  </a:cubicBezTo>
                  <a:cubicBezTo>
                    <a:pt x="248" y="508"/>
                    <a:pt x="248" y="508"/>
                    <a:pt x="248" y="508"/>
                  </a:cubicBezTo>
                  <a:cubicBezTo>
                    <a:pt x="261" y="505"/>
                    <a:pt x="261" y="505"/>
                    <a:pt x="261" y="505"/>
                  </a:cubicBezTo>
                  <a:cubicBezTo>
                    <a:pt x="281" y="463"/>
                    <a:pt x="281" y="463"/>
                    <a:pt x="281" y="463"/>
                  </a:cubicBezTo>
                  <a:cubicBezTo>
                    <a:pt x="281" y="463"/>
                    <a:pt x="279" y="448"/>
                    <a:pt x="279" y="441"/>
                  </a:cubicBezTo>
                  <a:cubicBezTo>
                    <a:pt x="279" y="434"/>
                    <a:pt x="300" y="434"/>
                    <a:pt x="299" y="424"/>
                  </a:cubicBezTo>
                  <a:cubicBezTo>
                    <a:pt x="298" y="414"/>
                    <a:pt x="293" y="401"/>
                    <a:pt x="301" y="398"/>
                  </a:cubicBezTo>
                  <a:cubicBezTo>
                    <a:pt x="309" y="395"/>
                    <a:pt x="324" y="388"/>
                    <a:pt x="324" y="388"/>
                  </a:cubicBezTo>
                  <a:cubicBezTo>
                    <a:pt x="328" y="361"/>
                    <a:pt x="328" y="361"/>
                    <a:pt x="328" y="361"/>
                  </a:cubicBezTo>
                  <a:cubicBezTo>
                    <a:pt x="328" y="361"/>
                    <a:pt x="352" y="366"/>
                    <a:pt x="360" y="351"/>
                  </a:cubicBezTo>
                  <a:cubicBezTo>
                    <a:pt x="361" y="349"/>
                    <a:pt x="362" y="346"/>
                    <a:pt x="364" y="343"/>
                  </a:cubicBezTo>
                  <a:cubicBezTo>
                    <a:pt x="336" y="303"/>
                    <a:pt x="336" y="303"/>
                    <a:pt x="336" y="303"/>
                  </a:cubicBezTo>
                  <a:lnTo>
                    <a:pt x="337" y="100"/>
                  </a:ln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chemeClr val="tx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" name="Freeform 353">
              <a:extLst>
                <a:ext uri="{FF2B5EF4-FFF2-40B4-BE49-F238E27FC236}">
                  <a16:creationId xmlns:a16="http://schemas.microsoft.com/office/drawing/2014/main" id="{61A6595C-D31B-6721-4CDB-7FFCBCFE4D5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6210" y="-11870"/>
              <a:ext cx="520" cy="527"/>
            </a:xfrm>
            <a:custGeom>
              <a:avLst/>
              <a:gdLst>
                <a:gd name="T0" fmla="*/ 128 w 220"/>
                <a:gd name="T1" fmla="*/ 204 h 223"/>
                <a:gd name="T2" fmla="*/ 128 w 220"/>
                <a:gd name="T3" fmla="*/ 204 h 223"/>
                <a:gd name="T4" fmla="*/ 128 w 220"/>
                <a:gd name="T5" fmla="*/ 204 h 223"/>
                <a:gd name="T6" fmla="*/ 128 w 220"/>
                <a:gd name="T7" fmla="*/ 204 h 223"/>
                <a:gd name="T8" fmla="*/ 218 w 220"/>
                <a:gd name="T9" fmla="*/ 15 h 223"/>
                <a:gd name="T10" fmla="*/ 211 w 220"/>
                <a:gd name="T11" fmla="*/ 1 h 223"/>
                <a:gd name="T12" fmla="*/ 192 w 220"/>
                <a:gd name="T13" fmla="*/ 2 h 223"/>
                <a:gd name="T14" fmla="*/ 181 w 220"/>
                <a:gd name="T15" fmla="*/ 2 h 223"/>
                <a:gd name="T16" fmla="*/ 168 w 220"/>
                <a:gd name="T17" fmla="*/ 12 h 223"/>
                <a:gd name="T18" fmla="*/ 143 w 220"/>
                <a:gd name="T19" fmla="*/ 1 h 223"/>
                <a:gd name="T20" fmla="*/ 133 w 220"/>
                <a:gd name="T21" fmla="*/ 20 h 223"/>
                <a:gd name="T22" fmla="*/ 120 w 220"/>
                <a:gd name="T23" fmla="*/ 21 h 223"/>
                <a:gd name="T24" fmla="*/ 119 w 220"/>
                <a:gd name="T25" fmla="*/ 31 h 223"/>
                <a:gd name="T26" fmla="*/ 92 w 220"/>
                <a:gd name="T27" fmla="*/ 54 h 223"/>
                <a:gd name="T28" fmla="*/ 78 w 220"/>
                <a:gd name="T29" fmla="*/ 45 h 223"/>
                <a:gd name="T30" fmla="*/ 65 w 220"/>
                <a:gd name="T31" fmla="*/ 59 h 223"/>
                <a:gd name="T32" fmla="*/ 45 w 220"/>
                <a:gd name="T33" fmla="*/ 58 h 223"/>
                <a:gd name="T34" fmla="*/ 44 w 220"/>
                <a:gd name="T35" fmla="*/ 85 h 223"/>
                <a:gd name="T36" fmla="*/ 35 w 220"/>
                <a:gd name="T37" fmla="*/ 87 h 223"/>
                <a:gd name="T38" fmla="*/ 33 w 220"/>
                <a:gd name="T39" fmla="*/ 98 h 223"/>
                <a:gd name="T40" fmla="*/ 19 w 220"/>
                <a:gd name="T41" fmla="*/ 102 h 223"/>
                <a:gd name="T42" fmla="*/ 0 w 220"/>
                <a:gd name="T43" fmla="*/ 102 h 223"/>
                <a:gd name="T44" fmla="*/ 32 w 220"/>
                <a:gd name="T45" fmla="*/ 136 h 223"/>
                <a:gd name="T46" fmla="*/ 50 w 220"/>
                <a:gd name="T47" fmla="*/ 175 h 223"/>
                <a:gd name="T48" fmla="*/ 80 w 220"/>
                <a:gd name="T49" fmla="*/ 199 h 223"/>
                <a:gd name="T50" fmla="*/ 92 w 220"/>
                <a:gd name="T51" fmla="*/ 198 h 223"/>
                <a:gd name="T52" fmla="*/ 92 w 220"/>
                <a:gd name="T53" fmla="*/ 197 h 223"/>
                <a:gd name="T54" fmla="*/ 81 w 220"/>
                <a:gd name="T55" fmla="*/ 187 h 223"/>
                <a:gd name="T56" fmla="*/ 95 w 220"/>
                <a:gd name="T57" fmla="*/ 181 h 223"/>
                <a:gd name="T58" fmla="*/ 90 w 220"/>
                <a:gd name="T59" fmla="*/ 175 h 223"/>
                <a:gd name="T60" fmla="*/ 79 w 220"/>
                <a:gd name="T61" fmla="*/ 177 h 223"/>
                <a:gd name="T62" fmla="*/ 79 w 220"/>
                <a:gd name="T63" fmla="*/ 149 h 223"/>
                <a:gd name="T64" fmla="*/ 123 w 220"/>
                <a:gd name="T65" fmla="*/ 185 h 223"/>
                <a:gd name="T66" fmla="*/ 128 w 220"/>
                <a:gd name="T67" fmla="*/ 204 h 223"/>
                <a:gd name="T68" fmla="*/ 132 w 220"/>
                <a:gd name="T69" fmla="*/ 204 h 223"/>
                <a:gd name="T70" fmla="*/ 150 w 220"/>
                <a:gd name="T71" fmla="*/ 211 h 223"/>
                <a:gd name="T72" fmla="*/ 162 w 220"/>
                <a:gd name="T73" fmla="*/ 223 h 223"/>
                <a:gd name="T74" fmla="*/ 183 w 220"/>
                <a:gd name="T75" fmla="*/ 220 h 223"/>
                <a:gd name="T76" fmla="*/ 170 w 220"/>
                <a:gd name="T77" fmla="*/ 192 h 223"/>
                <a:gd name="T78" fmla="*/ 182 w 220"/>
                <a:gd name="T79" fmla="*/ 172 h 223"/>
                <a:gd name="T80" fmla="*/ 177 w 220"/>
                <a:gd name="T81" fmla="*/ 151 h 223"/>
                <a:gd name="T82" fmla="*/ 181 w 220"/>
                <a:gd name="T83" fmla="*/ 119 h 223"/>
                <a:gd name="T84" fmla="*/ 191 w 220"/>
                <a:gd name="T85" fmla="*/ 131 h 223"/>
                <a:gd name="T86" fmla="*/ 194 w 220"/>
                <a:gd name="T87" fmla="*/ 74 h 223"/>
                <a:gd name="T88" fmla="*/ 209 w 220"/>
                <a:gd name="T89" fmla="*/ 44 h 223"/>
                <a:gd name="T90" fmla="*/ 218 w 220"/>
                <a:gd name="T91" fmla="*/ 15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0" h="223">
                  <a:moveTo>
                    <a:pt x="128" y="204"/>
                  </a:moveTo>
                  <a:cubicBezTo>
                    <a:pt x="128" y="204"/>
                    <a:pt x="128" y="204"/>
                    <a:pt x="128" y="204"/>
                  </a:cubicBezTo>
                  <a:cubicBezTo>
                    <a:pt x="128" y="204"/>
                    <a:pt x="128" y="204"/>
                    <a:pt x="128" y="204"/>
                  </a:cubicBezTo>
                  <a:cubicBezTo>
                    <a:pt x="128" y="204"/>
                    <a:pt x="128" y="204"/>
                    <a:pt x="128" y="204"/>
                  </a:cubicBezTo>
                  <a:close/>
                  <a:moveTo>
                    <a:pt x="218" y="15"/>
                  </a:moveTo>
                  <a:cubicBezTo>
                    <a:pt x="216" y="10"/>
                    <a:pt x="210" y="5"/>
                    <a:pt x="211" y="1"/>
                  </a:cubicBezTo>
                  <a:cubicBezTo>
                    <a:pt x="192" y="2"/>
                    <a:pt x="192" y="2"/>
                    <a:pt x="192" y="2"/>
                  </a:cubicBezTo>
                  <a:cubicBezTo>
                    <a:pt x="192" y="2"/>
                    <a:pt x="185" y="2"/>
                    <a:pt x="181" y="2"/>
                  </a:cubicBezTo>
                  <a:cubicBezTo>
                    <a:pt x="177" y="2"/>
                    <a:pt x="178" y="11"/>
                    <a:pt x="168" y="12"/>
                  </a:cubicBezTo>
                  <a:cubicBezTo>
                    <a:pt x="158" y="13"/>
                    <a:pt x="152" y="2"/>
                    <a:pt x="143" y="1"/>
                  </a:cubicBezTo>
                  <a:cubicBezTo>
                    <a:pt x="134" y="0"/>
                    <a:pt x="133" y="20"/>
                    <a:pt x="133" y="20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31"/>
                    <a:pt x="119" y="31"/>
                    <a:pt x="119" y="31"/>
                  </a:cubicBezTo>
                  <a:cubicBezTo>
                    <a:pt x="119" y="31"/>
                    <a:pt x="107" y="54"/>
                    <a:pt x="92" y="54"/>
                  </a:cubicBezTo>
                  <a:cubicBezTo>
                    <a:pt x="77" y="54"/>
                    <a:pt x="86" y="46"/>
                    <a:pt x="78" y="45"/>
                  </a:cubicBezTo>
                  <a:cubicBezTo>
                    <a:pt x="70" y="44"/>
                    <a:pt x="65" y="59"/>
                    <a:pt x="65" y="59"/>
                  </a:cubicBezTo>
                  <a:cubicBezTo>
                    <a:pt x="65" y="59"/>
                    <a:pt x="60" y="58"/>
                    <a:pt x="45" y="58"/>
                  </a:cubicBezTo>
                  <a:cubicBezTo>
                    <a:pt x="30" y="58"/>
                    <a:pt x="44" y="85"/>
                    <a:pt x="44" y="85"/>
                  </a:cubicBezTo>
                  <a:cubicBezTo>
                    <a:pt x="35" y="87"/>
                    <a:pt x="35" y="87"/>
                    <a:pt x="35" y="87"/>
                  </a:cubicBezTo>
                  <a:cubicBezTo>
                    <a:pt x="35" y="87"/>
                    <a:pt x="39" y="96"/>
                    <a:pt x="33" y="98"/>
                  </a:cubicBezTo>
                  <a:cubicBezTo>
                    <a:pt x="27" y="100"/>
                    <a:pt x="19" y="102"/>
                    <a:pt x="19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32" y="136"/>
                    <a:pt x="32" y="136"/>
                    <a:pt x="32" y="136"/>
                  </a:cubicBezTo>
                  <a:cubicBezTo>
                    <a:pt x="32" y="136"/>
                    <a:pt x="40" y="167"/>
                    <a:pt x="50" y="175"/>
                  </a:cubicBezTo>
                  <a:cubicBezTo>
                    <a:pt x="59" y="182"/>
                    <a:pt x="77" y="196"/>
                    <a:pt x="80" y="199"/>
                  </a:cubicBezTo>
                  <a:cubicBezTo>
                    <a:pt x="83" y="198"/>
                    <a:pt x="89" y="197"/>
                    <a:pt x="92" y="198"/>
                  </a:cubicBezTo>
                  <a:cubicBezTo>
                    <a:pt x="92" y="197"/>
                    <a:pt x="92" y="197"/>
                    <a:pt x="92" y="197"/>
                  </a:cubicBezTo>
                  <a:cubicBezTo>
                    <a:pt x="89" y="195"/>
                    <a:pt x="78" y="191"/>
                    <a:pt x="81" y="187"/>
                  </a:cubicBezTo>
                  <a:cubicBezTo>
                    <a:pt x="84" y="183"/>
                    <a:pt x="99" y="188"/>
                    <a:pt x="95" y="181"/>
                  </a:cubicBezTo>
                  <a:cubicBezTo>
                    <a:pt x="91" y="175"/>
                    <a:pt x="90" y="175"/>
                    <a:pt x="90" y="175"/>
                  </a:cubicBezTo>
                  <a:cubicBezTo>
                    <a:pt x="90" y="175"/>
                    <a:pt x="79" y="179"/>
                    <a:pt x="79" y="177"/>
                  </a:cubicBezTo>
                  <a:cubicBezTo>
                    <a:pt x="78" y="175"/>
                    <a:pt x="72" y="147"/>
                    <a:pt x="79" y="149"/>
                  </a:cubicBezTo>
                  <a:cubicBezTo>
                    <a:pt x="86" y="151"/>
                    <a:pt x="119" y="177"/>
                    <a:pt x="123" y="185"/>
                  </a:cubicBezTo>
                  <a:cubicBezTo>
                    <a:pt x="126" y="189"/>
                    <a:pt x="127" y="197"/>
                    <a:pt x="128" y="204"/>
                  </a:cubicBezTo>
                  <a:cubicBezTo>
                    <a:pt x="129" y="204"/>
                    <a:pt x="131" y="204"/>
                    <a:pt x="132" y="204"/>
                  </a:cubicBezTo>
                  <a:cubicBezTo>
                    <a:pt x="145" y="205"/>
                    <a:pt x="150" y="211"/>
                    <a:pt x="150" y="211"/>
                  </a:cubicBezTo>
                  <a:cubicBezTo>
                    <a:pt x="150" y="211"/>
                    <a:pt x="150" y="223"/>
                    <a:pt x="162" y="223"/>
                  </a:cubicBezTo>
                  <a:cubicBezTo>
                    <a:pt x="168" y="223"/>
                    <a:pt x="176" y="222"/>
                    <a:pt x="183" y="220"/>
                  </a:cubicBezTo>
                  <a:cubicBezTo>
                    <a:pt x="180" y="218"/>
                    <a:pt x="170" y="205"/>
                    <a:pt x="170" y="192"/>
                  </a:cubicBezTo>
                  <a:cubicBezTo>
                    <a:pt x="170" y="177"/>
                    <a:pt x="182" y="181"/>
                    <a:pt x="182" y="172"/>
                  </a:cubicBezTo>
                  <a:cubicBezTo>
                    <a:pt x="182" y="163"/>
                    <a:pt x="177" y="151"/>
                    <a:pt x="177" y="151"/>
                  </a:cubicBezTo>
                  <a:cubicBezTo>
                    <a:pt x="181" y="119"/>
                    <a:pt x="181" y="119"/>
                    <a:pt x="181" y="119"/>
                  </a:cubicBezTo>
                  <a:cubicBezTo>
                    <a:pt x="191" y="131"/>
                    <a:pt x="191" y="131"/>
                    <a:pt x="191" y="131"/>
                  </a:cubicBezTo>
                  <a:cubicBezTo>
                    <a:pt x="194" y="74"/>
                    <a:pt x="194" y="74"/>
                    <a:pt x="194" y="74"/>
                  </a:cubicBezTo>
                  <a:cubicBezTo>
                    <a:pt x="194" y="74"/>
                    <a:pt x="200" y="53"/>
                    <a:pt x="209" y="44"/>
                  </a:cubicBezTo>
                  <a:cubicBezTo>
                    <a:pt x="218" y="35"/>
                    <a:pt x="220" y="20"/>
                    <a:pt x="218" y="15"/>
                  </a:cubicBez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3175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" name="Freeform 354">
              <a:extLst>
                <a:ext uri="{FF2B5EF4-FFF2-40B4-BE49-F238E27FC236}">
                  <a16:creationId xmlns:a16="http://schemas.microsoft.com/office/drawing/2014/main" id="{485E5F0D-2CED-898C-7698-52C8F6203BF6}"/>
                </a:ext>
              </a:extLst>
            </p:cNvPr>
            <p:cNvSpPr>
              <a:spLocks/>
            </p:cNvSpPr>
            <p:nvPr/>
          </p:nvSpPr>
          <p:spPr bwMode="gray">
            <a:xfrm>
              <a:off x="-16066" y="-11404"/>
              <a:ext cx="383" cy="359"/>
            </a:xfrm>
            <a:custGeom>
              <a:avLst/>
              <a:gdLst>
                <a:gd name="T0" fmla="*/ 146 w 162"/>
                <a:gd name="T1" fmla="*/ 133 h 152"/>
                <a:gd name="T2" fmla="*/ 159 w 162"/>
                <a:gd name="T3" fmla="*/ 122 h 152"/>
                <a:gd name="T4" fmla="*/ 145 w 162"/>
                <a:gd name="T5" fmla="*/ 115 h 152"/>
                <a:gd name="T6" fmla="*/ 145 w 162"/>
                <a:gd name="T7" fmla="*/ 93 h 152"/>
                <a:gd name="T8" fmla="*/ 162 w 162"/>
                <a:gd name="T9" fmla="*/ 87 h 152"/>
                <a:gd name="T10" fmla="*/ 140 w 162"/>
                <a:gd name="T11" fmla="*/ 66 h 152"/>
                <a:gd name="T12" fmla="*/ 124 w 162"/>
                <a:gd name="T13" fmla="*/ 39 h 152"/>
                <a:gd name="T14" fmla="*/ 122 w 162"/>
                <a:gd name="T15" fmla="*/ 24 h 152"/>
                <a:gd name="T16" fmla="*/ 122 w 162"/>
                <a:gd name="T17" fmla="*/ 23 h 152"/>
                <a:gd name="T18" fmla="*/ 122 w 162"/>
                <a:gd name="T19" fmla="*/ 23 h 152"/>
                <a:gd name="T20" fmla="*/ 101 w 162"/>
                <a:gd name="T21" fmla="*/ 26 h 152"/>
                <a:gd name="T22" fmla="*/ 89 w 162"/>
                <a:gd name="T23" fmla="*/ 14 h 152"/>
                <a:gd name="T24" fmla="*/ 71 w 162"/>
                <a:gd name="T25" fmla="*/ 7 h 152"/>
                <a:gd name="T26" fmla="*/ 59 w 162"/>
                <a:gd name="T27" fmla="*/ 12 h 152"/>
                <a:gd name="T28" fmla="*/ 33 w 162"/>
                <a:gd name="T29" fmla="*/ 1 h 152"/>
                <a:gd name="T30" fmla="*/ 19 w 162"/>
                <a:gd name="T31" fmla="*/ 2 h 152"/>
                <a:gd name="T32" fmla="*/ 19 w 162"/>
                <a:gd name="T33" fmla="*/ 2 h 152"/>
                <a:gd name="T34" fmla="*/ 10 w 162"/>
                <a:gd name="T35" fmla="*/ 19 h 152"/>
                <a:gd name="T36" fmla="*/ 20 w 162"/>
                <a:gd name="T37" fmla="*/ 32 h 152"/>
                <a:gd name="T38" fmla="*/ 9 w 162"/>
                <a:gd name="T39" fmla="*/ 60 h 152"/>
                <a:gd name="T40" fmla="*/ 33 w 162"/>
                <a:gd name="T41" fmla="*/ 72 h 152"/>
                <a:gd name="T42" fmla="*/ 53 w 162"/>
                <a:gd name="T43" fmla="*/ 85 h 152"/>
                <a:gd name="T44" fmla="*/ 51 w 162"/>
                <a:gd name="T45" fmla="*/ 67 h 152"/>
                <a:gd name="T46" fmla="*/ 33 w 162"/>
                <a:gd name="T47" fmla="*/ 49 h 152"/>
                <a:gd name="T48" fmla="*/ 67 w 162"/>
                <a:gd name="T49" fmla="*/ 70 h 152"/>
                <a:gd name="T50" fmla="*/ 68 w 162"/>
                <a:gd name="T51" fmla="*/ 89 h 152"/>
                <a:gd name="T52" fmla="*/ 95 w 162"/>
                <a:gd name="T53" fmla="*/ 94 h 152"/>
                <a:gd name="T54" fmla="*/ 108 w 162"/>
                <a:gd name="T55" fmla="*/ 121 h 152"/>
                <a:gd name="T56" fmla="*/ 108 w 162"/>
                <a:gd name="T57" fmla="*/ 138 h 152"/>
                <a:gd name="T58" fmla="*/ 131 w 162"/>
                <a:gd name="T59" fmla="*/ 150 h 152"/>
                <a:gd name="T60" fmla="*/ 122 w 162"/>
                <a:gd name="T61" fmla="*/ 133 h 152"/>
                <a:gd name="T62" fmla="*/ 141 w 162"/>
                <a:gd name="T63" fmla="*/ 152 h 152"/>
                <a:gd name="T64" fmla="*/ 145 w 162"/>
                <a:gd name="T65" fmla="*/ 147 h 152"/>
                <a:gd name="T66" fmla="*/ 146 w 162"/>
                <a:gd name="T67" fmla="*/ 13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2" h="152">
                  <a:moveTo>
                    <a:pt x="146" y="133"/>
                  </a:moveTo>
                  <a:cubicBezTo>
                    <a:pt x="146" y="133"/>
                    <a:pt x="159" y="127"/>
                    <a:pt x="159" y="122"/>
                  </a:cubicBezTo>
                  <a:cubicBezTo>
                    <a:pt x="159" y="117"/>
                    <a:pt x="145" y="115"/>
                    <a:pt x="145" y="115"/>
                  </a:cubicBezTo>
                  <a:cubicBezTo>
                    <a:pt x="145" y="115"/>
                    <a:pt x="135" y="96"/>
                    <a:pt x="145" y="93"/>
                  </a:cubicBezTo>
                  <a:cubicBezTo>
                    <a:pt x="151" y="91"/>
                    <a:pt x="158" y="88"/>
                    <a:pt x="162" y="87"/>
                  </a:cubicBezTo>
                  <a:cubicBezTo>
                    <a:pt x="154" y="82"/>
                    <a:pt x="143" y="75"/>
                    <a:pt x="140" y="66"/>
                  </a:cubicBezTo>
                  <a:cubicBezTo>
                    <a:pt x="136" y="53"/>
                    <a:pt x="124" y="39"/>
                    <a:pt x="124" y="39"/>
                  </a:cubicBezTo>
                  <a:cubicBezTo>
                    <a:pt x="122" y="24"/>
                    <a:pt x="122" y="24"/>
                    <a:pt x="122" y="24"/>
                  </a:cubicBezTo>
                  <a:cubicBezTo>
                    <a:pt x="122" y="24"/>
                    <a:pt x="122" y="24"/>
                    <a:pt x="122" y="23"/>
                  </a:cubicBezTo>
                  <a:cubicBezTo>
                    <a:pt x="122" y="23"/>
                    <a:pt x="122" y="23"/>
                    <a:pt x="122" y="23"/>
                  </a:cubicBezTo>
                  <a:cubicBezTo>
                    <a:pt x="115" y="25"/>
                    <a:pt x="107" y="26"/>
                    <a:pt x="101" y="26"/>
                  </a:cubicBezTo>
                  <a:cubicBezTo>
                    <a:pt x="89" y="26"/>
                    <a:pt x="89" y="14"/>
                    <a:pt x="89" y="14"/>
                  </a:cubicBezTo>
                  <a:cubicBezTo>
                    <a:pt x="89" y="14"/>
                    <a:pt x="84" y="8"/>
                    <a:pt x="71" y="7"/>
                  </a:cubicBezTo>
                  <a:cubicBezTo>
                    <a:pt x="58" y="6"/>
                    <a:pt x="59" y="12"/>
                    <a:pt x="59" y="12"/>
                  </a:cubicBezTo>
                  <a:cubicBezTo>
                    <a:pt x="59" y="12"/>
                    <a:pt x="39" y="3"/>
                    <a:pt x="33" y="1"/>
                  </a:cubicBezTo>
                  <a:cubicBezTo>
                    <a:pt x="29" y="0"/>
                    <a:pt x="23" y="1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26" y="28"/>
                    <a:pt x="20" y="32"/>
                  </a:cubicBezTo>
                  <a:cubicBezTo>
                    <a:pt x="14" y="36"/>
                    <a:pt x="0" y="46"/>
                    <a:pt x="9" y="60"/>
                  </a:cubicBezTo>
                  <a:cubicBezTo>
                    <a:pt x="18" y="74"/>
                    <a:pt x="33" y="72"/>
                    <a:pt x="33" y="72"/>
                  </a:cubicBezTo>
                  <a:cubicBezTo>
                    <a:pt x="33" y="72"/>
                    <a:pt x="50" y="92"/>
                    <a:pt x="53" y="85"/>
                  </a:cubicBezTo>
                  <a:cubicBezTo>
                    <a:pt x="56" y="78"/>
                    <a:pt x="51" y="67"/>
                    <a:pt x="51" y="67"/>
                  </a:cubicBezTo>
                  <a:cubicBezTo>
                    <a:pt x="51" y="67"/>
                    <a:pt x="24" y="49"/>
                    <a:pt x="33" y="49"/>
                  </a:cubicBezTo>
                  <a:cubicBezTo>
                    <a:pt x="42" y="49"/>
                    <a:pt x="67" y="70"/>
                    <a:pt x="67" y="70"/>
                  </a:cubicBezTo>
                  <a:cubicBezTo>
                    <a:pt x="67" y="70"/>
                    <a:pt x="64" y="89"/>
                    <a:pt x="68" y="89"/>
                  </a:cubicBezTo>
                  <a:cubicBezTo>
                    <a:pt x="72" y="89"/>
                    <a:pt x="95" y="94"/>
                    <a:pt x="95" y="94"/>
                  </a:cubicBezTo>
                  <a:cubicBezTo>
                    <a:pt x="108" y="121"/>
                    <a:pt x="108" y="121"/>
                    <a:pt x="108" y="121"/>
                  </a:cubicBezTo>
                  <a:cubicBezTo>
                    <a:pt x="108" y="121"/>
                    <a:pt x="99" y="129"/>
                    <a:pt x="108" y="138"/>
                  </a:cubicBezTo>
                  <a:cubicBezTo>
                    <a:pt x="117" y="147"/>
                    <a:pt x="131" y="150"/>
                    <a:pt x="131" y="150"/>
                  </a:cubicBezTo>
                  <a:cubicBezTo>
                    <a:pt x="122" y="133"/>
                    <a:pt x="122" y="133"/>
                    <a:pt x="122" y="133"/>
                  </a:cubicBezTo>
                  <a:cubicBezTo>
                    <a:pt x="141" y="152"/>
                    <a:pt x="141" y="152"/>
                    <a:pt x="141" y="152"/>
                  </a:cubicBezTo>
                  <a:cubicBezTo>
                    <a:pt x="145" y="147"/>
                    <a:pt x="145" y="147"/>
                    <a:pt x="145" y="147"/>
                  </a:cubicBezTo>
                  <a:lnTo>
                    <a:pt x="146" y="133"/>
                  </a:ln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" name="Freeform 355">
              <a:extLst>
                <a:ext uri="{FF2B5EF4-FFF2-40B4-BE49-F238E27FC236}">
                  <a16:creationId xmlns:a16="http://schemas.microsoft.com/office/drawing/2014/main" id="{A2E20DD3-52CF-5F44-FAA1-92D42C405890}"/>
                </a:ext>
              </a:extLst>
            </p:cNvPr>
            <p:cNvSpPr>
              <a:spLocks/>
            </p:cNvSpPr>
            <p:nvPr/>
          </p:nvSpPr>
          <p:spPr bwMode="gray">
            <a:xfrm>
              <a:off x="-4496" y="-15510"/>
              <a:ext cx="189" cy="213"/>
            </a:xfrm>
            <a:custGeom>
              <a:avLst/>
              <a:gdLst>
                <a:gd name="T0" fmla="*/ 79 w 80"/>
                <a:gd name="T1" fmla="*/ 27 h 90"/>
                <a:gd name="T2" fmla="*/ 73 w 80"/>
                <a:gd name="T3" fmla="*/ 31 h 90"/>
                <a:gd name="T4" fmla="*/ 65 w 80"/>
                <a:gd name="T5" fmla="*/ 17 h 90"/>
                <a:gd name="T6" fmla="*/ 56 w 80"/>
                <a:gd name="T7" fmla="*/ 10 h 90"/>
                <a:gd name="T8" fmla="*/ 46 w 80"/>
                <a:gd name="T9" fmla="*/ 0 h 90"/>
                <a:gd name="T10" fmla="*/ 29 w 80"/>
                <a:gd name="T11" fmla="*/ 0 h 90"/>
                <a:gd name="T12" fmla="*/ 29 w 80"/>
                <a:gd name="T13" fmla="*/ 15 h 90"/>
                <a:gd name="T14" fmla="*/ 18 w 80"/>
                <a:gd name="T15" fmla="*/ 14 h 90"/>
                <a:gd name="T16" fmla="*/ 9 w 80"/>
                <a:gd name="T17" fmla="*/ 29 h 90"/>
                <a:gd name="T18" fmla="*/ 4 w 80"/>
                <a:gd name="T19" fmla="*/ 29 h 90"/>
                <a:gd name="T20" fmla="*/ 3 w 80"/>
                <a:gd name="T21" fmla="*/ 39 h 90"/>
                <a:gd name="T22" fmla="*/ 17 w 80"/>
                <a:gd name="T23" fmla="*/ 48 h 90"/>
                <a:gd name="T24" fmla="*/ 4 w 80"/>
                <a:gd name="T25" fmla="*/ 64 h 90"/>
                <a:gd name="T26" fmla="*/ 6 w 80"/>
                <a:gd name="T27" fmla="*/ 65 h 90"/>
                <a:gd name="T28" fmla="*/ 24 w 80"/>
                <a:gd name="T29" fmla="*/ 62 h 90"/>
                <a:gd name="T30" fmla="*/ 24 w 80"/>
                <a:gd name="T31" fmla="*/ 74 h 90"/>
                <a:gd name="T32" fmla="*/ 41 w 80"/>
                <a:gd name="T33" fmla="*/ 90 h 90"/>
                <a:gd name="T34" fmla="*/ 48 w 80"/>
                <a:gd name="T35" fmla="*/ 81 h 90"/>
                <a:gd name="T36" fmla="*/ 46 w 80"/>
                <a:gd name="T37" fmla="*/ 71 h 90"/>
                <a:gd name="T38" fmla="*/ 40 w 80"/>
                <a:gd name="T39" fmla="*/ 74 h 90"/>
                <a:gd name="T40" fmla="*/ 31 w 80"/>
                <a:gd name="T41" fmla="*/ 68 h 90"/>
                <a:gd name="T42" fmla="*/ 46 w 80"/>
                <a:gd name="T43" fmla="*/ 68 h 90"/>
                <a:gd name="T44" fmla="*/ 52 w 80"/>
                <a:gd name="T45" fmla="*/ 63 h 90"/>
                <a:gd name="T46" fmla="*/ 54 w 80"/>
                <a:gd name="T47" fmla="*/ 49 h 90"/>
                <a:gd name="T48" fmla="*/ 72 w 80"/>
                <a:gd name="T49" fmla="*/ 59 h 90"/>
                <a:gd name="T50" fmla="*/ 78 w 80"/>
                <a:gd name="T51" fmla="*/ 53 h 90"/>
                <a:gd name="T52" fmla="*/ 80 w 80"/>
                <a:gd name="T53" fmla="*/ 56 h 90"/>
                <a:gd name="T54" fmla="*/ 79 w 80"/>
                <a:gd name="T55" fmla="*/ 2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90">
                  <a:moveTo>
                    <a:pt x="79" y="27"/>
                  </a:moveTo>
                  <a:cubicBezTo>
                    <a:pt x="73" y="31"/>
                    <a:pt x="73" y="31"/>
                    <a:pt x="73" y="31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9" y="2"/>
                    <a:pt x="29" y="0"/>
                    <a:pt x="29" y="0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5"/>
                    <a:pt x="21" y="10"/>
                    <a:pt x="18" y="14"/>
                  </a:cubicBezTo>
                  <a:cubicBezTo>
                    <a:pt x="15" y="18"/>
                    <a:pt x="9" y="29"/>
                    <a:pt x="9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0" y="36"/>
                    <a:pt x="3" y="39"/>
                  </a:cubicBezTo>
                  <a:cubicBezTo>
                    <a:pt x="6" y="42"/>
                    <a:pt x="17" y="48"/>
                    <a:pt x="17" y="48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5" y="65"/>
                    <a:pt x="6" y="65"/>
                    <a:pt x="6" y="65"/>
                  </a:cubicBezTo>
                  <a:cubicBezTo>
                    <a:pt x="13" y="67"/>
                    <a:pt x="24" y="62"/>
                    <a:pt x="24" y="62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80" y="56"/>
                    <a:pt x="80" y="56"/>
                    <a:pt x="80" y="56"/>
                  </a:cubicBezTo>
                  <a:lnTo>
                    <a:pt x="79" y="27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8" name="Freeform 356">
              <a:extLst>
                <a:ext uri="{FF2B5EF4-FFF2-40B4-BE49-F238E27FC236}">
                  <a16:creationId xmlns:a16="http://schemas.microsoft.com/office/drawing/2014/main" id="{5D69D611-5373-AA86-A116-D103F8FCB9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4460" y="-15848"/>
              <a:ext cx="437" cy="551"/>
            </a:xfrm>
            <a:custGeom>
              <a:avLst/>
              <a:gdLst>
                <a:gd name="T0" fmla="*/ 167 w 185"/>
                <a:gd name="T1" fmla="*/ 152 h 233"/>
                <a:gd name="T2" fmla="*/ 160 w 185"/>
                <a:gd name="T3" fmla="*/ 140 h 233"/>
                <a:gd name="T4" fmla="*/ 166 w 185"/>
                <a:gd name="T5" fmla="*/ 120 h 233"/>
                <a:gd name="T6" fmla="*/ 161 w 185"/>
                <a:gd name="T7" fmla="*/ 102 h 233"/>
                <a:gd name="T8" fmla="*/ 171 w 185"/>
                <a:gd name="T9" fmla="*/ 88 h 233"/>
                <a:gd name="T10" fmla="*/ 139 w 185"/>
                <a:gd name="T11" fmla="*/ 91 h 233"/>
                <a:gd name="T12" fmla="*/ 117 w 185"/>
                <a:gd name="T13" fmla="*/ 82 h 233"/>
                <a:gd name="T14" fmla="*/ 115 w 185"/>
                <a:gd name="T15" fmla="*/ 56 h 233"/>
                <a:gd name="T16" fmla="*/ 91 w 185"/>
                <a:gd name="T17" fmla="*/ 48 h 233"/>
                <a:gd name="T18" fmla="*/ 77 w 185"/>
                <a:gd name="T19" fmla="*/ 27 h 233"/>
                <a:gd name="T20" fmla="*/ 48 w 185"/>
                <a:gd name="T21" fmla="*/ 6 h 233"/>
                <a:gd name="T22" fmla="*/ 18 w 185"/>
                <a:gd name="T23" fmla="*/ 17 h 233"/>
                <a:gd name="T24" fmla="*/ 0 w 185"/>
                <a:gd name="T25" fmla="*/ 21 h 233"/>
                <a:gd name="T26" fmla="*/ 6 w 185"/>
                <a:gd name="T27" fmla="*/ 40 h 233"/>
                <a:gd name="T28" fmla="*/ 8 w 185"/>
                <a:gd name="T29" fmla="*/ 53 h 233"/>
                <a:gd name="T30" fmla="*/ 12 w 185"/>
                <a:gd name="T31" fmla="*/ 65 h 233"/>
                <a:gd name="T32" fmla="*/ 5 w 185"/>
                <a:gd name="T33" fmla="*/ 72 h 233"/>
                <a:gd name="T34" fmla="*/ 27 w 185"/>
                <a:gd name="T35" fmla="*/ 76 h 233"/>
                <a:gd name="T36" fmla="*/ 15 w 185"/>
                <a:gd name="T37" fmla="*/ 106 h 233"/>
                <a:gd name="T38" fmla="*/ 37 w 185"/>
                <a:gd name="T39" fmla="*/ 118 h 233"/>
                <a:gd name="T40" fmla="*/ 35 w 185"/>
                <a:gd name="T41" fmla="*/ 140 h 233"/>
                <a:gd name="T42" fmla="*/ 41 w 185"/>
                <a:gd name="T43" fmla="*/ 153 h 233"/>
                <a:gd name="T44" fmla="*/ 58 w 185"/>
                <a:gd name="T45" fmla="*/ 174 h 233"/>
                <a:gd name="T46" fmla="*/ 65 w 185"/>
                <a:gd name="T47" fmla="*/ 199 h 233"/>
                <a:gd name="T48" fmla="*/ 71 w 185"/>
                <a:gd name="T49" fmla="*/ 211 h 233"/>
                <a:gd name="T50" fmla="*/ 84 w 185"/>
                <a:gd name="T51" fmla="*/ 221 h 233"/>
                <a:gd name="T52" fmla="*/ 95 w 185"/>
                <a:gd name="T53" fmla="*/ 229 h 233"/>
                <a:gd name="T54" fmla="*/ 112 w 185"/>
                <a:gd name="T55" fmla="*/ 221 h 233"/>
                <a:gd name="T56" fmla="*/ 128 w 185"/>
                <a:gd name="T57" fmla="*/ 213 h 233"/>
                <a:gd name="T58" fmla="*/ 158 w 185"/>
                <a:gd name="T59" fmla="*/ 207 h 233"/>
                <a:gd name="T60" fmla="*/ 165 w 185"/>
                <a:gd name="T61" fmla="*/ 192 h 233"/>
                <a:gd name="T62" fmla="*/ 177 w 185"/>
                <a:gd name="T63" fmla="*/ 180 h 233"/>
                <a:gd name="T64" fmla="*/ 180 w 185"/>
                <a:gd name="T65" fmla="*/ 159 h 233"/>
                <a:gd name="T66" fmla="*/ 27 w 185"/>
                <a:gd name="T67" fmla="*/ 144 h 233"/>
                <a:gd name="T68" fmla="*/ 24 w 185"/>
                <a:gd name="T69" fmla="*/ 144 h 233"/>
                <a:gd name="T70" fmla="*/ 24 w 185"/>
                <a:gd name="T71" fmla="*/ 144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5" h="233">
                  <a:moveTo>
                    <a:pt x="180" y="159"/>
                  </a:moveTo>
                  <a:cubicBezTo>
                    <a:pt x="167" y="152"/>
                    <a:pt x="167" y="152"/>
                    <a:pt x="167" y="152"/>
                  </a:cubicBezTo>
                  <a:cubicBezTo>
                    <a:pt x="169" y="145"/>
                    <a:pt x="169" y="145"/>
                    <a:pt x="169" y="145"/>
                  </a:cubicBezTo>
                  <a:cubicBezTo>
                    <a:pt x="160" y="140"/>
                    <a:pt x="160" y="140"/>
                    <a:pt x="160" y="140"/>
                  </a:cubicBezTo>
                  <a:cubicBezTo>
                    <a:pt x="157" y="128"/>
                    <a:pt x="157" y="128"/>
                    <a:pt x="157" y="128"/>
                  </a:cubicBezTo>
                  <a:cubicBezTo>
                    <a:pt x="166" y="120"/>
                    <a:pt x="166" y="120"/>
                    <a:pt x="166" y="120"/>
                  </a:cubicBezTo>
                  <a:cubicBezTo>
                    <a:pt x="168" y="106"/>
                    <a:pt x="168" y="106"/>
                    <a:pt x="168" y="106"/>
                  </a:cubicBezTo>
                  <a:cubicBezTo>
                    <a:pt x="161" y="102"/>
                    <a:pt x="161" y="102"/>
                    <a:pt x="161" y="102"/>
                  </a:cubicBezTo>
                  <a:cubicBezTo>
                    <a:pt x="168" y="94"/>
                    <a:pt x="168" y="94"/>
                    <a:pt x="168" y="94"/>
                  </a:cubicBezTo>
                  <a:cubicBezTo>
                    <a:pt x="171" y="88"/>
                    <a:pt x="171" y="88"/>
                    <a:pt x="171" y="88"/>
                  </a:cubicBezTo>
                  <a:cubicBezTo>
                    <a:pt x="155" y="84"/>
                    <a:pt x="155" y="84"/>
                    <a:pt x="155" y="84"/>
                  </a:cubicBezTo>
                  <a:cubicBezTo>
                    <a:pt x="139" y="91"/>
                    <a:pt x="139" y="91"/>
                    <a:pt x="139" y="91"/>
                  </a:cubicBezTo>
                  <a:cubicBezTo>
                    <a:pt x="133" y="84"/>
                    <a:pt x="133" y="84"/>
                    <a:pt x="133" y="84"/>
                  </a:cubicBezTo>
                  <a:cubicBezTo>
                    <a:pt x="117" y="82"/>
                    <a:pt x="117" y="82"/>
                    <a:pt x="117" y="82"/>
                  </a:cubicBezTo>
                  <a:cubicBezTo>
                    <a:pt x="112" y="71"/>
                    <a:pt x="112" y="71"/>
                    <a:pt x="112" y="71"/>
                  </a:cubicBezTo>
                  <a:cubicBezTo>
                    <a:pt x="112" y="71"/>
                    <a:pt x="117" y="62"/>
                    <a:pt x="115" y="56"/>
                  </a:cubicBezTo>
                  <a:cubicBezTo>
                    <a:pt x="113" y="50"/>
                    <a:pt x="101" y="49"/>
                    <a:pt x="99" y="54"/>
                  </a:cubicBezTo>
                  <a:cubicBezTo>
                    <a:pt x="97" y="59"/>
                    <a:pt x="91" y="48"/>
                    <a:pt x="91" y="48"/>
                  </a:cubicBezTo>
                  <a:cubicBezTo>
                    <a:pt x="83" y="25"/>
                    <a:pt x="83" y="25"/>
                    <a:pt x="83" y="25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33" y="0"/>
                    <a:pt x="30" y="6"/>
                  </a:cubicBezTo>
                  <a:cubicBezTo>
                    <a:pt x="27" y="12"/>
                    <a:pt x="18" y="17"/>
                    <a:pt x="18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24" y="56"/>
                    <a:pt x="25" y="59"/>
                  </a:cubicBezTo>
                  <a:cubicBezTo>
                    <a:pt x="26" y="62"/>
                    <a:pt x="12" y="65"/>
                    <a:pt x="12" y="65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7"/>
                    <a:pt x="27" y="71"/>
                    <a:pt x="27" y="76"/>
                  </a:cubicBezTo>
                  <a:cubicBezTo>
                    <a:pt x="27" y="81"/>
                    <a:pt x="15" y="95"/>
                    <a:pt x="15" y="95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9" y="103"/>
                    <a:pt x="26" y="105"/>
                  </a:cubicBezTo>
                  <a:cubicBezTo>
                    <a:pt x="33" y="107"/>
                    <a:pt x="37" y="118"/>
                    <a:pt x="37" y="118"/>
                  </a:cubicBezTo>
                  <a:cubicBezTo>
                    <a:pt x="23" y="120"/>
                    <a:pt x="23" y="120"/>
                    <a:pt x="23" y="120"/>
                  </a:cubicBezTo>
                  <a:cubicBezTo>
                    <a:pt x="23" y="120"/>
                    <a:pt x="37" y="133"/>
                    <a:pt x="35" y="140"/>
                  </a:cubicBezTo>
                  <a:cubicBezTo>
                    <a:pt x="34" y="142"/>
                    <a:pt x="33" y="143"/>
                    <a:pt x="31" y="143"/>
                  </a:cubicBezTo>
                  <a:cubicBezTo>
                    <a:pt x="41" y="153"/>
                    <a:pt x="41" y="153"/>
                    <a:pt x="41" y="153"/>
                  </a:cubicBezTo>
                  <a:cubicBezTo>
                    <a:pt x="50" y="160"/>
                    <a:pt x="50" y="160"/>
                    <a:pt x="50" y="160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64" y="170"/>
                    <a:pt x="64" y="170"/>
                    <a:pt x="64" y="170"/>
                  </a:cubicBezTo>
                  <a:cubicBezTo>
                    <a:pt x="65" y="199"/>
                    <a:pt x="65" y="199"/>
                    <a:pt x="65" y="199"/>
                  </a:cubicBezTo>
                  <a:cubicBezTo>
                    <a:pt x="63" y="196"/>
                    <a:pt x="63" y="196"/>
                    <a:pt x="63" y="196"/>
                  </a:cubicBezTo>
                  <a:cubicBezTo>
                    <a:pt x="71" y="211"/>
                    <a:pt x="71" y="211"/>
                    <a:pt x="71" y="211"/>
                  </a:cubicBezTo>
                  <a:cubicBezTo>
                    <a:pt x="80" y="211"/>
                    <a:pt x="80" y="211"/>
                    <a:pt x="80" y="211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4" y="233"/>
                    <a:pt x="84" y="233"/>
                    <a:pt x="84" y="233"/>
                  </a:cubicBezTo>
                  <a:cubicBezTo>
                    <a:pt x="95" y="229"/>
                    <a:pt x="95" y="229"/>
                    <a:pt x="95" y="229"/>
                  </a:cubicBezTo>
                  <a:cubicBezTo>
                    <a:pt x="100" y="221"/>
                    <a:pt x="100" y="221"/>
                    <a:pt x="100" y="221"/>
                  </a:cubicBezTo>
                  <a:cubicBezTo>
                    <a:pt x="100" y="221"/>
                    <a:pt x="105" y="221"/>
                    <a:pt x="112" y="221"/>
                  </a:cubicBezTo>
                  <a:cubicBezTo>
                    <a:pt x="119" y="221"/>
                    <a:pt x="115" y="213"/>
                    <a:pt x="115" y="213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32" y="209"/>
                    <a:pt x="132" y="209"/>
                    <a:pt x="132" y="209"/>
                  </a:cubicBezTo>
                  <a:cubicBezTo>
                    <a:pt x="158" y="207"/>
                    <a:pt x="158" y="207"/>
                    <a:pt x="158" y="207"/>
                  </a:cubicBezTo>
                  <a:cubicBezTo>
                    <a:pt x="158" y="207"/>
                    <a:pt x="166" y="206"/>
                    <a:pt x="167" y="203"/>
                  </a:cubicBezTo>
                  <a:cubicBezTo>
                    <a:pt x="168" y="200"/>
                    <a:pt x="165" y="192"/>
                    <a:pt x="165" y="192"/>
                  </a:cubicBezTo>
                  <a:cubicBezTo>
                    <a:pt x="165" y="192"/>
                    <a:pt x="162" y="185"/>
                    <a:pt x="164" y="181"/>
                  </a:cubicBezTo>
                  <a:cubicBezTo>
                    <a:pt x="166" y="177"/>
                    <a:pt x="177" y="180"/>
                    <a:pt x="177" y="180"/>
                  </a:cubicBezTo>
                  <a:cubicBezTo>
                    <a:pt x="177" y="180"/>
                    <a:pt x="181" y="173"/>
                    <a:pt x="183" y="169"/>
                  </a:cubicBezTo>
                  <a:cubicBezTo>
                    <a:pt x="185" y="165"/>
                    <a:pt x="180" y="159"/>
                    <a:pt x="180" y="159"/>
                  </a:cubicBezTo>
                  <a:close/>
                  <a:moveTo>
                    <a:pt x="24" y="144"/>
                  </a:moveTo>
                  <a:cubicBezTo>
                    <a:pt x="25" y="144"/>
                    <a:pt x="26" y="144"/>
                    <a:pt x="27" y="144"/>
                  </a:cubicBezTo>
                  <a:cubicBezTo>
                    <a:pt x="26" y="144"/>
                    <a:pt x="25" y="144"/>
                    <a:pt x="24" y="144"/>
                  </a:cubicBezTo>
                  <a:close/>
                  <a:moveTo>
                    <a:pt x="24" y="144"/>
                  </a:moveTo>
                  <a:cubicBezTo>
                    <a:pt x="22" y="144"/>
                    <a:pt x="19" y="144"/>
                    <a:pt x="18" y="143"/>
                  </a:cubicBezTo>
                  <a:cubicBezTo>
                    <a:pt x="19" y="144"/>
                    <a:pt x="22" y="144"/>
                    <a:pt x="24" y="144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" name="Freeform 357">
              <a:extLst>
                <a:ext uri="{FF2B5EF4-FFF2-40B4-BE49-F238E27FC236}">
                  <a16:creationId xmlns:a16="http://schemas.microsoft.com/office/drawing/2014/main" id="{44A28F8C-AF06-D8E2-5336-259A4D285E8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22397" y="-18756"/>
              <a:ext cx="4840" cy="2093"/>
            </a:xfrm>
            <a:custGeom>
              <a:avLst/>
              <a:gdLst>
                <a:gd name="T0" fmla="*/ 1650 w 2049"/>
                <a:gd name="T1" fmla="*/ 628 h 886"/>
                <a:gd name="T2" fmla="*/ 1600 w 2049"/>
                <a:gd name="T3" fmla="*/ 619 h 886"/>
                <a:gd name="T4" fmla="*/ 1594 w 2049"/>
                <a:gd name="T5" fmla="*/ 717 h 886"/>
                <a:gd name="T6" fmla="*/ 1594 w 2049"/>
                <a:gd name="T7" fmla="*/ 777 h 886"/>
                <a:gd name="T8" fmla="*/ 1677 w 2049"/>
                <a:gd name="T9" fmla="*/ 696 h 886"/>
                <a:gd name="T10" fmla="*/ 1691 w 2049"/>
                <a:gd name="T11" fmla="*/ 558 h 886"/>
                <a:gd name="T12" fmla="*/ 1597 w 2049"/>
                <a:gd name="T13" fmla="*/ 572 h 886"/>
                <a:gd name="T14" fmla="*/ 1561 w 2049"/>
                <a:gd name="T15" fmla="*/ 513 h 886"/>
                <a:gd name="T16" fmla="*/ 2008 w 2049"/>
                <a:gd name="T17" fmla="*/ 53 h 886"/>
                <a:gd name="T18" fmla="*/ 1735 w 2049"/>
                <a:gd name="T19" fmla="*/ 24 h 886"/>
                <a:gd name="T20" fmla="*/ 1622 w 2049"/>
                <a:gd name="T21" fmla="*/ 0 h 886"/>
                <a:gd name="T22" fmla="*/ 1141 w 2049"/>
                <a:gd name="T23" fmla="*/ 107 h 886"/>
                <a:gd name="T24" fmla="*/ 1138 w 2049"/>
                <a:gd name="T25" fmla="*/ 211 h 886"/>
                <a:gd name="T26" fmla="*/ 1051 w 2049"/>
                <a:gd name="T27" fmla="*/ 238 h 886"/>
                <a:gd name="T28" fmla="*/ 837 w 2049"/>
                <a:gd name="T29" fmla="*/ 261 h 886"/>
                <a:gd name="T30" fmla="*/ 939 w 2049"/>
                <a:gd name="T31" fmla="*/ 316 h 886"/>
                <a:gd name="T32" fmla="*/ 1037 w 2049"/>
                <a:gd name="T33" fmla="*/ 311 h 886"/>
                <a:gd name="T34" fmla="*/ 898 w 2049"/>
                <a:gd name="T35" fmla="*/ 357 h 886"/>
                <a:gd name="T36" fmla="*/ 745 w 2049"/>
                <a:gd name="T37" fmla="*/ 404 h 886"/>
                <a:gd name="T38" fmla="*/ 643 w 2049"/>
                <a:gd name="T39" fmla="*/ 462 h 886"/>
                <a:gd name="T40" fmla="*/ 689 w 2049"/>
                <a:gd name="T41" fmla="*/ 491 h 886"/>
                <a:gd name="T42" fmla="*/ 619 w 2049"/>
                <a:gd name="T43" fmla="*/ 510 h 886"/>
                <a:gd name="T44" fmla="*/ 678 w 2049"/>
                <a:gd name="T45" fmla="*/ 554 h 886"/>
                <a:gd name="T46" fmla="*/ 694 w 2049"/>
                <a:gd name="T47" fmla="*/ 576 h 886"/>
                <a:gd name="T48" fmla="*/ 785 w 2049"/>
                <a:gd name="T49" fmla="*/ 580 h 886"/>
                <a:gd name="T50" fmla="*/ 815 w 2049"/>
                <a:gd name="T51" fmla="*/ 598 h 886"/>
                <a:gd name="T52" fmla="*/ 697 w 2049"/>
                <a:gd name="T53" fmla="*/ 654 h 886"/>
                <a:gd name="T54" fmla="*/ 491 w 2049"/>
                <a:gd name="T55" fmla="*/ 747 h 886"/>
                <a:gd name="T56" fmla="*/ 385 w 2049"/>
                <a:gd name="T57" fmla="*/ 763 h 886"/>
                <a:gd name="T58" fmla="*/ 373 w 2049"/>
                <a:gd name="T59" fmla="*/ 783 h 886"/>
                <a:gd name="T60" fmla="*/ 514 w 2049"/>
                <a:gd name="T61" fmla="*/ 746 h 886"/>
                <a:gd name="T62" fmla="*/ 653 w 2049"/>
                <a:gd name="T63" fmla="*/ 697 h 886"/>
                <a:gd name="T64" fmla="*/ 841 w 2049"/>
                <a:gd name="T65" fmla="*/ 628 h 886"/>
                <a:gd name="T66" fmla="*/ 1015 w 2049"/>
                <a:gd name="T67" fmla="*/ 545 h 886"/>
                <a:gd name="T68" fmla="*/ 1234 w 2049"/>
                <a:gd name="T69" fmla="*/ 485 h 886"/>
                <a:gd name="T70" fmla="*/ 1075 w 2049"/>
                <a:gd name="T71" fmla="*/ 536 h 886"/>
                <a:gd name="T72" fmla="*/ 1211 w 2049"/>
                <a:gd name="T73" fmla="*/ 530 h 886"/>
                <a:gd name="T74" fmla="*/ 1336 w 2049"/>
                <a:gd name="T75" fmla="*/ 492 h 886"/>
                <a:gd name="T76" fmla="*/ 1472 w 2049"/>
                <a:gd name="T77" fmla="*/ 532 h 886"/>
                <a:gd name="T78" fmla="*/ 1541 w 2049"/>
                <a:gd name="T79" fmla="*/ 573 h 886"/>
                <a:gd name="T80" fmla="*/ 1630 w 2049"/>
                <a:gd name="T81" fmla="*/ 585 h 886"/>
                <a:gd name="T82" fmla="*/ 1679 w 2049"/>
                <a:gd name="T83" fmla="*/ 607 h 886"/>
                <a:gd name="T84" fmla="*/ 1636 w 2049"/>
                <a:gd name="T85" fmla="*/ 670 h 886"/>
                <a:gd name="T86" fmla="*/ 1660 w 2049"/>
                <a:gd name="T87" fmla="*/ 733 h 886"/>
                <a:gd name="T88" fmla="*/ 1623 w 2049"/>
                <a:gd name="T89" fmla="*/ 785 h 886"/>
                <a:gd name="T90" fmla="*/ 1707 w 2049"/>
                <a:gd name="T91" fmla="*/ 721 h 886"/>
                <a:gd name="T92" fmla="*/ 1598 w 2049"/>
                <a:gd name="T93" fmla="*/ 704 h 886"/>
                <a:gd name="T94" fmla="*/ 1546 w 2049"/>
                <a:gd name="T95" fmla="*/ 720 h 886"/>
                <a:gd name="T96" fmla="*/ 510 w 2049"/>
                <a:gd name="T97" fmla="*/ 517 h 886"/>
                <a:gd name="T98" fmla="*/ 76 w 2049"/>
                <a:gd name="T99" fmla="*/ 849 h 886"/>
                <a:gd name="T100" fmla="*/ 859 w 2049"/>
                <a:gd name="T101" fmla="*/ 663 h 886"/>
                <a:gd name="T102" fmla="*/ 881 w 2049"/>
                <a:gd name="T103" fmla="*/ 664 h 886"/>
                <a:gd name="T104" fmla="*/ 908 w 2049"/>
                <a:gd name="T105" fmla="*/ 635 h 886"/>
                <a:gd name="T106" fmla="*/ 1646 w 2049"/>
                <a:gd name="T107" fmla="*/ 762 h 886"/>
                <a:gd name="T108" fmla="*/ 923 w 2049"/>
                <a:gd name="T109" fmla="*/ 630 h 886"/>
                <a:gd name="T110" fmla="*/ 290 w 2049"/>
                <a:gd name="T111" fmla="*/ 788 h 886"/>
                <a:gd name="T112" fmla="*/ 221 w 2049"/>
                <a:gd name="T113" fmla="*/ 814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49" h="886">
                  <a:moveTo>
                    <a:pt x="1636" y="622"/>
                  </a:moveTo>
                  <a:cubicBezTo>
                    <a:pt x="1628" y="629"/>
                    <a:pt x="1614" y="645"/>
                    <a:pt x="1614" y="645"/>
                  </a:cubicBezTo>
                  <a:cubicBezTo>
                    <a:pt x="1602" y="669"/>
                    <a:pt x="1602" y="669"/>
                    <a:pt x="1602" y="669"/>
                  </a:cubicBezTo>
                  <a:cubicBezTo>
                    <a:pt x="1602" y="669"/>
                    <a:pt x="1623" y="665"/>
                    <a:pt x="1633" y="656"/>
                  </a:cubicBezTo>
                  <a:cubicBezTo>
                    <a:pt x="1643" y="647"/>
                    <a:pt x="1640" y="638"/>
                    <a:pt x="1640" y="638"/>
                  </a:cubicBezTo>
                  <a:cubicBezTo>
                    <a:pt x="1650" y="628"/>
                    <a:pt x="1650" y="628"/>
                    <a:pt x="1650" y="628"/>
                  </a:cubicBezTo>
                  <a:cubicBezTo>
                    <a:pt x="1650" y="628"/>
                    <a:pt x="1644" y="615"/>
                    <a:pt x="1636" y="622"/>
                  </a:cubicBezTo>
                  <a:close/>
                  <a:moveTo>
                    <a:pt x="1600" y="619"/>
                  </a:moveTo>
                  <a:cubicBezTo>
                    <a:pt x="1600" y="619"/>
                    <a:pt x="1575" y="626"/>
                    <a:pt x="1576" y="633"/>
                  </a:cubicBezTo>
                  <a:cubicBezTo>
                    <a:pt x="1577" y="640"/>
                    <a:pt x="1586" y="650"/>
                    <a:pt x="1586" y="650"/>
                  </a:cubicBezTo>
                  <a:cubicBezTo>
                    <a:pt x="1597" y="654"/>
                    <a:pt x="1614" y="646"/>
                    <a:pt x="1614" y="636"/>
                  </a:cubicBezTo>
                  <a:cubicBezTo>
                    <a:pt x="1614" y="626"/>
                    <a:pt x="1600" y="619"/>
                    <a:pt x="1600" y="619"/>
                  </a:cubicBezTo>
                  <a:close/>
                  <a:moveTo>
                    <a:pt x="1544" y="792"/>
                  </a:moveTo>
                  <a:cubicBezTo>
                    <a:pt x="1553" y="793"/>
                    <a:pt x="1553" y="793"/>
                    <a:pt x="1553" y="793"/>
                  </a:cubicBezTo>
                  <a:cubicBezTo>
                    <a:pt x="1559" y="768"/>
                    <a:pt x="1559" y="768"/>
                    <a:pt x="1559" y="768"/>
                  </a:cubicBezTo>
                  <a:cubicBezTo>
                    <a:pt x="1548" y="773"/>
                    <a:pt x="1548" y="773"/>
                    <a:pt x="1548" y="773"/>
                  </a:cubicBezTo>
                  <a:lnTo>
                    <a:pt x="1544" y="792"/>
                  </a:lnTo>
                  <a:close/>
                  <a:moveTo>
                    <a:pt x="1594" y="717"/>
                  </a:moveTo>
                  <a:cubicBezTo>
                    <a:pt x="1581" y="726"/>
                    <a:pt x="1581" y="726"/>
                    <a:pt x="1581" y="726"/>
                  </a:cubicBezTo>
                  <a:cubicBezTo>
                    <a:pt x="1581" y="726"/>
                    <a:pt x="1587" y="732"/>
                    <a:pt x="1591" y="733"/>
                  </a:cubicBezTo>
                  <a:cubicBezTo>
                    <a:pt x="1595" y="734"/>
                    <a:pt x="1577" y="743"/>
                    <a:pt x="1573" y="745"/>
                  </a:cubicBezTo>
                  <a:cubicBezTo>
                    <a:pt x="1569" y="747"/>
                    <a:pt x="1563" y="758"/>
                    <a:pt x="1568" y="767"/>
                  </a:cubicBezTo>
                  <a:cubicBezTo>
                    <a:pt x="1573" y="776"/>
                    <a:pt x="1572" y="794"/>
                    <a:pt x="1572" y="794"/>
                  </a:cubicBezTo>
                  <a:cubicBezTo>
                    <a:pt x="1572" y="794"/>
                    <a:pt x="1586" y="786"/>
                    <a:pt x="1594" y="777"/>
                  </a:cubicBezTo>
                  <a:cubicBezTo>
                    <a:pt x="1602" y="768"/>
                    <a:pt x="1590" y="756"/>
                    <a:pt x="1590" y="756"/>
                  </a:cubicBezTo>
                  <a:cubicBezTo>
                    <a:pt x="1590" y="756"/>
                    <a:pt x="1600" y="755"/>
                    <a:pt x="1609" y="745"/>
                  </a:cubicBezTo>
                  <a:cubicBezTo>
                    <a:pt x="1618" y="735"/>
                    <a:pt x="1594" y="717"/>
                    <a:pt x="1594" y="717"/>
                  </a:cubicBezTo>
                  <a:close/>
                  <a:moveTo>
                    <a:pt x="1707" y="721"/>
                  </a:moveTo>
                  <a:cubicBezTo>
                    <a:pt x="1707" y="721"/>
                    <a:pt x="1700" y="719"/>
                    <a:pt x="1700" y="714"/>
                  </a:cubicBezTo>
                  <a:cubicBezTo>
                    <a:pt x="1700" y="710"/>
                    <a:pt x="1672" y="709"/>
                    <a:pt x="1677" y="696"/>
                  </a:cubicBezTo>
                  <a:cubicBezTo>
                    <a:pt x="1682" y="683"/>
                    <a:pt x="1688" y="666"/>
                    <a:pt x="1688" y="666"/>
                  </a:cubicBezTo>
                  <a:cubicBezTo>
                    <a:pt x="1688" y="642"/>
                    <a:pt x="1688" y="642"/>
                    <a:pt x="1688" y="642"/>
                  </a:cubicBezTo>
                  <a:cubicBezTo>
                    <a:pt x="1688" y="642"/>
                    <a:pt x="1705" y="623"/>
                    <a:pt x="1698" y="606"/>
                  </a:cubicBezTo>
                  <a:cubicBezTo>
                    <a:pt x="1692" y="588"/>
                    <a:pt x="1685" y="586"/>
                    <a:pt x="1685" y="586"/>
                  </a:cubicBezTo>
                  <a:cubicBezTo>
                    <a:pt x="1691" y="575"/>
                    <a:pt x="1691" y="575"/>
                    <a:pt x="1691" y="575"/>
                  </a:cubicBezTo>
                  <a:cubicBezTo>
                    <a:pt x="1691" y="558"/>
                    <a:pt x="1691" y="558"/>
                    <a:pt x="1691" y="558"/>
                  </a:cubicBezTo>
                  <a:cubicBezTo>
                    <a:pt x="1691" y="558"/>
                    <a:pt x="1718" y="548"/>
                    <a:pt x="1699" y="542"/>
                  </a:cubicBezTo>
                  <a:cubicBezTo>
                    <a:pt x="1681" y="537"/>
                    <a:pt x="1653" y="547"/>
                    <a:pt x="1653" y="547"/>
                  </a:cubicBezTo>
                  <a:cubicBezTo>
                    <a:pt x="1651" y="555"/>
                    <a:pt x="1651" y="555"/>
                    <a:pt x="1651" y="555"/>
                  </a:cubicBezTo>
                  <a:cubicBezTo>
                    <a:pt x="1639" y="555"/>
                    <a:pt x="1639" y="555"/>
                    <a:pt x="1639" y="555"/>
                  </a:cubicBezTo>
                  <a:cubicBezTo>
                    <a:pt x="1639" y="555"/>
                    <a:pt x="1633" y="565"/>
                    <a:pt x="1625" y="565"/>
                  </a:cubicBezTo>
                  <a:cubicBezTo>
                    <a:pt x="1618" y="565"/>
                    <a:pt x="1597" y="572"/>
                    <a:pt x="1597" y="572"/>
                  </a:cubicBezTo>
                  <a:cubicBezTo>
                    <a:pt x="1597" y="572"/>
                    <a:pt x="1581" y="585"/>
                    <a:pt x="1575" y="585"/>
                  </a:cubicBezTo>
                  <a:cubicBezTo>
                    <a:pt x="1570" y="585"/>
                    <a:pt x="1589" y="566"/>
                    <a:pt x="1589" y="566"/>
                  </a:cubicBezTo>
                  <a:cubicBezTo>
                    <a:pt x="1589" y="566"/>
                    <a:pt x="1570" y="558"/>
                    <a:pt x="1570" y="547"/>
                  </a:cubicBezTo>
                  <a:cubicBezTo>
                    <a:pt x="1570" y="537"/>
                    <a:pt x="1570" y="528"/>
                    <a:pt x="1570" y="528"/>
                  </a:cubicBezTo>
                  <a:cubicBezTo>
                    <a:pt x="1585" y="513"/>
                    <a:pt x="1585" y="513"/>
                    <a:pt x="1585" y="513"/>
                  </a:cubicBezTo>
                  <a:cubicBezTo>
                    <a:pt x="1561" y="513"/>
                    <a:pt x="1561" y="513"/>
                    <a:pt x="1561" y="513"/>
                  </a:cubicBezTo>
                  <a:cubicBezTo>
                    <a:pt x="1561" y="513"/>
                    <a:pt x="1552" y="518"/>
                    <a:pt x="1549" y="518"/>
                  </a:cubicBezTo>
                  <a:cubicBezTo>
                    <a:pt x="1549" y="518"/>
                    <a:pt x="1520" y="524"/>
                    <a:pt x="1514" y="518"/>
                  </a:cubicBezTo>
                  <a:cubicBezTo>
                    <a:pt x="1508" y="512"/>
                    <a:pt x="1534" y="498"/>
                    <a:pt x="1534" y="498"/>
                  </a:cubicBezTo>
                  <a:cubicBezTo>
                    <a:pt x="2049" y="74"/>
                    <a:pt x="2049" y="74"/>
                    <a:pt x="2049" y="74"/>
                  </a:cubicBezTo>
                  <a:cubicBezTo>
                    <a:pt x="2037" y="74"/>
                    <a:pt x="2037" y="74"/>
                    <a:pt x="2037" y="74"/>
                  </a:cubicBezTo>
                  <a:cubicBezTo>
                    <a:pt x="2037" y="74"/>
                    <a:pt x="2034" y="51"/>
                    <a:pt x="2008" y="53"/>
                  </a:cubicBezTo>
                  <a:cubicBezTo>
                    <a:pt x="1982" y="55"/>
                    <a:pt x="1951" y="64"/>
                    <a:pt x="1947" y="64"/>
                  </a:cubicBezTo>
                  <a:cubicBezTo>
                    <a:pt x="1943" y="64"/>
                    <a:pt x="1916" y="50"/>
                    <a:pt x="1912" y="48"/>
                  </a:cubicBezTo>
                  <a:cubicBezTo>
                    <a:pt x="1908" y="46"/>
                    <a:pt x="1858" y="47"/>
                    <a:pt x="1858" y="47"/>
                  </a:cubicBezTo>
                  <a:cubicBezTo>
                    <a:pt x="1858" y="47"/>
                    <a:pt x="1842" y="39"/>
                    <a:pt x="1824" y="37"/>
                  </a:cubicBezTo>
                  <a:cubicBezTo>
                    <a:pt x="1806" y="35"/>
                    <a:pt x="1735" y="38"/>
                    <a:pt x="1732" y="38"/>
                  </a:cubicBezTo>
                  <a:cubicBezTo>
                    <a:pt x="1729" y="38"/>
                    <a:pt x="1735" y="24"/>
                    <a:pt x="1735" y="24"/>
                  </a:cubicBezTo>
                  <a:cubicBezTo>
                    <a:pt x="1735" y="24"/>
                    <a:pt x="1699" y="19"/>
                    <a:pt x="1694" y="18"/>
                  </a:cubicBezTo>
                  <a:cubicBezTo>
                    <a:pt x="1689" y="17"/>
                    <a:pt x="1656" y="24"/>
                    <a:pt x="1656" y="24"/>
                  </a:cubicBezTo>
                  <a:cubicBezTo>
                    <a:pt x="1676" y="2"/>
                    <a:pt x="1676" y="2"/>
                    <a:pt x="1676" y="2"/>
                  </a:cubicBezTo>
                  <a:cubicBezTo>
                    <a:pt x="1621" y="24"/>
                    <a:pt x="1621" y="24"/>
                    <a:pt x="1621" y="24"/>
                  </a:cubicBezTo>
                  <a:cubicBezTo>
                    <a:pt x="1642" y="2"/>
                    <a:pt x="1642" y="2"/>
                    <a:pt x="1642" y="2"/>
                  </a:cubicBezTo>
                  <a:cubicBezTo>
                    <a:pt x="1622" y="0"/>
                    <a:pt x="1622" y="0"/>
                    <a:pt x="1622" y="0"/>
                  </a:cubicBezTo>
                  <a:cubicBezTo>
                    <a:pt x="1622" y="0"/>
                    <a:pt x="1591" y="22"/>
                    <a:pt x="1561" y="22"/>
                  </a:cubicBezTo>
                  <a:cubicBezTo>
                    <a:pt x="1531" y="22"/>
                    <a:pt x="1485" y="16"/>
                    <a:pt x="1477" y="24"/>
                  </a:cubicBezTo>
                  <a:cubicBezTo>
                    <a:pt x="1469" y="32"/>
                    <a:pt x="1439" y="39"/>
                    <a:pt x="1439" y="39"/>
                  </a:cubicBezTo>
                  <a:cubicBezTo>
                    <a:pt x="1439" y="39"/>
                    <a:pt x="1390" y="39"/>
                    <a:pt x="1364" y="42"/>
                  </a:cubicBezTo>
                  <a:cubicBezTo>
                    <a:pt x="1338" y="45"/>
                    <a:pt x="1277" y="91"/>
                    <a:pt x="1235" y="97"/>
                  </a:cubicBezTo>
                  <a:cubicBezTo>
                    <a:pt x="1193" y="103"/>
                    <a:pt x="1141" y="107"/>
                    <a:pt x="1141" y="107"/>
                  </a:cubicBezTo>
                  <a:cubicBezTo>
                    <a:pt x="1141" y="107"/>
                    <a:pt x="1078" y="128"/>
                    <a:pt x="1081" y="133"/>
                  </a:cubicBezTo>
                  <a:cubicBezTo>
                    <a:pt x="1084" y="138"/>
                    <a:pt x="1105" y="149"/>
                    <a:pt x="1105" y="149"/>
                  </a:cubicBezTo>
                  <a:cubicBezTo>
                    <a:pt x="1105" y="149"/>
                    <a:pt x="1118" y="172"/>
                    <a:pt x="1112" y="175"/>
                  </a:cubicBezTo>
                  <a:cubicBezTo>
                    <a:pt x="1106" y="178"/>
                    <a:pt x="1097" y="187"/>
                    <a:pt x="1097" y="187"/>
                  </a:cubicBezTo>
                  <a:cubicBezTo>
                    <a:pt x="1157" y="188"/>
                    <a:pt x="1157" y="188"/>
                    <a:pt x="1157" y="188"/>
                  </a:cubicBezTo>
                  <a:cubicBezTo>
                    <a:pt x="1138" y="211"/>
                    <a:pt x="1138" y="211"/>
                    <a:pt x="1138" y="211"/>
                  </a:cubicBezTo>
                  <a:cubicBezTo>
                    <a:pt x="1182" y="213"/>
                    <a:pt x="1182" y="213"/>
                    <a:pt x="1182" y="213"/>
                  </a:cubicBezTo>
                  <a:cubicBezTo>
                    <a:pt x="1175" y="225"/>
                    <a:pt x="1175" y="225"/>
                    <a:pt x="1175" y="225"/>
                  </a:cubicBezTo>
                  <a:cubicBezTo>
                    <a:pt x="1139" y="224"/>
                    <a:pt x="1139" y="224"/>
                    <a:pt x="1139" y="224"/>
                  </a:cubicBezTo>
                  <a:cubicBezTo>
                    <a:pt x="1132" y="232"/>
                    <a:pt x="1132" y="232"/>
                    <a:pt x="1132" y="232"/>
                  </a:cubicBezTo>
                  <a:cubicBezTo>
                    <a:pt x="1110" y="232"/>
                    <a:pt x="1110" y="232"/>
                    <a:pt x="1110" y="232"/>
                  </a:cubicBezTo>
                  <a:cubicBezTo>
                    <a:pt x="1110" y="232"/>
                    <a:pt x="1076" y="238"/>
                    <a:pt x="1051" y="238"/>
                  </a:cubicBezTo>
                  <a:cubicBezTo>
                    <a:pt x="1026" y="238"/>
                    <a:pt x="1031" y="228"/>
                    <a:pt x="1045" y="223"/>
                  </a:cubicBezTo>
                  <a:cubicBezTo>
                    <a:pt x="1059" y="218"/>
                    <a:pt x="1017" y="215"/>
                    <a:pt x="1017" y="215"/>
                  </a:cubicBezTo>
                  <a:cubicBezTo>
                    <a:pt x="1017" y="215"/>
                    <a:pt x="969" y="213"/>
                    <a:pt x="967" y="221"/>
                  </a:cubicBezTo>
                  <a:cubicBezTo>
                    <a:pt x="965" y="229"/>
                    <a:pt x="969" y="234"/>
                    <a:pt x="969" y="234"/>
                  </a:cubicBezTo>
                  <a:cubicBezTo>
                    <a:pt x="969" y="234"/>
                    <a:pt x="934" y="236"/>
                    <a:pt x="911" y="239"/>
                  </a:cubicBezTo>
                  <a:cubicBezTo>
                    <a:pt x="888" y="242"/>
                    <a:pt x="820" y="255"/>
                    <a:pt x="837" y="261"/>
                  </a:cubicBezTo>
                  <a:cubicBezTo>
                    <a:pt x="854" y="267"/>
                    <a:pt x="877" y="270"/>
                    <a:pt x="877" y="270"/>
                  </a:cubicBezTo>
                  <a:cubicBezTo>
                    <a:pt x="848" y="280"/>
                    <a:pt x="848" y="280"/>
                    <a:pt x="848" y="280"/>
                  </a:cubicBezTo>
                  <a:cubicBezTo>
                    <a:pt x="840" y="307"/>
                    <a:pt x="840" y="307"/>
                    <a:pt x="840" y="307"/>
                  </a:cubicBezTo>
                  <a:cubicBezTo>
                    <a:pt x="840" y="307"/>
                    <a:pt x="864" y="311"/>
                    <a:pt x="880" y="311"/>
                  </a:cubicBezTo>
                  <a:cubicBezTo>
                    <a:pt x="896" y="311"/>
                    <a:pt x="910" y="308"/>
                    <a:pt x="910" y="308"/>
                  </a:cubicBezTo>
                  <a:cubicBezTo>
                    <a:pt x="939" y="316"/>
                    <a:pt x="939" y="316"/>
                    <a:pt x="939" y="316"/>
                  </a:cubicBezTo>
                  <a:cubicBezTo>
                    <a:pt x="948" y="304"/>
                    <a:pt x="948" y="304"/>
                    <a:pt x="948" y="304"/>
                  </a:cubicBezTo>
                  <a:cubicBezTo>
                    <a:pt x="957" y="315"/>
                    <a:pt x="957" y="315"/>
                    <a:pt x="957" y="315"/>
                  </a:cubicBezTo>
                  <a:cubicBezTo>
                    <a:pt x="957" y="315"/>
                    <a:pt x="989" y="297"/>
                    <a:pt x="994" y="297"/>
                  </a:cubicBezTo>
                  <a:cubicBezTo>
                    <a:pt x="999" y="297"/>
                    <a:pt x="1007" y="303"/>
                    <a:pt x="1017" y="299"/>
                  </a:cubicBezTo>
                  <a:cubicBezTo>
                    <a:pt x="1027" y="295"/>
                    <a:pt x="1045" y="281"/>
                    <a:pt x="1046" y="290"/>
                  </a:cubicBezTo>
                  <a:cubicBezTo>
                    <a:pt x="1047" y="299"/>
                    <a:pt x="1037" y="311"/>
                    <a:pt x="1037" y="311"/>
                  </a:cubicBezTo>
                  <a:cubicBezTo>
                    <a:pt x="999" y="312"/>
                    <a:pt x="999" y="312"/>
                    <a:pt x="999" y="312"/>
                  </a:cubicBezTo>
                  <a:cubicBezTo>
                    <a:pt x="1004" y="333"/>
                    <a:pt x="1004" y="333"/>
                    <a:pt x="1004" y="333"/>
                  </a:cubicBezTo>
                  <a:cubicBezTo>
                    <a:pt x="1004" y="333"/>
                    <a:pt x="976" y="360"/>
                    <a:pt x="958" y="361"/>
                  </a:cubicBezTo>
                  <a:cubicBezTo>
                    <a:pt x="940" y="362"/>
                    <a:pt x="920" y="362"/>
                    <a:pt x="920" y="362"/>
                  </a:cubicBezTo>
                  <a:cubicBezTo>
                    <a:pt x="910" y="350"/>
                    <a:pt x="910" y="350"/>
                    <a:pt x="910" y="350"/>
                  </a:cubicBezTo>
                  <a:cubicBezTo>
                    <a:pt x="898" y="357"/>
                    <a:pt x="898" y="357"/>
                    <a:pt x="898" y="357"/>
                  </a:cubicBezTo>
                  <a:cubicBezTo>
                    <a:pt x="898" y="365"/>
                    <a:pt x="898" y="365"/>
                    <a:pt x="898" y="365"/>
                  </a:cubicBezTo>
                  <a:cubicBezTo>
                    <a:pt x="898" y="365"/>
                    <a:pt x="857" y="389"/>
                    <a:pt x="844" y="381"/>
                  </a:cubicBezTo>
                  <a:cubicBezTo>
                    <a:pt x="831" y="373"/>
                    <a:pt x="824" y="371"/>
                    <a:pt x="824" y="371"/>
                  </a:cubicBezTo>
                  <a:cubicBezTo>
                    <a:pt x="762" y="406"/>
                    <a:pt x="762" y="406"/>
                    <a:pt x="762" y="406"/>
                  </a:cubicBezTo>
                  <a:cubicBezTo>
                    <a:pt x="748" y="418"/>
                    <a:pt x="748" y="418"/>
                    <a:pt x="748" y="418"/>
                  </a:cubicBezTo>
                  <a:cubicBezTo>
                    <a:pt x="745" y="404"/>
                    <a:pt x="745" y="404"/>
                    <a:pt x="745" y="404"/>
                  </a:cubicBezTo>
                  <a:cubicBezTo>
                    <a:pt x="745" y="404"/>
                    <a:pt x="720" y="415"/>
                    <a:pt x="706" y="420"/>
                  </a:cubicBezTo>
                  <a:cubicBezTo>
                    <a:pt x="692" y="425"/>
                    <a:pt x="682" y="440"/>
                    <a:pt x="682" y="440"/>
                  </a:cubicBezTo>
                  <a:cubicBezTo>
                    <a:pt x="662" y="434"/>
                    <a:pt x="662" y="434"/>
                    <a:pt x="662" y="434"/>
                  </a:cubicBezTo>
                  <a:cubicBezTo>
                    <a:pt x="662" y="447"/>
                    <a:pt x="662" y="447"/>
                    <a:pt x="662" y="447"/>
                  </a:cubicBezTo>
                  <a:cubicBezTo>
                    <a:pt x="662" y="447"/>
                    <a:pt x="649" y="441"/>
                    <a:pt x="646" y="447"/>
                  </a:cubicBezTo>
                  <a:cubicBezTo>
                    <a:pt x="643" y="453"/>
                    <a:pt x="643" y="462"/>
                    <a:pt x="643" y="462"/>
                  </a:cubicBezTo>
                  <a:cubicBezTo>
                    <a:pt x="636" y="471"/>
                    <a:pt x="636" y="471"/>
                    <a:pt x="636" y="471"/>
                  </a:cubicBezTo>
                  <a:cubicBezTo>
                    <a:pt x="676" y="457"/>
                    <a:pt x="676" y="457"/>
                    <a:pt x="676" y="457"/>
                  </a:cubicBezTo>
                  <a:cubicBezTo>
                    <a:pt x="661" y="469"/>
                    <a:pt x="661" y="469"/>
                    <a:pt x="661" y="469"/>
                  </a:cubicBezTo>
                  <a:cubicBezTo>
                    <a:pt x="661" y="475"/>
                    <a:pt x="661" y="475"/>
                    <a:pt x="661" y="475"/>
                  </a:cubicBezTo>
                  <a:cubicBezTo>
                    <a:pt x="648" y="483"/>
                    <a:pt x="648" y="483"/>
                    <a:pt x="648" y="483"/>
                  </a:cubicBezTo>
                  <a:cubicBezTo>
                    <a:pt x="648" y="483"/>
                    <a:pt x="698" y="482"/>
                    <a:pt x="689" y="491"/>
                  </a:cubicBezTo>
                  <a:cubicBezTo>
                    <a:pt x="680" y="500"/>
                    <a:pt x="658" y="498"/>
                    <a:pt x="658" y="498"/>
                  </a:cubicBezTo>
                  <a:cubicBezTo>
                    <a:pt x="641" y="502"/>
                    <a:pt x="641" y="502"/>
                    <a:pt x="641" y="502"/>
                  </a:cubicBezTo>
                  <a:cubicBezTo>
                    <a:pt x="649" y="494"/>
                    <a:pt x="649" y="494"/>
                    <a:pt x="649" y="494"/>
                  </a:cubicBezTo>
                  <a:cubicBezTo>
                    <a:pt x="640" y="489"/>
                    <a:pt x="640" y="489"/>
                    <a:pt x="640" y="489"/>
                  </a:cubicBezTo>
                  <a:cubicBezTo>
                    <a:pt x="640" y="489"/>
                    <a:pt x="611" y="500"/>
                    <a:pt x="612" y="503"/>
                  </a:cubicBezTo>
                  <a:cubicBezTo>
                    <a:pt x="613" y="506"/>
                    <a:pt x="619" y="510"/>
                    <a:pt x="619" y="510"/>
                  </a:cubicBezTo>
                  <a:cubicBezTo>
                    <a:pt x="619" y="510"/>
                    <a:pt x="608" y="537"/>
                    <a:pt x="612" y="538"/>
                  </a:cubicBezTo>
                  <a:cubicBezTo>
                    <a:pt x="616" y="539"/>
                    <a:pt x="659" y="536"/>
                    <a:pt x="659" y="536"/>
                  </a:cubicBezTo>
                  <a:cubicBezTo>
                    <a:pt x="691" y="518"/>
                    <a:pt x="691" y="518"/>
                    <a:pt x="691" y="518"/>
                  </a:cubicBezTo>
                  <a:cubicBezTo>
                    <a:pt x="738" y="499"/>
                    <a:pt x="738" y="499"/>
                    <a:pt x="738" y="499"/>
                  </a:cubicBezTo>
                  <a:cubicBezTo>
                    <a:pt x="738" y="499"/>
                    <a:pt x="694" y="520"/>
                    <a:pt x="689" y="528"/>
                  </a:cubicBezTo>
                  <a:cubicBezTo>
                    <a:pt x="684" y="536"/>
                    <a:pt x="685" y="552"/>
                    <a:pt x="678" y="554"/>
                  </a:cubicBezTo>
                  <a:cubicBezTo>
                    <a:pt x="671" y="556"/>
                    <a:pt x="659" y="549"/>
                    <a:pt x="653" y="558"/>
                  </a:cubicBezTo>
                  <a:cubicBezTo>
                    <a:pt x="647" y="567"/>
                    <a:pt x="643" y="577"/>
                    <a:pt x="638" y="582"/>
                  </a:cubicBezTo>
                  <a:cubicBezTo>
                    <a:pt x="633" y="587"/>
                    <a:pt x="618" y="596"/>
                    <a:pt x="618" y="596"/>
                  </a:cubicBezTo>
                  <a:cubicBezTo>
                    <a:pt x="654" y="592"/>
                    <a:pt x="654" y="592"/>
                    <a:pt x="654" y="592"/>
                  </a:cubicBezTo>
                  <a:cubicBezTo>
                    <a:pt x="647" y="604"/>
                    <a:pt x="647" y="604"/>
                    <a:pt x="647" y="604"/>
                  </a:cubicBezTo>
                  <a:cubicBezTo>
                    <a:pt x="647" y="604"/>
                    <a:pt x="677" y="573"/>
                    <a:pt x="694" y="576"/>
                  </a:cubicBezTo>
                  <a:cubicBezTo>
                    <a:pt x="711" y="579"/>
                    <a:pt x="702" y="584"/>
                    <a:pt x="702" y="584"/>
                  </a:cubicBezTo>
                  <a:cubicBezTo>
                    <a:pt x="718" y="582"/>
                    <a:pt x="718" y="582"/>
                    <a:pt x="718" y="582"/>
                  </a:cubicBezTo>
                  <a:cubicBezTo>
                    <a:pt x="718" y="582"/>
                    <a:pt x="705" y="607"/>
                    <a:pt x="719" y="607"/>
                  </a:cubicBezTo>
                  <a:cubicBezTo>
                    <a:pt x="733" y="607"/>
                    <a:pt x="750" y="585"/>
                    <a:pt x="750" y="585"/>
                  </a:cubicBezTo>
                  <a:cubicBezTo>
                    <a:pt x="778" y="572"/>
                    <a:pt x="778" y="572"/>
                    <a:pt x="778" y="572"/>
                  </a:cubicBezTo>
                  <a:cubicBezTo>
                    <a:pt x="785" y="580"/>
                    <a:pt x="785" y="580"/>
                    <a:pt x="785" y="580"/>
                  </a:cubicBezTo>
                  <a:cubicBezTo>
                    <a:pt x="765" y="582"/>
                    <a:pt x="765" y="582"/>
                    <a:pt x="765" y="582"/>
                  </a:cubicBezTo>
                  <a:cubicBezTo>
                    <a:pt x="765" y="582"/>
                    <a:pt x="751" y="596"/>
                    <a:pt x="762" y="596"/>
                  </a:cubicBezTo>
                  <a:cubicBezTo>
                    <a:pt x="773" y="596"/>
                    <a:pt x="819" y="583"/>
                    <a:pt x="819" y="583"/>
                  </a:cubicBezTo>
                  <a:cubicBezTo>
                    <a:pt x="847" y="571"/>
                    <a:pt x="847" y="571"/>
                    <a:pt x="847" y="571"/>
                  </a:cubicBezTo>
                  <a:cubicBezTo>
                    <a:pt x="815" y="588"/>
                    <a:pt x="815" y="588"/>
                    <a:pt x="815" y="588"/>
                  </a:cubicBezTo>
                  <a:cubicBezTo>
                    <a:pt x="815" y="598"/>
                    <a:pt x="815" y="598"/>
                    <a:pt x="815" y="598"/>
                  </a:cubicBezTo>
                  <a:cubicBezTo>
                    <a:pt x="815" y="598"/>
                    <a:pt x="797" y="599"/>
                    <a:pt x="786" y="603"/>
                  </a:cubicBezTo>
                  <a:cubicBezTo>
                    <a:pt x="775" y="607"/>
                    <a:pt x="767" y="620"/>
                    <a:pt x="767" y="620"/>
                  </a:cubicBezTo>
                  <a:cubicBezTo>
                    <a:pt x="747" y="622"/>
                    <a:pt x="747" y="622"/>
                    <a:pt x="747" y="622"/>
                  </a:cubicBezTo>
                  <a:cubicBezTo>
                    <a:pt x="723" y="642"/>
                    <a:pt x="723" y="642"/>
                    <a:pt x="723" y="642"/>
                  </a:cubicBezTo>
                  <a:cubicBezTo>
                    <a:pt x="724" y="651"/>
                    <a:pt x="724" y="651"/>
                    <a:pt x="724" y="651"/>
                  </a:cubicBezTo>
                  <a:cubicBezTo>
                    <a:pt x="697" y="654"/>
                    <a:pt x="697" y="654"/>
                    <a:pt x="697" y="654"/>
                  </a:cubicBezTo>
                  <a:cubicBezTo>
                    <a:pt x="697" y="654"/>
                    <a:pt x="652" y="663"/>
                    <a:pt x="647" y="670"/>
                  </a:cubicBezTo>
                  <a:cubicBezTo>
                    <a:pt x="642" y="677"/>
                    <a:pt x="645" y="691"/>
                    <a:pt x="636" y="691"/>
                  </a:cubicBezTo>
                  <a:cubicBezTo>
                    <a:pt x="627" y="691"/>
                    <a:pt x="600" y="691"/>
                    <a:pt x="584" y="693"/>
                  </a:cubicBezTo>
                  <a:cubicBezTo>
                    <a:pt x="568" y="695"/>
                    <a:pt x="515" y="734"/>
                    <a:pt x="515" y="734"/>
                  </a:cubicBezTo>
                  <a:cubicBezTo>
                    <a:pt x="500" y="737"/>
                    <a:pt x="500" y="737"/>
                    <a:pt x="500" y="737"/>
                  </a:cubicBezTo>
                  <a:cubicBezTo>
                    <a:pt x="491" y="747"/>
                    <a:pt x="491" y="747"/>
                    <a:pt x="491" y="747"/>
                  </a:cubicBezTo>
                  <a:cubicBezTo>
                    <a:pt x="490" y="736"/>
                    <a:pt x="490" y="736"/>
                    <a:pt x="490" y="736"/>
                  </a:cubicBezTo>
                  <a:cubicBezTo>
                    <a:pt x="490" y="736"/>
                    <a:pt x="458" y="732"/>
                    <a:pt x="447" y="738"/>
                  </a:cubicBezTo>
                  <a:cubicBezTo>
                    <a:pt x="436" y="744"/>
                    <a:pt x="412" y="754"/>
                    <a:pt x="412" y="754"/>
                  </a:cubicBezTo>
                  <a:cubicBezTo>
                    <a:pt x="403" y="752"/>
                    <a:pt x="403" y="752"/>
                    <a:pt x="403" y="752"/>
                  </a:cubicBezTo>
                  <a:cubicBezTo>
                    <a:pt x="404" y="760"/>
                    <a:pt x="404" y="760"/>
                    <a:pt x="404" y="760"/>
                  </a:cubicBezTo>
                  <a:cubicBezTo>
                    <a:pt x="385" y="763"/>
                    <a:pt x="385" y="763"/>
                    <a:pt x="385" y="763"/>
                  </a:cubicBezTo>
                  <a:cubicBezTo>
                    <a:pt x="378" y="769"/>
                    <a:pt x="378" y="769"/>
                    <a:pt x="378" y="769"/>
                  </a:cubicBezTo>
                  <a:cubicBezTo>
                    <a:pt x="362" y="767"/>
                    <a:pt x="362" y="767"/>
                    <a:pt x="362" y="767"/>
                  </a:cubicBezTo>
                  <a:cubicBezTo>
                    <a:pt x="345" y="782"/>
                    <a:pt x="345" y="782"/>
                    <a:pt x="345" y="782"/>
                  </a:cubicBezTo>
                  <a:cubicBezTo>
                    <a:pt x="350" y="788"/>
                    <a:pt x="350" y="788"/>
                    <a:pt x="350" y="788"/>
                  </a:cubicBezTo>
                  <a:cubicBezTo>
                    <a:pt x="360" y="776"/>
                    <a:pt x="360" y="776"/>
                    <a:pt x="360" y="776"/>
                  </a:cubicBezTo>
                  <a:cubicBezTo>
                    <a:pt x="373" y="783"/>
                    <a:pt x="373" y="783"/>
                    <a:pt x="373" y="783"/>
                  </a:cubicBezTo>
                  <a:cubicBezTo>
                    <a:pt x="387" y="771"/>
                    <a:pt x="387" y="771"/>
                    <a:pt x="387" y="771"/>
                  </a:cubicBezTo>
                  <a:cubicBezTo>
                    <a:pt x="388" y="779"/>
                    <a:pt x="388" y="779"/>
                    <a:pt x="388" y="779"/>
                  </a:cubicBezTo>
                  <a:cubicBezTo>
                    <a:pt x="388" y="779"/>
                    <a:pt x="409" y="778"/>
                    <a:pt x="417" y="771"/>
                  </a:cubicBezTo>
                  <a:cubicBezTo>
                    <a:pt x="425" y="764"/>
                    <a:pt x="441" y="750"/>
                    <a:pt x="450" y="748"/>
                  </a:cubicBezTo>
                  <a:cubicBezTo>
                    <a:pt x="459" y="746"/>
                    <a:pt x="451" y="762"/>
                    <a:pt x="464" y="762"/>
                  </a:cubicBezTo>
                  <a:cubicBezTo>
                    <a:pt x="477" y="762"/>
                    <a:pt x="514" y="746"/>
                    <a:pt x="514" y="746"/>
                  </a:cubicBezTo>
                  <a:cubicBezTo>
                    <a:pt x="536" y="752"/>
                    <a:pt x="536" y="752"/>
                    <a:pt x="536" y="752"/>
                  </a:cubicBezTo>
                  <a:cubicBezTo>
                    <a:pt x="548" y="740"/>
                    <a:pt x="548" y="740"/>
                    <a:pt x="548" y="740"/>
                  </a:cubicBezTo>
                  <a:cubicBezTo>
                    <a:pt x="548" y="740"/>
                    <a:pt x="585" y="738"/>
                    <a:pt x="596" y="729"/>
                  </a:cubicBezTo>
                  <a:cubicBezTo>
                    <a:pt x="607" y="720"/>
                    <a:pt x="619" y="706"/>
                    <a:pt x="628" y="705"/>
                  </a:cubicBezTo>
                  <a:cubicBezTo>
                    <a:pt x="637" y="704"/>
                    <a:pt x="649" y="704"/>
                    <a:pt x="649" y="704"/>
                  </a:cubicBezTo>
                  <a:cubicBezTo>
                    <a:pt x="653" y="697"/>
                    <a:pt x="653" y="697"/>
                    <a:pt x="653" y="697"/>
                  </a:cubicBezTo>
                  <a:cubicBezTo>
                    <a:pt x="677" y="697"/>
                    <a:pt x="677" y="697"/>
                    <a:pt x="677" y="697"/>
                  </a:cubicBezTo>
                  <a:cubicBezTo>
                    <a:pt x="684" y="691"/>
                    <a:pt x="684" y="691"/>
                    <a:pt x="684" y="691"/>
                  </a:cubicBezTo>
                  <a:cubicBezTo>
                    <a:pt x="684" y="691"/>
                    <a:pt x="717" y="684"/>
                    <a:pt x="732" y="677"/>
                  </a:cubicBezTo>
                  <a:cubicBezTo>
                    <a:pt x="747" y="670"/>
                    <a:pt x="762" y="656"/>
                    <a:pt x="762" y="656"/>
                  </a:cubicBezTo>
                  <a:cubicBezTo>
                    <a:pt x="803" y="650"/>
                    <a:pt x="803" y="650"/>
                    <a:pt x="803" y="650"/>
                  </a:cubicBezTo>
                  <a:cubicBezTo>
                    <a:pt x="841" y="628"/>
                    <a:pt x="841" y="628"/>
                    <a:pt x="841" y="628"/>
                  </a:cubicBezTo>
                  <a:cubicBezTo>
                    <a:pt x="841" y="628"/>
                    <a:pt x="885" y="627"/>
                    <a:pt x="892" y="620"/>
                  </a:cubicBezTo>
                  <a:cubicBezTo>
                    <a:pt x="899" y="613"/>
                    <a:pt x="912" y="601"/>
                    <a:pt x="912" y="601"/>
                  </a:cubicBezTo>
                  <a:cubicBezTo>
                    <a:pt x="912" y="601"/>
                    <a:pt x="954" y="594"/>
                    <a:pt x="958" y="586"/>
                  </a:cubicBezTo>
                  <a:cubicBezTo>
                    <a:pt x="962" y="578"/>
                    <a:pt x="947" y="578"/>
                    <a:pt x="947" y="578"/>
                  </a:cubicBezTo>
                  <a:cubicBezTo>
                    <a:pt x="947" y="578"/>
                    <a:pt x="970" y="562"/>
                    <a:pt x="979" y="557"/>
                  </a:cubicBezTo>
                  <a:cubicBezTo>
                    <a:pt x="988" y="552"/>
                    <a:pt x="1015" y="545"/>
                    <a:pt x="1015" y="545"/>
                  </a:cubicBezTo>
                  <a:cubicBezTo>
                    <a:pt x="1066" y="526"/>
                    <a:pt x="1066" y="526"/>
                    <a:pt x="1066" y="526"/>
                  </a:cubicBezTo>
                  <a:cubicBezTo>
                    <a:pt x="1060" y="513"/>
                    <a:pt x="1060" y="513"/>
                    <a:pt x="1060" y="513"/>
                  </a:cubicBezTo>
                  <a:cubicBezTo>
                    <a:pt x="1060" y="513"/>
                    <a:pt x="1083" y="519"/>
                    <a:pt x="1090" y="514"/>
                  </a:cubicBezTo>
                  <a:cubicBezTo>
                    <a:pt x="1097" y="509"/>
                    <a:pt x="1130" y="494"/>
                    <a:pt x="1130" y="494"/>
                  </a:cubicBezTo>
                  <a:cubicBezTo>
                    <a:pt x="1130" y="494"/>
                    <a:pt x="1188" y="470"/>
                    <a:pt x="1196" y="467"/>
                  </a:cubicBezTo>
                  <a:cubicBezTo>
                    <a:pt x="1204" y="464"/>
                    <a:pt x="1234" y="485"/>
                    <a:pt x="1234" y="485"/>
                  </a:cubicBezTo>
                  <a:cubicBezTo>
                    <a:pt x="1210" y="485"/>
                    <a:pt x="1210" y="485"/>
                    <a:pt x="1210" y="485"/>
                  </a:cubicBezTo>
                  <a:cubicBezTo>
                    <a:pt x="1197" y="477"/>
                    <a:pt x="1197" y="477"/>
                    <a:pt x="1197" y="477"/>
                  </a:cubicBezTo>
                  <a:cubicBezTo>
                    <a:pt x="1174" y="493"/>
                    <a:pt x="1174" y="493"/>
                    <a:pt x="1174" y="493"/>
                  </a:cubicBezTo>
                  <a:cubicBezTo>
                    <a:pt x="1151" y="493"/>
                    <a:pt x="1151" y="493"/>
                    <a:pt x="1151" y="493"/>
                  </a:cubicBezTo>
                  <a:cubicBezTo>
                    <a:pt x="1151" y="493"/>
                    <a:pt x="1128" y="515"/>
                    <a:pt x="1119" y="518"/>
                  </a:cubicBezTo>
                  <a:cubicBezTo>
                    <a:pt x="1110" y="521"/>
                    <a:pt x="1071" y="527"/>
                    <a:pt x="1075" y="536"/>
                  </a:cubicBezTo>
                  <a:cubicBezTo>
                    <a:pt x="1079" y="545"/>
                    <a:pt x="1099" y="544"/>
                    <a:pt x="1099" y="544"/>
                  </a:cubicBezTo>
                  <a:cubicBezTo>
                    <a:pt x="1099" y="544"/>
                    <a:pt x="1079" y="552"/>
                    <a:pt x="1075" y="552"/>
                  </a:cubicBezTo>
                  <a:cubicBezTo>
                    <a:pt x="1071" y="552"/>
                    <a:pt x="1042" y="551"/>
                    <a:pt x="1042" y="557"/>
                  </a:cubicBezTo>
                  <a:cubicBezTo>
                    <a:pt x="1042" y="563"/>
                    <a:pt x="1045" y="576"/>
                    <a:pt x="1065" y="568"/>
                  </a:cubicBezTo>
                  <a:cubicBezTo>
                    <a:pt x="1085" y="560"/>
                    <a:pt x="1129" y="536"/>
                    <a:pt x="1147" y="532"/>
                  </a:cubicBezTo>
                  <a:cubicBezTo>
                    <a:pt x="1165" y="528"/>
                    <a:pt x="1197" y="537"/>
                    <a:pt x="1211" y="530"/>
                  </a:cubicBezTo>
                  <a:cubicBezTo>
                    <a:pt x="1225" y="523"/>
                    <a:pt x="1247" y="502"/>
                    <a:pt x="1247" y="502"/>
                  </a:cubicBezTo>
                  <a:cubicBezTo>
                    <a:pt x="1245" y="492"/>
                    <a:pt x="1245" y="492"/>
                    <a:pt x="1245" y="492"/>
                  </a:cubicBezTo>
                  <a:cubicBezTo>
                    <a:pt x="1245" y="492"/>
                    <a:pt x="1299" y="471"/>
                    <a:pt x="1309" y="472"/>
                  </a:cubicBezTo>
                  <a:cubicBezTo>
                    <a:pt x="1319" y="473"/>
                    <a:pt x="1322" y="483"/>
                    <a:pt x="1322" y="483"/>
                  </a:cubicBezTo>
                  <a:cubicBezTo>
                    <a:pt x="1364" y="470"/>
                    <a:pt x="1364" y="470"/>
                    <a:pt x="1364" y="470"/>
                  </a:cubicBezTo>
                  <a:cubicBezTo>
                    <a:pt x="1336" y="492"/>
                    <a:pt x="1336" y="492"/>
                    <a:pt x="1336" y="492"/>
                  </a:cubicBezTo>
                  <a:cubicBezTo>
                    <a:pt x="1350" y="498"/>
                    <a:pt x="1350" y="498"/>
                    <a:pt x="1350" y="498"/>
                  </a:cubicBezTo>
                  <a:cubicBezTo>
                    <a:pt x="1350" y="498"/>
                    <a:pt x="1346" y="510"/>
                    <a:pt x="1350" y="510"/>
                  </a:cubicBezTo>
                  <a:cubicBezTo>
                    <a:pt x="1354" y="510"/>
                    <a:pt x="1395" y="485"/>
                    <a:pt x="1395" y="485"/>
                  </a:cubicBezTo>
                  <a:cubicBezTo>
                    <a:pt x="1395" y="485"/>
                    <a:pt x="1356" y="515"/>
                    <a:pt x="1367" y="520"/>
                  </a:cubicBezTo>
                  <a:cubicBezTo>
                    <a:pt x="1378" y="525"/>
                    <a:pt x="1406" y="526"/>
                    <a:pt x="1406" y="526"/>
                  </a:cubicBezTo>
                  <a:cubicBezTo>
                    <a:pt x="1472" y="532"/>
                    <a:pt x="1472" y="532"/>
                    <a:pt x="1472" y="532"/>
                  </a:cubicBezTo>
                  <a:cubicBezTo>
                    <a:pt x="1493" y="519"/>
                    <a:pt x="1493" y="519"/>
                    <a:pt x="1493" y="519"/>
                  </a:cubicBezTo>
                  <a:cubicBezTo>
                    <a:pt x="1493" y="519"/>
                    <a:pt x="1480" y="541"/>
                    <a:pt x="1491" y="542"/>
                  </a:cubicBezTo>
                  <a:cubicBezTo>
                    <a:pt x="1502" y="543"/>
                    <a:pt x="1534" y="541"/>
                    <a:pt x="1534" y="541"/>
                  </a:cubicBezTo>
                  <a:cubicBezTo>
                    <a:pt x="1556" y="535"/>
                    <a:pt x="1556" y="535"/>
                    <a:pt x="1556" y="535"/>
                  </a:cubicBezTo>
                  <a:cubicBezTo>
                    <a:pt x="1556" y="535"/>
                    <a:pt x="1517" y="549"/>
                    <a:pt x="1520" y="557"/>
                  </a:cubicBezTo>
                  <a:cubicBezTo>
                    <a:pt x="1523" y="565"/>
                    <a:pt x="1541" y="573"/>
                    <a:pt x="1541" y="573"/>
                  </a:cubicBezTo>
                  <a:cubicBezTo>
                    <a:pt x="1541" y="573"/>
                    <a:pt x="1539" y="609"/>
                    <a:pt x="1551" y="609"/>
                  </a:cubicBezTo>
                  <a:cubicBezTo>
                    <a:pt x="1563" y="609"/>
                    <a:pt x="1594" y="606"/>
                    <a:pt x="1594" y="606"/>
                  </a:cubicBezTo>
                  <a:cubicBezTo>
                    <a:pt x="1587" y="585"/>
                    <a:pt x="1587" y="585"/>
                    <a:pt x="1587" y="585"/>
                  </a:cubicBezTo>
                  <a:cubicBezTo>
                    <a:pt x="1601" y="580"/>
                    <a:pt x="1601" y="580"/>
                    <a:pt x="1601" y="580"/>
                  </a:cubicBezTo>
                  <a:cubicBezTo>
                    <a:pt x="1610" y="591"/>
                    <a:pt x="1610" y="591"/>
                    <a:pt x="1610" y="591"/>
                  </a:cubicBezTo>
                  <a:cubicBezTo>
                    <a:pt x="1630" y="585"/>
                    <a:pt x="1630" y="585"/>
                    <a:pt x="1630" y="585"/>
                  </a:cubicBezTo>
                  <a:cubicBezTo>
                    <a:pt x="1630" y="585"/>
                    <a:pt x="1610" y="608"/>
                    <a:pt x="1621" y="612"/>
                  </a:cubicBezTo>
                  <a:cubicBezTo>
                    <a:pt x="1632" y="616"/>
                    <a:pt x="1650" y="586"/>
                    <a:pt x="1650" y="586"/>
                  </a:cubicBezTo>
                  <a:cubicBezTo>
                    <a:pt x="1670" y="557"/>
                    <a:pt x="1670" y="557"/>
                    <a:pt x="1670" y="557"/>
                  </a:cubicBezTo>
                  <a:cubicBezTo>
                    <a:pt x="1652" y="599"/>
                    <a:pt x="1652" y="599"/>
                    <a:pt x="1652" y="599"/>
                  </a:cubicBezTo>
                  <a:cubicBezTo>
                    <a:pt x="1656" y="615"/>
                    <a:pt x="1656" y="615"/>
                    <a:pt x="1656" y="615"/>
                  </a:cubicBezTo>
                  <a:cubicBezTo>
                    <a:pt x="1679" y="607"/>
                    <a:pt x="1679" y="607"/>
                    <a:pt x="1679" y="607"/>
                  </a:cubicBezTo>
                  <a:cubicBezTo>
                    <a:pt x="1664" y="623"/>
                    <a:pt x="1664" y="623"/>
                    <a:pt x="1664" y="623"/>
                  </a:cubicBezTo>
                  <a:cubicBezTo>
                    <a:pt x="1681" y="638"/>
                    <a:pt x="1681" y="638"/>
                    <a:pt x="1681" y="638"/>
                  </a:cubicBezTo>
                  <a:cubicBezTo>
                    <a:pt x="1669" y="635"/>
                    <a:pt x="1669" y="635"/>
                    <a:pt x="1669" y="635"/>
                  </a:cubicBezTo>
                  <a:cubicBezTo>
                    <a:pt x="1667" y="647"/>
                    <a:pt x="1667" y="647"/>
                    <a:pt x="1667" y="647"/>
                  </a:cubicBezTo>
                  <a:cubicBezTo>
                    <a:pt x="1648" y="660"/>
                    <a:pt x="1648" y="660"/>
                    <a:pt x="1648" y="660"/>
                  </a:cubicBezTo>
                  <a:cubicBezTo>
                    <a:pt x="1636" y="670"/>
                    <a:pt x="1636" y="670"/>
                    <a:pt x="1636" y="670"/>
                  </a:cubicBezTo>
                  <a:cubicBezTo>
                    <a:pt x="1657" y="681"/>
                    <a:pt x="1657" y="681"/>
                    <a:pt x="1657" y="681"/>
                  </a:cubicBezTo>
                  <a:cubicBezTo>
                    <a:pt x="1654" y="702"/>
                    <a:pt x="1654" y="702"/>
                    <a:pt x="1654" y="702"/>
                  </a:cubicBezTo>
                  <a:cubicBezTo>
                    <a:pt x="1642" y="714"/>
                    <a:pt x="1642" y="714"/>
                    <a:pt x="1642" y="714"/>
                  </a:cubicBezTo>
                  <a:cubicBezTo>
                    <a:pt x="1654" y="719"/>
                    <a:pt x="1654" y="719"/>
                    <a:pt x="1654" y="719"/>
                  </a:cubicBezTo>
                  <a:cubicBezTo>
                    <a:pt x="1639" y="733"/>
                    <a:pt x="1639" y="733"/>
                    <a:pt x="1639" y="733"/>
                  </a:cubicBezTo>
                  <a:cubicBezTo>
                    <a:pt x="1660" y="733"/>
                    <a:pt x="1660" y="733"/>
                    <a:pt x="1660" y="733"/>
                  </a:cubicBezTo>
                  <a:cubicBezTo>
                    <a:pt x="1685" y="724"/>
                    <a:pt x="1685" y="724"/>
                    <a:pt x="1685" y="724"/>
                  </a:cubicBezTo>
                  <a:cubicBezTo>
                    <a:pt x="1663" y="750"/>
                    <a:pt x="1663" y="750"/>
                    <a:pt x="1663" y="750"/>
                  </a:cubicBezTo>
                  <a:cubicBezTo>
                    <a:pt x="1652" y="760"/>
                    <a:pt x="1652" y="760"/>
                    <a:pt x="1652" y="760"/>
                  </a:cubicBezTo>
                  <a:cubicBezTo>
                    <a:pt x="1667" y="765"/>
                    <a:pt x="1667" y="765"/>
                    <a:pt x="1667" y="765"/>
                  </a:cubicBezTo>
                  <a:cubicBezTo>
                    <a:pt x="1637" y="777"/>
                    <a:pt x="1637" y="777"/>
                    <a:pt x="1637" y="777"/>
                  </a:cubicBezTo>
                  <a:cubicBezTo>
                    <a:pt x="1623" y="785"/>
                    <a:pt x="1623" y="785"/>
                    <a:pt x="1623" y="785"/>
                  </a:cubicBezTo>
                  <a:cubicBezTo>
                    <a:pt x="1637" y="791"/>
                    <a:pt x="1637" y="791"/>
                    <a:pt x="1637" y="791"/>
                  </a:cubicBezTo>
                  <a:cubicBezTo>
                    <a:pt x="1637" y="791"/>
                    <a:pt x="1636" y="794"/>
                    <a:pt x="1634" y="798"/>
                  </a:cubicBezTo>
                  <a:cubicBezTo>
                    <a:pt x="1655" y="788"/>
                    <a:pt x="1676" y="777"/>
                    <a:pt x="1680" y="773"/>
                  </a:cubicBezTo>
                  <a:cubicBezTo>
                    <a:pt x="1690" y="763"/>
                    <a:pt x="1690" y="747"/>
                    <a:pt x="1690" y="747"/>
                  </a:cubicBezTo>
                  <a:cubicBezTo>
                    <a:pt x="1690" y="747"/>
                    <a:pt x="1717" y="736"/>
                    <a:pt x="1717" y="728"/>
                  </a:cubicBezTo>
                  <a:cubicBezTo>
                    <a:pt x="1717" y="720"/>
                    <a:pt x="1707" y="721"/>
                    <a:pt x="1707" y="721"/>
                  </a:cubicBezTo>
                  <a:close/>
                  <a:moveTo>
                    <a:pt x="1598" y="704"/>
                  </a:moveTo>
                  <a:cubicBezTo>
                    <a:pt x="1604" y="718"/>
                    <a:pt x="1624" y="696"/>
                    <a:pt x="1624" y="696"/>
                  </a:cubicBezTo>
                  <a:cubicBezTo>
                    <a:pt x="1639" y="692"/>
                    <a:pt x="1639" y="692"/>
                    <a:pt x="1639" y="692"/>
                  </a:cubicBezTo>
                  <a:cubicBezTo>
                    <a:pt x="1638" y="682"/>
                    <a:pt x="1638" y="682"/>
                    <a:pt x="1638" y="682"/>
                  </a:cubicBezTo>
                  <a:cubicBezTo>
                    <a:pt x="1620" y="679"/>
                    <a:pt x="1620" y="679"/>
                    <a:pt x="1620" y="679"/>
                  </a:cubicBezTo>
                  <a:cubicBezTo>
                    <a:pt x="1620" y="679"/>
                    <a:pt x="1595" y="697"/>
                    <a:pt x="1598" y="704"/>
                  </a:cubicBezTo>
                  <a:close/>
                  <a:moveTo>
                    <a:pt x="1583" y="656"/>
                  </a:moveTo>
                  <a:cubicBezTo>
                    <a:pt x="1576" y="653"/>
                    <a:pt x="1559" y="664"/>
                    <a:pt x="1558" y="670"/>
                  </a:cubicBezTo>
                  <a:cubicBezTo>
                    <a:pt x="1557" y="676"/>
                    <a:pt x="1550" y="689"/>
                    <a:pt x="1550" y="689"/>
                  </a:cubicBezTo>
                  <a:cubicBezTo>
                    <a:pt x="1549" y="698"/>
                    <a:pt x="1549" y="698"/>
                    <a:pt x="1549" y="698"/>
                  </a:cubicBezTo>
                  <a:cubicBezTo>
                    <a:pt x="1549" y="698"/>
                    <a:pt x="1541" y="702"/>
                    <a:pt x="1540" y="709"/>
                  </a:cubicBezTo>
                  <a:cubicBezTo>
                    <a:pt x="1539" y="716"/>
                    <a:pt x="1546" y="720"/>
                    <a:pt x="1546" y="720"/>
                  </a:cubicBezTo>
                  <a:cubicBezTo>
                    <a:pt x="1546" y="720"/>
                    <a:pt x="1559" y="700"/>
                    <a:pt x="1576" y="687"/>
                  </a:cubicBezTo>
                  <a:cubicBezTo>
                    <a:pt x="1593" y="674"/>
                    <a:pt x="1590" y="659"/>
                    <a:pt x="1583" y="656"/>
                  </a:cubicBezTo>
                  <a:close/>
                  <a:moveTo>
                    <a:pt x="525" y="542"/>
                  </a:moveTo>
                  <a:cubicBezTo>
                    <a:pt x="547" y="540"/>
                    <a:pt x="594" y="519"/>
                    <a:pt x="578" y="515"/>
                  </a:cubicBezTo>
                  <a:cubicBezTo>
                    <a:pt x="561" y="510"/>
                    <a:pt x="539" y="507"/>
                    <a:pt x="533" y="513"/>
                  </a:cubicBezTo>
                  <a:cubicBezTo>
                    <a:pt x="527" y="519"/>
                    <a:pt x="514" y="506"/>
                    <a:pt x="510" y="517"/>
                  </a:cubicBezTo>
                  <a:cubicBezTo>
                    <a:pt x="507" y="528"/>
                    <a:pt x="513" y="543"/>
                    <a:pt x="525" y="542"/>
                  </a:cubicBezTo>
                  <a:close/>
                  <a:moveTo>
                    <a:pt x="0" y="886"/>
                  </a:moveTo>
                  <a:cubicBezTo>
                    <a:pt x="41" y="880"/>
                    <a:pt x="41" y="880"/>
                    <a:pt x="41" y="880"/>
                  </a:cubicBezTo>
                  <a:cubicBezTo>
                    <a:pt x="49" y="869"/>
                    <a:pt x="49" y="869"/>
                    <a:pt x="49" y="869"/>
                  </a:cubicBezTo>
                  <a:cubicBezTo>
                    <a:pt x="90" y="863"/>
                    <a:pt x="90" y="863"/>
                    <a:pt x="90" y="863"/>
                  </a:cubicBezTo>
                  <a:cubicBezTo>
                    <a:pt x="76" y="849"/>
                    <a:pt x="76" y="849"/>
                    <a:pt x="76" y="849"/>
                  </a:cubicBezTo>
                  <a:lnTo>
                    <a:pt x="0" y="886"/>
                  </a:lnTo>
                  <a:close/>
                  <a:moveTo>
                    <a:pt x="908" y="635"/>
                  </a:moveTo>
                  <a:cubicBezTo>
                    <a:pt x="905" y="636"/>
                    <a:pt x="892" y="641"/>
                    <a:pt x="892" y="641"/>
                  </a:cubicBezTo>
                  <a:cubicBezTo>
                    <a:pt x="892" y="641"/>
                    <a:pt x="884" y="634"/>
                    <a:pt x="879" y="635"/>
                  </a:cubicBezTo>
                  <a:cubicBezTo>
                    <a:pt x="874" y="636"/>
                    <a:pt x="875" y="651"/>
                    <a:pt x="875" y="651"/>
                  </a:cubicBezTo>
                  <a:cubicBezTo>
                    <a:pt x="859" y="663"/>
                    <a:pt x="859" y="663"/>
                    <a:pt x="859" y="663"/>
                  </a:cubicBezTo>
                  <a:cubicBezTo>
                    <a:pt x="859" y="646"/>
                    <a:pt x="859" y="646"/>
                    <a:pt x="859" y="646"/>
                  </a:cubicBezTo>
                  <a:cubicBezTo>
                    <a:pt x="859" y="646"/>
                    <a:pt x="845" y="641"/>
                    <a:pt x="831" y="654"/>
                  </a:cubicBezTo>
                  <a:cubicBezTo>
                    <a:pt x="831" y="654"/>
                    <a:pt x="814" y="665"/>
                    <a:pt x="811" y="672"/>
                  </a:cubicBezTo>
                  <a:cubicBezTo>
                    <a:pt x="809" y="680"/>
                    <a:pt x="831" y="681"/>
                    <a:pt x="831" y="681"/>
                  </a:cubicBezTo>
                  <a:cubicBezTo>
                    <a:pt x="831" y="681"/>
                    <a:pt x="861" y="681"/>
                    <a:pt x="872" y="676"/>
                  </a:cubicBezTo>
                  <a:cubicBezTo>
                    <a:pt x="884" y="671"/>
                    <a:pt x="881" y="664"/>
                    <a:pt x="881" y="664"/>
                  </a:cubicBezTo>
                  <a:cubicBezTo>
                    <a:pt x="899" y="661"/>
                    <a:pt x="899" y="661"/>
                    <a:pt x="899" y="661"/>
                  </a:cubicBezTo>
                  <a:cubicBezTo>
                    <a:pt x="900" y="655"/>
                    <a:pt x="900" y="655"/>
                    <a:pt x="900" y="655"/>
                  </a:cubicBezTo>
                  <a:cubicBezTo>
                    <a:pt x="925" y="654"/>
                    <a:pt x="925" y="654"/>
                    <a:pt x="925" y="654"/>
                  </a:cubicBezTo>
                  <a:cubicBezTo>
                    <a:pt x="931" y="638"/>
                    <a:pt x="931" y="638"/>
                    <a:pt x="931" y="638"/>
                  </a:cubicBezTo>
                  <a:cubicBezTo>
                    <a:pt x="920" y="640"/>
                    <a:pt x="920" y="640"/>
                    <a:pt x="920" y="640"/>
                  </a:cubicBezTo>
                  <a:cubicBezTo>
                    <a:pt x="920" y="640"/>
                    <a:pt x="912" y="634"/>
                    <a:pt x="908" y="635"/>
                  </a:cubicBezTo>
                  <a:close/>
                  <a:moveTo>
                    <a:pt x="107" y="860"/>
                  </a:moveTo>
                  <a:cubicBezTo>
                    <a:pt x="135" y="859"/>
                    <a:pt x="135" y="859"/>
                    <a:pt x="135" y="859"/>
                  </a:cubicBezTo>
                  <a:cubicBezTo>
                    <a:pt x="161" y="840"/>
                    <a:pt x="161" y="840"/>
                    <a:pt x="161" y="840"/>
                  </a:cubicBezTo>
                  <a:cubicBezTo>
                    <a:pt x="152" y="829"/>
                    <a:pt x="152" y="829"/>
                    <a:pt x="152" y="829"/>
                  </a:cubicBezTo>
                  <a:lnTo>
                    <a:pt x="107" y="860"/>
                  </a:lnTo>
                  <a:close/>
                  <a:moveTo>
                    <a:pt x="1646" y="762"/>
                  </a:moveTo>
                  <a:cubicBezTo>
                    <a:pt x="1652" y="749"/>
                    <a:pt x="1637" y="734"/>
                    <a:pt x="1627" y="744"/>
                  </a:cubicBezTo>
                  <a:cubicBezTo>
                    <a:pt x="1617" y="754"/>
                    <a:pt x="1611" y="784"/>
                    <a:pt x="1611" y="784"/>
                  </a:cubicBezTo>
                  <a:cubicBezTo>
                    <a:pt x="1611" y="784"/>
                    <a:pt x="1624" y="773"/>
                    <a:pt x="1629" y="773"/>
                  </a:cubicBezTo>
                  <a:cubicBezTo>
                    <a:pt x="1634" y="773"/>
                    <a:pt x="1640" y="775"/>
                    <a:pt x="1646" y="762"/>
                  </a:cubicBezTo>
                  <a:close/>
                  <a:moveTo>
                    <a:pt x="953" y="609"/>
                  </a:moveTo>
                  <a:cubicBezTo>
                    <a:pt x="940" y="618"/>
                    <a:pt x="916" y="623"/>
                    <a:pt x="923" y="630"/>
                  </a:cubicBezTo>
                  <a:cubicBezTo>
                    <a:pt x="934" y="641"/>
                    <a:pt x="959" y="629"/>
                    <a:pt x="959" y="629"/>
                  </a:cubicBezTo>
                  <a:cubicBezTo>
                    <a:pt x="966" y="620"/>
                    <a:pt x="966" y="620"/>
                    <a:pt x="966" y="620"/>
                  </a:cubicBezTo>
                  <a:cubicBezTo>
                    <a:pt x="966" y="620"/>
                    <a:pt x="982" y="624"/>
                    <a:pt x="979" y="618"/>
                  </a:cubicBezTo>
                  <a:cubicBezTo>
                    <a:pt x="977" y="612"/>
                    <a:pt x="967" y="600"/>
                    <a:pt x="953" y="609"/>
                  </a:cubicBezTo>
                  <a:close/>
                  <a:moveTo>
                    <a:pt x="331" y="777"/>
                  </a:moveTo>
                  <a:cubicBezTo>
                    <a:pt x="319" y="777"/>
                    <a:pt x="290" y="788"/>
                    <a:pt x="290" y="788"/>
                  </a:cubicBezTo>
                  <a:cubicBezTo>
                    <a:pt x="290" y="788"/>
                    <a:pt x="253" y="802"/>
                    <a:pt x="254" y="809"/>
                  </a:cubicBezTo>
                  <a:cubicBezTo>
                    <a:pt x="256" y="818"/>
                    <a:pt x="270" y="812"/>
                    <a:pt x="289" y="806"/>
                  </a:cubicBezTo>
                  <a:cubicBezTo>
                    <a:pt x="308" y="799"/>
                    <a:pt x="328" y="809"/>
                    <a:pt x="335" y="803"/>
                  </a:cubicBezTo>
                  <a:cubicBezTo>
                    <a:pt x="342" y="797"/>
                    <a:pt x="344" y="777"/>
                    <a:pt x="331" y="777"/>
                  </a:cubicBezTo>
                  <a:close/>
                  <a:moveTo>
                    <a:pt x="219" y="828"/>
                  </a:moveTo>
                  <a:cubicBezTo>
                    <a:pt x="221" y="814"/>
                    <a:pt x="221" y="814"/>
                    <a:pt x="221" y="814"/>
                  </a:cubicBezTo>
                  <a:cubicBezTo>
                    <a:pt x="184" y="829"/>
                    <a:pt x="184" y="829"/>
                    <a:pt x="184" y="829"/>
                  </a:cubicBezTo>
                  <a:lnTo>
                    <a:pt x="219" y="828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0" name="Freeform 358">
              <a:extLst>
                <a:ext uri="{FF2B5EF4-FFF2-40B4-BE49-F238E27FC236}">
                  <a16:creationId xmlns:a16="http://schemas.microsoft.com/office/drawing/2014/main" id="{132CEC01-6932-950A-B1CE-5C1BD64F236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19227" y="-16252"/>
              <a:ext cx="6163" cy="3081"/>
            </a:xfrm>
            <a:custGeom>
              <a:avLst/>
              <a:gdLst>
                <a:gd name="T0" fmla="*/ 2480 w 2609"/>
                <a:gd name="T1" fmla="*/ 201 h 1304"/>
                <a:gd name="T2" fmla="*/ 2188 w 2609"/>
                <a:gd name="T3" fmla="*/ 278 h 1304"/>
                <a:gd name="T4" fmla="*/ 2132 w 2609"/>
                <a:gd name="T5" fmla="*/ 324 h 1304"/>
                <a:gd name="T6" fmla="*/ 2049 w 2609"/>
                <a:gd name="T7" fmla="*/ 357 h 1304"/>
                <a:gd name="T8" fmla="*/ 1824 w 2609"/>
                <a:gd name="T9" fmla="*/ 413 h 1304"/>
                <a:gd name="T10" fmla="*/ 1906 w 2609"/>
                <a:gd name="T11" fmla="*/ 294 h 1304"/>
                <a:gd name="T12" fmla="*/ 1888 w 2609"/>
                <a:gd name="T13" fmla="*/ 211 h 1304"/>
                <a:gd name="T14" fmla="*/ 1909 w 2609"/>
                <a:gd name="T15" fmla="*/ 159 h 1304"/>
                <a:gd name="T16" fmla="*/ 1821 w 2609"/>
                <a:gd name="T17" fmla="*/ 151 h 1304"/>
                <a:gd name="T18" fmla="*/ 1700 w 2609"/>
                <a:gd name="T19" fmla="*/ 142 h 1304"/>
                <a:gd name="T20" fmla="*/ 1667 w 2609"/>
                <a:gd name="T21" fmla="*/ 101 h 1304"/>
                <a:gd name="T22" fmla="*/ 1627 w 2609"/>
                <a:gd name="T23" fmla="*/ 67 h 1304"/>
                <a:gd name="T24" fmla="*/ 1510 w 2609"/>
                <a:gd name="T25" fmla="*/ 35 h 1304"/>
                <a:gd name="T26" fmla="*/ 292 w 2609"/>
                <a:gd name="T27" fmla="*/ 130 h 1304"/>
                <a:gd name="T28" fmla="*/ 255 w 2609"/>
                <a:gd name="T29" fmla="*/ 78 h 1304"/>
                <a:gd name="T30" fmla="*/ 250 w 2609"/>
                <a:gd name="T31" fmla="*/ 177 h 1304"/>
                <a:gd name="T32" fmla="*/ 66 w 2609"/>
                <a:gd name="T33" fmla="*/ 387 h 1304"/>
                <a:gd name="T34" fmla="*/ 29 w 2609"/>
                <a:gd name="T35" fmla="*/ 605 h 1304"/>
                <a:gd name="T36" fmla="*/ 20 w 2609"/>
                <a:gd name="T37" fmla="*/ 688 h 1304"/>
                <a:gd name="T38" fmla="*/ 108 w 2609"/>
                <a:gd name="T39" fmla="*/ 822 h 1304"/>
                <a:gd name="T40" fmla="*/ 380 w 2609"/>
                <a:gd name="T41" fmla="*/ 973 h 1304"/>
                <a:gd name="T42" fmla="*/ 625 w 2609"/>
                <a:gd name="T43" fmla="*/ 975 h 1304"/>
                <a:gd name="T44" fmla="*/ 756 w 2609"/>
                <a:gd name="T45" fmla="*/ 1047 h 1304"/>
                <a:gd name="T46" fmla="*/ 851 w 2609"/>
                <a:gd name="T47" fmla="*/ 1169 h 1304"/>
                <a:gd name="T48" fmla="*/ 914 w 2609"/>
                <a:gd name="T49" fmla="*/ 1254 h 1304"/>
                <a:gd name="T50" fmla="*/ 950 w 2609"/>
                <a:gd name="T51" fmla="*/ 1180 h 1304"/>
                <a:gd name="T52" fmla="*/ 999 w 2609"/>
                <a:gd name="T53" fmla="*/ 1128 h 1304"/>
                <a:gd name="T54" fmla="*/ 1143 w 2609"/>
                <a:gd name="T55" fmla="*/ 1040 h 1304"/>
                <a:gd name="T56" fmla="*/ 1288 w 2609"/>
                <a:gd name="T57" fmla="*/ 1079 h 1304"/>
                <a:gd name="T58" fmla="*/ 1354 w 2609"/>
                <a:gd name="T59" fmla="*/ 1087 h 1304"/>
                <a:gd name="T60" fmla="*/ 1365 w 2609"/>
                <a:gd name="T61" fmla="*/ 1024 h 1304"/>
                <a:gd name="T62" fmla="*/ 1487 w 2609"/>
                <a:gd name="T63" fmla="*/ 1024 h 1304"/>
                <a:gd name="T64" fmla="*/ 1616 w 2609"/>
                <a:gd name="T65" fmla="*/ 1079 h 1304"/>
                <a:gd name="T66" fmla="*/ 1634 w 2609"/>
                <a:gd name="T67" fmla="*/ 1212 h 1304"/>
                <a:gd name="T68" fmla="*/ 1681 w 2609"/>
                <a:gd name="T69" fmla="*/ 1304 h 1304"/>
                <a:gd name="T70" fmla="*/ 1730 w 2609"/>
                <a:gd name="T71" fmla="*/ 1112 h 1304"/>
                <a:gd name="T72" fmla="*/ 1780 w 2609"/>
                <a:gd name="T73" fmla="*/ 919 h 1304"/>
                <a:gd name="T74" fmla="*/ 1864 w 2609"/>
                <a:gd name="T75" fmla="*/ 859 h 1304"/>
                <a:gd name="T76" fmla="*/ 2013 w 2609"/>
                <a:gd name="T77" fmla="*/ 773 h 1304"/>
                <a:gd name="T78" fmla="*/ 2015 w 2609"/>
                <a:gd name="T79" fmla="*/ 726 h 1304"/>
                <a:gd name="T80" fmla="*/ 2016 w 2609"/>
                <a:gd name="T81" fmla="*/ 647 h 1304"/>
                <a:gd name="T82" fmla="*/ 2025 w 2609"/>
                <a:gd name="T83" fmla="*/ 586 h 1304"/>
                <a:gd name="T84" fmla="*/ 2077 w 2609"/>
                <a:gd name="T85" fmla="*/ 596 h 1304"/>
                <a:gd name="T86" fmla="*/ 2136 w 2609"/>
                <a:gd name="T87" fmla="*/ 513 h 1304"/>
                <a:gd name="T88" fmla="*/ 2240 w 2609"/>
                <a:gd name="T89" fmla="*/ 475 h 1304"/>
                <a:gd name="T90" fmla="*/ 2355 w 2609"/>
                <a:gd name="T91" fmla="*/ 411 h 1304"/>
                <a:gd name="T92" fmla="*/ 2409 w 2609"/>
                <a:gd name="T93" fmla="*/ 388 h 1304"/>
                <a:gd name="T94" fmla="*/ 2423 w 2609"/>
                <a:gd name="T95" fmla="*/ 324 h 1304"/>
                <a:gd name="T96" fmla="*/ 2556 w 2609"/>
                <a:gd name="T97" fmla="*/ 260 h 1304"/>
                <a:gd name="T98" fmla="*/ 2582 w 2609"/>
                <a:gd name="T99" fmla="*/ 202 h 1304"/>
                <a:gd name="T100" fmla="*/ 1784 w 2609"/>
                <a:gd name="T101" fmla="*/ 255 h 1304"/>
                <a:gd name="T102" fmla="*/ 1734 w 2609"/>
                <a:gd name="T103" fmla="*/ 342 h 1304"/>
                <a:gd name="T104" fmla="*/ 1687 w 2609"/>
                <a:gd name="T105" fmla="*/ 307 h 1304"/>
                <a:gd name="T106" fmla="*/ 1772 w 2609"/>
                <a:gd name="T107" fmla="*/ 194 h 1304"/>
                <a:gd name="T108" fmla="*/ 1862 w 2609"/>
                <a:gd name="T109" fmla="*/ 199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09" h="1304">
                  <a:moveTo>
                    <a:pt x="2570" y="119"/>
                  </a:moveTo>
                  <a:cubicBezTo>
                    <a:pt x="2558" y="119"/>
                    <a:pt x="2567" y="110"/>
                    <a:pt x="2554" y="110"/>
                  </a:cubicBezTo>
                  <a:cubicBezTo>
                    <a:pt x="2541" y="110"/>
                    <a:pt x="2530" y="131"/>
                    <a:pt x="2530" y="131"/>
                  </a:cubicBezTo>
                  <a:cubicBezTo>
                    <a:pt x="2503" y="150"/>
                    <a:pt x="2503" y="150"/>
                    <a:pt x="2503" y="150"/>
                  </a:cubicBezTo>
                  <a:cubicBezTo>
                    <a:pt x="2503" y="164"/>
                    <a:pt x="2503" y="164"/>
                    <a:pt x="2503" y="164"/>
                  </a:cubicBezTo>
                  <a:cubicBezTo>
                    <a:pt x="2503" y="164"/>
                    <a:pt x="2495" y="172"/>
                    <a:pt x="2489" y="172"/>
                  </a:cubicBezTo>
                  <a:cubicBezTo>
                    <a:pt x="2483" y="172"/>
                    <a:pt x="2480" y="194"/>
                    <a:pt x="2480" y="201"/>
                  </a:cubicBezTo>
                  <a:cubicBezTo>
                    <a:pt x="2480" y="208"/>
                    <a:pt x="2473" y="201"/>
                    <a:pt x="2463" y="201"/>
                  </a:cubicBezTo>
                  <a:cubicBezTo>
                    <a:pt x="2454" y="201"/>
                    <a:pt x="2443" y="222"/>
                    <a:pt x="2443" y="222"/>
                  </a:cubicBezTo>
                  <a:cubicBezTo>
                    <a:pt x="2443" y="222"/>
                    <a:pt x="2435" y="223"/>
                    <a:pt x="2423" y="223"/>
                  </a:cubicBezTo>
                  <a:cubicBezTo>
                    <a:pt x="2411" y="223"/>
                    <a:pt x="2411" y="238"/>
                    <a:pt x="2411" y="238"/>
                  </a:cubicBezTo>
                  <a:cubicBezTo>
                    <a:pt x="2411" y="238"/>
                    <a:pt x="2280" y="238"/>
                    <a:pt x="2263" y="238"/>
                  </a:cubicBezTo>
                  <a:cubicBezTo>
                    <a:pt x="2246" y="238"/>
                    <a:pt x="2212" y="276"/>
                    <a:pt x="2204" y="276"/>
                  </a:cubicBezTo>
                  <a:cubicBezTo>
                    <a:pt x="2196" y="276"/>
                    <a:pt x="2194" y="278"/>
                    <a:pt x="2188" y="278"/>
                  </a:cubicBezTo>
                  <a:cubicBezTo>
                    <a:pt x="2187" y="278"/>
                    <a:pt x="2185" y="279"/>
                    <a:pt x="2183" y="280"/>
                  </a:cubicBezTo>
                  <a:cubicBezTo>
                    <a:pt x="2188" y="285"/>
                    <a:pt x="2189" y="291"/>
                    <a:pt x="2189" y="291"/>
                  </a:cubicBezTo>
                  <a:cubicBezTo>
                    <a:pt x="2189" y="291"/>
                    <a:pt x="2188" y="299"/>
                    <a:pt x="2181" y="305"/>
                  </a:cubicBezTo>
                  <a:cubicBezTo>
                    <a:pt x="2174" y="311"/>
                    <a:pt x="2174" y="321"/>
                    <a:pt x="2174" y="321"/>
                  </a:cubicBezTo>
                  <a:cubicBezTo>
                    <a:pt x="2162" y="320"/>
                    <a:pt x="2162" y="320"/>
                    <a:pt x="2162" y="320"/>
                  </a:cubicBezTo>
                  <a:cubicBezTo>
                    <a:pt x="2162" y="320"/>
                    <a:pt x="2162" y="324"/>
                    <a:pt x="2150" y="329"/>
                  </a:cubicBezTo>
                  <a:cubicBezTo>
                    <a:pt x="2138" y="334"/>
                    <a:pt x="2132" y="324"/>
                    <a:pt x="2132" y="324"/>
                  </a:cubicBezTo>
                  <a:cubicBezTo>
                    <a:pt x="2132" y="324"/>
                    <a:pt x="2127" y="332"/>
                    <a:pt x="2114" y="333"/>
                  </a:cubicBezTo>
                  <a:cubicBezTo>
                    <a:pt x="2101" y="334"/>
                    <a:pt x="2097" y="324"/>
                    <a:pt x="2088" y="323"/>
                  </a:cubicBezTo>
                  <a:cubicBezTo>
                    <a:pt x="2079" y="322"/>
                    <a:pt x="2072" y="330"/>
                    <a:pt x="2051" y="335"/>
                  </a:cubicBezTo>
                  <a:cubicBezTo>
                    <a:pt x="2050" y="335"/>
                    <a:pt x="2048" y="336"/>
                    <a:pt x="2047" y="336"/>
                  </a:cubicBezTo>
                  <a:cubicBezTo>
                    <a:pt x="2048" y="340"/>
                    <a:pt x="2048" y="344"/>
                    <a:pt x="2046" y="350"/>
                  </a:cubicBezTo>
                  <a:cubicBezTo>
                    <a:pt x="2045" y="352"/>
                    <a:pt x="2043" y="354"/>
                    <a:pt x="2040" y="357"/>
                  </a:cubicBezTo>
                  <a:cubicBezTo>
                    <a:pt x="2049" y="357"/>
                    <a:pt x="2049" y="357"/>
                    <a:pt x="2049" y="357"/>
                  </a:cubicBezTo>
                  <a:cubicBezTo>
                    <a:pt x="2049" y="357"/>
                    <a:pt x="1969" y="398"/>
                    <a:pt x="1961" y="401"/>
                  </a:cubicBezTo>
                  <a:cubicBezTo>
                    <a:pt x="1953" y="404"/>
                    <a:pt x="1945" y="407"/>
                    <a:pt x="1925" y="412"/>
                  </a:cubicBezTo>
                  <a:cubicBezTo>
                    <a:pt x="1905" y="417"/>
                    <a:pt x="1897" y="423"/>
                    <a:pt x="1890" y="426"/>
                  </a:cubicBezTo>
                  <a:cubicBezTo>
                    <a:pt x="1883" y="429"/>
                    <a:pt x="1871" y="427"/>
                    <a:pt x="1871" y="427"/>
                  </a:cubicBezTo>
                  <a:cubicBezTo>
                    <a:pt x="1871" y="427"/>
                    <a:pt x="1871" y="432"/>
                    <a:pt x="1859" y="433"/>
                  </a:cubicBezTo>
                  <a:cubicBezTo>
                    <a:pt x="1847" y="434"/>
                    <a:pt x="1846" y="423"/>
                    <a:pt x="1846" y="423"/>
                  </a:cubicBezTo>
                  <a:cubicBezTo>
                    <a:pt x="1846" y="423"/>
                    <a:pt x="1824" y="420"/>
                    <a:pt x="1824" y="413"/>
                  </a:cubicBezTo>
                  <a:cubicBezTo>
                    <a:pt x="1824" y="413"/>
                    <a:pt x="1837" y="407"/>
                    <a:pt x="1848" y="402"/>
                  </a:cubicBezTo>
                  <a:cubicBezTo>
                    <a:pt x="1847" y="401"/>
                    <a:pt x="1847" y="400"/>
                    <a:pt x="1846" y="400"/>
                  </a:cubicBezTo>
                  <a:cubicBezTo>
                    <a:pt x="1836" y="390"/>
                    <a:pt x="1881" y="368"/>
                    <a:pt x="1889" y="368"/>
                  </a:cubicBezTo>
                  <a:cubicBezTo>
                    <a:pt x="1897" y="368"/>
                    <a:pt x="1895" y="347"/>
                    <a:pt x="1895" y="347"/>
                  </a:cubicBezTo>
                  <a:cubicBezTo>
                    <a:pt x="1895" y="347"/>
                    <a:pt x="1898" y="343"/>
                    <a:pt x="1902" y="338"/>
                  </a:cubicBezTo>
                  <a:cubicBezTo>
                    <a:pt x="1902" y="337"/>
                    <a:pt x="1901" y="337"/>
                    <a:pt x="1901" y="337"/>
                  </a:cubicBezTo>
                  <a:cubicBezTo>
                    <a:pt x="1895" y="331"/>
                    <a:pt x="1908" y="302"/>
                    <a:pt x="1906" y="294"/>
                  </a:cubicBezTo>
                  <a:cubicBezTo>
                    <a:pt x="1904" y="286"/>
                    <a:pt x="1890" y="293"/>
                    <a:pt x="1884" y="298"/>
                  </a:cubicBezTo>
                  <a:cubicBezTo>
                    <a:pt x="1878" y="303"/>
                    <a:pt x="1850" y="321"/>
                    <a:pt x="1848" y="308"/>
                  </a:cubicBezTo>
                  <a:cubicBezTo>
                    <a:pt x="1847" y="302"/>
                    <a:pt x="1871" y="288"/>
                    <a:pt x="1874" y="283"/>
                  </a:cubicBezTo>
                  <a:cubicBezTo>
                    <a:pt x="1877" y="278"/>
                    <a:pt x="1888" y="275"/>
                    <a:pt x="1897" y="269"/>
                  </a:cubicBezTo>
                  <a:cubicBezTo>
                    <a:pt x="1906" y="263"/>
                    <a:pt x="1898" y="240"/>
                    <a:pt x="1898" y="240"/>
                  </a:cubicBezTo>
                  <a:cubicBezTo>
                    <a:pt x="1898" y="240"/>
                    <a:pt x="1901" y="245"/>
                    <a:pt x="1909" y="228"/>
                  </a:cubicBezTo>
                  <a:cubicBezTo>
                    <a:pt x="1917" y="211"/>
                    <a:pt x="1897" y="218"/>
                    <a:pt x="1888" y="211"/>
                  </a:cubicBezTo>
                  <a:cubicBezTo>
                    <a:pt x="1879" y="204"/>
                    <a:pt x="1879" y="198"/>
                    <a:pt x="1879" y="198"/>
                  </a:cubicBezTo>
                  <a:cubicBezTo>
                    <a:pt x="1879" y="198"/>
                    <a:pt x="1876" y="205"/>
                    <a:pt x="1871" y="200"/>
                  </a:cubicBezTo>
                  <a:cubicBezTo>
                    <a:pt x="1866" y="195"/>
                    <a:pt x="1872" y="185"/>
                    <a:pt x="1872" y="185"/>
                  </a:cubicBezTo>
                  <a:cubicBezTo>
                    <a:pt x="1896" y="189"/>
                    <a:pt x="1896" y="189"/>
                    <a:pt x="1896" y="189"/>
                  </a:cubicBezTo>
                  <a:cubicBezTo>
                    <a:pt x="1896" y="189"/>
                    <a:pt x="1900" y="186"/>
                    <a:pt x="1897" y="178"/>
                  </a:cubicBezTo>
                  <a:cubicBezTo>
                    <a:pt x="1896" y="174"/>
                    <a:pt x="1900" y="174"/>
                    <a:pt x="1905" y="174"/>
                  </a:cubicBezTo>
                  <a:cubicBezTo>
                    <a:pt x="1909" y="159"/>
                    <a:pt x="1909" y="159"/>
                    <a:pt x="1909" y="159"/>
                  </a:cubicBezTo>
                  <a:cubicBezTo>
                    <a:pt x="1896" y="159"/>
                    <a:pt x="1896" y="159"/>
                    <a:pt x="1896" y="159"/>
                  </a:cubicBezTo>
                  <a:cubicBezTo>
                    <a:pt x="1894" y="167"/>
                    <a:pt x="1894" y="167"/>
                    <a:pt x="1894" y="167"/>
                  </a:cubicBezTo>
                  <a:cubicBezTo>
                    <a:pt x="1878" y="161"/>
                    <a:pt x="1878" y="161"/>
                    <a:pt x="1878" y="161"/>
                  </a:cubicBezTo>
                  <a:cubicBezTo>
                    <a:pt x="1877" y="147"/>
                    <a:pt x="1877" y="147"/>
                    <a:pt x="1877" y="147"/>
                  </a:cubicBezTo>
                  <a:cubicBezTo>
                    <a:pt x="1868" y="149"/>
                    <a:pt x="1868" y="149"/>
                    <a:pt x="1868" y="149"/>
                  </a:cubicBezTo>
                  <a:cubicBezTo>
                    <a:pt x="1857" y="154"/>
                    <a:pt x="1857" y="154"/>
                    <a:pt x="1857" y="154"/>
                  </a:cubicBezTo>
                  <a:cubicBezTo>
                    <a:pt x="1821" y="151"/>
                    <a:pt x="1821" y="151"/>
                    <a:pt x="1821" y="151"/>
                  </a:cubicBezTo>
                  <a:cubicBezTo>
                    <a:pt x="1821" y="151"/>
                    <a:pt x="1808" y="162"/>
                    <a:pt x="1787" y="160"/>
                  </a:cubicBezTo>
                  <a:cubicBezTo>
                    <a:pt x="1766" y="158"/>
                    <a:pt x="1771" y="144"/>
                    <a:pt x="1767" y="139"/>
                  </a:cubicBezTo>
                  <a:cubicBezTo>
                    <a:pt x="1763" y="134"/>
                    <a:pt x="1743" y="145"/>
                    <a:pt x="1740" y="136"/>
                  </a:cubicBezTo>
                  <a:cubicBezTo>
                    <a:pt x="1777" y="115"/>
                    <a:pt x="1777" y="115"/>
                    <a:pt x="1777" y="115"/>
                  </a:cubicBezTo>
                  <a:cubicBezTo>
                    <a:pt x="1777" y="115"/>
                    <a:pt x="1772" y="110"/>
                    <a:pt x="1765" y="110"/>
                  </a:cubicBezTo>
                  <a:cubicBezTo>
                    <a:pt x="1758" y="110"/>
                    <a:pt x="1744" y="122"/>
                    <a:pt x="1740" y="123"/>
                  </a:cubicBezTo>
                  <a:cubicBezTo>
                    <a:pt x="1736" y="124"/>
                    <a:pt x="1714" y="137"/>
                    <a:pt x="1700" y="142"/>
                  </a:cubicBezTo>
                  <a:cubicBezTo>
                    <a:pt x="1686" y="147"/>
                    <a:pt x="1670" y="144"/>
                    <a:pt x="1670" y="144"/>
                  </a:cubicBezTo>
                  <a:cubicBezTo>
                    <a:pt x="1664" y="153"/>
                    <a:pt x="1664" y="153"/>
                    <a:pt x="1664" y="153"/>
                  </a:cubicBezTo>
                  <a:cubicBezTo>
                    <a:pt x="1664" y="153"/>
                    <a:pt x="1640" y="155"/>
                    <a:pt x="1631" y="154"/>
                  </a:cubicBezTo>
                  <a:cubicBezTo>
                    <a:pt x="1622" y="153"/>
                    <a:pt x="1646" y="136"/>
                    <a:pt x="1646" y="136"/>
                  </a:cubicBezTo>
                  <a:cubicBezTo>
                    <a:pt x="1646" y="136"/>
                    <a:pt x="1636" y="140"/>
                    <a:pt x="1617" y="141"/>
                  </a:cubicBezTo>
                  <a:cubicBezTo>
                    <a:pt x="1598" y="142"/>
                    <a:pt x="1596" y="154"/>
                    <a:pt x="1579" y="148"/>
                  </a:cubicBezTo>
                  <a:cubicBezTo>
                    <a:pt x="1562" y="142"/>
                    <a:pt x="1655" y="109"/>
                    <a:pt x="1667" y="101"/>
                  </a:cubicBezTo>
                  <a:cubicBezTo>
                    <a:pt x="1679" y="93"/>
                    <a:pt x="1694" y="90"/>
                    <a:pt x="1713" y="86"/>
                  </a:cubicBezTo>
                  <a:cubicBezTo>
                    <a:pt x="1718" y="85"/>
                    <a:pt x="1722" y="83"/>
                    <a:pt x="1726" y="80"/>
                  </a:cubicBezTo>
                  <a:cubicBezTo>
                    <a:pt x="1698" y="80"/>
                    <a:pt x="1701" y="74"/>
                    <a:pt x="1701" y="74"/>
                  </a:cubicBezTo>
                  <a:cubicBezTo>
                    <a:pt x="1671" y="75"/>
                    <a:pt x="1671" y="75"/>
                    <a:pt x="1671" y="75"/>
                  </a:cubicBezTo>
                  <a:cubicBezTo>
                    <a:pt x="1671" y="65"/>
                    <a:pt x="1671" y="65"/>
                    <a:pt x="1671" y="65"/>
                  </a:cubicBezTo>
                  <a:cubicBezTo>
                    <a:pt x="1671" y="65"/>
                    <a:pt x="1655" y="76"/>
                    <a:pt x="1649" y="82"/>
                  </a:cubicBezTo>
                  <a:cubicBezTo>
                    <a:pt x="1643" y="88"/>
                    <a:pt x="1630" y="64"/>
                    <a:pt x="1627" y="67"/>
                  </a:cubicBezTo>
                  <a:cubicBezTo>
                    <a:pt x="1624" y="70"/>
                    <a:pt x="1617" y="67"/>
                    <a:pt x="1611" y="67"/>
                  </a:cubicBezTo>
                  <a:cubicBezTo>
                    <a:pt x="1605" y="67"/>
                    <a:pt x="1602" y="47"/>
                    <a:pt x="1589" y="47"/>
                  </a:cubicBezTo>
                  <a:cubicBezTo>
                    <a:pt x="1576" y="47"/>
                    <a:pt x="1578" y="59"/>
                    <a:pt x="1570" y="59"/>
                  </a:cubicBezTo>
                  <a:cubicBezTo>
                    <a:pt x="1562" y="59"/>
                    <a:pt x="1555" y="49"/>
                    <a:pt x="1555" y="49"/>
                  </a:cubicBezTo>
                  <a:cubicBezTo>
                    <a:pt x="1555" y="49"/>
                    <a:pt x="1536" y="48"/>
                    <a:pt x="1528" y="40"/>
                  </a:cubicBezTo>
                  <a:cubicBezTo>
                    <a:pt x="1519" y="31"/>
                    <a:pt x="1544" y="21"/>
                    <a:pt x="1534" y="11"/>
                  </a:cubicBezTo>
                  <a:cubicBezTo>
                    <a:pt x="1524" y="0"/>
                    <a:pt x="1510" y="35"/>
                    <a:pt x="1510" y="35"/>
                  </a:cubicBezTo>
                  <a:cubicBezTo>
                    <a:pt x="368" y="35"/>
                    <a:pt x="368" y="35"/>
                    <a:pt x="368" y="35"/>
                  </a:cubicBezTo>
                  <a:cubicBezTo>
                    <a:pt x="367" y="42"/>
                    <a:pt x="365" y="48"/>
                    <a:pt x="364" y="50"/>
                  </a:cubicBezTo>
                  <a:cubicBezTo>
                    <a:pt x="360" y="56"/>
                    <a:pt x="359" y="80"/>
                    <a:pt x="359" y="80"/>
                  </a:cubicBezTo>
                  <a:cubicBezTo>
                    <a:pt x="337" y="92"/>
                    <a:pt x="337" y="92"/>
                    <a:pt x="337" y="92"/>
                  </a:cubicBezTo>
                  <a:cubicBezTo>
                    <a:pt x="335" y="104"/>
                    <a:pt x="335" y="104"/>
                    <a:pt x="335" y="104"/>
                  </a:cubicBezTo>
                  <a:cubicBezTo>
                    <a:pt x="324" y="119"/>
                    <a:pt x="324" y="119"/>
                    <a:pt x="324" y="119"/>
                  </a:cubicBezTo>
                  <a:cubicBezTo>
                    <a:pt x="292" y="130"/>
                    <a:pt x="292" y="130"/>
                    <a:pt x="292" y="130"/>
                  </a:cubicBezTo>
                  <a:cubicBezTo>
                    <a:pt x="315" y="117"/>
                    <a:pt x="315" y="117"/>
                    <a:pt x="315" y="117"/>
                  </a:cubicBezTo>
                  <a:cubicBezTo>
                    <a:pt x="300" y="115"/>
                    <a:pt x="300" y="115"/>
                    <a:pt x="300" y="115"/>
                  </a:cubicBezTo>
                  <a:cubicBezTo>
                    <a:pt x="300" y="115"/>
                    <a:pt x="314" y="95"/>
                    <a:pt x="318" y="92"/>
                  </a:cubicBezTo>
                  <a:cubicBezTo>
                    <a:pt x="322" y="89"/>
                    <a:pt x="342" y="75"/>
                    <a:pt x="332" y="75"/>
                  </a:cubicBezTo>
                  <a:cubicBezTo>
                    <a:pt x="322" y="75"/>
                    <a:pt x="313" y="77"/>
                    <a:pt x="303" y="76"/>
                  </a:cubicBezTo>
                  <a:cubicBezTo>
                    <a:pt x="293" y="75"/>
                    <a:pt x="284" y="57"/>
                    <a:pt x="275" y="61"/>
                  </a:cubicBezTo>
                  <a:cubicBezTo>
                    <a:pt x="266" y="65"/>
                    <a:pt x="257" y="57"/>
                    <a:pt x="255" y="78"/>
                  </a:cubicBezTo>
                  <a:cubicBezTo>
                    <a:pt x="253" y="99"/>
                    <a:pt x="255" y="111"/>
                    <a:pt x="252" y="113"/>
                  </a:cubicBezTo>
                  <a:cubicBezTo>
                    <a:pt x="249" y="115"/>
                    <a:pt x="239" y="130"/>
                    <a:pt x="239" y="130"/>
                  </a:cubicBezTo>
                  <a:cubicBezTo>
                    <a:pt x="257" y="134"/>
                    <a:pt x="257" y="134"/>
                    <a:pt x="257" y="134"/>
                  </a:cubicBezTo>
                  <a:cubicBezTo>
                    <a:pt x="238" y="137"/>
                    <a:pt x="238" y="137"/>
                    <a:pt x="238" y="137"/>
                  </a:cubicBezTo>
                  <a:cubicBezTo>
                    <a:pt x="241" y="148"/>
                    <a:pt x="241" y="148"/>
                    <a:pt x="241" y="148"/>
                  </a:cubicBezTo>
                  <a:cubicBezTo>
                    <a:pt x="230" y="165"/>
                    <a:pt x="230" y="165"/>
                    <a:pt x="230" y="165"/>
                  </a:cubicBezTo>
                  <a:cubicBezTo>
                    <a:pt x="230" y="165"/>
                    <a:pt x="251" y="173"/>
                    <a:pt x="250" y="177"/>
                  </a:cubicBezTo>
                  <a:cubicBezTo>
                    <a:pt x="249" y="181"/>
                    <a:pt x="218" y="175"/>
                    <a:pt x="218" y="175"/>
                  </a:cubicBezTo>
                  <a:cubicBezTo>
                    <a:pt x="218" y="175"/>
                    <a:pt x="179" y="235"/>
                    <a:pt x="169" y="247"/>
                  </a:cubicBezTo>
                  <a:cubicBezTo>
                    <a:pt x="159" y="259"/>
                    <a:pt x="112" y="315"/>
                    <a:pt x="112" y="315"/>
                  </a:cubicBezTo>
                  <a:cubicBezTo>
                    <a:pt x="114" y="330"/>
                    <a:pt x="114" y="330"/>
                    <a:pt x="114" y="330"/>
                  </a:cubicBezTo>
                  <a:cubicBezTo>
                    <a:pt x="114" y="330"/>
                    <a:pt x="101" y="332"/>
                    <a:pt x="90" y="344"/>
                  </a:cubicBezTo>
                  <a:cubicBezTo>
                    <a:pt x="79" y="356"/>
                    <a:pt x="79" y="374"/>
                    <a:pt x="79" y="374"/>
                  </a:cubicBezTo>
                  <a:cubicBezTo>
                    <a:pt x="66" y="387"/>
                    <a:pt x="66" y="387"/>
                    <a:pt x="66" y="387"/>
                  </a:cubicBezTo>
                  <a:cubicBezTo>
                    <a:pt x="63" y="421"/>
                    <a:pt x="63" y="421"/>
                    <a:pt x="63" y="421"/>
                  </a:cubicBezTo>
                  <a:cubicBezTo>
                    <a:pt x="63" y="421"/>
                    <a:pt x="39" y="453"/>
                    <a:pt x="33" y="459"/>
                  </a:cubicBezTo>
                  <a:cubicBezTo>
                    <a:pt x="27" y="465"/>
                    <a:pt x="6" y="477"/>
                    <a:pt x="8" y="488"/>
                  </a:cubicBezTo>
                  <a:cubicBezTo>
                    <a:pt x="10" y="499"/>
                    <a:pt x="26" y="506"/>
                    <a:pt x="23" y="516"/>
                  </a:cubicBezTo>
                  <a:cubicBezTo>
                    <a:pt x="20" y="526"/>
                    <a:pt x="0" y="550"/>
                    <a:pt x="0" y="562"/>
                  </a:cubicBezTo>
                  <a:cubicBezTo>
                    <a:pt x="0" y="574"/>
                    <a:pt x="13" y="615"/>
                    <a:pt x="13" y="615"/>
                  </a:cubicBezTo>
                  <a:cubicBezTo>
                    <a:pt x="29" y="605"/>
                    <a:pt x="29" y="605"/>
                    <a:pt x="29" y="605"/>
                  </a:cubicBezTo>
                  <a:cubicBezTo>
                    <a:pt x="74" y="609"/>
                    <a:pt x="74" y="609"/>
                    <a:pt x="74" y="609"/>
                  </a:cubicBezTo>
                  <a:cubicBezTo>
                    <a:pt x="74" y="609"/>
                    <a:pt x="36" y="609"/>
                    <a:pt x="33" y="615"/>
                  </a:cubicBezTo>
                  <a:cubicBezTo>
                    <a:pt x="30" y="621"/>
                    <a:pt x="31" y="635"/>
                    <a:pt x="31" y="635"/>
                  </a:cubicBezTo>
                  <a:cubicBezTo>
                    <a:pt x="31" y="635"/>
                    <a:pt x="20" y="620"/>
                    <a:pt x="16" y="626"/>
                  </a:cubicBezTo>
                  <a:cubicBezTo>
                    <a:pt x="12" y="632"/>
                    <a:pt x="2" y="651"/>
                    <a:pt x="7" y="659"/>
                  </a:cubicBezTo>
                  <a:cubicBezTo>
                    <a:pt x="12" y="667"/>
                    <a:pt x="25" y="667"/>
                    <a:pt x="25" y="667"/>
                  </a:cubicBezTo>
                  <a:cubicBezTo>
                    <a:pt x="25" y="667"/>
                    <a:pt x="23" y="688"/>
                    <a:pt x="20" y="688"/>
                  </a:cubicBezTo>
                  <a:cubicBezTo>
                    <a:pt x="17" y="688"/>
                    <a:pt x="7" y="700"/>
                    <a:pt x="7" y="709"/>
                  </a:cubicBezTo>
                  <a:cubicBezTo>
                    <a:pt x="7" y="718"/>
                    <a:pt x="20" y="733"/>
                    <a:pt x="20" y="733"/>
                  </a:cubicBezTo>
                  <a:cubicBezTo>
                    <a:pt x="20" y="733"/>
                    <a:pt x="40" y="763"/>
                    <a:pt x="39" y="770"/>
                  </a:cubicBezTo>
                  <a:cubicBezTo>
                    <a:pt x="38" y="777"/>
                    <a:pt x="16" y="799"/>
                    <a:pt x="28" y="803"/>
                  </a:cubicBezTo>
                  <a:cubicBezTo>
                    <a:pt x="40" y="807"/>
                    <a:pt x="65" y="807"/>
                    <a:pt x="65" y="807"/>
                  </a:cubicBezTo>
                  <a:cubicBezTo>
                    <a:pt x="65" y="807"/>
                    <a:pt x="67" y="828"/>
                    <a:pt x="79" y="828"/>
                  </a:cubicBezTo>
                  <a:cubicBezTo>
                    <a:pt x="91" y="828"/>
                    <a:pt x="108" y="822"/>
                    <a:pt x="108" y="822"/>
                  </a:cubicBezTo>
                  <a:cubicBezTo>
                    <a:pt x="111" y="841"/>
                    <a:pt x="111" y="841"/>
                    <a:pt x="111" y="841"/>
                  </a:cubicBezTo>
                  <a:cubicBezTo>
                    <a:pt x="111" y="841"/>
                    <a:pt x="143" y="852"/>
                    <a:pt x="143" y="867"/>
                  </a:cubicBezTo>
                  <a:cubicBezTo>
                    <a:pt x="143" y="875"/>
                    <a:pt x="140" y="889"/>
                    <a:pt x="138" y="901"/>
                  </a:cubicBezTo>
                  <a:cubicBezTo>
                    <a:pt x="141" y="903"/>
                    <a:pt x="141" y="903"/>
                    <a:pt x="141" y="903"/>
                  </a:cubicBezTo>
                  <a:cubicBezTo>
                    <a:pt x="240" y="899"/>
                    <a:pt x="240" y="899"/>
                    <a:pt x="240" y="899"/>
                  </a:cubicBezTo>
                  <a:cubicBezTo>
                    <a:pt x="230" y="909"/>
                    <a:pt x="240" y="909"/>
                    <a:pt x="240" y="909"/>
                  </a:cubicBezTo>
                  <a:cubicBezTo>
                    <a:pt x="380" y="973"/>
                    <a:pt x="380" y="973"/>
                    <a:pt x="380" y="973"/>
                  </a:cubicBezTo>
                  <a:cubicBezTo>
                    <a:pt x="512" y="971"/>
                    <a:pt x="512" y="971"/>
                    <a:pt x="512" y="971"/>
                  </a:cubicBezTo>
                  <a:cubicBezTo>
                    <a:pt x="512" y="971"/>
                    <a:pt x="512" y="971"/>
                    <a:pt x="516" y="968"/>
                  </a:cubicBezTo>
                  <a:cubicBezTo>
                    <a:pt x="519" y="964"/>
                    <a:pt x="517" y="960"/>
                    <a:pt x="517" y="954"/>
                  </a:cubicBezTo>
                  <a:cubicBezTo>
                    <a:pt x="517" y="948"/>
                    <a:pt x="524" y="944"/>
                    <a:pt x="524" y="944"/>
                  </a:cubicBezTo>
                  <a:cubicBezTo>
                    <a:pt x="597" y="944"/>
                    <a:pt x="597" y="944"/>
                    <a:pt x="597" y="944"/>
                  </a:cubicBezTo>
                  <a:cubicBezTo>
                    <a:pt x="612" y="959"/>
                    <a:pt x="607" y="967"/>
                    <a:pt x="607" y="967"/>
                  </a:cubicBezTo>
                  <a:cubicBezTo>
                    <a:pt x="625" y="975"/>
                    <a:pt x="625" y="975"/>
                    <a:pt x="625" y="975"/>
                  </a:cubicBezTo>
                  <a:cubicBezTo>
                    <a:pt x="631" y="996"/>
                    <a:pt x="631" y="996"/>
                    <a:pt x="631" y="996"/>
                  </a:cubicBezTo>
                  <a:cubicBezTo>
                    <a:pt x="631" y="996"/>
                    <a:pt x="642" y="997"/>
                    <a:pt x="653" y="1008"/>
                  </a:cubicBezTo>
                  <a:cubicBezTo>
                    <a:pt x="663" y="1018"/>
                    <a:pt x="653" y="1060"/>
                    <a:pt x="653" y="1060"/>
                  </a:cubicBezTo>
                  <a:cubicBezTo>
                    <a:pt x="653" y="1060"/>
                    <a:pt x="684" y="1094"/>
                    <a:pt x="703" y="1094"/>
                  </a:cubicBezTo>
                  <a:cubicBezTo>
                    <a:pt x="722" y="1094"/>
                    <a:pt x="735" y="1060"/>
                    <a:pt x="739" y="1056"/>
                  </a:cubicBezTo>
                  <a:cubicBezTo>
                    <a:pt x="743" y="1052"/>
                    <a:pt x="755" y="1053"/>
                    <a:pt x="755" y="1053"/>
                  </a:cubicBezTo>
                  <a:cubicBezTo>
                    <a:pt x="756" y="1047"/>
                    <a:pt x="756" y="1047"/>
                    <a:pt x="756" y="1047"/>
                  </a:cubicBezTo>
                  <a:cubicBezTo>
                    <a:pt x="766" y="1052"/>
                    <a:pt x="766" y="1052"/>
                    <a:pt x="766" y="1052"/>
                  </a:cubicBezTo>
                  <a:cubicBezTo>
                    <a:pt x="795" y="1053"/>
                    <a:pt x="795" y="1053"/>
                    <a:pt x="795" y="1053"/>
                  </a:cubicBezTo>
                  <a:cubicBezTo>
                    <a:pt x="795" y="1053"/>
                    <a:pt x="815" y="1084"/>
                    <a:pt x="823" y="1092"/>
                  </a:cubicBezTo>
                  <a:cubicBezTo>
                    <a:pt x="831" y="1100"/>
                    <a:pt x="823" y="1115"/>
                    <a:pt x="823" y="1124"/>
                  </a:cubicBezTo>
                  <a:cubicBezTo>
                    <a:pt x="823" y="1133"/>
                    <a:pt x="834" y="1140"/>
                    <a:pt x="834" y="1140"/>
                  </a:cubicBezTo>
                  <a:cubicBezTo>
                    <a:pt x="834" y="1140"/>
                    <a:pt x="835" y="1146"/>
                    <a:pt x="835" y="1153"/>
                  </a:cubicBezTo>
                  <a:cubicBezTo>
                    <a:pt x="835" y="1161"/>
                    <a:pt x="844" y="1162"/>
                    <a:pt x="851" y="1169"/>
                  </a:cubicBezTo>
                  <a:cubicBezTo>
                    <a:pt x="858" y="1176"/>
                    <a:pt x="848" y="1179"/>
                    <a:pt x="848" y="1179"/>
                  </a:cubicBezTo>
                  <a:cubicBezTo>
                    <a:pt x="848" y="1206"/>
                    <a:pt x="848" y="1206"/>
                    <a:pt x="848" y="1206"/>
                  </a:cubicBezTo>
                  <a:cubicBezTo>
                    <a:pt x="856" y="1212"/>
                    <a:pt x="856" y="1212"/>
                    <a:pt x="856" y="1212"/>
                  </a:cubicBezTo>
                  <a:cubicBezTo>
                    <a:pt x="856" y="1212"/>
                    <a:pt x="854" y="1220"/>
                    <a:pt x="854" y="1231"/>
                  </a:cubicBezTo>
                  <a:cubicBezTo>
                    <a:pt x="854" y="1242"/>
                    <a:pt x="884" y="1243"/>
                    <a:pt x="884" y="1243"/>
                  </a:cubicBezTo>
                  <a:cubicBezTo>
                    <a:pt x="890" y="1254"/>
                    <a:pt x="890" y="1254"/>
                    <a:pt x="890" y="1254"/>
                  </a:cubicBezTo>
                  <a:cubicBezTo>
                    <a:pt x="890" y="1254"/>
                    <a:pt x="909" y="1254"/>
                    <a:pt x="914" y="1254"/>
                  </a:cubicBezTo>
                  <a:cubicBezTo>
                    <a:pt x="919" y="1254"/>
                    <a:pt x="917" y="1264"/>
                    <a:pt x="928" y="1264"/>
                  </a:cubicBezTo>
                  <a:cubicBezTo>
                    <a:pt x="933" y="1264"/>
                    <a:pt x="937" y="1263"/>
                    <a:pt x="940" y="1262"/>
                  </a:cubicBezTo>
                  <a:cubicBezTo>
                    <a:pt x="930" y="1213"/>
                    <a:pt x="930" y="1213"/>
                    <a:pt x="930" y="1213"/>
                  </a:cubicBezTo>
                  <a:cubicBezTo>
                    <a:pt x="942" y="1202"/>
                    <a:pt x="942" y="1202"/>
                    <a:pt x="942" y="1202"/>
                  </a:cubicBezTo>
                  <a:cubicBezTo>
                    <a:pt x="929" y="1193"/>
                    <a:pt x="929" y="1193"/>
                    <a:pt x="929" y="1193"/>
                  </a:cubicBezTo>
                  <a:cubicBezTo>
                    <a:pt x="929" y="1180"/>
                    <a:pt x="929" y="1180"/>
                    <a:pt x="929" y="1180"/>
                  </a:cubicBezTo>
                  <a:cubicBezTo>
                    <a:pt x="929" y="1180"/>
                    <a:pt x="947" y="1192"/>
                    <a:pt x="950" y="1180"/>
                  </a:cubicBezTo>
                  <a:cubicBezTo>
                    <a:pt x="953" y="1168"/>
                    <a:pt x="950" y="1159"/>
                    <a:pt x="950" y="1159"/>
                  </a:cubicBezTo>
                  <a:cubicBezTo>
                    <a:pt x="966" y="1157"/>
                    <a:pt x="966" y="1157"/>
                    <a:pt x="966" y="1157"/>
                  </a:cubicBezTo>
                  <a:cubicBezTo>
                    <a:pt x="971" y="1139"/>
                    <a:pt x="971" y="1139"/>
                    <a:pt x="971" y="1139"/>
                  </a:cubicBezTo>
                  <a:cubicBezTo>
                    <a:pt x="981" y="1144"/>
                    <a:pt x="981" y="1144"/>
                    <a:pt x="981" y="1144"/>
                  </a:cubicBezTo>
                  <a:cubicBezTo>
                    <a:pt x="994" y="1137"/>
                    <a:pt x="994" y="1137"/>
                    <a:pt x="994" y="1137"/>
                  </a:cubicBezTo>
                  <a:cubicBezTo>
                    <a:pt x="989" y="1121"/>
                    <a:pt x="989" y="1121"/>
                    <a:pt x="989" y="1121"/>
                  </a:cubicBezTo>
                  <a:cubicBezTo>
                    <a:pt x="999" y="1128"/>
                    <a:pt x="999" y="1128"/>
                    <a:pt x="999" y="1128"/>
                  </a:cubicBezTo>
                  <a:cubicBezTo>
                    <a:pt x="999" y="1128"/>
                    <a:pt x="1003" y="1106"/>
                    <a:pt x="1009" y="1110"/>
                  </a:cubicBezTo>
                  <a:cubicBezTo>
                    <a:pt x="1015" y="1114"/>
                    <a:pt x="1016" y="1125"/>
                    <a:pt x="1022" y="1122"/>
                  </a:cubicBezTo>
                  <a:cubicBezTo>
                    <a:pt x="1028" y="1119"/>
                    <a:pt x="1056" y="1111"/>
                    <a:pt x="1064" y="1103"/>
                  </a:cubicBezTo>
                  <a:cubicBezTo>
                    <a:pt x="1072" y="1095"/>
                    <a:pt x="1086" y="1076"/>
                    <a:pt x="1086" y="1076"/>
                  </a:cubicBezTo>
                  <a:cubicBezTo>
                    <a:pt x="1086" y="1076"/>
                    <a:pt x="1078" y="1053"/>
                    <a:pt x="1088" y="1052"/>
                  </a:cubicBezTo>
                  <a:cubicBezTo>
                    <a:pt x="1098" y="1051"/>
                    <a:pt x="1109" y="1075"/>
                    <a:pt x="1121" y="1068"/>
                  </a:cubicBezTo>
                  <a:cubicBezTo>
                    <a:pt x="1133" y="1061"/>
                    <a:pt x="1137" y="1033"/>
                    <a:pt x="1143" y="1040"/>
                  </a:cubicBezTo>
                  <a:cubicBezTo>
                    <a:pt x="1149" y="1047"/>
                    <a:pt x="1152" y="1053"/>
                    <a:pt x="1157" y="1053"/>
                  </a:cubicBezTo>
                  <a:cubicBezTo>
                    <a:pt x="1162" y="1053"/>
                    <a:pt x="1173" y="1037"/>
                    <a:pt x="1173" y="1037"/>
                  </a:cubicBezTo>
                  <a:cubicBezTo>
                    <a:pt x="1173" y="1037"/>
                    <a:pt x="1192" y="1068"/>
                    <a:pt x="1206" y="1066"/>
                  </a:cubicBezTo>
                  <a:cubicBezTo>
                    <a:pt x="1220" y="1064"/>
                    <a:pt x="1222" y="1033"/>
                    <a:pt x="1238" y="1049"/>
                  </a:cubicBezTo>
                  <a:cubicBezTo>
                    <a:pt x="1254" y="1065"/>
                    <a:pt x="1246" y="1083"/>
                    <a:pt x="1256" y="1083"/>
                  </a:cubicBezTo>
                  <a:cubicBezTo>
                    <a:pt x="1266" y="1083"/>
                    <a:pt x="1282" y="1090"/>
                    <a:pt x="1282" y="1090"/>
                  </a:cubicBezTo>
                  <a:cubicBezTo>
                    <a:pt x="1282" y="1090"/>
                    <a:pt x="1281" y="1074"/>
                    <a:pt x="1288" y="1079"/>
                  </a:cubicBezTo>
                  <a:cubicBezTo>
                    <a:pt x="1295" y="1084"/>
                    <a:pt x="1303" y="1103"/>
                    <a:pt x="1308" y="1091"/>
                  </a:cubicBezTo>
                  <a:cubicBezTo>
                    <a:pt x="1313" y="1079"/>
                    <a:pt x="1306" y="1064"/>
                    <a:pt x="1306" y="1064"/>
                  </a:cubicBezTo>
                  <a:cubicBezTo>
                    <a:pt x="1320" y="1069"/>
                    <a:pt x="1320" y="1069"/>
                    <a:pt x="1320" y="1069"/>
                  </a:cubicBezTo>
                  <a:cubicBezTo>
                    <a:pt x="1325" y="1080"/>
                    <a:pt x="1325" y="1080"/>
                    <a:pt x="1325" y="1080"/>
                  </a:cubicBezTo>
                  <a:cubicBezTo>
                    <a:pt x="1335" y="1083"/>
                    <a:pt x="1335" y="1083"/>
                    <a:pt x="1335" y="1083"/>
                  </a:cubicBezTo>
                  <a:cubicBezTo>
                    <a:pt x="1335" y="1092"/>
                    <a:pt x="1335" y="1092"/>
                    <a:pt x="1335" y="1092"/>
                  </a:cubicBezTo>
                  <a:cubicBezTo>
                    <a:pt x="1335" y="1092"/>
                    <a:pt x="1359" y="1099"/>
                    <a:pt x="1354" y="1087"/>
                  </a:cubicBezTo>
                  <a:cubicBezTo>
                    <a:pt x="1349" y="1075"/>
                    <a:pt x="1335" y="1070"/>
                    <a:pt x="1335" y="1070"/>
                  </a:cubicBezTo>
                  <a:cubicBezTo>
                    <a:pt x="1329" y="1060"/>
                    <a:pt x="1329" y="1060"/>
                    <a:pt x="1329" y="1060"/>
                  </a:cubicBezTo>
                  <a:cubicBezTo>
                    <a:pt x="1329" y="1060"/>
                    <a:pt x="1349" y="1057"/>
                    <a:pt x="1347" y="1049"/>
                  </a:cubicBezTo>
                  <a:cubicBezTo>
                    <a:pt x="1345" y="1041"/>
                    <a:pt x="1343" y="1039"/>
                    <a:pt x="1334" y="1040"/>
                  </a:cubicBezTo>
                  <a:cubicBezTo>
                    <a:pt x="1325" y="1041"/>
                    <a:pt x="1298" y="1044"/>
                    <a:pt x="1307" y="1030"/>
                  </a:cubicBezTo>
                  <a:cubicBezTo>
                    <a:pt x="1316" y="1016"/>
                    <a:pt x="1325" y="1027"/>
                    <a:pt x="1336" y="1030"/>
                  </a:cubicBezTo>
                  <a:cubicBezTo>
                    <a:pt x="1347" y="1033"/>
                    <a:pt x="1355" y="1031"/>
                    <a:pt x="1365" y="1024"/>
                  </a:cubicBezTo>
                  <a:cubicBezTo>
                    <a:pt x="1375" y="1017"/>
                    <a:pt x="1386" y="1017"/>
                    <a:pt x="1386" y="1017"/>
                  </a:cubicBezTo>
                  <a:cubicBezTo>
                    <a:pt x="1387" y="1021"/>
                    <a:pt x="1387" y="1021"/>
                    <a:pt x="1387" y="1021"/>
                  </a:cubicBezTo>
                  <a:cubicBezTo>
                    <a:pt x="1387" y="1021"/>
                    <a:pt x="1417" y="1021"/>
                    <a:pt x="1417" y="1014"/>
                  </a:cubicBezTo>
                  <a:cubicBezTo>
                    <a:pt x="1417" y="1007"/>
                    <a:pt x="1423" y="992"/>
                    <a:pt x="1426" y="997"/>
                  </a:cubicBezTo>
                  <a:cubicBezTo>
                    <a:pt x="1429" y="1002"/>
                    <a:pt x="1429" y="1024"/>
                    <a:pt x="1429" y="1024"/>
                  </a:cubicBezTo>
                  <a:cubicBezTo>
                    <a:pt x="1429" y="1024"/>
                    <a:pt x="1462" y="1012"/>
                    <a:pt x="1471" y="1013"/>
                  </a:cubicBezTo>
                  <a:cubicBezTo>
                    <a:pt x="1480" y="1014"/>
                    <a:pt x="1487" y="1024"/>
                    <a:pt x="1487" y="1024"/>
                  </a:cubicBezTo>
                  <a:cubicBezTo>
                    <a:pt x="1487" y="1024"/>
                    <a:pt x="1484" y="1008"/>
                    <a:pt x="1494" y="1012"/>
                  </a:cubicBezTo>
                  <a:cubicBezTo>
                    <a:pt x="1504" y="1016"/>
                    <a:pt x="1504" y="1030"/>
                    <a:pt x="1504" y="1030"/>
                  </a:cubicBezTo>
                  <a:cubicBezTo>
                    <a:pt x="1524" y="1025"/>
                    <a:pt x="1524" y="1025"/>
                    <a:pt x="1524" y="1025"/>
                  </a:cubicBezTo>
                  <a:cubicBezTo>
                    <a:pt x="1520" y="1033"/>
                    <a:pt x="1520" y="1033"/>
                    <a:pt x="1520" y="1033"/>
                  </a:cubicBezTo>
                  <a:cubicBezTo>
                    <a:pt x="1520" y="1033"/>
                    <a:pt x="1521" y="1065"/>
                    <a:pt x="1539" y="1061"/>
                  </a:cubicBezTo>
                  <a:cubicBezTo>
                    <a:pt x="1557" y="1057"/>
                    <a:pt x="1570" y="1031"/>
                    <a:pt x="1588" y="1035"/>
                  </a:cubicBezTo>
                  <a:cubicBezTo>
                    <a:pt x="1606" y="1039"/>
                    <a:pt x="1607" y="1073"/>
                    <a:pt x="1616" y="1079"/>
                  </a:cubicBezTo>
                  <a:cubicBezTo>
                    <a:pt x="1625" y="1085"/>
                    <a:pt x="1643" y="1085"/>
                    <a:pt x="1643" y="1085"/>
                  </a:cubicBezTo>
                  <a:cubicBezTo>
                    <a:pt x="1640" y="1111"/>
                    <a:pt x="1640" y="1111"/>
                    <a:pt x="1640" y="1111"/>
                  </a:cubicBezTo>
                  <a:cubicBezTo>
                    <a:pt x="1640" y="1111"/>
                    <a:pt x="1621" y="1139"/>
                    <a:pt x="1623" y="1147"/>
                  </a:cubicBezTo>
                  <a:cubicBezTo>
                    <a:pt x="1625" y="1155"/>
                    <a:pt x="1635" y="1156"/>
                    <a:pt x="1635" y="1156"/>
                  </a:cubicBezTo>
                  <a:cubicBezTo>
                    <a:pt x="1640" y="1166"/>
                    <a:pt x="1640" y="1166"/>
                    <a:pt x="1640" y="1166"/>
                  </a:cubicBezTo>
                  <a:cubicBezTo>
                    <a:pt x="1621" y="1179"/>
                    <a:pt x="1621" y="1179"/>
                    <a:pt x="1621" y="1179"/>
                  </a:cubicBezTo>
                  <a:cubicBezTo>
                    <a:pt x="1634" y="1212"/>
                    <a:pt x="1634" y="1212"/>
                    <a:pt x="1634" y="1212"/>
                  </a:cubicBezTo>
                  <a:cubicBezTo>
                    <a:pt x="1634" y="1212"/>
                    <a:pt x="1649" y="1193"/>
                    <a:pt x="1650" y="1199"/>
                  </a:cubicBezTo>
                  <a:cubicBezTo>
                    <a:pt x="1651" y="1205"/>
                    <a:pt x="1639" y="1230"/>
                    <a:pt x="1639" y="1230"/>
                  </a:cubicBezTo>
                  <a:cubicBezTo>
                    <a:pt x="1649" y="1227"/>
                    <a:pt x="1649" y="1227"/>
                    <a:pt x="1649" y="1227"/>
                  </a:cubicBezTo>
                  <a:cubicBezTo>
                    <a:pt x="1652" y="1259"/>
                    <a:pt x="1652" y="1259"/>
                    <a:pt x="1652" y="1259"/>
                  </a:cubicBezTo>
                  <a:cubicBezTo>
                    <a:pt x="1652" y="1259"/>
                    <a:pt x="1669" y="1259"/>
                    <a:pt x="1669" y="1265"/>
                  </a:cubicBezTo>
                  <a:cubicBezTo>
                    <a:pt x="1669" y="1271"/>
                    <a:pt x="1666" y="1287"/>
                    <a:pt x="1666" y="1287"/>
                  </a:cubicBezTo>
                  <a:cubicBezTo>
                    <a:pt x="1681" y="1304"/>
                    <a:pt x="1681" y="1304"/>
                    <a:pt x="1681" y="1304"/>
                  </a:cubicBezTo>
                  <a:cubicBezTo>
                    <a:pt x="1681" y="1304"/>
                    <a:pt x="1705" y="1298"/>
                    <a:pt x="1707" y="1291"/>
                  </a:cubicBezTo>
                  <a:cubicBezTo>
                    <a:pt x="1709" y="1284"/>
                    <a:pt x="1711" y="1271"/>
                    <a:pt x="1711" y="1271"/>
                  </a:cubicBezTo>
                  <a:cubicBezTo>
                    <a:pt x="1723" y="1271"/>
                    <a:pt x="1723" y="1271"/>
                    <a:pt x="1723" y="1271"/>
                  </a:cubicBezTo>
                  <a:cubicBezTo>
                    <a:pt x="1723" y="1271"/>
                    <a:pt x="1722" y="1250"/>
                    <a:pt x="1729" y="1240"/>
                  </a:cubicBezTo>
                  <a:cubicBezTo>
                    <a:pt x="1736" y="1230"/>
                    <a:pt x="1740" y="1213"/>
                    <a:pt x="1737" y="1203"/>
                  </a:cubicBezTo>
                  <a:cubicBezTo>
                    <a:pt x="1734" y="1193"/>
                    <a:pt x="1724" y="1160"/>
                    <a:pt x="1724" y="1151"/>
                  </a:cubicBezTo>
                  <a:cubicBezTo>
                    <a:pt x="1724" y="1142"/>
                    <a:pt x="1730" y="1128"/>
                    <a:pt x="1730" y="1112"/>
                  </a:cubicBezTo>
                  <a:cubicBezTo>
                    <a:pt x="1730" y="1096"/>
                    <a:pt x="1710" y="1070"/>
                    <a:pt x="1714" y="1056"/>
                  </a:cubicBezTo>
                  <a:cubicBezTo>
                    <a:pt x="1718" y="1042"/>
                    <a:pt x="1710" y="1002"/>
                    <a:pt x="1722" y="987"/>
                  </a:cubicBezTo>
                  <a:cubicBezTo>
                    <a:pt x="1734" y="972"/>
                    <a:pt x="1742" y="948"/>
                    <a:pt x="1742" y="948"/>
                  </a:cubicBezTo>
                  <a:cubicBezTo>
                    <a:pt x="1752" y="942"/>
                    <a:pt x="1752" y="942"/>
                    <a:pt x="1752" y="942"/>
                  </a:cubicBezTo>
                  <a:cubicBezTo>
                    <a:pt x="1765" y="929"/>
                    <a:pt x="1765" y="929"/>
                    <a:pt x="1765" y="929"/>
                  </a:cubicBezTo>
                  <a:cubicBezTo>
                    <a:pt x="1771" y="913"/>
                    <a:pt x="1771" y="913"/>
                    <a:pt x="1771" y="913"/>
                  </a:cubicBezTo>
                  <a:cubicBezTo>
                    <a:pt x="1780" y="919"/>
                    <a:pt x="1780" y="919"/>
                    <a:pt x="1780" y="919"/>
                  </a:cubicBezTo>
                  <a:cubicBezTo>
                    <a:pt x="1783" y="905"/>
                    <a:pt x="1783" y="905"/>
                    <a:pt x="1783" y="905"/>
                  </a:cubicBezTo>
                  <a:cubicBezTo>
                    <a:pt x="1783" y="905"/>
                    <a:pt x="1813" y="909"/>
                    <a:pt x="1818" y="903"/>
                  </a:cubicBezTo>
                  <a:cubicBezTo>
                    <a:pt x="1823" y="897"/>
                    <a:pt x="1819" y="886"/>
                    <a:pt x="1819" y="886"/>
                  </a:cubicBezTo>
                  <a:cubicBezTo>
                    <a:pt x="1832" y="887"/>
                    <a:pt x="1832" y="887"/>
                    <a:pt x="1832" y="887"/>
                  </a:cubicBezTo>
                  <a:cubicBezTo>
                    <a:pt x="1836" y="881"/>
                    <a:pt x="1836" y="881"/>
                    <a:pt x="1836" y="881"/>
                  </a:cubicBezTo>
                  <a:cubicBezTo>
                    <a:pt x="1847" y="880"/>
                    <a:pt x="1847" y="880"/>
                    <a:pt x="1847" y="880"/>
                  </a:cubicBezTo>
                  <a:cubicBezTo>
                    <a:pt x="1864" y="859"/>
                    <a:pt x="1864" y="859"/>
                    <a:pt x="1864" y="859"/>
                  </a:cubicBezTo>
                  <a:cubicBezTo>
                    <a:pt x="1864" y="859"/>
                    <a:pt x="1868" y="839"/>
                    <a:pt x="1887" y="834"/>
                  </a:cubicBezTo>
                  <a:cubicBezTo>
                    <a:pt x="1906" y="829"/>
                    <a:pt x="1917" y="840"/>
                    <a:pt x="1926" y="831"/>
                  </a:cubicBezTo>
                  <a:cubicBezTo>
                    <a:pt x="1935" y="822"/>
                    <a:pt x="1941" y="805"/>
                    <a:pt x="1941" y="805"/>
                  </a:cubicBezTo>
                  <a:cubicBezTo>
                    <a:pt x="1951" y="807"/>
                    <a:pt x="1951" y="807"/>
                    <a:pt x="1951" y="807"/>
                  </a:cubicBezTo>
                  <a:cubicBezTo>
                    <a:pt x="1956" y="792"/>
                    <a:pt x="1956" y="792"/>
                    <a:pt x="1956" y="792"/>
                  </a:cubicBezTo>
                  <a:cubicBezTo>
                    <a:pt x="2010" y="789"/>
                    <a:pt x="2010" y="789"/>
                    <a:pt x="2010" y="789"/>
                  </a:cubicBezTo>
                  <a:cubicBezTo>
                    <a:pt x="2013" y="773"/>
                    <a:pt x="2013" y="773"/>
                    <a:pt x="2013" y="773"/>
                  </a:cubicBezTo>
                  <a:cubicBezTo>
                    <a:pt x="1988" y="775"/>
                    <a:pt x="1988" y="775"/>
                    <a:pt x="1988" y="775"/>
                  </a:cubicBezTo>
                  <a:cubicBezTo>
                    <a:pt x="1988" y="775"/>
                    <a:pt x="2002" y="770"/>
                    <a:pt x="2001" y="763"/>
                  </a:cubicBezTo>
                  <a:cubicBezTo>
                    <a:pt x="2000" y="756"/>
                    <a:pt x="1990" y="749"/>
                    <a:pt x="1990" y="749"/>
                  </a:cubicBezTo>
                  <a:cubicBezTo>
                    <a:pt x="2013" y="745"/>
                    <a:pt x="2013" y="745"/>
                    <a:pt x="2013" y="745"/>
                  </a:cubicBezTo>
                  <a:cubicBezTo>
                    <a:pt x="2029" y="751"/>
                    <a:pt x="2029" y="751"/>
                    <a:pt x="2029" y="751"/>
                  </a:cubicBezTo>
                  <a:cubicBezTo>
                    <a:pt x="2052" y="727"/>
                    <a:pt x="2052" y="727"/>
                    <a:pt x="2052" y="727"/>
                  </a:cubicBezTo>
                  <a:cubicBezTo>
                    <a:pt x="2015" y="726"/>
                    <a:pt x="2015" y="726"/>
                    <a:pt x="2015" y="726"/>
                  </a:cubicBezTo>
                  <a:cubicBezTo>
                    <a:pt x="2013" y="709"/>
                    <a:pt x="2013" y="709"/>
                    <a:pt x="2013" y="709"/>
                  </a:cubicBezTo>
                  <a:cubicBezTo>
                    <a:pt x="2022" y="718"/>
                    <a:pt x="2022" y="718"/>
                    <a:pt x="2022" y="718"/>
                  </a:cubicBezTo>
                  <a:cubicBezTo>
                    <a:pt x="2052" y="707"/>
                    <a:pt x="2052" y="707"/>
                    <a:pt x="2052" y="707"/>
                  </a:cubicBezTo>
                  <a:cubicBezTo>
                    <a:pt x="2055" y="668"/>
                    <a:pt x="2055" y="668"/>
                    <a:pt x="2055" y="668"/>
                  </a:cubicBezTo>
                  <a:cubicBezTo>
                    <a:pt x="2036" y="676"/>
                    <a:pt x="2036" y="676"/>
                    <a:pt x="2036" y="676"/>
                  </a:cubicBezTo>
                  <a:cubicBezTo>
                    <a:pt x="2032" y="658"/>
                    <a:pt x="2032" y="658"/>
                    <a:pt x="2032" y="658"/>
                  </a:cubicBezTo>
                  <a:cubicBezTo>
                    <a:pt x="2016" y="647"/>
                    <a:pt x="2016" y="647"/>
                    <a:pt x="2016" y="647"/>
                  </a:cubicBezTo>
                  <a:cubicBezTo>
                    <a:pt x="2045" y="662"/>
                    <a:pt x="2045" y="662"/>
                    <a:pt x="2045" y="662"/>
                  </a:cubicBezTo>
                  <a:cubicBezTo>
                    <a:pt x="2052" y="656"/>
                    <a:pt x="2052" y="656"/>
                    <a:pt x="2052" y="656"/>
                  </a:cubicBezTo>
                  <a:cubicBezTo>
                    <a:pt x="2039" y="646"/>
                    <a:pt x="2039" y="646"/>
                    <a:pt x="2039" y="646"/>
                  </a:cubicBezTo>
                  <a:cubicBezTo>
                    <a:pt x="2057" y="646"/>
                    <a:pt x="2057" y="646"/>
                    <a:pt x="2057" y="646"/>
                  </a:cubicBezTo>
                  <a:cubicBezTo>
                    <a:pt x="2057" y="646"/>
                    <a:pt x="2035" y="617"/>
                    <a:pt x="2035" y="610"/>
                  </a:cubicBezTo>
                  <a:cubicBezTo>
                    <a:pt x="2035" y="603"/>
                    <a:pt x="2040" y="600"/>
                    <a:pt x="2040" y="600"/>
                  </a:cubicBezTo>
                  <a:cubicBezTo>
                    <a:pt x="2040" y="600"/>
                    <a:pt x="2023" y="589"/>
                    <a:pt x="2025" y="586"/>
                  </a:cubicBezTo>
                  <a:cubicBezTo>
                    <a:pt x="2027" y="583"/>
                    <a:pt x="2046" y="571"/>
                    <a:pt x="2046" y="571"/>
                  </a:cubicBezTo>
                  <a:cubicBezTo>
                    <a:pt x="2041" y="589"/>
                    <a:pt x="2041" y="589"/>
                    <a:pt x="2041" y="589"/>
                  </a:cubicBezTo>
                  <a:cubicBezTo>
                    <a:pt x="2062" y="606"/>
                    <a:pt x="2062" y="606"/>
                    <a:pt x="2062" y="606"/>
                  </a:cubicBezTo>
                  <a:cubicBezTo>
                    <a:pt x="2062" y="606"/>
                    <a:pt x="2070" y="582"/>
                    <a:pt x="2070" y="569"/>
                  </a:cubicBezTo>
                  <a:cubicBezTo>
                    <a:pt x="2070" y="556"/>
                    <a:pt x="2108" y="525"/>
                    <a:pt x="2107" y="533"/>
                  </a:cubicBezTo>
                  <a:cubicBezTo>
                    <a:pt x="2106" y="541"/>
                    <a:pt x="2083" y="574"/>
                    <a:pt x="2083" y="574"/>
                  </a:cubicBezTo>
                  <a:cubicBezTo>
                    <a:pt x="2077" y="596"/>
                    <a:pt x="2077" y="596"/>
                    <a:pt x="2077" y="596"/>
                  </a:cubicBezTo>
                  <a:cubicBezTo>
                    <a:pt x="2090" y="597"/>
                    <a:pt x="2090" y="597"/>
                    <a:pt x="2090" y="597"/>
                  </a:cubicBezTo>
                  <a:cubicBezTo>
                    <a:pt x="2090" y="597"/>
                    <a:pt x="2087" y="619"/>
                    <a:pt x="2082" y="623"/>
                  </a:cubicBezTo>
                  <a:cubicBezTo>
                    <a:pt x="2077" y="627"/>
                    <a:pt x="2059" y="661"/>
                    <a:pt x="2066" y="661"/>
                  </a:cubicBezTo>
                  <a:cubicBezTo>
                    <a:pt x="2073" y="661"/>
                    <a:pt x="2083" y="637"/>
                    <a:pt x="2089" y="632"/>
                  </a:cubicBezTo>
                  <a:cubicBezTo>
                    <a:pt x="2095" y="627"/>
                    <a:pt x="2125" y="611"/>
                    <a:pt x="2127" y="598"/>
                  </a:cubicBezTo>
                  <a:cubicBezTo>
                    <a:pt x="2129" y="585"/>
                    <a:pt x="2125" y="564"/>
                    <a:pt x="2125" y="553"/>
                  </a:cubicBezTo>
                  <a:cubicBezTo>
                    <a:pt x="2125" y="542"/>
                    <a:pt x="2129" y="516"/>
                    <a:pt x="2136" y="513"/>
                  </a:cubicBezTo>
                  <a:cubicBezTo>
                    <a:pt x="2143" y="510"/>
                    <a:pt x="2138" y="515"/>
                    <a:pt x="2135" y="528"/>
                  </a:cubicBezTo>
                  <a:cubicBezTo>
                    <a:pt x="2132" y="541"/>
                    <a:pt x="2144" y="545"/>
                    <a:pt x="2144" y="545"/>
                  </a:cubicBezTo>
                  <a:cubicBezTo>
                    <a:pt x="2144" y="545"/>
                    <a:pt x="2138" y="570"/>
                    <a:pt x="2141" y="570"/>
                  </a:cubicBezTo>
                  <a:cubicBezTo>
                    <a:pt x="2144" y="570"/>
                    <a:pt x="2175" y="531"/>
                    <a:pt x="2185" y="521"/>
                  </a:cubicBezTo>
                  <a:cubicBezTo>
                    <a:pt x="2195" y="511"/>
                    <a:pt x="2217" y="495"/>
                    <a:pt x="2214" y="491"/>
                  </a:cubicBezTo>
                  <a:cubicBezTo>
                    <a:pt x="2211" y="487"/>
                    <a:pt x="2202" y="490"/>
                    <a:pt x="2202" y="480"/>
                  </a:cubicBezTo>
                  <a:cubicBezTo>
                    <a:pt x="2202" y="470"/>
                    <a:pt x="2220" y="475"/>
                    <a:pt x="2240" y="475"/>
                  </a:cubicBezTo>
                  <a:cubicBezTo>
                    <a:pt x="2260" y="475"/>
                    <a:pt x="2306" y="453"/>
                    <a:pt x="2306" y="453"/>
                  </a:cubicBezTo>
                  <a:cubicBezTo>
                    <a:pt x="2293" y="447"/>
                    <a:pt x="2293" y="447"/>
                    <a:pt x="2293" y="447"/>
                  </a:cubicBezTo>
                  <a:cubicBezTo>
                    <a:pt x="2293" y="447"/>
                    <a:pt x="2269" y="458"/>
                    <a:pt x="2257" y="459"/>
                  </a:cubicBezTo>
                  <a:cubicBezTo>
                    <a:pt x="2245" y="460"/>
                    <a:pt x="2225" y="468"/>
                    <a:pt x="2228" y="455"/>
                  </a:cubicBezTo>
                  <a:cubicBezTo>
                    <a:pt x="2231" y="442"/>
                    <a:pt x="2266" y="439"/>
                    <a:pt x="2266" y="439"/>
                  </a:cubicBezTo>
                  <a:cubicBezTo>
                    <a:pt x="2326" y="438"/>
                    <a:pt x="2326" y="438"/>
                    <a:pt x="2326" y="438"/>
                  </a:cubicBezTo>
                  <a:cubicBezTo>
                    <a:pt x="2355" y="411"/>
                    <a:pt x="2355" y="411"/>
                    <a:pt x="2355" y="411"/>
                  </a:cubicBezTo>
                  <a:cubicBezTo>
                    <a:pt x="2361" y="421"/>
                    <a:pt x="2361" y="421"/>
                    <a:pt x="2361" y="421"/>
                  </a:cubicBezTo>
                  <a:cubicBezTo>
                    <a:pt x="2379" y="412"/>
                    <a:pt x="2379" y="412"/>
                    <a:pt x="2379" y="412"/>
                  </a:cubicBezTo>
                  <a:cubicBezTo>
                    <a:pt x="2377" y="435"/>
                    <a:pt x="2377" y="435"/>
                    <a:pt x="2377" y="435"/>
                  </a:cubicBezTo>
                  <a:cubicBezTo>
                    <a:pt x="2397" y="422"/>
                    <a:pt x="2397" y="422"/>
                    <a:pt x="2397" y="422"/>
                  </a:cubicBezTo>
                  <a:cubicBezTo>
                    <a:pt x="2413" y="418"/>
                    <a:pt x="2413" y="418"/>
                    <a:pt x="2413" y="418"/>
                  </a:cubicBezTo>
                  <a:cubicBezTo>
                    <a:pt x="2418" y="396"/>
                    <a:pt x="2418" y="396"/>
                    <a:pt x="2418" y="396"/>
                  </a:cubicBezTo>
                  <a:cubicBezTo>
                    <a:pt x="2409" y="388"/>
                    <a:pt x="2409" y="388"/>
                    <a:pt x="2409" y="388"/>
                  </a:cubicBezTo>
                  <a:cubicBezTo>
                    <a:pt x="2407" y="407"/>
                    <a:pt x="2407" y="407"/>
                    <a:pt x="2407" y="407"/>
                  </a:cubicBezTo>
                  <a:cubicBezTo>
                    <a:pt x="2391" y="410"/>
                    <a:pt x="2391" y="410"/>
                    <a:pt x="2391" y="410"/>
                  </a:cubicBezTo>
                  <a:cubicBezTo>
                    <a:pt x="2391" y="391"/>
                    <a:pt x="2391" y="391"/>
                    <a:pt x="2391" y="391"/>
                  </a:cubicBezTo>
                  <a:cubicBezTo>
                    <a:pt x="2378" y="377"/>
                    <a:pt x="2378" y="377"/>
                    <a:pt x="2378" y="377"/>
                  </a:cubicBezTo>
                  <a:cubicBezTo>
                    <a:pt x="2394" y="369"/>
                    <a:pt x="2394" y="369"/>
                    <a:pt x="2394" y="369"/>
                  </a:cubicBezTo>
                  <a:cubicBezTo>
                    <a:pt x="2398" y="346"/>
                    <a:pt x="2398" y="346"/>
                    <a:pt x="2398" y="346"/>
                  </a:cubicBezTo>
                  <a:cubicBezTo>
                    <a:pt x="2398" y="346"/>
                    <a:pt x="2413" y="329"/>
                    <a:pt x="2423" y="324"/>
                  </a:cubicBezTo>
                  <a:cubicBezTo>
                    <a:pt x="2433" y="319"/>
                    <a:pt x="2438" y="301"/>
                    <a:pt x="2438" y="301"/>
                  </a:cubicBezTo>
                  <a:cubicBezTo>
                    <a:pt x="2457" y="306"/>
                    <a:pt x="2457" y="306"/>
                    <a:pt x="2457" y="306"/>
                  </a:cubicBezTo>
                  <a:cubicBezTo>
                    <a:pt x="2467" y="291"/>
                    <a:pt x="2467" y="291"/>
                    <a:pt x="2467" y="291"/>
                  </a:cubicBezTo>
                  <a:cubicBezTo>
                    <a:pt x="2467" y="291"/>
                    <a:pt x="2470" y="302"/>
                    <a:pt x="2479" y="296"/>
                  </a:cubicBezTo>
                  <a:cubicBezTo>
                    <a:pt x="2488" y="290"/>
                    <a:pt x="2515" y="266"/>
                    <a:pt x="2515" y="266"/>
                  </a:cubicBezTo>
                  <a:cubicBezTo>
                    <a:pt x="2516" y="284"/>
                    <a:pt x="2516" y="284"/>
                    <a:pt x="2516" y="284"/>
                  </a:cubicBezTo>
                  <a:cubicBezTo>
                    <a:pt x="2516" y="284"/>
                    <a:pt x="2547" y="265"/>
                    <a:pt x="2556" y="260"/>
                  </a:cubicBezTo>
                  <a:cubicBezTo>
                    <a:pt x="2565" y="255"/>
                    <a:pt x="2597" y="254"/>
                    <a:pt x="2597" y="254"/>
                  </a:cubicBezTo>
                  <a:cubicBezTo>
                    <a:pt x="2597" y="232"/>
                    <a:pt x="2597" y="232"/>
                    <a:pt x="2597" y="232"/>
                  </a:cubicBezTo>
                  <a:cubicBezTo>
                    <a:pt x="2597" y="232"/>
                    <a:pt x="2598" y="232"/>
                    <a:pt x="2598" y="233"/>
                  </a:cubicBezTo>
                  <a:cubicBezTo>
                    <a:pt x="2597" y="229"/>
                    <a:pt x="2597" y="229"/>
                    <a:pt x="2597" y="229"/>
                  </a:cubicBezTo>
                  <a:cubicBezTo>
                    <a:pt x="2597" y="229"/>
                    <a:pt x="2589" y="232"/>
                    <a:pt x="2584" y="227"/>
                  </a:cubicBezTo>
                  <a:cubicBezTo>
                    <a:pt x="2579" y="222"/>
                    <a:pt x="2593" y="209"/>
                    <a:pt x="2593" y="209"/>
                  </a:cubicBezTo>
                  <a:cubicBezTo>
                    <a:pt x="2593" y="209"/>
                    <a:pt x="2585" y="205"/>
                    <a:pt x="2582" y="202"/>
                  </a:cubicBezTo>
                  <a:cubicBezTo>
                    <a:pt x="2579" y="199"/>
                    <a:pt x="2609" y="142"/>
                    <a:pt x="2609" y="125"/>
                  </a:cubicBezTo>
                  <a:cubicBezTo>
                    <a:pt x="2609" y="108"/>
                    <a:pt x="2582" y="119"/>
                    <a:pt x="2570" y="119"/>
                  </a:cubicBezTo>
                  <a:close/>
                  <a:moveTo>
                    <a:pt x="1811" y="252"/>
                  </a:moveTo>
                  <a:cubicBezTo>
                    <a:pt x="1797" y="252"/>
                    <a:pt x="1817" y="235"/>
                    <a:pt x="1810" y="232"/>
                  </a:cubicBezTo>
                  <a:cubicBezTo>
                    <a:pt x="1803" y="229"/>
                    <a:pt x="1793" y="242"/>
                    <a:pt x="1793" y="242"/>
                  </a:cubicBezTo>
                  <a:cubicBezTo>
                    <a:pt x="1788" y="244"/>
                    <a:pt x="1788" y="244"/>
                    <a:pt x="1788" y="244"/>
                  </a:cubicBezTo>
                  <a:cubicBezTo>
                    <a:pt x="1784" y="255"/>
                    <a:pt x="1784" y="255"/>
                    <a:pt x="1784" y="255"/>
                  </a:cubicBezTo>
                  <a:cubicBezTo>
                    <a:pt x="1773" y="251"/>
                    <a:pt x="1773" y="251"/>
                    <a:pt x="1773" y="251"/>
                  </a:cubicBezTo>
                  <a:cubicBezTo>
                    <a:pt x="1773" y="251"/>
                    <a:pt x="1773" y="262"/>
                    <a:pt x="1770" y="269"/>
                  </a:cubicBezTo>
                  <a:cubicBezTo>
                    <a:pt x="1767" y="276"/>
                    <a:pt x="1757" y="279"/>
                    <a:pt x="1752" y="284"/>
                  </a:cubicBezTo>
                  <a:cubicBezTo>
                    <a:pt x="1747" y="289"/>
                    <a:pt x="1753" y="297"/>
                    <a:pt x="1753" y="297"/>
                  </a:cubicBezTo>
                  <a:cubicBezTo>
                    <a:pt x="1753" y="297"/>
                    <a:pt x="1749" y="297"/>
                    <a:pt x="1736" y="311"/>
                  </a:cubicBezTo>
                  <a:cubicBezTo>
                    <a:pt x="1723" y="325"/>
                    <a:pt x="1741" y="325"/>
                    <a:pt x="1741" y="333"/>
                  </a:cubicBezTo>
                  <a:cubicBezTo>
                    <a:pt x="1741" y="341"/>
                    <a:pt x="1734" y="342"/>
                    <a:pt x="1734" y="342"/>
                  </a:cubicBezTo>
                  <a:cubicBezTo>
                    <a:pt x="1734" y="342"/>
                    <a:pt x="1742" y="346"/>
                    <a:pt x="1719" y="378"/>
                  </a:cubicBezTo>
                  <a:cubicBezTo>
                    <a:pt x="1696" y="410"/>
                    <a:pt x="1651" y="420"/>
                    <a:pt x="1651" y="420"/>
                  </a:cubicBezTo>
                  <a:cubicBezTo>
                    <a:pt x="1654" y="400"/>
                    <a:pt x="1654" y="400"/>
                    <a:pt x="1654" y="400"/>
                  </a:cubicBezTo>
                  <a:cubicBezTo>
                    <a:pt x="1654" y="400"/>
                    <a:pt x="1650" y="393"/>
                    <a:pt x="1648" y="389"/>
                  </a:cubicBezTo>
                  <a:cubicBezTo>
                    <a:pt x="1646" y="385"/>
                    <a:pt x="1663" y="365"/>
                    <a:pt x="1665" y="358"/>
                  </a:cubicBezTo>
                  <a:cubicBezTo>
                    <a:pt x="1667" y="351"/>
                    <a:pt x="1661" y="350"/>
                    <a:pt x="1663" y="338"/>
                  </a:cubicBezTo>
                  <a:cubicBezTo>
                    <a:pt x="1665" y="326"/>
                    <a:pt x="1687" y="307"/>
                    <a:pt x="1687" y="307"/>
                  </a:cubicBezTo>
                  <a:cubicBezTo>
                    <a:pt x="1687" y="298"/>
                    <a:pt x="1687" y="298"/>
                    <a:pt x="1687" y="298"/>
                  </a:cubicBezTo>
                  <a:cubicBezTo>
                    <a:pt x="1687" y="298"/>
                    <a:pt x="1708" y="283"/>
                    <a:pt x="1711" y="277"/>
                  </a:cubicBezTo>
                  <a:cubicBezTo>
                    <a:pt x="1714" y="271"/>
                    <a:pt x="1746" y="240"/>
                    <a:pt x="1746" y="240"/>
                  </a:cubicBezTo>
                  <a:cubicBezTo>
                    <a:pt x="1725" y="246"/>
                    <a:pt x="1725" y="246"/>
                    <a:pt x="1725" y="246"/>
                  </a:cubicBezTo>
                  <a:cubicBezTo>
                    <a:pt x="1725" y="246"/>
                    <a:pt x="1702" y="265"/>
                    <a:pt x="1698" y="260"/>
                  </a:cubicBezTo>
                  <a:cubicBezTo>
                    <a:pt x="1694" y="255"/>
                    <a:pt x="1734" y="231"/>
                    <a:pt x="1739" y="223"/>
                  </a:cubicBezTo>
                  <a:cubicBezTo>
                    <a:pt x="1744" y="215"/>
                    <a:pt x="1772" y="194"/>
                    <a:pt x="1772" y="194"/>
                  </a:cubicBezTo>
                  <a:cubicBezTo>
                    <a:pt x="1777" y="200"/>
                    <a:pt x="1777" y="200"/>
                    <a:pt x="1777" y="200"/>
                  </a:cubicBezTo>
                  <a:cubicBezTo>
                    <a:pt x="1787" y="194"/>
                    <a:pt x="1787" y="194"/>
                    <a:pt x="1787" y="194"/>
                  </a:cubicBezTo>
                  <a:cubicBezTo>
                    <a:pt x="1787" y="194"/>
                    <a:pt x="1782" y="203"/>
                    <a:pt x="1792" y="202"/>
                  </a:cubicBezTo>
                  <a:cubicBezTo>
                    <a:pt x="1802" y="201"/>
                    <a:pt x="1799" y="187"/>
                    <a:pt x="1799" y="187"/>
                  </a:cubicBezTo>
                  <a:cubicBezTo>
                    <a:pt x="1815" y="192"/>
                    <a:pt x="1815" y="192"/>
                    <a:pt x="1815" y="192"/>
                  </a:cubicBezTo>
                  <a:cubicBezTo>
                    <a:pt x="1815" y="192"/>
                    <a:pt x="1837" y="181"/>
                    <a:pt x="1847" y="184"/>
                  </a:cubicBezTo>
                  <a:cubicBezTo>
                    <a:pt x="1857" y="187"/>
                    <a:pt x="1862" y="199"/>
                    <a:pt x="1862" y="199"/>
                  </a:cubicBezTo>
                  <a:cubicBezTo>
                    <a:pt x="1845" y="205"/>
                    <a:pt x="1845" y="205"/>
                    <a:pt x="1845" y="205"/>
                  </a:cubicBezTo>
                  <a:cubicBezTo>
                    <a:pt x="1847" y="222"/>
                    <a:pt x="1847" y="222"/>
                    <a:pt x="1847" y="222"/>
                  </a:cubicBezTo>
                  <a:cubicBezTo>
                    <a:pt x="1847" y="222"/>
                    <a:pt x="1835" y="220"/>
                    <a:pt x="1828" y="220"/>
                  </a:cubicBezTo>
                  <a:cubicBezTo>
                    <a:pt x="1821" y="220"/>
                    <a:pt x="1824" y="237"/>
                    <a:pt x="1824" y="237"/>
                  </a:cubicBezTo>
                  <a:cubicBezTo>
                    <a:pt x="1824" y="237"/>
                    <a:pt x="1825" y="252"/>
                    <a:pt x="1811" y="252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1" name="Freeform 359">
              <a:extLst>
                <a:ext uri="{FF2B5EF4-FFF2-40B4-BE49-F238E27FC236}">
                  <a16:creationId xmlns:a16="http://schemas.microsoft.com/office/drawing/2014/main" id="{A5EEE318-ADEB-1F1A-446E-C55FD41706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9662" y="-15009"/>
              <a:ext cx="645" cy="345"/>
            </a:xfrm>
            <a:custGeom>
              <a:avLst/>
              <a:gdLst>
                <a:gd name="T0" fmla="*/ 11 w 273"/>
                <a:gd name="T1" fmla="*/ 2 h 146"/>
                <a:gd name="T2" fmla="*/ 6 w 273"/>
                <a:gd name="T3" fmla="*/ 13 h 146"/>
                <a:gd name="T4" fmla="*/ 11 w 273"/>
                <a:gd name="T5" fmla="*/ 2 h 146"/>
                <a:gd name="T6" fmla="*/ 115 w 273"/>
                <a:gd name="T7" fmla="*/ 57 h 146"/>
                <a:gd name="T8" fmla="*/ 142 w 273"/>
                <a:gd name="T9" fmla="*/ 62 h 146"/>
                <a:gd name="T10" fmla="*/ 129 w 273"/>
                <a:gd name="T11" fmla="*/ 52 h 146"/>
                <a:gd name="T12" fmla="*/ 119 w 273"/>
                <a:gd name="T13" fmla="*/ 52 h 146"/>
                <a:gd name="T14" fmla="*/ 115 w 273"/>
                <a:gd name="T15" fmla="*/ 57 h 146"/>
                <a:gd name="T16" fmla="*/ 190 w 273"/>
                <a:gd name="T17" fmla="*/ 47 h 146"/>
                <a:gd name="T18" fmla="*/ 180 w 273"/>
                <a:gd name="T19" fmla="*/ 38 h 146"/>
                <a:gd name="T20" fmla="*/ 169 w 273"/>
                <a:gd name="T21" fmla="*/ 43 h 146"/>
                <a:gd name="T22" fmla="*/ 190 w 273"/>
                <a:gd name="T23" fmla="*/ 47 h 146"/>
                <a:gd name="T24" fmla="*/ 249 w 273"/>
                <a:gd name="T25" fmla="*/ 100 h 146"/>
                <a:gd name="T26" fmla="*/ 266 w 273"/>
                <a:gd name="T27" fmla="*/ 93 h 146"/>
                <a:gd name="T28" fmla="*/ 249 w 273"/>
                <a:gd name="T29" fmla="*/ 90 h 146"/>
                <a:gd name="T30" fmla="*/ 232 w 273"/>
                <a:gd name="T31" fmla="*/ 87 h 146"/>
                <a:gd name="T32" fmla="*/ 249 w 273"/>
                <a:gd name="T33" fmla="*/ 100 h 146"/>
                <a:gd name="T34" fmla="*/ 260 w 273"/>
                <a:gd name="T35" fmla="*/ 145 h 146"/>
                <a:gd name="T36" fmla="*/ 260 w 273"/>
                <a:gd name="T37" fmla="*/ 131 h 146"/>
                <a:gd name="T38" fmla="*/ 260 w 273"/>
                <a:gd name="T39" fmla="*/ 1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3" h="146">
                  <a:moveTo>
                    <a:pt x="11" y="2"/>
                  </a:moveTo>
                  <a:cubicBezTo>
                    <a:pt x="15" y="4"/>
                    <a:pt x="12" y="16"/>
                    <a:pt x="6" y="13"/>
                  </a:cubicBezTo>
                  <a:cubicBezTo>
                    <a:pt x="0" y="11"/>
                    <a:pt x="6" y="0"/>
                    <a:pt x="11" y="2"/>
                  </a:cubicBezTo>
                  <a:close/>
                  <a:moveTo>
                    <a:pt x="115" y="57"/>
                  </a:moveTo>
                  <a:cubicBezTo>
                    <a:pt x="121" y="68"/>
                    <a:pt x="142" y="62"/>
                    <a:pt x="142" y="62"/>
                  </a:cubicBezTo>
                  <a:cubicBezTo>
                    <a:pt x="129" y="52"/>
                    <a:pt x="129" y="52"/>
                    <a:pt x="129" y="52"/>
                  </a:cubicBezTo>
                  <a:cubicBezTo>
                    <a:pt x="119" y="52"/>
                    <a:pt x="119" y="52"/>
                    <a:pt x="119" y="52"/>
                  </a:cubicBezTo>
                  <a:lnTo>
                    <a:pt x="115" y="57"/>
                  </a:lnTo>
                  <a:close/>
                  <a:moveTo>
                    <a:pt x="190" y="47"/>
                  </a:moveTo>
                  <a:cubicBezTo>
                    <a:pt x="190" y="47"/>
                    <a:pt x="185" y="39"/>
                    <a:pt x="180" y="38"/>
                  </a:cubicBezTo>
                  <a:cubicBezTo>
                    <a:pt x="175" y="36"/>
                    <a:pt x="169" y="43"/>
                    <a:pt x="169" y="43"/>
                  </a:cubicBezTo>
                  <a:cubicBezTo>
                    <a:pt x="181" y="57"/>
                    <a:pt x="190" y="47"/>
                    <a:pt x="190" y="47"/>
                  </a:cubicBezTo>
                  <a:close/>
                  <a:moveTo>
                    <a:pt x="249" y="100"/>
                  </a:moveTo>
                  <a:cubicBezTo>
                    <a:pt x="256" y="101"/>
                    <a:pt x="267" y="100"/>
                    <a:pt x="266" y="93"/>
                  </a:cubicBezTo>
                  <a:cubicBezTo>
                    <a:pt x="265" y="86"/>
                    <a:pt x="253" y="90"/>
                    <a:pt x="249" y="90"/>
                  </a:cubicBezTo>
                  <a:cubicBezTo>
                    <a:pt x="245" y="91"/>
                    <a:pt x="232" y="87"/>
                    <a:pt x="232" y="87"/>
                  </a:cubicBezTo>
                  <a:cubicBezTo>
                    <a:pt x="226" y="96"/>
                    <a:pt x="241" y="99"/>
                    <a:pt x="249" y="100"/>
                  </a:cubicBezTo>
                  <a:close/>
                  <a:moveTo>
                    <a:pt x="260" y="145"/>
                  </a:moveTo>
                  <a:cubicBezTo>
                    <a:pt x="273" y="146"/>
                    <a:pt x="260" y="131"/>
                    <a:pt x="260" y="131"/>
                  </a:cubicBezTo>
                  <a:cubicBezTo>
                    <a:pt x="259" y="129"/>
                    <a:pt x="248" y="144"/>
                    <a:pt x="260" y="145"/>
                  </a:cubicBezTo>
                  <a:close/>
                </a:path>
              </a:pathLst>
            </a:custGeom>
            <a:grpFill/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2" name="Freeform 360">
              <a:extLst>
                <a:ext uri="{FF2B5EF4-FFF2-40B4-BE49-F238E27FC236}">
                  <a16:creationId xmlns:a16="http://schemas.microsoft.com/office/drawing/2014/main" id="{1B4F4C19-5328-FAC2-22C1-2F0DA2F5F999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" y="-10925"/>
              <a:ext cx="1089" cy="839"/>
            </a:xfrm>
            <a:custGeom>
              <a:avLst/>
              <a:gdLst>
                <a:gd name="T0" fmla="*/ 444 w 461"/>
                <a:gd name="T1" fmla="*/ 131 h 355"/>
                <a:gd name="T2" fmla="*/ 461 w 461"/>
                <a:gd name="T3" fmla="*/ 111 h 355"/>
                <a:gd name="T4" fmla="*/ 444 w 461"/>
                <a:gd name="T5" fmla="*/ 105 h 355"/>
                <a:gd name="T6" fmla="*/ 433 w 461"/>
                <a:gd name="T7" fmla="*/ 88 h 355"/>
                <a:gd name="T8" fmla="*/ 393 w 461"/>
                <a:gd name="T9" fmla="*/ 77 h 355"/>
                <a:gd name="T10" fmla="*/ 380 w 461"/>
                <a:gd name="T11" fmla="*/ 46 h 355"/>
                <a:gd name="T12" fmla="*/ 354 w 461"/>
                <a:gd name="T13" fmla="*/ 42 h 355"/>
                <a:gd name="T14" fmla="*/ 343 w 461"/>
                <a:gd name="T15" fmla="*/ 1 h 355"/>
                <a:gd name="T16" fmla="*/ 339 w 461"/>
                <a:gd name="T17" fmla="*/ 14 h 355"/>
                <a:gd name="T18" fmla="*/ 329 w 461"/>
                <a:gd name="T19" fmla="*/ 0 h 355"/>
                <a:gd name="T20" fmla="*/ 323 w 461"/>
                <a:gd name="T21" fmla="*/ 41 h 355"/>
                <a:gd name="T22" fmla="*/ 301 w 461"/>
                <a:gd name="T23" fmla="*/ 50 h 355"/>
                <a:gd name="T24" fmla="*/ 293 w 461"/>
                <a:gd name="T25" fmla="*/ 77 h 355"/>
                <a:gd name="T26" fmla="*/ 276 w 461"/>
                <a:gd name="T27" fmla="*/ 83 h 355"/>
                <a:gd name="T28" fmla="*/ 283 w 461"/>
                <a:gd name="T29" fmla="*/ 107 h 355"/>
                <a:gd name="T30" fmla="*/ 243 w 461"/>
                <a:gd name="T31" fmla="*/ 101 h 355"/>
                <a:gd name="T32" fmla="*/ 236 w 461"/>
                <a:gd name="T33" fmla="*/ 102 h 355"/>
                <a:gd name="T34" fmla="*/ 266 w 461"/>
                <a:gd name="T35" fmla="*/ 177 h 355"/>
                <a:gd name="T36" fmla="*/ 255 w 461"/>
                <a:gd name="T37" fmla="*/ 171 h 355"/>
                <a:gd name="T38" fmla="*/ 242 w 461"/>
                <a:gd name="T39" fmla="*/ 151 h 355"/>
                <a:gd name="T40" fmla="*/ 242 w 461"/>
                <a:gd name="T41" fmla="*/ 183 h 355"/>
                <a:gd name="T42" fmla="*/ 231 w 461"/>
                <a:gd name="T43" fmla="*/ 191 h 355"/>
                <a:gd name="T44" fmla="*/ 214 w 461"/>
                <a:gd name="T45" fmla="*/ 166 h 355"/>
                <a:gd name="T46" fmla="*/ 206 w 461"/>
                <a:gd name="T47" fmla="*/ 160 h 355"/>
                <a:gd name="T48" fmla="*/ 200 w 461"/>
                <a:gd name="T49" fmla="*/ 166 h 355"/>
                <a:gd name="T50" fmla="*/ 176 w 461"/>
                <a:gd name="T51" fmla="*/ 213 h 355"/>
                <a:gd name="T52" fmla="*/ 110 w 461"/>
                <a:gd name="T53" fmla="*/ 235 h 355"/>
                <a:gd name="T54" fmla="*/ 69 w 461"/>
                <a:gd name="T55" fmla="*/ 262 h 355"/>
                <a:gd name="T56" fmla="*/ 60 w 461"/>
                <a:gd name="T57" fmla="*/ 285 h 355"/>
                <a:gd name="T58" fmla="*/ 65 w 461"/>
                <a:gd name="T59" fmla="*/ 317 h 355"/>
                <a:gd name="T60" fmla="*/ 23 w 461"/>
                <a:gd name="T61" fmla="*/ 305 h 355"/>
                <a:gd name="T62" fmla="*/ 0 w 461"/>
                <a:gd name="T63" fmla="*/ 322 h 355"/>
                <a:gd name="T64" fmla="*/ 0 w 461"/>
                <a:gd name="T65" fmla="*/ 322 h 355"/>
                <a:gd name="T66" fmla="*/ 9 w 461"/>
                <a:gd name="T67" fmla="*/ 338 h 355"/>
                <a:gd name="T68" fmla="*/ 43 w 461"/>
                <a:gd name="T69" fmla="*/ 352 h 355"/>
                <a:gd name="T70" fmla="*/ 61 w 461"/>
                <a:gd name="T71" fmla="*/ 342 h 355"/>
                <a:gd name="T72" fmla="*/ 98 w 461"/>
                <a:gd name="T73" fmla="*/ 345 h 355"/>
                <a:gd name="T74" fmla="*/ 121 w 461"/>
                <a:gd name="T75" fmla="*/ 318 h 355"/>
                <a:gd name="T76" fmla="*/ 150 w 461"/>
                <a:gd name="T77" fmla="*/ 318 h 355"/>
                <a:gd name="T78" fmla="*/ 182 w 461"/>
                <a:gd name="T79" fmla="*/ 335 h 355"/>
                <a:gd name="T80" fmla="*/ 203 w 461"/>
                <a:gd name="T81" fmla="*/ 322 h 355"/>
                <a:gd name="T82" fmla="*/ 219 w 461"/>
                <a:gd name="T83" fmla="*/ 322 h 355"/>
                <a:gd name="T84" fmla="*/ 236 w 461"/>
                <a:gd name="T85" fmla="*/ 299 h 355"/>
                <a:gd name="T86" fmla="*/ 235 w 461"/>
                <a:gd name="T87" fmla="*/ 287 h 355"/>
                <a:gd name="T88" fmla="*/ 257 w 461"/>
                <a:gd name="T89" fmla="*/ 268 h 355"/>
                <a:gd name="T90" fmla="*/ 252 w 461"/>
                <a:gd name="T91" fmla="*/ 243 h 355"/>
                <a:gd name="T92" fmla="*/ 265 w 461"/>
                <a:gd name="T93" fmla="*/ 235 h 355"/>
                <a:gd name="T94" fmla="*/ 275 w 461"/>
                <a:gd name="T95" fmla="*/ 204 h 355"/>
                <a:gd name="T96" fmla="*/ 284 w 461"/>
                <a:gd name="T97" fmla="*/ 165 h 355"/>
                <a:gd name="T98" fmla="*/ 344 w 461"/>
                <a:gd name="T99" fmla="*/ 166 h 355"/>
                <a:gd name="T100" fmla="*/ 375 w 461"/>
                <a:gd name="T101" fmla="*/ 190 h 355"/>
                <a:gd name="T102" fmla="*/ 374 w 461"/>
                <a:gd name="T103" fmla="*/ 189 h 355"/>
                <a:gd name="T104" fmla="*/ 387 w 461"/>
                <a:gd name="T105" fmla="*/ 186 h 355"/>
                <a:gd name="T106" fmla="*/ 378 w 461"/>
                <a:gd name="T107" fmla="*/ 144 h 355"/>
                <a:gd name="T108" fmla="*/ 402 w 461"/>
                <a:gd name="T109" fmla="*/ 162 h 355"/>
                <a:gd name="T110" fmla="*/ 427 w 461"/>
                <a:gd name="T111" fmla="*/ 160 h 355"/>
                <a:gd name="T112" fmla="*/ 408 w 461"/>
                <a:gd name="T113" fmla="*/ 126 h 355"/>
                <a:gd name="T114" fmla="*/ 444 w 461"/>
                <a:gd name="T115" fmla="*/ 13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1" h="355">
                  <a:moveTo>
                    <a:pt x="444" y="131"/>
                  </a:moveTo>
                  <a:cubicBezTo>
                    <a:pt x="461" y="111"/>
                    <a:pt x="461" y="111"/>
                    <a:pt x="461" y="111"/>
                  </a:cubicBezTo>
                  <a:cubicBezTo>
                    <a:pt x="444" y="105"/>
                    <a:pt x="444" y="105"/>
                    <a:pt x="444" y="105"/>
                  </a:cubicBezTo>
                  <a:cubicBezTo>
                    <a:pt x="444" y="105"/>
                    <a:pt x="441" y="93"/>
                    <a:pt x="433" y="88"/>
                  </a:cubicBezTo>
                  <a:cubicBezTo>
                    <a:pt x="425" y="82"/>
                    <a:pt x="393" y="77"/>
                    <a:pt x="393" y="77"/>
                  </a:cubicBezTo>
                  <a:cubicBezTo>
                    <a:pt x="393" y="77"/>
                    <a:pt x="392" y="58"/>
                    <a:pt x="380" y="46"/>
                  </a:cubicBezTo>
                  <a:cubicBezTo>
                    <a:pt x="367" y="33"/>
                    <a:pt x="354" y="42"/>
                    <a:pt x="354" y="42"/>
                  </a:cubicBezTo>
                  <a:cubicBezTo>
                    <a:pt x="343" y="1"/>
                    <a:pt x="343" y="1"/>
                    <a:pt x="343" y="1"/>
                  </a:cubicBezTo>
                  <a:cubicBezTo>
                    <a:pt x="339" y="14"/>
                    <a:pt x="339" y="14"/>
                    <a:pt x="339" y="14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23" y="41"/>
                    <a:pt x="323" y="41"/>
                    <a:pt x="323" y="41"/>
                  </a:cubicBezTo>
                  <a:cubicBezTo>
                    <a:pt x="323" y="41"/>
                    <a:pt x="308" y="45"/>
                    <a:pt x="301" y="50"/>
                  </a:cubicBezTo>
                  <a:cubicBezTo>
                    <a:pt x="294" y="55"/>
                    <a:pt x="293" y="77"/>
                    <a:pt x="293" y="77"/>
                  </a:cubicBezTo>
                  <a:cubicBezTo>
                    <a:pt x="276" y="83"/>
                    <a:pt x="276" y="83"/>
                    <a:pt x="276" y="83"/>
                  </a:cubicBezTo>
                  <a:cubicBezTo>
                    <a:pt x="283" y="107"/>
                    <a:pt x="283" y="107"/>
                    <a:pt x="283" y="107"/>
                  </a:cubicBezTo>
                  <a:cubicBezTo>
                    <a:pt x="283" y="107"/>
                    <a:pt x="259" y="104"/>
                    <a:pt x="243" y="101"/>
                  </a:cubicBezTo>
                  <a:cubicBezTo>
                    <a:pt x="241" y="100"/>
                    <a:pt x="238" y="101"/>
                    <a:pt x="236" y="102"/>
                  </a:cubicBezTo>
                  <a:cubicBezTo>
                    <a:pt x="259" y="120"/>
                    <a:pt x="266" y="177"/>
                    <a:pt x="266" y="177"/>
                  </a:cubicBezTo>
                  <a:cubicBezTo>
                    <a:pt x="255" y="171"/>
                    <a:pt x="255" y="171"/>
                    <a:pt x="255" y="171"/>
                  </a:cubicBezTo>
                  <a:cubicBezTo>
                    <a:pt x="242" y="151"/>
                    <a:pt x="242" y="151"/>
                    <a:pt x="242" y="151"/>
                  </a:cubicBezTo>
                  <a:cubicBezTo>
                    <a:pt x="242" y="151"/>
                    <a:pt x="243" y="175"/>
                    <a:pt x="242" y="183"/>
                  </a:cubicBezTo>
                  <a:cubicBezTo>
                    <a:pt x="241" y="190"/>
                    <a:pt x="231" y="191"/>
                    <a:pt x="231" y="191"/>
                  </a:cubicBezTo>
                  <a:cubicBezTo>
                    <a:pt x="214" y="166"/>
                    <a:pt x="214" y="166"/>
                    <a:pt x="214" y="166"/>
                  </a:cubicBezTo>
                  <a:cubicBezTo>
                    <a:pt x="206" y="160"/>
                    <a:pt x="206" y="160"/>
                    <a:pt x="206" y="160"/>
                  </a:cubicBezTo>
                  <a:cubicBezTo>
                    <a:pt x="200" y="166"/>
                    <a:pt x="200" y="166"/>
                    <a:pt x="200" y="166"/>
                  </a:cubicBezTo>
                  <a:cubicBezTo>
                    <a:pt x="200" y="166"/>
                    <a:pt x="192" y="201"/>
                    <a:pt x="176" y="213"/>
                  </a:cubicBezTo>
                  <a:cubicBezTo>
                    <a:pt x="160" y="224"/>
                    <a:pt x="119" y="232"/>
                    <a:pt x="110" y="235"/>
                  </a:cubicBezTo>
                  <a:cubicBezTo>
                    <a:pt x="101" y="237"/>
                    <a:pt x="69" y="262"/>
                    <a:pt x="69" y="262"/>
                  </a:cubicBezTo>
                  <a:cubicBezTo>
                    <a:pt x="60" y="285"/>
                    <a:pt x="60" y="285"/>
                    <a:pt x="60" y="285"/>
                  </a:cubicBezTo>
                  <a:cubicBezTo>
                    <a:pt x="60" y="285"/>
                    <a:pt x="84" y="303"/>
                    <a:pt x="65" y="317"/>
                  </a:cubicBezTo>
                  <a:cubicBezTo>
                    <a:pt x="47" y="331"/>
                    <a:pt x="34" y="308"/>
                    <a:pt x="23" y="305"/>
                  </a:cubicBezTo>
                  <a:cubicBezTo>
                    <a:pt x="13" y="303"/>
                    <a:pt x="0" y="322"/>
                    <a:pt x="0" y="322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3" y="328"/>
                    <a:pt x="5" y="334"/>
                    <a:pt x="9" y="338"/>
                  </a:cubicBezTo>
                  <a:cubicBezTo>
                    <a:pt x="17" y="347"/>
                    <a:pt x="39" y="355"/>
                    <a:pt x="43" y="352"/>
                  </a:cubicBezTo>
                  <a:cubicBezTo>
                    <a:pt x="47" y="350"/>
                    <a:pt x="46" y="342"/>
                    <a:pt x="61" y="342"/>
                  </a:cubicBezTo>
                  <a:cubicBezTo>
                    <a:pt x="75" y="342"/>
                    <a:pt x="88" y="351"/>
                    <a:pt x="98" y="345"/>
                  </a:cubicBezTo>
                  <a:cubicBezTo>
                    <a:pt x="108" y="339"/>
                    <a:pt x="121" y="318"/>
                    <a:pt x="121" y="318"/>
                  </a:cubicBezTo>
                  <a:cubicBezTo>
                    <a:pt x="121" y="318"/>
                    <a:pt x="146" y="315"/>
                    <a:pt x="150" y="318"/>
                  </a:cubicBezTo>
                  <a:cubicBezTo>
                    <a:pt x="154" y="320"/>
                    <a:pt x="179" y="336"/>
                    <a:pt x="182" y="335"/>
                  </a:cubicBezTo>
                  <a:cubicBezTo>
                    <a:pt x="185" y="335"/>
                    <a:pt x="203" y="322"/>
                    <a:pt x="203" y="322"/>
                  </a:cubicBezTo>
                  <a:cubicBezTo>
                    <a:pt x="219" y="322"/>
                    <a:pt x="219" y="322"/>
                    <a:pt x="219" y="322"/>
                  </a:cubicBezTo>
                  <a:cubicBezTo>
                    <a:pt x="236" y="299"/>
                    <a:pt x="236" y="299"/>
                    <a:pt x="236" y="299"/>
                  </a:cubicBezTo>
                  <a:cubicBezTo>
                    <a:pt x="235" y="287"/>
                    <a:pt x="235" y="287"/>
                    <a:pt x="235" y="287"/>
                  </a:cubicBezTo>
                  <a:cubicBezTo>
                    <a:pt x="257" y="268"/>
                    <a:pt x="257" y="268"/>
                    <a:pt x="257" y="268"/>
                  </a:cubicBezTo>
                  <a:cubicBezTo>
                    <a:pt x="257" y="268"/>
                    <a:pt x="245" y="252"/>
                    <a:pt x="252" y="243"/>
                  </a:cubicBezTo>
                  <a:cubicBezTo>
                    <a:pt x="258" y="234"/>
                    <a:pt x="265" y="235"/>
                    <a:pt x="265" y="235"/>
                  </a:cubicBezTo>
                  <a:cubicBezTo>
                    <a:pt x="265" y="235"/>
                    <a:pt x="274" y="220"/>
                    <a:pt x="275" y="204"/>
                  </a:cubicBezTo>
                  <a:cubicBezTo>
                    <a:pt x="277" y="188"/>
                    <a:pt x="270" y="166"/>
                    <a:pt x="284" y="165"/>
                  </a:cubicBezTo>
                  <a:cubicBezTo>
                    <a:pt x="299" y="164"/>
                    <a:pt x="340" y="165"/>
                    <a:pt x="344" y="166"/>
                  </a:cubicBezTo>
                  <a:cubicBezTo>
                    <a:pt x="348" y="166"/>
                    <a:pt x="367" y="183"/>
                    <a:pt x="375" y="190"/>
                  </a:cubicBezTo>
                  <a:cubicBezTo>
                    <a:pt x="374" y="189"/>
                    <a:pt x="374" y="189"/>
                    <a:pt x="374" y="189"/>
                  </a:cubicBezTo>
                  <a:cubicBezTo>
                    <a:pt x="387" y="186"/>
                    <a:pt x="387" y="186"/>
                    <a:pt x="387" y="186"/>
                  </a:cubicBezTo>
                  <a:cubicBezTo>
                    <a:pt x="378" y="144"/>
                    <a:pt x="378" y="144"/>
                    <a:pt x="378" y="144"/>
                  </a:cubicBezTo>
                  <a:cubicBezTo>
                    <a:pt x="378" y="144"/>
                    <a:pt x="393" y="160"/>
                    <a:pt x="402" y="162"/>
                  </a:cubicBezTo>
                  <a:cubicBezTo>
                    <a:pt x="412" y="163"/>
                    <a:pt x="427" y="160"/>
                    <a:pt x="427" y="160"/>
                  </a:cubicBezTo>
                  <a:cubicBezTo>
                    <a:pt x="427" y="160"/>
                    <a:pt x="402" y="136"/>
                    <a:pt x="408" y="126"/>
                  </a:cubicBezTo>
                  <a:cubicBezTo>
                    <a:pt x="413" y="115"/>
                    <a:pt x="444" y="131"/>
                    <a:pt x="444" y="131"/>
                  </a:cubicBezTo>
                  <a:close/>
                </a:path>
              </a:pathLst>
            </a:custGeom>
            <a:solidFill>
              <a:schemeClr val="tx2"/>
            </a:solidFill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3" name="Freeform 361">
              <a:extLst>
                <a:ext uri="{FF2B5EF4-FFF2-40B4-BE49-F238E27FC236}">
                  <a16:creationId xmlns:a16="http://schemas.microsoft.com/office/drawing/2014/main" id="{9331AEF2-D1F1-0F5E-F466-D6E57452DE45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" y="-10684"/>
              <a:ext cx="142" cy="211"/>
            </a:xfrm>
            <a:custGeom>
              <a:avLst/>
              <a:gdLst>
                <a:gd name="T0" fmla="*/ 25 w 60"/>
                <a:gd name="T1" fmla="*/ 89 h 89"/>
                <a:gd name="T2" fmla="*/ 36 w 60"/>
                <a:gd name="T3" fmla="*/ 81 h 89"/>
                <a:gd name="T4" fmla="*/ 36 w 60"/>
                <a:gd name="T5" fmla="*/ 49 h 89"/>
                <a:gd name="T6" fmla="*/ 49 w 60"/>
                <a:gd name="T7" fmla="*/ 69 h 89"/>
                <a:gd name="T8" fmla="*/ 60 w 60"/>
                <a:gd name="T9" fmla="*/ 75 h 89"/>
                <a:gd name="T10" fmla="*/ 30 w 60"/>
                <a:gd name="T11" fmla="*/ 0 h 89"/>
                <a:gd name="T12" fmla="*/ 21 w 60"/>
                <a:gd name="T13" fmla="*/ 34 h 89"/>
                <a:gd name="T14" fmla="*/ 0 w 60"/>
                <a:gd name="T15" fmla="*/ 58 h 89"/>
                <a:gd name="T16" fmla="*/ 8 w 60"/>
                <a:gd name="T17" fmla="*/ 64 h 89"/>
                <a:gd name="T18" fmla="*/ 25 w 60"/>
                <a:gd name="T1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89">
                  <a:moveTo>
                    <a:pt x="25" y="89"/>
                  </a:moveTo>
                  <a:cubicBezTo>
                    <a:pt x="25" y="89"/>
                    <a:pt x="35" y="88"/>
                    <a:pt x="36" y="81"/>
                  </a:cubicBezTo>
                  <a:cubicBezTo>
                    <a:pt x="37" y="73"/>
                    <a:pt x="36" y="49"/>
                    <a:pt x="36" y="4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75"/>
                    <a:pt x="53" y="18"/>
                    <a:pt x="30" y="0"/>
                  </a:cubicBezTo>
                  <a:cubicBezTo>
                    <a:pt x="22" y="8"/>
                    <a:pt x="21" y="34"/>
                    <a:pt x="21" y="34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8" y="64"/>
                    <a:pt x="8" y="64"/>
                    <a:pt x="8" y="64"/>
                  </a:cubicBezTo>
                  <a:lnTo>
                    <a:pt x="25" y="89"/>
                  </a:lnTo>
                  <a:close/>
                </a:path>
              </a:pathLst>
            </a:custGeom>
            <a:grpFill/>
            <a:ln w="3175" cap="flat" cmpd="sng">
              <a:solidFill>
                <a:srgbClr val="FFE600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84" name="TextBox 183">
            <a:extLst>
              <a:ext uri="{FF2B5EF4-FFF2-40B4-BE49-F238E27FC236}">
                <a16:creationId xmlns:a16="http://schemas.microsoft.com/office/drawing/2014/main" id="{4419BCD8-89A1-646D-55B2-846591074FFD}"/>
              </a:ext>
            </a:extLst>
          </p:cNvPr>
          <p:cNvSpPr txBox="1"/>
          <p:nvPr/>
        </p:nvSpPr>
        <p:spPr>
          <a:xfrm>
            <a:off x="120912" y="1912615"/>
            <a:ext cx="1409632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Комиссия по ценным бумагам и биржам США (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EC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) приняла </a:t>
            </a: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Правила по совершенствованию и стандартизации раскрытия информации, связанной с климатом, для инвесторов, 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обязательные для крупных эмитентов с 2026 года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cxnSp>
        <p:nvCxnSpPr>
          <p:cNvPr id="185" name="Connector: Elbow 184">
            <a:extLst>
              <a:ext uri="{FF2B5EF4-FFF2-40B4-BE49-F238E27FC236}">
                <a16:creationId xmlns:a16="http://schemas.microsoft.com/office/drawing/2014/main" id="{CB2C5B51-E56E-5C9F-BD77-EF74A8E9E643}"/>
              </a:ext>
            </a:extLst>
          </p:cNvPr>
          <p:cNvCxnSpPr>
            <a:cxnSpLocks/>
          </p:cNvCxnSpPr>
          <p:nvPr/>
        </p:nvCxnSpPr>
        <p:spPr>
          <a:xfrm>
            <a:off x="1101383" y="3052462"/>
            <a:ext cx="1050080" cy="1590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" lastClr="FFFFFF"/>
            </a:solidFill>
            <a:prstDash val="solid"/>
            <a:tailEnd type="none"/>
          </a:ln>
          <a:effectLst/>
        </p:spPr>
      </p:cxnSp>
      <p:sp>
        <p:nvSpPr>
          <p:cNvPr id="186" name="Flowchart: Connector 185">
            <a:extLst>
              <a:ext uri="{FF2B5EF4-FFF2-40B4-BE49-F238E27FC236}">
                <a16:creationId xmlns:a16="http://schemas.microsoft.com/office/drawing/2014/main" id="{289CA148-2AF7-15D4-1F4C-8E2E89021BE0}"/>
              </a:ext>
            </a:extLst>
          </p:cNvPr>
          <p:cNvSpPr/>
          <p:nvPr/>
        </p:nvSpPr>
        <p:spPr>
          <a:xfrm>
            <a:off x="1054116" y="3002878"/>
            <a:ext cx="109086" cy="111951"/>
          </a:xfrm>
          <a:prstGeom prst="flowChartConnector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52D16E33-071B-36B1-AD8D-4F03BC59C5AF}"/>
              </a:ext>
            </a:extLst>
          </p:cNvPr>
          <p:cNvSpPr txBox="1"/>
          <p:nvPr/>
        </p:nvSpPr>
        <p:spPr>
          <a:xfrm>
            <a:off x="349250" y="5812065"/>
            <a:ext cx="18022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Бразилия </a:t>
            </a:r>
            <a:r>
              <a:rPr lang="ru-RU" sz="900" b="1" kern="0" dirty="0">
                <a:solidFill>
                  <a:prstClr val="white"/>
                </a:solidFill>
              </a:rPr>
              <a:t>и Чили </a:t>
            </a: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сделают отчетность по 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IFRS S1, S2 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обязательной для публичных компаний с 2026 года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188" name="Flowchart: Connector 187">
            <a:extLst>
              <a:ext uri="{FF2B5EF4-FFF2-40B4-BE49-F238E27FC236}">
                <a16:creationId xmlns:a16="http://schemas.microsoft.com/office/drawing/2014/main" id="{7CAC520F-DED6-5472-ABC3-4DE1F8ACD462}"/>
              </a:ext>
            </a:extLst>
          </p:cNvPr>
          <p:cNvSpPr/>
          <p:nvPr/>
        </p:nvSpPr>
        <p:spPr>
          <a:xfrm>
            <a:off x="2050438" y="6031278"/>
            <a:ext cx="109086" cy="111951"/>
          </a:xfrm>
          <a:prstGeom prst="flowChartConnector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cxnSp>
        <p:nvCxnSpPr>
          <p:cNvPr id="189" name="Connector: Elbow 188">
            <a:extLst>
              <a:ext uri="{FF2B5EF4-FFF2-40B4-BE49-F238E27FC236}">
                <a16:creationId xmlns:a16="http://schemas.microsoft.com/office/drawing/2014/main" id="{923B1183-1630-7644-7C84-E465ABFD4FF5}"/>
              </a:ext>
            </a:extLst>
          </p:cNvPr>
          <p:cNvCxnSpPr>
            <a:cxnSpLocks/>
            <a:endCxn id="187" idx="3"/>
          </p:cNvCxnSpPr>
          <p:nvPr/>
        </p:nvCxnSpPr>
        <p:spPr>
          <a:xfrm rot="10800000" flipV="1">
            <a:off x="2151463" y="4843328"/>
            <a:ext cx="1258884" cy="1243926"/>
          </a:xfrm>
          <a:prstGeom prst="bentConnector3">
            <a:avLst>
              <a:gd name="adj1" fmla="val 61097"/>
            </a:avLst>
          </a:prstGeom>
          <a:noFill/>
          <a:ln w="9525" cap="flat" cmpd="sng" algn="ctr">
            <a:solidFill>
              <a:sysClr val="window" lastClr="FFFFFF"/>
            </a:solidFill>
            <a:prstDash val="solid"/>
            <a:tailEnd type="none"/>
          </a:ln>
          <a:effectLst/>
        </p:spPr>
      </p:cxnSp>
      <p:cxnSp>
        <p:nvCxnSpPr>
          <p:cNvPr id="190" name="Connector: Elbow 189">
            <a:extLst>
              <a:ext uri="{FF2B5EF4-FFF2-40B4-BE49-F238E27FC236}">
                <a16:creationId xmlns:a16="http://schemas.microsoft.com/office/drawing/2014/main" id="{41BBA797-8BD3-96D7-AD3A-D0414B4FD21E}"/>
              </a:ext>
            </a:extLst>
          </p:cNvPr>
          <p:cNvCxnSpPr>
            <a:cxnSpLocks/>
            <a:stCxn id="52" idx="37"/>
          </p:cNvCxnSpPr>
          <p:nvPr/>
        </p:nvCxnSpPr>
        <p:spPr>
          <a:xfrm flipH="1">
            <a:off x="5996539" y="3479798"/>
            <a:ext cx="153654" cy="644971"/>
          </a:xfrm>
          <a:prstGeom prst="bentConnector4">
            <a:avLst>
              <a:gd name="adj1" fmla="val -148776"/>
              <a:gd name="adj2" fmla="val 66301"/>
            </a:avLst>
          </a:prstGeom>
          <a:noFill/>
          <a:ln w="9525" cap="flat" cmpd="sng" algn="ctr">
            <a:solidFill>
              <a:sysClr val="window" lastClr="FFFFFF"/>
            </a:solidFill>
            <a:prstDash val="solid"/>
            <a:tailEnd type="none"/>
          </a:ln>
          <a:effectLst/>
        </p:spPr>
      </p:cxnSp>
      <p:sp>
        <p:nvSpPr>
          <p:cNvPr id="191" name="TextBox 190">
            <a:extLst>
              <a:ext uri="{FF2B5EF4-FFF2-40B4-BE49-F238E27FC236}">
                <a16:creationId xmlns:a16="http://schemas.microsoft.com/office/drawing/2014/main" id="{74EF038C-1801-8BFC-DD87-4911B9B3861C}"/>
              </a:ext>
            </a:extLst>
          </p:cNvPr>
          <p:cNvSpPr txBox="1"/>
          <p:nvPr/>
        </p:nvSpPr>
        <p:spPr>
          <a:xfrm>
            <a:off x="5908591" y="919563"/>
            <a:ext cx="2001613" cy="92333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Tx/>
              <a:tabLst/>
              <a:defRPr/>
            </a:pPr>
            <a:r>
              <a:rPr kumimoji="0" lang="ru-RU" sz="90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ЕС</a:t>
            </a:r>
            <a:r>
              <a:rPr kumimoji="0" lang="ru-RU" sz="9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принял набор стандартов 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ESRS</a:t>
            </a: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r>
              <a:rPr kumimoji="0" lang="ru-RU" sz="9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в рамках Директивы о корпоративной отчетности в области устойчивого развития </a:t>
            </a: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(CSRD)</a:t>
            </a:r>
            <a:r>
              <a:rPr lang="ru-RU" sz="900" kern="0" dirty="0">
                <a:solidFill>
                  <a:prstClr val="white"/>
                </a:solidFill>
              </a:rPr>
              <a:t>, которые</a:t>
            </a:r>
            <a:r>
              <a:rPr lang="en-US" sz="900" kern="0" dirty="0">
                <a:solidFill>
                  <a:prstClr val="white"/>
                </a:solidFill>
              </a:rPr>
              <a:t> </a:t>
            </a:r>
            <a:r>
              <a:rPr lang="ru-RU" sz="900" kern="0" dirty="0">
                <a:solidFill>
                  <a:prstClr val="white"/>
                </a:solidFill>
              </a:rPr>
              <a:t>совместимы со стандартами </a:t>
            </a:r>
            <a:r>
              <a:rPr lang="en-US" sz="900" kern="0" dirty="0">
                <a:solidFill>
                  <a:prstClr val="white"/>
                </a:solidFill>
              </a:rPr>
              <a:t>IFRS S1/S2</a:t>
            </a:r>
            <a:endParaRPr kumimoji="0" lang="en-US" sz="9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cxnSp>
        <p:nvCxnSpPr>
          <p:cNvPr id="192" name="Connector: Elbow 191">
            <a:extLst>
              <a:ext uri="{FF2B5EF4-FFF2-40B4-BE49-F238E27FC236}">
                <a16:creationId xmlns:a16="http://schemas.microsoft.com/office/drawing/2014/main" id="{FCF551D6-CEEF-FE8D-9E90-6415F06BCFD0}"/>
              </a:ext>
            </a:extLst>
          </p:cNvPr>
          <p:cNvCxnSpPr>
            <a:cxnSpLocks/>
            <a:stCxn id="30" idx="22"/>
            <a:endCxn id="226" idx="0"/>
          </p:cNvCxnSpPr>
          <p:nvPr/>
        </p:nvCxnSpPr>
        <p:spPr>
          <a:xfrm flipV="1">
            <a:off x="7412631" y="3540479"/>
            <a:ext cx="2578623" cy="582072"/>
          </a:xfrm>
          <a:prstGeom prst="bentConnector4">
            <a:avLst>
              <a:gd name="adj1" fmla="val 35222"/>
              <a:gd name="adj2" fmla="val 139273"/>
            </a:avLst>
          </a:prstGeom>
          <a:noFill/>
          <a:ln w="9525" cap="flat" cmpd="sng" algn="ctr">
            <a:solidFill>
              <a:sysClr val="window" lastClr="FFFFFF"/>
            </a:solidFill>
            <a:prstDash val="solid"/>
            <a:tailEnd type="none"/>
          </a:ln>
          <a:effectLst/>
        </p:spPr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7212B9DE-B9D6-B800-6165-4BBD50EB828B}"/>
              </a:ext>
            </a:extLst>
          </p:cNvPr>
          <p:cNvSpPr txBox="1"/>
          <p:nvPr/>
        </p:nvSpPr>
        <p:spPr>
          <a:xfrm>
            <a:off x="10017853" y="1198998"/>
            <a:ext cx="2021748" cy="78483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Tx/>
              <a:tabLst/>
              <a:defRPr/>
            </a:pPr>
            <a:r>
              <a:rPr kumimoji="0" lang="ru-RU" sz="9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С 2026 года предприятия </a:t>
            </a:r>
            <a:r>
              <a:rPr kumimoji="0" lang="ru-RU" sz="90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Узбекистана</a:t>
            </a:r>
            <a:r>
              <a:rPr kumimoji="0" lang="ru-RU" sz="9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с государственной долей более 50% обязаны будут начать внедрение стандартов IFRS S1/S2</a:t>
            </a:r>
          </a:p>
        </p:txBody>
      </p:sp>
      <p:cxnSp>
        <p:nvCxnSpPr>
          <p:cNvPr id="194" name="Connector: Elbow 193">
            <a:extLst>
              <a:ext uri="{FF2B5EF4-FFF2-40B4-BE49-F238E27FC236}">
                <a16:creationId xmlns:a16="http://schemas.microsoft.com/office/drawing/2014/main" id="{F557E4B8-5E3C-A03C-82A7-100E4B4E6B8B}"/>
              </a:ext>
            </a:extLst>
          </p:cNvPr>
          <p:cNvCxnSpPr>
            <a:cxnSpLocks/>
            <a:stCxn id="191" idx="2"/>
            <a:endCxn id="81" idx="17"/>
          </p:cNvCxnSpPr>
          <p:nvPr/>
        </p:nvCxnSpPr>
        <p:spPr>
          <a:xfrm rot="5400000">
            <a:off x="5394984" y="1342023"/>
            <a:ext cx="1013545" cy="2015284"/>
          </a:xfrm>
          <a:prstGeom prst="bentConnector2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tailEnd type="none"/>
          </a:ln>
          <a:effectLst/>
        </p:spPr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A1F4EC4E-AABD-94FE-AEE6-7ECA6916AD13}"/>
              </a:ext>
            </a:extLst>
          </p:cNvPr>
          <p:cNvCxnSpPr>
            <a:cxnSpLocks/>
          </p:cNvCxnSpPr>
          <p:nvPr/>
        </p:nvCxnSpPr>
        <p:spPr>
          <a:xfrm flipH="1">
            <a:off x="6096000" y="1994525"/>
            <a:ext cx="2195554" cy="1314110"/>
          </a:xfrm>
          <a:prstGeom prst="line">
            <a:avLst/>
          </a:prstGeom>
          <a:noFill/>
          <a:ln w="25400" cap="flat" cmpd="sng" algn="ctr">
            <a:solidFill>
              <a:sysClr val="window" lastClr="FFFFFF"/>
            </a:solidFill>
            <a:prstDash val="solid"/>
            <a:tailEnd type="non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96" name="Rectangle 195">
            <a:extLst>
              <a:ext uri="{FF2B5EF4-FFF2-40B4-BE49-F238E27FC236}">
                <a16:creationId xmlns:a16="http://schemas.microsoft.com/office/drawing/2014/main" id="{794B844C-100F-4886-6810-444652A6B8F6}"/>
              </a:ext>
            </a:extLst>
          </p:cNvPr>
          <p:cNvSpPr/>
          <p:nvPr/>
        </p:nvSpPr>
        <p:spPr>
          <a:xfrm>
            <a:off x="5598905" y="3056159"/>
            <a:ext cx="514606" cy="315448"/>
          </a:xfrm>
          <a:prstGeom prst="rect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cxnSp>
        <p:nvCxnSpPr>
          <p:cNvPr id="197" name="Connector: Elbow 196">
            <a:extLst>
              <a:ext uri="{FF2B5EF4-FFF2-40B4-BE49-F238E27FC236}">
                <a16:creationId xmlns:a16="http://schemas.microsoft.com/office/drawing/2014/main" id="{ACE410D9-74B0-3212-EEE1-28AB03B93DC8}"/>
              </a:ext>
            </a:extLst>
          </p:cNvPr>
          <p:cNvCxnSpPr>
            <a:cxnSpLocks/>
            <a:endCxn id="199" idx="1"/>
          </p:cNvCxnSpPr>
          <p:nvPr/>
        </p:nvCxnSpPr>
        <p:spPr>
          <a:xfrm>
            <a:off x="7045535" y="3513126"/>
            <a:ext cx="2379192" cy="204564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" lastClr="FFFFFF"/>
            </a:solidFill>
            <a:prstDash val="solid"/>
            <a:tailEnd type="none"/>
          </a:ln>
          <a:effectLst/>
        </p:spPr>
      </p:cxnSp>
      <p:sp>
        <p:nvSpPr>
          <p:cNvPr id="198" name="Flowchart: Connector 197">
            <a:extLst>
              <a:ext uri="{FF2B5EF4-FFF2-40B4-BE49-F238E27FC236}">
                <a16:creationId xmlns:a16="http://schemas.microsoft.com/office/drawing/2014/main" id="{A78FCADE-22BF-3AE6-6F6B-CCF14967E30E}"/>
              </a:ext>
            </a:extLst>
          </p:cNvPr>
          <p:cNvSpPr/>
          <p:nvPr/>
        </p:nvSpPr>
        <p:spPr>
          <a:xfrm>
            <a:off x="9347448" y="5502797"/>
            <a:ext cx="109086" cy="111951"/>
          </a:xfrm>
          <a:prstGeom prst="flowChartConnector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5D3B2D99-1884-8BFC-D440-F09BFD2C928C}"/>
              </a:ext>
            </a:extLst>
          </p:cNvPr>
          <p:cNvSpPr txBox="1"/>
          <p:nvPr/>
        </p:nvSpPr>
        <p:spPr>
          <a:xfrm>
            <a:off x="9424727" y="5166357"/>
            <a:ext cx="2228594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Гонконгская фондовая биржа (HKEX) с января 202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5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года обязывает эмитентов отчитываться о климатических показателях в соответствии с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IFRS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S1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, 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2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BF0AC719-4F1A-C5A3-23E3-28F50D054251}"/>
              </a:ext>
            </a:extLst>
          </p:cNvPr>
          <p:cNvSpPr txBox="1"/>
          <p:nvPr/>
        </p:nvSpPr>
        <p:spPr>
          <a:xfrm>
            <a:off x="458534" y="1053072"/>
            <a:ext cx="15919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Tx/>
              <a:tabLst/>
              <a:defRPr/>
            </a:pPr>
            <a:r>
              <a:rPr kumimoji="0" lang="ru-RU" sz="9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В декабре 2024 года Канада выпустила национальные стандарты на основе </a:t>
            </a:r>
            <a:r>
              <a:rPr lang="en-US" sz="900" kern="0" dirty="0">
                <a:solidFill>
                  <a:schemeClr val="bg1"/>
                </a:solidFill>
              </a:rPr>
              <a:t>IFRS S1/S2</a:t>
            </a:r>
            <a:endParaRPr kumimoji="0" lang="en-US" sz="9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cxnSp>
        <p:nvCxnSpPr>
          <p:cNvPr id="201" name="Connector: Elbow 200">
            <a:extLst>
              <a:ext uri="{FF2B5EF4-FFF2-40B4-BE49-F238E27FC236}">
                <a16:creationId xmlns:a16="http://schemas.microsoft.com/office/drawing/2014/main" id="{AD311FC8-27F1-7E1D-91A5-9DBD72FFA001}"/>
              </a:ext>
            </a:extLst>
          </p:cNvPr>
          <p:cNvCxnSpPr>
            <a:cxnSpLocks/>
            <a:stCxn id="200" idx="3"/>
          </p:cNvCxnSpPr>
          <p:nvPr/>
        </p:nvCxnSpPr>
        <p:spPr>
          <a:xfrm>
            <a:off x="2050438" y="1376238"/>
            <a:ext cx="462820" cy="1374167"/>
          </a:xfrm>
          <a:prstGeom prst="bentConnector2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  <a:tailEnd type="none"/>
          </a:ln>
          <a:effectLst/>
        </p:spPr>
      </p:cxnSp>
      <p:sp>
        <p:nvSpPr>
          <p:cNvPr id="202" name="TextBox 201">
            <a:extLst>
              <a:ext uri="{FF2B5EF4-FFF2-40B4-BE49-F238E27FC236}">
                <a16:creationId xmlns:a16="http://schemas.microsoft.com/office/drawing/2014/main" id="{C57011FC-6DD6-92A3-18F4-AA2E14D67C05}"/>
              </a:ext>
            </a:extLst>
          </p:cNvPr>
          <p:cNvSpPr txBox="1"/>
          <p:nvPr/>
        </p:nvSpPr>
        <p:spPr>
          <a:xfrm>
            <a:off x="3639964" y="1102694"/>
            <a:ext cx="1926054" cy="92333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Tx/>
              <a:tabLst/>
              <a:defRPr/>
            </a:pPr>
            <a:r>
              <a:rPr kumimoji="0" lang="ru-RU" sz="9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Соблюдение требований </a:t>
            </a:r>
            <a:r>
              <a:rPr kumimoji="0" lang="en-US" sz="9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IFRS</a:t>
            </a:r>
            <a:r>
              <a:rPr kumimoji="0" lang="ru-RU" sz="9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S1/S2 повышает шансы компаний на получение финансирования Европейского банка реконструкции и развития (EBRD)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1CC680F7-2D38-80D5-6BA3-E5FC3734A76A}"/>
              </a:ext>
            </a:extLst>
          </p:cNvPr>
          <p:cNvSpPr txBox="1"/>
          <p:nvPr/>
        </p:nvSpPr>
        <p:spPr>
          <a:xfrm>
            <a:off x="8882800" y="4506933"/>
            <a:ext cx="227010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Сингапурская фондовая биржа (SGX) призвала котирующиеся на бирже компании следовать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IFRS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S1/S2 начиная с 2025 финансового года</a:t>
            </a:r>
          </a:p>
        </p:txBody>
      </p:sp>
      <p:cxnSp>
        <p:nvCxnSpPr>
          <p:cNvPr id="204" name="Connector: Elbow 203">
            <a:extLst>
              <a:ext uri="{FF2B5EF4-FFF2-40B4-BE49-F238E27FC236}">
                <a16:creationId xmlns:a16="http://schemas.microsoft.com/office/drawing/2014/main" id="{9536F53C-0E86-B66E-C002-521E45C14BE0}"/>
              </a:ext>
            </a:extLst>
          </p:cNvPr>
          <p:cNvCxnSpPr>
            <a:cxnSpLocks/>
            <a:stCxn id="137" idx="5"/>
            <a:endCxn id="203" idx="1"/>
          </p:cNvCxnSpPr>
          <p:nvPr/>
        </p:nvCxnSpPr>
        <p:spPr>
          <a:xfrm>
            <a:off x="7063072" y="3881392"/>
            <a:ext cx="1819728" cy="94870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" lastClr="FFFFFF"/>
            </a:solidFill>
            <a:prstDash val="solid"/>
            <a:tailEnd type="none"/>
          </a:ln>
          <a:effectLst/>
        </p:spPr>
      </p:cxnSp>
      <p:sp>
        <p:nvSpPr>
          <p:cNvPr id="205" name="Flowchart: Connector 204">
            <a:extLst>
              <a:ext uri="{FF2B5EF4-FFF2-40B4-BE49-F238E27FC236}">
                <a16:creationId xmlns:a16="http://schemas.microsoft.com/office/drawing/2014/main" id="{C5466F68-7CE3-E5A3-5567-7FAE9D8977FF}"/>
              </a:ext>
            </a:extLst>
          </p:cNvPr>
          <p:cNvSpPr/>
          <p:nvPr/>
        </p:nvSpPr>
        <p:spPr>
          <a:xfrm>
            <a:off x="8816881" y="4779475"/>
            <a:ext cx="109086" cy="111951"/>
          </a:xfrm>
          <a:prstGeom prst="flowChartConnector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BB526F3E-B297-428F-BD4E-36D2620BDEDA}"/>
              </a:ext>
            </a:extLst>
          </p:cNvPr>
          <p:cNvGrpSpPr/>
          <p:nvPr/>
        </p:nvGrpSpPr>
        <p:grpSpPr>
          <a:xfrm>
            <a:off x="4534865" y="2059771"/>
            <a:ext cx="235291" cy="847980"/>
            <a:chOff x="4534865" y="2126032"/>
            <a:chExt cx="235291" cy="766008"/>
          </a:xfrm>
        </p:grpSpPr>
        <p:cxnSp>
          <p:nvCxnSpPr>
            <p:cNvPr id="207" name="Connector: Elbow 206">
              <a:extLst>
                <a:ext uri="{FF2B5EF4-FFF2-40B4-BE49-F238E27FC236}">
                  <a16:creationId xmlns:a16="http://schemas.microsoft.com/office/drawing/2014/main" id="{0116E7BB-92D8-17D9-9C0B-547BA3373D61}"/>
                </a:ext>
              </a:extLst>
            </p:cNvPr>
            <p:cNvCxnSpPr>
              <a:cxnSpLocks/>
              <a:stCxn id="208" idx="6"/>
              <a:endCxn id="150" idx="12"/>
            </p:cNvCxnSpPr>
            <p:nvPr/>
          </p:nvCxnSpPr>
          <p:spPr>
            <a:xfrm flipH="1">
              <a:off x="4534865" y="2182008"/>
              <a:ext cx="235291" cy="710032"/>
            </a:xfrm>
            <a:prstGeom prst="bentConnector3">
              <a:avLst>
                <a:gd name="adj1" fmla="val -97156"/>
              </a:avLst>
            </a:prstGeom>
            <a:noFill/>
            <a:ln w="9525" cap="flat" cmpd="sng" algn="ctr">
              <a:solidFill>
                <a:sysClr val="window" lastClr="FFFFFF"/>
              </a:solidFill>
              <a:prstDash val="solid"/>
              <a:tailEnd type="none"/>
            </a:ln>
            <a:effectLst/>
          </p:spPr>
        </p:cxnSp>
        <p:sp>
          <p:nvSpPr>
            <p:cNvPr id="208" name="Flowchart: Connector 207">
              <a:extLst>
                <a:ext uri="{FF2B5EF4-FFF2-40B4-BE49-F238E27FC236}">
                  <a16:creationId xmlns:a16="http://schemas.microsoft.com/office/drawing/2014/main" id="{607ACAF9-F2D3-44D9-273B-F9F4CD93EA36}"/>
                </a:ext>
              </a:extLst>
            </p:cNvPr>
            <p:cNvSpPr/>
            <p:nvPr/>
          </p:nvSpPr>
          <p:spPr>
            <a:xfrm>
              <a:off x="4661070" y="2126032"/>
              <a:ext cx="109086" cy="111951"/>
            </a:xfrm>
            <a:prstGeom prst="flowChartConnector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endParaRPr>
            </a:p>
          </p:txBody>
        </p:sp>
      </p:grpSp>
      <p:sp>
        <p:nvSpPr>
          <p:cNvPr id="209" name="Flowchart: Connector 208">
            <a:extLst>
              <a:ext uri="{FF2B5EF4-FFF2-40B4-BE49-F238E27FC236}">
                <a16:creationId xmlns:a16="http://schemas.microsoft.com/office/drawing/2014/main" id="{C11C4A98-2BB2-161A-2D1F-35566D3ADF1B}"/>
              </a:ext>
            </a:extLst>
          </p:cNvPr>
          <p:cNvSpPr/>
          <p:nvPr/>
        </p:nvSpPr>
        <p:spPr>
          <a:xfrm>
            <a:off x="6859023" y="1803957"/>
            <a:ext cx="109086" cy="111951"/>
          </a:xfrm>
          <a:prstGeom prst="flowChartConnector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cxnSp>
        <p:nvCxnSpPr>
          <p:cNvPr id="210" name="Connector: Elbow 209">
            <a:extLst>
              <a:ext uri="{FF2B5EF4-FFF2-40B4-BE49-F238E27FC236}">
                <a16:creationId xmlns:a16="http://schemas.microsoft.com/office/drawing/2014/main" id="{FBB6B685-6B4C-3CE4-BCA3-7D693C6B9F68}"/>
              </a:ext>
            </a:extLst>
          </p:cNvPr>
          <p:cNvCxnSpPr>
            <a:cxnSpLocks/>
          </p:cNvCxnSpPr>
          <p:nvPr/>
        </p:nvCxnSpPr>
        <p:spPr>
          <a:xfrm rot="5400000">
            <a:off x="4302853" y="3444516"/>
            <a:ext cx="986203" cy="74991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" lastClr="FFFFFF"/>
            </a:solidFill>
            <a:prstDash val="solid"/>
            <a:tailEnd type="none"/>
          </a:ln>
          <a:effectLst/>
        </p:spPr>
      </p:cxnSp>
      <p:sp>
        <p:nvSpPr>
          <p:cNvPr id="211" name="TextBox 210">
            <a:extLst>
              <a:ext uri="{FF2B5EF4-FFF2-40B4-BE49-F238E27FC236}">
                <a16:creationId xmlns:a16="http://schemas.microsoft.com/office/drawing/2014/main" id="{CAB885CA-58F6-9106-FEBF-341761C0C45D}"/>
              </a:ext>
            </a:extLst>
          </p:cNvPr>
          <p:cNvSpPr txBox="1"/>
          <p:nvPr/>
        </p:nvSpPr>
        <p:spPr>
          <a:xfrm>
            <a:off x="3640615" y="4394703"/>
            <a:ext cx="1226340" cy="161582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bg1"/>
                </a:solidFill>
              </a:rPr>
              <a:t>С января 2024 года вступили в действие обязательные стандарты </a:t>
            </a:r>
            <a:r>
              <a:rPr lang="ru-RU" sz="900" dirty="0">
                <a:solidFill>
                  <a:schemeClr val="tx2"/>
                </a:solidFill>
              </a:rPr>
              <a:t>Турции</a:t>
            </a:r>
            <a:r>
              <a:rPr lang="ru-RU" sz="900" dirty="0">
                <a:solidFill>
                  <a:schemeClr val="bg1"/>
                </a:solidFill>
              </a:rPr>
              <a:t>  Turkish Sustainability Reporting Standards (TSRS), разработанные на основе IFRS S1/S2 </a:t>
            </a:r>
          </a:p>
        </p:txBody>
      </p:sp>
      <p:cxnSp>
        <p:nvCxnSpPr>
          <p:cNvPr id="212" name="Connector: Elbow 211">
            <a:extLst>
              <a:ext uri="{FF2B5EF4-FFF2-40B4-BE49-F238E27FC236}">
                <a16:creationId xmlns:a16="http://schemas.microsoft.com/office/drawing/2014/main" id="{BDD9DEA2-6CE0-02B9-E73E-F1E5DB36B2D0}"/>
              </a:ext>
            </a:extLst>
          </p:cNvPr>
          <p:cNvCxnSpPr>
            <a:cxnSpLocks/>
            <a:stCxn id="215" idx="6"/>
          </p:cNvCxnSpPr>
          <p:nvPr/>
        </p:nvCxnSpPr>
        <p:spPr>
          <a:xfrm flipV="1">
            <a:off x="1867028" y="4116208"/>
            <a:ext cx="673682" cy="14999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" lastClr="FFFFFF"/>
            </a:solidFill>
            <a:prstDash val="solid"/>
            <a:tailEnd type="none"/>
          </a:ln>
          <a:effectLst/>
        </p:spPr>
      </p:cxnSp>
      <p:sp>
        <p:nvSpPr>
          <p:cNvPr id="213" name="TextBox 212">
            <a:extLst>
              <a:ext uri="{FF2B5EF4-FFF2-40B4-BE49-F238E27FC236}">
                <a16:creationId xmlns:a16="http://schemas.microsoft.com/office/drawing/2014/main" id="{7AE4F0B8-3DA4-A7D6-E259-3B4B95A7F22A}"/>
              </a:ext>
            </a:extLst>
          </p:cNvPr>
          <p:cNvSpPr txBox="1"/>
          <p:nvPr/>
        </p:nvSpPr>
        <p:spPr>
          <a:xfrm>
            <a:off x="282952" y="3966358"/>
            <a:ext cx="163533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900" kern="0" dirty="0">
                <a:solidFill>
                  <a:prstClr val="white"/>
                </a:solidFill>
              </a:rPr>
              <a:t>Мексика, Коста-Рика приняли стандарты </a:t>
            </a:r>
            <a:r>
              <a:rPr lang="en-US" sz="900" kern="0" dirty="0">
                <a:solidFill>
                  <a:prstClr val="white"/>
                </a:solidFill>
              </a:rPr>
              <a:t>IFRS S1/S2</a:t>
            </a:r>
            <a:r>
              <a:rPr lang="ru-RU" sz="900" kern="0" dirty="0">
                <a:solidFill>
                  <a:prstClr val="white"/>
                </a:solidFill>
              </a:rPr>
              <a:t>, обязательные для применения с</a:t>
            </a:r>
            <a:r>
              <a:rPr lang="en-US" sz="900" kern="0" dirty="0">
                <a:solidFill>
                  <a:prstClr val="white"/>
                </a:solidFill>
              </a:rPr>
              <a:t> FY</a:t>
            </a:r>
            <a:r>
              <a:rPr lang="ru-RU" sz="900" kern="0" dirty="0">
                <a:solidFill>
                  <a:prstClr val="white"/>
                </a:solidFill>
              </a:rPr>
              <a:t>2025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FC9DB711-1D94-2E99-BEF6-046C9DBD4633}"/>
              </a:ext>
            </a:extLst>
          </p:cNvPr>
          <p:cNvSpPr txBox="1"/>
          <p:nvPr/>
        </p:nvSpPr>
        <p:spPr>
          <a:xfrm>
            <a:off x="5609104" y="4159350"/>
            <a:ext cx="1277628" cy="1061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bg1"/>
                </a:solidFill>
              </a:rPr>
              <a:t>Крупные листинговые компании Пакистана обязаны отчитываться по стандартам </a:t>
            </a:r>
            <a:r>
              <a:rPr lang="en-US" sz="900" dirty="0">
                <a:solidFill>
                  <a:schemeClr val="bg1"/>
                </a:solidFill>
              </a:rPr>
              <a:t>IFRS S1/S2</a:t>
            </a:r>
            <a:r>
              <a:rPr lang="ru-RU" sz="900" dirty="0">
                <a:solidFill>
                  <a:schemeClr val="bg1"/>
                </a:solidFill>
              </a:rPr>
              <a:t> с 202</a:t>
            </a:r>
            <a:r>
              <a:rPr lang="en-US" sz="900" dirty="0">
                <a:solidFill>
                  <a:schemeClr val="bg1"/>
                </a:solidFill>
              </a:rPr>
              <a:t>5 </a:t>
            </a:r>
            <a:r>
              <a:rPr lang="ru-RU" sz="900" dirty="0">
                <a:solidFill>
                  <a:schemeClr val="bg1"/>
                </a:solidFill>
              </a:rPr>
              <a:t>года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15" name="Flowchart: Connector 214">
            <a:extLst>
              <a:ext uri="{FF2B5EF4-FFF2-40B4-BE49-F238E27FC236}">
                <a16:creationId xmlns:a16="http://schemas.microsoft.com/office/drawing/2014/main" id="{84666CAE-1FE3-294E-922C-DB3D6A3216BA}"/>
              </a:ext>
            </a:extLst>
          </p:cNvPr>
          <p:cNvSpPr/>
          <p:nvPr/>
        </p:nvSpPr>
        <p:spPr>
          <a:xfrm>
            <a:off x="1757942" y="4210229"/>
            <a:ext cx="109086" cy="111951"/>
          </a:xfrm>
          <a:prstGeom prst="flowChartConnector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16" name="Flowchart: Connector 215">
            <a:extLst>
              <a:ext uri="{FF2B5EF4-FFF2-40B4-BE49-F238E27FC236}">
                <a16:creationId xmlns:a16="http://schemas.microsoft.com/office/drawing/2014/main" id="{71EEBA48-29C2-E192-EDDB-A70C09A646AB}"/>
              </a:ext>
            </a:extLst>
          </p:cNvPr>
          <p:cNvSpPr/>
          <p:nvPr/>
        </p:nvSpPr>
        <p:spPr>
          <a:xfrm>
            <a:off x="4364706" y="4333888"/>
            <a:ext cx="109086" cy="111951"/>
          </a:xfrm>
          <a:prstGeom prst="flowChartConnector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17" name="Flowchart: Connector 216">
            <a:extLst>
              <a:ext uri="{FF2B5EF4-FFF2-40B4-BE49-F238E27FC236}">
                <a16:creationId xmlns:a16="http://schemas.microsoft.com/office/drawing/2014/main" id="{CCCF395B-8350-2FDE-4DB8-1C908E2B3E93}"/>
              </a:ext>
            </a:extLst>
          </p:cNvPr>
          <p:cNvSpPr/>
          <p:nvPr/>
        </p:nvSpPr>
        <p:spPr>
          <a:xfrm>
            <a:off x="5948545" y="4068793"/>
            <a:ext cx="109086" cy="111951"/>
          </a:xfrm>
          <a:prstGeom prst="flowChartConnector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cxnSp>
        <p:nvCxnSpPr>
          <p:cNvPr id="218" name="Connector: Elbow 217">
            <a:extLst>
              <a:ext uri="{FF2B5EF4-FFF2-40B4-BE49-F238E27FC236}">
                <a16:creationId xmlns:a16="http://schemas.microsoft.com/office/drawing/2014/main" id="{94A9CB37-ACE5-6826-B992-8DE1E4B9829A}"/>
              </a:ext>
            </a:extLst>
          </p:cNvPr>
          <p:cNvCxnSpPr>
            <a:cxnSpLocks/>
          </p:cNvCxnSpPr>
          <p:nvPr/>
        </p:nvCxnSpPr>
        <p:spPr>
          <a:xfrm flipV="1">
            <a:off x="6905110" y="2642006"/>
            <a:ext cx="1192503" cy="82091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" lastClr="FFFFFF"/>
            </a:solidFill>
            <a:prstDash val="solid"/>
            <a:tailEnd type="none"/>
          </a:ln>
          <a:effectLst/>
        </p:spPr>
      </p:cxnSp>
      <p:sp>
        <p:nvSpPr>
          <p:cNvPr id="219" name="TextBox 218">
            <a:extLst>
              <a:ext uri="{FF2B5EF4-FFF2-40B4-BE49-F238E27FC236}">
                <a16:creationId xmlns:a16="http://schemas.microsoft.com/office/drawing/2014/main" id="{31D2A033-96A2-8278-D047-1087E2F93B3C}"/>
              </a:ext>
            </a:extLst>
          </p:cNvPr>
          <p:cNvSpPr txBox="1"/>
          <p:nvPr/>
        </p:nvSpPr>
        <p:spPr>
          <a:xfrm>
            <a:off x="8102610" y="2288916"/>
            <a:ext cx="2544887" cy="78483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r>
              <a:rPr lang="ru-RU" sz="900" kern="0" dirty="0">
                <a:solidFill>
                  <a:schemeClr val="tx2"/>
                </a:solidFill>
              </a:rPr>
              <a:t>Китай</a:t>
            </a:r>
            <a:r>
              <a:rPr lang="ru-RU" sz="900" kern="0" dirty="0">
                <a:solidFill>
                  <a:prstClr val="white"/>
                </a:solidFill>
              </a:rPr>
              <a:t> в 2024 году принял </a:t>
            </a:r>
            <a:r>
              <a:rPr lang="en-US" sz="900" kern="0" dirty="0">
                <a:solidFill>
                  <a:prstClr val="white"/>
                </a:solidFill>
              </a:rPr>
              <a:t>Corporate Sustainability Disclosure Standards (</a:t>
            </a:r>
            <a:r>
              <a:rPr lang="en-US" sz="900" b="1" kern="0" dirty="0">
                <a:solidFill>
                  <a:prstClr val="white"/>
                </a:solidFill>
              </a:rPr>
              <a:t>CSDS</a:t>
            </a:r>
            <a:r>
              <a:rPr lang="en-US" sz="900" kern="0" dirty="0">
                <a:solidFill>
                  <a:prstClr val="white"/>
                </a:solidFill>
              </a:rPr>
              <a:t>) – Basic Standards (Trial) </a:t>
            </a:r>
            <a:r>
              <a:rPr lang="ru-RU" sz="900" kern="0" dirty="0">
                <a:solidFill>
                  <a:prstClr val="white"/>
                </a:solidFill>
              </a:rPr>
              <a:t>на базе </a:t>
            </a:r>
            <a:r>
              <a:rPr lang="en-US" sz="900" kern="0" dirty="0">
                <a:solidFill>
                  <a:prstClr val="white"/>
                </a:solidFill>
              </a:rPr>
              <a:t>IFRS S1. </a:t>
            </a:r>
            <a:r>
              <a:rPr lang="ru-RU" sz="900" kern="0" dirty="0">
                <a:solidFill>
                  <a:prstClr val="white"/>
                </a:solidFill>
              </a:rPr>
              <a:t>Выпуск стандартов аналогичных </a:t>
            </a:r>
            <a:r>
              <a:rPr lang="en-US" sz="900" kern="0" dirty="0">
                <a:solidFill>
                  <a:prstClr val="white"/>
                </a:solidFill>
              </a:rPr>
              <a:t>IFRS S2 </a:t>
            </a:r>
            <a:r>
              <a:rPr lang="ru-RU" sz="900" kern="0" dirty="0">
                <a:solidFill>
                  <a:prstClr val="white"/>
                </a:solidFill>
              </a:rPr>
              <a:t>ожидается к 2027 году.</a:t>
            </a:r>
          </a:p>
        </p:txBody>
      </p:sp>
      <p:sp>
        <p:nvSpPr>
          <p:cNvPr id="220" name="Flowchart: Connector 219">
            <a:extLst>
              <a:ext uri="{FF2B5EF4-FFF2-40B4-BE49-F238E27FC236}">
                <a16:creationId xmlns:a16="http://schemas.microsoft.com/office/drawing/2014/main" id="{D4681B20-2E7A-EC3D-EFA1-B3204F19AF8D}"/>
              </a:ext>
            </a:extLst>
          </p:cNvPr>
          <p:cNvSpPr/>
          <p:nvPr/>
        </p:nvSpPr>
        <p:spPr>
          <a:xfrm>
            <a:off x="8012035" y="2603069"/>
            <a:ext cx="119345" cy="100903"/>
          </a:xfrm>
          <a:prstGeom prst="flowChartConnector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cxnSp>
        <p:nvCxnSpPr>
          <p:cNvPr id="221" name="Connector: Elbow 220">
            <a:extLst>
              <a:ext uri="{FF2B5EF4-FFF2-40B4-BE49-F238E27FC236}">
                <a16:creationId xmlns:a16="http://schemas.microsoft.com/office/drawing/2014/main" id="{F57985B3-0C91-766C-88BB-5E28C6BBBCF1}"/>
              </a:ext>
            </a:extLst>
          </p:cNvPr>
          <p:cNvCxnSpPr>
            <a:cxnSpLocks/>
            <a:stCxn id="215" idx="0"/>
            <a:endCxn id="18" idx="54"/>
          </p:cNvCxnSpPr>
          <p:nvPr/>
        </p:nvCxnSpPr>
        <p:spPr>
          <a:xfrm rot="5400000" flipH="1" flipV="1">
            <a:off x="1722772" y="3834470"/>
            <a:ext cx="465473" cy="286047"/>
          </a:xfrm>
          <a:prstGeom prst="bentConnector4">
            <a:avLst>
              <a:gd name="adj1" fmla="val 27790"/>
              <a:gd name="adj2" fmla="val 28963"/>
            </a:avLst>
          </a:prstGeom>
          <a:noFill/>
          <a:ln w="9525" cap="flat" cmpd="sng" algn="ctr">
            <a:solidFill>
              <a:sysClr val="window" lastClr="FFFFFF"/>
            </a:solidFill>
            <a:prstDash val="solid"/>
            <a:tailEnd type="none"/>
          </a:ln>
          <a:effectLst/>
        </p:spPr>
      </p:cxnSp>
      <p:cxnSp>
        <p:nvCxnSpPr>
          <p:cNvPr id="222" name="Connector: Elbow 221">
            <a:extLst>
              <a:ext uri="{FF2B5EF4-FFF2-40B4-BE49-F238E27FC236}">
                <a16:creationId xmlns:a16="http://schemas.microsoft.com/office/drawing/2014/main" id="{A3BACF45-561F-ECB1-7217-B75A815ED85F}"/>
              </a:ext>
            </a:extLst>
          </p:cNvPr>
          <p:cNvCxnSpPr>
            <a:cxnSpLocks/>
            <a:stCxn id="147" idx="42"/>
            <a:endCxn id="188" idx="0"/>
          </p:cNvCxnSpPr>
          <p:nvPr/>
        </p:nvCxnSpPr>
        <p:spPr>
          <a:xfrm flipH="1">
            <a:off x="2104981" y="5127847"/>
            <a:ext cx="797591" cy="903431"/>
          </a:xfrm>
          <a:prstGeom prst="bentConnector4">
            <a:avLst>
              <a:gd name="adj1" fmla="val -28661"/>
              <a:gd name="adj2" fmla="val 124771"/>
            </a:avLst>
          </a:prstGeom>
          <a:noFill/>
          <a:ln w="9525" cap="flat" cmpd="sng" algn="ctr">
            <a:solidFill>
              <a:sysClr val="window" lastClr="FFFFFF"/>
            </a:solidFill>
            <a:prstDash val="solid"/>
            <a:tailEnd type="none"/>
          </a:ln>
          <a:effectLst/>
        </p:spPr>
      </p:cxnSp>
      <p:sp>
        <p:nvSpPr>
          <p:cNvPr id="223" name="TextBox 222">
            <a:extLst>
              <a:ext uri="{FF2B5EF4-FFF2-40B4-BE49-F238E27FC236}">
                <a16:creationId xmlns:a16="http://schemas.microsoft.com/office/drawing/2014/main" id="{4FA6CC1C-5B48-C196-7FE1-90272BB9CF0B}"/>
              </a:ext>
            </a:extLst>
          </p:cNvPr>
          <p:cNvSpPr txBox="1"/>
          <p:nvPr/>
        </p:nvSpPr>
        <p:spPr>
          <a:xfrm>
            <a:off x="105271" y="4778656"/>
            <a:ext cx="180221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Боливия сдела</a:t>
            </a:r>
            <a:r>
              <a:rPr lang="ru-RU" sz="900" b="1" kern="0" dirty="0">
                <a:solidFill>
                  <a:prstClr val="white"/>
                </a:solidFill>
              </a:rPr>
              <a:t>е</a:t>
            </a: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т отчетность по 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IFRS S1, S2 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обязательной для всех компаний, занимающихся экономической деятельностью с 2027 года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cxnSp>
        <p:nvCxnSpPr>
          <p:cNvPr id="224" name="Connector: Elbow 223">
            <a:extLst>
              <a:ext uri="{FF2B5EF4-FFF2-40B4-BE49-F238E27FC236}">
                <a16:creationId xmlns:a16="http://schemas.microsoft.com/office/drawing/2014/main" id="{FB580252-5E87-9335-A723-EA743DEE5DC2}"/>
              </a:ext>
            </a:extLst>
          </p:cNvPr>
          <p:cNvCxnSpPr>
            <a:cxnSpLocks/>
            <a:endCxn id="223" idx="3"/>
          </p:cNvCxnSpPr>
          <p:nvPr/>
        </p:nvCxnSpPr>
        <p:spPr>
          <a:xfrm rot="10800000" flipV="1">
            <a:off x="1907485" y="4553187"/>
            <a:ext cx="1032097" cy="68713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" lastClr="FFFFFF"/>
            </a:solidFill>
            <a:prstDash val="solid"/>
            <a:tailEnd type="none"/>
          </a:ln>
          <a:effectLst/>
        </p:spPr>
      </p:cxnSp>
      <p:sp>
        <p:nvSpPr>
          <p:cNvPr id="225" name="Flowchart: Connector 224">
            <a:extLst>
              <a:ext uri="{FF2B5EF4-FFF2-40B4-BE49-F238E27FC236}">
                <a16:creationId xmlns:a16="http://schemas.microsoft.com/office/drawing/2014/main" id="{05694420-8DE9-DC95-A09E-F1682CE5F0DB}"/>
              </a:ext>
            </a:extLst>
          </p:cNvPr>
          <p:cNvSpPr/>
          <p:nvPr/>
        </p:nvSpPr>
        <p:spPr>
          <a:xfrm>
            <a:off x="1846749" y="5177963"/>
            <a:ext cx="109086" cy="111951"/>
          </a:xfrm>
          <a:prstGeom prst="flowChartConnector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1E9EE258-3A96-0FBA-93AC-1D3DDB998185}"/>
              </a:ext>
            </a:extLst>
          </p:cNvPr>
          <p:cNvSpPr txBox="1"/>
          <p:nvPr/>
        </p:nvSpPr>
        <p:spPr>
          <a:xfrm>
            <a:off x="8433922" y="3540479"/>
            <a:ext cx="3114663" cy="78483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Южная Корея 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в 2024 году приняла проект стандартов Korea Sustainability Standards Board (KSSB), базирующихся на требованиях IFRS S1/S2. Обязательные климатические раскрытия ожидаются с 2026 года. 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B38041A4-ADEE-996E-CA19-D40E4761D428}"/>
              </a:ext>
            </a:extLst>
          </p:cNvPr>
          <p:cNvSpPr txBox="1"/>
          <p:nvPr/>
        </p:nvSpPr>
        <p:spPr>
          <a:xfrm>
            <a:off x="5621585" y="5462639"/>
            <a:ext cx="1591904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Tx/>
              <a:tabLst/>
              <a:defRPr/>
            </a:pPr>
            <a:r>
              <a:rPr kumimoji="0" lang="ru-RU" sz="9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Национальные стандарты Австралии на основе </a:t>
            </a:r>
            <a:r>
              <a:rPr lang="en-US" sz="900" kern="0" dirty="0">
                <a:solidFill>
                  <a:schemeClr val="bg1"/>
                </a:solidFill>
              </a:rPr>
              <a:t>IFRS S1/S2</a:t>
            </a:r>
            <a:r>
              <a:rPr lang="ru-RU" sz="900" kern="0" dirty="0">
                <a:solidFill>
                  <a:schemeClr val="bg1"/>
                </a:solidFill>
              </a:rPr>
              <a:t> становятся обязательными с 2025 отчетного года</a:t>
            </a:r>
            <a:endParaRPr kumimoji="0" lang="en-US" sz="9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cxnSp>
        <p:nvCxnSpPr>
          <p:cNvPr id="228" name="Connector: Elbow 227">
            <a:extLst>
              <a:ext uri="{FF2B5EF4-FFF2-40B4-BE49-F238E27FC236}">
                <a16:creationId xmlns:a16="http://schemas.microsoft.com/office/drawing/2014/main" id="{3F346CC3-7BEA-B55C-6E61-049B7939A26D}"/>
              </a:ext>
            </a:extLst>
          </p:cNvPr>
          <p:cNvCxnSpPr>
            <a:cxnSpLocks/>
          </p:cNvCxnSpPr>
          <p:nvPr/>
        </p:nvCxnSpPr>
        <p:spPr>
          <a:xfrm rot="10800000" flipV="1">
            <a:off x="6343056" y="5081746"/>
            <a:ext cx="977934" cy="33484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" lastClr="FFFFFF"/>
            </a:solidFill>
            <a:prstDash val="solid"/>
            <a:tailEnd type="none"/>
          </a:ln>
          <a:effectLst/>
        </p:spPr>
      </p:cxnSp>
      <p:sp>
        <p:nvSpPr>
          <p:cNvPr id="229" name="Flowchart: Connector 228">
            <a:extLst>
              <a:ext uri="{FF2B5EF4-FFF2-40B4-BE49-F238E27FC236}">
                <a16:creationId xmlns:a16="http://schemas.microsoft.com/office/drawing/2014/main" id="{86D020D1-80E8-CFF3-CE27-56CF497CE1E9}"/>
              </a:ext>
            </a:extLst>
          </p:cNvPr>
          <p:cNvSpPr/>
          <p:nvPr/>
        </p:nvSpPr>
        <p:spPr>
          <a:xfrm>
            <a:off x="6288512" y="5360613"/>
            <a:ext cx="109086" cy="111951"/>
          </a:xfrm>
          <a:prstGeom prst="flowChartConnector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sp>
        <p:nvSpPr>
          <p:cNvPr id="230" name="Flowchart: Connector 229">
            <a:extLst>
              <a:ext uri="{FF2B5EF4-FFF2-40B4-BE49-F238E27FC236}">
                <a16:creationId xmlns:a16="http://schemas.microsoft.com/office/drawing/2014/main" id="{6C986D59-0899-7102-CFF3-5140D30C7506}"/>
              </a:ext>
            </a:extLst>
          </p:cNvPr>
          <p:cNvSpPr/>
          <p:nvPr/>
        </p:nvSpPr>
        <p:spPr>
          <a:xfrm>
            <a:off x="9936710" y="3484503"/>
            <a:ext cx="109086" cy="111951"/>
          </a:xfrm>
          <a:prstGeom prst="flowChartConnector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</p:txBody>
      </p:sp>
      <p:pic>
        <p:nvPicPr>
          <p:cNvPr id="231" name="Picture 230">
            <a:extLst>
              <a:ext uri="{FF2B5EF4-FFF2-40B4-BE49-F238E27FC236}">
                <a16:creationId xmlns:a16="http://schemas.microsoft.com/office/drawing/2014/main" id="{D29735B9-7275-CD55-CB72-048A392F3D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1554" y="1207153"/>
            <a:ext cx="1556844" cy="785980"/>
          </a:xfrm>
          <a:prstGeom prst="rect">
            <a:avLst/>
          </a:prstGeom>
        </p:spPr>
      </p:pic>
      <p:sp>
        <p:nvSpPr>
          <p:cNvPr id="232" name="Rectangle 231">
            <a:extLst>
              <a:ext uri="{FF2B5EF4-FFF2-40B4-BE49-F238E27FC236}">
                <a16:creationId xmlns:a16="http://schemas.microsoft.com/office/drawing/2014/main" id="{04807E40-02A3-6A2F-0379-46511E0E36DA}"/>
              </a:ext>
            </a:extLst>
          </p:cNvPr>
          <p:cNvSpPr/>
          <p:nvPr/>
        </p:nvSpPr>
        <p:spPr bwMode="auto">
          <a:xfrm>
            <a:off x="7874000" y="6135230"/>
            <a:ext cx="457200" cy="112239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>
            <a:glow>
              <a:schemeClr val="accent1"/>
            </a:glow>
            <a:outerShdw blurRad="1270000" dist="23000" sx="1000" sy="1000" rotWithShape="0">
              <a:srgbClr val="000000"/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2" rtlCol="0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 algn="l"/>
            <a:endParaRPr lang="en-US" sz="1600" b="1" u="sng" dirty="0">
              <a:solidFill>
                <a:schemeClr val="bg2"/>
              </a:solidFill>
            </a:endParaRP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F34CD8CE-E9CE-A4F5-FA53-A2F72B15491A}"/>
              </a:ext>
            </a:extLst>
          </p:cNvPr>
          <p:cNvSpPr/>
          <p:nvPr/>
        </p:nvSpPr>
        <p:spPr bwMode="auto">
          <a:xfrm>
            <a:off x="7878024" y="6328578"/>
            <a:ext cx="457200" cy="1122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>
            <a:glow>
              <a:schemeClr val="accent1"/>
            </a:glow>
            <a:outerShdw blurRad="1270000" dist="23000" sx="1000" sy="1000" rotWithShape="0">
              <a:srgbClr val="000000"/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2" rtlCol="0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 algn="l"/>
            <a:endParaRPr lang="en-US" sz="1600" b="1" u="sng" dirty="0">
              <a:solidFill>
                <a:schemeClr val="bg2"/>
              </a:solidFill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12B1FDCB-CB83-9085-233E-7488E79864EF}"/>
              </a:ext>
            </a:extLst>
          </p:cNvPr>
          <p:cNvSpPr/>
          <p:nvPr/>
        </p:nvSpPr>
        <p:spPr bwMode="auto">
          <a:xfrm>
            <a:off x="7878024" y="6517500"/>
            <a:ext cx="457200" cy="112239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noFill/>
          </a:ln>
          <a:effectLst>
            <a:glow>
              <a:schemeClr val="accent1"/>
            </a:glow>
            <a:outerShdw blurRad="1270000" dist="23000" sx="1000" sy="1000" rotWithShape="0">
              <a:srgbClr val="000000"/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2" rtlCol="0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 algn="l"/>
            <a:endParaRPr lang="en-US" sz="1600" b="1" u="sng" dirty="0">
              <a:solidFill>
                <a:schemeClr val="bg2"/>
              </a:solidFill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4305739C-7DA6-F9E1-304A-0F291D6CCC73}"/>
              </a:ext>
            </a:extLst>
          </p:cNvPr>
          <p:cNvSpPr txBox="1"/>
          <p:nvPr/>
        </p:nvSpPr>
        <p:spPr>
          <a:xfrm>
            <a:off x="8291554" y="6105571"/>
            <a:ext cx="2472966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Страны, которые приняли или </a:t>
            </a:r>
            <a:r>
              <a:rPr lang="ru-RU" sz="500" i="1" kern="0" dirty="0">
                <a:solidFill>
                  <a:prstClr val="white"/>
                </a:solidFill>
              </a:rPr>
              <a:t>планируют принимать </a:t>
            </a:r>
            <a:r>
              <a:rPr kumimoji="0" lang="ru-RU" sz="5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стандарты </a:t>
            </a:r>
            <a:r>
              <a:rPr kumimoji="0" lang="en-US" sz="5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IFRS S1/S2</a:t>
            </a:r>
            <a:r>
              <a:rPr kumimoji="0" lang="ru-RU" sz="5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 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D3DB6DFE-779D-E79E-7CA7-CF22D1C873ED}"/>
              </a:ext>
            </a:extLst>
          </p:cNvPr>
          <p:cNvSpPr txBox="1"/>
          <p:nvPr/>
        </p:nvSpPr>
        <p:spPr>
          <a:xfrm>
            <a:off x="8291554" y="6294493"/>
            <a:ext cx="2820946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Страны, которые приняли стандарты</a:t>
            </a:r>
            <a:r>
              <a:rPr lang="ru-RU" sz="500" i="1" kern="0" dirty="0">
                <a:solidFill>
                  <a:prstClr val="white"/>
                </a:solidFill>
              </a:rPr>
              <a:t>, схожие с требованиями</a:t>
            </a:r>
            <a:r>
              <a:rPr kumimoji="0" lang="ru-RU" sz="5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r>
              <a:rPr kumimoji="0" lang="en-US" sz="5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IFRS S1/S2</a:t>
            </a:r>
            <a:r>
              <a:rPr kumimoji="0" lang="ru-RU" sz="5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 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119BF97C-C30A-DC8D-71A5-0C26E3ED7A02}"/>
              </a:ext>
            </a:extLst>
          </p:cNvPr>
          <p:cNvSpPr txBox="1"/>
          <p:nvPr/>
        </p:nvSpPr>
        <p:spPr>
          <a:xfrm>
            <a:off x="8291554" y="6481286"/>
            <a:ext cx="2820946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Страны, не принявшие стандарты </a:t>
            </a:r>
            <a:r>
              <a:rPr kumimoji="0" lang="en-US" sz="5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IFRS S1/S2</a:t>
            </a:r>
            <a:r>
              <a:rPr kumimoji="0" lang="ru-RU" sz="5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или</a:t>
            </a:r>
            <a:r>
              <a:rPr lang="ru-RU" sz="500" i="1" kern="0" dirty="0">
                <a:solidFill>
                  <a:prstClr val="white"/>
                </a:solidFill>
              </a:rPr>
              <a:t> схожие с ними</a:t>
            </a:r>
            <a:endParaRPr kumimoji="0" lang="ru-RU" sz="5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47234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USTOMLAYOUT" val="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sMexJUSkagvcBL6wQ6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NzAOpLjUmuoIzVI1Qm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sMexJUSkagvcBL6wQ68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NzAOpLjUmuoIzVI1Qm9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sMexJUSkagvcBL6wQ6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NzAOpLjUmuoIzVI1Qm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sMexJUSkagvcBL6wQ6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NzAOpLjUmuoIzVI1Qm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sMexJUSkagvcBL6wQ6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NzAOpLjUmuoIzVI1Qm9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sMexJUSkagvcBL6wQ6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NzAOpLjUmuoIzVI1Qm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sMexJUSkagvcBL6wQ6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NzAOpLjUmuoIzVI1Qm9A"/>
</p:tagLst>
</file>

<file path=ppt/theme/theme1.xml><?xml version="1.0" encoding="utf-8"?>
<a:theme xmlns:a="http://schemas.openxmlformats.org/drawingml/2006/main" name="Large Text [SPECTRUM]">
  <a:themeElements>
    <a:clrScheme name="Custom 81">
      <a:dk1>
        <a:srgbClr val="1A1A24"/>
      </a:dk1>
      <a:lt1>
        <a:srgbClr val="FFFFFF"/>
      </a:lt1>
      <a:dk2>
        <a:srgbClr val="FFE600"/>
      </a:dk2>
      <a:lt2>
        <a:srgbClr val="2E2E38"/>
      </a:lt2>
      <a:accent1>
        <a:srgbClr val="2DB757"/>
      </a:accent1>
      <a:accent2>
        <a:srgbClr val="27ACAA"/>
      </a:accent2>
      <a:accent3>
        <a:srgbClr val="188CE5"/>
      </a:accent3>
      <a:accent4>
        <a:srgbClr val="750E5C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EY">
      <a:majorFont>
        <a:latin typeface="EYInterstate Regular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tx2"/>
          </a:solidFill>
          <a:miter lim="800000"/>
        </a:ln>
      </a:spPr>
      <a:bodyPr lIns="108000" tIns="108000" rIns="108000" bIns="108000" rtlCol="0" anchor="t" anchorCtr="0"/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Font typeface="Wingdings" pitchFamily="2" charset="2"/>
          <a:buChar char="§"/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 anchor="t">
        <a:spAutoFit/>
      </a:bodyPr>
      <a:lstStyle>
        <a:defPPr marL="252000" indent="-252000" algn="l">
          <a:lnSpc>
            <a:spcPct val="90000"/>
          </a:lnSpc>
          <a:spcBef>
            <a:spcPts val="400"/>
          </a:spcBef>
          <a:spcAft>
            <a:spcPts val="400"/>
          </a:spcAft>
          <a:buClr>
            <a:schemeClr val="tx2"/>
          </a:buClr>
          <a:buSzPct val="100000"/>
          <a:buFont typeface="Wingdings" pitchFamily="2" charset="2"/>
          <a:buChar char="§"/>
          <a:defRPr sz="20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Z_EY_Dark_widescreen_presentation_template_EN_RU_v2.4.potx" id="{21D1EB3E-C50A-4730-806C-0C8B27F5FF5C}" vid="{E6E9557F-65E6-4082-9341-1014881DD9B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0039afd-3f35-472b-a1be-8c1ef1fd80db">
      <Terms xmlns="http://schemas.microsoft.com/office/infopath/2007/PartnerControls"/>
    </lcf76f155ced4ddcb4097134ff3c332f>
    <TaxCatchAll xmlns="fc8401e6-b86f-47d2-a952-dac992435ed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96ADA6224CC27469F4F75C0E60C1C21" ma:contentTypeVersion="17" ma:contentTypeDescription="Create a new document." ma:contentTypeScope="" ma:versionID="239699fed5e80306d74f115b1f7d1a9d">
  <xsd:schema xmlns:xsd="http://www.w3.org/2001/XMLSchema" xmlns:xs="http://www.w3.org/2001/XMLSchema" xmlns:p="http://schemas.microsoft.com/office/2006/metadata/properties" xmlns:ns2="80039afd-3f35-472b-a1be-8c1ef1fd80db" xmlns:ns3="fc8401e6-b86f-47d2-a952-dac992435ed0" targetNamespace="http://schemas.microsoft.com/office/2006/metadata/properties" ma:root="true" ma:fieldsID="1154c43b6f8166de4324966187f64251" ns2:_="" ns3:_="">
    <xsd:import namespace="80039afd-3f35-472b-a1be-8c1ef1fd80db"/>
    <xsd:import namespace="fc8401e6-b86f-47d2-a952-dac992435ed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039afd-3f35-472b-a1be-8c1ef1fd80d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7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8401e6-b86f-47d2-a952-dac992435ed0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819b9e71-4d5f-43dd-ba72-7913e26ea9fc}" ma:internalName="TaxCatchAll" ma:showField="CatchAllData" ma:web="fc8401e6-b86f-47d2-a952-dac992435ed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AC014D9-0F8B-4066-823B-E589F64FAF1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5087F47-891A-4332-AEE8-A122FCE56C49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fc8401e6-b86f-47d2-a952-dac992435ed0"/>
    <ds:schemaRef ds:uri="http://purl.org/dc/elements/1.1/"/>
    <ds:schemaRef ds:uri="http://purl.org/dc/dcmitype/"/>
    <ds:schemaRef ds:uri="80039afd-3f35-472b-a1be-8c1ef1fd80db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5BA5F07-9040-48CB-8A62-CEE1B0AF4FC4}"/>
</file>

<file path=docProps/app.xml><?xml version="1.0" encoding="utf-8"?>
<Properties xmlns="http://schemas.openxmlformats.org/officeDocument/2006/extended-properties" xmlns:vt="http://schemas.openxmlformats.org/officeDocument/2006/docPropsVTypes">
  <Template>KZ_EY_Dark_widescreen_presentation_template_EN_RU_v2.4</Template>
  <TotalTime>0</TotalTime>
  <Words>7964</Words>
  <Application>Microsoft Office PowerPoint</Application>
  <PresentationFormat>Widescreen</PresentationFormat>
  <Paragraphs>632</Paragraphs>
  <Slides>41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1" baseType="lpstr">
      <vt:lpstr>Aptos</vt:lpstr>
      <vt:lpstr>Arial</vt:lpstr>
      <vt:lpstr>EYInterstate</vt:lpstr>
      <vt:lpstr>EYInterstate Light</vt:lpstr>
      <vt:lpstr>EYInterstate Regular</vt:lpstr>
      <vt:lpstr>Google Sans</vt:lpstr>
      <vt:lpstr>Helvetica Neue</vt:lpstr>
      <vt:lpstr>Times New Roman</vt:lpstr>
      <vt:lpstr>Wingdings</vt:lpstr>
      <vt:lpstr>Large Text [SPECTRUM]</vt:lpstr>
      <vt:lpstr>Обучающий семинар по вопросам новых стандартов      МСФО S1/S2</vt:lpstr>
      <vt:lpstr>Спикеры</vt:lpstr>
      <vt:lpstr>Программа семинара</vt:lpstr>
      <vt:lpstr>Назначение и ключевые элементы стандартов МСФО S1 и S2 </vt:lpstr>
      <vt:lpstr>Цель и требования стандартов МСФО S1 и S2</vt:lpstr>
      <vt:lpstr>МСФО S1/S2 связаны с другими стандартами</vt:lpstr>
      <vt:lpstr>Прогресс внедрения стандартов МСФО S1 и S2 на глобальном уровне</vt:lpstr>
      <vt:lpstr>Ожидаемые¹ даты вступления в силу МСФО S1 и S2</vt:lpstr>
      <vt:lpstr>Отчетность по стандартам IFRS S1/S2 становится обязательной, в т.ч. среди иностранных инвесторов </vt:lpstr>
      <vt:lpstr>G7, G20, IOSCO поддерживают внедрение МСФО S1/S2</vt:lpstr>
      <vt:lpstr>PRI поддерживают внедрение МСФО S1/S2</vt:lpstr>
      <vt:lpstr>Структура и основные требования МСФО S1 и S2</vt:lpstr>
      <vt:lpstr>Концептуальные основы – МСФО S1</vt:lpstr>
      <vt:lpstr>Объективное представление</vt:lpstr>
      <vt:lpstr>Существенная информация</vt:lpstr>
      <vt:lpstr>Отчитывающаяся компания</vt:lpstr>
      <vt:lpstr>Связанная информация</vt:lpstr>
      <vt:lpstr>Структура МСФО S1/S2 и ключевые аспекты для раскрытия</vt:lpstr>
      <vt:lpstr>Структура IFRS S1/S2 и ключевые аспекты для раскрытия (2)</vt:lpstr>
      <vt:lpstr>Связь МСФО S1 и S2 с финансовой отчетностью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МСФО S2 тесно связан с традиционными стандартами финансовой отчетности МСФО</vt:lpstr>
      <vt:lpstr>Как компаниям начать готовиться к отчетности по МСФО S1 и S2</vt:lpstr>
      <vt:lpstr>О чем должны будут отчитываться компании для соответствия МСФО S1/S2?</vt:lpstr>
      <vt:lpstr>Выявление и оценка рисков, связанных с климатом и их влияние на финансовые показатели</vt:lpstr>
      <vt:lpstr>Блок «Управление» Практические примеры недостатков и корректирующих действий </vt:lpstr>
      <vt:lpstr>Блок  «Стратегия» Практические примеры недостатков и корректирующих действий</vt:lpstr>
      <vt:lpstr>Блок «Управление рисками» Практические примеры недостатков и корректирующих действий</vt:lpstr>
      <vt:lpstr>Блок  «Метрики и Цели» Практические примеры недостатков и корректирующих действий </vt:lpstr>
      <vt:lpstr>Дальнейшие шаги по развитию МСФО S1 и S2 в Казахстане</vt:lpstr>
      <vt:lpstr>ISSB разработал инструкцию по внедрению МСФО S1/S2 юрисдикциями </vt:lpstr>
      <vt:lpstr>Каковы дальнейшие шаги по развитию МСФО S1/S2 в Казахстане?</vt:lpstr>
      <vt:lpstr>Сессия вопросов и ответов</vt:lpstr>
      <vt:lpstr>Boilerpla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nara Samambayeva</dc:creator>
  <cp:lastModifiedBy>Anara Samambayeva</cp:lastModifiedBy>
  <cp:revision>1</cp:revision>
  <dcterms:created xsi:type="dcterms:W3CDTF">2025-06-02T12:00:24Z</dcterms:created>
  <dcterms:modified xsi:type="dcterms:W3CDTF">2025-07-02T02:5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96ADA6224CC27469F4F75C0E60C1C21</vt:lpwstr>
  </property>
  <property fmtid="{D5CDD505-2E9C-101B-9397-08002B2CF9AE}" pid="3" name="MediaServiceImageTags">
    <vt:lpwstr/>
  </property>
</Properties>
</file>